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 id="2147483925" r:id="rId2"/>
  </p:sldMasterIdLst>
  <p:notesMasterIdLst>
    <p:notesMasterId r:id="rId42"/>
  </p:notesMasterIdLst>
  <p:handoutMasterIdLst>
    <p:handoutMasterId r:id="rId43"/>
  </p:handoutMasterIdLst>
  <p:sldIdLst>
    <p:sldId id="1408" r:id="rId3"/>
    <p:sldId id="1419" r:id="rId4"/>
    <p:sldId id="1418" r:id="rId5"/>
    <p:sldId id="1361" r:id="rId6"/>
    <p:sldId id="1377" r:id="rId7"/>
    <p:sldId id="1356" r:id="rId8"/>
    <p:sldId id="1427" r:id="rId9"/>
    <p:sldId id="1460" r:id="rId10"/>
    <p:sldId id="1355" r:id="rId11"/>
    <p:sldId id="1439" r:id="rId12"/>
    <p:sldId id="1461" r:id="rId13"/>
    <p:sldId id="1435" r:id="rId14"/>
    <p:sldId id="1464" r:id="rId15"/>
    <p:sldId id="1463" r:id="rId16"/>
    <p:sldId id="1465" r:id="rId17"/>
    <p:sldId id="1378" r:id="rId18"/>
    <p:sldId id="1362" r:id="rId19"/>
    <p:sldId id="1398" r:id="rId20"/>
    <p:sldId id="1392" r:id="rId21"/>
    <p:sldId id="1400" r:id="rId22"/>
    <p:sldId id="1415" r:id="rId23"/>
    <p:sldId id="1417" r:id="rId24"/>
    <p:sldId id="1428" r:id="rId25"/>
    <p:sldId id="1429" r:id="rId26"/>
    <p:sldId id="1448" r:id="rId27"/>
    <p:sldId id="1450" r:id="rId28"/>
    <p:sldId id="1449" r:id="rId29"/>
    <p:sldId id="1436" r:id="rId30"/>
    <p:sldId id="1469" r:id="rId31"/>
    <p:sldId id="1474" r:id="rId32"/>
    <p:sldId id="1452" r:id="rId33"/>
    <p:sldId id="1478" r:id="rId34"/>
    <p:sldId id="1456" r:id="rId35"/>
    <p:sldId id="1476" r:id="rId36"/>
    <p:sldId id="1477" r:id="rId37"/>
    <p:sldId id="1479" r:id="rId38"/>
    <p:sldId id="1481" r:id="rId39"/>
    <p:sldId id="1482" r:id="rId40"/>
    <p:sldId id="1366" r:id="rId4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guide id="14" orient="horz" pos="272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127" autoAdjust="0"/>
    <p:restoredTop sz="87209" autoAdjust="0"/>
  </p:normalViewPr>
  <p:slideViewPr>
    <p:cSldViewPr snapToGrid="0" showGuides="1">
      <p:cViewPr varScale="1">
        <p:scale>
          <a:sx n="93" d="100"/>
          <a:sy n="93" d="100"/>
        </p:scale>
        <p:origin x="1032"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 orient="horz" pos="272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viewProps" Target="viewProps.xml"/><Relationship Id="rId20" Type="http://schemas.openxmlformats.org/officeDocument/2006/relationships/slide" Target="slides/slide18.xml"/><Relationship Id="rId41" Type="http://schemas.openxmlformats.org/officeDocument/2006/relationships/slide" Target="slides/slide3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займа/гарантии</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1872" custLinFactNeighborY="18016">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49731"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9A16554-E549-4732-9943-622A25CF667A}" type="doc">
      <dgm:prSet loTypeId="urn:microsoft.com/office/officeart/2005/8/layout/arrow2" loCatId="process" qsTypeId="urn:microsoft.com/office/officeart/2005/8/quickstyle/simple1" qsCatId="simple" csTypeId="urn:microsoft.com/office/officeart/2005/8/colors/accent1_2" csCatId="accent1" phldr="1"/>
      <dgm:spPr/>
    </dgm:pt>
    <dgm:pt modelId="{D4189A39-0B6A-477E-9B90-DFC22D2B596C}">
      <dgm:prSet phldrT="[Текст]" custT="1"/>
      <dgm:spPr/>
      <dgm:t>
        <a:bodyPr/>
        <a:lstStyle/>
        <a:p>
          <a:r>
            <a:rPr lang="ru-RU" sz="1200" b="0" dirty="0" smtClean="0">
              <a:solidFill>
                <a:schemeClr val="tx2">
                  <a:lumMod val="75000"/>
                </a:schemeClr>
              </a:solidFill>
            </a:rPr>
            <a:t>Согласованы Рабочей группой при Банке России Единые механизмы (стандарты) </a:t>
          </a:r>
          <a:r>
            <a:rPr lang="ru-RU" sz="1200" b="0" dirty="0" err="1" smtClean="0">
              <a:solidFill>
                <a:schemeClr val="tx2">
                  <a:lumMod val="75000"/>
                </a:schemeClr>
              </a:solidFill>
            </a:rPr>
            <a:t>секьюритизации</a:t>
          </a:r>
          <a:r>
            <a:rPr lang="ru-RU" sz="1200" b="0" dirty="0" smtClean="0">
              <a:solidFill>
                <a:schemeClr val="tx2">
                  <a:lumMod val="75000"/>
                </a:schemeClr>
              </a:solidFill>
            </a:rPr>
            <a:t> кредитов МСП</a:t>
          </a:r>
          <a:endParaRPr lang="ru-RU" sz="1200" b="0" dirty="0">
            <a:solidFill>
              <a:schemeClr val="tx2">
                <a:lumMod val="75000"/>
              </a:schemeClr>
            </a:solidFill>
          </a:endParaRPr>
        </a:p>
      </dgm:t>
    </dgm:pt>
    <dgm:pt modelId="{F019810C-B009-49DC-B509-261742A15CC5}" type="parTrans" cxnId="{4BEECBBF-4A13-4B13-A193-CEBE76B9B459}">
      <dgm:prSet/>
      <dgm:spPr/>
      <dgm:t>
        <a:bodyPr/>
        <a:lstStyle/>
        <a:p>
          <a:endParaRPr lang="ru-RU"/>
        </a:p>
      </dgm:t>
    </dgm:pt>
    <dgm:pt modelId="{6ECEB5F8-13C2-4FD5-977F-7BD60766494A}" type="sibTrans" cxnId="{4BEECBBF-4A13-4B13-A193-CEBE76B9B459}">
      <dgm:prSet/>
      <dgm:spPr/>
      <dgm:t>
        <a:bodyPr/>
        <a:lstStyle/>
        <a:p>
          <a:endParaRPr lang="ru-RU"/>
        </a:p>
      </dgm:t>
    </dgm:pt>
    <dgm:pt modelId="{688B7E88-EC3B-4F88-AED5-E859AD91A12D}">
      <dgm:prSet phldrT="[Текст]" custT="1"/>
      <dgm:spPr/>
      <dgm:t>
        <a:bodyPr/>
        <a:lstStyle/>
        <a:p>
          <a:r>
            <a:rPr lang="ru-RU" sz="1200" b="0" dirty="0" smtClean="0">
              <a:solidFill>
                <a:schemeClr val="tx2">
                  <a:lumMod val="75000"/>
                </a:schemeClr>
              </a:solidFill>
            </a:rPr>
            <a:t>Сделка </a:t>
          </a:r>
          <a:r>
            <a:rPr lang="ru-RU" sz="1200" b="0" dirty="0" err="1" smtClean="0">
              <a:solidFill>
                <a:schemeClr val="tx2">
                  <a:lumMod val="75000"/>
                </a:schemeClr>
              </a:solidFill>
            </a:rPr>
            <a:t>секьюритизации</a:t>
          </a:r>
          <a:r>
            <a:rPr lang="ru-RU" sz="1200" b="0" dirty="0" smtClean="0">
              <a:solidFill>
                <a:schemeClr val="tx2">
                  <a:lumMod val="75000"/>
                </a:schemeClr>
              </a:solidFill>
            </a:rPr>
            <a:t> кредитов МСП ПАО «</a:t>
          </a:r>
          <a:r>
            <a:rPr lang="ru-RU" sz="1200" b="0" dirty="0" err="1" smtClean="0">
              <a:solidFill>
                <a:schemeClr val="tx2">
                  <a:lumMod val="75000"/>
                </a:schemeClr>
              </a:solidFill>
            </a:rPr>
            <a:t>Транскапиталбанк</a:t>
          </a:r>
          <a:r>
            <a:rPr lang="ru-RU" sz="1200" b="0" dirty="0" smtClean="0">
              <a:solidFill>
                <a:schemeClr val="tx2">
                  <a:lumMod val="75000"/>
                </a:schemeClr>
              </a:solidFill>
            </a:rPr>
            <a:t>»</a:t>
          </a:r>
          <a:endParaRPr lang="ru-RU" sz="1200" b="0" dirty="0">
            <a:solidFill>
              <a:schemeClr val="tx2">
                <a:lumMod val="75000"/>
              </a:schemeClr>
            </a:solidFill>
          </a:endParaRPr>
        </a:p>
      </dgm:t>
    </dgm:pt>
    <dgm:pt modelId="{41E59EA6-9BCC-4225-AF4E-FBC0AF9F4DD1}" type="parTrans" cxnId="{F9103322-9A11-4654-84D1-E0D940046849}">
      <dgm:prSet/>
      <dgm:spPr/>
      <dgm:t>
        <a:bodyPr/>
        <a:lstStyle/>
        <a:p>
          <a:endParaRPr lang="ru-RU"/>
        </a:p>
      </dgm:t>
    </dgm:pt>
    <dgm:pt modelId="{C602BE2F-BCB9-4711-AFCA-1849AD43B19F}" type="sibTrans" cxnId="{F9103322-9A11-4654-84D1-E0D940046849}">
      <dgm:prSet/>
      <dgm:spPr/>
      <dgm:t>
        <a:bodyPr/>
        <a:lstStyle/>
        <a:p>
          <a:endParaRPr lang="ru-RU"/>
        </a:p>
      </dgm:t>
    </dgm:pt>
    <dgm:pt modelId="{2306976C-4A13-4082-8E8A-EE3FCDB01510}">
      <dgm:prSet phldrT="[Текст]" custT="1"/>
      <dgm:spPr/>
      <dgm:t>
        <a:bodyPr/>
        <a:lstStyle/>
        <a:p>
          <a:r>
            <a:rPr lang="ru-RU" sz="1200" b="0" dirty="0" smtClean="0">
              <a:solidFill>
                <a:schemeClr val="tx2">
                  <a:lumMod val="75000"/>
                </a:schemeClr>
              </a:solidFill>
            </a:rPr>
            <a:t>Пилотная мульти </a:t>
          </a:r>
          <a:r>
            <a:rPr lang="ru-RU" sz="1200" b="0" dirty="0" err="1" smtClean="0">
              <a:solidFill>
                <a:schemeClr val="tx2">
                  <a:lumMod val="75000"/>
                </a:schemeClr>
              </a:solidFill>
            </a:rPr>
            <a:t>оригинаторная</a:t>
          </a:r>
          <a:r>
            <a:rPr lang="ru-RU" sz="1200" b="0" dirty="0" smtClean="0">
              <a:solidFill>
                <a:schemeClr val="tx2">
                  <a:lumMod val="75000"/>
                </a:schemeClr>
              </a:solidFill>
            </a:rPr>
            <a:t> сделка </a:t>
          </a:r>
          <a:r>
            <a:rPr lang="ru-RU" sz="1200" b="0" dirty="0" err="1" smtClean="0">
              <a:solidFill>
                <a:schemeClr val="tx2">
                  <a:lumMod val="75000"/>
                </a:schemeClr>
              </a:solidFill>
            </a:rPr>
            <a:t>секьюритизации</a:t>
          </a:r>
          <a:r>
            <a:rPr lang="ru-RU" sz="1200" b="0" dirty="0" smtClean="0">
              <a:solidFill>
                <a:schemeClr val="tx2">
                  <a:lumMod val="75000"/>
                </a:schemeClr>
              </a:solidFill>
            </a:rPr>
            <a:t> кредитов МСП</a:t>
          </a:r>
          <a:endParaRPr lang="ru-RU" sz="1200" b="0" dirty="0">
            <a:solidFill>
              <a:schemeClr val="tx2">
                <a:lumMod val="75000"/>
              </a:schemeClr>
            </a:solidFill>
          </a:endParaRPr>
        </a:p>
      </dgm:t>
    </dgm:pt>
    <dgm:pt modelId="{AE6CB712-3BB0-4A9A-A4C0-E58D9A76396B}" type="parTrans" cxnId="{F1E754F2-4B10-438D-82A9-CF8AD3DDE14F}">
      <dgm:prSet/>
      <dgm:spPr/>
      <dgm:t>
        <a:bodyPr/>
        <a:lstStyle/>
        <a:p>
          <a:endParaRPr lang="ru-RU"/>
        </a:p>
      </dgm:t>
    </dgm:pt>
    <dgm:pt modelId="{13A357EC-1014-4CDF-BADD-7CF2AE6C876F}" type="sibTrans" cxnId="{F1E754F2-4B10-438D-82A9-CF8AD3DDE14F}">
      <dgm:prSet/>
      <dgm:spPr/>
      <dgm:t>
        <a:bodyPr/>
        <a:lstStyle/>
        <a:p>
          <a:endParaRPr lang="ru-RU"/>
        </a:p>
      </dgm:t>
    </dgm:pt>
    <dgm:pt modelId="{42A962D6-6225-431C-B808-856C5D51C23A}">
      <dgm:prSet phldrT="[Текст]" custT="1"/>
      <dgm:spPr/>
      <dgm:t>
        <a:bodyPr/>
        <a:lstStyle/>
        <a:p>
          <a:r>
            <a:rPr lang="ru-RU" sz="1200" b="0" dirty="0" smtClean="0">
              <a:solidFill>
                <a:schemeClr val="tx2">
                  <a:lumMod val="75000"/>
                </a:schemeClr>
              </a:solidFill>
            </a:rPr>
            <a:t>Создана </a:t>
          </a:r>
          <a:r>
            <a:rPr lang="ru-RU" sz="1200" b="0" dirty="0" err="1" smtClean="0">
              <a:solidFill>
                <a:schemeClr val="tx2">
                  <a:lumMod val="75000"/>
                </a:schemeClr>
              </a:solidFill>
            </a:rPr>
            <a:t>мультиоригинаторная</a:t>
          </a:r>
          <a:r>
            <a:rPr lang="ru-RU" sz="1200" b="0" dirty="0" smtClean="0">
              <a:solidFill>
                <a:schemeClr val="tx2">
                  <a:lumMod val="75000"/>
                </a:schemeClr>
              </a:solidFill>
            </a:rPr>
            <a:t> платформа </a:t>
          </a:r>
          <a:r>
            <a:rPr lang="ru-RU" sz="1200" b="0" dirty="0" err="1" smtClean="0">
              <a:solidFill>
                <a:schemeClr val="tx2">
                  <a:lumMod val="75000"/>
                </a:schemeClr>
              </a:solidFill>
            </a:rPr>
            <a:t>секьюритизации</a:t>
          </a:r>
          <a:endParaRPr lang="ru-RU" sz="1200" b="0" dirty="0">
            <a:solidFill>
              <a:schemeClr val="tx2">
                <a:lumMod val="75000"/>
              </a:schemeClr>
            </a:solidFill>
          </a:endParaRPr>
        </a:p>
      </dgm:t>
    </dgm:pt>
    <dgm:pt modelId="{47C1CB2B-538E-4776-B404-6FFA8F5D9F19}" type="parTrans" cxnId="{E6AA8F9F-62E8-4B26-9B29-B85BE59A735F}">
      <dgm:prSet/>
      <dgm:spPr/>
      <dgm:t>
        <a:bodyPr/>
        <a:lstStyle/>
        <a:p>
          <a:endParaRPr lang="ru-RU"/>
        </a:p>
      </dgm:t>
    </dgm:pt>
    <dgm:pt modelId="{EFBAF898-3CD7-4610-86B3-C050BF91FFAE}" type="sibTrans" cxnId="{E6AA8F9F-62E8-4B26-9B29-B85BE59A735F}">
      <dgm:prSet/>
      <dgm:spPr/>
      <dgm:t>
        <a:bodyPr/>
        <a:lstStyle/>
        <a:p>
          <a:endParaRPr lang="ru-RU"/>
        </a:p>
      </dgm:t>
    </dgm:pt>
    <dgm:pt modelId="{6BA545D3-6D54-452C-97F2-59C2BFA311B1}">
      <dgm:prSet phldrT="[Текст]" custT="1"/>
      <dgm:spPr/>
      <dgm:t>
        <a:bodyPr/>
        <a:lstStyle/>
        <a:p>
          <a:r>
            <a:rPr lang="ru-RU" sz="1200" b="0" dirty="0" smtClean="0">
              <a:solidFill>
                <a:schemeClr val="tx2">
                  <a:lumMod val="75000"/>
                </a:schemeClr>
              </a:solidFill>
            </a:rPr>
            <a:t>Отработан механизм покупки кредитов на баланс МСП Банка для дальнейшей </a:t>
          </a:r>
          <a:r>
            <a:rPr lang="ru-RU" sz="1200" b="0" dirty="0" err="1" smtClean="0">
              <a:solidFill>
                <a:schemeClr val="tx2">
                  <a:lumMod val="75000"/>
                </a:schemeClr>
              </a:solidFill>
            </a:rPr>
            <a:t>секьюритизации</a:t>
          </a:r>
          <a:endParaRPr lang="ru-RU" sz="1200" b="0" dirty="0">
            <a:solidFill>
              <a:schemeClr val="tx2">
                <a:lumMod val="75000"/>
              </a:schemeClr>
            </a:solidFill>
          </a:endParaRPr>
        </a:p>
      </dgm:t>
    </dgm:pt>
    <dgm:pt modelId="{A53257B5-0208-4432-9EFD-A29F7907AD9A}" type="parTrans" cxnId="{8AA298E6-6206-49BD-AD7F-12AD887FBFCE}">
      <dgm:prSet/>
      <dgm:spPr/>
      <dgm:t>
        <a:bodyPr/>
        <a:lstStyle/>
        <a:p>
          <a:endParaRPr lang="ru-RU"/>
        </a:p>
      </dgm:t>
    </dgm:pt>
    <dgm:pt modelId="{7F2DF439-A1B0-4006-9E0F-8542B12ADDFE}" type="sibTrans" cxnId="{8AA298E6-6206-49BD-AD7F-12AD887FBFCE}">
      <dgm:prSet/>
      <dgm:spPr/>
      <dgm:t>
        <a:bodyPr/>
        <a:lstStyle/>
        <a:p>
          <a:endParaRPr lang="ru-RU"/>
        </a:p>
      </dgm:t>
    </dgm:pt>
    <dgm:pt modelId="{ABB4D520-A978-461A-AEAB-05C6B55659B8}" type="pres">
      <dgm:prSet presAssocID="{49A16554-E549-4732-9943-622A25CF667A}" presName="arrowDiagram" presStyleCnt="0">
        <dgm:presLayoutVars>
          <dgm:chMax val="5"/>
          <dgm:dir/>
          <dgm:resizeHandles val="exact"/>
        </dgm:presLayoutVars>
      </dgm:prSet>
      <dgm:spPr/>
    </dgm:pt>
    <dgm:pt modelId="{D84EFD90-359B-4C6C-A908-F71AA9DCA3DB}" type="pres">
      <dgm:prSet presAssocID="{49A16554-E549-4732-9943-622A25CF667A}" presName="arrow" presStyleLbl="bgShp" presStyleIdx="0" presStyleCnt="1"/>
      <dgm:spPr>
        <a:solidFill>
          <a:schemeClr val="tx2">
            <a:lumMod val="20000"/>
            <a:lumOff val="80000"/>
          </a:schemeClr>
        </a:solidFill>
      </dgm:spPr>
    </dgm:pt>
    <dgm:pt modelId="{7BA06E49-19B2-4E65-80C7-11F7359E4AED}" type="pres">
      <dgm:prSet presAssocID="{49A16554-E549-4732-9943-622A25CF667A}" presName="arrowDiagram5" presStyleCnt="0"/>
      <dgm:spPr/>
    </dgm:pt>
    <dgm:pt modelId="{5DEF51CE-F9AE-44F0-BDF4-5B3AED9C395C}" type="pres">
      <dgm:prSet presAssocID="{D4189A39-0B6A-477E-9B90-DFC22D2B596C}" presName="bullet5a" presStyleLbl="node1" presStyleIdx="0" presStyleCnt="5"/>
      <dgm:spPr/>
    </dgm:pt>
    <dgm:pt modelId="{6AFDEE07-2E2A-42FA-A063-D1AE4104C10B}" type="pres">
      <dgm:prSet presAssocID="{D4189A39-0B6A-477E-9B90-DFC22D2B596C}" presName="textBox5a" presStyleLbl="revTx" presStyleIdx="0" presStyleCnt="5" custScaleX="129146" custLinFactNeighborY="9931">
        <dgm:presLayoutVars>
          <dgm:bulletEnabled val="1"/>
        </dgm:presLayoutVars>
      </dgm:prSet>
      <dgm:spPr/>
      <dgm:t>
        <a:bodyPr/>
        <a:lstStyle/>
        <a:p>
          <a:endParaRPr lang="ru-RU"/>
        </a:p>
      </dgm:t>
    </dgm:pt>
    <dgm:pt modelId="{77AA81A1-43B5-4754-AFA8-6465C1A5082B}" type="pres">
      <dgm:prSet presAssocID="{688B7E88-EC3B-4F88-AED5-E859AD91A12D}" presName="bullet5b" presStyleLbl="node1" presStyleIdx="1" presStyleCnt="5"/>
      <dgm:spPr/>
    </dgm:pt>
    <dgm:pt modelId="{A7B095AD-58CA-4155-9A9F-0BF9B26BF52F}" type="pres">
      <dgm:prSet presAssocID="{688B7E88-EC3B-4F88-AED5-E859AD91A12D}" presName="textBox5b" presStyleLbl="revTx" presStyleIdx="1" presStyleCnt="5" custScaleX="132961" custLinFactNeighborX="-8269" custLinFactNeighborY="9113">
        <dgm:presLayoutVars>
          <dgm:bulletEnabled val="1"/>
        </dgm:presLayoutVars>
      </dgm:prSet>
      <dgm:spPr/>
      <dgm:t>
        <a:bodyPr/>
        <a:lstStyle/>
        <a:p>
          <a:endParaRPr lang="ru-RU"/>
        </a:p>
      </dgm:t>
    </dgm:pt>
    <dgm:pt modelId="{54499A1E-785C-4038-8CFB-77265C7F0DA2}" type="pres">
      <dgm:prSet presAssocID="{6BA545D3-6D54-452C-97F2-59C2BFA311B1}" presName="bullet5c" presStyleLbl="node1" presStyleIdx="2" presStyleCnt="5"/>
      <dgm:spPr/>
    </dgm:pt>
    <dgm:pt modelId="{4DEFDA97-0DE9-47C6-893A-10C777B58DC2}" type="pres">
      <dgm:prSet presAssocID="{6BA545D3-6D54-452C-97F2-59C2BFA311B1}" presName="textBox5c" presStyleLbl="revTx" presStyleIdx="2" presStyleCnt="5">
        <dgm:presLayoutVars>
          <dgm:bulletEnabled val="1"/>
        </dgm:presLayoutVars>
      </dgm:prSet>
      <dgm:spPr/>
      <dgm:t>
        <a:bodyPr/>
        <a:lstStyle/>
        <a:p>
          <a:endParaRPr lang="ru-RU"/>
        </a:p>
      </dgm:t>
    </dgm:pt>
    <dgm:pt modelId="{7D00979D-FCB2-4CA7-81BA-D134CE7DAC9B}" type="pres">
      <dgm:prSet presAssocID="{2306976C-4A13-4082-8E8A-EE3FCDB01510}" presName="bullet5d" presStyleLbl="node1" presStyleIdx="3" presStyleCnt="5"/>
      <dgm:spPr/>
    </dgm:pt>
    <dgm:pt modelId="{40CA72FE-44D3-4AC0-B0AE-2EAFFE5D4FAB}" type="pres">
      <dgm:prSet presAssocID="{2306976C-4A13-4082-8E8A-EE3FCDB01510}" presName="textBox5d" presStyleLbl="revTx" presStyleIdx="3" presStyleCnt="5" custScaleX="95454" custLinFactNeighborX="-13637" custLinFactNeighborY="7870">
        <dgm:presLayoutVars>
          <dgm:bulletEnabled val="1"/>
        </dgm:presLayoutVars>
      </dgm:prSet>
      <dgm:spPr/>
      <dgm:t>
        <a:bodyPr/>
        <a:lstStyle/>
        <a:p>
          <a:endParaRPr lang="ru-RU"/>
        </a:p>
      </dgm:t>
    </dgm:pt>
    <dgm:pt modelId="{417751CC-FA0D-40CB-B2E4-D56457C8D8C4}" type="pres">
      <dgm:prSet presAssocID="{42A962D6-6225-431C-B808-856C5D51C23A}" presName="bullet5e" presStyleLbl="node1" presStyleIdx="4" presStyleCnt="5"/>
      <dgm:spPr/>
    </dgm:pt>
    <dgm:pt modelId="{325E4033-B7C8-4896-BD50-E8C41FAB4BA7}" type="pres">
      <dgm:prSet presAssocID="{42A962D6-6225-431C-B808-856C5D51C23A}" presName="textBox5e" presStyleLbl="revTx" presStyleIdx="4" presStyleCnt="5" custScaleX="127272" custLinFactNeighborX="-2273" custLinFactNeighborY="9140">
        <dgm:presLayoutVars>
          <dgm:bulletEnabled val="1"/>
        </dgm:presLayoutVars>
      </dgm:prSet>
      <dgm:spPr/>
      <dgm:t>
        <a:bodyPr/>
        <a:lstStyle/>
        <a:p>
          <a:endParaRPr lang="ru-RU"/>
        </a:p>
      </dgm:t>
    </dgm:pt>
  </dgm:ptLst>
  <dgm:cxnLst>
    <dgm:cxn modelId="{1F3139FD-62C5-4CB9-98A4-A37A9EB0399C}" type="presOf" srcId="{42A962D6-6225-431C-B808-856C5D51C23A}" destId="{325E4033-B7C8-4896-BD50-E8C41FAB4BA7}" srcOrd="0" destOrd="0" presId="urn:microsoft.com/office/officeart/2005/8/layout/arrow2"/>
    <dgm:cxn modelId="{E6AA8F9F-62E8-4B26-9B29-B85BE59A735F}" srcId="{49A16554-E549-4732-9943-622A25CF667A}" destId="{42A962D6-6225-431C-B808-856C5D51C23A}" srcOrd="4" destOrd="0" parTransId="{47C1CB2B-538E-4776-B404-6FFA8F5D9F19}" sibTransId="{EFBAF898-3CD7-4610-86B3-C050BF91FFAE}"/>
    <dgm:cxn modelId="{CFFF8709-69AF-424A-B9AE-0D6ABF32FC39}" type="presOf" srcId="{2306976C-4A13-4082-8E8A-EE3FCDB01510}" destId="{40CA72FE-44D3-4AC0-B0AE-2EAFFE5D4FAB}" srcOrd="0" destOrd="0" presId="urn:microsoft.com/office/officeart/2005/8/layout/arrow2"/>
    <dgm:cxn modelId="{4BEECBBF-4A13-4B13-A193-CEBE76B9B459}" srcId="{49A16554-E549-4732-9943-622A25CF667A}" destId="{D4189A39-0B6A-477E-9B90-DFC22D2B596C}" srcOrd="0" destOrd="0" parTransId="{F019810C-B009-49DC-B509-261742A15CC5}" sibTransId="{6ECEB5F8-13C2-4FD5-977F-7BD60766494A}"/>
    <dgm:cxn modelId="{0821CDE3-1615-4E89-B4E7-B2A0EE26D2CF}" type="presOf" srcId="{49A16554-E549-4732-9943-622A25CF667A}" destId="{ABB4D520-A978-461A-AEAB-05C6B55659B8}" srcOrd="0" destOrd="0" presId="urn:microsoft.com/office/officeart/2005/8/layout/arrow2"/>
    <dgm:cxn modelId="{F1E754F2-4B10-438D-82A9-CF8AD3DDE14F}" srcId="{49A16554-E549-4732-9943-622A25CF667A}" destId="{2306976C-4A13-4082-8E8A-EE3FCDB01510}" srcOrd="3" destOrd="0" parTransId="{AE6CB712-3BB0-4A9A-A4C0-E58D9A76396B}" sibTransId="{13A357EC-1014-4CDF-BADD-7CF2AE6C876F}"/>
    <dgm:cxn modelId="{6743F245-84BD-40ED-82CC-3ADA23A5F0C9}" type="presOf" srcId="{688B7E88-EC3B-4F88-AED5-E859AD91A12D}" destId="{A7B095AD-58CA-4155-9A9F-0BF9B26BF52F}" srcOrd="0" destOrd="0" presId="urn:microsoft.com/office/officeart/2005/8/layout/arrow2"/>
    <dgm:cxn modelId="{F0C119E3-F96D-464D-8B86-80852E37C710}" type="presOf" srcId="{6BA545D3-6D54-452C-97F2-59C2BFA311B1}" destId="{4DEFDA97-0DE9-47C6-893A-10C777B58DC2}" srcOrd="0" destOrd="0" presId="urn:microsoft.com/office/officeart/2005/8/layout/arrow2"/>
    <dgm:cxn modelId="{F9103322-9A11-4654-84D1-E0D940046849}" srcId="{49A16554-E549-4732-9943-622A25CF667A}" destId="{688B7E88-EC3B-4F88-AED5-E859AD91A12D}" srcOrd="1" destOrd="0" parTransId="{41E59EA6-9BCC-4225-AF4E-FBC0AF9F4DD1}" sibTransId="{C602BE2F-BCB9-4711-AFCA-1849AD43B19F}"/>
    <dgm:cxn modelId="{C172501D-8908-4DE6-ABD3-F167D52C7E9A}" type="presOf" srcId="{D4189A39-0B6A-477E-9B90-DFC22D2B596C}" destId="{6AFDEE07-2E2A-42FA-A063-D1AE4104C10B}" srcOrd="0" destOrd="0" presId="urn:microsoft.com/office/officeart/2005/8/layout/arrow2"/>
    <dgm:cxn modelId="{8AA298E6-6206-49BD-AD7F-12AD887FBFCE}" srcId="{49A16554-E549-4732-9943-622A25CF667A}" destId="{6BA545D3-6D54-452C-97F2-59C2BFA311B1}" srcOrd="2" destOrd="0" parTransId="{A53257B5-0208-4432-9EFD-A29F7907AD9A}" sibTransId="{7F2DF439-A1B0-4006-9E0F-8542B12ADDFE}"/>
    <dgm:cxn modelId="{BCA5D4A8-2C31-47EA-8DAC-1D5E6170A1F4}" type="presParOf" srcId="{ABB4D520-A978-461A-AEAB-05C6B55659B8}" destId="{D84EFD90-359B-4C6C-A908-F71AA9DCA3DB}" srcOrd="0" destOrd="0" presId="urn:microsoft.com/office/officeart/2005/8/layout/arrow2"/>
    <dgm:cxn modelId="{536CA18C-92B2-4322-A770-BF2116CA41E0}" type="presParOf" srcId="{ABB4D520-A978-461A-AEAB-05C6B55659B8}" destId="{7BA06E49-19B2-4E65-80C7-11F7359E4AED}" srcOrd="1" destOrd="0" presId="urn:microsoft.com/office/officeart/2005/8/layout/arrow2"/>
    <dgm:cxn modelId="{AD881D2C-2BBC-40C5-9F06-F9ECCAEC524A}" type="presParOf" srcId="{7BA06E49-19B2-4E65-80C7-11F7359E4AED}" destId="{5DEF51CE-F9AE-44F0-BDF4-5B3AED9C395C}" srcOrd="0" destOrd="0" presId="urn:microsoft.com/office/officeart/2005/8/layout/arrow2"/>
    <dgm:cxn modelId="{99D706EC-5371-403F-BDF4-C4A6DAD4DDB9}" type="presParOf" srcId="{7BA06E49-19B2-4E65-80C7-11F7359E4AED}" destId="{6AFDEE07-2E2A-42FA-A063-D1AE4104C10B}" srcOrd="1" destOrd="0" presId="urn:microsoft.com/office/officeart/2005/8/layout/arrow2"/>
    <dgm:cxn modelId="{9012C38B-3BEA-4322-B809-8A2934CAB129}" type="presParOf" srcId="{7BA06E49-19B2-4E65-80C7-11F7359E4AED}" destId="{77AA81A1-43B5-4754-AFA8-6465C1A5082B}" srcOrd="2" destOrd="0" presId="urn:microsoft.com/office/officeart/2005/8/layout/arrow2"/>
    <dgm:cxn modelId="{23A35B30-B12E-4BCF-988E-A5AF4A31C31A}" type="presParOf" srcId="{7BA06E49-19B2-4E65-80C7-11F7359E4AED}" destId="{A7B095AD-58CA-4155-9A9F-0BF9B26BF52F}" srcOrd="3" destOrd="0" presId="urn:microsoft.com/office/officeart/2005/8/layout/arrow2"/>
    <dgm:cxn modelId="{A1F4AFD1-CB6A-4CC9-A11D-5E991C7993CE}" type="presParOf" srcId="{7BA06E49-19B2-4E65-80C7-11F7359E4AED}" destId="{54499A1E-785C-4038-8CFB-77265C7F0DA2}" srcOrd="4" destOrd="0" presId="urn:microsoft.com/office/officeart/2005/8/layout/arrow2"/>
    <dgm:cxn modelId="{8F4D1187-ACF5-4BF6-916D-912474C112F8}" type="presParOf" srcId="{7BA06E49-19B2-4E65-80C7-11F7359E4AED}" destId="{4DEFDA97-0DE9-47C6-893A-10C777B58DC2}" srcOrd="5" destOrd="0" presId="urn:microsoft.com/office/officeart/2005/8/layout/arrow2"/>
    <dgm:cxn modelId="{78A15D00-057C-4769-906B-955A711501A3}" type="presParOf" srcId="{7BA06E49-19B2-4E65-80C7-11F7359E4AED}" destId="{7D00979D-FCB2-4CA7-81BA-D134CE7DAC9B}" srcOrd="6" destOrd="0" presId="urn:microsoft.com/office/officeart/2005/8/layout/arrow2"/>
    <dgm:cxn modelId="{54C5BCF5-7749-4E3E-8BBA-3C4F54B59E8C}" type="presParOf" srcId="{7BA06E49-19B2-4E65-80C7-11F7359E4AED}" destId="{40CA72FE-44D3-4AC0-B0AE-2EAFFE5D4FAB}" srcOrd="7" destOrd="0" presId="urn:microsoft.com/office/officeart/2005/8/layout/arrow2"/>
    <dgm:cxn modelId="{9C21A820-8BF4-4AA9-AF6A-B62AD994CFA3}" type="presParOf" srcId="{7BA06E49-19B2-4E65-80C7-11F7359E4AED}" destId="{417751CC-FA0D-40CB-B2E4-D56457C8D8C4}" srcOrd="8" destOrd="0" presId="urn:microsoft.com/office/officeart/2005/8/layout/arrow2"/>
    <dgm:cxn modelId="{805CE6AA-B5F3-4D16-A888-03F6B6FF1D1E}" type="presParOf" srcId="{7BA06E49-19B2-4E65-80C7-11F7359E4AED}" destId="{325E4033-B7C8-4896-BD50-E8C41FAB4BA7}" srcOrd="9"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F7D1D3B-3B51-42B3-B672-D51446F94BA0}" type="doc">
      <dgm:prSet loTypeId="urn:microsoft.com/office/officeart/2005/8/layout/radial2" loCatId="relationship" qsTypeId="urn:microsoft.com/office/officeart/2005/8/quickstyle/simple1" qsCatId="simple" csTypeId="urn:microsoft.com/office/officeart/2005/8/colors/accent1_2" csCatId="accent1" phldr="1"/>
      <dgm:spPr/>
      <dgm:t>
        <a:bodyPr/>
        <a:lstStyle/>
        <a:p>
          <a:endParaRPr lang="ru-RU"/>
        </a:p>
      </dgm:t>
    </dgm:pt>
    <dgm:pt modelId="{F6DD6B79-46E8-43DF-9992-29F93FC16D91}">
      <dgm:prSet phldrT="[Текст]" custT="1"/>
      <dgm:spPr>
        <a:solidFill>
          <a:schemeClr val="tx2">
            <a:lumMod val="60000"/>
            <a:lumOff val="40000"/>
          </a:schemeClr>
        </a:solidFill>
        <a:scene3d>
          <a:camera prst="orthographicFront"/>
          <a:lightRig rig="threePt" dir="t"/>
        </a:scene3d>
        <a:sp3d>
          <a:bevelT/>
        </a:sp3d>
      </dgm:spPr>
      <dgm:t>
        <a:bodyPr lIns="0" tIns="0" rIns="0" bIns="0"/>
        <a:lstStyle/>
        <a:p>
          <a:r>
            <a:rPr lang="ru-RU" sz="900" b="1" dirty="0" smtClean="0"/>
            <a:t>Организатор</a:t>
          </a:r>
          <a:endParaRPr lang="ru-RU" sz="900" b="1" dirty="0"/>
        </a:p>
      </dgm:t>
    </dgm:pt>
    <dgm:pt modelId="{CA374FE1-BF36-4900-A1CD-315CF41764A7}" type="parTrans" cxnId="{BB02DE5C-A67B-406D-8BA0-CCA97D2CBCF5}">
      <dgm:prSet/>
      <dgm:spPr/>
      <dgm:t>
        <a:bodyPr/>
        <a:lstStyle/>
        <a:p>
          <a:endParaRPr lang="ru-RU"/>
        </a:p>
      </dgm:t>
    </dgm:pt>
    <dgm:pt modelId="{8F7E880D-E5F9-4FCE-8746-E0E7DFF13E3F}" type="sibTrans" cxnId="{BB02DE5C-A67B-406D-8BA0-CCA97D2CBCF5}">
      <dgm:prSet/>
      <dgm:spPr/>
      <dgm:t>
        <a:bodyPr/>
        <a:lstStyle/>
        <a:p>
          <a:endParaRPr lang="ru-RU"/>
        </a:p>
      </dgm:t>
    </dgm:pt>
    <dgm:pt modelId="{BF34A994-8F08-4496-B90B-F5908759ABA4}">
      <dgm:prSet phldrT="[Текст]" custT="1"/>
      <dgm:spPr>
        <a:solidFill>
          <a:schemeClr val="accent1">
            <a:lumMod val="75000"/>
          </a:schemeClr>
        </a:solidFill>
        <a:scene3d>
          <a:camera prst="orthographicFront"/>
          <a:lightRig rig="threePt" dir="t"/>
        </a:scene3d>
        <a:sp3d>
          <a:bevelT/>
        </a:sp3d>
      </dgm:spPr>
      <dgm:t>
        <a:bodyPr/>
        <a:lstStyle/>
        <a:p>
          <a:r>
            <a:rPr lang="ru-RU" sz="900" b="1" dirty="0" smtClean="0"/>
            <a:t>Мастер-</a:t>
          </a:r>
          <a:r>
            <a:rPr lang="ru-RU" sz="900" b="1" dirty="0" err="1" smtClean="0"/>
            <a:t>сервисер</a:t>
          </a:r>
          <a:endParaRPr lang="ru-RU" sz="900" b="1" dirty="0"/>
        </a:p>
      </dgm:t>
    </dgm:pt>
    <dgm:pt modelId="{A68B2F4D-97BF-4DC8-ACD0-6F0781B14214}" type="parTrans" cxnId="{FF423846-7462-489F-8F29-E31979D391FD}">
      <dgm:prSet/>
      <dgm:spPr/>
      <dgm:t>
        <a:bodyPr/>
        <a:lstStyle/>
        <a:p>
          <a:endParaRPr lang="ru-RU"/>
        </a:p>
      </dgm:t>
    </dgm:pt>
    <dgm:pt modelId="{EE51A983-65A4-48BC-B68C-803455B28B6B}" type="sibTrans" cxnId="{FF423846-7462-489F-8F29-E31979D391FD}">
      <dgm:prSet/>
      <dgm:spPr/>
      <dgm:t>
        <a:bodyPr/>
        <a:lstStyle/>
        <a:p>
          <a:endParaRPr lang="ru-RU"/>
        </a:p>
      </dgm:t>
    </dgm:pt>
    <dgm:pt modelId="{C3B52E13-8A88-49FC-BB9A-CB67AFE8987C}">
      <dgm:prSet phldrT="[Текст]" custT="1"/>
      <dgm:spPr>
        <a:solidFill>
          <a:schemeClr val="tx2">
            <a:lumMod val="60000"/>
            <a:lumOff val="40000"/>
          </a:schemeClr>
        </a:solidFill>
        <a:scene3d>
          <a:camera prst="orthographicFront"/>
          <a:lightRig rig="threePt" dir="t"/>
        </a:scene3d>
        <a:sp3d>
          <a:bevelT/>
        </a:sp3d>
      </dgm:spPr>
      <dgm:t>
        <a:bodyPr/>
        <a:lstStyle/>
        <a:p>
          <a:r>
            <a:rPr lang="ru-RU" sz="1200" b="1" dirty="0" smtClean="0"/>
            <a:t>Банк счета</a:t>
          </a:r>
          <a:endParaRPr lang="ru-RU" sz="1200" b="1" dirty="0"/>
        </a:p>
      </dgm:t>
    </dgm:pt>
    <dgm:pt modelId="{844BBB93-1D88-44DC-923F-25B986491908}" type="parTrans" cxnId="{42A71FE3-2F2A-4CF1-8FAD-923451D32AB1}">
      <dgm:prSet/>
      <dgm:spPr/>
      <dgm:t>
        <a:bodyPr/>
        <a:lstStyle/>
        <a:p>
          <a:endParaRPr lang="ru-RU"/>
        </a:p>
      </dgm:t>
    </dgm:pt>
    <dgm:pt modelId="{CFB8CE91-FEA5-463F-B8DD-8FC734023F67}" type="sibTrans" cxnId="{42A71FE3-2F2A-4CF1-8FAD-923451D32AB1}">
      <dgm:prSet/>
      <dgm:spPr/>
      <dgm:t>
        <a:bodyPr/>
        <a:lstStyle/>
        <a:p>
          <a:endParaRPr lang="ru-RU"/>
        </a:p>
      </dgm:t>
    </dgm:pt>
    <dgm:pt modelId="{CA0E3B38-C2E3-43CD-B36C-A10DBF3EA89B}">
      <dgm:prSet phldrT="[Текст]" custT="1"/>
      <dgm:spPr>
        <a:solidFill>
          <a:schemeClr val="accent1">
            <a:lumMod val="75000"/>
          </a:schemeClr>
        </a:solidFill>
        <a:scene3d>
          <a:camera prst="orthographicFront"/>
          <a:lightRig rig="threePt" dir="t"/>
        </a:scene3d>
        <a:sp3d>
          <a:bevelT/>
        </a:sp3d>
      </dgm:spPr>
      <dgm:t>
        <a:bodyPr/>
        <a:lstStyle/>
        <a:p>
          <a:r>
            <a:rPr lang="ru-RU" sz="1200" b="1" dirty="0" smtClean="0"/>
            <a:t>Бридж-кредит</a:t>
          </a:r>
          <a:endParaRPr lang="ru-RU" sz="1200" b="1" dirty="0"/>
        </a:p>
      </dgm:t>
    </dgm:pt>
    <dgm:pt modelId="{558E0586-D0BC-4773-AFAB-5C2B7958A211}" type="parTrans" cxnId="{F77DC9C6-B22A-42FB-8B42-7C6C4B72DD2B}">
      <dgm:prSet/>
      <dgm:spPr/>
      <dgm:t>
        <a:bodyPr/>
        <a:lstStyle/>
        <a:p>
          <a:endParaRPr lang="ru-RU"/>
        </a:p>
      </dgm:t>
    </dgm:pt>
    <dgm:pt modelId="{CF858E03-4937-4CDA-9C77-3A3C99055CE0}" type="sibTrans" cxnId="{F77DC9C6-B22A-42FB-8B42-7C6C4B72DD2B}">
      <dgm:prSet/>
      <dgm:spPr/>
      <dgm:t>
        <a:bodyPr/>
        <a:lstStyle/>
        <a:p>
          <a:endParaRPr lang="ru-RU"/>
        </a:p>
      </dgm:t>
    </dgm:pt>
    <dgm:pt modelId="{E4A1D3D4-AD9C-4561-B554-F6E98D58B132}">
      <dgm:prSet phldrT="[Текст]" custT="1"/>
      <dgm:spPr>
        <a:solidFill>
          <a:schemeClr val="tx2">
            <a:lumMod val="60000"/>
            <a:lumOff val="40000"/>
          </a:schemeClr>
        </a:solidFill>
        <a:scene3d>
          <a:camera prst="orthographicFront"/>
          <a:lightRig rig="threePt" dir="t"/>
        </a:scene3d>
        <a:sp3d>
          <a:bevelT/>
        </a:sp3d>
      </dgm:spPr>
      <dgm:t>
        <a:bodyPr/>
        <a:lstStyle/>
        <a:p>
          <a:r>
            <a:rPr lang="ru-RU" sz="1100" b="1" dirty="0" smtClean="0"/>
            <a:t>Гарант размещения</a:t>
          </a:r>
          <a:endParaRPr lang="ru-RU" sz="1100" b="1" dirty="0"/>
        </a:p>
      </dgm:t>
    </dgm:pt>
    <dgm:pt modelId="{DEB93B48-771F-4D22-9BA9-4011DC789CF4}" type="parTrans" cxnId="{11E29BE6-E2CC-465B-B591-5C810C0E42C2}">
      <dgm:prSet/>
      <dgm:spPr/>
      <dgm:t>
        <a:bodyPr/>
        <a:lstStyle/>
        <a:p>
          <a:endParaRPr lang="ru-RU"/>
        </a:p>
      </dgm:t>
    </dgm:pt>
    <dgm:pt modelId="{812D7564-19F3-4D1F-A20A-D2FD214D26DA}" type="sibTrans" cxnId="{11E29BE6-E2CC-465B-B591-5C810C0E42C2}">
      <dgm:prSet/>
      <dgm:spPr/>
      <dgm:t>
        <a:bodyPr/>
        <a:lstStyle/>
        <a:p>
          <a:endParaRPr lang="ru-RU"/>
        </a:p>
      </dgm:t>
    </dgm:pt>
    <dgm:pt modelId="{EF850EAD-6B6A-4C14-8ACD-78FCF007AAE7}">
      <dgm:prSet phldrT="[Текст]" custT="1"/>
      <dgm:spPr>
        <a:solidFill>
          <a:schemeClr val="accent1">
            <a:lumMod val="75000"/>
          </a:schemeClr>
        </a:solidFill>
        <a:scene3d>
          <a:camera prst="orthographicFront"/>
          <a:lightRig rig="threePt" dir="t"/>
        </a:scene3d>
        <a:sp3d>
          <a:bevelT/>
        </a:sp3d>
      </dgm:spPr>
      <dgm:t>
        <a:bodyPr/>
        <a:lstStyle/>
        <a:p>
          <a:r>
            <a:rPr lang="ru-RU" sz="900" b="1" dirty="0" smtClean="0"/>
            <a:t>Якорный инвестор</a:t>
          </a:r>
          <a:endParaRPr lang="ru-RU" sz="900" b="1" dirty="0"/>
        </a:p>
      </dgm:t>
    </dgm:pt>
    <dgm:pt modelId="{8B57EBA1-A1A5-4FEA-A34A-F32E814B2731}" type="parTrans" cxnId="{004E02D2-4892-4816-A329-B6904B84F7F6}">
      <dgm:prSet/>
      <dgm:spPr/>
      <dgm:t>
        <a:bodyPr/>
        <a:lstStyle/>
        <a:p>
          <a:endParaRPr lang="ru-RU"/>
        </a:p>
      </dgm:t>
    </dgm:pt>
    <dgm:pt modelId="{B0396219-D8E9-41B0-A7C5-DB3200C0AA90}" type="sibTrans" cxnId="{004E02D2-4892-4816-A329-B6904B84F7F6}">
      <dgm:prSet/>
      <dgm:spPr/>
      <dgm:t>
        <a:bodyPr/>
        <a:lstStyle/>
        <a:p>
          <a:endParaRPr lang="ru-RU"/>
        </a:p>
      </dgm:t>
    </dgm:pt>
    <dgm:pt modelId="{FB94A4C8-5045-4136-BDA7-1E96FBA9761F}">
      <dgm:prSet phldrT="[Текст]" custT="1"/>
      <dgm:spPr>
        <a:solidFill>
          <a:schemeClr val="tx2">
            <a:lumMod val="60000"/>
            <a:lumOff val="40000"/>
          </a:schemeClr>
        </a:solidFill>
        <a:scene3d>
          <a:camera prst="orthographicFront"/>
          <a:lightRig rig="threePt" dir="t"/>
        </a:scene3d>
        <a:sp3d>
          <a:bevelT/>
        </a:sp3d>
      </dgm:spPr>
      <dgm:t>
        <a:bodyPr lIns="0" rIns="0"/>
        <a:lstStyle/>
        <a:p>
          <a:r>
            <a:rPr lang="ru-RU" sz="1050" b="1" dirty="0" smtClean="0"/>
            <a:t>Расчет </a:t>
          </a:r>
          <a:r>
            <a:rPr lang="ru-RU" sz="1050" b="1" dirty="0" err="1" smtClean="0"/>
            <a:t>ный</a:t>
          </a:r>
          <a:r>
            <a:rPr lang="ru-RU" sz="1050" b="1" dirty="0" smtClean="0"/>
            <a:t> агент</a:t>
          </a:r>
          <a:endParaRPr lang="ru-RU" sz="1050" b="1" dirty="0"/>
        </a:p>
      </dgm:t>
    </dgm:pt>
    <dgm:pt modelId="{23568515-F3A5-4030-8C78-85F6A814C755}" type="parTrans" cxnId="{CF80907D-0771-4E35-9B98-5ECED363C11E}">
      <dgm:prSet/>
      <dgm:spPr/>
      <dgm:t>
        <a:bodyPr/>
        <a:lstStyle/>
        <a:p>
          <a:endParaRPr lang="ru-RU"/>
        </a:p>
      </dgm:t>
    </dgm:pt>
    <dgm:pt modelId="{B1508FED-4461-46D8-A82F-F34CF74C5998}" type="sibTrans" cxnId="{CF80907D-0771-4E35-9B98-5ECED363C11E}">
      <dgm:prSet/>
      <dgm:spPr/>
      <dgm:t>
        <a:bodyPr/>
        <a:lstStyle/>
        <a:p>
          <a:endParaRPr lang="ru-RU"/>
        </a:p>
      </dgm:t>
    </dgm:pt>
    <dgm:pt modelId="{A0FEEF8B-062D-48D0-B5DD-258400706931}" type="pres">
      <dgm:prSet presAssocID="{DF7D1D3B-3B51-42B3-B672-D51446F94BA0}" presName="composite" presStyleCnt="0">
        <dgm:presLayoutVars>
          <dgm:chMax val="5"/>
          <dgm:dir/>
          <dgm:animLvl val="ctr"/>
          <dgm:resizeHandles val="exact"/>
        </dgm:presLayoutVars>
      </dgm:prSet>
      <dgm:spPr/>
      <dgm:t>
        <a:bodyPr/>
        <a:lstStyle/>
        <a:p>
          <a:endParaRPr lang="ru-RU"/>
        </a:p>
      </dgm:t>
    </dgm:pt>
    <dgm:pt modelId="{A229AD18-24BA-454B-B6A3-C996C43C4C9D}" type="pres">
      <dgm:prSet presAssocID="{DF7D1D3B-3B51-42B3-B672-D51446F94BA0}" presName="cycle" presStyleCnt="0"/>
      <dgm:spPr/>
    </dgm:pt>
    <dgm:pt modelId="{3CAA02E8-5A19-41CE-A20F-DD8613C5A7BC}" type="pres">
      <dgm:prSet presAssocID="{DF7D1D3B-3B51-42B3-B672-D51446F94BA0}" presName="centerShape" presStyleCnt="0"/>
      <dgm:spPr/>
    </dgm:pt>
    <dgm:pt modelId="{AB5CBC45-298C-40AF-A580-7457C55E788F}" type="pres">
      <dgm:prSet presAssocID="{DF7D1D3B-3B51-42B3-B672-D51446F94BA0}" presName="connSite" presStyleLbl="node1" presStyleIdx="0" presStyleCnt="8"/>
      <dgm:spPr/>
    </dgm:pt>
    <dgm:pt modelId="{0F60A4F5-AE5F-4A61-BF10-CC89258C4770}" type="pres">
      <dgm:prSet presAssocID="{DF7D1D3B-3B51-42B3-B672-D51446F94BA0}" presName="visible" presStyleLbl="node1" presStyleIdx="0" presStyleCnt="8" custScaleX="161163" custScaleY="152910"/>
      <dgm:spPr>
        <a:solidFill>
          <a:schemeClr val="accent1">
            <a:lumMod val="60000"/>
            <a:lumOff val="40000"/>
          </a:schemeClr>
        </a:solidFill>
        <a:scene3d>
          <a:camera prst="orthographicFront"/>
          <a:lightRig rig="freezing" dir="t"/>
        </a:scene3d>
        <a:sp3d extrusionH="76200" prstMaterial="metal">
          <a:bevelT/>
          <a:extrusionClr>
            <a:schemeClr val="tx2">
              <a:lumMod val="75000"/>
            </a:schemeClr>
          </a:extrusionClr>
        </a:sp3d>
      </dgm:spPr>
    </dgm:pt>
    <dgm:pt modelId="{2D205E05-D6E6-4EE1-8B6B-4E9BC94CBC56}" type="pres">
      <dgm:prSet presAssocID="{CA374FE1-BF36-4900-A1CD-315CF41764A7}" presName="Name25" presStyleLbl="parChTrans1D1" presStyleIdx="0" presStyleCnt="7"/>
      <dgm:spPr/>
      <dgm:t>
        <a:bodyPr/>
        <a:lstStyle/>
        <a:p>
          <a:endParaRPr lang="ru-RU"/>
        </a:p>
      </dgm:t>
    </dgm:pt>
    <dgm:pt modelId="{E5E24986-DFA4-4554-BB29-B6BB5CB3E749}" type="pres">
      <dgm:prSet presAssocID="{F6DD6B79-46E8-43DF-9992-29F93FC16D91}" presName="node" presStyleCnt="0"/>
      <dgm:spPr/>
    </dgm:pt>
    <dgm:pt modelId="{13425434-F7F6-4FE2-A386-15356295DE3F}" type="pres">
      <dgm:prSet presAssocID="{F6DD6B79-46E8-43DF-9992-29F93FC16D91}" presName="parentNode" presStyleLbl="node1" presStyleIdx="1" presStyleCnt="8" custScaleX="139708" custScaleY="139708">
        <dgm:presLayoutVars>
          <dgm:chMax val="1"/>
          <dgm:bulletEnabled val="1"/>
        </dgm:presLayoutVars>
      </dgm:prSet>
      <dgm:spPr/>
      <dgm:t>
        <a:bodyPr/>
        <a:lstStyle/>
        <a:p>
          <a:endParaRPr lang="ru-RU"/>
        </a:p>
      </dgm:t>
    </dgm:pt>
    <dgm:pt modelId="{ECDEE745-7BC9-46F0-85EC-2C7FD9D8EFE2}" type="pres">
      <dgm:prSet presAssocID="{F6DD6B79-46E8-43DF-9992-29F93FC16D91}" presName="childNode" presStyleLbl="revTx" presStyleIdx="0" presStyleCnt="0">
        <dgm:presLayoutVars>
          <dgm:bulletEnabled val="1"/>
        </dgm:presLayoutVars>
      </dgm:prSet>
      <dgm:spPr/>
      <dgm:t>
        <a:bodyPr/>
        <a:lstStyle/>
        <a:p>
          <a:endParaRPr lang="ru-RU"/>
        </a:p>
      </dgm:t>
    </dgm:pt>
    <dgm:pt modelId="{22F825FE-80DA-4EAF-A10D-DE5C8392B149}" type="pres">
      <dgm:prSet presAssocID="{A68B2F4D-97BF-4DC8-ACD0-6F0781B14214}" presName="Name25" presStyleLbl="parChTrans1D1" presStyleIdx="1" presStyleCnt="7"/>
      <dgm:spPr/>
      <dgm:t>
        <a:bodyPr/>
        <a:lstStyle/>
        <a:p>
          <a:endParaRPr lang="ru-RU"/>
        </a:p>
      </dgm:t>
    </dgm:pt>
    <dgm:pt modelId="{85A0602A-1AC3-4A30-9DB4-625EC1D22A6F}" type="pres">
      <dgm:prSet presAssocID="{BF34A994-8F08-4496-B90B-F5908759ABA4}" presName="node" presStyleCnt="0"/>
      <dgm:spPr/>
    </dgm:pt>
    <dgm:pt modelId="{4009708D-6542-4A64-A2BC-7B717CCB9081}" type="pres">
      <dgm:prSet presAssocID="{BF34A994-8F08-4496-B90B-F5908759ABA4}" presName="parentNode" presStyleLbl="node1" presStyleIdx="2" presStyleCnt="8" custScaleX="139708" custScaleY="139708">
        <dgm:presLayoutVars>
          <dgm:chMax val="1"/>
          <dgm:bulletEnabled val="1"/>
        </dgm:presLayoutVars>
      </dgm:prSet>
      <dgm:spPr/>
      <dgm:t>
        <a:bodyPr/>
        <a:lstStyle/>
        <a:p>
          <a:endParaRPr lang="ru-RU"/>
        </a:p>
      </dgm:t>
    </dgm:pt>
    <dgm:pt modelId="{984DFA4E-98C6-4A85-A1CB-DC11A6297960}" type="pres">
      <dgm:prSet presAssocID="{BF34A994-8F08-4496-B90B-F5908759ABA4}" presName="childNode" presStyleLbl="revTx" presStyleIdx="0" presStyleCnt="0">
        <dgm:presLayoutVars>
          <dgm:bulletEnabled val="1"/>
        </dgm:presLayoutVars>
      </dgm:prSet>
      <dgm:spPr/>
    </dgm:pt>
    <dgm:pt modelId="{9870B111-EEE3-492C-8E82-AE141B433AF0}" type="pres">
      <dgm:prSet presAssocID="{844BBB93-1D88-44DC-923F-25B986491908}" presName="Name25" presStyleLbl="parChTrans1D1" presStyleIdx="2" presStyleCnt="7"/>
      <dgm:spPr/>
      <dgm:t>
        <a:bodyPr/>
        <a:lstStyle/>
        <a:p>
          <a:endParaRPr lang="ru-RU"/>
        </a:p>
      </dgm:t>
    </dgm:pt>
    <dgm:pt modelId="{E14A5EC6-E91D-47A9-8A57-D94A25E23FB8}" type="pres">
      <dgm:prSet presAssocID="{C3B52E13-8A88-49FC-BB9A-CB67AFE8987C}" presName="node" presStyleCnt="0"/>
      <dgm:spPr/>
    </dgm:pt>
    <dgm:pt modelId="{3BF6E245-5E75-4309-907F-587159A19847}" type="pres">
      <dgm:prSet presAssocID="{C3B52E13-8A88-49FC-BB9A-CB67AFE8987C}" presName="parentNode" presStyleLbl="node1" presStyleIdx="3" presStyleCnt="8" custScaleX="139708" custScaleY="139708">
        <dgm:presLayoutVars>
          <dgm:chMax val="1"/>
          <dgm:bulletEnabled val="1"/>
        </dgm:presLayoutVars>
      </dgm:prSet>
      <dgm:spPr/>
      <dgm:t>
        <a:bodyPr/>
        <a:lstStyle/>
        <a:p>
          <a:endParaRPr lang="ru-RU"/>
        </a:p>
      </dgm:t>
    </dgm:pt>
    <dgm:pt modelId="{B9EEB54B-4A51-4482-B64C-09B71BCEF558}" type="pres">
      <dgm:prSet presAssocID="{C3B52E13-8A88-49FC-BB9A-CB67AFE8987C}" presName="childNode" presStyleLbl="revTx" presStyleIdx="0" presStyleCnt="0">
        <dgm:presLayoutVars>
          <dgm:bulletEnabled val="1"/>
        </dgm:presLayoutVars>
      </dgm:prSet>
      <dgm:spPr/>
    </dgm:pt>
    <dgm:pt modelId="{2B49DFCA-4C13-44DD-963E-957D28794200}" type="pres">
      <dgm:prSet presAssocID="{558E0586-D0BC-4773-AFAB-5C2B7958A211}" presName="Name25" presStyleLbl="parChTrans1D1" presStyleIdx="3" presStyleCnt="7"/>
      <dgm:spPr/>
      <dgm:t>
        <a:bodyPr/>
        <a:lstStyle/>
        <a:p>
          <a:endParaRPr lang="ru-RU"/>
        </a:p>
      </dgm:t>
    </dgm:pt>
    <dgm:pt modelId="{9D1FED0C-BE41-42F5-B122-BFCB03BA592A}" type="pres">
      <dgm:prSet presAssocID="{CA0E3B38-C2E3-43CD-B36C-A10DBF3EA89B}" presName="node" presStyleCnt="0"/>
      <dgm:spPr/>
    </dgm:pt>
    <dgm:pt modelId="{091A2902-3EA3-46E6-BE55-F5BFA1C45FE7}" type="pres">
      <dgm:prSet presAssocID="{CA0E3B38-C2E3-43CD-B36C-A10DBF3EA89B}" presName="parentNode" presStyleLbl="node1" presStyleIdx="4" presStyleCnt="8" custScaleX="139708" custScaleY="139708">
        <dgm:presLayoutVars>
          <dgm:chMax val="1"/>
          <dgm:bulletEnabled val="1"/>
        </dgm:presLayoutVars>
      </dgm:prSet>
      <dgm:spPr/>
      <dgm:t>
        <a:bodyPr/>
        <a:lstStyle/>
        <a:p>
          <a:endParaRPr lang="ru-RU"/>
        </a:p>
      </dgm:t>
    </dgm:pt>
    <dgm:pt modelId="{7918ECCD-097A-4625-ABF4-E959DB02817A}" type="pres">
      <dgm:prSet presAssocID="{CA0E3B38-C2E3-43CD-B36C-A10DBF3EA89B}" presName="childNode" presStyleLbl="revTx" presStyleIdx="0" presStyleCnt="0">
        <dgm:presLayoutVars>
          <dgm:bulletEnabled val="1"/>
        </dgm:presLayoutVars>
      </dgm:prSet>
      <dgm:spPr/>
      <dgm:t>
        <a:bodyPr/>
        <a:lstStyle/>
        <a:p>
          <a:endParaRPr lang="ru-RU"/>
        </a:p>
      </dgm:t>
    </dgm:pt>
    <dgm:pt modelId="{FD1FF1BB-FE72-481A-B484-4097B0B697EA}" type="pres">
      <dgm:prSet presAssocID="{DEB93B48-771F-4D22-9BA9-4011DC789CF4}" presName="Name25" presStyleLbl="parChTrans1D1" presStyleIdx="4" presStyleCnt="7"/>
      <dgm:spPr/>
      <dgm:t>
        <a:bodyPr/>
        <a:lstStyle/>
        <a:p>
          <a:endParaRPr lang="ru-RU"/>
        </a:p>
      </dgm:t>
    </dgm:pt>
    <dgm:pt modelId="{C54B8A5C-1C93-4B83-8F81-4D7AE6C81AC3}" type="pres">
      <dgm:prSet presAssocID="{E4A1D3D4-AD9C-4561-B554-F6E98D58B132}" presName="node" presStyleCnt="0"/>
      <dgm:spPr/>
    </dgm:pt>
    <dgm:pt modelId="{66DE5345-F69C-4FA9-826E-362713062468}" type="pres">
      <dgm:prSet presAssocID="{E4A1D3D4-AD9C-4561-B554-F6E98D58B132}" presName="parentNode" presStyleLbl="node1" presStyleIdx="5" presStyleCnt="8" custScaleX="139708" custScaleY="139708">
        <dgm:presLayoutVars>
          <dgm:chMax val="1"/>
          <dgm:bulletEnabled val="1"/>
        </dgm:presLayoutVars>
      </dgm:prSet>
      <dgm:spPr/>
      <dgm:t>
        <a:bodyPr/>
        <a:lstStyle/>
        <a:p>
          <a:endParaRPr lang="ru-RU"/>
        </a:p>
      </dgm:t>
    </dgm:pt>
    <dgm:pt modelId="{66F4CDC6-3D57-4618-A514-51B53348549E}" type="pres">
      <dgm:prSet presAssocID="{E4A1D3D4-AD9C-4561-B554-F6E98D58B132}" presName="childNode" presStyleLbl="revTx" presStyleIdx="0" presStyleCnt="0">
        <dgm:presLayoutVars>
          <dgm:bulletEnabled val="1"/>
        </dgm:presLayoutVars>
      </dgm:prSet>
      <dgm:spPr/>
    </dgm:pt>
    <dgm:pt modelId="{F8B78486-095B-4FB9-A36D-BA6015687454}" type="pres">
      <dgm:prSet presAssocID="{8B57EBA1-A1A5-4FEA-A34A-F32E814B2731}" presName="Name25" presStyleLbl="parChTrans1D1" presStyleIdx="5" presStyleCnt="7"/>
      <dgm:spPr/>
      <dgm:t>
        <a:bodyPr/>
        <a:lstStyle/>
        <a:p>
          <a:endParaRPr lang="ru-RU"/>
        </a:p>
      </dgm:t>
    </dgm:pt>
    <dgm:pt modelId="{E6383E54-F540-403E-AA7C-790D3C5590A4}" type="pres">
      <dgm:prSet presAssocID="{EF850EAD-6B6A-4C14-8ACD-78FCF007AAE7}" presName="node" presStyleCnt="0"/>
      <dgm:spPr/>
    </dgm:pt>
    <dgm:pt modelId="{585F82C9-C8AC-4625-A613-E7C6D6B6AFEB}" type="pres">
      <dgm:prSet presAssocID="{EF850EAD-6B6A-4C14-8ACD-78FCF007AAE7}" presName="parentNode" presStyleLbl="node1" presStyleIdx="6" presStyleCnt="8" custScaleX="139708" custScaleY="139708">
        <dgm:presLayoutVars>
          <dgm:chMax val="1"/>
          <dgm:bulletEnabled val="1"/>
        </dgm:presLayoutVars>
      </dgm:prSet>
      <dgm:spPr/>
      <dgm:t>
        <a:bodyPr/>
        <a:lstStyle/>
        <a:p>
          <a:endParaRPr lang="ru-RU"/>
        </a:p>
      </dgm:t>
    </dgm:pt>
    <dgm:pt modelId="{5BD9AA91-5183-4370-83F9-658C2D078B3B}" type="pres">
      <dgm:prSet presAssocID="{EF850EAD-6B6A-4C14-8ACD-78FCF007AAE7}" presName="childNode" presStyleLbl="revTx" presStyleIdx="0" presStyleCnt="0">
        <dgm:presLayoutVars>
          <dgm:bulletEnabled val="1"/>
        </dgm:presLayoutVars>
      </dgm:prSet>
      <dgm:spPr/>
    </dgm:pt>
    <dgm:pt modelId="{79D780DB-76CE-4960-BF74-70A18B8ADE84}" type="pres">
      <dgm:prSet presAssocID="{23568515-F3A5-4030-8C78-85F6A814C755}" presName="Name25" presStyleLbl="parChTrans1D1" presStyleIdx="6" presStyleCnt="7"/>
      <dgm:spPr/>
      <dgm:t>
        <a:bodyPr/>
        <a:lstStyle/>
        <a:p>
          <a:endParaRPr lang="ru-RU"/>
        </a:p>
      </dgm:t>
    </dgm:pt>
    <dgm:pt modelId="{C1F2263D-CCCD-4B88-AD3E-925B58022A7B}" type="pres">
      <dgm:prSet presAssocID="{FB94A4C8-5045-4136-BDA7-1E96FBA9761F}" presName="node" presStyleCnt="0"/>
      <dgm:spPr/>
    </dgm:pt>
    <dgm:pt modelId="{C29C8605-1E24-42AE-A800-F40FC4680881}" type="pres">
      <dgm:prSet presAssocID="{FB94A4C8-5045-4136-BDA7-1E96FBA9761F}" presName="parentNode" presStyleLbl="node1" presStyleIdx="7" presStyleCnt="8" custScaleX="141102" custScaleY="141102">
        <dgm:presLayoutVars>
          <dgm:chMax val="1"/>
          <dgm:bulletEnabled val="1"/>
        </dgm:presLayoutVars>
      </dgm:prSet>
      <dgm:spPr/>
      <dgm:t>
        <a:bodyPr/>
        <a:lstStyle/>
        <a:p>
          <a:endParaRPr lang="ru-RU"/>
        </a:p>
      </dgm:t>
    </dgm:pt>
    <dgm:pt modelId="{5C1B21F8-280B-446C-B753-ED968A82D1E5}" type="pres">
      <dgm:prSet presAssocID="{FB94A4C8-5045-4136-BDA7-1E96FBA9761F}" presName="childNode" presStyleLbl="revTx" presStyleIdx="0" presStyleCnt="0">
        <dgm:presLayoutVars>
          <dgm:bulletEnabled val="1"/>
        </dgm:presLayoutVars>
      </dgm:prSet>
      <dgm:spPr/>
    </dgm:pt>
  </dgm:ptLst>
  <dgm:cxnLst>
    <dgm:cxn modelId="{FF423846-7462-489F-8F29-E31979D391FD}" srcId="{DF7D1D3B-3B51-42B3-B672-D51446F94BA0}" destId="{BF34A994-8F08-4496-B90B-F5908759ABA4}" srcOrd="1" destOrd="0" parTransId="{A68B2F4D-97BF-4DC8-ACD0-6F0781B14214}" sibTransId="{EE51A983-65A4-48BC-B68C-803455B28B6B}"/>
    <dgm:cxn modelId="{6A0C01A3-B79F-4157-B2B7-4B5A5729D56C}" type="presOf" srcId="{EF850EAD-6B6A-4C14-8ACD-78FCF007AAE7}" destId="{585F82C9-C8AC-4625-A613-E7C6D6B6AFEB}" srcOrd="0" destOrd="0" presId="urn:microsoft.com/office/officeart/2005/8/layout/radial2"/>
    <dgm:cxn modelId="{DFB6984F-9702-4520-8560-A1513BC3B5EB}" type="presOf" srcId="{CA374FE1-BF36-4900-A1CD-315CF41764A7}" destId="{2D205E05-D6E6-4EE1-8B6B-4E9BC94CBC56}" srcOrd="0" destOrd="0" presId="urn:microsoft.com/office/officeart/2005/8/layout/radial2"/>
    <dgm:cxn modelId="{09D80F28-DCCA-4547-94DF-53F6962F0960}" type="presOf" srcId="{FB94A4C8-5045-4136-BDA7-1E96FBA9761F}" destId="{C29C8605-1E24-42AE-A800-F40FC4680881}" srcOrd="0" destOrd="0" presId="urn:microsoft.com/office/officeart/2005/8/layout/radial2"/>
    <dgm:cxn modelId="{020E37BF-3C72-4C1F-9D7D-F8ABDFBF70D0}" type="presOf" srcId="{DEB93B48-771F-4D22-9BA9-4011DC789CF4}" destId="{FD1FF1BB-FE72-481A-B484-4097B0B697EA}" srcOrd="0" destOrd="0" presId="urn:microsoft.com/office/officeart/2005/8/layout/radial2"/>
    <dgm:cxn modelId="{62C005DA-FCC2-4530-B93A-0E08C317A3A9}" type="presOf" srcId="{BF34A994-8F08-4496-B90B-F5908759ABA4}" destId="{4009708D-6542-4A64-A2BC-7B717CCB9081}" srcOrd="0" destOrd="0" presId="urn:microsoft.com/office/officeart/2005/8/layout/radial2"/>
    <dgm:cxn modelId="{D33BFD58-DC7E-4B52-A8CC-F9D3B7154305}" type="presOf" srcId="{E4A1D3D4-AD9C-4561-B554-F6E98D58B132}" destId="{66DE5345-F69C-4FA9-826E-362713062468}" srcOrd="0" destOrd="0" presId="urn:microsoft.com/office/officeart/2005/8/layout/radial2"/>
    <dgm:cxn modelId="{CBB14134-DE2E-4F98-88AF-654EDAF51A8F}" type="presOf" srcId="{23568515-F3A5-4030-8C78-85F6A814C755}" destId="{79D780DB-76CE-4960-BF74-70A18B8ADE84}" srcOrd="0" destOrd="0" presId="urn:microsoft.com/office/officeart/2005/8/layout/radial2"/>
    <dgm:cxn modelId="{BC100934-96E9-4D2B-91C1-98136DC721BF}" type="presOf" srcId="{844BBB93-1D88-44DC-923F-25B986491908}" destId="{9870B111-EEE3-492C-8E82-AE141B433AF0}" srcOrd="0" destOrd="0" presId="urn:microsoft.com/office/officeart/2005/8/layout/radial2"/>
    <dgm:cxn modelId="{004E02D2-4892-4816-A329-B6904B84F7F6}" srcId="{DF7D1D3B-3B51-42B3-B672-D51446F94BA0}" destId="{EF850EAD-6B6A-4C14-8ACD-78FCF007AAE7}" srcOrd="5" destOrd="0" parTransId="{8B57EBA1-A1A5-4FEA-A34A-F32E814B2731}" sibTransId="{B0396219-D8E9-41B0-A7C5-DB3200C0AA90}"/>
    <dgm:cxn modelId="{03356600-B59E-469F-9BCA-DC6ACF24A680}" type="presOf" srcId="{A68B2F4D-97BF-4DC8-ACD0-6F0781B14214}" destId="{22F825FE-80DA-4EAF-A10D-DE5C8392B149}" srcOrd="0" destOrd="0" presId="urn:microsoft.com/office/officeart/2005/8/layout/radial2"/>
    <dgm:cxn modelId="{CF80907D-0771-4E35-9B98-5ECED363C11E}" srcId="{DF7D1D3B-3B51-42B3-B672-D51446F94BA0}" destId="{FB94A4C8-5045-4136-BDA7-1E96FBA9761F}" srcOrd="6" destOrd="0" parTransId="{23568515-F3A5-4030-8C78-85F6A814C755}" sibTransId="{B1508FED-4461-46D8-A82F-F34CF74C5998}"/>
    <dgm:cxn modelId="{11E29BE6-E2CC-465B-B591-5C810C0E42C2}" srcId="{DF7D1D3B-3B51-42B3-B672-D51446F94BA0}" destId="{E4A1D3D4-AD9C-4561-B554-F6E98D58B132}" srcOrd="4" destOrd="0" parTransId="{DEB93B48-771F-4D22-9BA9-4011DC789CF4}" sibTransId="{812D7564-19F3-4D1F-A20A-D2FD214D26DA}"/>
    <dgm:cxn modelId="{4D733ABD-744A-4E82-8736-9038E2658217}" type="presOf" srcId="{8B57EBA1-A1A5-4FEA-A34A-F32E814B2731}" destId="{F8B78486-095B-4FB9-A36D-BA6015687454}" srcOrd="0" destOrd="0" presId="urn:microsoft.com/office/officeart/2005/8/layout/radial2"/>
    <dgm:cxn modelId="{D5A0C905-DC5E-40D2-9C74-2F26D92D48E0}" type="presOf" srcId="{558E0586-D0BC-4773-AFAB-5C2B7958A211}" destId="{2B49DFCA-4C13-44DD-963E-957D28794200}" srcOrd="0" destOrd="0" presId="urn:microsoft.com/office/officeart/2005/8/layout/radial2"/>
    <dgm:cxn modelId="{F77DC9C6-B22A-42FB-8B42-7C6C4B72DD2B}" srcId="{DF7D1D3B-3B51-42B3-B672-D51446F94BA0}" destId="{CA0E3B38-C2E3-43CD-B36C-A10DBF3EA89B}" srcOrd="3" destOrd="0" parTransId="{558E0586-D0BC-4773-AFAB-5C2B7958A211}" sibTransId="{CF858E03-4937-4CDA-9C77-3A3C99055CE0}"/>
    <dgm:cxn modelId="{BB02DE5C-A67B-406D-8BA0-CCA97D2CBCF5}" srcId="{DF7D1D3B-3B51-42B3-B672-D51446F94BA0}" destId="{F6DD6B79-46E8-43DF-9992-29F93FC16D91}" srcOrd="0" destOrd="0" parTransId="{CA374FE1-BF36-4900-A1CD-315CF41764A7}" sibTransId="{8F7E880D-E5F9-4FCE-8746-E0E7DFF13E3F}"/>
    <dgm:cxn modelId="{3F0BF5A9-8DE1-4E1E-A6E5-C8EF6D939325}" type="presOf" srcId="{C3B52E13-8A88-49FC-BB9A-CB67AFE8987C}" destId="{3BF6E245-5E75-4309-907F-587159A19847}" srcOrd="0" destOrd="0" presId="urn:microsoft.com/office/officeart/2005/8/layout/radial2"/>
    <dgm:cxn modelId="{BB985812-DF66-4B6F-90DB-AB5A80CBA335}" type="presOf" srcId="{F6DD6B79-46E8-43DF-9992-29F93FC16D91}" destId="{13425434-F7F6-4FE2-A386-15356295DE3F}" srcOrd="0" destOrd="0" presId="urn:microsoft.com/office/officeart/2005/8/layout/radial2"/>
    <dgm:cxn modelId="{33905B41-43F6-40A1-8C1D-FFCD86A9A7C0}" type="presOf" srcId="{CA0E3B38-C2E3-43CD-B36C-A10DBF3EA89B}" destId="{091A2902-3EA3-46E6-BE55-F5BFA1C45FE7}" srcOrd="0" destOrd="0" presId="urn:microsoft.com/office/officeart/2005/8/layout/radial2"/>
    <dgm:cxn modelId="{366F2410-A02A-4673-BE8C-85B45CE9021B}" type="presOf" srcId="{DF7D1D3B-3B51-42B3-B672-D51446F94BA0}" destId="{A0FEEF8B-062D-48D0-B5DD-258400706931}" srcOrd="0" destOrd="0" presId="urn:microsoft.com/office/officeart/2005/8/layout/radial2"/>
    <dgm:cxn modelId="{42A71FE3-2F2A-4CF1-8FAD-923451D32AB1}" srcId="{DF7D1D3B-3B51-42B3-B672-D51446F94BA0}" destId="{C3B52E13-8A88-49FC-BB9A-CB67AFE8987C}" srcOrd="2" destOrd="0" parTransId="{844BBB93-1D88-44DC-923F-25B986491908}" sibTransId="{CFB8CE91-FEA5-463F-B8DD-8FC734023F67}"/>
    <dgm:cxn modelId="{0D623943-6013-40D2-83CA-8CBE12C75A37}" type="presParOf" srcId="{A0FEEF8B-062D-48D0-B5DD-258400706931}" destId="{A229AD18-24BA-454B-B6A3-C996C43C4C9D}" srcOrd="0" destOrd="0" presId="urn:microsoft.com/office/officeart/2005/8/layout/radial2"/>
    <dgm:cxn modelId="{0A33D4BD-0AAD-42C6-8FF4-D4D45BC0557F}" type="presParOf" srcId="{A229AD18-24BA-454B-B6A3-C996C43C4C9D}" destId="{3CAA02E8-5A19-41CE-A20F-DD8613C5A7BC}" srcOrd="0" destOrd="0" presId="urn:microsoft.com/office/officeart/2005/8/layout/radial2"/>
    <dgm:cxn modelId="{DA613DA1-CFA5-4D2E-BDD0-A8EFFC00FF81}" type="presParOf" srcId="{3CAA02E8-5A19-41CE-A20F-DD8613C5A7BC}" destId="{AB5CBC45-298C-40AF-A580-7457C55E788F}" srcOrd="0" destOrd="0" presId="urn:microsoft.com/office/officeart/2005/8/layout/radial2"/>
    <dgm:cxn modelId="{D9C05D14-A588-48E3-8815-C9051BA1E03C}" type="presParOf" srcId="{3CAA02E8-5A19-41CE-A20F-DD8613C5A7BC}" destId="{0F60A4F5-AE5F-4A61-BF10-CC89258C4770}" srcOrd="1" destOrd="0" presId="urn:microsoft.com/office/officeart/2005/8/layout/radial2"/>
    <dgm:cxn modelId="{35A70234-8ED4-48A7-9819-ADD581E87C0C}" type="presParOf" srcId="{A229AD18-24BA-454B-B6A3-C996C43C4C9D}" destId="{2D205E05-D6E6-4EE1-8B6B-4E9BC94CBC56}" srcOrd="1" destOrd="0" presId="urn:microsoft.com/office/officeart/2005/8/layout/radial2"/>
    <dgm:cxn modelId="{728DB523-C1D3-4B8B-B519-2BC04A6E141B}" type="presParOf" srcId="{A229AD18-24BA-454B-B6A3-C996C43C4C9D}" destId="{E5E24986-DFA4-4554-BB29-B6BB5CB3E749}" srcOrd="2" destOrd="0" presId="urn:microsoft.com/office/officeart/2005/8/layout/radial2"/>
    <dgm:cxn modelId="{029E7B8B-DE31-4105-B84F-B9164641AAF7}" type="presParOf" srcId="{E5E24986-DFA4-4554-BB29-B6BB5CB3E749}" destId="{13425434-F7F6-4FE2-A386-15356295DE3F}" srcOrd="0" destOrd="0" presId="urn:microsoft.com/office/officeart/2005/8/layout/radial2"/>
    <dgm:cxn modelId="{D62666E4-CC7A-4F4D-909B-11A8FA0B8456}" type="presParOf" srcId="{E5E24986-DFA4-4554-BB29-B6BB5CB3E749}" destId="{ECDEE745-7BC9-46F0-85EC-2C7FD9D8EFE2}" srcOrd="1" destOrd="0" presId="urn:microsoft.com/office/officeart/2005/8/layout/radial2"/>
    <dgm:cxn modelId="{C35790DD-2858-4ADF-94FD-244E1BEB0D82}" type="presParOf" srcId="{A229AD18-24BA-454B-B6A3-C996C43C4C9D}" destId="{22F825FE-80DA-4EAF-A10D-DE5C8392B149}" srcOrd="3" destOrd="0" presId="urn:microsoft.com/office/officeart/2005/8/layout/radial2"/>
    <dgm:cxn modelId="{9DF3B9DA-DB71-49AF-A6F0-BDFD8B6419AA}" type="presParOf" srcId="{A229AD18-24BA-454B-B6A3-C996C43C4C9D}" destId="{85A0602A-1AC3-4A30-9DB4-625EC1D22A6F}" srcOrd="4" destOrd="0" presId="urn:microsoft.com/office/officeart/2005/8/layout/radial2"/>
    <dgm:cxn modelId="{A206B274-AD10-4321-9D72-B232C00E60C2}" type="presParOf" srcId="{85A0602A-1AC3-4A30-9DB4-625EC1D22A6F}" destId="{4009708D-6542-4A64-A2BC-7B717CCB9081}" srcOrd="0" destOrd="0" presId="urn:microsoft.com/office/officeart/2005/8/layout/radial2"/>
    <dgm:cxn modelId="{F076F1D0-EC42-4B4D-95A9-06E89076197F}" type="presParOf" srcId="{85A0602A-1AC3-4A30-9DB4-625EC1D22A6F}" destId="{984DFA4E-98C6-4A85-A1CB-DC11A6297960}" srcOrd="1" destOrd="0" presId="urn:microsoft.com/office/officeart/2005/8/layout/radial2"/>
    <dgm:cxn modelId="{DE991966-7020-45AC-939F-3E74BC8C582A}" type="presParOf" srcId="{A229AD18-24BA-454B-B6A3-C996C43C4C9D}" destId="{9870B111-EEE3-492C-8E82-AE141B433AF0}" srcOrd="5" destOrd="0" presId="urn:microsoft.com/office/officeart/2005/8/layout/radial2"/>
    <dgm:cxn modelId="{53897EAB-3E22-4683-8E8B-BDEC0CF82007}" type="presParOf" srcId="{A229AD18-24BA-454B-B6A3-C996C43C4C9D}" destId="{E14A5EC6-E91D-47A9-8A57-D94A25E23FB8}" srcOrd="6" destOrd="0" presId="urn:microsoft.com/office/officeart/2005/8/layout/radial2"/>
    <dgm:cxn modelId="{0C378DBD-F36E-4163-B9D3-0521FB2E4394}" type="presParOf" srcId="{E14A5EC6-E91D-47A9-8A57-D94A25E23FB8}" destId="{3BF6E245-5E75-4309-907F-587159A19847}" srcOrd="0" destOrd="0" presId="urn:microsoft.com/office/officeart/2005/8/layout/radial2"/>
    <dgm:cxn modelId="{4D129EE8-11FD-4DB7-9240-272652E98060}" type="presParOf" srcId="{E14A5EC6-E91D-47A9-8A57-D94A25E23FB8}" destId="{B9EEB54B-4A51-4482-B64C-09B71BCEF558}" srcOrd="1" destOrd="0" presId="urn:microsoft.com/office/officeart/2005/8/layout/radial2"/>
    <dgm:cxn modelId="{557C98F1-4402-44D1-AD6C-4B13BF56977B}" type="presParOf" srcId="{A229AD18-24BA-454B-B6A3-C996C43C4C9D}" destId="{2B49DFCA-4C13-44DD-963E-957D28794200}" srcOrd="7" destOrd="0" presId="urn:microsoft.com/office/officeart/2005/8/layout/radial2"/>
    <dgm:cxn modelId="{5F1AF039-8016-4A81-996F-7425CE992BF6}" type="presParOf" srcId="{A229AD18-24BA-454B-B6A3-C996C43C4C9D}" destId="{9D1FED0C-BE41-42F5-B122-BFCB03BA592A}" srcOrd="8" destOrd="0" presId="urn:microsoft.com/office/officeart/2005/8/layout/radial2"/>
    <dgm:cxn modelId="{EED16600-BE77-4080-80A2-CF2E4FDBA978}" type="presParOf" srcId="{9D1FED0C-BE41-42F5-B122-BFCB03BA592A}" destId="{091A2902-3EA3-46E6-BE55-F5BFA1C45FE7}" srcOrd="0" destOrd="0" presId="urn:microsoft.com/office/officeart/2005/8/layout/radial2"/>
    <dgm:cxn modelId="{AAB6DD8A-4D50-404D-86B7-7DB0E4F21D2A}" type="presParOf" srcId="{9D1FED0C-BE41-42F5-B122-BFCB03BA592A}" destId="{7918ECCD-097A-4625-ABF4-E959DB02817A}" srcOrd="1" destOrd="0" presId="urn:microsoft.com/office/officeart/2005/8/layout/radial2"/>
    <dgm:cxn modelId="{5A9DFC1F-A9A3-430E-A9BC-196BF13B5FE3}" type="presParOf" srcId="{A229AD18-24BA-454B-B6A3-C996C43C4C9D}" destId="{FD1FF1BB-FE72-481A-B484-4097B0B697EA}" srcOrd="9" destOrd="0" presId="urn:microsoft.com/office/officeart/2005/8/layout/radial2"/>
    <dgm:cxn modelId="{26B78818-C63F-4E32-AB48-E71F578BBDF3}" type="presParOf" srcId="{A229AD18-24BA-454B-B6A3-C996C43C4C9D}" destId="{C54B8A5C-1C93-4B83-8F81-4D7AE6C81AC3}" srcOrd="10" destOrd="0" presId="urn:microsoft.com/office/officeart/2005/8/layout/radial2"/>
    <dgm:cxn modelId="{23436B9C-574D-499D-BD76-4FE131083B7C}" type="presParOf" srcId="{C54B8A5C-1C93-4B83-8F81-4D7AE6C81AC3}" destId="{66DE5345-F69C-4FA9-826E-362713062468}" srcOrd="0" destOrd="0" presId="urn:microsoft.com/office/officeart/2005/8/layout/radial2"/>
    <dgm:cxn modelId="{62D534EB-8476-4F6D-8383-BFADAFCE4417}" type="presParOf" srcId="{C54B8A5C-1C93-4B83-8F81-4D7AE6C81AC3}" destId="{66F4CDC6-3D57-4618-A514-51B53348549E}" srcOrd="1" destOrd="0" presId="urn:microsoft.com/office/officeart/2005/8/layout/radial2"/>
    <dgm:cxn modelId="{83F0F77E-E898-4212-BA77-72765F6F866E}" type="presParOf" srcId="{A229AD18-24BA-454B-B6A3-C996C43C4C9D}" destId="{F8B78486-095B-4FB9-A36D-BA6015687454}" srcOrd="11" destOrd="0" presId="urn:microsoft.com/office/officeart/2005/8/layout/radial2"/>
    <dgm:cxn modelId="{585672BA-6A29-48F6-B618-AD0DA957D019}" type="presParOf" srcId="{A229AD18-24BA-454B-B6A3-C996C43C4C9D}" destId="{E6383E54-F540-403E-AA7C-790D3C5590A4}" srcOrd="12" destOrd="0" presId="urn:microsoft.com/office/officeart/2005/8/layout/radial2"/>
    <dgm:cxn modelId="{05F08224-EC41-459F-979F-AC42CBE80DBF}" type="presParOf" srcId="{E6383E54-F540-403E-AA7C-790D3C5590A4}" destId="{585F82C9-C8AC-4625-A613-E7C6D6B6AFEB}" srcOrd="0" destOrd="0" presId="urn:microsoft.com/office/officeart/2005/8/layout/radial2"/>
    <dgm:cxn modelId="{002E4A39-419F-4FC1-A79F-7C2D21795353}" type="presParOf" srcId="{E6383E54-F540-403E-AA7C-790D3C5590A4}" destId="{5BD9AA91-5183-4370-83F9-658C2D078B3B}" srcOrd="1" destOrd="0" presId="urn:microsoft.com/office/officeart/2005/8/layout/radial2"/>
    <dgm:cxn modelId="{F43FBACC-D66F-413A-BBEB-6FD97AE6A4DD}" type="presParOf" srcId="{A229AD18-24BA-454B-B6A3-C996C43C4C9D}" destId="{79D780DB-76CE-4960-BF74-70A18B8ADE84}" srcOrd="13" destOrd="0" presId="urn:microsoft.com/office/officeart/2005/8/layout/radial2"/>
    <dgm:cxn modelId="{BA0B17EC-1FEB-40B3-929C-B0E11C5AE9DA}" type="presParOf" srcId="{A229AD18-24BA-454B-B6A3-C996C43C4C9D}" destId="{C1F2263D-CCCD-4B88-AD3E-925B58022A7B}" srcOrd="14" destOrd="0" presId="urn:microsoft.com/office/officeart/2005/8/layout/radial2"/>
    <dgm:cxn modelId="{49ED149A-A9F0-4903-BC29-172935785287}" type="presParOf" srcId="{C1F2263D-CCCD-4B88-AD3E-925B58022A7B}" destId="{C29C8605-1E24-42AE-A800-F40FC4680881}" srcOrd="0" destOrd="0" presId="urn:microsoft.com/office/officeart/2005/8/layout/radial2"/>
    <dgm:cxn modelId="{14F35245-22B3-44FC-9BC9-5DE31BB10A7C}" type="presParOf" srcId="{C1F2263D-CCCD-4B88-AD3E-925B58022A7B}" destId="{5C1B21F8-280B-446C-B753-ED968A82D1E5}"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600435" y="1875357"/>
          <a:ext cx="2165764" cy="165112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займа/гарантии</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8432" y="1913354"/>
        <a:ext cx="2089770" cy="1221316"/>
      </dsp:txXfrm>
    </dsp:sp>
    <dsp:sp modelId="{F827665D-69F4-4582-BEB2-A5794CA30A06}">
      <dsp:nvSpPr>
        <dsp:cNvPr id="0" name=""/>
        <dsp:cNvSpPr/>
      </dsp:nvSpPr>
      <dsp:spPr>
        <a:xfrm>
          <a:off x="1683020" y="1823709"/>
          <a:ext cx="2571744" cy="257174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09750" y="3311218"/>
          <a:ext cx="1869688" cy="743513"/>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31527" y="3332995"/>
        <a:ext cx="1826134" cy="699959"/>
      </dsp:txXfrm>
    </dsp:sp>
    <dsp:sp modelId="{86DDBEE2-8B91-44ED-B629-4631F9E18A12}">
      <dsp:nvSpPr>
        <dsp:cNvPr id="0" name=""/>
        <dsp:cNvSpPr/>
      </dsp:nvSpPr>
      <dsp:spPr>
        <a:xfrm>
          <a:off x="2850789" y="1875880"/>
          <a:ext cx="3149440" cy="1734864"/>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90713" y="2287561"/>
        <a:ext cx="3069592" cy="1283259"/>
      </dsp:txXfrm>
    </dsp:sp>
    <dsp:sp modelId="{CDCAD455-EB6B-402B-B181-8BA63311810D}">
      <dsp:nvSpPr>
        <dsp:cNvPr id="0" name=""/>
        <dsp:cNvSpPr/>
      </dsp:nvSpPr>
      <dsp:spPr>
        <a:xfrm>
          <a:off x="4695936" y="1129964"/>
          <a:ext cx="2544155" cy="2544155"/>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33929" y="1380682"/>
          <a:ext cx="2049308" cy="990396"/>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2937" y="1409690"/>
        <a:ext cx="1991292" cy="932380"/>
      </dsp:txXfrm>
    </dsp:sp>
    <dsp:sp modelId="{F32D151A-7816-4D8F-AF44-C36440897AD6}">
      <dsp:nvSpPr>
        <dsp:cNvPr id="0" name=""/>
        <dsp:cNvSpPr/>
      </dsp:nvSpPr>
      <dsp:spPr>
        <a:xfrm>
          <a:off x="6310091" y="1891465"/>
          <a:ext cx="1936662" cy="1734864"/>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50015" y="1931389"/>
        <a:ext cx="1856814" cy="1283259"/>
      </dsp:txXfrm>
    </dsp:sp>
    <dsp:sp modelId="{92BF8A00-5694-4464-90D9-1154141BC261}">
      <dsp:nvSpPr>
        <dsp:cNvPr id="0" name=""/>
        <dsp:cNvSpPr/>
      </dsp:nvSpPr>
      <dsp:spPr>
        <a:xfrm>
          <a:off x="6530958" y="3383770"/>
          <a:ext cx="1869688" cy="743513"/>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52735" y="3405547"/>
        <a:ext cx="1826134" cy="6999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4EFD90-359B-4C6C-A908-F71AA9DCA3DB}">
      <dsp:nvSpPr>
        <dsp:cNvPr id="0" name=""/>
        <dsp:cNvSpPr/>
      </dsp:nvSpPr>
      <dsp:spPr>
        <a:xfrm>
          <a:off x="-136086" y="601064"/>
          <a:ext cx="9979942" cy="6237463"/>
        </a:xfrm>
        <a:prstGeom prst="swooshArrow">
          <a:avLst>
            <a:gd name="adj1" fmla="val 25000"/>
            <a:gd name="adj2" fmla="val 25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dsp:style>
    </dsp:sp>
    <dsp:sp modelId="{5DEF51CE-F9AE-44F0-BDF4-5B3AED9C395C}">
      <dsp:nvSpPr>
        <dsp:cNvPr id="0" name=""/>
        <dsp:cNvSpPr/>
      </dsp:nvSpPr>
      <dsp:spPr>
        <a:xfrm>
          <a:off x="846937" y="5239242"/>
          <a:ext cx="229538" cy="22953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FDEE07-2E2A-42FA-A063-D1AE4104C10B}">
      <dsp:nvSpPr>
        <dsp:cNvPr id="0" name=""/>
        <dsp:cNvSpPr/>
      </dsp:nvSpPr>
      <dsp:spPr>
        <a:xfrm>
          <a:off x="771183" y="5501439"/>
          <a:ext cx="1688419" cy="1484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8" tIns="0" rIns="0" bIns="0" numCol="1" spcCol="1270" anchor="t" anchorCtr="0">
          <a:noAutofit/>
        </a:bodyPr>
        <a:lstStyle/>
        <a:p>
          <a:pPr lvl="0" algn="l" defTabSz="533400">
            <a:lnSpc>
              <a:spcPct val="90000"/>
            </a:lnSpc>
            <a:spcBef>
              <a:spcPct val="0"/>
            </a:spcBef>
            <a:spcAft>
              <a:spcPct val="35000"/>
            </a:spcAft>
          </a:pPr>
          <a:r>
            <a:rPr lang="ru-RU" sz="1200" b="0" kern="1200" dirty="0" smtClean="0">
              <a:solidFill>
                <a:schemeClr val="tx2">
                  <a:lumMod val="75000"/>
                </a:schemeClr>
              </a:solidFill>
            </a:rPr>
            <a:t>Согласованы Рабочей группой при Банке России Единые механизмы (стандарты) </a:t>
          </a:r>
          <a:r>
            <a:rPr lang="ru-RU" sz="1200" b="0" kern="1200" dirty="0" err="1" smtClean="0">
              <a:solidFill>
                <a:schemeClr val="tx2">
                  <a:lumMod val="75000"/>
                </a:schemeClr>
              </a:solidFill>
            </a:rPr>
            <a:t>секьюритизации</a:t>
          </a:r>
          <a:r>
            <a:rPr lang="ru-RU" sz="1200" b="0" kern="1200" dirty="0" smtClean="0">
              <a:solidFill>
                <a:schemeClr val="tx2">
                  <a:lumMod val="75000"/>
                </a:schemeClr>
              </a:solidFill>
            </a:rPr>
            <a:t> кредитов МСП</a:t>
          </a:r>
          <a:endParaRPr lang="ru-RU" sz="1200" b="0" kern="1200" dirty="0">
            <a:solidFill>
              <a:schemeClr val="tx2">
                <a:lumMod val="75000"/>
              </a:schemeClr>
            </a:solidFill>
          </a:endParaRPr>
        </a:p>
      </dsp:txBody>
      <dsp:txXfrm>
        <a:off x="771183" y="5501439"/>
        <a:ext cx="1688419" cy="1484516"/>
      </dsp:txXfrm>
    </dsp:sp>
    <dsp:sp modelId="{77AA81A1-43B5-4754-AFA8-6465C1A5082B}">
      <dsp:nvSpPr>
        <dsp:cNvPr id="0" name=""/>
        <dsp:cNvSpPr/>
      </dsp:nvSpPr>
      <dsp:spPr>
        <a:xfrm>
          <a:off x="2089440" y="4045392"/>
          <a:ext cx="359277" cy="35927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7B095AD-58CA-4155-9A9F-0BF9B26BF52F}">
      <dsp:nvSpPr>
        <dsp:cNvPr id="0" name=""/>
        <dsp:cNvSpPr/>
      </dsp:nvSpPr>
      <dsp:spPr>
        <a:xfrm>
          <a:off x="1859061" y="4463199"/>
          <a:ext cx="2202725" cy="26134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0374" tIns="0" rIns="0" bIns="0" numCol="1" spcCol="1270" anchor="t" anchorCtr="0">
          <a:noAutofit/>
        </a:bodyPr>
        <a:lstStyle/>
        <a:p>
          <a:pPr lvl="0" algn="l" defTabSz="533400">
            <a:lnSpc>
              <a:spcPct val="90000"/>
            </a:lnSpc>
            <a:spcBef>
              <a:spcPct val="0"/>
            </a:spcBef>
            <a:spcAft>
              <a:spcPct val="35000"/>
            </a:spcAft>
          </a:pPr>
          <a:r>
            <a:rPr lang="ru-RU" sz="1200" b="0" kern="1200" dirty="0" smtClean="0">
              <a:solidFill>
                <a:schemeClr val="tx2">
                  <a:lumMod val="75000"/>
                </a:schemeClr>
              </a:solidFill>
            </a:rPr>
            <a:t>Сделка </a:t>
          </a:r>
          <a:r>
            <a:rPr lang="ru-RU" sz="1200" b="0" kern="1200" dirty="0" err="1" smtClean="0">
              <a:solidFill>
                <a:schemeClr val="tx2">
                  <a:lumMod val="75000"/>
                </a:schemeClr>
              </a:solidFill>
            </a:rPr>
            <a:t>секьюритизации</a:t>
          </a:r>
          <a:r>
            <a:rPr lang="ru-RU" sz="1200" b="0" kern="1200" dirty="0" smtClean="0">
              <a:solidFill>
                <a:schemeClr val="tx2">
                  <a:lumMod val="75000"/>
                </a:schemeClr>
              </a:solidFill>
            </a:rPr>
            <a:t> кредитов МСП ПАО «</a:t>
          </a:r>
          <a:r>
            <a:rPr lang="ru-RU" sz="1200" b="0" kern="1200" dirty="0" err="1" smtClean="0">
              <a:solidFill>
                <a:schemeClr val="tx2">
                  <a:lumMod val="75000"/>
                </a:schemeClr>
              </a:solidFill>
            </a:rPr>
            <a:t>Транскапиталбанк</a:t>
          </a:r>
          <a:r>
            <a:rPr lang="ru-RU" sz="1200" b="0" kern="1200" dirty="0" smtClean="0">
              <a:solidFill>
                <a:schemeClr val="tx2">
                  <a:lumMod val="75000"/>
                </a:schemeClr>
              </a:solidFill>
            </a:rPr>
            <a:t>»</a:t>
          </a:r>
          <a:endParaRPr lang="ru-RU" sz="1200" b="0" kern="1200" dirty="0">
            <a:solidFill>
              <a:schemeClr val="tx2">
                <a:lumMod val="75000"/>
              </a:schemeClr>
            </a:solidFill>
          </a:endParaRPr>
        </a:p>
      </dsp:txBody>
      <dsp:txXfrm>
        <a:off x="1859061" y="4463199"/>
        <a:ext cx="2202725" cy="2613497"/>
      </dsp:txXfrm>
    </dsp:sp>
    <dsp:sp modelId="{54499A1E-785C-4038-8CFB-77265C7F0DA2}">
      <dsp:nvSpPr>
        <dsp:cNvPr id="0" name=""/>
        <dsp:cNvSpPr/>
      </dsp:nvSpPr>
      <dsp:spPr>
        <a:xfrm>
          <a:off x="3686231" y="3093555"/>
          <a:ext cx="479037" cy="4790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DEFDA97-0DE9-47C6-893A-10C777B58DC2}">
      <dsp:nvSpPr>
        <dsp:cNvPr id="0" name=""/>
        <dsp:cNvSpPr/>
      </dsp:nvSpPr>
      <dsp:spPr>
        <a:xfrm>
          <a:off x="3925749" y="3333073"/>
          <a:ext cx="1926128" cy="35054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3832" tIns="0" rIns="0" bIns="0" numCol="1" spcCol="1270" anchor="t" anchorCtr="0">
          <a:noAutofit/>
        </a:bodyPr>
        <a:lstStyle/>
        <a:p>
          <a:pPr lvl="0" algn="l" defTabSz="533400">
            <a:lnSpc>
              <a:spcPct val="90000"/>
            </a:lnSpc>
            <a:spcBef>
              <a:spcPct val="0"/>
            </a:spcBef>
            <a:spcAft>
              <a:spcPct val="35000"/>
            </a:spcAft>
          </a:pPr>
          <a:r>
            <a:rPr lang="ru-RU" sz="1200" b="0" kern="1200" dirty="0" smtClean="0">
              <a:solidFill>
                <a:schemeClr val="tx2">
                  <a:lumMod val="75000"/>
                </a:schemeClr>
              </a:solidFill>
            </a:rPr>
            <a:t>Отработан механизм покупки кредитов на баланс МСП Банка для дальнейшей </a:t>
          </a:r>
          <a:r>
            <a:rPr lang="ru-RU" sz="1200" b="0" kern="1200" dirty="0" err="1" smtClean="0">
              <a:solidFill>
                <a:schemeClr val="tx2">
                  <a:lumMod val="75000"/>
                </a:schemeClr>
              </a:solidFill>
            </a:rPr>
            <a:t>секьюритизации</a:t>
          </a:r>
          <a:endParaRPr lang="ru-RU" sz="1200" b="0" kern="1200" dirty="0">
            <a:solidFill>
              <a:schemeClr val="tx2">
                <a:lumMod val="75000"/>
              </a:schemeClr>
            </a:solidFill>
          </a:endParaRPr>
        </a:p>
      </dsp:txBody>
      <dsp:txXfrm>
        <a:off x="3925749" y="3333073"/>
        <a:ext cx="1926128" cy="3505454"/>
      </dsp:txXfrm>
    </dsp:sp>
    <dsp:sp modelId="{7D00979D-FCB2-4CA7-81BA-D134CE7DAC9B}">
      <dsp:nvSpPr>
        <dsp:cNvPr id="0" name=""/>
        <dsp:cNvSpPr/>
      </dsp:nvSpPr>
      <dsp:spPr>
        <a:xfrm>
          <a:off x="5542500" y="2350049"/>
          <a:ext cx="618756" cy="61875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CA72FE-44D3-4AC0-B0AE-2EAFFE5D4FAB}">
      <dsp:nvSpPr>
        <dsp:cNvPr id="0" name=""/>
        <dsp:cNvSpPr/>
      </dsp:nvSpPr>
      <dsp:spPr>
        <a:xfrm>
          <a:off x="5625054" y="2988322"/>
          <a:ext cx="1905250" cy="4179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7866" tIns="0" rIns="0" bIns="0" numCol="1" spcCol="1270" anchor="t" anchorCtr="0">
          <a:noAutofit/>
        </a:bodyPr>
        <a:lstStyle/>
        <a:p>
          <a:pPr lvl="0" algn="l" defTabSz="533400">
            <a:lnSpc>
              <a:spcPct val="90000"/>
            </a:lnSpc>
            <a:spcBef>
              <a:spcPct val="0"/>
            </a:spcBef>
            <a:spcAft>
              <a:spcPct val="35000"/>
            </a:spcAft>
          </a:pPr>
          <a:r>
            <a:rPr lang="ru-RU" sz="1200" b="0" kern="1200" dirty="0" smtClean="0">
              <a:solidFill>
                <a:schemeClr val="tx2">
                  <a:lumMod val="75000"/>
                </a:schemeClr>
              </a:solidFill>
            </a:rPr>
            <a:t>Пилотная мульти </a:t>
          </a:r>
          <a:r>
            <a:rPr lang="ru-RU" sz="1200" b="0" kern="1200" dirty="0" err="1" smtClean="0">
              <a:solidFill>
                <a:schemeClr val="tx2">
                  <a:lumMod val="75000"/>
                </a:schemeClr>
              </a:solidFill>
            </a:rPr>
            <a:t>оригинаторная</a:t>
          </a:r>
          <a:r>
            <a:rPr lang="ru-RU" sz="1200" b="0" kern="1200" dirty="0" smtClean="0">
              <a:solidFill>
                <a:schemeClr val="tx2">
                  <a:lumMod val="75000"/>
                </a:schemeClr>
              </a:solidFill>
            </a:rPr>
            <a:t> сделка </a:t>
          </a:r>
          <a:r>
            <a:rPr lang="ru-RU" sz="1200" b="0" kern="1200" dirty="0" err="1" smtClean="0">
              <a:solidFill>
                <a:schemeClr val="tx2">
                  <a:lumMod val="75000"/>
                </a:schemeClr>
              </a:solidFill>
            </a:rPr>
            <a:t>секьюритизации</a:t>
          </a:r>
          <a:r>
            <a:rPr lang="ru-RU" sz="1200" b="0" kern="1200" dirty="0" smtClean="0">
              <a:solidFill>
                <a:schemeClr val="tx2">
                  <a:lumMod val="75000"/>
                </a:schemeClr>
              </a:solidFill>
            </a:rPr>
            <a:t> кредитов МСП</a:t>
          </a:r>
          <a:endParaRPr lang="ru-RU" sz="1200" b="0" kern="1200" dirty="0">
            <a:solidFill>
              <a:schemeClr val="tx2">
                <a:lumMod val="75000"/>
              </a:schemeClr>
            </a:solidFill>
          </a:endParaRPr>
        </a:p>
      </dsp:txBody>
      <dsp:txXfrm>
        <a:off x="5625054" y="2988322"/>
        <a:ext cx="1905250" cy="4179100"/>
      </dsp:txXfrm>
    </dsp:sp>
    <dsp:sp modelId="{417751CC-FA0D-40CB-B2E4-D56457C8D8C4}">
      <dsp:nvSpPr>
        <dsp:cNvPr id="0" name=""/>
        <dsp:cNvSpPr/>
      </dsp:nvSpPr>
      <dsp:spPr>
        <a:xfrm>
          <a:off x="7453659" y="1853547"/>
          <a:ext cx="788415" cy="78841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5E4033-B7C8-4896-BD50-E8C41FAB4BA7}">
      <dsp:nvSpPr>
        <dsp:cNvPr id="0" name=""/>
        <dsp:cNvSpPr/>
      </dsp:nvSpPr>
      <dsp:spPr>
        <a:xfrm>
          <a:off x="7530325" y="2667351"/>
          <a:ext cx="2540334" cy="4590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7765" tIns="0" rIns="0" bIns="0" numCol="1" spcCol="1270" anchor="t" anchorCtr="0">
          <a:noAutofit/>
        </a:bodyPr>
        <a:lstStyle/>
        <a:p>
          <a:pPr lvl="0" algn="l" defTabSz="533400">
            <a:lnSpc>
              <a:spcPct val="90000"/>
            </a:lnSpc>
            <a:spcBef>
              <a:spcPct val="0"/>
            </a:spcBef>
            <a:spcAft>
              <a:spcPct val="35000"/>
            </a:spcAft>
          </a:pPr>
          <a:r>
            <a:rPr lang="ru-RU" sz="1200" b="0" kern="1200" dirty="0" smtClean="0">
              <a:solidFill>
                <a:schemeClr val="tx2">
                  <a:lumMod val="75000"/>
                </a:schemeClr>
              </a:solidFill>
            </a:rPr>
            <a:t>Создана </a:t>
          </a:r>
          <a:r>
            <a:rPr lang="ru-RU" sz="1200" b="0" kern="1200" dirty="0" err="1" smtClean="0">
              <a:solidFill>
                <a:schemeClr val="tx2">
                  <a:lumMod val="75000"/>
                </a:schemeClr>
              </a:solidFill>
            </a:rPr>
            <a:t>мультиоригинаторная</a:t>
          </a:r>
          <a:r>
            <a:rPr lang="ru-RU" sz="1200" b="0" kern="1200" dirty="0" smtClean="0">
              <a:solidFill>
                <a:schemeClr val="tx2">
                  <a:lumMod val="75000"/>
                </a:schemeClr>
              </a:solidFill>
            </a:rPr>
            <a:t> платформа </a:t>
          </a:r>
          <a:r>
            <a:rPr lang="ru-RU" sz="1200" b="0" kern="1200" dirty="0" err="1" smtClean="0">
              <a:solidFill>
                <a:schemeClr val="tx2">
                  <a:lumMod val="75000"/>
                </a:schemeClr>
              </a:solidFill>
            </a:rPr>
            <a:t>секьюритизации</a:t>
          </a:r>
          <a:endParaRPr lang="ru-RU" sz="1200" b="0" kern="1200" dirty="0">
            <a:solidFill>
              <a:schemeClr val="tx2">
                <a:lumMod val="75000"/>
              </a:schemeClr>
            </a:solidFill>
          </a:endParaRPr>
        </a:p>
      </dsp:txBody>
      <dsp:txXfrm>
        <a:off x="7530325" y="2667351"/>
        <a:ext cx="2540334" cy="459077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D780DB-76CE-4960-BF74-70A18B8ADE84}">
      <dsp:nvSpPr>
        <dsp:cNvPr id="0" name=""/>
        <dsp:cNvSpPr/>
      </dsp:nvSpPr>
      <dsp:spPr>
        <a:xfrm rot="3133683">
          <a:off x="569608" y="5059471"/>
          <a:ext cx="2470389" cy="40078"/>
        </a:xfrm>
        <a:custGeom>
          <a:avLst/>
          <a:gdLst/>
          <a:ahLst/>
          <a:cxnLst/>
          <a:rect l="0" t="0" r="0" b="0"/>
          <a:pathLst>
            <a:path>
              <a:moveTo>
                <a:pt x="0" y="20039"/>
              </a:moveTo>
              <a:lnTo>
                <a:pt x="2470389"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8B78486-095B-4FB9-A36D-BA6015687454}">
      <dsp:nvSpPr>
        <dsp:cNvPr id="0" name=""/>
        <dsp:cNvSpPr/>
      </dsp:nvSpPr>
      <dsp:spPr>
        <a:xfrm rot="2115699">
          <a:off x="926936" y="4643859"/>
          <a:ext cx="2380363" cy="40078"/>
        </a:xfrm>
        <a:custGeom>
          <a:avLst/>
          <a:gdLst/>
          <a:ahLst/>
          <a:cxnLst/>
          <a:rect l="0" t="0" r="0" b="0"/>
          <a:pathLst>
            <a:path>
              <a:moveTo>
                <a:pt x="0" y="20039"/>
              </a:moveTo>
              <a:lnTo>
                <a:pt x="2380363"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1FF1BB-FE72-481A-B484-4097B0B697EA}">
      <dsp:nvSpPr>
        <dsp:cNvPr id="0" name=""/>
        <dsp:cNvSpPr/>
      </dsp:nvSpPr>
      <dsp:spPr>
        <a:xfrm rot="1066820">
          <a:off x="1088407" y="4153880"/>
          <a:ext cx="2382399" cy="40078"/>
        </a:xfrm>
        <a:custGeom>
          <a:avLst/>
          <a:gdLst/>
          <a:ahLst/>
          <a:cxnLst/>
          <a:rect l="0" t="0" r="0" b="0"/>
          <a:pathLst>
            <a:path>
              <a:moveTo>
                <a:pt x="0" y="20039"/>
              </a:moveTo>
              <a:lnTo>
                <a:pt x="2382399"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B49DFCA-4C13-44DD-963E-957D28794200}">
      <dsp:nvSpPr>
        <dsp:cNvPr id="0" name=""/>
        <dsp:cNvSpPr/>
      </dsp:nvSpPr>
      <dsp:spPr>
        <a:xfrm>
          <a:off x="1145306" y="3651817"/>
          <a:ext cx="2378683" cy="40078"/>
        </a:xfrm>
        <a:custGeom>
          <a:avLst/>
          <a:gdLst/>
          <a:ahLst/>
          <a:cxnLst/>
          <a:rect l="0" t="0" r="0" b="0"/>
          <a:pathLst>
            <a:path>
              <a:moveTo>
                <a:pt x="0" y="20039"/>
              </a:moveTo>
              <a:lnTo>
                <a:pt x="2378683"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870B111-EEE3-492C-8E82-AE141B433AF0}">
      <dsp:nvSpPr>
        <dsp:cNvPr id="0" name=""/>
        <dsp:cNvSpPr/>
      </dsp:nvSpPr>
      <dsp:spPr>
        <a:xfrm rot="20533180">
          <a:off x="1088407" y="3149754"/>
          <a:ext cx="2382399" cy="40078"/>
        </a:xfrm>
        <a:custGeom>
          <a:avLst/>
          <a:gdLst/>
          <a:ahLst/>
          <a:cxnLst/>
          <a:rect l="0" t="0" r="0" b="0"/>
          <a:pathLst>
            <a:path>
              <a:moveTo>
                <a:pt x="0" y="20039"/>
              </a:moveTo>
              <a:lnTo>
                <a:pt x="2382399"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2F825FE-80DA-4EAF-A10D-DE5C8392B149}">
      <dsp:nvSpPr>
        <dsp:cNvPr id="0" name=""/>
        <dsp:cNvSpPr/>
      </dsp:nvSpPr>
      <dsp:spPr>
        <a:xfrm rot="19484301">
          <a:off x="926936" y="2659775"/>
          <a:ext cx="2380363" cy="40078"/>
        </a:xfrm>
        <a:custGeom>
          <a:avLst/>
          <a:gdLst/>
          <a:ahLst/>
          <a:cxnLst/>
          <a:rect l="0" t="0" r="0" b="0"/>
          <a:pathLst>
            <a:path>
              <a:moveTo>
                <a:pt x="0" y="20039"/>
              </a:moveTo>
              <a:lnTo>
                <a:pt x="2380363"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205E05-D6E6-4EE1-8B6B-4E9BC94CBC56}">
      <dsp:nvSpPr>
        <dsp:cNvPr id="0" name=""/>
        <dsp:cNvSpPr/>
      </dsp:nvSpPr>
      <dsp:spPr>
        <a:xfrm rot="18467306">
          <a:off x="568960" y="2242080"/>
          <a:ext cx="2476210" cy="40078"/>
        </a:xfrm>
        <a:custGeom>
          <a:avLst/>
          <a:gdLst/>
          <a:ahLst/>
          <a:cxnLst/>
          <a:rect l="0" t="0" r="0" b="0"/>
          <a:pathLst>
            <a:path>
              <a:moveTo>
                <a:pt x="0" y="20039"/>
              </a:moveTo>
              <a:lnTo>
                <a:pt x="2476210" y="20039"/>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60A4F5-AE5F-4A61-BF10-CC89258C4770}">
      <dsp:nvSpPr>
        <dsp:cNvPr id="0" name=""/>
        <dsp:cNvSpPr/>
      </dsp:nvSpPr>
      <dsp:spPr>
        <a:xfrm>
          <a:off x="-278951" y="2729736"/>
          <a:ext cx="1985936" cy="1884238"/>
        </a:xfrm>
        <a:prstGeom prst="ellipse">
          <a:avLst/>
        </a:prstGeom>
        <a:solidFill>
          <a:schemeClr val="accent1">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freezing" dir="t"/>
        </a:scene3d>
        <a:sp3d extrusionH="76200" prstMaterial="metal">
          <a:bevelT/>
          <a:extrusionClr>
            <a:schemeClr val="tx2">
              <a:lumMod val="75000"/>
            </a:schemeClr>
          </a:extrusionClr>
        </a:sp3d>
      </dsp:spPr>
      <dsp:style>
        <a:lnRef idx="2">
          <a:scrgbClr r="0" g="0" b="0"/>
        </a:lnRef>
        <a:fillRef idx="1">
          <a:scrgbClr r="0" g="0" b="0"/>
        </a:fillRef>
        <a:effectRef idx="0">
          <a:scrgbClr r="0" g="0" b="0"/>
        </a:effectRef>
        <a:fontRef idx="minor">
          <a:schemeClr val="lt1"/>
        </a:fontRef>
      </dsp:style>
    </dsp:sp>
    <dsp:sp modelId="{13425434-F7F6-4FE2-A386-15356295DE3F}">
      <dsp:nvSpPr>
        <dsp:cNvPr id="0" name=""/>
        <dsp:cNvSpPr/>
      </dsp:nvSpPr>
      <dsp:spPr>
        <a:xfrm>
          <a:off x="2365708" y="359051"/>
          <a:ext cx="1032934" cy="1032934"/>
        </a:xfrm>
        <a:prstGeom prst="ellipse">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r>
            <a:rPr lang="ru-RU" sz="900" b="1" kern="1200" dirty="0" smtClean="0"/>
            <a:t>Организатор</a:t>
          </a:r>
          <a:endParaRPr lang="ru-RU" sz="900" b="1" kern="1200" dirty="0"/>
        </a:p>
      </dsp:txBody>
      <dsp:txXfrm>
        <a:off x="2516978" y="510321"/>
        <a:ext cx="730394" cy="730394"/>
      </dsp:txXfrm>
    </dsp:sp>
    <dsp:sp modelId="{4009708D-6542-4A64-A2BC-7B717CCB9081}">
      <dsp:nvSpPr>
        <dsp:cNvPr id="0" name=""/>
        <dsp:cNvSpPr/>
      </dsp:nvSpPr>
      <dsp:spPr>
        <a:xfrm>
          <a:off x="2994171" y="1178079"/>
          <a:ext cx="1032934" cy="1032934"/>
        </a:xfrm>
        <a:prstGeom prst="ellipse">
          <a:avLst/>
        </a:prstGeom>
        <a:solidFill>
          <a:schemeClr val="accent1">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ru-RU" sz="900" b="1" kern="1200" dirty="0" smtClean="0"/>
            <a:t>Мастер-</a:t>
          </a:r>
          <a:r>
            <a:rPr lang="ru-RU" sz="900" b="1" kern="1200" dirty="0" err="1" smtClean="0"/>
            <a:t>сервисер</a:t>
          </a:r>
          <a:endParaRPr lang="ru-RU" sz="900" b="1" kern="1200" dirty="0"/>
        </a:p>
      </dsp:txBody>
      <dsp:txXfrm>
        <a:off x="3145441" y="1329349"/>
        <a:ext cx="730394" cy="730394"/>
      </dsp:txXfrm>
    </dsp:sp>
    <dsp:sp modelId="{3BF6E245-5E75-4309-907F-587159A19847}">
      <dsp:nvSpPr>
        <dsp:cNvPr id="0" name=""/>
        <dsp:cNvSpPr/>
      </dsp:nvSpPr>
      <dsp:spPr>
        <a:xfrm>
          <a:off x="3389239" y="2131858"/>
          <a:ext cx="1032934" cy="1032934"/>
        </a:xfrm>
        <a:prstGeom prst="ellipse">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b="1" kern="1200" dirty="0" smtClean="0"/>
            <a:t>Банк счета</a:t>
          </a:r>
          <a:endParaRPr lang="ru-RU" sz="1200" b="1" kern="1200" dirty="0"/>
        </a:p>
      </dsp:txBody>
      <dsp:txXfrm>
        <a:off x="3540509" y="2283128"/>
        <a:ext cx="730394" cy="730394"/>
      </dsp:txXfrm>
    </dsp:sp>
    <dsp:sp modelId="{091A2902-3EA3-46E6-BE55-F5BFA1C45FE7}">
      <dsp:nvSpPr>
        <dsp:cNvPr id="0" name=""/>
        <dsp:cNvSpPr/>
      </dsp:nvSpPr>
      <dsp:spPr>
        <a:xfrm>
          <a:off x="3523989" y="3155389"/>
          <a:ext cx="1032934" cy="1032934"/>
        </a:xfrm>
        <a:prstGeom prst="ellipse">
          <a:avLst/>
        </a:prstGeom>
        <a:solidFill>
          <a:schemeClr val="accent1">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ru-RU" sz="1200" b="1" kern="1200" dirty="0" smtClean="0"/>
            <a:t>Бридж-кредит</a:t>
          </a:r>
          <a:endParaRPr lang="ru-RU" sz="1200" b="1" kern="1200" dirty="0"/>
        </a:p>
      </dsp:txBody>
      <dsp:txXfrm>
        <a:off x="3675259" y="3306659"/>
        <a:ext cx="730394" cy="730394"/>
      </dsp:txXfrm>
    </dsp:sp>
    <dsp:sp modelId="{66DE5345-F69C-4FA9-826E-362713062468}">
      <dsp:nvSpPr>
        <dsp:cNvPr id="0" name=""/>
        <dsp:cNvSpPr/>
      </dsp:nvSpPr>
      <dsp:spPr>
        <a:xfrm>
          <a:off x="3389239" y="4178920"/>
          <a:ext cx="1032934" cy="1032934"/>
        </a:xfrm>
        <a:prstGeom prst="ellipse">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ru-RU" sz="1100" b="1" kern="1200" dirty="0" smtClean="0"/>
            <a:t>Гарант размещения</a:t>
          </a:r>
          <a:endParaRPr lang="ru-RU" sz="1100" b="1" kern="1200" dirty="0"/>
        </a:p>
      </dsp:txBody>
      <dsp:txXfrm>
        <a:off x="3540509" y="4330190"/>
        <a:ext cx="730394" cy="730394"/>
      </dsp:txXfrm>
    </dsp:sp>
    <dsp:sp modelId="{585F82C9-C8AC-4625-A613-E7C6D6B6AFEB}">
      <dsp:nvSpPr>
        <dsp:cNvPr id="0" name=""/>
        <dsp:cNvSpPr/>
      </dsp:nvSpPr>
      <dsp:spPr>
        <a:xfrm>
          <a:off x="2994171" y="5132698"/>
          <a:ext cx="1032934" cy="1032934"/>
        </a:xfrm>
        <a:prstGeom prst="ellipse">
          <a:avLst/>
        </a:prstGeom>
        <a:solidFill>
          <a:schemeClr val="accent1">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ru-RU" sz="900" b="1" kern="1200" dirty="0" smtClean="0"/>
            <a:t>Якорный инвестор</a:t>
          </a:r>
          <a:endParaRPr lang="ru-RU" sz="900" b="1" kern="1200" dirty="0"/>
        </a:p>
      </dsp:txBody>
      <dsp:txXfrm>
        <a:off x="3145441" y="5283968"/>
        <a:ext cx="730394" cy="730394"/>
      </dsp:txXfrm>
    </dsp:sp>
    <dsp:sp modelId="{C29C8605-1E24-42AE-A800-F40FC4680881}">
      <dsp:nvSpPr>
        <dsp:cNvPr id="0" name=""/>
        <dsp:cNvSpPr/>
      </dsp:nvSpPr>
      <dsp:spPr>
        <a:xfrm>
          <a:off x="2359267" y="5946573"/>
          <a:ext cx="1043240" cy="1043240"/>
        </a:xfrm>
        <a:prstGeom prst="ellipse">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0" tIns="6985" rIns="0" bIns="6985" numCol="1" spcCol="1270" anchor="ctr" anchorCtr="0">
          <a:noAutofit/>
        </a:bodyPr>
        <a:lstStyle/>
        <a:p>
          <a:pPr lvl="0" algn="ctr" defTabSz="466725">
            <a:lnSpc>
              <a:spcPct val="90000"/>
            </a:lnSpc>
            <a:spcBef>
              <a:spcPct val="0"/>
            </a:spcBef>
            <a:spcAft>
              <a:spcPct val="35000"/>
            </a:spcAft>
          </a:pPr>
          <a:r>
            <a:rPr lang="ru-RU" sz="1050" b="1" kern="1200" dirty="0" smtClean="0"/>
            <a:t>Расчет </a:t>
          </a:r>
          <a:r>
            <a:rPr lang="ru-RU" sz="1050" b="1" kern="1200" dirty="0" err="1" smtClean="0"/>
            <a:t>ный</a:t>
          </a:r>
          <a:r>
            <a:rPr lang="ru-RU" sz="1050" b="1" kern="1200" dirty="0" smtClean="0"/>
            <a:t> агент</a:t>
          </a:r>
          <a:endParaRPr lang="ru-RU" sz="1050" b="1" kern="1200" dirty="0"/>
        </a:p>
      </dsp:txBody>
      <dsp:txXfrm>
        <a:off x="2512046" y="6099352"/>
        <a:ext cx="737682" cy="73768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598" cy="496332"/>
          </a:xfrm>
          <a:prstGeom prst="rect">
            <a:avLst/>
          </a:prstGeom>
          <a:noFill/>
          <a:ln w="9525">
            <a:noFill/>
            <a:miter lim="800000"/>
            <a:headEnd/>
            <a:tailEnd/>
          </a:ln>
        </p:spPr>
        <p:txBody>
          <a:bodyPr vert="horz" wrap="square" lIns="62644" tIns="31324" rIns="62644" bIns="31324" numCol="1" anchor="t" anchorCtr="0" compatLnSpc="1">
            <a:prstTxWarp prst="textNoShape">
              <a:avLst/>
            </a:prstTxWarp>
          </a:bodyPr>
          <a:lstStyle>
            <a:lvl1pPr defTabSz="627014">
              <a:defRPr sz="800"/>
            </a:lvl1pPr>
          </a:lstStyle>
          <a:p>
            <a:endParaRPr lang="en-GB" dirty="0"/>
          </a:p>
        </p:txBody>
      </p:sp>
      <p:sp>
        <p:nvSpPr>
          <p:cNvPr id="3" name="Date Placeholder 2"/>
          <p:cNvSpPr>
            <a:spLocks noGrp="1"/>
          </p:cNvSpPr>
          <p:nvPr>
            <p:ph type="dt" sz="quarter" idx="1"/>
          </p:nvPr>
        </p:nvSpPr>
        <p:spPr bwMode="auto">
          <a:xfrm>
            <a:off x="3851079" y="2"/>
            <a:ext cx="2945033" cy="496332"/>
          </a:xfrm>
          <a:prstGeom prst="rect">
            <a:avLst/>
          </a:prstGeom>
          <a:noFill/>
          <a:ln w="9525">
            <a:noFill/>
            <a:miter lim="800000"/>
            <a:headEnd/>
            <a:tailEnd/>
          </a:ln>
        </p:spPr>
        <p:txBody>
          <a:bodyPr vert="horz" wrap="square" lIns="62644" tIns="31324" rIns="62644" bIns="31324" numCol="1" anchor="t" anchorCtr="0" compatLnSpc="1">
            <a:prstTxWarp prst="textNoShape">
              <a:avLst/>
            </a:prstTxWarp>
          </a:bodyPr>
          <a:lstStyle>
            <a:lvl1pPr algn="r" defTabSz="627014">
              <a:defRPr sz="800"/>
            </a:lvl1pPr>
          </a:lstStyle>
          <a:p>
            <a:fld id="{42B58284-BD55-477D-829B-0D8B66B41141}" type="datetimeFigureOut">
              <a:rPr lang="en-US"/>
              <a:pPr/>
              <a:t>3/29/2019</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44" tIns="31324" rIns="62644" bIns="31324" numCol="1" anchor="b" anchorCtr="0" compatLnSpc="1">
            <a:prstTxWarp prst="textNoShape">
              <a:avLst/>
            </a:prstTxWarp>
          </a:bodyPr>
          <a:lstStyle>
            <a:lvl1pPr defTabSz="627014">
              <a:defRPr sz="800"/>
            </a:lvl1pPr>
          </a:lstStyle>
          <a:p>
            <a:endParaRPr lang="en-GB" dirty="0"/>
          </a:p>
        </p:txBody>
      </p:sp>
      <p:sp>
        <p:nvSpPr>
          <p:cNvPr id="5" name="Slide Number Placeholder 4"/>
          <p:cNvSpPr>
            <a:spLocks noGrp="1"/>
          </p:cNvSpPr>
          <p:nvPr>
            <p:ph type="sldNum" sz="quarter" idx="3"/>
          </p:nvPr>
        </p:nvSpPr>
        <p:spPr bwMode="auto">
          <a:xfrm>
            <a:off x="3851079" y="9428736"/>
            <a:ext cx="2945033" cy="496332"/>
          </a:xfrm>
          <a:prstGeom prst="rect">
            <a:avLst/>
          </a:prstGeom>
          <a:noFill/>
          <a:ln w="9525">
            <a:noFill/>
            <a:miter lim="800000"/>
            <a:headEnd/>
            <a:tailEnd/>
          </a:ln>
        </p:spPr>
        <p:txBody>
          <a:bodyPr vert="horz" wrap="square" lIns="62644" tIns="31324" rIns="62644" bIns="31324" numCol="1" anchor="b" anchorCtr="0" compatLnSpc="1">
            <a:prstTxWarp prst="textNoShape">
              <a:avLst/>
            </a:prstTxWarp>
          </a:bodyPr>
          <a:lstStyle>
            <a:lvl1pPr algn="r" defTabSz="627014">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2"/>
            <a:ext cx="2946598" cy="496332"/>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lvl1pPr defTabSz="627014">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9" y="2"/>
            <a:ext cx="2945033" cy="496332"/>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lvl1pPr algn="r" defTabSz="627014">
              <a:defRPr sz="1100">
                <a:latin typeface="Calibri" pitchFamily="34" charset="0"/>
              </a:defRPr>
            </a:lvl1pPr>
          </a:lstStyle>
          <a:p>
            <a:fld id="{660D0E8B-676B-4AF2-96B6-20F8C726C38A}" type="datetimeFigureOut">
              <a:rPr lang="en-US"/>
              <a:pPr/>
              <a:t>3/29/2019</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36" tIns="68821" rIns="137636" bIns="68821" rtlCol="0" anchor="ctr"/>
          <a:lstStyle/>
          <a:p>
            <a:pPr lvl="0"/>
            <a:endParaRPr lang="en-GB" noProof="0" dirty="0"/>
          </a:p>
        </p:txBody>
      </p:sp>
      <p:sp>
        <p:nvSpPr>
          <p:cNvPr id="5" name="Notes Placeholder 4"/>
          <p:cNvSpPr>
            <a:spLocks noGrp="1"/>
          </p:cNvSpPr>
          <p:nvPr>
            <p:ph type="body" sz="quarter" idx="3"/>
          </p:nvPr>
        </p:nvSpPr>
        <p:spPr bwMode="auto">
          <a:xfrm>
            <a:off x="679144" y="4715158"/>
            <a:ext cx="5439391" cy="4466987"/>
          </a:xfrm>
          <a:prstGeom prst="rect">
            <a:avLst/>
          </a:prstGeom>
          <a:noFill/>
          <a:ln w="9525">
            <a:noFill/>
            <a:miter lim="800000"/>
            <a:headEnd/>
            <a:tailEnd/>
          </a:ln>
        </p:spPr>
        <p:txBody>
          <a:bodyPr vert="horz" wrap="square" lIns="95508" tIns="47755" rIns="95508" bIns="47755"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08" tIns="47755" rIns="95508" bIns="47755" numCol="1" anchor="b" anchorCtr="0" compatLnSpc="1">
            <a:prstTxWarp prst="textNoShape">
              <a:avLst/>
            </a:prstTxWarp>
          </a:bodyPr>
          <a:lstStyle>
            <a:lvl1pPr defTabSz="627014">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9" y="9428736"/>
            <a:ext cx="2945033" cy="496332"/>
          </a:xfrm>
          <a:prstGeom prst="rect">
            <a:avLst/>
          </a:prstGeom>
          <a:noFill/>
          <a:ln w="9525">
            <a:noFill/>
            <a:miter lim="800000"/>
            <a:headEnd/>
            <a:tailEnd/>
          </a:ln>
        </p:spPr>
        <p:txBody>
          <a:bodyPr vert="horz" wrap="square" lIns="95508" tIns="47755" rIns="95508" bIns="47755" numCol="1" anchor="b" anchorCtr="0" compatLnSpc="1">
            <a:prstTxWarp prst="textNoShape">
              <a:avLst/>
            </a:prstTxWarp>
          </a:bodyPr>
          <a:lstStyle>
            <a:lvl1pPr algn="r" defTabSz="627014">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85" tIns="35992" rIns="71985" bIns="35992">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Tree>
    <p:extLst>
      <p:ext uri="{BB962C8B-B14F-4D97-AF65-F5344CB8AC3E}">
        <p14:creationId xmlns:p14="http://schemas.microsoft.com/office/powerpoint/2010/main" val="21771154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Tree>
    <p:extLst>
      <p:ext uri="{BB962C8B-B14F-4D97-AF65-F5344CB8AC3E}">
        <p14:creationId xmlns:p14="http://schemas.microsoft.com/office/powerpoint/2010/main" val="604881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492843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Текстовой слайд">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629999" y="691311"/>
            <a:ext cx="10631171" cy="1094847"/>
          </a:xfrm>
          <a:prstGeom prst="rect">
            <a:avLst/>
          </a:prstGeom>
        </p:spPr>
        <p:txBody>
          <a:bodyPr anchor="t">
            <a:noAutofit/>
          </a:bodyPr>
          <a:lstStyle>
            <a:lvl1pPr>
              <a:defRPr>
                <a:solidFill>
                  <a:srgbClr val="0072BC"/>
                </a:solidFill>
              </a:defRPr>
            </a:lvl1pPr>
          </a:lstStyle>
          <a:p>
            <a:r>
              <a:rPr lang="ru-RU" dirty="0" smtClean="0"/>
              <a:t>Название слайда, шрифт </a:t>
            </a:r>
            <a:r>
              <a:rPr lang="ru-RU" dirty="0" err="1" smtClean="0"/>
              <a:t>Arial</a:t>
            </a:r>
            <a:r>
              <a:rPr lang="ru-RU" dirty="0" smtClean="0"/>
              <a:t>, 2</a:t>
            </a:r>
            <a:r>
              <a:rPr lang="en-US" dirty="0" smtClean="0"/>
              <a:t>4</a:t>
            </a:r>
            <a:r>
              <a:rPr lang="ru-RU" dirty="0" smtClean="0"/>
              <a:t> </a:t>
            </a:r>
            <a:r>
              <a:rPr lang="ru-RU" dirty="0" err="1" smtClean="0"/>
              <a:t>пт</a:t>
            </a:r>
            <a:endParaRPr lang="ru-RU" dirty="0"/>
          </a:p>
        </p:txBody>
      </p:sp>
      <p:sp>
        <p:nvSpPr>
          <p:cNvPr id="3" name="Объект 2"/>
          <p:cNvSpPr>
            <a:spLocks noGrp="1"/>
          </p:cNvSpPr>
          <p:nvPr>
            <p:ph idx="1" hasCustomPrompt="1"/>
          </p:nvPr>
        </p:nvSpPr>
        <p:spPr>
          <a:xfrm>
            <a:off x="629999" y="1780033"/>
            <a:ext cx="10631171" cy="5897238"/>
          </a:xfrm>
          <a:prstGeom prst="rect">
            <a:avLst/>
          </a:prstGeom>
        </p:spPr>
        <p:txBody>
          <a:bodyPr/>
          <a:lstStyle>
            <a:lvl1pPr>
              <a:lnSpc>
                <a:spcPct val="150000"/>
              </a:lnSpc>
              <a:spcBef>
                <a:spcPts val="2268"/>
              </a:spcBef>
              <a:defRPr/>
            </a:lvl1pPr>
          </a:lstStyle>
          <a:p>
            <a:pPr>
              <a:lnSpc>
                <a:spcPct val="150000"/>
              </a:lnSpc>
              <a:spcBef>
                <a:spcPts val="1800"/>
              </a:spcBef>
            </a:pPr>
            <a:r>
              <a:rPr lang="ru-RU" sz="1764" dirty="0" smtClean="0">
                <a:solidFill>
                  <a:schemeClr val="tx1">
                    <a:lumMod val="75000"/>
                    <a:lumOff val="25000"/>
                  </a:schemeClr>
                </a:solidFill>
                <a:latin typeface="Arial" pitchFamily="34" charset="0"/>
                <a:cs typeface="Arial" pitchFamily="34" charset="0"/>
              </a:rPr>
              <a:t>Текст</a:t>
            </a:r>
          </a:p>
        </p:txBody>
      </p:sp>
      <p:sp>
        <p:nvSpPr>
          <p:cNvPr id="4" name="Дата 3"/>
          <p:cNvSpPr>
            <a:spLocks noGrp="1"/>
          </p:cNvSpPr>
          <p:nvPr>
            <p:ph type="dt" sz="half" idx="10"/>
          </p:nvPr>
        </p:nvSpPr>
        <p:spPr>
          <a:xfrm>
            <a:off x="6336703" y="8008708"/>
            <a:ext cx="2939997" cy="460041"/>
          </a:xfrm>
          <a:prstGeom prst="rect">
            <a:avLst/>
          </a:prstGeom>
        </p:spPr>
        <p:txBody>
          <a:bodyPr/>
          <a:lstStyle/>
          <a:p>
            <a:fld id="{446074D7-7B97-4C60-B38F-D77E1B39E885}" type="datetime1">
              <a:rPr lang="ru-RU" smtClean="0"/>
              <a:t>29.03.2019</a:t>
            </a:fld>
            <a:endParaRPr lang="ru-RU"/>
          </a:p>
        </p:txBody>
      </p:sp>
      <p:sp>
        <p:nvSpPr>
          <p:cNvPr id="7" name="Номер слайда 9"/>
          <p:cNvSpPr>
            <a:spLocks noGrp="1"/>
          </p:cNvSpPr>
          <p:nvPr>
            <p:ph type="sldNum" sz="quarter" idx="12"/>
          </p:nvPr>
        </p:nvSpPr>
        <p:spPr>
          <a:xfrm>
            <a:off x="9475147" y="8040179"/>
            <a:ext cx="2939997" cy="460041"/>
          </a:xfrm>
          <a:prstGeom prst="rect">
            <a:avLst/>
          </a:prstGeom>
        </p:spPr>
        <p:txBody>
          <a:bodyPr/>
          <a:lstStyle>
            <a:lvl1pPr>
              <a:defRPr sz="1764">
                <a:solidFill>
                  <a:schemeClr val="tx1">
                    <a:lumMod val="75000"/>
                    <a:lumOff val="25000"/>
                  </a:schemeClr>
                </a:solidFill>
                <a:latin typeface="Arial" pitchFamily="34" charset="0"/>
                <a:cs typeface="Arial" pitchFamily="34" charset="0"/>
              </a:defRPr>
            </a:lvl1pPr>
          </a:lstStyle>
          <a:p>
            <a:fld id="{F0C3E1D0-B99E-411B-BCE4-D3E6DB7EA499}" type="slidenum">
              <a:rPr lang="ru-RU" smtClean="0"/>
              <a:pPr/>
              <a:t>‹#›</a:t>
            </a:fld>
            <a:endParaRPr lang="ru-RU" dirty="0"/>
          </a:p>
        </p:txBody>
      </p:sp>
      <p:sp>
        <p:nvSpPr>
          <p:cNvPr id="10" name="Подзаголовок 2"/>
          <p:cNvSpPr txBox="1">
            <a:spLocks/>
          </p:cNvSpPr>
          <p:nvPr userDrawn="1"/>
        </p:nvSpPr>
        <p:spPr>
          <a:xfrm>
            <a:off x="683843" y="8024802"/>
            <a:ext cx="4861953" cy="650464"/>
          </a:xfrm>
          <a:prstGeom prst="rect">
            <a:avLst/>
          </a:prstGeom>
        </p:spPr>
        <p:txBody>
          <a:bodyPr vert="horz" lIns="0" tIns="0" rIns="0" bIns="0" rtlCol="0">
            <a:normAutofit/>
          </a:bodyPr>
          <a:lstStyle>
            <a:lvl1pPr marL="0" indent="0" algn="l" defTabSz="914400" rtl="0" eaLnBrk="1" latinLnBrk="0" hangingPunct="1">
              <a:spcBef>
                <a:spcPct val="20000"/>
              </a:spcBef>
              <a:buClrTx/>
              <a:buSzPct val="80000"/>
              <a:buFont typeface="Arial" pitchFamily="34" charset="0"/>
              <a:buNone/>
              <a:defRPr sz="1500" kern="1200">
                <a:solidFill>
                  <a:schemeClr val="tx1">
                    <a:lumMod val="75000"/>
                    <a:lumOff val="25000"/>
                  </a:schemeClr>
                </a:solidFill>
                <a:latin typeface="Arial" pitchFamily="34" charset="0"/>
                <a:ea typeface="+mn-ea"/>
                <a:cs typeface="Arial" pitchFamily="34" charset="0"/>
              </a:defRPr>
            </a:lvl1pPr>
            <a:lvl2pPr marL="457200" indent="0" algn="ctr" defTabSz="914400" rtl="0" eaLnBrk="1" latinLnBrk="0" hangingPunct="1">
              <a:spcBef>
                <a:spcPct val="20000"/>
              </a:spcBef>
              <a:buClrTx/>
              <a:buFont typeface="Arial" pitchFamily="34" charset="0"/>
              <a:buNone/>
              <a:defRPr sz="1400" kern="1200">
                <a:solidFill>
                  <a:schemeClr val="tx1">
                    <a:tint val="75000"/>
                  </a:schemeClr>
                </a:solidFill>
                <a:latin typeface="Arial" pitchFamily="34" charset="0"/>
                <a:ea typeface="+mn-ea"/>
                <a:cs typeface="Arial" pitchFamily="34" charset="0"/>
              </a:defRPr>
            </a:lvl2pPr>
            <a:lvl3pPr marL="914400" indent="0" algn="ctr" defTabSz="914400" rtl="0" eaLnBrk="1" latinLnBrk="0" hangingPunct="1">
              <a:spcBef>
                <a:spcPct val="20000"/>
              </a:spcBef>
              <a:buFont typeface="Arial" pitchFamily="34" charset="0"/>
              <a:buNone/>
              <a:defRPr sz="1400" kern="1200">
                <a:solidFill>
                  <a:schemeClr val="tx1">
                    <a:tint val="75000"/>
                  </a:schemeClr>
                </a:solidFill>
                <a:latin typeface="Arial" pitchFamily="34" charset="0"/>
                <a:ea typeface="+mn-ea"/>
                <a:cs typeface="Arial" pitchFamily="34" charset="0"/>
              </a:defRPr>
            </a:lvl3pPr>
            <a:lvl4pPr marL="1371600" indent="0" algn="ctr" defTabSz="914400" rtl="0" eaLnBrk="1" latinLnBrk="0" hangingPunct="1">
              <a:spcBef>
                <a:spcPct val="20000"/>
              </a:spcBef>
              <a:buFont typeface="Wingdings" pitchFamily="2" charset="2"/>
              <a:buNone/>
              <a:defRPr sz="1400" kern="1200">
                <a:solidFill>
                  <a:schemeClr val="tx1">
                    <a:tint val="75000"/>
                  </a:schemeClr>
                </a:solidFill>
                <a:latin typeface="Arial" pitchFamily="34" charset="0"/>
                <a:ea typeface="+mn-ea"/>
                <a:cs typeface="Arial" pitchFamily="34" charset="0"/>
              </a:defRPr>
            </a:lvl4pPr>
            <a:lvl5pPr marL="1828800" indent="0" algn="ctr" defTabSz="914400" rtl="0" eaLnBrk="1" latinLnBrk="0" hangingPunct="1">
              <a:spcBef>
                <a:spcPct val="20000"/>
              </a:spcBef>
              <a:buFont typeface="Wingdings" pitchFamily="2" charset="2"/>
              <a:buNone/>
              <a:defRPr sz="1400" kern="1200">
                <a:solidFill>
                  <a:schemeClr val="tx1">
                    <a:tint val="75000"/>
                  </a:schemeClr>
                </a:solidFill>
                <a:latin typeface="Arial" pitchFamily="34" charset="0"/>
                <a:ea typeface="+mn-ea"/>
                <a:cs typeface="Arial" pitchFamily="34" charset="0"/>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ru-RU" sz="1260" dirty="0" smtClean="0">
                <a:solidFill>
                  <a:schemeClr val="tx1"/>
                </a:solidFill>
              </a:rPr>
              <a:t>Акционерное общество «Российский Банк поддержки малого и среднего предпринимательства»</a:t>
            </a:r>
            <a:endParaRPr lang="ru-RU" sz="1260" dirty="0">
              <a:solidFill>
                <a:schemeClr val="tx1"/>
              </a:solidFill>
            </a:endParaRPr>
          </a:p>
        </p:txBody>
      </p:sp>
      <p:sp>
        <p:nvSpPr>
          <p:cNvPr id="13" name="Объект 2"/>
          <p:cNvSpPr>
            <a:spLocks noGrp="1"/>
          </p:cNvSpPr>
          <p:nvPr>
            <p:ph idx="13" hasCustomPrompt="1"/>
          </p:nvPr>
        </p:nvSpPr>
        <p:spPr>
          <a:xfrm>
            <a:off x="629999" y="328404"/>
            <a:ext cx="10631171" cy="362907"/>
          </a:xfrm>
          <a:prstGeom prst="rect">
            <a:avLst/>
          </a:prstGeom>
        </p:spPr>
        <p:txBody>
          <a:bodyPr/>
          <a:lstStyle>
            <a:lvl1pPr>
              <a:defRPr sz="1764"/>
            </a:lvl1pPr>
          </a:lstStyle>
          <a:p>
            <a:r>
              <a:rPr lang="ru-RU" sz="1260" dirty="0" smtClean="0">
                <a:solidFill>
                  <a:schemeClr val="tx1">
                    <a:lumMod val="75000"/>
                    <a:lumOff val="25000"/>
                  </a:schemeClr>
                </a:solidFill>
              </a:rPr>
              <a:t>Название раздела, </a:t>
            </a:r>
            <a:r>
              <a:rPr lang="ru-RU" sz="1260" dirty="0" err="1" smtClean="0">
                <a:solidFill>
                  <a:schemeClr val="tx1">
                    <a:lumMod val="75000"/>
                    <a:lumOff val="25000"/>
                  </a:schemeClr>
                </a:solidFill>
              </a:rPr>
              <a:t>Arial</a:t>
            </a:r>
            <a:r>
              <a:rPr lang="ru-RU" sz="1260" dirty="0" smtClean="0">
                <a:solidFill>
                  <a:schemeClr val="tx1">
                    <a:lumMod val="75000"/>
                    <a:lumOff val="25000"/>
                  </a:schemeClr>
                </a:solidFill>
              </a:rPr>
              <a:t> 10 пт.</a:t>
            </a:r>
            <a:endParaRPr lang="ru-RU" sz="1260" dirty="0">
              <a:solidFill>
                <a:schemeClr val="tx1">
                  <a:lumMod val="75000"/>
                  <a:lumOff val="25000"/>
                </a:schemeClr>
              </a:solidFill>
            </a:endParaRPr>
          </a:p>
        </p:txBody>
      </p:sp>
    </p:spTree>
    <p:extLst>
      <p:ext uri="{BB962C8B-B14F-4D97-AF65-F5344CB8AC3E}">
        <p14:creationId xmlns:p14="http://schemas.microsoft.com/office/powerpoint/2010/main" val="9848980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Текстовой слайд">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629999" y="691311"/>
            <a:ext cx="10631171" cy="1094847"/>
          </a:xfrm>
          <a:prstGeom prst="rect">
            <a:avLst/>
          </a:prstGeom>
        </p:spPr>
        <p:txBody>
          <a:bodyPr anchor="t">
            <a:noAutofit/>
          </a:bodyPr>
          <a:lstStyle>
            <a:lvl1pPr>
              <a:defRPr>
                <a:solidFill>
                  <a:srgbClr val="0072BC"/>
                </a:solidFill>
              </a:defRPr>
            </a:lvl1pPr>
          </a:lstStyle>
          <a:p>
            <a:r>
              <a:rPr lang="ru-RU" dirty="0"/>
              <a:t>Название слайда, шрифт </a:t>
            </a:r>
            <a:r>
              <a:rPr lang="ru-RU" dirty="0" err="1"/>
              <a:t>Arial</a:t>
            </a:r>
            <a:r>
              <a:rPr lang="ru-RU" dirty="0"/>
              <a:t>, 2</a:t>
            </a:r>
            <a:r>
              <a:rPr lang="en-US" dirty="0"/>
              <a:t>4</a:t>
            </a:r>
            <a:r>
              <a:rPr lang="ru-RU" dirty="0"/>
              <a:t> </a:t>
            </a:r>
            <a:r>
              <a:rPr lang="ru-RU" dirty="0" err="1"/>
              <a:t>пт</a:t>
            </a:r>
            <a:endParaRPr lang="ru-RU" dirty="0"/>
          </a:p>
        </p:txBody>
      </p:sp>
      <p:sp>
        <p:nvSpPr>
          <p:cNvPr id="3" name="Объект 2"/>
          <p:cNvSpPr>
            <a:spLocks noGrp="1"/>
          </p:cNvSpPr>
          <p:nvPr>
            <p:ph idx="1" hasCustomPrompt="1"/>
          </p:nvPr>
        </p:nvSpPr>
        <p:spPr>
          <a:xfrm>
            <a:off x="629999" y="1780033"/>
            <a:ext cx="10631171" cy="5897238"/>
          </a:xfrm>
          <a:prstGeom prst="rect">
            <a:avLst/>
          </a:prstGeom>
        </p:spPr>
        <p:txBody>
          <a:bodyPr/>
          <a:lstStyle>
            <a:lvl1pPr>
              <a:lnSpc>
                <a:spcPct val="150000"/>
              </a:lnSpc>
              <a:spcBef>
                <a:spcPts val="2268"/>
              </a:spcBef>
              <a:defRPr/>
            </a:lvl1pPr>
          </a:lstStyle>
          <a:p>
            <a:pPr>
              <a:lnSpc>
                <a:spcPct val="150000"/>
              </a:lnSpc>
              <a:spcBef>
                <a:spcPts val="1800"/>
              </a:spcBef>
            </a:pPr>
            <a:r>
              <a:rPr lang="ru-RU" sz="1764" dirty="0">
                <a:solidFill>
                  <a:schemeClr val="tx1">
                    <a:lumMod val="75000"/>
                    <a:lumOff val="25000"/>
                  </a:schemeClr>
                </a:solidFill>
                <a:latin typeface="Arial" pitchFamily="34" charset="0"/>
                <a:cs typeface="Arial" pitchFamily="34" charset="0"/>
              </a:rPr>
              <a:t>Текст</a:t>
            </a:r>
          </a:p>
        </p:txBody>
      </p:sp>
      <p:sp>
        <p:nvSpPr>
          <p:cNvPr id="4" name="Дата 3"/>
          <p:cNvSpPr>
            <a:spLocks noGrp="1"/>
          </p:cNvSpPr>
          <p:nvPr>
            <p:ph type="dt" sz="half" idx="10"/>
          </p:nvPr>
        </p:nvSpPr>
        <p:spPr>
          <a:xfrm>
            <a:off x="6336703" y="8008708"/>
            <a:ext cx="2939997" cy="460041"/>
          </a:xfrm>
          <a:prstGeom prst="rect">
            <a:avLst/>
          </a:prstGeom>
        </p:spPr>
        <p:txBody>
          <a:bodyPr/>
          <a:lstStyle/>
          <a:p>
            <a:fld id="{446074D7-7B97-4C60-B38F-D77E1B39E885}" type="datetime1">
              <a:rPr lang="ru-RU" smtClean="0"/>
              <a:pPr/>
              <a:t>29.03.2019</a:t>
            </a:fld>
            <a:endParaRPr lang="ru-RU"/>
          </a:p>
        </p:txBody>
      </p:sp>
      <p:sp>
        <p:nvSpPr>
          <p:cNvPr id="7" name="Номер слайда 9"/>
          <p:cNvSpPr>
            <a:spLocks noGrp="1"/>
          </p:cNvSpPr>
          <p:nvPr>
            <p:ph type="sldNum" sz="quarter" idx="12"/>
          </p:nvPr>
        </p:nvSpPr>
        <p:spPr>
          <a:xfrm>
            <a:off x="9475147" y="8040179"/>
            <a:ext cx="2939997" cy="460041"/>
          </a:xfrm>
          <a:prstGeom prst="rect">
            <a:avLst/>
          </a:prstGeom>
        </p:spPr>
        <p:txBody>
          <a:bodyPr/>
          <a:lstStyle>
            <a:lvl1pPr>
              <a:defRPr sz="1764">
                <a:solidFill>
                  <a:schemeClr val="tx1">
                    <a:lumMod val="75000"/>
                    <a:lumOff val="25000"/>
                  </a:schemeClr>
                </a:solidFill>
                <a:latin typeface="Arial" pitchFamily="34" charset="0"/>
                <a:cs typeface="Arial" pitchFamily="34" charset="0"/>
              </a:defRPr>
            </a:lvl1pPr>
          </a:lstStyle>
          <a:p>
            <a:fld id="{F0C3E1D0-B99E-411B-BCE4-D3E6DB7EA499}" type="slidenum">
              <a:rPr lang="ru-RU" smtClean="0"/>
              <a:pPr/>
              <a:t>‹#›</a:t>
            </a:fld>
            <a:endParaRPr lang="ru-RU" dirty="0"/>
          </a:p>
        </p:txBody>
      </p:sp>
      <p:sp>
        <p:nvSpPr>
          <p:cNvPr id="13" name="Объект 2"/>
          <p:cNvSpPr>
            <a:spLocks noGrp="1"/>
          </p:cNvSpPr>
          <p:nvPr>
            <p:ph idx="13" hasCustomPrompt="1"/>
          </p:nvPr>
        </p:nvSpPr>
        <p:spPr>
          <a:xfrm>
            <a:off x="629999" y="328404"/>
            <a:ext cx="10631171" cy="362907"/>
          </a:xfrm>
          <a:prstGeom prst="rect">
            <a:avLst/>
          </a:prstGeom>
        </p:spPr>
        <p:txBody>
          <a:bodyPr/>
          <a:lstStyle>
            <a:lvl1pPr>
              <a:defRPr sz="1764"/>
            </a:lvl1pPr>
          </a:lstStyle>
          <a:p>
            <a:r>
              <a:rPr lang="ru-RU" sz="1260" dirty="0">
                <a:solidFill>
                  <a:schemeClr val="tx1">
                    <a:lumMod val="75000"/>
                    <a:lumOff val="25000"/>
                  </a:schemeClr>
                </a:solidFill>
              </a:rPr>
              <a:t>Название раздела, </a:t>
            </a:r>
            <a:r>
              <a:rPr lang="ru-RU" sz="1260" dirty="0" err="1">
                <a:solidFill>
                  <a:schemeClr val="tx1">
                    <a:lumMod val="75000"/>
                    <a:lumOff val="25000"/>
                  </a:schemeClr>
                </a:solidFill>
              </a:rPr>
              <a:t>Arial</a:t>
            </a:r>
            <a:r>
              <a:rPr lang="ru-RU" sz="1260" dirty="0">
                <a:solidFill>
                  <a:schemeClr val="tx1">
                    <a:lumMod val="75000"/>
                    <a:lumOff val="25000"/>
                  </a:schemeClr>
                </a:solidFill>
              </a:rPr>
              <a:t> 10 пт.</a:t>
            </a:r>
          </a:p>
        </p:txBody>
      </p:sp>
    </p:spTree>
    <p:extLst>
      <p:ext uri="{BB962C8B-B14F-4D97-AF65-F5344CB8AC3E}">
        <p14:creationId xmlns:p14="http://schemas.microsoft.com/office/powerpoint/2010/main" val="378949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10" name="Title Placeholder 1"/>
          <p:cNvSpPr>
            <a:spLocks noGrp="1"/>
          </p:cNvSpPr>
          <p:nvPr>
            <p:ph type="title"/>
          </p:nvPr>
        </p:nvSpPr>
        <p:spPr bwMode="auto">
          <a:xfrm>
            <a:off x="2844799" y="228781"/>
            <a:ext cx="9409903"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800" kern="1200" dirty="0" smtClean="0">
                <a:solidFill>
                  <a:srgbClr val="0070C0"/>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319663"/>
            <a:ext cx="11903353" cy="725733"/>
          </a:xfrm>
          <a:prstGeom prst="rect">
            <a:avLst/>
          </a:prstGeom>
          <a:solidFill>
            <a:schemeClr val="bg1">
              <a:lumMod val="95000"/>
            </a:schemeClr>
          </a:solidFill>
        </p:spPr>
        <p:txBody>
          <a:bodyPr lIns="36000" tIns="36000" rIns="36000" bIns="36000"/>
          <a:lstStyle>
            <a:lvl1pPr marL="0" indent="0">
              <a:buNone/>
              <a:defRPr sz="2000">
                <a:solidFill>
                  <a:schemeClr val="tx1"/>
                </a:solidFill>
                <a:latin typeface="Arial Narrow" panose="020B0606020202030204" pitchFamily="34" charset="0"/>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5" name="Рисунок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350" y="69717"/>
            <a:ext cx="2235200" cy="1016815"/>
          </a:xfrm>
          <a:prstGeom prst="rect">
            <a:avLst/>
          </a:prstGeom>
        </p:spPr>
      </p:pic>
      <p:cxnSp>
        <p:nvCxnSpPr>
          <p:cNvPr id="6" name="Прямая соединительная линия 5"/>
          <p:cNvCxnSpPr/>
          <p:nvPr userDrawn="1"/>
        </p:nvCxnSpPr>
        <p:spPr>
          <a:xfrm>
            <a:off x="353264" y="1123564"/>
            <a:ext cx="1189116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95671"/>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2721">
          <p15:clr>
            <a:srgbClr val="FBAE40"/>
          </p15:clr>
        </p15:guide>
        <p15:guide id="2" pos="396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Пустой слайд">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2844799" y="228781"/>
            <a:ext cx="9409903"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800" kern="1200" dirty="0" smtClean="0">
                <a:solidFill>
                  <a:srgbClr val="0070C0"/>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7" name="Text Placeholder 2"/>
          <p:cNvSpPr>
            <a:spLocks noGrp="1"/>
          </p:cNvSpPr>
          <p:nvPr>
            <p:ph type="body" sz="quarter" idx="10"/>
          </p:nvPr>
        </p:nvSpPr>
        <p:spPr>
          <a:xfrm>
            <a:off x="351350" y="1319663"/>
            <a:ext cx="11903353" cy="725733"/>
          </a:xfrm>
          <a:prstGeom prst="rect">
            <a:avLst/>
          </a:prstGeom>
          <a:solidFill>
            <a:schemeClr val="bg1">
              <a:lumMod val="95000"/>
            </a:schemeClr>
          </a:solidFill>
        </p:spPr>
        <p:txBody>
          <a:bodyPr lIns="36000" tIns="36000" rIns="36000" bIns="36000"/>
          <a:lstStyle>
            <a:lvl1pPr marL="0" indent="0">
              <a:buNone/>
              <a:defRPr sz="2000">
                <a:solidFill>
                  <a:schemeClr val="tx1"/>
                </a:solidFill>
                <a:latin typeface="Arial Narrow" panose="020B0606020202030204" pitchFamily="34" charset="0"/>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1350" y="69717"/>
            <a:ext cx="2235200" cy="1016815"/>
          </a:xfrm>
          <a:prstGeom prst="rect">
            <a:avLst/>
          </a:prstGeom>
        </p:spPr>
      </p:pic>
      <p:cxnSp>
        <p:nvCxnSpPr>
          <p:cNvPr id="9" name="Прямая соединительная линия 8"/>
          <p:cNvCxnSpPr/>
          <p:nvPr userDrawn="1"/>
        </p:nvCxnSpPr>
        <p:spPr>
          <a:xfrm>
            <a:off x="353264" y="1123564"/>
            <a:ext cx="11891165"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29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spTree>
    <p:extLst>
      <p:ext uri="{BB962C8B-B14F-4D97-AF65-F5344CB8AC3E}">
        <p14:creationId xmlns:p14="http://schemas.microsoft.com/office/powerpoint/2010/main" val="1165875250"/>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 id="2147483929" r:id="rId5"/>
    <p:sldLayoutId id="2147483930" r:id="rId6"/>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620944"/>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Lst>
  <p:transition/>
  <p:timing>
    <p:tnLst>
      <p:par>
        <p:cTn id="1" dur="indefinite" restart="never" nodeType="tmRoot"/>
      </p:par>
    </p:tnLst>
  </p:timing>
  <p:hf sldNum="0" hd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png"/><Relationship Id="rId10" Type="http://schemas.openxmlformats.org/officeDocument/2006/relationships/image" Target="../media/image18.png"/><Relationship Id="rId4" Type="http://schemas.openxmlformats.org/officeDocument/2006/relationships/image" Target="../media/image13.png"/><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21.jp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4.jpe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4.jpe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eg"/></Relationships>
</file>

<file path=ppt/slides/_rels/slide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3.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eg"/></Relationships>
</file>

<file path=ppt/slides/_rels/slide2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4.jpe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image" Target="../media/image24.pn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gif"/><Relationship Id="rId4" Type="http://schemas.openxmlformats.org/officeDocument/2006/relationships/image" Target="../media/image25.png"/><Relationship Id="rId9" Type="http://schemas.openxmlformats.org/officeDocument/2006/relationships/image" Target="../media/image29.png"/></Relationships>
</file>

<file path=ppt/slides/_rels/slide3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31.png"/><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9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 name="Рисунок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96539"/>
            <a:ext cx="2717800" cy="1236354"/>
          </a:xfrm>
          <a:prstGeom prst="rect">
            <a:avLst/>
          </a:prstGeom>
        </p:spPr>
      </p:pic>
      <p:sp>
        <p:nvSpPr>
          <p:cNvPr id="29" name="Заголовок 1"/>
          <p:cNvSpPr txBox="1">
            <a:spLocks/>
          </p:cNvSpPr>
          <p:nvPr/>
        </p:nvSpPr>
        <p:spPr bwMode="auto">
          <a:xfrm>
            <a:off x="3813251" y="120608"/>
            <a:ext cx="8586593"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r>
              <a:rPr lang="ru-RU" dirty="0" smtClean="0"/>
              <a:t>Виды независимых гарантий Корпорации</a:t>
            </a:r>
            <a:endParaRPr lang="ru-RU" dirty="0"/>
          </a:p>
        </p:txBody>
      </p:sp>
      <p:cxnSp>
        <p:nvCxnSpPr>
          <p:cNvPr id="36" name="Прямая соединительная линия 35"/>
          <p:cNvCxnSpPr/>
          <p:nvPr/>
        </p:nvCxnSpPr>
        <p:spPr>
          <a:xfrm>
            <a:off x="341931" y="1294019"/>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36"/>
          <p:cNvCxnSpPr/>
          <p:nvPr/>
        </p:nvCxnSpPr>
        <p:spPr>
          <a:xfrm>
            <a:off x="8831736" y="1306719"/>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Скругленный прямоугольник 37"/>
          <p:cNvSpPr/>
          <p:nvPr/>
        </p:nvSpPr>
        <p:spPr>
          <a:xfrm>
            <a:off x="8804939" y="1407390"/>
            <a:ext cx="3558325" cy="6957984"/>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39" name="Прямоугольник 38"/>
          <p:cNvSpPr/>
          <p:nvPr/>
        </p:nvSpPr>
        <p:spPr>
          <a:xfrm>
            <a:off x="3577150" y="1346154"/>
            <a:ext cx="5209312" cy="1269238"/>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инвестиций</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лизинга</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endParaRPr lang="ru-RU" sz="1150" dirty="0" smtClean="0">
              <a:latin typeface="+mj-lt"/>
              <a:cs typeface="+mn-cs"/>
            </a:endParaRPr>
          </a:p>
          <a:p>
            <a:pPr marL="171450" indent="-171450" defTabSz="957263">
              <a:spcBef>
                <a:spcPts val="300"/>
              </a:spcBef>
              <a:buFont typeface="Arial" panose="020B0604020202020204" pitchFamily="34" charset="0"/>
              <a:buChar char="•"/>
            </a:pPr>
            <a:r>
              <a:rPr lang="ru-RU" sz="1150" dirty="0" smtClean="0">
                <a:latin typeface="+mj-lt"/>
                <a:cs typeface="+mn-cs"/>
              </a:rPr>
              <a:t>Синдицированная гарантия</a:t>
            </a:r>
          </a:p>
        </p:txBody>
      </p:sp>
      <p:sp>
        <p:nvSpPr>
          <p:cNvPr id="40" name="Скругленный прямоугольник 39"/>
          <p:cNvSpPr/>
          <p:nvPr/>
        </p:nvSpPr>
        <p:spPr>
          <a:xfrm>
            <a:off x="408275" y="1348489"/>
            <a:ext cx="3113354" cy="123931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41" name="Прямоугольник 40"/>
          <p:cNvSpPr/>
          <p:nvPr/>
        </p:nvSpPr>
        <p:spPr>
          <a:xfrm>
            <a:off x="3565065" y="2739335"/>
            <a:ext cx="5140482" cy="861571"/>
          </a:xfrm>
          <a:prstGeom prst="rect">
            <a:avLst/>
          </a:prstGeom>
        </p:spPr>
        <p:txBody>
          <a:bodyPr wrap="square" lIns="72000" tIns="0" rIns="36000" bIns="0" anchor="ctr">
            <a:noAutofit/>
          </a:bodyPr>
          <a:lstStyle/>
          <a:p>
            <a:pPr marL="171450" indent="-171450" defTabSz="957263">
              <a:spcBef>
                <a:spcPts val="300"/>
              </a:spcBef>
              <a:buFont typeface="Arial" panose="020B0604020202020204" pitchFamily="34" charset="0"/>
              <a:buChar char="•"/>
            </a:pPr>
            <a:r>
              <a:rPr lang="ru-RU" sz="1150" dirty="0">
                <a:latin typeface="+mj-lt"/>
                <a:cs typeface="+mn-cs"/>
              </a:rPr>
              <a:t>Прямая гарантия для обеспечения гарантии </a:t>
            </a:r>
            <a:r>
              <a:rPr lang="ru-RU" sz="1150" dirty="0" smtClean="0">
                <a:latin typeface="+mj-lt"/>
                <a:cs typeface="+mn-cs"/>
              </a:rPr>
              <a:t>исполнения контракта</a:t>
            </a:r>
            <a:endParaRPr lang="ru-RU" sz="1150" dirty="0">
              <a:latin typeface="+mj-lt"/>
              <a:cs typeface="+mn-cs"/>
            </a:endParaRPr>
          </a:p>
          <a:p>
            <a:pPr marL="171450" indent="-171450" defTabSz="957263">
              <a:spcBef>
                <a:spcPts val="300"/>
              </a:spcBef>
              <a:buFont typeface="Arial" panose="020B0604020202020204" pitchFamily="34" charset="0"/>
              <a:buChar char="•"/>
            </a:pPr>
            <a:r>
              <a:rPr lang="ru-RU" sz="1150" dirty="0">
                <a:latin typeface="+mj-lt"/>
                <a:cs typeface="+mn-cs"/>
              </a:rPr>
              <a:t>Прямая гарантия для обеспечения кредитов на исполнение </a:t>
            </a:r>
            <a:r>
              <a:rPr lang="ru-RU" sz="1150" dirty="0" smtClean="0">
                <a:latin typeface="+mj-lt"/>
                <a:cs typeface="+mn-cs"/>
              </a:rPr>
              <a:t>контрактов</a:t>
            </a:r>
          </a:p>
          <a:p>
            <a:pPr marL="171450" indent="-171450" defTabSz="957263">
              <a:spcBef>
                <a:spcPts val="300"/>
              </a:spcBef>
              <a:buFont typeface="Arial" panose="020B0604020202020204" pitchFamily="34" charset="0"/>
              <a:buChar char="•"/>
            </a:pPr>
            <a:endParaRPr lang="ru-RU" sz="1200" dirty="0">
              <a:latin typeface="+mj-lt"/>
              <a:cs typeface="+mn-cs"/>
            </a:endParaRPr>
          </a:p>
        </p:txBody>
      </p:sp>
      <p:sp>
        <p:nvSpPr>
          <p:cNvPr id="42" name="Скругленный прямоугольник 41"/>
          <p:cNvSpPr/>
          <p:nvPr/>
        </p:nvSpPr>
        <p:spPr>
          <a:xfrm>
            <a:off x="415243" y="2661509"/>
            <a:ext cx="3106386" cy="880821"/>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43" name="Прямоугольник 42"/>
          <p:cNvSpPr/>
          <p:nvPr/>
        </p:nvSpPr>
        <p:spPr>
          <a:xfrm>
            <a:off x="3548524" y="3613948"/>
            <a:ext cx="5256668" cy="2120832"/>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endParaRPr lang="ru-RU" sz="1150" dirty="0" smtClean="0">
              <a:latin typeface="+mj-lt"/>
              <a:cs typeface="+mn-cs"/>
            </a:endParaRPr>
          </a:p>
          <a:p>
            <a:pPr marL="171450" indent="-171450" defTabSz="957263">
              <a:lnSpc>
                <a:spcPct val="106000"/>
              </a:lnSpc>
              <a:spcBef>
                <a:spcPts val="300"/>
              </a:spcBef>
              <a:buFont typeface="Arial" panose="020B0604020202020204" pitchFamily="34" charset="0"/>
              <a:buChar char="•"/>
            </a:pPr>
            <a:endParaRPr lang="ru-RU" sz="115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150" dirty="0"/>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150" dirty="0" smtClean="0">
                <a:latin typeface="+mj-lt"/>
                <a:cs typeface="+mn-cs"/>
              </a:rPr>
              <a:t>Прямая гарантия для развития </a:t>
            </a:r>
            <a:r>
              <a:rPr lang="ru-RU" sz="1150" dirty="0" err="1" smtClean="0">
                <a:latin typeface="+mj-lt"/>
                <a:cs typeface="+mn-cs"/>
              </a:rPr>
              <a:t>сельхозкооперации</a:t>
            </a:r>
            <a:endParaRPr lang="ru-RU" sz="1150" dirty="0" smtClean="0">
              <a:latin typeface="+mj-lt"/>
              <a:cs typeface="+mn-cs"/>
            </a:endParaRP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лизинга в сфере сельского хозяйства</a:t>
            </a:r>
          </a:p>
          <a:p>
            <a:pPr marL="171450" indent="-171450" defTabSz="957263">
              <a:spcBef>
                <a:spcPts val="300"/>
              </a:spcBef>
              <a:buFont typeface="Arial" panose="020B0604020202020204" pitchFamily="34" charset="0"/>
              <a:buChar char="•"/>
            </a:pPr>
            <a:r>
              <a:rPr lang="ru-RU" sz="1150" dirty="0" smtClean="0">
                <a:latin typeface="+mj-lt"/>
                <a:cs typeface="+mn-cs"/>
              </a:rPr>
              <a:t>Прямая гарантия для быстрорастущих инновационных, высокотехнологичных предприятий (газелей)</a:t>
            </a:r>
          </a:p>
          <a:p>
            <a:pPr marL="171450" indent="-171450" defTabSz="957263">
              <a:spcBef>
                <a:spcPts val="300"/>
              </a:spcBef>
              <a:buFont typeface="Arial" panose="020B0604020202020204" pitchFamily="34" charset="0"/>
              <a:buChar char="•"/>
            </a:pPr>
            <a:r>
              <a:rPr lang="ru-RU" sz="1150" dirty="0"/>
              <a:t>Прямая гарантия для </a:t>
            </a:r>
            <a:r>
              <a:rPr lang="ru-RU" sz="1150" dirty="0" err="1" smtClean="0"/>
              <a:t>стартапов</a:t>
            </a:r>
            <a:endParaRPr lang="ru-RU" sz="1150" dirty="0" smtClean="0"/>
          </a:p>
          <a:p>
            <a:pPr marL="171450" indent="-171450" defTabSz="957263">
              <a:spcBef>
                <a:spcPts val="300"/>
              </a:spcBef>
              <a:buFont typeface="Arial" panose="020B0604020202020204" pitchFamily="34" charset="0"/>
              <a:buChar char="•"/>
            </a:pPr>
            <a:r>
              <a:rPr lang="ru-RU" sz="1150" dirty="0"/>
              <a:t>Прямая гарантия для начинающих предпринимателей старше 45 </a:t>
            </a:r>
            <a:r>
              <a:rPr lang="ru-RU" sz="1150" dirty="0" smtClean="0"/>
              <a:t>лет</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r>
              <a:rPr lang="ru-RU" sz="1150" dirty="0" smtClean="0">
                <a:latin typeface="+mj-lt"/>
                <a:cs typeface="+mn-cs"/>
              </a:rPr>
              <a:t> для экспортеров</a:t>
            </a:r>
          </a:p>
          <a:p>
            <a:pPr marL="171450" indent="-171450" defTabSz="957263">
              <a:spcBef>
                <a:spcPts val="300"/>
              </a:spcBef>
              <a:buFont typeface="Arial" panose="020B0604020202020204" pitchFamily="34" charset="0"/>
              <a:buChar char="•"/>
            </a:pPr>
            <a:r>
              <a:rPr lang="ru-RU" sz="1150" dirty="0" err="1" smtClean="0">
                <a:latin typeface="+mj-lt"/>
                <a:cs typeface="+mn-cs"/>
              </a:rPr>
              <a:t>Согарантия</a:t>
            </a:r>
            <a:r>
              <a:rPr lang="ru-RU" sz="1150" dirty="0" smtClean="0">
                <a:latin typeface="+mj-lt"/>
                <a:cs typeface="+mn-cs"/>
              </a:rPr>
              <a:t> для сельхозкооперативов</a:t>
            </a:r>
          </a:p>
          <a:p>
            <a:pPr marL="171450" indent="-171450" defTabSz="957263">
              <a:spcBef>
                <a:spcPts val="300"/>
              </a:spcBef>
              <a:buFont typeface="Arial" panose="020B0604020202020204" pitchFamily="34" charset="0"/>
              <a:buChar char="•"/>
            </a:pPr>
            <a:r>
              <a:rPr lang="ru-RU" sz="1150" dirty="0" err="1"/>
              <a:t>Согарантия</a:t>
            </a:r>
            <a:r>
              <a:rPr lang="ru-RU" sz="1150" dirty="0"/>
              <a:t> для </a:t>
            </a:r>
            <a:r>
              <a:rPr lang="ru-RU" sz="1150" dirty="0" smtClean="0"/>
              <a:t>быстрорастущих </a:t>
            </a:r>
            <a:r>
              <a:rPr lang="ru-RU" sz="1150" dirty="0"/>
              <a:t>инновационных</a:t>
            </a:r>
            <a:r>
              <a:rPr lang="ru-RU" sz="1150" dirty="0" smtClean="0"/>
              <a:t>, высокотехнологичных предприятий </a:t>
            </a:r>
            <a:r>
              <a:rPr lang="ru-RU" sz="1150" dirty="0"/>
              <a:t>(газелей</a:t>
            </a:r>
            <a:r>
              <a:rPr lang="ru-RU" sz="1150" dirty="0" smtClean="0"/>
              <a:t>)</a:t>
            </a:r>
          </a:p>
          <a:p>
            <a:pPr marL="171450" indent="-171450" defTabSz="957263">
              <a:spcBef>
                <a:spcPts val="300"/>
              </a:spcBef>
              <a:buFont typeface="Arial" panose="020B0604020202020204" pitchFamily="34" charset="0"/>
              <a:buChar char="•"/>
            </a:pPr>
            <a:r>
              <a:rPr lang="ru-RU" sz="1150" dirty="0" err="1" smtClean="0"/>
              <a:t>Согарантия</a:t>
            </a:r>
            <a:r>
              <a:rPr lang="ru-RU" sz="1150" dirty="0" smtClean="0"/>
              <a:t> </a:t>
            </a:r>
            <a:r>
              <a:rPr lang="ru-RU" sz="1150" dirty="0"/>
              <a:t>для занятости лиц старше 45 </a:t>
            </a:r>
            <a:r>
              <a:rPr lang="ru-RU" sz="1150" dirty="0" smtClean="0"/>
              <a:t>лет</a:t>
            </a:r>
          </a:p>
          <a:p>
            <a:pPr marL="171450" indent="-171450" defTabSz="957263">
              <a:spcBef>
                <a:spcPts val="300"/>
              </a:spcBef>
              <a:buFont typeface="Arial" panose="020B0604020202020204" pitchFamily="34" charset="0"/>
              <a:buChar char="•"/>
            </a:pPr>
            <a:r>
              <a:rPr lang="ru-RU" sz="1150" dirty="0" err="1"/>
              <a:t>Согарантия</a:t>
            </a:r>
            <a:r>
              <a:rPr lang="ru-RU" sz="1150" dirty="0"/>
              <a:t> для развития физической культуры и спорта</a:t>
            </a:r>
          </a:p>
          <a:p>
            <a:pPr marL="171450" indent="-171450" defTabSz="957263">
              <a:lnSpc>
                <a:spcPct val="106000"/>
              </a:lnSpc>
              <a:spcBef>
                <a:spcPts val="300"/>
              </a:spcBef>
              <a:buFont typeface="Arial" panose="020B0604020202020204" pitchFamily="34" charset="0"/>
              <a:buChar char="•"/>
            </a:pPr>
            <a:endParaRPr lang="ru-RU" sz="1200" dirty="0" smtClean="0">
              <a:latin typeface="+mj-lt"/>
              <a:cs typeface="+mn-cs"/>
            </a:endParaRPr>
          </a:p>
        </p:txBody>
      </p:sp>
      <p:sp>
        <p:nvSpPr>
          <p:cNvPr id="44" name="Скругленный прямоугольник 43"/>
          <p:cNvSpPr/>
          <p:nvPr/>
        </p:nvSpPr>
        <p:spPr>
          <a:xfrm>
            <a:off x="418003" y="3600906"/>
            <a:ext cx="3106386" cy="252518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45" name="Прямоугольник 44"/>
          <p:cNvSpPr/>
          <p:nvPr/>
        </p:nvSpPr>
        <p:spPr>
          <a:xfrm>
            <a:off x="3569490" y="6136905"/>
            <a:ext cx="5216971" cy="104857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a:t>
            </a:r>
            <a:r>
              <a:rPr lang="ru-RU" sz="1200" dirty="0" smtClean="0"/>
              <a:t>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60" name="Скругленный прямоугольник 59"/>
          <p:cNvSpPr/>
          <p:nvPr/>
        </p:nvSpPr>
        <p:spPr>
          <a:xfrm>
            <a:off x="433722" y="6196418"/>
            <a:ext cx="3074949" cy="998353"/>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61" name="Прямоугольник 60"/>
          <p:cNvSpPr/>
          <p:nvPr/>
        </p:nvSpPr>
        <p:spPr>
          <a:xfrm>
            <a:off x="3587968" y="7145090"/>
            <a:ext cx="5198493" cy="826371"/>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a:t>
            </a:r>
            <a:r>
              <a:rPr lang="ru-RU" sz="1200" dirty="0" smtClean="0"/>
              <a:t>индустриальных </a:t>
            </a:r>
            <a:r>
              <a:rPr lang="ru-RU" sz="1200" dirty="0"/>
              <a:t>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факторинговых</a:t>
            </a:r>
            <a:r>
              <a:rPr lang="ru-RU" sz="1200" dirty="0" smtClean="0">
                <a:latin typeface="+mj-lt"/>
                <a:cs typeface="+mn-cs"/>
              </a:rPr>
              <a:t> компан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62" name="Скругленный прямоугольник 61"/>
          <p:cNvSpPr/>
          <p:nvPr/>
        </p:nvSpPr>
        <p:spPr>
          <a:xfrm>
            <a:off x="435071" y="7265095"/>
            <a:ext cx="3086558" cy="880821"/>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инфраструктуры поддержки субъектов МСП</a:t>
            </a:r>
            <a:endParaRPr lang="ru-RU" sz="1200" kern="0" dirty="0">
              <a:latin typeface="+mj-lt"/>
            </a:endParaRPr>
          </a:p>
        </p:txBody>
      </p:sp>
      <p:sp>
        <p:nvSpPr>
          <p:cNvPr id="63" name="Прямоугольник 62"/>
          <p:cNvSpPr/>
          <p:nvPr/>
        </p:nvSpPr>
        <p:spPr>
          <a:xfrm>
            <a:off x="8687776" y="1494611"/>
            <a:ext cx="1460782" cy="409402"/>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64" name="Прямоугольник 63"/>
          <p:cNvSpPr/>
          <p:nvPr/>
        </p:nvSpPr>
        <p:spPr>
          <a:xfrm>
            <a:off x="10213484" y="1537521"/>
            <a:ext cx="2003227" cy="409402"/>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65" name="Прямая соединительная линия 64"/>
          <p:cNvCxnSpPr/>
          <p:nvPr/>
        </p:nvCxnSpPr>
        <p:spPr>
          <a:xfrm>
            <a:off x="10157963" y="1491471"/>
            <a:ext cx="0" cy="58247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66" name="Прямоугольник 65"/>
          <p:cNvSpPr/>
          <p:nvPr/>
        </p:nvSpPr>
        <p:spPr>
          <a:xfrm>
            <a:off x="8677356" y="2096505"/>
            <a:ext cx="1492693" cy="797808"/>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67" name="Прямоугольник 66"/>
          <p:cNvSpPr/>
          <p:nvPr/>
        </p:nvSpPr>
        <p:spPr>
          <a:xfrm>
            <a:off x="10181572" y="2003001"/>
            <a:ext cx="2003227" cy="797808"/>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68" name="Прямая соединительная линия 67"/>
          <p:cNvCxnSpPr/>
          <p:nvPr/>
        </p:nvCxnSpPr>
        <p:spPr>
          <a:xfrm>
            <a:off x="10157962" y="2162703"/>
            <a:ext cx="0" cy="601446"/>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69" name="Прямоугольник 68"/>
          <p:cNvSpPr/>
          <p:nvPr/>
        </p:nvSpPr>
        <p:spPr>
          <a:xfrm>
            <a:off x="8645445" y="2739781"/>
            <a:ext cx="1492693" cy="599405"/>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70" name="Прямоугольник 69"/>
          <p:cNvSpPr/>
          <p:nvPr/>
        </p:nvSpPr>
        <p:spPr>
          <a:xfrm>
            <a:off x="10181573" y="2693811"/>
            <a:ext cx="2148368" cy="599405"/>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1 </a:t>
            </a:r>
            <a:r>
              <a:rPr lang="ru-RU" sz="1200" kern="0" dirty="0">
                <a:solidFill>
                  <a:srgbClr val="1F497D">
                    <a:lumMod val="50000"/>
                  </a:srgbClr>
                </a:solidFill>
                <a:latin typeface="Arial Narrow" panose="020B0606020202030204" pitchFamily="34" charset="0"/>
                <a:cs typeface="+mn-cs"/>
              </a:rPr>
              <a:t>раз в полгода </a:t>
            </a:r>
            <a:r>
              <a:rPr lang="ru-RU" sz="1200" kern="0" dirty="0" smtClean="0">
                <a:solidFill>
                  <a:srgbClr val="1F497D">
                    <a:lumMod val="50000"/>
                  </a:srgbClr>
                </a:solidFill>
                <a:latin typeface="Arial Narrow" panose="020B0606020202030204" pitchFamily="34" charset="0"/>
                <a:cs typeface="+mn-cs"/>
              </a:rPr>
              <a:t>/ ежеквартально</a:t>
            </a:r>
            <a:endParaRPr lang="ru-RU" sz="1200" kern="0" dirty="0">
              <a:solidFill>
                <a:srgbClr val="1F497D">
                  <a:lumMod val="50000"/>
                </a:srgbClr>
              </a:solidFill>
              <a:latin typeface="Arial Narrow" panose="020B0606020202030204" pitchFamily="34" charset="0"/>
              <a:cs typeface="+mn-cs"/>
            </a:endParaRPr>
          </a:p>
        </p:txBody>
      </p:sp>
      <p:cxnSp>
        <p:nvCxnSpPr>
          <p:cNvPr id="71" name="Прямая соединительная линия 70"/>
          <p:cNvCxnSpPr/>
          <p:nvPr/>
        </p:nvCxnSpPr>
        <p:spPr>
          <a:xfrm>
            <a:off x="10157962" y="2834420"/>
            <a:ext cx="0" cy="433132"/>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72" name="Прямоугольник 71"/>
          <p:cNvSpPr/>
          <p:nvPr/>
        </p:nvSpPr>
        <p:spPr>
          <a:xfrm>
            <a:off x="8633358" y="5167500"/>
            <a:ext cx="1492693" cy="171017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73" name="Прямоугольник 72"/>
          <p:cNvSpPr/>
          <p:nvPr/>
        </p:nvSpPr>
        <p:spPr>
          <a:xfrm>
            <a:off x="10169486" y="4328486"/>
            <a:ext cx="2348512" cy="1710173"/>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6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50% </a:t>
            </a:r>
            <a:r>
              <a:rPr lang="ru-RU" sz="1200" kern="0" dirty="0">
                <a:solidFill>
                  <a:srgbClr val="1F497D">
                    <a:lumMod val="50000"/>
                  </a:srgbClr>
                </a:solidFill>
                <a:latin typeface="Arial Narrow" panose="020B0606020202030204" pitchFamily="34" charset="0"/>
                <a:cs typeface="+mn-cs"/>
              </a:rPr>
              <a:t>от суммы кредита </a:t>
            </a: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rPr>
              <a:t>от суммы кредита </a:t>
            </a: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рамках продуктов </a:t>
            </a:r>
            <a:r>
              <a:rPr lang="ru-RU" sz="1200" kern="0" dirty="0" smtClean="0">
                <a:solidFill>
                  <a:srgbClr val="1F497D">
                    <a:lumMod val="50000"/>
                  </a:srgbClr>
                </a:solidFill>
                <a:latin typeface="Arial Narrow" panose="020B0606020202030204" pitchFamily="34" charset="0"/>
                <a:cs typeface="+mn-cs"/>
              </a:rPr>
              <a:t>для </a:t>
            </a:r>
            <a:r>
              <a:rPr lang="ru-RU" sz="1200" kern="0" dirty="0">
                <a:solidFill>
                  <a:srgbClr val="1F497D">
                    <a:lumMod val="50000"/>
                  </a:srgbClr>
                </a:solidFill>
                <a:latin typeface="Arial Narrow" panose="020B0606020202030204" pitchFamily="34" charset="0"/>
                <a:cs typeface="+mn-cs"/>
              </a:rPr>
              <a:t>участников </a:t>
            </a:r>
            <a:r>
              <a:rPr lang="ru-RU" sz="1200" kern="0" dirty="0" smtClean="0">
                <a:solidFill>
                  <a:srgbClr val="1F497D">
                    <a:lumMod val="50000"/>
                  </a:srgbClr>
                </a:solidFill>
                <a:latin typeface="Arial Narrow" panose="020B0606020202030204" pitchFamily="34" charset="0"/>
                <a:cs typeface="+mn-cs"/>
              </a:rPr>
              <a:t>закупок, для «газелей» и для начинающих предпринимателей старше 45 лет</a:t>
            </a:r>
            <a:r>
              <a:rPr lang="ru-RU" sz="1200" kern="0" dirty="0">
                <a:solidFill>
                  <a:srgbClr val="1F497D">
                    <a:lumMod val="50000"/>
                  </a:srgbClr>
                </a:solidFill>
                <a:latin typeface="Arial Narrow" panose="020B0606020202030204" pitchFamily="34" charset="0"/>
                <a:cs typeface="+mn-cs"/>
              </a:rPr>
              <a:t>, </a:t>
            </a:r>
            <a:r>
              <a:rPr lang="ru-RU" sz="1200" kern="0" dirty="0" smtClean="0">
                <a:solidFill>
                  <a:srgbClr val="1F497D">
                    <a:lumMod val="50000"/>
                  </a:srgbClr>
                </a:solidFill>
                <a:latin typeface="Arial Narrow" panose="020B0606020202030204" pitchFamily="34" charset="0"/>
                <a:cs typeface="+mn-cs"/>
              </a:rPr>
              <a:t>в рамках гарантии для </a:t>
            </a:r>
            <a:r>
              <a:rPr lang="ru-RU" sz="1200" kern="0" dirty="0">
                <a:solidFill>
                  <a:srgbClr val="1F497D">
                    <a:lumMod val="50000"/>
                  </a:srgbClr>
                </a:solidFill>
                <a:latin typeface="Arial Narrow" panose="020B0606020202030204" pitchFamily="34" charset="0"/>
                <a:cs typeface="+mn-cs"/>
              </a:rPr>
              <a:t>развития </a:t>
            </a:r>
            <a:r>
              <a:rPr lang="ru-RU" sz="1200" kern="0" dirty="0" err="1" smtClean="0">
                <a:solidFill>
                  <a:srgbClr val="1F497D">
                    <a:lumMod val="50000"/>
                  </a:srgbClr>
                </a:solidFill>
                <a:latin typeface="Arial Narrow" panose="020B0606020202030204" pitchFamily="34" charset="0"/>
                <a:cs typeface="+mn-cs"/>
              </a:rPr>
              <a:t>сельхозкооперации</a:t>
            </a:r>
            <a:r>
              <a:rPr lang="ru-RU" sz="1200" kern="0" dirty="0" smtClean="0">
                <a:solidFill>
                  <a:srgbClr val="1F497D">
                    <a:lumMod val="50000"/>
                  </a:srgbClr>
                </a:solidFill>
                <a:latin typeface="Arial Narrow" panose="020B0606020202030204" pitchFamily="34" charset="0"/>
                <a:cs typeface="+mn-cs"/>
              </a:rPr>
              <a:t>, а также в </a:t>
            </a:r>
            <a:r>
              <a:rPr lang="ru-RU" sz="1200" kern="0" dirty="0">
                <a:solidFill>
                  <a:srgbClr val="1F497D">
                    <a:lumMod val="50000"/>
                  </a:srgbClr>
                </a:solidFill>
                <a:latin typeface="Arial Narrow" panose="020B0606020202030204" pitchFamily="34" charset="0"/>
                <a:cs typeface="+mn-cs"/>
              </a:rPr>
              <a:t>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rPr>
              <a:t>до 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Востока и моногородов», «</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газелей»,</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занятости лиц старше </a:t>
            </a:r>
            <a:r>
              <a:rPr lang="ru-RU" sz="1200" kern="0" dirty="0">
                <a:solidFill>
                  <a:srgbClr val="1F497D">
                    <a:lumMod val="50000"/>
                  </a:srgbClr>
                </a:solidFill>
                <a:latin typeface="Arial Narrow" panose="020B0606020202030204" pitchFamily="34" charset="0"/>
              </a:rPr>
              <a:t>45 </a:t>
            </a:r>
            <a:r>
              <a:rPr lang="ru-RU" sz="1200" kern="0" dirty="0" smtClean="0">
                <a:solidFill>
                  <a:srgbClr val="1F497D">
                    <a:lumMod val="50000"/>
                  </a:srgbClr>
                </a:solidFill>
                <a:latin typeface="Arial Narrow" panose="020B0606020202030204" pitchFamily="34" charset="0"/>
              </a:rPr>
              <a:t>лет»,</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развития физической культуры и спорта»</a:t>
            </a: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rPr>
              <a:t>до </a:t>
            </a:r>
            <a:r>
              <a:rPr lang="ru-RU" sz="1600" kern="0" dirty="0">
                <a:solidFill>
                  <a:srgbClr val="1F497D">
                    <a:lumMod val="50000"/>
                  </a:srgbClr>
                </a:solidFill>
                <a:latin typeface="Arial Narrow" panose="020B0606020202030204" pitchFamily="34" charset="0"/>
              </a:rPr>
              <a:t>100 </a:t>
            </a:r>
            <a:r>
              <a:rPr lang="ru-RU" sz="1600" kern="0" dirty="0" smtClean="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от </a:t>
            </a:r>
            <a:r>
              <a:rPr lang="ru-RU" sz="1200" kern="0" dirty="0">
                <a:solidFill>
                  <a:srgbClr val="1F497D">
                    <a:lumMod val="50000"/>
                  </a:srgbClr>
                </a:solidFill>
                <a:latin typeface="Arial Narrow" panose="020B0606020202030204" pitchFamily="34" charset="0"/>
              </a:rPr>
              <a:t>суммы кредита в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rPr>
              <a:t>рамках гарантии для </a:t>
            </a:r>
            <a:r>
              <a:rPr lang="ru-RU" sz="1200" kern="0" dirty="0" err="1">
                <a:solidFill>
                  <a:srgbClr val="1F497D">
                    <a:lumMod val="50000"/>
                  </a:srgbClr>
                </a:solidFill>
                <a:latin typeface="Arial Narrow" panose="020B0606020202030204" pitchFamily="34" charset="0"/>
              </a:rPr>
              <a:t>стартапов</a:t>
            </a:r>
            <a:endParaRPr lang="ru-RU" sz="1200" kern="0" dirty="0">
              <a:solidFill>
                <a:srgbClr val="1F497D">
                  <a:lumMod val="50000"/>
                </a:srgbClr>
              </a:solidFill>
              <a:latin typeface="Arial Narrow" panose="020B0606020202030204" pitchFamily="34" charset="0"/>
            </a:endParaRPr>
          </a:p>
        </p:txBody>
      </p:sp>
      <p:cxnSp>
        <p:nvCxnSpPr>
          <p:cNvPr id="74" name="Прямая соединительная линия 73"/>
          <p:cNvCxnSpPr/>
          <p:nvPr/>
        </p:nvCxnSpPr>
        <p:spPr>
          <a:xfrm flipH="1">
            <a:off x="10138138" y="3328676"/>
            <a:ext cx="20840" cy="4497311"/>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75" name="Прямоугольник 74"/>
          <p:cNvSpPr/>
          <p:nvPr/>
        </p:nvSpPr>
        <p:spPr>
          <a:xfrm>
            <a:off x="8597985" y="7894328"/>
            <a:ext cx="1492693" cy="409402"/>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76" name="Прямоугольник 75"/>
          <p:cNvSpPr/>
          <p:nvPr/>
        </p:nvSpPr>
        <p:spPr>
          <a:xfrm>
            <a:off x="10222623" y="7861374"/>
            <a:ext cx="2003227" cy="409402"/>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rPr>
              <a:t>до 100 млн не </a:t>
            </a:r>
            <a:r>
              <a:rPr lang="ru-RU" sz="1200" kern="0" dirty="0" smtClean="0">
                <a:solidFill>
                  <a:srgbClr val="1F497D">
                    <a:lumMod val="50000"/>
                  </a:srgbClr>
                </a:solidFill>
                <a:latin typeface="Arial Narrow" panose="020B0606020202030204" pitchFamily="34" charset="0"/>
              </a:rPr>
              <a:t>требуется,</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от 100 млн рублей </a:t>
            </a:r>
            <a:r>
              <a:rPr lang="ru-RU" sz="1200" kern="0" dirty="0" err="1" smtClean="0">
                <a:solidFill>
                  <a:srgbClr val="1F497D">
                    <a:lumMod val="50000"/>
                  </a:srgbClr>
                </a:solidFill>
                <a:latin typeface="Arial Narrow" panose="020B0606020202030204" pitchFamily="34" charset="0"/>
              </a:rPr>
              <a:t>последзалог</a:t>
            </a:r>
            <a:r>
              <a:rPr lang="ru-RU" sz="1200" kern="0" dirty="0" smtClean="0">
                <a:solidFill>
                  <a:srgbClr val="1F497D">
                    <a:lumMod val="50000"/>
                  </a:srgbClr>
                </a:solidFill>
                <a:latin typeface="Arial Narrow" panose="020B0606020202030204" pitchFamily="34" charset="0"/>
              </a:rPr>
              <a:t>/поручительство</a:t>
            </a:r>
            <a:endParaRPr lang="ru-RU" sz="1200" kern="0" dirty="0">
              <a:solidFill>
                <a:srgbClr val="1F497D">
                  <a:lumMod val="50000"/>
                </a:srgbClr>
              </a:solidFill>
              <a:latin typeface="Arial Narrow" panose="020B0606020202030204" pitchFamily="34" charset="0"/>
            </a:endParaRPr>
          </a:p>
        </p:txBody>
      </p:sp>
      <p:cxnSp>
        <p:nvCxnSpPr>
          <p:cNvPr id="77" name="Прямая соединительная линия 76"/>
          <p:cNvCxnSpPr/>
          <p:nvPr/>
        </p:nvCxnSpPr>
        <p:spPr>
          <a:xfrm>
            <a:off x="10127751" y="7912087"/>
            <a:ext cx="210" cy="306542"/>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78" name="Прямая соединительная линия 77"/>
          <p:cNvCxnSpPr/>
          <p:nvPr/>
        </p:nvCxnSpPr>
        <p:spPr>
          <a:xfrm>
            <a:off x="3672230" y="2615392"/>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78"/>
          <p:cNvCxnSpPr/>
          <p:nvPr/>
        </p:nvCxnSpPr>
        <p:spPr>
          <a:xfrm>
            <a:off x="3690708" y="3529589"/>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79"/>
          <p:cNvCxnSpPr/>
          <p:nvPr/>
        </p:nvCxnSpPr>
        <p:spPr>
          <a:xfrm>
            <a:off x="3731324" y="60172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80"/>
          <p:cNvCxnSpPr/>
          <p:nvPr/>
        </p:nvCxnSpPr>
        <p:spPr>
          <a:xfrm flipV="1">
            <a:off x="3711016" y="7154965"/>
            <a:ext cx="4836181" cy="8359"/>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2" name="Прямоугольник 81"/>
          <p:cNvSpPr/>
          <p:nvPr/>
        </p:nvSpPr>
        <p:spPr>
          <a:xfrm>
            <a:off x="341931" y="6696848"/>
            <a:ext cx="1048200" cy="532949"/>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83" name="Freeform 6"/>
          <p:cNvSpPr>
            <a:spLocks noEditPoints="1"/>
          </p:cNvSpPr>
          <p:nvPr/>
        </p:nvSpPr>
        <p:spPr bwMode="auto">
          <a:xfrm>
            <a:off x="712795" y="6244776"/>
            <a:ext cx="306472" cy="475315"/>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4" name="Скругленный прямоугольник 83"/>
          <p:cNvSpPr/>
          <p:nvPr/>
        </p:nvSpPr>
        <p:spPr>
          <a:xfrm>
            <a:off x="468793" y="7892779"/>
            <a:ext cx="867582" cy="243822"/>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85" name="Freeform 9"/>
          <p:cNvSpPr>
            <a:spLocks noEditPoints="1"/>
          </p:cNvSpPr>
          <p:nvPr/>
        </p:nvSpPr>
        <p:spPr bwMode="auto">
          <a:xfrm>
            <a:off x="659031" y="3046238"/>
            <a:ext cx="506770" cy="414993"/>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86" name="Рисунок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3553" y="3647522"/>
            <a:ext cx="464917" cy="472689"/>
          </a:xfrm>
          <a:prstGeom prst="rect">
            <a:avLst/>
          </a:prstGeom>
        </p:spPr>
      </p:pic>
      <p:pic>
        <p:nvPicPr>
          <p:cNvPr id="87" name="Рисунок 8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6012" y="1721639"/>
            <a:ext cx="855087" cy="869382"/>
          </a:xfrm>
          <a:prstGeom prst="rect">
            <a:avLst/>
          </a:prstGeom>
        </p:spPr>
      </p:pic>
      <p:pic>
        <p:nvPicPr>
          <p:cNvPr id="88" name="Рисунок 8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7559" y="7315300"/>
            <a:ext cx="569715" cy="554139"/>
          </a:xfrm>
          <a:prstGeom prst="rect">
            <a:avLst/>
          </a:prstGeom>
        </p:spPr>
      </p:pic>
      <p:sp>
        <p:nvSpPr>
          <p:cNvPr id="89" name="TextBox 88"/>
          <p:cNvSpPr txBox="1"/>
          <p:nvPr/>
        </p:nvSpPr>
        <p:spPr>
          <a:xfrm>
            <a:off x="12102955" y="8277361"/>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90" name="Рисунок 8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5855" y="4966115"/>
            <a:ext cx="483910" cy="483910"/>
          </a:xfrm>
          <a:prstGeom prst="rect">
            <a:avLst/>
          </a:prstGeom>
        </p:spPr>
      </p:pic>
      <p:sp>
        <p:nvSpPr>
          <p:cNvPr id="91" name="Текст 2"/>
          <p:cNvSpPr>
            <a:spLocks noGrp="1"/>
          </p:cNvSpPr>
          <p:nvPr>
            <p:ph type="body" sz="quarter" idx="10"/>
          </p:nvPr>
        </p:nvSpPr>
        <p:spPr>
          <a:xfrm>
            <a:off x="341931" y="52672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sp>
        <p:nvSpPr>
          <p:cNvPr id="92" name="Текст 2"/>
          <p:cNvSpPr txBox="1">
            <a:spLocks/>
          </p:cNvSpPr>
          <p:nvPr/>
        </p:nvSpPr>
        <p:spPr>
          <a:xfrm>
            <a:off x="8810153" y="558998"/>
            <a:ext cx="3553111"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pic>
        <p:nvPicPr>
          <p:cNvPr id="3" name="Рисунок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9494" y="4136201"/>
            <a:ext cx="492614" cy="492614"/>
          </a:xfrm>
          <a:prstGeom prst="rect">
            <a:avLst/>
          </a:prstGeom>
        </p:spPr>
      </p:pic>
      <p:pic>
        <p:nvPicPr>
          <p:cNvPr id="4" name="Рисунок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3553" y="4489355"/>
            <a:ext cx="456518" cy="456518"/>
          </a:xfrm>
          <a:prstGeom prst="rect">
            <a:avLst/>
          </a:prstGeom>
        </p:spPr>
      </p:pic>
      <p:grpSp>
        <p:nvGrpSpPr>
          <p:cNvPr id="51" name="Группа 50"/>
          <p:cNvGrpSpPr/>
          <p:nvPr/>
        </p:nvGrpSpPr>
        <p:grpSpPr>
          <a:xfrm>
            <a:off x="469991" y="5318078"/>
            <a:ext cx="390533" cy="446393"/>
            <a:chOff x="504944" y="4355696"/>
            <a:chExt cx="499365" cy="563436"/>
          </a:xfrm>
        </p:grpSpPr>
        <p:pic>
          <p:nvPicPr>
            <p:cNvPr id="52" name="Рисунок 51"/>
            <p:cNvPicPr>
              <a:picLocks noChangeAspect="1"/>
            </p:cNvPicPr>
            <p:nvPr/>
          </p:nvPicPr>
          <p:blipFill>
            <a:blip r:embed="rId9"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53" name="Group 629"/>
            <p:cNvGrpSpPr/>
            <p:nvPr/>
          </p:nvGrpSpPr>
          <p:grpSpPr>
            <a:xfrm>
              <a:off x="657808" y="4451532"/>
              <a:ext cx="346501" cy="467600"/>
              <a:chOff x="8731241" y="4262438"/>
              <a:chExt cx="458788" cy="619125"/>
            </a:xfrm>
            <a:solidFill>
              <a:schemeClr val="tx1"/>
            </a:solidFill>
          </p:grpSpPr>
          <p:sp>
            <p:nvSpPr>
              <p:cNvPr id="54"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sp>
            <p:nvSpPr>
              <p:cNvPr id="55"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marL="0" marR="0" lvl="0" indent="0" algn="l" defTabSz="1020833" rtl="0" eaLnBrk="1" fontAlgn="auto" latinLnBrk="0" hangingPunct="1">
                  <a:lnSpc>
                    <a:spcPct val="100000"/>
                  </a:lnSpc>
                  <a:spcBef>
                    <a:spcPts val="0"/>
                  </a:spcBef>
                  <a:spcAft>
                    <a:spcPts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Calibri"/>
                  <a:ea typeface="+mn-ea"/>
                  <a:cs typeface="Arial" pitchFamily="34" charset="0"/>
                </a:endParaRPr>
              </a:p>
            </p:txBody>
          </p:sp>
        </p:grpSp>
      </p:grpSp>
      <p:pic>
        <p:nvPicPr>
          <p:cNvPr id="6" name="Рисунок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26808" y="5609290"/>
            <a:ext cx="484266" cy="484266"/>
          </a:xfrm>
          <a:prstGeom prst="rect">
            <a:avLst/>
          </a:prstGeom>
        </p:spPr>
      </p:pic>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ext uri="{D42A27DB-BD31-4B8C-83A1-F6EECF244321}">
                <p14:modId xmlns:p14="http://schemas.microsoft.com/office/powerpoint/2010/main" val="1698848695"/>
              </p:ext>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683473" y="6790677"/>
            <a:ext cx="3223715" cy="923330"/>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
        <p:nvSpPr>
          <p:cNvPr id="27" name="TextBox 26"/>
          <p:cNvSpPr txBox="1"/>
          <p:nvPr/>
        </p:nvSpPr>
        <p:spPr>
          <a:xfrm>
            <a:off x="8487740" y="2894324"/>
            <a:ext cx="3419448" cy="2400657"/>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a:t>
            </a:r>
          </a:p>
          <a:p>
            <a:pPr algn="ctr"/>
            <a:endParaRPr lang="ru-RU" sz="1800" dirty="0" smtClean="0"/>
          </a:p>
          <a:p>
            <a:r>
              <a:rPr lang="ru-RU" sz="1600" dirty="0" smtClean="0"/>
              <a:t>Корпорация – до 10 рабочих дней</a:t>
            </a:r>
          </a:p>
          <a:p>
            <a:endParaRPr lang="ru-RU" sz="1600" dirty="0" smtClean="0"/>
          </a:p>
          <a:p>
            <a:r>
              <a:rPr lang="ru-RU" sz="1600" dirty="0" smtClean="0"/>
              <a:t>АО «МСП Банк» – от 3 часов до 5 рабочих дней*</a:t>
            </a:r>
          </a:p>
          <a:p>
            <a:endParaRPr lang="ru-RU" sz="1600" dirty="0" smtClean="0"/>
          </a:p>
          <a:p>
            <a:r>
              <a:rPr lang="ru-RU" sz="1600" dirty="0" smtClean="0"/>
              <a:t>РГО – от 3 до 5 рабочих дней**</a:t>
            </a:r>
            <a:endParaRPr lang="ru-RU" sz="1600" dirty="0"/>
          </a:p>
        </p:txBody>
      </p:sp>
      <p:sp>
        <p:nvSpPr>
          <p:cNvPr id="4" name="Прямоугольник 3"/>
          <p:cNvSpPr/>
          <p:nvPr/>
        </p:nvSpPr>
        <p:spPr>
          <a:xfrm>
            <a:off x="182166" y="8114638"/>
            <a:ext cx="3592650" cy="400110"/>
          </a:xfrm>
          <a:prstGeom prst="rect">
            <a:avLst/>
          </a:prstGeom>
        </p:spPr>
        <p:txBody>
          <a:bodyPr wrap="none">
            <a:spAutoFit/>
          </a:bodyPr>
          <a:lstStyle/>
          <a:p>
            <a:r>
              <a:rPr lang="ru-RU" sz="1000" i="1" dirty="0" smtClean="0"/>
              <a:t>* Для банковских гарантий в рамках ФЗ 223-ФЗ и 44-ФЗ</a:t>
            </a:r>
          </a:p>
          <a:p>
            <a:r>
              <a:rPr lang="ru-RU" sz="1000" i="1" dirty="0" smtClean="0"/>
              <a:t>**10 </a:t>
            </a:r>
            <a:r>
              <a:rPr lang="ru-RU" sz="1000" i="1" dirty="0"/>
              <a:t>рабочих дней </a:t>
            </a:r>
            <a:r>
              <a:rPr lang="ru-RU" sz="1000" i="1" dirty="0" smtClean="0"/>
              <a:t>при сумме от</a:t>
            </a:r>
            <a:r>
              <a:rPr lang="en-US" sz="1000" i="1" dirty="0" smtClean="0"/>
              <a:t> </a:t>
            </a:r>
            <a:r>
              <a:rPr lang="en-US" sz="1000" i="1" dirty="0"/>
              <a:t>25 </a:t>
            </a:r>
            <a:r>
              <a:rPr lang="ru-RU" sz="1000" i="1" dirty="0"/>
              <a:t>млн </a:t>
            </a:r>
            <a:r>
              <a:rPr lang="ru-RU" sz="1000" i="1" dirty="0" smtClean="0"/>
              <a:t>рублей </a:t>
            </a:r>
            <a:endParaRPr lang="ru-RU" sz="1000" i="1" dirty="0"/>
          </a:p>
        </p:txBody>
      </p:sp>
    </p:spTree>
    <p:extLst>
      <p:ext uri="{BB962C8B-B14F-4D97-AF65-F5344CB8AC3E}">
        <p14:creationId xmlns:p14="http://schemas.microsoft.com/office/powerpoint/2010/main" val="32021590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Орган власти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61150" y="1278356"/>
            <a:ext cx="11692135" cy="2473177"/>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a:t>
            </a:r>
            <a:r>
              <a:rPr lang="ru-RU" sz="1400" dirty="0" smtClean="0">
                <a:latin typeface="Arial" panose="020B0604020202020204" pitchFamily="34" charset="0"/>
                <a:cs typeface="Arial" panose="020B0604020202020204" pitchFamily="34" charset="0"/>
              </a:rPr>
              <a:t>рублей, а также </a:t>
            </a:r>
            <a:r>
              <a:rPr lang="ru-RU" sz="1400" dirty="0" err="1" smtClean="0">
                <a:latin typeface="Arial" panose="020B0604020202020204" pitchFamily="34" charset="0"/>
                <a:cs typeface="Arial" panose="020B0604020202020204" pitchFamily="34" charset="0"/>
              </a:rPr>
              <a:t>стартапы</a:t>
            </a:r>
            <a:r>
              <a:rPr lang="ru-RU" sz="1400" dirty="0" smtClean="0">
                <a:latin typeface="Arial" panose="020B0604020202020204" pitchFamily="34" charset="0"/>
                <a:cs typeface="Arial" panose="020B0604020202020204" pitchFamily="34" charset="0"/>
              </a:rPr>
              <a:t> и быстрорастущие инновационные, высокотехнологичные компании («газели»)).</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a:t>
            </a:r>
            <a:r>
              <a:rPr lang="ru-RU" sz="1400" dirty="0" smtClean="0">
                <a:latin typeface="Arial" panose="020B0604020202020204" pitchFamily="34" charset="0"/>
                <a:cs typeface="Arial" panose="020B0604020202020204" pitchFamily="34" charset="0"/>
              </a:rPr>
              <a:t>Приоритетным отраслям экономики.</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a:t>
            </a:r>
            <a:r>
              <a:rPr lang="ru-RU" sz="1400" dirty="0" smtClean="0">
                <a:latin typeface="Arial" panose="020B0604020202020204" pitchFamily="34" charset="0"/>
                <a:cs typeface="Arial" panose="020B0604020202020204" pitchFamily="34" charset="0"/>
              </a:rPr>
              <a:t>(чек-лист)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a:t>
            </a:r>
            <a:r>
              <a:rPr lang="ru-RU" sz="1400" dirty="0" smtClean="0">
                <a:latin typeface="Arial" panose="020B0604020202020204" pitchFamily="34" charset="0"/>
                <a:cs typeface="Arial" panose="020B0604020202020204" pitchFamily="34" charset="0"/>
              </a:rPr>
              <a:t>органов власти субъекта </a:t>
            </a:r>
            <a:r>
              <a:rPr lang="ru-RU" sz="1400" dirty="0">
                <a:latin typeface="Arial" panose="020B0604020202020204" pitchFamily="34" charset="0"/>
                <a:cs typeface="Arial" panose="020B0604020202020204" pitchFamily="34" charset="0"/>
              </a:rPr>
              <a:t>Российской Федерации и/или входит в список приоритетных проектов, реализуемых на территории субъекта Российской Федерации.</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solidFill>
                <a:srgbClr val="000000"/>
              </a:solidFill>
              <a:latin typeface="Arial"/>
            </a:endParaRPr>
          </a:p>
        </p:txBody>
      </p:sp>
      <p:sp>
        <p:nvSpPr>
          <p:cNvPr id="2" name="Заголовок 1"/>
          <p:cNvSpPr>
            <a:spLocks noGrp="1"/>
          </p:cNvSpPr>
          <p:nvPr>
            <p:ph type="title"/>
          </p:nvPr>
        </p:nvSpPr>
        <p:spPr/>
        <p:txBody>
          <a:bodyPr/>
          <a:lstStyle/>
          <a:p>
            <a:r>
              <a:rPr lang="ru-RU" dirty="0"/>
              <a:t>Приоритетные </a:t>
            </a:r>
            <a:r>
              <a:rPr lang="ru-RU" dirty="0" smtClean="0"/>
              <a:t>отрасли экономики</a:t>
            </a:r>
            <a:endParaRPr lang="ru-RU" dirty="0"/>
          </a:p>
        </p:txBody>
      </p:sp>
      <p:sp>
        <p:nvSpPr>
          <p:cNvPr id="89" name="Прямоугольник 88"/>
          <p:cNvSpPr/>
          <p:nvPr/>
        </p:nvSpPr>
        <p:spPr>
          <a:xfrm>
            <a:off x="706887" y="1150686"/>
            <a:ext cx="11403977" cy="7109737"/>
          </a:xfrm>
          <a:prstGeom prst="rect">
            <a:avLst/>
          </a:prstGeom>
        </p:spPr>
        <p:txBody>
          <a:bodyPr wrap="square" lIns="72000" tIns="108000" rIns="36000" bIns="0" anchor="t">
            <a:noAutofit/>
          </a:bodyPr>
          <a:lstStyle/>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ельское </a:t>
            </a:r>
            <a:r>
              <a:rPr lang="ru-RU" sz="1400" b="1" dirty="0">
                <a:solidFill>
                  <a:srgbClr val="1F4E79"/>
                </a:solidFill>
              </a:rPr>
              <a:t>хозяйство</a:t>
            </a:r>
            <a:r>
              <a:rPr lang="ru-RU" sz="1400" dirty="0">
                <a:solidFill>
                  <a:srgbClr val="1F4E79"/>
                </a:solidFill>
              </a:rPr>
              <a:t>, </a:t>
            </a:r>
            <a:r>
              <a:rPr lang="ru-RU" sz="1400" dirty="0">
                <a:solidFill>
                  <a:srgbClr val="000000"/>
                </a:solidFill>
              </a:rPr>
              <a:t>включая производство сельскохозяйственной продукции, а также предоставление услуг в этой отрасли экономики, в том числе в целях обеспечения импортозамещения и развития </a:t>
            </a:r>
            <a:r>
              <a:rPr lang="ru-RU" sz="1400" dirty="0" err="1">
                <a:solidFill>
                  <a:srgbClr val="000000"/>
                </a:solidFill>
              </a:rPr>
              <a:t>несырьевого</a:t>
            </a:r>
            <a:r>
              <a:rPr lang="ru-RU" sz="1400" dirty="0">
                <a:solidFill>
                  <a:srgbClr val="000000"/>
                </a:solidFill>
              </a:rPr>
              <a:t> экспорта</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Обрабатывающее производство</a:t>
            </a:r>
            <a:r>
              <a:rPr lang="ru-RU" sz="1400" dirty="0" smtClean="0">
                <a:solidFill>
                  <a:srgbClr val="1F4E79"/>
                </a:solidFill>
              </a:rPr>
              <a:t>,</a:t>
            </a:r>
            <a:r>
              <a:rPr lang="ru-RU" sz="1400" dirty="0" smtClean="0">
                <a:solidFill>
                  <a:srgbClr val="000000"/>
                </a:solidFill>
              </a:rPr>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импортозамещения и развития </a:t>
            </a:r>
            <a:r>
              <a:rPr lang="ru-RU" sz="1400" dirty="0" err="1" smtClean="0">
                <a:solidFill>
                  <a:srgbClr val="000000"/>
                </a:solidFill>
              </a:rPr>
              <a:t>несырьевого</a:t>
            </a:r>
            <a:r>
              <a:rPr lang="ru-RU" sz="1400" dirty="0" smtClean="0">
                <a:solidFill>
                  <a:srgbClr val="000000"/>
                </a:solidFill>
              </a:rPr>
              <a:t> экспорта</a:t>
            </a:r>
          </a:p>
          <a:p>
            <a:pPr marL="381000" lvl="1" indent="-285750" algn="just" defTabSz="957263">
              <a:lnSpc>
                <a:spcPct val="120000"/>
              </a:lnSpc>
              <a:spcBef>
                <a:spcPts val="0"/>
              </a:spcBef>
              <a:buFont typeface="Wingdings" panose="05000000000000000000" pitchFamily="2" charset="2"/>
              <a:buChar char="Ø"/>
            </a:pPr>
            <a:r>
              <a:rPr lang="ru-RU" sz="1400" dirty="0" smtClean="0">
                <a:solidFill>
                  <a:srgbClr val="000000"/>
                </a:solidFill>
              </a:rPr>
              <a:t>Производство </a:t>
            </a:r>
            <a:r>
              <a:rPr lang="ru-RU" sz="1400" dirty="0">
                <a:solidFill>
                  <a:srgbClr val="000000"/>
                </a:solidFill>
              </a:rPr>
              <a:t>и распределение </a:t>
            </a:r>
            <a:r>
              <a:rPr lang="ru-RU" sz="1400" b="1" dirty="0">
                <a:solidFill>
                  <a:srgbClr val="1F4E79"/>
                </a:solidFill>
              </a:rPr>
              <a:t>электроэнергии</a:t>
            </a:r>
            <a:r>
              <a:rPr lang="ru-RU" sz="1400" dirty="0">
                <a:solidFill>
                  <a:srgbClr val="1F4E79"/>
                </a:solidFill>
              </a:rPr>
              <a:t>, </a:t>
            </a:r>
            <a:r>
              <a:rPr lang="ru-RU" sz="1400" b="1" dirty="0">
                <a:solidFill>
                  <a:srgbClr val="1F4E79"/>
                </a:solidFill>
              </a:rPr>
              <a:t>газа </a:t>
            </a:r>
            <a:r>
              <a:rPr lang="ru-RU" sz="1400" dirty="0">
                <a:solidFill>
                  <a:srgbClr val="1F4E79"/>
                </a:solidFill>
              </a:rPr>
              <a:t>и</a:t>
            </a:r>
            <a:r>
              <a:rPr lang="ru-RU" sz="1400" b="1" dirty="0">
                <a:solidFill>
                  <a:srgbClr val="1F4E79"/>
                </a:solidFill>
              </a:rPr>
              <a:t> воды</a:t>
            </a:r>
            <a:endParaRPr lang="ru-RU" sz="1400" dirty="0">
              <a:solidFill>
                <a:srgbClr val="1F4E79"/>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троительство</a:t>
            </a:r>
            <a:r>
              <a:rPr lang="ru-RU" sz="1400" dirty="0" smtClean="0">
                <a:solidFill>
                  <a:srgbClr val="1F4E79"/>
                </a:solidFill>
              </a:rPr>
              <a:t>,</a:t>
            </a:r>
            <a:r>
              <a:rPr lang="ru-RU" sz="1400" dirty="0" smtClean="0">
                <a:solidFill>
                  <a:srgbClr val="000000"/>
                </a:solidFill>
              </a:rPr>
              <a:t> в том числе в рамках развития внутреннего туризма</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Транспорт </a:t>
            </a:r>
            <a:r>
              <a:rPr lang="ru-RU" sz="1400" b="1" dirty="0">
                <a:solidFill>
                  <a:srgbClr val="1F4E79"/>
                </a:solidFill>
              </a:rPr>
              <a:t>и </a:t>
            </a:r>
            <a:r>
              <a:rPr lang="ru-RU" sz="1400" b="1" dirty="0" smtClean="0">
                <a:solidFill>
                  <a:srgbClr val="1F4E79"/>
                </a:solidFill>
              </a:rPr>
              <a:t>связь</a:t>
            </a: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Туристская </a:t>
            </a:r>
            <a:r>
              <a:rPr lang="ru-RU" sz="1400" b="1" dirty="0">
                <a:solidFill>
                  <a:srgbClr val="1F4E79"/>
                </a:solidFill>
              </a:rPr>
              <a:t>деятельность </a:t>
            </a:r>
            <a:r>
              <a:rPr lang="ru-RU" sz="1400" dirty="0">
                <a:solidFill>
                  <a:srgbClr val="000000"/>
                </a:solidFill>
              </a:rPr>
              <a:t>и деятельность в области туристской индустрии в целях развития внутреннего </a:t>
            </a:r>
            <a:r>
              <a:rPr lang="ru-RU" sz="1400" dirty="0" smtClean="0">
                <a:solidFill>
                  <a:srgbClr val="000000"/>
                </a:solidFill>
              </a:rPr>
              <a:t>туризма</a:t>
            </a:r>
            <a:endParaRPr lang="ru-RU" sz="1400" dirty="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Здравоохранение</a:t>
            </a:r>
            <a:endParaRPr lang="ru-RU" sz="1400" dirty="0" smtClean="0">
              <a:solidFill>
                <a:srgbClr val="1F4E79"/>
              </a:solidFill>
            </a:endParaRPr>
          </a:p>
          <a:p>
            <a:pPr marL="381000" lvl="1" indent="-285750" algn="just" defTabSz="957263">
              <a:lnSpc>
                <a:spcPct val="120000"/>
              </a:lnSpc>
              <a:spcBef>
                <a:spcPts val="0"/>
              </a:spcBef>
              <a:buFont typeface="Wingdings" panose="05000000000000000000" pitchFamily="2" charset="2"/>
              <a:buChar char="Ø"/>
            </a:pPr>
            <a:r>
              <a:rPr lang="ru-RU" sz="1400" b="1" dirty="0" smtClean="0">
                <a:solidFill>
                  <a:srgbClr val="1F4E79"/>
                </a:solidFill>
              </a:rPr>
              <a:t>Сбор</a:t>
            </a:r>
            <a:r>
              <a:rPr lang="ru-RU" sz="1400" b="1" dirty="0">
                <a:solidFill>
                  <a:srgbClr val="1F4E79"/>
                </a:solidFill>
              </a:rPr>
              <a:t>, обработка и утилизация отходов</a:t>
            </a:r>
            <a:r>
              <a:rPr lang="ru-RU" sz="1400" dirty="0">
                <a:solidFill>
                  <a:srgbClr val="1F4E79"/>
                </a:solidFill>
              </a:rPr>
              <a:t>, </a:t>
            </a:r>
            <a:r>
              <a:rPr lang="ru-RU" sz="1400" dirty="0">
                <a:solidFill>
                  <a:srgbClr val="000000"/>
                </a:solidFill>
              </a:rPr>
              <a:t>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400" dirty="0" smtClean="0">
                <a:solidFill>
                  <a:srgbClr val="000000"/>
                </a:solidFill>
              </a:rPr>
              <a:t>сырье</a:t>
            </a:r>
          </a:p>
          <a:p>
            <a:pPr marL="381000" lvl="1" indent="-285750" algn="just" defTabSz="957263">
              <a:lnSpc>
                <a:spcPct val="120000"/>
              </a:lnSpc>
              <a:spcBef>
                <a:spcPts val="0"/>
              </a:spcBef>
              <a:buFont typeface="Wingdings" panose="05000000000000000000" pitchFamily="2" charset="2"/>
              <a:buChar char="Ø"/>
            </a:pPr>
            <a:r>
              <a:rPr lang="ru-RU" sz="1400" dirty="0">
                <a:solidFill>
                  <a:srgbClr val="000000"/>
                </a:solidFill>
              </a:rPr>
              <a:t>Отрасли экономики, в которых реализуются </a:t>
            </a:r>
            <a:r>
              <a:rPr lang="ru-RU" sz="1400" b="1" dirty="0">
                <a:solidFill>
                  <a:srgbClr val="1F4E79"/>
                </a:solidFill>
              </a:rPr>
              <a:t>приоритетные</a:t>
            </a:r>
            <a:r>
              <a:rPr lang="ru-RU" sz="1400" dirty="0">
                <a:solidFill>
                  <a:srgbClr val="1F4E79"/>
                </a:solidFill>
              </a:rPr>
              <a:t> </a:t>
            </a:r>
            <a:r>
              <a:rPr lang="ru-RU" sz="1400" b="1" dirty="0">
                <a:solidFill>
                  <a:srgbClr val="1F4E79"/>
                </a:solidFill>
              </a:rPr>
              <a:t>направления развития науки, технологий и техники </a:t>
            </a:r>
            <a:r>
              <a:rPr lang="ru-RU" sz="1400" dirty="0">
                <a:solidFill>
                  <a:srgbClr val="000000"/>
                </a:solidFill>
              </a:rPr>
              <a:t>в Российской Федерации, а также </a:t>
            </a:r>
            <a:r>
              <a:rPr lang="ru-RU" sz="1400" b="1" dirty="0">
                <a:solidFill>
                  <a:srgbClr val="1F4E79"/>
                </a:solidFill>
              </a:rPr>
              <a:t>критические технологии </a:t>
            </a:r>
            <a:r>
              <a:rPr lang="ru-RU" sz="1400" dirty="0">
                <a:solidFill>
                  <a:srgbClr val="000000"/>
                </a:solidFill>
              </a:rPr>
              <a:t>Российской Федерации, перечень которых утвержден </a:t>
            </a:r>
            <a:r>
              <a:rPr lang="ru-RU" sz="1400" b="1" dirty="0">
                <a:solidFill>
                  <a:srgbClr val="1F4E79"/>
                </a:solidFill>
              </a:rPr>
              <a:t>Указом Президента Российской Федерации от 07 июля 2011 г. № 899 </a:t>
            </a:r>
            <a:r>
              <a:rPr lang="ru-RU" sz="1400" dirty="0">
                <a:solidFill>
                  <a:srgbClr val="000000"/>
                </a:solidFill>
              </a:rPr>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a:p>
            <a:pPr marL="381000" lvl="1" indent="-285750" algn="just" defTabSz="957263">
              <a:lnSpc>
                <a:spcPct val="120000"/>
              </a:lnSpc>
              <a:spcBef>
                <a:spcPts val="0"/>
              </a:spcBef>
              <a:buFont typeface="Wingdings" panose="05000000000000000000" pitchFamily="2" charset="2"/>
              <a:buChar char="Ø"/>
            </a:pPr>
            <a:r>
              <a:rPr lang="ru-RU" sz="1400" dirty="0" smtClean="0">
                <a:solidFill>
                  <a:srgbClr val="000000"/>
                </a:solidFill>
              </a:rPr>
              <a:t>Отрасли </a:t>
            </a:r>
            <a:r>
              <a:rPr lang="ru-RU" sz="1400" dirty="0">
                <a:solidFill>
                  <a:srgbClr val="000000"/>
                </a:solidFill>
              </a:rPr>
              <a:t>экономики, предназначенные для инновационного развития согласно Стратегии инновационного развития Российской Федерации на период до 2020 года, утвержденной распоряжением Правительства Российской Федерации от 8 декабря 2011 г. № 2227-р (</a:t>
            </a:r>
            <a:r>
              <a:rPr lang="ru-RU" sz="1400" b="1" dirty="0">
                <a:solidFill>
                  <a:srgbClr val="1F4E79"/>
                </a:solidFill>
              </a:rPr>
              <a:t>ядерные технологии</a:t>
            </a:r>
            <a:r>
              <a:rPr lang="ru-RU" sz="1400" b="1" dirty="0" smtClean="0">
                <a:solidFill>
                  <a:srgbClr val="1F4E79"/>
                </a:solidFill>
              </a:rPr>
              <a:t>; авиастроение</a:t>
            </a:r>
            <a:r>
              <a:rPr lang="ru-RU" sz="1400" b="1" dirty="0">
                <a:solidFill>
                  <a:srgbClr val="1F4E79"/>
                </a:solidFill>
              </a:rPr>
              <a:t>; судостроение; программное обеспечение; вооружение и военная техника; образовательные услуги; космические услуги и производство ракетно-космической техники</a:t>
            </a:r>
            <a:r>
              <a:rPr lang="ru-RU" sz="1400" dirty="0">
                <a:solidFill>
                  <a:srgbClr val="000000"/>
                </a:solidFill>
              </a:rPr>
              <a:t>); </a:t>
            </a:r>
            <a:endParaRPr lang="ru-RU" sz="1400" dirty="0" smtClean="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a:solidFill>
                  <a:srgbClr val="1F4E79"/>
                </a:solidFill>
              </a:rPr>
              <a:t>Приоритеты и перспективы научно-технологического развития Российской Федерации, </a:t>
            </a:r>
            <a:r>
              <a:rPr lang="ru-RU" sz="1400" dirty="0">
                <a:solidFill>
                  <a:srgbClr val="000000"/>
                </a:solidFill>
              </a:rPr>
              <a:t>предусмотренные Стратегией научно-технологического развития Российской Федерации, утвержденной </a:t>
            </a:r>
            <a:r>
              <a:rPr lang="ru-RU" sz="1400" b="1" dirty="0">
                <a:solidFill>
                  <a:srgbClr val="1F4E79"/>
                </a:solidFill>
              </a:rPr>
              <a:t>Указом Президента Российской Федерации от 1 декабря 2016 г. № 642</a:t>
            </a:r>
            <a:r>
              <a:rPr lang="ru-RU" sz="1400" dirty="0">
                <a:solidFill>
                  <a:srgbClr val="000000"/>
                </a:solidFill>
              </a:rPr>
              <a:t>; </a:t>
            </a:r>
            <a:endParaRPr lang="ru-RU" sz="1400" dirty="0" smtClean="0">
              <a:solidFill>
                <a:srgbClr val="000000"/>
              </a:solidFill>
            </a:endParaRPr>
          </a:p>
          <a:p>
            <a:pPr marL="381000" lvl="1" indent="-285750" algn="just" defTabSz="957263">
              <a:lnSpc>
                <a:spcPct val="120000"/>
              </a:lnSpc>
              <a:spcBef>
                <a:spcPts val="0"/>
              </a:spcBef>
              <a:buFont typeface="Wingdings" panose="05000000000000000000" pitchFamily="2" charset="2"/>
              <a:buChar char="Ø"/>
            </a:pPr>
            <a:r>
              <a:rPr lang="ru-RU" sz="1400" b="1" dirty="0">
                <a:solidFill>
                  <a:srgbClr val="1F4E79"/>
                </a:solidFill>
              </a:rPr>
              <a:t>поставка товаров, выполнение работ, оказание услу</a:t>
            </a:r>
            <a:r>
              <a:rPr lang="ru-RU" sz="1400" dirty="0">
                <a:solidFill>
                  <a:srgbClr val="000000"/>
                </a:solidFill>
              </a:rPr>
              <a:t>г, включенных в перечни товаров, работ, услуг, </a:t>
            </a:r>
            <a:r>
              <a:rPr lang="ru-RU" sz="1400" b="1" dirty="0">
                <a:solidFill>
                  <a:srgbClr val="1F4E79"/>
                </a:solidFill>
              </a:rPr>
              <a:t>удовлетворяющих критериям отнесения к инновационной продукции, высокотехнологичной продукции</a:t>
            </a:r>
            <a:r>
              <a:rPr lang="ru-RU" sz="1400" dirty="0">
                <a:solidFill>
                  <a:srgbClr val="000000"/>
                </a:solidFill>
              </a:rPr>
              <a:t>, утвержденные заказчиками в соответствии с Федеральным законом от 18 июля 2011 г</a:t>
            </a:r>
            <a:r>
              <a:rPr lang="ru-RU" sz="1400" dirty="0" smtClean="0">
                <a:solidFill>
                  <a:srgbClr val="000000"/>
                </a:solidFill>
              </a:rPr>
              <a:t>. № </a:t>
            </a:r>
            <a:r>
              <a:rPr lang="ru-RU" sz="1400" dirty="0">
                <a:solidFill>
                  <a:srgbClr val="000000"/>
                </a:solidFill>
              </a:rPr>
              <a:t>223-ФЗ «О закупках товаров, работ, услуг отдельными видами юридических лиц» и размещенные в единой информационной системе в сфере закупок</a:t>
            </a:r>
            <a:r>
              <a:rPr lang="ru-RU" sz="1400" dirty="0" smtClean="0">
                <a:solidFill>
                  <a:srgbClr val="000000"/>
                </a:solidFill>
              </a:rPr>
              <a:t>».</a:t>
            </a:r>
            <a:endParaRPr lang="ru-RU" sz="1400" dirty="0">
              <a:solidFill>
                <a:srgbClr val="000000"/>
              </a:solidFill>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solidFill>
                <a:srgbClr val="000000"/>
              </a:solidFill>
            </a:endParaRPr>
          </a:p>
        </p:txBody>
      </p:sp>
    </p:spTree>
    <p:extLst>
      <p:ext uri="{BB962C8B-B14F-4D97-AF65-F5344CB8AC3E}">
        <p14:creationId xmlns:p14="http://schemas.microsoft.com/office/powerpoint/2010/main" val="39561901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69888" y="1281406"/>
            <a:ext cx="7504112" cy="707886"/>
          </a:xfrm>
          <a:prstGeom prst="rect">
            <a:avLst/>
          </a:prstGeom>
          <a:noFill/>
        </p:spPr>
        <p:txBody>
          <a:bodyPr wrap="square" rtlCol="0">
            <a:spAutoFit/>
          </a:bodyPr>
          <a:lstStyle/>
          <a:p>
            <a:r>
              <a:rPr lang="ru-RU" sz="2000" b="1" dirty="0">
                <a:solidFill>
                  <a:srgbClr val="1F4E79"/>
                </a:solidFill>
                <a:latin typeface="Arial Narrow" panose="020B0606020202030204" pitchFamily="34" charset="0"/>
              </a:rPr>
              <a:t>Определение </a:t>
            </a:r>
            <a:r>
              <a:rPr lang="ru-RU" sz="2000" b="1" dirty="0" err="1" smtClean="0">
                <a:solidFill>
                  <a:srgbClr val="1F4E79"/>
                </a:solidFill>
                <a:latin typeface="Arial Narrow" panose="020B0606020202030204" pitchFamily="34" charset="0"/>
              </a:rPr>
              <a:t>Стартапа</a:t>
            </a:r>
            <a:r>
              <a:rPr lang="ru-RU" sz="2000" b="1" dirty="0" smtClean="0">
                <a:solidFill>
                  <a:srgbClr val="1F4E79"/>
                </a:solidFill>
                <a:latin typeface="Arial Narrow" panose="020B0606020202030204" pitchFamily="34" charset="0"/>
              </a:rPr>
              <a:t>*</a:t>
            </a:r>
            <a:r>
              <a:rPr lang="ru-RU" sz="2000" b="1" dirty="0">
                <a:solidFill>
                  <a:srgbClr val="1F4E79"/>
                </a:solidFill>
                <a:latin typeface="Arial Narrow" panose="020B0606020202030204" pitchFamily="34" charset="0"/>
              </a:rPr>
              <a:t/>
            </a:r>
            <a:br>
              <a:rPr lang="ru-RU" sz="2000" b="1" dirty="0">
                <a:solidFill>
                  <a:srgbClr val="1F4E79"/>
                </a:solidFill>
                <a:latin typeface="Arial Narrow" panose="020B0606020202030204" pitchFamily="34" charset="0"/>
              </a:rPr>
            </a:br>
            <a:endParaRPr lang="ru-RU" sz="2000" b="1" dirty="0">
              <a:solidFill>
                <a:srgbClr val="1F4E79"/>
              </a:solidFill>
              <a:latin typeface="Arial Narrow" panose="020B0606020202030204" pitchFamily="34" charset="0"/>
            </a:endParaRPr>
          </a:p>
        </p:txBody>
      </p:sp>
      <p:sp>
        <p:nvSpPr>
          <p:cNvPr id="2" name="Заголовок 1"/>
          <p:cNvSpPr>
            <a:spLocks noGrp="1"/>
          </p:cNvSpPr>
          <p:nvPr>
            <p:ph type="title"/>
          </p:nvPr>
        </p:nvSpPr>
        <p:spPr>
          <a:xfrm>
            <a:off x="2844799" y="143717"/>
            <a:ext cx="9409903" cy="698685"/>
          </a:xfrm>
          <a:noFill/>
        </p:spPr>
        <p:txBody>
          <a:bodyPr wrap="square" lIns="72000" tIns="36000" rIns="0" bIns="36000" rtlCol="0" anchor="t" anchorCtr="0">
            <a:noAutofit/>
          </a:bodyPr>
          <a:lstStyle/>
          <a:p>
            <a:pPr defTabSz="457200"/>
            <a:r>
              <a:rPr lang="ru-RU" dirty="0">
                <a:solidFill>
                  <a:srgbClr val="1F4E79"/>
                </a:solidFill>
                <a:cs typeface="Arial" pitchFamily="34" charset="0"/>
              </a:rPr>
              <a:t>Критерии отбора стартапов</a:t>
            </a:r>
            <a:br>
              <a:rPr lang="ru-RU" dirty="0">
                <a:solidFill>
                  <a:srgbClr val="1F4E79"/>
                </a:solidFill>
                <a:cs typeface="Arial" pitchFamily="34" charset="0"/>
              </a:rPr>
            </a:br>
            <a:endParaRPr lang="ru-RU" sz="2400" b="0" dirty="0">
              <a:solidFill>
                <a:srgbClr val="5B9BD5">
                  <a:lumMod val="50000"/>
                </a:srgbClr>
              </a:solidFill>
              <a:cs typeface="Arial" pitchFamily="34" charset="0"/>
            </a:endParaRPr>
          </a:p>
        </p:txBody>
      </p:sp>
      <p:cxnSp>
        <p:nvCxnSpPr>
          <p:cNvPr id="8" name="Прямая соединительная линия 7"/>
          <p:cNvCxnSpPr/>
          <p:nvPr/>
        </p:nvCxnSpPr>
        <p:spPr>
          <a:xfrm flipV="1">
            <a:off x="381085" y="1682454"/>
            <a:ext cx="8690996" cy="716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48887" y="1682454"/>
            <a:ext cx="11905815" cy="2769823"/>
          </a:xfrm>
          <a:prstGeom prst="rect">
            <a:avLst/>
          </a:prstGeom>
        </p:spPr>
        <p:txBody>
          <a:bodyPr wrap="square" lIns="0" tIns="108000" rIns="0" bIns="0" anchor="t">
            <a:noAutofit/>
          </a:bodyPr>
          <a:lstStyle/>
          <a:p>
            <a:pPr marL="342900" indent="-342900" algn="just">
              <a:spcBef>
                <a:spcPts val="600"/>
              </a:spcBef>
              <a:buFont typeface="+mj-lt"/>
              <a:buAutoNum type="arabicPeriod"/>
            </a:pPr>
            <a:r>
              <a:rPr lang="en-US" sz="1400" dirty="0" smtClean="0">
                <a:solidFill>
                  <a:srgbClr val="1F4E79"/>
                </a:solidFill>
                <a:latin typeface="Arial Narrow" panose="020B0606020202030204" pitchFamily="34" charset="0"/>
              </a:rPr>
              <a:t>C</a:t>
            </a:r>
            <a:r>
              <a:rPr lang="ru-RU" sz="1400" dirty="0" err="1" smtClean="0">
                <a:solidFill>
                  <a:srgbClr val="1F4E79"/>
                </a:solidFill>
                <a:latin typeface="Arial Narrow" panose="020B0606020202030204" pitchFamily="34" charset="0"/>
              </a:rPr>
              <a:t>убъект</a:t>
            </a:r>
            <a:r>
              <a:rPr lang="ru-RU" sz="1400" dirty="0" smtClean="0">
                <a:solidFill>
                  <a:srgbClr val="1F4E79"/>
                </a:solidFill>
                <a:latin typeface="Arial Narrow" panose="020B0606020202030204" pitchFamily="34" charset="0"/>
              </a:rPr>
              <a:t> </a:t>
            </a:r>
            <a:r>
              <a:rPr lang="ru-RU" sz="1400" dirty="0">
                <a:solidFill>
                  <a:srgbClr val="1F4E79"/>
                </a:solidFill>
                <a:latin typeface="Arial Narrow" panose="020B0606020202030204" pitchFamily="34" charset="0"/>
              </a:rPr>
              <a:t>МСП, с даты регистрации которого на дату представления заявки на получение гарантии прошло не более 5 лет, или субъект МСП, который с даты государственной регистрации не осуществлял производство (реализацию услуги) или осуществлял в </a:t>
            </a:r>
            <a:r>
              <a:rPr lang="ru-RU" sz="1400" dirty="0" smtClean="0">
                <a:solidFill>
                  <a:srgbClr val="1F4E79"/>
                </a:solidFill>
                <a:latin typeface="Arial Narrow" panose="020B0606020202030204" pitchFamily="34" charset="0"/>
              </a:rPr>
              <a:t>незначительном</a:t>
            </a:r>
            <a:r>
              <a:rPr lang="en-US" sz="1400" dirty="0" smtClean="0">
                <a:solidFill>
                  <a:srgbClr val="1F4E79"/>
                </a:solidFill>
                <a:latin typeface="Arial Narrow" panose="020B0606020202030204" pitchFamily="34" charset="0"/>
              </a:rPr>
              <a:t>**</a:t>
            </a:r>
            <a:r>
              <a:rPr lang="ru-RU" sz="1400" dirty="0" smtClean="0">
                <a:solidFill>
                  <a:srgbClr val="1F4E79"/>
                </a:solidFill>
                <a:latin typeface="Arial Narrow" panose="020B0606020202030204" pitchFamily="34" charset="0"/>
              </a:rPr>
              <a:t> объеме;</a:t>
            </a:r>
            <a:endParaRPr lang="ru-RU" sz="1400" dirty="0">
              <a:solidFill>
                <a:srgbClr val="1F4E79"/>
              </a:solidFill>
              <a:latin typeface="Arial Narrow" panose="020B0606020202030204" pitchFamily="34" charset="0"/>
            </a:endParaRPr>
          </a:p>
          <a:p>
            <a:pPr marL="342900" indent="-342900" algn="just">
              <a:spcBef>
                <a:spcPts val="600"/>
              </a:spcBef>
              <a:buFont typeface="+mj-lt"/>
              <a:buAutoNum type="arabicPeriod"/>
            </a:pPr>
            <a:r>
              <a:rPr lang="ru-RU" sz="1400" dirty="0" smtClean="0">
                <a:solidFill>
                  <a:srgbClr val="1F4E79"/>
                </a:solidFill>
                <a:latin typeface="Arial Narrow" panose="020B0606020202030204" pitchFamily="34" charset="0"/>
              </a:rPr>
              <a:t>Соответствие </a:t>
            </a:r>
            <a:r>
              <a:rPr lang="ru-RU" sz="1400" u="sng" dirty="0" smtClean="0">
                <a:solidFill>
                  <a:srgbClr val="1F4E79"/>
                </a:solidFill>
                <a:latin typeface="Arial Narrow" panose="020B0606020202030204" pitchFamily="34" charset="0"/>
              </a:rPr>
              <a:t>одному из</a:t>
            </a:r>
            <a:r>
              <a:rPr lang="ru-RU" sz="1400" dirty="0" smtClean="0">
                <a:solidFill>
                  <a:srgbClr val="1F4E79"/>
                </a:solidFill>
                <a:latin typeface="Arial Narrow" panose="020B0606020202030204" pitchFamily="34" charset="0"/>
              </a:rPr>
              <a:t> следующих критериев: </a:t>
            </a:r>
            <a:endParaRPr lang="ru-RU" sz="1400" dirty="0">
              <a:solidFill>
                <a:srgbClr val="1F4E79"/>
              </a:solidFill>
              <a:latin typeface="Arial Narrow" panose="020B0606020202030204" pitchFamily="34" charset="0"/>
            </a:endParaRP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 реализуется </a:t>
            </a:r>
            <a:r>
              <a:rPr lang="ru-RU" sz="1400" dirty="0">
                <a:solidFill>
                  <a:srgbClr val="1F4E79"/>
                </a:solidFill>
                <a:latin typeface="Arial Narrow" panose="020B0606020202030204" pitchFamily="34" charset="0"/>
              </a:rPr>
              <a:t>в высокотехнологичных отраслях (</a:t>
            </a:r>
            <a:r>
              <a:rPr lang="ru-RU" sz="1400" dirty="0" smtClean="0">
                <a:solidFill>
                  <a:srgbClr val="1F4E79"/>
                </a:solidFill>
                <a:latin typeface="Arial Narrow" panose="020B0606020202030204" pitchFamily="34" charset="0"/>
              </a:rPr>
              <a:t>информационные технологии</a:t>
            </a:r>
            <a:r>
              <a:rPr lang="ru-RU" sz="1400" dirty="0">
                <a:solidFill>
                  <a:srgbClr val="1F4E79"/>
                </a:solidFill>
                <a:latin typeface="Arial Narrow" panose="020B0606020202030204" pitchFamily="34" charset="0"/>
              </a:rPr>
              <a:t>, биотехнологии, робототехника, станкостроение, </a:t>
            </a:r>
            <a:r>
              <a:rPr lang="ru-RU" sz="1400" dirty="0" smtClean="0">
                <a:solidFill>
                  <a:srgbClr val="1F4E79"/>
                </a:solidFill>
                <a:latin typeface="Arial Narrow" panose="020B0606020202030204" pitchFamily="34" charset="0"/>
              </a:rPr>
              <a:t>фармацевтика) и </a:t>
            </a:r>
            <a:r>
              <a:rPr lang="ru-RU" sz="1400" dirty="0">
                <a:solidFill>
                  <a:srgbClr val="1F4E79"/>
                </a:solidFill>
                <a:latin typeface="Arial Narrow" panose="020B0606020202030204" pitchFamily="34" charset="0"/>
              </a:rPr>
              <a:t>(или) в отраслях экономики, в которых реализуются </a:t>
            </a:r>
            <a:r>
              <a:rPr lang="ru-RU" sz="1400" dirty="0" smtClean="0">
                <a:solidFill>
                  <a:srgbClr val="1F4E79"/>
                </a:solidFill>
                <a:latin typeface="Arial Narrow" panose="020B0606020202030204" pitchFamily="34" charset="0"/>
              </a:rPr>
              <a:t>приоритетные направления </a:t>
            </a:r>
            <a:r>
              <a:rPr lang="ru-RU" sz="1400" dirty="0">
                <a:solidFill>
                  <a:srgbClr val="1F4E79"/>
                </a:solidFill>
                <a:latin typeface="Arial Narrow" panose="020B0606020202030204" pitchFamily="34" charset="0"/>
              </a:rPr>
              <a:t>развития науки, технологий и </a:t>
            </a:r>
            <a:r>
              <a:rPr lang="ru-RU" sz="1400" dirty="0" smtClean="0">
                <a:solidFill>
                  <a:srgbClr val="1F4E79"/>
                </a:solidFill>
                <a:latin typeface="Arial Narrow" panose="020B0606020202030204" pitchFamily="34" charset="0"/>
              </a:rPr>
              <a:t>техники, </a:t>
            </a:r>
            <a:r>
              <a:rPr lang="ru-RU" sz="1400" dirty="0">
                <a:solidFill>
                  <a:srgbClr val="1F4E79"/>
                </a:solidFill>
                <a:latin typeface="Arial Narrow" panose="020B0606020202030204" pitchFamily="34" charset="0"/>
              </a:rPr>
              <a:t>а также критические </a:t>
            </a:r>
            <a:r>
              <a:rPr lang="ru-RU" sz="1400" dirty="0" smtClean="0">
                <a:solidFill>
                  <a:srgbClr val="1F4E79"/>
                </a:solidFill>
                <a:latin typeface="Arial Narrow" panose="020B0606020202030204" pitchFamily="34" charset="0"/>
              </a:rPr>
              <a:t>технологии Российской Федерации, утвержденные </a:t>
            </a:r>
            <a:r>
              <a:rPr lang="ru-RU" sz="1400" dirty="0">
                <a:solidFill>
                  <a:srgbClr val="1F4E79"/>
                </a:solidFill>
                <a:latin typeface="Arial Narrow" panose="020B0606020202030204" pitchFamily="34" charset="0"/>
              </a:rPr>
              <a:t>Указом Президента Российской Федерации от 7 июля 2011 г</a:t>
            </a:r>
            <a:r>
              <a:rPr lang="ru-RU" sz="1400" dirty="0" smtClean="0">
                <a:solidFill>
                  <a:srgbClr val="1F4E79"/>
                </a:solidFill>
                <a:latin typeface="Arial Narrow" panose="020B0606020202030204" pitchFamily="34" charset="0"/>
              </a:rPr>
              <a:t>. № 899; </a:t>
            </a: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 </a:t>
            </a:r>
            <a:r>
              <a:rPr lang="ru-RU" sz="1400" dirty="0">
                <a:solidFill>
                  <a:srgbClr val="1F4E79"/>
                </a:solidFill>
                <a:latin typeface="Arial Narrow" panose="020B0606020202030204" pitchFamily="34" charset="0"/>
              </a:rPr>
              <a:t>реализуется в </a:t>
            </a:r>
            <a:r>
              <a:rPr lang="ru-RU" sz="1400" dirty="0" smtClean="0">
                <a:solidFill>
                  <a:srgbClr val="1F4E79"/>
                </a:solidFill>
                <a:latin typeface="Arial Narrow" panose="020B0606020202030204" pitchFamily="34" charset="0"/>
              </a:rPr>
              <a:t>Приоритетной </a:t>
            </a:r>
            <a:r>
              <a:rPr lang="ru-RU" sz="1400" dirty="0">
                <a:solidFill>
                  <a:srgbClr val="1F4E79"/>
                </a:solidFill>
                <a:latin typeface="Arial Narrow" panose="020B0606020202030204" pitchFamily="34" charset="0"/>
              </a:rPr>
              <a:t>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a:t>
            </a:r>
            <a:r>
              <a:rPr lang="ru-RU" sz="1400" dirty="0" smtClean="0">
                <a:solidFill>
                  <a:srgbClr val="1F4E79"/>
                </a:solidFill>
                <a:latin typeface="Arial Narrow" panose="020B0606020202030204" pitchFamily="34" charset="0"/>
              </a:rPr>
              <a:t>рынке или </a:t>
            </a:r>
            <a:r>
              <a:rPr lang="ru-RU" sz="1400" dirty="0" err="1" smtClean="0">
                <a:solidFill>
                  <a:srgbClr val="1F4E79"/>
                </a:solidFill>
                <a:latin typeface="Arial Narrow" panose="020B0606020202030204" pitchFamily="34" charset="0"/>
              </a:rPr>
              <a:t>экспортно</a:t>
            </a:r>
            <a:r>
              <a:rPr lang="ru-RU" sz="1400" dirty="0" smtClean="0">
                <a:solidFill>
                  <a:srgbClr val="1F4E79"/>
                </a:solidFill>
                <a:latin typeface="Arial Narrow" panose="020B0606020202030204" pitchFamily="34" charset="0"/>
              </a:rPr>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400" dirty="0" smtClean="0">
                <a:solidFill>
                  <a:srgbClr val="1F4E79"/>
                </a:solidFill>
                <a:latin typeface="Arial Narrow" panose="020B0606020202030204" pitchFamily="34" charset="0"/>
              </a:rPr>
              <a:t>Проект</a:t>
            </a:r>
            <a:r>
              <a:rPr lang="ru-RU" sz="1400" dirty="0">
                <a:solidFill>
                  <a:srgbClr val="1F4E79"/>
                </a:solidFill>
                <a:latin typeface="Arial Narrow" panose="020B0606020202030204" pitchFamily="34" charset="0"/>
              </a:rPr>
              <a:t>, реализуемый в </a:t>
            </a:r>
            <a:r>
              <a:rPr lang="ru-RU" sz="1400" dirty="0" smtClean="0">
                <a:solidFill>
                  <a:srgbClr val="1F4E79"/>
                </a:solidFill>
                <a:latin typeface="Arial Narrow" panose="020B0606020202030204" pitchFamily="34" charset="0"/>
              </a:rPr>
              <a:t>Приоритетной </a:t>
            </a:r>
            <a:r>
              <a:rPr lang="ru-RU" sz="1400" dirty="0">
                <a:solidFill>
                  <a:srgbClr val="1F4E79"/>
                </a:solidFill>
                <a:latin typeface="Arial Narrow" panose="020B0606020202030204" pitchFamily="34" charset="0"/>
              </a:rPr>
              <a:t>отрасли экономики, </a:t>
            </a:r>
            <a:r>
              <a:rPr lang="ru-RU" sz="1400" dirty="0" smtClean="0">
                <a:solidFill>
                  <a:srgbClr val="1F4E79"/>
                </a:solidFill>
                <a:latin typeface="Arial Narrow" panose="020B0606020202030204" pitchFamily="34" charset="0"/>
              </a:rPr>
              <a:t>масштабируем***; ежегодный </a:t>
            </a:r>
            <a:r>
              <a:rPr lang="ru-RU" sz="1400" dirty="0">
                <a:solidFill>
                  <a:srgbClr val="1F4E79"/>
                </a:solidFill>
                <a:latin typeface="Arial Narrow" panose="020B0606020202030204" pitchFamily="34" charset="0"/>
              </a:rPr>
              <a:t>прирост выручки не менее </a:t>
            </a:r>
            <a:r>
              <a:rPr lang="ru-RU" sz="1400" dirty="0" smtClean="0">
                <a:solidFill>
                  <a:srgbClr val="1F4E79"/>
                </a:solidFill>
                <a:latin typeface="Arial Narrow" panose="020B0606020202030204" pitchFamily="34" charset="0"/>
              </a:rPr>
              <a:t>20% на </a:t>
            </a:r>
            <a:r>
              <a:rPr lang="ru-RU" sz="1400" dirty="0">
                <a:solidFill>
                  <a:srgbClr val="1F4E79"/>
                </a:solidFill>
                <a:latin typeface="Arial Narrow" panose="020B0606020202030204" pitchFamily="34" charset="0"/>
              </a:rPr>
              <a:t>протяжении </a:t>
            </a:r>
            <a:r>
              <a:rPr lang="ru-RU" sz="1400" dirty="0" smtClean="0">
                <a:solidFill>
                  <a:srgbClr val="1F4E79"/>
                </a:solidFill>
                <a:latin typeface="Arial Narrow" panose="020B0606020202030204" pitchFamily="34" charset="0"/>
              </a:rPr>
              <a:t>последних трех лет или прогноз прироста выручки не менее 20% на протяжении не менее трех лет с момента завершения инвестиционной фазы проекта.</a:t>
            </a:r>
            <a:endParaRPr lang="ru-RU" sz="1400" dirty="0">
              <a:solidFill>
                <a:srgbClr val="1F4E79"/>
              </a:solidFill>
              <a:latin typeface="Arial Narrow" panose="020B0606020202030204" pitchFamily="34" charset="0"/>
            </a:endParaRPr>
          </a:p>
          <a:p>
            <a:pPr algn="just"/>
            <a:endParaRPr lang="ru-RU" sz="1400" dirty="0">
              <a:solidFill>
                <a:srgbClr val="1F4E79"/>
              </a:solidFill>
              <a:latin typeface="Arial"/>
            </a:endParaRPr>
          </a:p>
        </p:txBody>
      </p:sp>
      <p:cxnSp>
        <p:nvCxnSpPr>
          <p:cNvPr id="55" name="Прямая соединительная линия 54"/>
          <p:cNvCxnSpPr/>
          <p:nvPr/>
        </p:nvCxnSpPr>
        <p:spPr>
          <a:xfrm flipV="1">
            <a:off x="494161" y="4972692"/>
            <a:ext cx="8701210" cy="27949"/>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494161" y="4541899"/>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проектам</a:t>
            </a:r>
            <a:endParaRPr lang="ru-RU" sz="2000" b="1" dirty="0">
              <a:solidFill>
                <a:srgbClr val="1F4E79"/>
              </a:solidFill>
              <a:latin typeface="Arial Narrow" panose="020B0606020202030204" pitchFamily="34" charset="0"/>
            </a:endParaRPr>
          </a:p>
        </p:txBody>
      </p:sp>
      <p:sp>
        <p:nvSpPr>
          <p:cNvPr id="44" name="TextBox 43"/>
          <p:cNvSpPr txBox="1"/>
          <p:nvPr/>
        </p:nvSpPr>
        <p:spPr>
          <a:xfrm>
            <a:off x="344423" y="5070423"/>
            <a:ext cx="11931526" cy="935916"/>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Высокая стадия готовности проекта (наличие бизнес-плана, финансовой модели, проектно-сметной и разрешительной документации</a:t>
            </a:r>
            <a:r>
              <a:rPr lang="ru-RU" sz="1400" dirty="0">
                <a:solidFill>
                  <a:srgbClr val="1F4E79"/>
                </a:solidFill>
                <a:latin typeface="Arial Narrow" panose="020B0606020202030204" pitchFamily="34" charset="0"/>
              </a:rPr>
              <a:t>); </a:t>
            </a:r>
            <a:r>
              <a:rPr lang="ru-RU" sz="1400" dirty="0" smtClean="0">
                <a:solidFill>
                  <a:srgbClr val="1F4E79"/>
                </a:solidFill>
                <a:latin typeface="Arial Narrow" panose="020B0606020202030204" pitchFamily="34" charset="0"/>
              </a:rPr>
              <a:t>наличие </a:t>
            </a:r>
            <a:r>
              <a:rPr lang="ru-RU" sz="1400" dirty="0">
                <a:solidFill>
                  <a:srgbClr val="1F4E79"/>
                </a:solidFill>
                <a:latin typeface="Arial Narrow" panose="020B0606020202030204" pitchFamily="34" charset="0"/>
              </a:rPr>
              <a:t>проектной команды;</a:t>
            </a:r>
          </a:p>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Наличие документов, подтверждающих </a:t>
            </a:r>
            <a:r>
              <a:rPr lang="ru-RU" sz="1400" dirty="0">
                <a:solidFill>
                  <a:srgbClr val="1F4E79"/>
                </a:solidFill>
                <a:latin typeface="Arial Narrow" panose="020B0606020202030204" pitchFamily="34" charset="0"/>
              </a:rPr>
              <a:t>предпосылки финансовой модели </a:t>
            </a:r>
            <a:r>
              <a:rPr lang="ru-RU" sz="1400" dirty="0" smtClean="0">
                <a:solidFill>
                  <a:srgbClr val="1F4E79"/>
                </a:solidFill>
                <a:latin typeface="Arial Narrow" panose="020B0606020202030204" pitchFamily="34" charset="0"/>
              </a:rPr>
              <a:t>(в том числе независимая маркетинговая</a:t>
            </a:r>
            <a:r>
              <a:rPr lang="ru-RU" sz="1400" dirty="0">
                <a:solidFill>
                  <a:srgbClr val="1F4E79"/>
                </a:solidFill>
                <a:latin typeface="Arial Narrow" panose="020B0606020202030204" pitchFamily="34" charset="0"/>
              </a:rPr>
              <a:t> </a:t>
            </a:r>
            <a:r>
              <a:rPr lang="ru-RU" sz="1400" dirty="0" smtClean="0">
                <a:solidFill>
                  <a:srgbClr val="1F4E79"/>
                </a:solidFill>
                <a:latin typeface="Arial Narrow" panose="020B0606020202030204" pitchFamily="34" charset="0"/>
              </a:rPr>
              <a:t>и </a:t>
            </a:r>
            <a:r>
              <a:rPr lang="ru-RU" sz="1400" dirty="0">
                <a:solidFill>
                  <a:srgbClr val="1F4E79"/>
                </a:solidFill>
                <a:latin typeface="Arial Narrow" panose="020B0606020202030204" pitchFamily="34" charset="0"/>
              </a:rPr>
              <a:t>технологическая </a:t>
            </a:r>
            <a:r>
              <a:rPr lang="ru-RU" sz="1400" dirty="0" smtClean="0">
                <a:solidFill>
                  <a:srgbClr val="1F4E79"/>
                </a:solidFill>
                <a:latin typeface="Arial Narrow" panose="020B0606020202030204" pitchFamily="34" charset="0"/>
              </a:rPr>
              <a:t>экспертизы);</a:t>
            </a:r>
            <a:endParaRPr lang="ru-RU" sz="1400" dirty="0">
              <a:solidFill>
                <a:srgbClr val="1F4E79"/>
              </a:solidFill>
              <a:latin typeface="Arial Narrow" panose="020B0606020202030204" pitchFamily="34" charset="0"/>
            </a:endParaRPr>
          </a:p>
          <a:p>
            <a:pPr marL="285750" indent="-285750" algn="just">
              <a:spcBef>
                <a:spcPts val="600"/>
              </a:spcBef>
              <a:buFont typeface="+mj-lt"/>
              <a:buAutoNum type="arabicPeriod"/>
            </a:pPr>
            <a:r>
              <a:rPr lang="ru-RU" sz="1400" dirty="0" smtClean="0">
                <a:solidFill>
                  <a:srgbClr val="1F4E79"/>
                </a:solidFill>
                <a:latin typeface="Arial Narrow" panose="020B0606020202030204" pitchFamily="34" charset="0"/>
              </a:rPr>
              <a:t>Погашение </a:t>
            </a:r>
            <a:r>
              <a:rPr lang="ru-RU" sz="1400" dirty="0">
                <a:solidFill>
                  <a:srgbClr val="1F4E79"/>
                </a:solidFill>
                <a:latin typeface="Arial Narrow" panose="020B0606020202030204" pitchFamily="34" charset="0"/>
              </a:rPr>
              <a:t>кредитов осуществляется за счет денежного потока от реализации </a:t>
            </a:r>
            <a:r>
              <a:rPr lang="ru-RU" sz="1400" dirty="0" smtClean="0">
                <a:solidFill>
                  <a:srgbClr val="1F4E79"/>
                </a:solidFill>
                <a:latin typeface="Arial Narrow" panose="020B0606020202030204" pitchFamily="34" charset="0"/>
              </a:rPr>
              <a:t>проекта. </a:t>
            </a:r>
          </a:p>
          <a:p>
            <a:pPr marL="285750" indent="-285750" algn="just">
              <a:spcBef>
                <a:spcPts val="600"/>
              </a:spcBef>
              <a:buFont typeface="+mj-lt"/>
              <a:buAutoNum type="arabicPeriod"/>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3" name="TextBox 2"/>
          <p:cNvSpPr txBox="1"/>
          <p:nvPr/>
        </p:nvSpPr>
        <p:spPr>
          <a:xfrm>
            <a:off x="323176" y="7369637"/>
            <a:ext cx="11974021" cy="646331"/>
          </a:xfrm>
          <a:prstGeom prst="rect">
            <a:avLst/>
          </a:prstGeom>
          <a:noFill/>
        </p:spPr>
        <p:txBody>
          <a:bodyPr wrap="square" rtlCol="0">
            <a:spAutoFit/>
          </a:bodyPr>
          <a:lstStyle/>
          <a:p>
            <a:r>
              <a:rPr lang="ru-RU" sz="12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a:t>
            </a:r>
            <a:r>
              <a:rPr lang="ru-RU" sz="1200" dirty="0" smtClean="0">
                <a:solidFill>
                  <a:srgbClr val="1F4E79"/>
                </a:solidFill>
                <a:latin typeface="Arial Narrow" panose="020B0606020202030204" pitchFamily="34" charset="0"/>
              </a:rPr>
              <a:t>согласно </a:t>
            </a:r>
            <a:r>
              <a:rPr lang="ru-RU" sz="1200" dirty="0">
                <a:solidFill>
                  <a:srgbClr val="1F4E79"/>
                </a:solidFill>
                <a:latin typeface="Arial Narrow" panose="020B0606020202030204" pitchFamily="34" charset="0"/>
              </a:rPr>
              <a:t>Правилам взаимодействия банков с АО «Корпорация «МСП</a:t>
            </a:r>
            <a:r>
              <a:rPr lang="ru-RU" sz="1200" dirty="0" smtClean="0">
                <a:solidFill>
                  <a:srgbClr val="1F4E79"/>
                </a:solidFill>
                <a:latin typeface="Arial Narrow" panose="020B0606020202030204" pitchFamily="34" charset="0"/>
              </a:rPr>
              <a:t>»</a:t>
            </a:r>
            <a:endParaRPr lang="en-US" sz="1200" dirty="0" smtClean="0">
              <a:solidFill>
                <a:srgbClr val="1F4E79"/>
              </a:solidFill>
              <a:latin typeface="Arial Narrow" panose="020B0606020202030204" pitchFamily="34" charset="0"/>
            </a:endParaRPr>
          </a:p>
          <a:p>
            <a:r>
              <a:rPr lang="en-US" sz="1200" dirty="0" smtClean="0">
                <a:solidFill>
                  <a:srgbClr val="1F4E79"/>
                </a:solidFill>
                <a:latin typeface="Arial Narrow" panose="020B0606020202030204" pitchFamily="34" charset="0"/>
              </a:rPr>
              <a:t>**</a:t>
            </a:r>
            <a:r>
              <a:rPr lang="ru-RU" sz="1200" dirty="0">
                <a:solidFill>
                  <a:srgbClr val="1F4E79"/>
                </a:solidFill>
                <a:latin typeface="Arial Narrow" panose="020B0606020202030204" pitchFamily="34" charset="0"/>
              </a:rPr>
              <a:t>н</a:t>
            </a:r>
            <a:r>
              <a:rPr lang="ru-RU" sz="1200" dirty="0" smtClean="0">
                <a:solidFill>
                  <a:srgbClr val="1F4E79"/>
                </a:solidFill>
                <a:latin typeface="Arial Narrow" panose="020B0606020202030204" pitchFamily="34" charset="0"/>
              </a:rPr>
              <a:t>езначительный </a:t>
            </a:r>
            <a:r>
              <a:rPr lang="ru-RU" sz="1200" dirty="0">
                <a:solidFill>
                  <a:srgbClr val="1F4E79"/>
                </a:solidFill>
                <a:latin typeface="Arial Narrow" panose="020B0606020202030204" pitchFamily="34" charset="0"/>
              </a:rPr>
              <a:t>объем производства (реализации услуги) определяется как доля менее 25% от максимального объема производства (реализации услуги), запланированного бизнес-планом проекта</a:t>
            </a:r>
            <a:endParaRPr lang="ru-RU" sz="1200" dirty="0" smtClean="0">
              <a:solidFill>
                <a:srgbClr val="1F4E79"/>
              </a:solidFill>
              <a:latin typeface="Arial Narrow" panose="020B0606020202030204" pitchFamily="34" charset="0"/>
            </a:endParaRPr>
          </a:p>
          <a:p>
            <a:r>
              <a:rPr lang="ru-RU" sz="12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масштабируемость – возможность увеличения объемов бизнеса за счет его территориального расширения и (или) пропорционально вложенным ресурсам</a:t>
            </a:r>
            <a:endParaRPr lang="ru-RU" sz="12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cxnSp>
        <p:nvCxnSpPr>
          <p:cNvPr id="19" name="Прямая соединительная линия 18"/>
          <p:cNvCxnSpPr/>
          <p:nvPr/>
        </p:nvCxnSpPr>
        <p:spPr>
          <a:xfrm flipV="1">
            <a:off x="494160" y="6372196"/>
            <a:ext cx="8670388" cy="9452"/>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3175" y="6526371"/>
            <a:ext cx="11931526" cy="747488"/>
          </a:xfrm>
          <a:prstGeom prst="rect">
            <a:avLst/>
          </a:prstGeom>
          <a:noFill/>
        </p:spPr>
        <p:txBody>
          <a:bodyPr wrap="square" lIns="0" rIns="0" rtlCol="0">
            <a:noAutofit/>
          </a:bodyPr>
          <a:lstStyle/>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Соответствие определению </a:t>
            </a:r>
            <a:r>
              <a:rPr lang="ru-RU" sz="1400" dirty="0" err="1" smtClean="0">
                <a:solidFill>
                  <a:srgbClr val="1F4E79"/>
                </a:solidFill>
                <a:latin typeface="Arial Narrow" panose="020B0606020202030204" pitchFamily="34" charset="0"/>
              </a:rPr>
              <a:t>Стартапа</a:t>
            </a:r>
            <a:r>
              <a:rPr lang="ru-RU" sz="1400" dirty="0" smtClean="0">
                <a:solidFill>
                  <a:srgbClr val="1F4E79"/>
                </a:solidFill>
                <a:latin typeface="Arial Narrow" panose="020B0606020202030204" pitchFamily="34" charset="0"/>
              </a:rPr>
              <a:t>.</a:t>
            </a:r>
            <a:endParaRPr lang="ru-RU" sz="1400" dirty="0">
              <a:solidFill>
                <a:srgbClr val="1F4E79"/>
              </a:solidFill>
              <a:latin typeface="Arial Narrow" panose="020B0606020202030204" pitchFamily="34" charset="0"/>
            </a:endParaRPr>
          </a:p>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Доля собственного участия не менее 10% от бюджета проекта без учета процентов на инвестиционной фазе.</a:t>
            </a: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23" name="TextBox 22"/>
          <p:cNvSpPr txBox="1"/>
          <p:nvPr/>
        </p:nvSpPr>
        <p:spPr>
          <a:xfrm>
            <a:off x="484827" y="5972086"/>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заемщикам</a:t>
            </a:r>
            <a:endParaRPr lang="ru-RU" sz="2000" b="1" dirty="0">
              <a:solidFill>
                <a:srgbClr val="1F4E79"/>
              </a:solidFill>
              <a:latin typeface="Arial Narrow" panose="020B0606020202030204" pitchFamily="34" charset="0"/>
            </a:endParaRPr>
          </a:p>
        </p:txBody>
      </p:sp>
    </p:spTree>
    <p:extLst>
      <p:ext uri="{BB962C8B-B14F-4D97-AF65-F5344CB8AC3E}">
        <p14:creationId xmlns:p14="http://schemas.microsoft.com/office/powerpoint/2010/main" val="199764772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323175" y="1202276"/>
            <a:ext cx="11884813" cy="707886"/>
          </a:xfrm>
          <a:prstGeom prst="rect">
            <a:avLst/>
          </a:prstGeom>
          <a:noFill/>
        </p:spPr>
        <p:txBody>
          <a:bodyPr wrap="square" rtlCol="0">
            <a:spAutoFit/>
          </a:bodyPr>
          <a:lstStyle/>
          <a:p>
            <a:r>
              <a:rPr lang="ru-RU" sz="2000" b="1" dirty="0">
                <a:solidFill>
                  <a:srgbClr val="1F4E79"/>
                </a:solidFill>
                <a:latin typeface="Arial Narrow" panose="020B0606020202030204" pitchFamily="34" charset="0"/>
              </a:rPr>
              <a:t>Определение </a:t>
            </a:r>
            <a:r>
              <a:rPr lang="ru-RU" sz="2000" b="1" dirty="0" smtClean="0">
                <a:solidFill>
                  <a:srgbClr val="1F4E79"/>
                </a:solidFill>
                <a:latin typeface="Arial Narrow" panose="020B0606020202030204" pitchFamily="34" charset="0"/>
              </a:rPr>
              <a:t>«Газели»*</a:t>
            </a:r>
            <a:r>
              <a:rPr lang="ru-RU" sz="2000" b="1" dirty="0">
                <a:solidFill>
                  <a:srgbClr val="1F4E79"/>
                </a:solidFill>
                <a:latin typeface="Arial Narrow" panose="020B0606020202030204" pitchFamily="34" charset="0"/>
              </a:rPr>
              <a:t/>
            </a:r>
            <a:br>
              <a:rPr lang="ru-RU" sz="2000" b="1" dirty="0">
                <a:solidFill>
                  <a:srgbClr val="1F4E79"/>
                </a:solidFill>
                <a:latin typeface="Arial Narrow" panose="020B0606020202030204" pitchFamily="34" charset="0"/>
              </a:rPr>
            </a:br>
            <a:endParaRPr lang="ru-RU" sz="2000" b="1" dirty="0">
              <a:solidFill>
                <a:srgbClr val="1F4E79"/>
              </a:solidFill>
              <a:latin typeface="Arial Narrow" panose="020B0606020202030204" pitchFamily="34" charset="0"/>
            </a:endParaRPr>
          </a:p>
        </p:txBody>
      </p:sp>
      <p:sp>
        <p:nvSpPr>
          <p:cNvPr id="2" name="Заголовок 1"/>
          <p:cNvSpPr>
            <a:spLocks noGrp="1"/>
          </p:cNvSpPr>
          <p:nvPr>
            <p:ph type="title"/>
          </p:nvPr>
        </p:nvSpPr>
        <p:spPr>
          <a:xfrm>
            <a:off x="2844799" y="143717"/>
            <a:ext cx="9452398" cy="920591"/>
          </a:xfrm>
          <a:noFill/>
        </p:spPr>
        <p:txBody>
          <a:bodyPr wrap="square" lIns="72000" tIns="36000" rIns="0" bIns="36000" rtlCol="0" anchor="t" anchorCtr="0">
            <a:noAutofit/>
          </a:bodyPr>
          <a:lstStyle/>
          <a:p>
            <a:pPr defTabSz="457200"/>
            <a:r>
              <a:rPr lang="ru-RU" dirty="0">
                <a:solidFill>
                  <a:srgbClr val="1F4E79"/>
                </a:solidFill>
                <a:cs typeface="Arial" pitchFamily="34" charset="0"/>
              </a:rPr>
              <a:t>Критерии отбора </a:t>
            </a:r>
            <a:r>
              <a:rPr lang="ru-RU" dirty="0" smtClean="0">
                <a:solidFill>
                  <a:srgbClr val="1F4E79"/>
                </a:solidFill>
                <a:cs typeface="Arial" pitchFamily="34" charset="0"/>
              </a:rPr>
              <a:t>быстрорастущих инновационных, высокотехнологичных предприятий («газелей»)</a:t>
            </a:r>
            <a:r>
              <a:rPr lang="ru-RU" dirty="0">
                <a:solidFill>
                  <a:srgbClr val="1F4E79"/>
                </a:solidFill>
                <a:cs typeface="Arial" pitchFamily="34" charset="0"/>
              </a:rPr>
              <a:t/>
            </a:r>
            <a:br>
              <a:rPr lang="ru-RU" dirty="0">
                <a:solidFill>
                  <a:srgbClr val="1F4E79"/>
                </a:solidFill>
                <a:cs typeface="Arial" pitchFamily="34" charset="0"/>
              </a:rPr>
            </a:br>
            <a:endParaRPr lang="ru-RU" sz="2400" b="0" dirty="0">
              <a:solidFill>
                <a:srgbClr val="5B9BD5">
                  <a:lumMod val="50000"/>
                </a:srgbClr>
              </a:solidFill>
              <a:cs typeface="Arial" pitchFamily="34" charset="0"/>
            </a:endParaRPr>
          </a:p>
        </p:txBody>
      </p:sp>
      <p:cxnSp>
        <p:nvCxnSpPr>
          <p:cNvPr id="8" name="Прямая соединительная линия 7"/>
          <p:cNvCxnSpPr/>
          <p:nvPr/>
        </p:nvCxnSpPr>
        <p:spPr>
          <a:xfrm flipV="1">
            <a:off x="381085" y="1602769"/>
            <a:ext cx="7632758" cy="2696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39047" y="1682454"/>
            <a:ext cx="11915655" cy="2739007"/>
          </a:xfrm>
          <a:prstGeom prst="rect">
            <a:avLst/>
          </a:prstGeom>
        </p:spPr>
        <p:txBody>
          <a:bodyPr wrap="square" lIns="0" tIns="108000" rIns="0" bIns="0" anchor="t">
            <a:noAutofit/>
          </a:bodyPr>
          <a:lstStyle/>
          <a:p>
            <a:pPr algn="just">
              <a:lnSpc>
                <a:spcPct val="120000"/>
              </a:lnSpc>
              <a:spcBef>
                <a:spcPts val="600"/>
              </a:spcBef>
            </a:pPr>
            <a:r>
              <a:rPr lang="en-US" sz="1400" dirty="0" smtClean="0">
                <a:solidFill>
                  <a:srgbClr val="1F4E79"/>
                </a:solidFill>
                <a:latin typeface="Arial Narrow" panose="020B0606020202030204" pitchFamily="34" charset="0"/>
              </a:rPr>
              <a:t>C</a:t>
            </a:r>
            <a:r>
              <a:rPr lang="ru-RU" sz="1400" dirty="0" err="1" smtClean="0">
                <a:solidFill>
                  <a:srgbClr val="1F4E79"/>
                </a:solidFill>
                <a:latin typeface="Arial Narrow" panose="020B0606020202030204" pitchFamily="34" charset="0"/>
              </a:rPr>
              <a:t>убъект</a:t>
            </a:r>
            <a:r>
              <a:rPr lang="ru-RU" sz="1400" dirty="0" smtClean="0">
                <a:solidFill>
                  <a:srgbClr val="1F4E79"/>
                </a:solidFill>
                <a:latin typeface="Arial Narrow" panose="020B0606020202030204" pitchFamily="34" charset="0"/>
              </a:rPr>
              <a:t> </a:t>
            </a:r>
            <a:r>
              <a:rPr lang="ru-RU" sz="1400" dirty="0">
                <a:solidFill>
                  <a:srgbClr val="1F4E79"/>
                </a:solidFill>
                <a:latin typeface="Arial Narrow" panose="020B0606020202030204" pitchFamily="34" charset="0"/>
              </a:rPr>
              <a:t>МСП, </a:t>
            </a:r>
            <a:r>
              <a:rPr lang="ru-RU" sz="1400" dirty="0" smtClean="0">
                <a:solidFill>
                  <a:srgbClr val="1F4E79"/>
                </a:solidFill>
                <a:latin typeface="Arial Narrow" panose="020B0606020202030204" pitchFamily="34" charset="0"/>
              </a:rPr>
              <a:t>соответствующий </a:t>
            </a:r>
            <a:r>
              <a:rPr lang="ru-RU" sz="1400" dirty="0">
                <a:solidFill>
                  <a:srgbClr val="1F4E79"/>
                </a:solidFill>
                <a:latin typeface="Arial Narrow" panose="020B0606020202030204" pitchFamily="34" charset="0"/>
              </a:rPr>
              <a:t>критериям отнесения к быстрорастущим инновационным, высокотехнологичным предприятиям, утвержденным рабочей группой по вопросам оказания поддержки субъектам малого и среднего предпринимательства высокотехнологичных секторов экономики, в том числе внедряющим инновации, осуществляющим проекты в сфере импортозамещения и (или) производящим экспортную продукцию и услуги, созданной АО «Корпорация «МСП» и иными институтами </a:t>
            </a:r>
            <a:r>
              <a:rPr lang="ru-RU" sz="1400" dirty="0" smtClean="0">
                <a:solidFill>
                  <a:srgbClr val="1F4E79"/>
                </a:solidFill>
                <a:latin typeface="Arial Narrow" panose="020B0606020202030204" pitchFamily="34" charset="0"/>
              </a:rPr>
              <a:t>развития. </a:t>
            </a:r>
          </a:p>
          <a:p>
            <a:pPr algn="just">
              <a:lnSpc>
                <a:spcPct val="120000"/>
              </a:lnSpc>
              <a:spcBef>
                <a:spcPts val="600"/>
              </a:spcBef>
            </a:pPr>
            <a:r>
              <a:rPr lang="ru-RU" sz="1400" dirty="0" smtClean="0">
                <a:solidFill>
                  <a:srgbClr val="1F4E79"/>
                </a:solidFill>
                <a:latin typeface="Arial Narrow" panose="020B0606020202030204" pitchFamily="34" charset="0"/>
              </a:rPr>
              <a:t>Основные критерии:</a:t>
            </a:r>
          </a:p>
          <a:p>
            <a:pPr marL="285750" indent="-285750" algn="just">
              <a:lnSpc>
                <a:spcPct val="120000"/>
              </a:lnSpc>
              <a:buFont typeface="Wingdings" panose="05000000000000000000" pitchFamily="2" charset="2"/>
              <a:buChar char="Ø"/>
            </a:pPr>
            <a:r>
              <a:rPr lang="ru-RU" sz="1400" dirty="0" smtClean="0">
                <a:solidFill>
                  <a:srgbClr val="1F4E79"/>
                </a:solidFill>
                <a:latin typeface="Arial Narrow" panose="020B0606020202030204" pitchFamily="34" charset="0"/>
              </a:rPr>
              <a:t>Базовые требования к заемщикам*;</a:t>
            </a:r>
            <a:endParaRPr lang="ru-RU" sz="1400" dirty="0">
              <a:solidFill>
                <a:srgbClr val="1F4E79"/>
              </a:solidFill>
              <a:latin typeface="Arial Narrow" panose="020B0606020202030204" pitchFamily="34" charset="0"/>
            </a:endParaRP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Д</a:t>
            </a:r>
            <a:r>
              <a:rPr lang="ru-RU" sz="1400" dirty="0" smtClean="0">
                <a:solidFill>
                  <a:srgbClr val="1F4E79"/>
                </a:solidFill>
                <a:latin typeface="Arial Narrow" panose="020B0606020202030204" pitchFamily="34" charset="0"/>
              </a:rPr>
              <a:t>еятельность осуществляется </a:t>
            </a:r>
            <a:r>
              <a:rPr lang="ru-RU" sz="1400" dirty="0">
                <a:solidFill>
                  <a:srgbClr val="1F4E79"/>
                </a:solidFill>
                <a:latin typeface="Arial Narrow" panose="020B0606020202030204" pitchFamily="34" charset="0"/>
              </a:rPr>
              <a:t>в Приоритетных отраслях </a:t>
            </a:r>
            <a:r>
              <a:rPr lang="ru-RU" sz="1400" dirty="0" smtClean="0">
                <a:solidFill>
                  <a:srgbClr val="1F4E79"/>
                </a:solidFill>
                <a:latin typeface="Arial Narrow" panose="020B0606020202030204" pitchFamily="34" charset="0"/>
              </a:rPr>
              <a:t>экономики;</a:t>
            </a: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Среднегодовой темп роста (</a:t>
            </a:r>
            <a:r>
              <a:rPr lang="ru-RU" sz="1400" dirty="0" smtClean="0">
                <a:solidFill>
                  <a:srgbClr val="1F4E79"/>
                </a:solidFill>
                <a:latin typeface="Arial Narrow" panose="020B0606020202030204" pitchFamily="34" charset="0"/>
              </a:rPr>
              <a:t>CAGR)** </a:t>
            </a:r>
            <a:r>
              <a:rPr lang="ru-RU" sz="1400" dirty="0">
                <a:solidFill>
                  <a:srgbClr val="1F4E79"/>
                </a:solidFill>
                <a:latin typeface="Arial Narrow" panose="020B0606020202030204" pitchFamily="34" charset="0"/>
              </a:rPr>
              <a:t>выручки за 3 последние года </a:t>
            </a:r>
            <a:r>
              <a:rPr lang="ru-RU" sz="1400" dirty="0" smtClean="0">
                <a:solidFill>
                  <a:srgbClr val="1F4E79"/>
                </a:solidFill>
                <a:latin typeface="Arial Narrow" panose="020B0606020202030204" pitchFamily="34" charset="0"/>
              </a:rPr>
              <a:t>не </a:t>
            </a:r>
            <a:r>
              <a:rPr lang="ru-RU" sz="1400" dirty="0">
                <a:solidFill>
                  <a:srgbClr val="1F4E79"/>
                </a:solidFill>
                <a:latin typeface="Arial Narrow" panose="020B0606020202030204" pitchFamily="34" charset="0"/>
              </a:rPr>
              <a:t>менее 20</a:t>
            </a:r>
            <a:r>
              <a:rPr lang="ru-RU" sz="1400" dirty="0" smtClean="0">
                <a:solidFill>
                  <a:srgbClr val="1F4E79"/>
                </a:solidFill>
                <a:latin typeface="Arial Narrow" panose="020B0606020202030204" pitchFamily="34" charset="0"/>
              </a:rPr>
              <a:t>%;</a:t>
            </a:r>
          </a:p>
          <a:p>
            <a:pPr marL="285750" indent="-285750" algn="just">
              <a:lnSpc>
                <a:spcPct val="120000"/>
              </a:lnSpc>
              <a:buFont typeface="Wingdings" panose="05000000000000000000" pitchFamily="2" charset="2"/>
              <a:buChar char="Ø"/>
            </a:pPr>
            <a:r>
              <a:rPr lang="ru-RU" sz="1400" dirty="0">
                <a:solidFill>
                  <a:srgbClr val="1F4E79"/>
                </a:solidFill>
                <a:latin typeface="Arial Narrow" panose="020B0606020202030204" pitchFamily="34" charset="0"/>
              </a:rPr>
              <a:t>Наличие документов, подтверждающих права субъекта МСП на результаты интеллектуальной деятельности и приравненные к ним средства индивидуализации, предусмотренные Гражданским кодексом Российской </a:t>
            </a:r>
            <a:r>
              <a:rPr lang="ru-RU" sz="1400" dirty="0" smtClean="0">
                <a:solidFill>
                  <a:srgbClr val="1F4E79"/>
                </a:solidFill>
                <a:latin typeface="Arial Narrow" panose="020B0606020202030204" pitchFamily="34" charset="0"/>
              </a:rPr>
              <a:t>Федерации.</a:t>
            </a:r>
          </a:p>
          <a:p>
            <a:pPr algn="just"/>
            <a:endParaRPr lang="ru-RU" sz="1400" dirty="0">
              <a:solidFill>
                <a:srgbClr val="1F4E79"/>
              </a:solidFill>
              <a:latin typeface="Arial Narrow" panose="020B0606020202030204" pitchFamily="34" charset="0"/>
            </a:endParaRPr>
          </a:p>
        </p:txBody>
      </p:sp>
      <p:sp>
        <p:nvSpPr>
          <p:cNvPr id="3" name="TextBox 2"/>
          <p:cNvSpPr txBox="1"/>
          <p:nvPr/>
        </p:nvSpPr>
        <p:spPr>
          <a:xfrm>
            <a:off x="323175" y="6712091"/>
            <a:ext cx="11974021" cy="1785104"/>
          </a:xfrm>
          <a:prstGeom prst="rect">
            <a:avLst/>
          </a:prstGeom>
          <a:noFill/>
        </p:spPr>
        <p:txBody>
          <a:bodyPr wrap="square" rtlCol="0">
            <a:spAutoFit/>
          </a:bodyPr>
          <a:lstStyle/>
          <a:p>
            <a:r>
              <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a:t>
            </a:r>
            <a:r>
              <a:rPr lang="ru-RU" sz="1100" dirty="0" smtClean="0">
                <a:solidFill>
                  <a:srgbClr val="1F4E79"/>
                </a:solidFill>
                <a:latin typeface="Arial Narrow" panose="020B0606020202030204" pitchFamily="34" charset="0"/>
              </a:rPr>
              <a:t>согласно </a:t>
            </a:r>
            <a:r>
              <a:rPr lang="ru-RU" sz="1100" dirty="0">
                <a:solidFill>
                  <a:srgbClr val="1F4E79"/>
                </a:solidFill>
                <a:latin typeface="Arial Narrow" panose="020B0606020202030204" pitchFamily="34" charset="0"/>
              </a:rPr>
              <a:t>Правилам взаимодействия банков с АО «Корпорация «МСП</a:t>
            </a:r>
            <a:r>
              <a:rPr lang="ru-RU" sz="1100" dirty="0" smtClean="0">
                <a:solidFill>
                  <a:srgbClr val="1F4E79"/>
                </a:solidFill>
                <a:latin typeface="Arial Narrow" panose="020B0606020202030204" pitchFamily="34" charset="0"/>
              </a:rPr>
              <a:t>»</a:t>
            </a:r>
          </a:p>
          <a:p>
            <a:r>
              <a:rPr lang="ru-RU" sz="1100" dirty="0">
                <a:solidFill>
                  <a:srgbClr val="1F4E79"/>
                </a:solidFill>
                <a:latin typeface="Arial Narrow" panose="020B0606020202030204" pitchFamily="34" charset="0"/>
              </a:rPr>
              <a:t>** Совокупный среднегодовой темп роста или среднегодовой темп роста с учетом сложных процентов (англ. </a:t>
            </a:r>
            <a:r>
              <a:rPr lang="ru-RU" sz="1100" dirty="0" err="1">
                <a:solidFill>
                  <a:srgbClr val="1F4E79"/>
                </a:solidFill>
                <a:latin typeface="Arial Narrow" panose="020B0606020202030204" pitchFamily="34" charset="0"/>
              </a:rPr>
              <a:t>Compound</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Annual</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Growth</a:t>
            </a:r>
            <a:r>
              <a:rPr lang="ru-RU" sz="1100" dirty="0">
                <a:solidFill>
                  <a:srgbClr val="1F4E79"/>
                </a:solidFill>
                <a:latin typeface="Arial Narrow" panose="020B0606020202030204" pitchFamily="34" charset="0"/>
              </a:rPr>
              <a:t> </a:t>
            </a:r>
            <a:r>
              <a:rPr lang="ru-RU" sz="1100" dirty="0" err="1">
                <a:solidFill>
                  <a:srgbClr val="1F4E79"/>
                </a:solidFill>
                <a:latin typeface="Arial Narrow" panose="020B0606020202030204" pitchFamily="34" charset="0"/>
              </a:rPr>
              <a:t>Rate</a:t>
            </a:r>
            <a:r>
              <a:rPr lang="ru-RU" sz="1100" dirty="0">
                <a:solidFill>
                  <a:srgbClr val="1F4E79"/>
                </a:solidFill>
                <a:latin typeface="Arial Narrow" panose="020B0606020202030204" pitchFamily="34" charset="0"/>
              </a:rPr>
              <a:t>, CAGR) представляет собой средний темп, с которым выручка росла в течение периода более одного года</a:t>
            </a:r>
            <a:r>
              <a:rPr lang="ru-RU" sz="1100" dirty="0" smtClean="0">
                <a:solidFill>
                  <a:srgbClr val="1F4E79"/>
                </a:solidFill>
                <a:latin typeface="Arial Narrow" panose="020B0606020202030204" pitchFamily="34" charset="0"/>
              </a:rPr>
              <a:t>.</a:t>
            </a:r>
          </a:p>
          <a:p>
            <a:endParaRPr lang="ru-RU" sz="1100" dirty="0" smtClean="0">
              <a:solidFill>
                <a:srgbClr val="1F4E79"/>
              </a:solidFill>
              <a:latin typeface="Arial Narrow" panose="020B0606020202030204" pitchFamily="34" charset="0"/>
            </a:endParaRPr>
          </a:p>
          <a:p>
            <a:endParaRPr lang="en-US" sz="1100" dirty="0" smtClean="0">
              <a:solidFill>
                <a:srgbClr val="1F4E79"/>
              </a:solidFill>
              <a:latin typeface="Arial Narrow" panose="020B0606020202030204" pitchFamily="34" charset="0"/>
            </a:endParaRPr>
          </a:p>
          <a:p>
            <a:endPar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a:p>
            <a:r>
              <a:rPr lang="ru-RU" sz="1100" dirty="0" smtClean="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где </a:t>
            </a:r>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V0 – начальный размер выручки;</a:t>
            </a:r>
          </a:p>
          <a:p>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VN – конечный размер выручки;</a:t>
            </a:r>
          </a:p>
          <a:p>
            <a:r>
              <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rPr>
              <a:t>N – количество периодов (лет).</a:t>
            </a:r>
          </a:p>
          <a:p>
            <a:endParaRPr lang="ru-RU" sz="1100" dirty="0">
              <a:solidFill>
                <a:srgbClr val="1F4E79"/>
              </a:solidFill>
              <a:latin typeface="Arial Narrow" panose="020B0606020202030204" pitchFamily="34" charset="0"/>
              <a:ea typeface="Arial Unicode MS" panose="020B0604020202020204" pitchFamily="34" charset="-128"/>
              <a:cs typeface="Arial Unicode MS" panose="020B0604020202020204" pitchFamily="34" charset="-128"/>
            </a:endParaRPr>
          </a:p>
        </p:txBody>
      </p:sp>
      <p:cxnSp>
        <p:nvCxnSpPr>
          <p:cNvPr id="19" name="Прямая соединительная линия 18"/>
          <p:cNvCxnSpPr/>
          <p:nvPr/>
        </p:nvCxnSpPr>
        <p:spPr>
          <a:xfrm flipV="1">
            <a:off x="339047" y="4792251"/>
            <a:ext cx="7756989" cy="7416"/>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3175" y="4901639"/>
            <a:ext cx="11931526" cy="1792741"/>
          </a:xfrm>
          <a:prstGeom prst="rect">
            <a:avLst/>
          </a:prstGeom>
          <a:noFill/>
        </p:spPr>
        <p:txBody>
          <a:bodyPr wrap="square" lIns="0" rIns="0" rtlCol="0">
            <a:noAutofit/>
          </a:bodyPr>
          <a:lstStyle/>
          <a:p>
            <a:pPr marL="342900" indent="-342900" algn="just" defTabSz="957263">
              <a:lnSpc>
                <a:spcPct val="106000"/>
              </a:lnSpc>
              <a:spcBef>
                <a:spcPts val="600"/>
              </a:spcBef>
              <a:buFont typeface="+mj-lt"/>
              <a:buAutoNum type="arabicPeriod"/>
            </a:pPr>
            <a:r>
              <a:rPr lang="ru-RU" sz="1400" dirty="0">
                <a:solidFill>
                  <a:srgbClr val="1F4E79"/>
                </a:solidFill>
                <a:latin typeface="Arial Narrow" panose="020B0606020202030204" pitchFamily="34" charset="0"/>
              </a:rPr>
              <a:t>Соответствие определению </a:t>
            </a:r>
            <a:r>
              <a:rPr lang="ru-RU" sz="1400" dirty="0" smtClean="0">
                <a:solidFill>
                  <a:srgbClr val="1F4E79"/>
                </a:solidFill>
                <a:latin typeface="Arial Narrow" panose="020B0606020202030204" pitchFamily="34" charset="0"/>
              </a:rPr>
              <a:t>«Газели».</a:t>
            </a:r>
            <a:endParaRPr lang="ru-RU" sz="1400" dirty="0">
              <a:solidFill>
                <a:srgbClr val="1F4E79"/>
              </a:solidFill>
              <a:latin typeface="Arial Narrow" panose="020B0606020202030204" pitchFamily="34" charset="0"/>
            </a:endParaRP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Осуществление деятельности не менее 3 лет;</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Деятельность субъекта МСП осуществляется в Приоритетных отраслях экономики и обеспечивает ежегодный прирост выручки не менее 20% на протяжении последних трех лет, завершившихся на дату представления заявки на получение гарантии;</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Имеет по данным бухгалтерской отчетности за последний календарный год положительный финансовый результат;</a:t>
            </a:r>
          </a:p>
          <a:p>
            <a:pPr marL="342900" indent="-342900" algn="just">
              <a:spcBef>
                <a:spcPts val="600"/>
              </a:spcBef>
              <a:buFont typeface="+mj-lt"/>
              <a:buAutoNum type="arabicPeriod"/>
            </a:pPr>
            <a:r>
              <a:rPr lang="ru-RU" sz="1400" dirty="0">
                <a:solidFill>
                  <a:srgbClr val="1F4E79"/>
                </a:solidFill>
                <a:latin typeface="Arial Narrow" panose="020B0606020202030204" pitchFamily="34" charset="0"/>
              </a:rPr>
              <a:t>Имеет по данным бухгалтерской отчетности за последний календарный год положительные чистые активы.</a:t>
            </a: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a:p>
            <a:pPr algn="just">
              <a:spcBef>
                <a:spcPts val="600"/>
              </a:spcBef>
            </a:pPr>
            <a:endParaRPr lang="ru-RU" sz="1400" dirty="0">
              <a:solidFill>
                <a:srgbClr val="1F4E79"/>
              </a:solidFill>
              <a:latin typeface="Arial Narrow" panose="020B0606020202030204" pitchFamily="34" charset="0"/>
            </a:endParaRPr>
          </a:p>
        </p:txBody>
      </p:sp>
      <p:sp>
        <p:nvSpPr>
          <p:cNvPr id="23" name="TextBox 22"/>
          <p:cNvSpPr txBox="1"/>
          <p:nvPr/>
        </p:nvSpPr>
        <p:spPr>
          <a:xfrm>
            <a:off x="323175" y="4392141"/>
            <a:ext cx="3266710" cy="400110"/>
          </a:xfrm>
          <a:prstGeom prst="rect">
            <a:avLst/>
          </a:prstGeom>
          <a:noFill/>
        </p:spPr>
        <p:txBody>
          <a:bodyPr wrap="square" rtlCol="0">
            <a:spAutoFit/>
          </a:bodyPr>
          <a:lstStyle/>
          <a:p>
            <a:r>
              <a:rPr lang="ru-RU" sz="2000" b="1" dirty="0" smtClean="0">
                <a:solidFill>
                  <a:srgbClr val="1F4E79"/>
                </a:solidFill>
                <a:latin typeface="Arial Narrow" panose="020B0606020202030204" pitchFamily="34" charset="0"/>
              </a:rPr>
              <a:t>Требования к заемщикам</a:t>
            </a:r>
            <a:endParaRPr lang="ru-RU" sz="2000" b="1" dirty="0">
              <a:solidFill>
                <a:srgbClr val="1F4E79"/>
              </a:solidFill>
              <a:latin typeface="Arial Narrow" panose="020B0606020202030204" pitchFamily="34" charset="0"/>
            </a:endParaRPr>
          </a:p>
        </p:txBody>
      </p:sp>
      <p:pic>
        <p:nvPicPr>
          <p:cNvPr id="21" name="Рисунок 20" descr="CAGR формула"/>
          <p:cNvPicPr/>
          <p:nvPr/>
        </p:nvPicPr>
        <p:blipFill>
          <a:blip r:embed="rId3">
            <a:extLst>
              <a:ext uri="{28A0092B-C50C-407E-A947-70E740481C1C}">
                <a14:useLocalDpi xmlns:a14="http://schemas.microsoft.com/office/drawing/2010/main" val="0"/>
              </a:ext>
            </a:extLst>
          </a:blip>
          <a:srcRect/>
          <a:stretch>
            <a:fillRect/>
          </a:stretch>
        </p:blipFill>
        <p:spPr bwMode="auto">
          <a:xfrm>
            <a:off x="381085" y="7337406"/>
            <a:ext cx="1101090" cy="462915"/>
          </a:xfrm>
          <a:prstGeom prst="rect">
            <a:avLst/>
          </a:prstGeom>
          <a:noFill/>
          <a:ln>
            <a:noFill/>
          </a:ln>
        </p:spPr>
      </p:pic>
    </p:spTree>
    <p:extLst>
      <p:ext uri="{BB962C8B-B14F-4D97-AF65-F5344CB8AC3E}">
        <p14:creationId xmlns:p14="http://schemas.microsoft.com/office/powerpoint/2010/main" val="306305733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53183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a:t>
            </a:r>
          </a:p>
          <a:p>
            <a:pPr lvl="0" defTabSz="457200" fontAlgn="auto">
              <a:lnSpc>
                <a:spcPct val="107000"/>
              </a:lnSpc>
              <a:spcBef>
                <a:spcPts val="0"/>
              </a:spcBef>
              <a:spcAft>
                <a:spcPts val="800"/>
              </a:spcAft>
              <a:defRPr/>
            </a:pPr>
            <a:r>
              <a:rPr lang="ru-RU" sz="1600" b="1" dirty="0" smtClean="0">
                <a:solidFill>
                  <a:prstClr val="black"/>
                </a:solidFill>
              </a:rPr>
              <a:t>   9,6</a:t>
            </a:r>
            <a:r>
              <a:rPr lang="ru-RU" sz="1600" b="1" dirty="0">
                <a:solidFill>
                  <a:prstClr val="black"/>
                </a:solidFill>
              </a:rPr>
              <a:t>% </a:t>
            </a:r>
            <a:r>
              <a:rPr lang="ru-RU" sz="1600" dirty="0" smtClean="0">
                <a:solidFill>
                  <a:prstClr val="black"/>
                </a:solidFill>
              </a:rPr>
              <a:t>- для субъектов МСП в приоритетных отраслях экономики</a:t>
            </a:r>
            <a:r>
              <a:rPr lang="ru-RU" sz="1600" dirty="0">
                <a:solidFill>
                  <a:prstClr val="black"/>
                </a:solidFill>
              </a:rPr>
              <a:t>, лизинговой компании, МФО или организации, </a:t>
            </a:r>
            <a:r>
              <a:rPr lang="ru-RU" sz="1600" dirty="0" smtClean="0">
                <a:solidFill>
                  <a:prstClr val="black"/>
                </a:solidFill>
              </a:rPr>
              <a:t>      управляющей </a:t>
            </a:r>
            <a:r>
              <a:rPr lang="ru-RU" sz="1600" dirty="0">
                <a:solidFill>
                  <a:prstClr val="black"/>
                </a:solidFill>
              </a:rPr>
              <a:t>объектами инфраструктуры поддержки субъектов МСП; </a:t>
            </a:r>
            <a:endParaRPr lang="ru-RU" sz="1600" dirty="0" smtClean="0">
              <a:solidFill>
                <a:prstClr val="black"/>
              </a:solidFill>
            </a:endParaRPr>
          </a:p>
          <a:p>
            <a:pPr lvl="0" defTabSz="457200" fontAlgn="auto">
              <a:lnSpc>
                <a:spcPct val="107000"/>
              </a:lnSpc>
              <a:spcBef>
                <a:spcPts val="0"/>
              </a:spcBef>
              <a:spcAft>
                <a:spcPts val="800"/>
              </a:spcAft>
              <a:defRPr/>
            </a:pPr>
            <a:r>
              <a:rPr lang="ru-RU" sz="1600" dirty="0" smtClean="0">
                <a:solidFill>
                  <a:prstClr val="black"/>
                </a:solidFill>
              </a:rPr>
              <a:t>  </a:t>
            </a:r>
            <a:r>
              <a:rPr lang="ru-RU" sz="1600" b="1" dirty="0" smtClean="0">
                <a:solidFill>
                  <a:prstClr val="black"/>
                </a:solidFill>
              </a:rPr>
              <a:t>10,6</a:t>
            </a:r>
            <a:r>
              <a:rPr lang="ru-RU" sz="1600" b="1" dirty="0">
                <a:solidFill>
                  <a:prstClr val="black"/>
                </a:solidFill>
              </a:rPr>
              <a:t>%</a:t>
            </a:r>
            <a:r>
              <a:rPr lang="ru-RU" sz="1600" dirty="0">
                <a:solidFill>
                  <a:prstClr val="black"/>
                </a:solidFill>
              </a:rPr>
              <a:t> - для субъектов </a:t>
            </a:r>
            <a:r>
              <a:rPr lang="ru-RU" sz="1600" dirty="0" smtClean="0">
                <a:solidFill>
                  <a:prstClr val="black"/>
                </a:solidFill>
              </a:rPr>
              <a:t>МСП в прочих отраслях.</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 экономики</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Обрабатывающее производство, в </a:t>
            </a:r>
            <a:r>
              <a:rPr kumimoji="0" lang="ru-RU" sz="1400" b="0" i="0" u="none" strike="noStrike" kern="1200" cap="none" spc="0" normalizeH="0" baseline="0" noProof="0" dirty="0" err="1" smtClean="0">
                <a:ln>
                  <a:noFill/>
                </a:ln>
                <a:solidFill>
                  <a:prstClr val="black"/>
                </a:solidFill>
                <a:effectLst/>
                <a:uLnTx/>
                <a:uFillTx/>
                <a:latin typeface="+mj-lt"/>
                <a:cs typeface="+mn-cs"/>
              </a:rPr>
              <a:t>т.ч</a:t>
            </a:r>
            <a:r>
              <a:rPr kumimoji="0" lang="ru-RU" sz="1400" b="0" i="0" u="none" strike="noStrike" kern="1200" cap="none" spc="0" normalizeH="0" baseline="0" noProof="0" dirty="0" smtClean="0">
                <a:ln>
                  <a:noFill/>
                </a:ln>
                <a:solidFill>
                  <a:prstClr val="black"/>
                </a:solidFill>
                <a:effectLst/>
                <a:uLnTx/>
                <a:uFillTx/>
                <a:latin typeface="+mj-lt"/>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400" b="0" i="0" u="none" strike="noStrike" kern="1200" cap="none" spc="0" normalizeH="0" baseline="0" noProof="0" dirty="0" smtClean="0">
                <a:ln>
                  <a:noFill/>
                </a:ln>
                <a:solidFill>
                  <a:prstClr val="black"/>
                </a:solidFill>
                <a:effectLst/>
                <a:uLnTx/>
                <a:uFillTx/>
                <a:latin typeface="+mj-lt"/>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в области </a:t>
            </a:r>
            <a:r>
              <a:rPr lang="ru-RU" sz="1400" dirty="0" smtClean="0">
                <a:latin typeface="+mj-lt"/>
                <a:cs typeface="+mn-cs"/>
              </a:rPr>
              <a:t>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по складированию и хранению</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предприятий общественного питания (за исключением ресторанов),</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Деятельность </a:t>
            </a:r>
            <a:r>
              <a:rPr lang="ru-RU" sz="1400" dirty="0">
                <a:latin typeface="+mj-lt"/>
                <a:cs typeface="+mn-cs"/>
              </a:rPr>
              <a:t>в сфере бытовых услуг,</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400" dirty="0" smtClean="0">
                <a:latin typeface="+mj-lt"/>
                <a:cs typeface="+mn-cs"/>
              </a:rPr>
              <a:t>Сбор</a:t>
            </a:r>
            <a:r>
              <a:rPr lang="ru-RU" sz="14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400" dirty="0" smtClean="0">
                <a:latin typeface="+mj-lt"/>
                <a:cs typeface="+mn-cs"/>
              </a:rPr>
              <a:t>сырье</a:t>
            </a: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smtClean="0">
                <a:solidFill>
                  <a:prstClr val="black"/>
                </a:solidFill>
                <a:latin typeface="+mj-lt"/>
                <a:cs typeface="+mn-cs"/>
              </a:rPr>
              <a:t>3</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519757" y="7600816"/>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6</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2109074007"/>
              </p:ext>
            </p:extLst>
          </p:nvPr>
        </p:nvGraphicFramePr>
        <p:xfrm>
          <a:off x="363538" y="1220841"/>
          <a:ext cx="11903353" cy="6457085"/>
        </p:xfrm>
        <a:graphic>
          <a:graphicData uri="http://schemas.openxmlformats.org/drawingml/2006/table">
            <a:tbl>
              <a:tblPr firstRow="1" bandRow="1"/>
              <a:tblGrid>
                <a:gridCol w="1883851">
                  <a:extLst>
                    <a:ext uri="{9D8B030D-6E8A-4147-A177-3AD203B41FA5}">
                      <a16:colId xmlns:a16="http://schemas.microsoft.com/office/drawing/2014/main" xmlns="" val="20000"/>
                    </a:ext>
                  </a:extLst>
                </a:gridCol>
                <a:gridCol w="10019502">
                  <a:extLst>
                    <a:ext uri="{9D8B030D-6E8A-4147-A177-3AD203B41FA5}">
                      <a16:colId xmlns:a16="http://schemas.microsoft.com/office/drawing/2014/main" xmlns="" val="20001"/>
                    </a:ext>
                  </a:extLst>
                </a:gridCol>
              </a:tblGrid>
              <a:tr h="84426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15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150" b="0" dirty="0" smtClean="0">
                          <a:latin typeface="Arial" panose="020B0604020202020204" pitchFamily="34" charset="0"/>
                          <a:cs typeface="Arial" panose="020B0604020202020204" pitchFamily="34" charset="0"/>
                        </a:rPr>
                        <a:t>Пополнение оборотных средств.</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Размер процентной ставки 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150" b="0" i="0" dirty="0" smtClean="0">
                          <a:latin typeface="Arial" panose="020B0604020202020204" pitchFamily="34" charset="0"/>
                          <a:cs typeface="Arial" panose="020B0604020202020204" pitchFamily="34" charset="0"/>
                        </a:rPr>
                        <a:t>Не выше 9,6% годовых при условии, что кредитные средства предоставляются субъекту МСП на цели осуществления деятельности в одной или нескольких приоритетных отраслях экономики, или на цели реализации инвестиционного проекта в такой отрасли, лизинговой компании, МФО или организации, управляющей объектами инфраструктуры поддержки субъектов МСП; </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150" b="0" i="0" dirty="0" smtClean="0">
                          <a:latin typeface="Arial" panose="020B0604020202020204" pitchFamily="34" charset="0"/>
                          <a:cs typeface="Arial" panose="020B0604020202020204" pitchFamily="34" charset="0"/>
                        </a:rPr>
                        <a:t>Не выше 10,6% годовых при условии, что кредитные средства предоставляются субъекту МСП на цели осуществления деятельности или на цели реализации инвестиционного проекта в иных отраслях экономики, не включенных в приоритетных отраслях экономики.</a:t>
                      </a:r>
                      <a:endParaRPr lang="ru-RU" sz="115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04117">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5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40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1" kern="1200" dirty="0" smtClean="0">
                          <a:solidFill>
                            <a:schemeClr val="dk1"/>
                          </a:solidFill>
                          <a:latin typeface="Arial" panose="020B0604020202020204" pitchFamily="34" charset="0"/>
                          <a:ea typeface="+mn-ea"/>
                          <a:cs typeface="Arial" panose="020B0604020202020204" pitchFamily="34" charset="0"/>
                        </a:rPr>
                        <a:t>Не более  80% </a:t>
                      </a:r>
                      <a:r>
                        <a:rPr lang="ru-RU" sz="115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15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15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15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263722">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15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15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15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15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15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15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15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15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15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10 (показатель</a:t>
                      </a:r>
                      <a:r>
                        <a:rPr lang="ru-RU" sz="115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15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xmlns="" val="20000"/>
                    </a:ext>
                  </a:extLst>
                </a:gridCol>
                <a:gridCol w="10130803">
                  <a:extLst>
                    <a:ext uri="{9D8B030D-6E8A-4147-A177-3AD203B41FA5}">
                      <a16:colId xmlns:a16="http://schemas.microsoft.com/office/drawing/2014/main" xmlns=""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51793" y="9239"/>
            <a:ext cx="7091076" cy="3225800"/>
          </a:xfrm>
          <a:prstGeom prst="rect">
            <a:avLst/>
          </a:prstGeom>
        </p:spPr>
      </p:pic>
      <p:sp>
        <p:nvSpPr>
          <p:cNvPr id="3" name="Прямоугольник 2"/>
          <p:cNvSpPr/>
          <p:nvPr/>
        </p:nvSpPr>
        <p:spPr>
          <a:xfrm>
            <a:off x="0" y="2913140"/>
            <a:ext cx="12599988" cy="492604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
        <p:nvSpPr>
          <p:cNvPr id="2" name="Заголовок 1"/>
          <p:cNvSpPr>
            <a:spLocks noGrp="1"/>
          </p:cNvSpPr>
          <p:nvPr>
            <p:ph type="title"/>
          </p:nvPr>
        </p:nvSpPr>
        <p:spPr>
          <a:xfrm>
            <a:off x="328656" y="3900562"/>
            <a:ext cx="11784459" cy="3942018"/>
          </a:xfrm>
        </p:spPr>
        <p:txBody>
          <a:bodyPr/>
          <a:lstStyle/>
          <a:p>
            <a:pPr algn="l"/>
            <a:r>
              <a:rPr lang="ru-RU" dirty="0" smtClean="0"/>
              <a:t>3</a:t>
            </a:r>
            <a:r>
              <a:rPr lang="ru-RU" sz="1400" dirty="0" smtClean="0"/>
              <a:t>.  </a:t>
            </a:r>
            <a:r>
              <a:rPr lang="ru-RU" dirty="0" smtClean="0">
                <a:effectLst/>
              </a:rPr>
              <a:t>Программа предоставления субсидий кредитным организациям на возмещение недополученных ими доходов по кредитам, выданным субъектам МСП на реализацию проектов в приоритетных отраслях по льготной ставке, реализуемая с 2019 года Минэкономразвития России и Корпорацией МСП </a:t>
            </a:r>
            <a:br>
              <a:rPr lang="ru-RU" dirty="0" smtClean="0">
                <a:effectLst/>
              </a:rPr>
            </a:br>
            <a:r>
              <a:rPr lang="ru-RU" dirty="0" smtClean="0">
                <a:effectLst/>
              </a:rPr>
              <a:t/>
            </a:r>
            <a:br>
              <a:rPr lang="ru-RU" dirty="0" smtClean="0">
                <a:effectLst/>
              </a:rPr>
            </a:br>
            <a:r>
              <a:rPr lang="ru-RU" sz="1800" b="0" i="1" dirty="0" smtClean="0"/>
              <a:t>Постановление </a:t>
            </a:r>
            <a:r>
              <a:rPr lang="ru-RU" sz="1800" b="0" i="1" dirty="0"/>
              <a:t>Правительства РФ от 30.12.2018 N 1764</a:t>
            </a:r>
            <a:br>
              <a:rPr lang="ru-RU" sz="1800" b="0" i="1" dirty="0"/>
            </a:br>
            <a:r>
              <a:rPr lang="ru-RU" sz="1800" b="0" i="1" dirty="0"/>
              <a:t>"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 выданным в 2019 - 2024 годах субъектам малого и среднего предпринимательства по льготной ставке"</a:t>
            </a:r>
            <a:br>
              <a:rPr lang="ru-RU" sz="1800" b="0" i="1" dirty="0"/>
            </a:br>
            <a:endParaRPr lang="ru-RU" sz="1800" i="1" dirty="0">
              <a:effectLst/>
            </a:endParaRPr>
          </a:p>
        </p:txBody>
      </p:sp>
      <p:sp>
        <p:nvSpPr>
          <p:cNvPr id="4" name="Прямоугольник 3"/>
          <p:cNvSpPr/>
          <p:nvPr/>
        </p:nvSpPr>
        <p:spPr>
          <a:xfrm>
            <a:off x="1405342" y="3091203"/>
            <a:ext cx="9411128" cy="1077218"/>
          </a:xfrm>
          <a:prstGeom prst="rect">
            <a:avLst/>
          </a:prstGeom>
        </p:spPr>
        <p:txBody>
          <a:bodyPr wrap="square">
            <a:spAutoFit/>
          </a:bodyPr>
          <a:lstStyle/>
          <a:p>
            <a:pPr algn="ctr"/>
            <a:r>
              <a:rPr lang="ru-RU" sz="3200" b="1" dirty="0" smtClean="0">
                <a:solidFill>
                  <a:schemeClr val="bg1"/>
                </a:solidFill>
              </a:rPr>
              <a:t>(Программа субсидирования) </a:t>
            </a:r>
            <a:br>
              <a:rPr lang="ru-RU" sz="3200" b="1" dirty="0" smtClean="0">
                <a:solidFill>
                  <a:schemeClr val="bg1"/>
                </a:solidFill>
              </a:rPr>
            </a:br>
            <a:endParaRPr lang="ru-RU" sz="3200" b="1" dirty="0">
              <a:solidFill>
                <a:schemeClr val="bg1"/>
              </a:solidFill>
            </a:endParaRPr>
          </a:p>
        </p:txBody>
      </p:sp>
    </p:spTree>
    <p:extLst>
      <p:ext uri="{BB962C8B-B14F-4D97-AF65-F5344CB8AC3E}">
        <p14:creationId xmlns:p14="http://schemas.microsoft.com/office/powerpoint/2010/main" val="4761205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убсидирования</a:t>
            </a:r>
            <a:endParaRPr lang="ru-RU" dirty="0"/>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убсидирования</a:t>
            </a:r>
            <a:endParaRPr lang="ru-RU" b="1" kern="0" dirty="0"/>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5</a:t>
            </a:r>
            <a:endParaRPr lang="ru-RU" sz="1400" dirty="0">
              <a:latin typeface="Arial Narrow" panose="020B0606020202030204"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2236354276"/>
              </p:ext>
            </p:extLst>
          </p:nvPr>
        </p:nvGraphicFramePr>
        <p:xfrm>
          <a:off x="446808" y="1916447"/>
          <a:ext cx="11804410" cy="4913910"/>
        </p:xfrm>
        <a:graphic>
          <a:graphicData uri="http://schemas.openxmlformats.org/drawingml/2006/table">
            <a:tbl>
              <a:tblPr firstRow="1" bandRow="1">
                <a:tableStyleId>{5C22544A-7EE6-4342-B048-85BDC9FD1C3A}</a:tableStyleId>
              </a:tblPr>
              <a:tblGrid>
                <a:gridCol w="5902205">
                  <a:extLst>
                    <a:ext uri="{9D8B030D-6E8A-4147-A177-3AD203B41FA5}">
                      <a16:colId xmlns:a16="http://schemas.microsoft.com/office/drawing/2014/main" xmlns="" val="2074551668"/>
                    </a:ext>
                  </a:extLst>
                </a:gridCol>
                <a:gridCol w="5902205">
                  <a:extLst>
                    <a:ext uri="{9D8B030D-6E8A-4147-A177-3AD203B41FA5}">
                      <a16:colId xmlns:a16="http://schemas.microsoft.com/office/drawing/2014/main" xmlns="" val="450703983"/>
                    </a:ext>
                  </a:extLst>
                </a:gridCol>
              </a:tblGrid>
              <a:tr h="545701">
                <a:tc>
                  <a:txBody>
                    <a:bodyPr/>
                    <a:lstStyle/>
                    <a:p>
                      <a:pPr algn="ctr">
                        <a:lnSpc>
                          <a:spcPct val="115000"/>
                        </a:lnSpc>
                        <a:spcAft>
                          <a:spcPts val="0"/>
                        </a:spcAft>
                      </a:pPr>
                      <a:r>
                        <a:rPr lang="ru-RU" sz="2200" b="1" dirty="0" smtClean="0">
                          <a:solidFill>
                            <a:schemeClr val="bg1"/>
                          </a:solidFill>
                          <a:effectLst/>
                        </a:rPr>
                        <a:t>Условия</a:t>
                      </a:r>
                    </a:p>
                  </a:txBody>
                  <a:tcPr marL="63451" marR="63451" marT="0" marB="0" anchor="ctr"/>
                </a:tc>
                <a:tc>
                  <a:txBody>
                    <a:bodyPr/>
                    <a:lstStyle/>
                    <a:p>
                      <a:pPr indent="180340" algn="ctr">
                        <a:lnSpc>
                          <a:spcPct val="115000"/>
                        </a:lnSpc>
                        <a:spcAft>
                          <a:spcPts val="0"/>
                        </a:spcAft>
                      </a:pPr>
                      <a:r>
                        <a:rPr lang="ru-RU" sz="2200" b="1" dirty="0" smtClean="0">
                          <a:solidFill>
                            <a:schemeClr val="bg1"/>
                          </a:solidFill>
                          <a:effectLst/>
                        </a:rPr>
                        <a:t>Параметры</a:t>
                      </a:r>
                    </a:p>
                  </a:txBody>
                  <a:tcPr marL="63451" marR="63451" marT="0" marB="0" anchor="ctr"/>
                </a:tc>
                <a:extLst>
                  <a:ext uri="{0D108BD9-81ED-4DB2-BD59-A6C34878D82A}">
                    <a16:rowId xmlns:a16="http://schemas.microsoft.com/office/drawing/2014/main" xmlns="" val="1674625799"/>
                  </a:ext>
                </a:extLst>
              </a:tr>
              <a:tr h="509652">
                <a:tc>
                  <a:txBody>
                    <a:bodyPr/>
                    <a:lstStyle/>
                    <a:p>
                      <a:pPr algn="ctr">
                        <a:lnSpc>
                          <a:spcPct val="115000"/>
                        </a:lnSpc>
                        <a:spcAft>
                          <a:spcPts val="0"/>
                        </a:spcAft>
                      </a:pPr>
                      <a:r>
                        <a:rPr lang="ru-RU" sz="1600" b="1" dirty="0">
                          <a:solidFill>
                            <a:schemeClr val="tx1"/>
                          </a:solidFill>
                          <a:effectLst/>
                        </a:rPr>
                        <a:t>Процентная </a:t>
                      </a:r>
                      <a:r>
                        <a:rPr lang="ru-RU" sz="1600" b="1" dirty="0" smtClean="0">
                          <a:solidFill>
                            <a:schemeClr val="tx1"/>
                          </a:solidFill>
                          <a:effectLst/>
                        </a:rPr>
                        <a:t>ставка по </a:t>
                      </a:r>
                      <a:r>
                        <a:rPr lang="ru-RU" sz="1600" b="1" dirty="0">
                          <a:solidFill>
                            <a:schemeClr val="tx1"/>
                          </a:solidFill>
                          <a:effectLst/>
                        </a:rPr>
                        <a:t>кредиту для </a:t>
                      </a:r>
                      <a:r>
                        <a:rPr lang="ru-RU" sz="1600" b="1" dirty="0" smtClean="0">
                          <a:solidFill>
                            <a:schemeClr val="tx1"/>
                          </a:solidFill>
                          <a:effectLst/>
                        </a:rPr>
                        <a:t>заемщика</a:t>
                      </a:r>
                    </a:p>
                  </a:txBody>
                  <a:tcPr marL="63451" marR="63451" marT="0" marB="0" anchor="ctr"/>
                </a:tc>
                <a:tc>
                  <a:txBody>
                    <a:bodyPr/>
                    <a:lstStyle/>
                    <a:p>
                      <a:pPr indent="180340" algn="ctr">
                        <a:lnSpc>
                          <a:spcPct val="115000"/>
                        </a:lnSpc>
                        <a:spcAft>
                          <a:spcPts val="0"/>
                        </a:spcAft>
                      </a:pPr>
                      <a:r>
                        <a:rPr lang="ru-RU" sz="1600" b="1" dirty="0" smtClean="0">
                          <a:solidFill>
                            <a:schemeClr val="tx1"/>
                          </a:solidFill>
                          <a:effectLst/>
                        </a:rPr>
                        <a:t>До 8,5</a:t>
                      </a:r>
                      <a:r>
                        <a:rPr lang="ru-RU" sz="1600" b="1" baseline="0" dirty="0" smtClean="0">
                          <a:solidFill>
                            <a:schemeClr val="tx1"/>
                          </a:solidFill>
                          <a:effectLst/>
                        </a:rPr>
                        <a:t> </a:t>
                      </a:r>
                      <a:r>
                        <a:rPr lang="ru-RU" sz="1600" b="1" dirty="0" smtClean="0">
                          <a:solidFill>
                            <a:schemeClr val="tx1"/>
                          </a:solidFill>
                          <a:effectLst/>
                        </a:rPr>
                        <a:t>% </a:t>
                      </a:r>
                      <a:r>
                        <a:rPr lang="ru-RU" sz="1600" b="1" dirty="0">
                          <a:solidFill>
                            <a:schemeClr val="tx1"/>
                          </a:solidFill>
                          <a:effectLst/>
                        </a:rPr>
                        <a:t>годовых </a:t>
                      </a:r>
                      <a:endParaRPr lang="ru-RU" sz="1600" b="1" dirty="0" smtClean="0">
                        <a:solidFill>
                          <a:schemeClr val="tx1"/>
                        </a:solidFill>
                        <a:effectLst/>
                      </a:endParaRPr>
                    </a:p>
                  </a:txBody>
                  <a:tcPr marL="63451" marR="63451" marT="0" marB="0" anchor="ctr"/>
                </a:tc>
                <a:extLst>
                  <a:ext uri="{0D108BD9-81ED-4DB2-BD59-A6C34878D82A}">
                    <a16:rowId xmlns:a16="http://schemas.microsoft.com/office/drawing/2014/main" xmlns="" val="3405221117"/>
                  </a:ext>
                </a:extLst>
              </a:tr>
              <a:tr h="409276">
                <a:tc>
                  <a:txBody>
                    <a:bodyPr/>
                    <a:lstStyle/>
                    <a:p>
                      <a:pPr algn="ctr">
                        <a:lnSpc>
                          <a:spcPct val="115000"/>
                        </a:lnSpc>
                        <a:spcAft>
                          <a:spcPts val="0"/>
                        </a:spcAft>
                      </a:pPr>
                      <a:r>
                        <a:rPr lang="ru-RU" sz="1600" b="1" dirty="0" smtClean="0">
                          <a:solidFill>
                            <a:schemeClr val="tx1"/>
                          </a:solidFill>
                          <a:effectLst/>
                        </a:rPr>
                        <a:t>Цели льготных кредитов</a:t>
                      </a:r>
                    </a:p>
                  </a:txBody>
                  <a:tcPr marL="63451" marR="63451" marT="0" marB="0" anchor="ctr"/>
                </a:tc>
                <a:tc>
                  <a:txBody>
                    <a:bodyPr/>
                    <a:lstStyle/>
                    <a:p>
                      <a:pPr indent="180340" algn="ctr">
                        <a:lnSpc>
                          <a:spcPct val="115000"/>
                        </a:lnSpc>
                        <a:spcAft>
                          <a:spcPts val="0"/>
                        </a:spcAft>
                      </a:pPr>
                      <a:r>
                        <a:rPr lang="ru-RU" sz="1600" b="1" dirty="0" smtClean="0">
                          <a:solidFill>
                            <a:schemeClr val="tx1"/>
                          </a:solidFill>
                          <a:effectLst/>
                        </a:rPr>
                        <a:t>Инвестиционные и пополнение оборотных средств</a:t>
                      </a:r>
                    </a:p>
                    <a:p>
                      <a:pPr indent="180340" algn="ctr">
                        <a:lnSpc>
                          <a:spcPct val="115000"/>
                        </a:lnSpc>
                        <a:spcAft>
                          <a:spcPts val="0"/>
                        </a:spcAft>
                      </a:pPr>
                      <a:r>
                        <a:rPr lang="ru-RU" sz="1600" b="1" kern="1200" dirty="0" smtClean="0">
                          <a:solidFill>
                            <a:schemeClr val="tx1"/>
                          </a:solidFill>
                          <a:effectLst/>
                          <a:latin typeface="+mn-lt"/>
                          <a:ea typeface="+mn-ea"/>
                          <a:cs typeface="+mn-cs"/>
                        </a:rPr>
                        <a:t>(приоритетные отрасли)</a:t>
                      </a:r>
                      <a:endParaRPr lang="ru-RU" sz="1600" b="1" kern="1200" dirty="0">
                        <a:solidFill>
                          <a:schemeClr val="tx1"/>
                        </a:solidFill>
                        <a:effectLst/>
                        <a:latin typeface="+mn-lt"/>
                        <a:ea typeface="+mn-ea"/>
                        <a:cs typeface="+mn-cs"/>
                      </a:endParaRPr>
                    </a:p>
                  </a:txBody>
                  <a:tcPr marL="63451" marR="63451" marT="0" marB="0" anchor="ctr"/>
                </a:tc>
                <a:extLst>
                  <a:ext uri="{0D108BD9-81ED-4DB2-BD59-A6C34878D82A}">
                    <a16:rowId xmlns:a16="http://schemas.microsoft.com/office/drawing/2014/main" xmlns="" val="4253952961"/>
                  </a:ext>
                </a:extLst>
              </a:tr>
              <a:tr h="554089">
                <a:tc>
                  <a:txBody>
                    <a:bodyPr/>
                    <a:lstStyle/>
                    <a:p>
                      <a:pPr algn="ctr">
                        <a:lnSpc>
                          <a:spcPct val="115000"/>
                        </a:lnSpc>
                        <a:spcAft>
                          <a:spcPts val="0"/>
                        </a:spcAft>
                      </a:pPr>
                      <a:r>
                        <a:rPr lang="ru-RU" sz="1600" b="1" dirty="0">
                          <a:solidFill>
                            <a:schemeClr val="tx1"/>
                          </a:solidFill>
                          <a:effectLst/>
                        </a:rPr>
                        <a:t>Размер кредита </a:t>
                      </a:r>
                      <a:r>
                        <a:rPr lang="ru-RU" sz="1600" b="1" dirty="0" smtClean="0">
                          <a:solidFill>
                            <a:schemeClr val="tx1"/>
                          </a:solidFill>
                          <a:effectLst/>
                        </a:rPr>
                        <a:t>на </a:t>
                      </a:r>
                      <a:r>
                        <a:rPr lang="ru-RU" sz="1600" b="1" dirty="0">
                          <a:solidFill>
                            <a:schemeClr val="tx1"/>
                          </a:solidFill>
                          <a:effectLst/>
                        </a:rPr>
                        <a:t>инвестиционные </a:t>
                      </a:r>
                      <a:r>
                        <a:rPr lang="ru-RU" sz="1600" b="1" dirty="0" smtClean="0">
                          <a:solidFill>
                            <a:schemeClr val="tx1"/>
                          </a:solidFill>
                          <a:effectLst/>
                        </a:rPr>
                        <a:t>цели</a:t>
                      </a:r>
                    </a:p>
                  </a:txBody>
                  <a:tcPr marL="63451" marR="63451" marT="0" marB="0" anchor="ctr"/>
                </a:tc>
                <a:tc>
                  <a:txBody>
                    <a:bodyPr/>
                    <a:lstStyle/>
                    <a:p>
                      <a:pPr marL="180340" algn="ctr">
                        <a:lnSpc>
                          <a:spcPct val="115000"/>
                        </a:lnSpc>
                        <a:spcAft>
                          <a:spcPts val="0"/>
                        </a:spcAft>
                      </a:pPr>
                      <a:r>
                        <a:rPr lang="ru-RU" sz="1600" b="1" dirty="0">
                          <a:solidFill>
                            <a:schemeClr val="tx1"/>
                          </a:solidFill>
                          <a:effectLst/>
                        </a:rPr>
                        <a:t>От 3 </a:t>
                      </a:r>
                      <a:r>
                        <a:rPr lang="ru-RU" sz="1600" b="1" dirty="0" smtClean="0">
                          <a:solidFill>
                            <a:schemeClr val="tx1"/>
                          </a:solidFill>
                          <a:effectLst/>
                        </a:rPr>
                        <a:t>млн. </a:t>
                      </a:r>
                      <a:r>
                        <a:rPr lang="ru-RU" sz="1600" b="1" dirty="0">
                          <a:solidFill>
                            <a:schemeClr val="tx1"/>
                          </a:solidFill>
                          <a:effectLst/>
                        </a:rPr>
                        <a:t>рублей до 1 млрд. рублей</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4245546278"/>
                  </a:ext>
                </a:extLst>
              </a:tr>
              <a:tr h="545701">
                <a:tc>
                  <a:txBody>
                    <a:bodyPr/>
                    <a:lstStyle/>
                    <a:p>
                      <a:pPr algn="ctr">
                        <a:lnSpc>
                          <a:spcPct val="115000"/>
                        </a:lnSpc>
                        <a:spcAft>
                          <a:spcPts val="0"/>
                        </a:spcAft>
                      </a:pPr>
                      <a:r>
                        <a:rPr lang="ru-RU" sz="1600" b="1" dirty="0">
                          <a:solidFill>
                            <a:schemeClr val="tx1"/>
                          </a:solidFill>
                          <a:effectLst/>
                        </a:rPr>
                        <a:t>Размер </a:t>
                      </a:r>
                      <a:r>
                        <a:rPr lang="ru-RU" sz="1600" b="1" dirty="0" smtClean="0">
                          <a:solidFill>
                            <a:schemeClr val="tx1"/>
                          </a:solidFill>
                          <a:effectLst/>
                        </a:rPr>
                        <a:t>кредита на </a:t>
                      </a:r>
                      <a:r>
                        <a:rPr lang="ru-RU" sz="1600" b="1" dirty="0">
                          <a:solidFill>
                            <a:schemeClr val="tx1"/>
                          </a:solidFill>
                          <a:effectLst/>
                        </a:rPr>
                        <a:t>пополнение оборотных </a:t>
                      </a:r>
                      <a:r>
                        <a:rPr lang="ru-RU" sz="1600" b="1" dirty="0" smtClean="0">
                          <a:solidFill>
                            <a:schemeClr val="tx1"/>
                          </a:solidFill>
                          <a:effectLst/>
                        </a:rPr>
                        <a:t>средств</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От 3 млн. рублей до 100 млн. рублей</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284566775"/>
                  </a:ext>
                </a:extLst>
              </a:tr>
              <a:tr h="545701">
                <a:tc>
                  <a:txBody>
                    <a:bodyPr/>
                    <a:lstStyle/>
                    <a:p>
                      <a:pPr algn="ctr">
                        <a:lnSpc>
                          <a:spcPct val="115000"/>
                        </a:lnSpc>
                        <a:spcAft>
                          <a:spcPts val="0"/>
                        </a:spcAft>
                      </a:pPr>
                      <a:r>
                        <a:rPr lang="ru-RU" sz="1600" b="1" dirty="0">
                          <a:solidFill>
                            <a:schemeClr val="tx1"/>
                          </a:solidFill>
                          <a:effectLst/>
                        </a:rPr>
                        <a:t>Срок кредитного договора </a:t>
                      </a:r>
                      <a:r>
                        <a:rPr lang="ru-RU" sz="1600" b="1" dirty="0" smtClean="0">
                          <a:solidFill>
                            <a:schemeClr val="tx1"/>
                          </a:solidFill>
                          <a:effectLst/>
                        </a:rPr>
                        <a:t>на </a:t>
                      </a:r>
                      <a:r>
                        <a:rPr lang="ru-RU" sz="1600" b="1" dirty="0">
                          <a:solidFill>
                            <a:schemeClr val="tx1"/>
                          </a:solidFill>
                          <a:effectLst/>
                        </a:rPr>
                        <a:t>инвестиционные цели </a:t>
                      </a:r>
                      <a:endParaRPr lang="ru-RU" sz="1600" b="1" dirty="0" smtClean="0">
                        <a:solidFill>
                          <a:schemeClr val="tx1"/>
                        </a:solidFill>
                        <a:effectLst/>
                      </a:endParaRP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До 10 лет</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636050040"/>
                  </a:ext>
                </a:extLst>
              </a:tr>
              <a:tr h="545701">
                <a:tc>
                  <a:txBody>
                    <a:bodyPr/>
                    <a:lstStyle/>
                    <a:p>
                      <a:pPr algn="ctr">
                        <a:lnSpc>
                          <a:spcPct val="115000"/>
                        </a:lnSpc>
                        <a:spcAft>
                          <a:spcPts val="0"/>
                        </a:spcAft>
                      </a:pPr>
                      <a:r>
                        <a:rPr lang="ru-RU" sz="1600" b="1" dirty="0">
                          <a:solidFill>
                            <a:schemeClr val="tx1"/>
                          </a:solidFill>
                          <a:effectLst/>
                        </a:rPr>
                        <a:t>Срок кредитного договора </a:t>
                      </a:r>
                      <a:r>
                        <a:rPr lang="ru-RU" sz="1600" b="1" dirty="0" smtClean="0">
                          <a:solidFill>
                            <a:schemeClr val="tx1"/>
                          </a:solidFill>
                          <a:effectLst/>
                        </a:rPr>
                        <a:t>на </a:t>
                      </a:r>
                      <a:r>
                        <a:rPr lang="ru-RU" sz="1600" b="1" dirty="0">
                          <a:solidFill>
                            <a:schemeClr val="tx1"/>
                          </a:solidFill>
                          <a:effectLst/>
                        </a:rPr>
                        <a:t>пополнение оборотных </a:t>
                      </a:r>
                      <a:r>
                        <a:rPr lang="ru-RU" sz="1600" b="1" dirty="0" smtClean="0">
                          <a:solidFill>
                            <a:schemeClr val="tx1"/>
                          </a:solidFill>
                          <a:effectLst/>
                        </a:rPr>
                        <a:t>средств</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До 3 лет</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1239835141"/>
                  </a:ext>
                </a:extLst>
              </a:tr>
              <a:tr h="545701">
                <a:tc>
                  <a:txBody>
                    <a:bodyPr/>
                    <a:lstStyle/>
                    <a:p>
                      <a:pPr algn="ctr">
                        <a:lnSpc>
                          <a:spcPct val="115000"/>
                        </a:lnSpc>
                        <a:spcAft>
                          <a:spcPts val="0"/>
                        </a:spcAft>
                      </a:pPr>
                      <a:r>
                        <a:rPr lang="ru-RU" sz="1600" b="1" dirty="0">
                          <a:solidFill>
                            <a:schemeClr val="tx1"/>
                          </a:solidFill>
                          <a:effectLst/>
                        </a:rPr>
                        <a:t>Получатели </a:t>
                      </a:r>
                      <a:r>
                        <a:rPr lang="ru-RU" sz="1600" b="1" dirty="0" smtClean="0">
                          <a:solidFill>
                            <a:schemeClr val="tx1"/>
                          </a:solidFill>
                          <a:effectLst/>
                        </a:rPr>
                        <a:t>субсидий</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Уполномоченные банки, </a:t>
                      </a:r>
                      <a:r>
                        <a:rPr lang="ru-RU" sz="1600" b="1" dirty="0" smtClean="0">
                          <a:solidFill>
                            <a:schemeClr val="tx1"/>
                          </a:solidFill>
                          <a:effectLst/>
                        </a:rPr>
                        <a:t>прошедшие отбор</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3196295680"/>
                  </a:ext>
                </a:extLst>
              </a:tr>
              <a:tr h="545701">
                <a:tc>
                  <a:txBody>
                    <a:bodyPr/>
                    <a:lstStyle/>
                    <a:p>
                      <a:pPr algn="ctr">
                        <a:lnSpc>
                          <a:spcPct val="115000"/>
                        </a:lnSpc>
                        <a:spcAft>
                          <a:spcPts val="0"/>
                        </a:spcAft>
                      </a:pPr>
                      <a:r>
                        <a:rPr lang="ru-RU" sz="1600" b="1" dirty="0">
                          <a:solidFill>
                            <a:schemeClr val="tx1"/>
                          </a:solidFill>
                          <a:effectLst/>
                        </a:rPr>
                        <a:t>Периодичность предоставления </a:t>
                      </a:r>
                      <a:r>
                        <a:rPr lang="ru-RU" sz="1600" b="1" dirty="0" smtClean="0">
                          <a:solidFill>
                            <a:schemeClr val="tx1"/>
                          </a:solidFill>
                          <a:effectLst/>
                        </a:rPr>
                        <a:t>субсидии банкам</a:t>
                      </a:r>
                    </a:p>
                  </a:txBody>
                  <a:tcPr marL="63451" marR="63451" marT="0" marB="0" anchor="ctr"/>
                </a:tc>
                <a:tc>
                  <a:txBody>
                    <a:bodyPr/>
                    <a:lstStyle/>
                    <a:p>
                      <a:pPr indent="180340" algn="ctr">
                        <a:lnSpc>
                          <a:spcPct val="115000"/>
                        </a:lnSpc>
                        <a:spcAft>
                          <a:spcPts val="0"/>
                        </a:spcAft>
                      </a:pPr>
                      <a:r>
                        <a:rPr lang="ru-RU" sz="1600" b="1" dirty="0">
                          <a:solidFill>
                            <a:schemeClr val="tx1"/>
                          </a:solidFill>
                          <a:effectLst/>
                        </a:rPr>
                        <a:t>Ежемесячно</a:t>
                      </a:r>
                      <a:endParaRPr lang="ru-RU" sz="1600" b="1" dirty="0">
                        <a:solidFill>
                          <a:schemeClr val="tx1"/>
                        </a:solidFill>
                        <a:effectLst/>
                        <a:latin typeface="Times New Roman"/>
                        <a:ea typeface="Calibri"/>
                        <a:cs typeface="Times New Roman"/>
                      </a:endParaRPr>
                    </a:p>
                  </a:txBody>
                  <a:tcPr marL="63451" marR="63451" marT="0" marB="0" anchor="ctr"/>
                </a:tc>
                <a:extLst>
                  <a:ext uri="{0D108BD9-81ED-4DB2-BD59-A6C34878D82A}">
                    <a16:rowId xmlns:a16="http://schemas.microsoft.com/office/drawing/2014/main" xmlns="" val="2714131233"/>
                  </a:ext>
                </a:extLst>
              </a:tr>
            </a:tbl>
          </a:graphicData>
        </a:graphic>
      </p:graphicFrame>
    </p:spTree>
    <p:extLst>
      <p:ext uri="{BB962C8B-B14F-4D97-AF65-F5344CB8AC3E}">
        <p14:creationId xmlns:p14="http://schemas.microsoft.com/office/powerpoint/2010/main" val="399557141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a:t>
            </a:r>
            <a:r>
              <a:rPr lang="ru-RU" dirty="0" smtClean="0"/>
              <a:t>субсидирования, </a:t>
            </a:r>
            <a:r>
              <a:rPr lang="ru-RU" dirty="0"/>
              <a:t>приоритетные </a:t>
            </a:r>
            <a:r>
              <a:rPr lang="ru-RU" dirty="0" smtClean="0"/>
              <a:t>отрасли</a:t>
            </a:r>
            <a:endParaRPr lang="ru-RU" dirty="0"/>
          </a:p>
        </p:txBody>
      </p:sp>
      <p:sp>
        <p:nvSpPr>
          <p:cNvPr id="31" name="Прямоугольник 30"/>
          <p:cNvSpPr/>
          <p:nvPr/>
        </p:nvSpPr>
        <p:spPr>
          <a:xfrm>
            <a:off x="370506" y="1786473"/>
            <a:ext cx="11884197" cy="6846490"/>
          </a:xfrm>
          <a:prstGeom prst="rect">
            <a:avLst/>
          </a:prstGeom>
        </p:spPr>
        <p:txBody>
          <a:bodyPr wrap="square">
            <a:spAutoFit/>
          </a:bodyPr>
          <a:lstStyle/>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Сельское хозяйство</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Строительство</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Здравоохранение</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Образование</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Обрабатывающее производство</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Услуги в сфере туризма (внутреннего и въездного)</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Деятельность </a:t>
            </a:r>
            <a:r>
              <a:rPr lang="ru-RU" sz="1650" b="1" dirty="0">
                <a:solidFill>
                  <a:prstClr val="black"/>
                </a:solidFill>
                <a:latin typeface="+mj-lt"/>
                <a:cs typeface="+mn-cs"/>
              </a:rPr>
              <a:t>в области культуры, </a:t>
            </a:r>
            <a:r>
              <a:rPr lang="ru-RU" sz="1650" b="1" dirty="0" smtClean="0">
                <a:solidFill>
                  <a:prstClr val="black"/>
                </a:solidFill>
                <a:latin typeface="+mj-lt"/>
                <a:cs typeface="+mn-cs"/>
              </a:rPr>
              <a:t>спорта</a:t>
            </a:r>
          </a:p>
          <a:p>
            <a:pPr marL="764941" lvl="1" indent="-285750" algn="just">
              <a:lnSpc>
                <a:spcPct val="140000"/>
              </a:lnSpc>
              <a:buFont typeface="Courier New" panose="02070309020205020404" pitchFamily="49" charset="0"/>
              <a:buChar char="o"/>
            </a:pPr>
            <a:r>
              <a:rPr lang="ru-RU" sz="1650" b="1" dirty="0"/>
              <a:t>Деятельность профессиональная, научная и техническая.</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Информация и связь</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Транспортировка и хранение</a:t>
            </a:r>
            <a:endParaRPr lang="ru-RU" sz="1650" b="1" dirty="0">
              <a:solidFill>
                <a:prstClr val="black"/>
              </a:solidFill>
              <a:latin typeface="+mj-lt"/>
              <a:cs typeface="+mn-cs"/>
            </a:endParaRPr>
          </a:p>
          <a:p>
            <a:pPr marL="764941" lvl="1" indent="-285750" algn="just">
              <a:lnSpc>
                <a:spcPct val="140000"/>
              </a:lnSpc>
              <a:buFont typeface="Courier New" panose="02070309020205020404" pitchFamily="49" charset="0"/>
              <a:buChar char="o"/>
            </a:pPr>
            <a:r>
              <a:rPr lang="ru-RU" sz="1650" b="1" dirty="0">
                <a:solidFill>
                  <a:prstClr val="black"/>
                </a:solidFill>
                <a:latin typeface="+mj-lt"/>
                <a:cs typeface="+mn-cs"/>
              </a:rPr>
              <a:t>Водоснабжение, водоотведение, организация сбора</a:t>
            </a:r>
            <a:r>
              <a:rPr lang="ru-RU" sz="1650" b="1" dirty="0" smtClean="0">
                <a:solidFill>
                  <a:prstClr val="black"/>
                </a:solidFill>
                <a:latin typeface="+mj-lt"/>
                <a:cs typeface="+mn-cs"/>
              </a:rPr>
              <a:t>, </a:t>
            </a:r>
            <a:r>
              <a:rPr lang="ru-RU" sz="1650" b="1" dirty="0">
                <a:solidFill>
                  <a:prstClr val="black"/>
                </a:solidFill>
                <a:latin typeface="+mj-lt"/>
                <a:cs typeface="+mn-cs"/>
              </a:rPr>
              <a:t>обработки </a:t>
            </a:r>
            <a:br>
              <a:rPr lang="ru-RU" sz="1650" b="1" dirty="0">
                <a:solidFill>
                  <a:prstClr val="black"/>
                </a:solidFill>
                <a:latin typeface="+mj-lt"/>
                <a:cs typeface="+mn-cs"/>
              </a:rPr>
            </a:br>
            <a:r>
              <a:rPr lang="ru-RU" sz="1650" b="1" dirty="0">
                <a:solidFill>
                  <a:prstClr val="black"/>
                </a:solidFill>
                <a:latin typeface="+mj-lt"/>
                <a:cs typeface="+mn-cs"/>
              </a:rPr>
              <a:t>и утилизации отходов </a:t>
            </a:r>
          </a:p>
          <a:p>
            <a:pPr marL="764941" lvl="1" indent="-285750" algn="just">
              <a:lnSpc>
                <a:spcPct val="140000"/>
              </a:lnSpc>
              <a:buFont typeface="Courier New" panose="02070309020205020404" pitchFamily="49" charset="0"/>
              <a:buChar char="o"/>
            </a:pPr>
            <a:r>
              <a:rPr lang="ru-RU" sz="1650" b="1" dirty="0">
                <a:solidFill>
                  <a:prstClr val="black"/>
                </a:solidFill>
                <a:latin typeface="+mj-lt"/>
                <a:cs typeface="+mn-cs"/>
              </a:rPr>
              <a:t>Деятельность гостиниц </a:t>
            </a:r>
            <a:r>
              <a:rPr lang="ru-RU" sz="1650" b="1" dirty="0" smtClean="0">
                <a:solidFill>
                  <a:prstClr val="black"/>
                </a:solidFill>
                <a:latin typeface="+mj-lt"/>
                <a:cs typeface="+mn-cs"/>
              </a:rPr>
              <a:t>и </a:t>
            </a:r>
            <a:r>
              <a:rPr lang="ru-RU" sz="1650" b="1" dirty="0">
                <a:solidFill>
                  <a:prstClr val="black"/>
                </a:solidFill>
                <a:latin typeface="+mj-lt"/>
                <a:cs typeface="+mn-cs"/>
              </a:rPr>
              <a:t>предприятий общественного </a:t>
            </a:r>
            <a:r>
              <a:rPr lang="ru-RU" sz="1650" b="1" dirty="0" smtClean="0">
                <a:solidFill>
                  <a:prstClr val="black"/>
                </a:solidFill>
                <a:latin typeface="+mj-lt"/>
                <a:cs typeface="+mn-cs"/>
              </a:rPr>
              <a:t>питания </a:t>
            </a:r>
            <a:r>
              <a:rPr lang="ru-RU" sz="1650" b="1" dirty="0">
                <a:solidFill>
                  <a:prstClr val="black"/>
                </a:solidFill>
                <a:latin typeface="+mj-lt"/>
                <a:cs typeface="+mn-cs"/>
              </a:rPr>
              <a:t>(кроме ресторанов) </a:t>
            </a:r>
            <a:endParaRPr lang="ru-RU" sz="1650" b="1" dirty="0" smtClean="0">
              <a:solidFill>
                <a:prstClr val="black"/>
              </a:solidFill>
              <a:latin typeface="+mj-lt"/>
              <a:cs typeface="+mn-cs"/>
            </a:endParaRP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Деятельность в сфере бытовых услуг</a:t>
            </a:r>
          </a:p>
          <a:p>
            <a:pPr marL="764941" lvl="1" indent="-285750" algn="just">
              <a:lnSpc>
                <a:spcPct val="140000"/>
              </a:lnSpc>
              <a:buFont typeface="Courier New" panose="02070309020205020404" pitchFamily="49" charset="0"/>
              <a:buChar char="o"/>
            </a:pPr>
            <a:r>
              <a:rPr lang="ru-RU" sz="1650" b="1" dirty="0">
                <a:solidFill>
                  <a:prstClr val="black"/>
                </a:solidFill>
                <a:latin typeface="+mj-lt"/>
                <a:cs typeface="+mn-cs"/>
              </a:rPr>
              <a:t>Производство и распределение электроэнергии, газа и воды </a:t>
            </a:r>
          </a:p>
          <a:p>
            <a:pPr marL="764941" lvl="1" indent="-285750" algn="just">
              <a:lnSpc>
                <a:spcPct val="140000"/>
              </a:lnSpc>
              <a:buFont typeface="Courier New" panose="02070309020205020404" pitchFamily="49" charset="0"/>
              <a:buChar char="o"/>
            </a:pPr>
            <a:r>
              <a:rPr lang="ru-RU" sz="1650" b="1" dirty="0">
                <a:solidFill>
                  <a:prstClr val="black"/>
                </a:solidFill>
                <a:latin typeface="+mj-lt"/>
                <a:cs typeface="+mn-cs"/>
              </a:rPr>
              <a:t>Розничная/оптовая торговля </a:t>
            </a:r>
            <a:r>
              <a:rPr lang="ru-RU" sz="1650" b="1" dirty="0" smtClean="0">
                <a:solidFill>
                  <a:prstClr val="black"/>
                </a:solidFill>
                <a:latin typeface="+mj-lt"/>
                <a:cs typeface="+mn-cs"/>
              </a:rPr>
              <a:t>при </a:t>
            </a:r>
            <a:r>
              <a:rPr lang="ru-RU" sz="1650" b="1" dirty="0">
                <a:solidFill>
                  <a:prstClr val="black"/>
                </a:solidFill>
                <a:latin typeface="+mj-lt"/>
                <a:cs typeface="+mn-cs"/>
              </a:rPr>
              <a:t>условии заключения </a:t>
            </a:r>
            <a:r>
              <a:rPr lang="ru-RU" sz="1650" b="1" dirty="0" smtClean="0">
                <a:solidFill>
                  <a:prstClr val="black"/>
                </a:solidFill>
                <a:latin typeface="+mj-lt"/>
                <a:cs typeface="+mn-cs"/>
              </a:rPr>
              <a:t>кредитного договора(соглашения) на </a:t>
            </a:r>
            <a:r>
              <a:rPr lang="ru-RU" sz="1650" b="1" dirty="0">
                <a:solidFill>
                  <a:prstClr val="black"/>
                </a:solidFill>
                <a:latin typeface="+mj-lt"/>
                <a:cs typeface="+mn-cs"/>
              </a:rPr>
              <a:t>инвестиционные </a:t>
            </a:r>
            <a:r>
              <a:rPr lang="ru-RU" sz="1650" b="1" dirty="0" smtClean="0">
                <a:solidFill>
                  <a:prstClr val="black"/>
                </a:solidFill>
                <a:latin typeface="+mj-lt"/>
                <a:cs typeface="+mn-cs"/>
              </a:rPr>
              <a:t>цели</a:t>
            </a:r>
          </a:p>
          <a:p>
            <a:pPr marL="764941" lvl="1" indent="-285750" algn="just">
              <a:lnSpc>
                <a:spcPct val="140000"/>
              </a:lnSpc>
              <a:buFont typeface="Courier New" panose="02070309020205020404" pitchFamily="49" charset="0"/>
              <a:buChar char="o"/>
            </a:pPr>
            <a:r>
              <a:rPr lang="ru-RU" sz="1650" b="1" dirty="0" smtClean="0">
                <a:solidFill>
                  <a:prstClr val="black"/>
                </a:solidFill>
                <a:latin typeface="+mj-lt"/>
                <a:cs typeface="+mn-cs"/>
              </a:rPr>
              <a:t>Розничная </a:t>
            </a:r>
            <a:r>
              <a:rPr lang="ru-RU" sz="1650" b="1" dirty="0">
                <a:solidFill>
                  <a:prstClr val="black"/>
                </a:solidFill>
                <a:latin typeface="+mj-lt"/>
                <a:cs typeface="+mn-cs"/>
              </a:rPr>
              <a:t>торговля </a:t>
            </a:r>
            <a:r>
              <a:rPr lang="ru-RU" sz="1650" b="1" dirty="0" smtClean="0">
                <a:solidFill>
                  <a:prstClr val="black"/>
                </a:solidFill>
                <a:latin typeface="+mj-lt"/>
                <a:cs typeface="+mn-cs"/>
              </a:rPr>
              <a:t>на </a:t>
            </a:r>
            <a:r>
              <a:rPr lang="ru-RU" sz="1650" b="1" dirty="0">
                <a:solidFill>
                  <a:prstClr val="black"/>
                </a:solidFill>
                <a:latin typeface="+mj-lt"/>
                <a:cs typeface="+mn-cs"/>
              </a:rPr>
              <a:t>территории </a:t>
            </a:r>
            <a:r>
              <a:rPr lang="ru-RU" sz="1650" b="1" dirty="0" smtClean="0">
                <a:solidFill>
                  <a:prstClr val="black"/>
                </a:solidFill>
                <a:latin typeface="+mj-lt"/>
                <a:cs typeface="+mn-cs"/>
              </a:rPr>
              <a:t>моногородов</a:t>
            </a:r>
          </a:p>
          <a:p>
            <a:pPr marL="764941" lvl="1" indent="-285750" algn="just">
              <a:lnSpc>
                <a:spcPct val="140000"/>
              </a:lnSpc>
              <a:buFont typeface="Courier New" panose="02070309020205020404" pitchFamily="49" charset="0"/>
              <a:buChar char="o"/>
            </a:pPr>
            <a:r>
              <a:rPr lang="ru-RU" sz="1650" b="1" dirty="0">
                <a:solidFill>
                  <a:prstClr val="black"/>
                </a:solidFill>
                <a:latin typeface="+mj-lt"/>
                <a:cs typeface="+mn-cs"/>
              </a:rPr>
              <a:t>Розничная/оптовая торговля на территориях </a:t>
            </a:r>
            <a:r>
              <a:rPr lang="ru-RU" sz="1650" b="1" dirty="0" smtClean="0">
                <a:solidFill>
                  <a:prstClr val="black"/>
                </a:solidFill>
                <a:latin typeface="+mj-lt"/>
                <a:cs typeface="+mn-cs"/>
              </a:rPr>
              <a:t>ДФО</a:t>
            </a:r>
            <a:r>
              <a:rPr lang="ru-RU" sz="1650" b="1" dirty="0">
                <a:solidFill>
                  <a:prstClr val="black"/>
                </a:solidFill>
                <a:latin typeface="+mj-lt"/>
                <a:cs typeface="+mn-cs"/>
              </a:rPr>
              <a:t>, СКФО, </a:t>
            </a:r>
            <a:r>
              <a:rPr lang="ru-RU" sz="1650" b="1" dirty="0" err="1" smtClean="0">
                <a:solidFill>
                  <a:prstClr val="black"/>
                </a:solidFill>
                <a:latin typeface="+mj-lt"/>
                <a:cs typeface="+mn-cs"/>
              </a:rPr>
              <a:t>Р.Крым</a:t>
            </a:r>
            <a:r>
              <a:rPr lang="ru-RU" sz="1650" b="1" dirty="0" smtClean="0">
                <a:solidFill>
                  <a:prstClr val="black"/>
                </a:solidFill>
                <a:latin typeface="+mj-lt"/>
                <a:cs typeface="+mn-cs"/>
              </a:rPr>
              <a:t> </a:t>
            </a:r>
            <a:r>
              <a:rPr lang="ru-RU" sz="1650" b="1" dirty="0">
                <a:solidFill>
                  <a:prstClr val="black"/>
                </a:solidFill>
                <a:latin typeface="+mj-lt"/>
                <a:cs typeface="+mn-cs"/>
              </a:rPr>
              <a:t>и </a:t>
            </a:r>
            <a:r>
              <a:rPr lang="ru-RU" sz="1650" b="1" dirty="0" smtClean="0">
                <a:solidFill>
                  <a:prstClr val="black"/>
                </a:solidFill>
                <a:latin typeface="+mj-lt"/>
                <a:cs typeface="+mn-cs"/>
              </a:rPr>
              <a:t>Севастополя</a:t>
            </a:r>
            <a:endParaRPr lang="ru-RU" sz="1650" b="1" dirty="0">
              <a:solidFill>
                <a:prstClr val="black"/>
              </a:solidFill>
              <a:latin typeface="+mj-lt"/>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dirty="0">
                <a:solidFill>
                  <a:prstClr val="black"/>
                </a:solidFill>
              </a:rPr>
              <a:t>Приоритетные </a:t>
            </a:r>
            <a:r>
              <a:rPr lang="ru-RU" b="1" dirty="0" smtClean="0">
                <a:solidFill>
                  <a:prstClr val="black"/>
                </a:solidFill>
              </a:rPr>
              <a:t>отрасли</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6</a:t>
            </a:r>
            <a:endParaRPr lang="ru-RU" sz="1400" dirty="0">
              <a:latin typeface="Arial Narrow" panose="020B0606020202030204" pitchFamily="34" charset="0"/>
            </a:endParaRPr>
          </a:p>
        </p:txBody>
      </p:sp>
    </p:spTree>
    <p:extLst>
      <p:ext uri="{BB962C8B-B14F-4D97-AF65-F5344CB8AC3E}">
        <p14:creationId xmlns:p14="http://schemas.microsoft.com/office/powerpoint/2010/main" val="36389740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smtClean="0"/>
              <a:t>4.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МП*</a:t>
            </a:r>
            <a:br>
              <a:rPr lang="ru-RU" dirty="0"/>
            </a:br>
            <a:r>
              <a:rPr lang="ru-RU" b="0" dirty="0"/>
              <a:t>Общая информация</a:t>
            </a:r>
            <a:endParaRPr lang="ru-RU" sz="2400" b="0" dirty="0"/>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93458" y="2410477"/>
            <a:ext cx="2236451" cy="738664"/>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400" b="1" i="0" u="none" strike="noStrike" kern="1200" cap="none" spc="0" normalizeH="0" baseline="0" noProof="0" dirty="0" smtClean="0">
                <a:ln>
                  <a:noFill/>
                </a:ln>
                <a:solidFill>
                  <a:srgbClr val="1F4E79"/>
                </a:solidFill>
                <a:effectLst/>
                <a:uLnTx/>
                <a:uFillTx/>
                <a:latin typeface="Arial" pitchFamily="34" charset="0"/>
                <a:ea typeface="+mn-ea"/>
                <a:cs typeface="Arial" pitchFamily="34" charset="0"/>
              </a:rPr>
              <a:t>Создание сети дочерних </a:t>
            </a:r>
            <a:r>
              <a:rPr kumimoji="0" lang="ru-RU" sz="1400" b="1" i="0" u="none" strike="noStrike" kern="1200" cap="none" spc="0" normalizeH="0" noProof="0" dirty="0" smtClean="0">
                <a:ln>
                  <a:noFill/>
                </a:ln>
                <a:solidFill>
                  <a:srgbClr val="1F4E79"/>
                </a:solidFill>
                <a:effectLst/>
                <a:uLnTx/>
                <a:uFillTx/>
                <a:latin typeface="Arial" pitchFamily="34" charset="0"/>
                <a:ea typeface="+mn-ea"/>
                <a:cs typeface="Arial" pitchFamily="34" charset="0"/>
              </a:rPr>
              <a:t>лизинговых компаний Корпорации</a:t>
            </a:r>
            <a:endParaRPr kumimoji="0" lang="ru-RU" sz="1400" b="1" i="0" u="none" strike="noStrike" kern="1200" cap="none" spc="0" normalizeH="0" baseline="0" noProof="0" dirty="0">
              <a:ln>
                <a:noFill/>
              </a:ln>
              <a:solidFill>
                <a:srgbClr val="1F4E79"/>
              </a:solidFill>
              <a:effectLst/>
              <a:uLnTx/>
              <a:uFillTx/>
              <a:latin typeface="Arial" pitchFamily="34" charset="0"/>
              <a:ea typeface="+mn-ea"/>
              <a:cs typeface="Arial" pitchFamily="34" charset="0"/>
            </a:endParaRPr>
          </a:p>
        </p:txBody>
      </p:sp>
      <p:sp>
        <p:nvSpPr>
          <p:cNvPr id="23" name="L-Shape 10"/>
          <p:cNvSpPr/>
          <p:nvPr/>
        </p:nvSpPr>
        <p:spPr>
          <a:xfrm rot="13701821">
            <a:off x="2243709" y="187688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119" b="0" i="0" u="none" strike="noStrike" kern="1200" cap="none" spc="0" normalizeH="0" baseline="0" noProof="0" dirty="0">
              <a:ln>
                <a:noFill/>
              </a:ln>
              <a:solidFill>
                <a:srgbClr val="0070C0"/>
              </a:solidFill>
              <a:effectLst/>
              <a:uLnTx/>
              <a:uFillTx/>
              <a:latin typeface="Arial"/>
              <a:ea typeface="+mn-ea"/>
              <a:cs typeface="+mn-cs"/>
            </a:endParaRPr>
          </a:p>
        </p:txBody>
      </p:sp>
      <p:sp>
        <p:nvSpPr>
          <p:cNvPr id="24" name="TextBox 23"/>
          <p:cNvSpPr txBox="1"/>
          <p:nvPr/>
        </p:nvSpPr>
        <p:spPr>
          <a:xfrm>
            <a:off x="377031" y="6112743"/>
            <a:ext cx="2152878" cy="738664"/>
          </a:xfrm>
          <a:prstGeom prst="rect">
            <a:avLst/>
          </a:prstGeom>
          <a:noFill/>
        </p:spPr>
        <p:txBody>
          <a:bodyPr wrap="square" rtlCol="0">
            <a:spAutoFit/>
          </a:bodyPr>
          <a:lstStyle/>
          <a:p>
            <a:pPr algn="ctr">
              <a:defRPr/>
            </a:pPr>
            <a:r>
              <a:rPr lang="ru-RU" sz="1400" b="1" dirty="0" smtClean="0">
                <a:solidFill>
                  <a:srgbClr val="1F4E79"/>
                </a:solidFill>
              </a:rPr>
              <a:t>Преимущества</a:t>
            </a:r>
            <a:endParaRPr lang="ru-RU" sz="1400" b="1" dirty="0">
              <a:solidFill>
                <a:srgbClr val="1F4E79"/>
              </a:solidFill>
            </a:endParaRPr>
          </a:p>
          <a:p>
            <a:pPr algn="ctr">
              <a:defRPr/>
            </a:pPr>
            <a:r>
              <a:rPr lang="ru-RU" sz="1400" b="1" dirty="0">
                <a:solidFill>
                  <a:srgbClr val="1F4E79"/>
                </a:solidFill>
              </a:rPr>
              <a:t>программы льготного лизинга</a:t>
            </a:r>
          </a:p>
        </p:txBody>
      </p:sp>
      <p:sp>
        <p:nvSpPr>
          <p:cNvPr id="25" name="L-Shape 10"/>
          <p:cNvSpPr/>
          <p:nvPr/>
        </p:nvSpPr>
        <p:spPr>
          <a:xfrm rot="13701821">
            <a:off x="2243709" y="5446946"/>
            <a:ext cx="442118" cy="442118"/>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119" b="0" i="0" u="none" strike="noStrike" kern="1200" cap="none" spc="0" normalizeH="0" baseline="0" noProof="0" dirty="0">
              <a:ln>
                <a:noFill/>
              </a:ln>
              <a:solidFill>
                <a:srgbClr val="0070C0"/>
              </a:solidFill>
              <a:effectLst/>
              <a:uLnTx/>
              <a:uFillTx/>
              <a:latin typeface="Arial"/>
              <a:ea typeface="+mn-ea"/>
              <a:cs typeface="+mn-cs"/>
            </a:endParaRPr>
          </a:p>
        </p:txBody>
      </p:sp>
      <p:grpSp>
        <p:nvGrpSpPr>
          <p:cNvPr id="26" name="Group 1462"/>
          <p:cNvGrpSpPr/>
          <p:nvPr/>
        </p:nvGrpSpPr>
        <p:grpSpPr>
          <a:xfrm>
            <a:off x="1104976" y="5260762"/>
            <a:ext cx="576347" cy="759618"/>
            <a:chOff x="2489201" y="17492663"/>
            <a:chExt cx="379413" cy="500063"/>
          </a:xfrm>
          <a:solidFill>
            <a:srgbClr val="1F4E79"/>
          </a:solidFill>
        </p:grpSpPr>
        <p:sp>
          <p:nvSpPr>
            <p:cNvPr id="27"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8"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9"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0"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1"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32"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algn="l" defTabSz="1020833" rtl="0" eaLnBrk="1" fontAlgn="base" latinLnBrk="0" hangingPunct="1">
                <a:lnSpc>
                  <a:spcPct val="100000"/>
                </a:lnSpc>
                <a:spcBef>
                  <a:spcPct val="0"/>
                </a:spcBef>
                <a:spcAft>
                  <a:spcPct val="0"/>
                </a:spcAft>
                <a:buClrTx/>
                <a:buSzTx/>
                <a:buFontTx/>
                <a:buNone/>
                <a:tabLst/>
                <a:defRPr/>
              </a:pPr>
              <a:endParaRPr kumimoji="0" lang="en-US" sz="2073"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grpSp>
      <p:cxnSp>
        <p:nvCxnSpPr>
          <p:cNvPr id="33" name="Прямая соединительная линия 32"/>
          <p:cNvCxnSpPr/>
          <p:nvPr/>
        </p:nvCxnSpPr>
        <p:spPr>
          <a:xfrm>
            <a:off x="217714" y="4212977"/>
            <a:ext cx="12036988" cy="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34" name="Freeform 464"/>
          <p:cNvSpPr>
            <a:spLocks noEditPoints="1"/>
          </p:cNvSpPr>
          <p:nvPr/>
        </p:nvSpPr>
        <p:spPr bwMode="auto">
          <a:xfrm>
            <a:off x="994755" y="1785858"/>
            <a:ext cx="796790" cy="556252"/>
          </a:xfrm>
          <a:custGeom>
            <a:avLst/>
            <a:gdLst>
              <a:gd name="T0" fmla="*/ 277 w 320"/>
              <a:gd name="T1" fmla="*/ 0 h 224"/>
              <a:gd name="T2" fmla="*/ 234 w 320"/>
              <a:gd name="T3" fmla="*/ 43 h 224"/>
              <a:gd name="T4" fmla="*/ 246 w 320"/>
              <a:gd name="T5" fmla="*/ 73 h 224"/>
              <a:gd name="T6" fmla="*/ 204 w 320"/>
              <a:gd name="T7" fmla="*/ 141 h 224"/>
              <a:gd name="T8" fmla="*/ 192 w 320"/>
              <a:gd name="T9" fmla="*/ 139 h 224"/>
              <a:gd name="T10" fmla="*/ 182 w 320"/>
              <a:gd name="T11" fmla="*/ 140 h 224"/>
              <a:gd name="T12" fmla="*/ 146 w 320"/>
              <a:gd name="T13" fmla="*/ 74 h 224"/>
              <a:gd name="T14" fmla="*/ 160 w 320"/>
              <a:gd name="T15" fmla="*/ 43 h 224"/>
              <a:gd name="T16" fmla="*/ 117 w 320"/>
              <a:gd name="T17" fmla="*/ 0 h 224"/>
              <a:gd name="T18" fmla="*/ 74 w 320"/>
              <a:gd name="T19" fmla="*/ 43 h 224"/>
              <a:gd name="T20" fmla="*/ 88 w 320"/>
              <a:gd name="T21" fmla="*/ 74 h 224"/>
              <a:gd name="T22" fmla="*/ 52 w 320"/>
              <a:gd name="T23" fmla="*/ 140 h 224"/>
              <a:gd name="T24" fmla="*/ 42 w 320"/>
              <a:gd name="T25" fmla="*/ 139 h 224"/>
              <a:gd name="T26" fmla="*/ 0 w 320"/>
              <a:gd name="T27" fmla="*/ 182 h 224"/>
              <a:gd name="T28" fmla="*/ 42 w 320"/>
              <a:gd name="T29" fmla="*/ 224 h 224"/>
              <a:gd name="T30" fmla="*/ 85 w 320"/>
              <a:gd name="T31" fmla="*/ 182 h 224"/>
              <a:gd name="T32" fmla="*/ 71 w 320"/>
              <a:gd name="T33" fmla="*/ 150 h 224"/>
              <a:gd name="T34" fmla="*/ 107 w 320"/>
              <a:gd name="T35" fmla="*/ 84 h 224"/>
              <a:gd name="T36" fmla="*/ 117 w 320"/>
              <a:gd name="T37" fmla="*/ 86 h 224"/>
              <a:gd name="T38" fmla="*/ 127 w 320"/>
              <a:gd name="T39" fmla="*/ 84 h 224"/>
              <a:gd name="T40" fmla="*/ 163 w 320"/>
              <a:gd name="T41" fmla="*/ 150 h 224"/>
              <a:gd name="T42" fmla="*/ 149 w 320"/>
              <a:gd name="T43" fmla="*/ 182 h 224"/>
              <a:gd name="T44" fmla="*/ 192 w 320"/>
              <a:gd name="T45" fmla="*/ 224 h 224"/>
              <a:gd name="T46" fmla="*/ 234 w 320"/>
              <a:gd name="T47" fmla="*/ 182 h 224"/>
              <a:gd name="T48" fmla="*/ 222 w 320"/>
              <a:gd name="T49" fmla="*/ 152 h 224"/>
              <a:gd name="T50" fmla="*/ 265 w 320"/>
              <a:gd name="T51" fmla="*/ 84 h 224"/>
              <a:gd name="T52" fmla="*/ 277 w 320"/>
              <a:gd name="T53" fmla="*/ 86 h 224"/>
              <a:gd name="T54" fmla="*/ 320 w 320"/>
              <a:gd name="T55" fmla="*/ 43 h 224"/>
              <a:gd name="T56" fmla="*/ 277 w 320"/>
              <a:gd name="T57" fmla="*/ 0 h 224"/>
              <a:gd name="T58" fmla="*/ 42 w 320"/>
              <a:gd name="T59" fmla="*/ 203 h 224"/>
              <a:gd name="T60" fmla="*/ 21 w 320"/>
              <a:gd name="T61" fmla="*/ 182 h 224"/>
              <a:gd name="T62" fmla="*/ 42 w 320"/>
              <a:gd name="T63" fmla="*/ 160 h 224"/>
              <a:gd name="T64" fmla="*/ 64 w 320"/>
              <a:gd name="T65" fmla="*/ 182 h 224"/>
              <a:gd name="T66" fmla="*/ 42 w 320"/>
              <a:gd name="T67" fmla="*/ 203 h 224"/>
              <a:gd name="T68" fmla="*/ 96 w 320"/>
              <a:gd name="T69" fmla="*/ 43 h 224"/>
              <a:gd name="T70" fmla="*/ 117 w 320"/>
              <a:gd name="T71" fmla="*/ 22 h 224"/>
              <a:gd name="T72" fmla="*/ 138 w 320"/>
              <a:gd name="T73" fmla="*/ 43 h 224"/>
              <a:gd name="T74" fmla="*/ 117 w 320"/>
              <a:gd name="T75" fmla="*/ 64 h 224"/>
              <a:gd name="T76" fmla="*/ 96 w 320"/>
              <a:gd name="T77" fmla="*/ 43 h 224"/>
              <a:gd name="T78" fmla="*/ 192 w 320"/>
              <a:gd name="T79" fmla="*/ 203 h 224"/>
              <a:gd name="T80" fmla="*/ 170 w 320"/>
              <a:gd name="T81" fmla="*/ 182 h 224"/>
              <a:gd name="T82" fmla="*/ 192 w 320"/>
              <a:gd name="T83" fmla="*/ 160 h 224"/>
              <a:gd name="T84" fmla="*/ 213 w 320"/>
              <a:gd name="T85" fmla="*/ 182 h 224"/>
              <a:gd name="T86" fmla="*/ 192 w 320"/>
              <a:gd name="T87" fmla="*/ 203 h 224"/>
              <a:gd name="T88" fmla="*/ 277 w 320"/>
              <a:gd name="T89" fmla="*/ 64 h 224"/>
              <a:gd name="T90" fmla="*/ 256 w 320"/>
              <a:gd name="T91" fmla="*/ 43 h 224"/>
              <a:gd name="T92" fmla="*/ 277 w 320"/>
              <a:gd name="T93" fmla="*/ 22 h 224"/>
              <a:gd name="T94" fmla="*/ 298 w 320"/>
              <a:gd name="T95" fmla="*/ 43 h 224"/>
              <a:gd name="T96" fmla="*/ 277 w 320"/>
              <a:gd name="T97" fmla="*/ 6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224">
                <a:moveTo>
                  <a:pt x="277" y="0"/>
                </a:moveTo>
                <a:cubicBezTo>
                  <a:pt x="253" y="0"/>
                  <a:pt x="234" y="19"/>
                  <a:pt x="234" y="43"/>
                </a:cubicBezTo>
                <a:cubicBezTo>
                  <a:pt x="234" y="54"/>
                  <a:pt x="239" y="65"/>
                  <a:pt x="246" y="73"/>
                </a:cubicBezTo>
                <a:cubicBezTo>
                  <a:pt x="204" y="141"/>
                  <a:pt x="204" y="141"/>
                  <a:pt x="204" y="141"/>
                </a:cubicBezTo>
                <a:cubicBezTo>
                  <a:pt x="200" y="140"/>
                  <a:pt x="196" y="139"/>
                  <a:pt x="192" y="139"/>
                </a:cubicBezTo>
                <a:cubicBezTo>
                  <a:pt x="188" y="139"/>
                  <a:pt x="185" y="140"/>
                  <a:pt x="182" y="140"/>
                </a:cubicBezTo>
                <a:cubicBezTo>
                  <a:pt x="146" y="74"/>
                  <a:pt x="146" y="74"/>
                  <a:pt x="146" y="74"/>
                </a:cubicBezTo>
                <a:cubicBezTo>
                  <a:pt x="154" y="66"/>
                  <a:pt x="160" y="55"/>
                  <a:pt x="160" y="43"/>
                </a:cubicBezTo>
                <a:cubicBezTo>
                  <a:pt x="160" y="19"/>
                  <a:pt x="141" y="0"/>
                  <a:pt x="117" y="0"/>
                </a:cubicBezTo>
                <a:cubicBezTo>
                  <a:pt x="93" y="0"/>
                  <a:pt x="74" y="19"/>
                  <a:pt x="74" y="43"/>
                </a:cubicBezTo>
                <a:cubicBezTo>
                  <a:pt x="74" y="55"/>
                  <a:pt x="80" y="66"/>
                  <a:pt x="88" y="74"/>
                </a:cubicBezTo>
                <a:cubicBezTo>
                  <a:pt x="52" y="140"/>
                  <a:pt x="52" y="140"/>
                  <a:pt x="52" y="140"/>
                </a:cubicBezTo>
                <a:cubicBezTo>
                  <a:pt x="49" y="140"/>
                  <a:pt x="46" y="139"/>
                  <a:pt x="42" y="139"/>
                </a:cubicBezTo>
                <a:cubicBezTo>
                  <a:pt x="19" y="139"/>
                  <a:pt x="0" y="158"/>
                  <a:pt x="0" y="182"/>
                </a:cubicBezTo>
                <a:cubicBezTo>
                  <a:pt x="0" y="205"/>
                  <a:pt x="19" y="224"/>
                  <a:pt x="42" y="224"/>
                </a:cubicBezTo>
                <a:cubicBezTo>
                  <a:pt x="66" y="224"/>
                  <a:pt x="85" y="205"/>
                  <a:pt x="85" y="182"/>
                </a:cubicBezTo>
                <a:cubicBezTo>
                  <a:pt x="85" y="169"/>
                  <a:pt x="80" y="158"/>
                  <a:pt x="71" y="150"/>
                </a:cubicBezTo>
                <a:cubicBezTo>
                  <a:pt x="107" y="84"/>
                  <a:pt x="107" y="84"/>
                  <a:pt x="107" y="84"/>
                </a:cubicBezTo>
                <a:cubicBezTo>
                  <a:pt x="110" y="85"/>
                  <a:pt x="113" y="86"/>
                  <a:pt x="117" y="86"/>
                </a:cubicBezTo>
                <a:cubicBezTo>
                  <a:pt x="121" y="86"/>
                  <a:pt x="124" y="85"/>
                  <a:pt x="127" y="84"/>
                </a:cubicBezTo>
                <a:cubicBezTo>
                  <a:pt x="163" y="150"/>
                  <a:pt x="163" y="150"/>
                  <a:pt x="163" y="150"/>
                </a:cubicBezTo>
                <a:cubicBezTo>
                  <a:pt x="154" y="158"/>
                  <a:pt x="149" y="169"/>
                  <a:pt x="149" y="182"/>
                </a:cubicBezTo>
                <a:cubicBezTo>
                  <a:pt x="149" y="205"/>
                  <a:pt x="168" y="224"/>
                  <a:pt x="192" y="224"/>
                </a:cubicBezTo>
                <a:cubicBezTo>
                  <a:pt x="215" y="224"/>
                  <a:pt x="234" y="205"/>
                  <a:pt x="234" y="182"/>
                </a:cubicBezTo>
                <a:cubicBezTo>
                  <a:pt x="234" y="170"/>
                  <a:pt x="230" y="160"/>
                  <a:pt x="222" y="152"/>
                </a:cubicBezTo>
                <a:cubicBezTo>
                  <a:pt x="265" y="84"/>
                  <a:pt x="265" y="84"/>
                  <a:pt x="265" y="84"/>
                </a:cubicBezTo>
                <a:cubicBezTo>
                  <a:pt x="269" y="85"/>
                  <a:pt x="273" y="86"/>
                  <a:pt x="277" y="86"/>
                </a:cubicBezTo>
                <a:cubicBezTo>
                  <a:pt x="301" y="86"/>
                  <a:pt x="320" y="67"/>
                  <a:pt x="320" y="43"/>
                </a:cubicBezTo>
                <a:cubicBezTo>
                  <a:pt x="320" y="19"/>
                  <a:pt x="301" y="0"/>
                  <a:pt x="277" y="0"/>
                </a:cubicBezTo>
                <a:close/>
                <a:moveTo>
                  <a:pt x="42" y="203"/>
                </a:moveTo>
                <a:cubicBezTo>
                  <a:pt x="31" y="203"/>
                  <a:pt x="21" y="193"/>
                  <a:pt x="21" y="182"/>
                </a:cubicBezTo>
                <a:cubicBezTo>
                  <a:pt x="21" y="170"/>
                  <a:pt x="31" y="160"/>
                  <a:pt x="42" y="160"/>
                </a:cubicBezTo>
                <a:cubicBezTo>
                  <a:pt x="54" y="160"/>
                  <a:pt x="64" y="170"/>
                  <a:pt x="64" y="182"/>
                </a:cubicBezTo>
                <a:cubicBezTo>
                  <a:pt x="64" y="193"/>
                  <a:pt x="54" y="203"/>
                  <a:pt x="42" y="203"/>
                </a:cubicBezTo>
                <a:close/>
                <a:moveTo>
                  <a:pt x="96" y="43"/>
                </a:moveTo>
                <a:cubicBezTo>
                  <a:pt x="96" y="31"/>
                  <a:pt x="105" y="22"/>
                  <a:pt x="117" y="22"/>
                </a:cubicBezTo>
                <a:cubicBezTo>
                  <a:pt x="129" y="22"/>
                  <a:pt x="138" y="31"/>
                  <a:pt x="138" y="43"/>
                </a:cubicBezTo>
                <a:cubicBezTo>
                  <a:pt x="138" y="55"/>
                  <a:pt x="129" y="64"/>
                  <a:pt x="117" y="64"/>
                </a:cubicBezTo>
                <a:cubicBezTo>
                  <a:pt x="105" y="64"/>
                  <a:pt x="96" y="55"/>
                  <a:pt x="96" y="43"/>
                </a:cubicBezTo>
                <a:close/>
                <a:moveTo>
                  <a:pt x="192" y="203"/>
                </a:moveTo>
                <a:cubicBezTo>
                  <a:pt x="180" y="203"/>
                  <a:pt x="170" y="193"/>
                  <a:pt x="170" y="182"/>
                </a:cubicBezTo>
                <a:cubicBezTo>
                  <a:pt x="170" y="170"/>
                  <a:pt x="180" y="160"/>
                  <a:pt x="192" y="160"/>
                </a:cubicBezTo>
                <a:cubicBezTo>
                  <a:pt x="203" y="160"/>
                  <a:pt x="213" y="170"/>
                  <a:pt x="213" y="182"/>
                </a:cubicBezTo>
                <a:cubicBezTo>
                  <a:pt x="213" y="193"/>
                  <a:pt x="203" y="203"/>
                  <a:pt x="192" y="203"/>
                </a:cubicBezTo>
                <a:close/>
                <a:moveTo>
                  <a:pt x="277" y="64"/>
                </a:moveTo>
                <a:cubicBezTo>
                  <a:pt x="265" y="64"/>
                  <a:pt x="256" y="55"/>
                  <a:pt x="256" y="43"/>
                </a:cubicBezTo>
                <a:cubicBezTo>
                  <a:pt x="256" y="31"/>
                  <a:pt x="265" y="22"/>
                  <a:pt x="277" y="22"/>
                </a:cubicBezTo>
                <a:cubicBezTo>
                  <a:pt x="289" y="22"/>
                  <a:pt x="298" y="31"/>
                  <a:pt x="298" y="43"/>
                </a:cubicBezTo>
                <a:cubicBezTo>
                  <a:pt x="298" y="55"/>
                  <a:pt x="289" y="64"/>
                  <a:pt x="277" y="64"/>
                </a:cubicBezTo>
                <a:close/>
              </a:path>
            </a:pathLst>
          </a:custGeom>
          <a:solidFill>
            <a:srgbClr val="1F4E7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2119"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5" name="Прямоугольник 34"/>
          <p:cNvSpPr/>
          <p:nvPr/>
        </p:nvSpPr>
        <p:spPr>
          <a:xfrm>
            <a:off x="362268" y="8218714"/>
            <a:ext cx="11045961" cy="266420"/>
          </a:xfrm>
          <a:prstGeom prst="rect">
            <a:avLst/>
          </a:prstGeom>
        </p:spPr>
        <p:txBody>
          <a:bodyPr wrap="square" lIns="72000" tIns="108000" rIns="36000" bIns="0" anchor="t">
            <a:noAutofit/>
          </a:bodyPr>
          <a:lstStyle/>
          <a:p>
            <a:r>
              <a:rPr lang="ru-RU" sz="900" dirty="0">
                <a:solidFill>
                  <a:schemeClr val="bg1">
                    <a:lumMod val="65000"/>
                  </a:schemeClr>
                </a:solidFill>
              </a:rPr>
              <a:t>* ЮЛ и ИП, отнесенные к категории субъекта «Микропредприятия» или «Малые предприятия» в соответствии с Федеральным законом от 24 июля 2007 г. № 209-ФЗ</a:t>
            </a:r>
            <a:r>
              <a:rPr lang="ru-RU" sz="900" dirty="0" smtClean="0">
                <a:solidFill>
                  <a:schemeClr val="bg1">
                    <a:lumMod val="65000"/>
                  </a:schemeClr>
                </a:solidFill>
              </a:rPr>
              <a:t>.</a:t>
            </a:r>
            <a:endParaRPr lang="en-US" sz="900" dirty="0">
              <a:solidFill>
                <a:schemeClr val="bg1">
                  <a:lumMod val="65000"/>
                </a:schemeClr>
              </a:solidFill>
            </a:endParaRPr>
          </a:p>
        </p:txBody>
      </p:sp>
      <p:sp>
        <p:nvSpPr>
          <p:cNvPr id="36" name="Прямоугольник 35"/>
          <p:cNvSpPr/>
          <p:nvPr/>
        </p:nvSpPr>
        <p:spPr>
          <a:xfrm>
            <a:off x="3081656" y="1419993"/>
            <a:ext cx="9086532" cy="1910079"/>
          </a:xfrm>
          <a:prstGeom prst="rect">
            <a:avLst/>
          </a:prstGeom>
        </p:spPr>
        <p:txBody>
          <a:bodyPr wrap="square" lIns="72000" tIns="108000" rIns="36000" bIns="0" anchor="t">
            <a:noAutofit/>
          </a:bodyPr>
          <a:lstStyle/>
          <a:p>
            <a:pPr marL="171450" lvl="1" indent="-171450" defTabSz="957263">
              <a:lnSpc>
                <a:spcPct val="120000"/>
              </a:lnSpc>
              <a:spcBef>
                <a:spcPts val="300"/>
              </a:spcBef>
              <a:buFont typeface="Arial" panose="020B0604020202020204" pitchFamily="34" charset="0"/>
              <a:buChar char="•"/>
            </a:pPr>
            <a:r>
              <a:rPr lang="ru-RU" sz="1400" dirty="0" smtClean="0"/>
              <a:t>Программа льготного лизинга в 2019 году реализуется через сеть региональных </a:t>
            </a:r>
            <a:r>
              <a:rPr lang="ru-RU" sz="1400" dirty="0"/>
              <a:t>лизинговых компаний (РЛК</a:t>
            </a:r>
            <a:r>
              <a:rPr lang="ru-RU" sz="1400" dirty="0" smtClean="0"/>
              <a:t>) с уставным капиталом в размере 2 млрд рублей каждая</a:t>
            </a:r>
            <a:r>
              <a:rPr lang="ru-RU" sz="1400" dirty="0"/>
              <a:t>:</a:t>
            </a:r>
            <a:endParaRPr lang="ru-RU" sz="1400" dirty="0" smtClean="0"/>
          </a:p>
          <a:p>
            <a:pPr marL="650642" lvl="2" indent="-171450" defTabSz="957263">
              <a:lnSpc>
                <a:spcPct val="120000"/>
              </a:lnSpc>
              <a:spcBef>
                <a:spcPts val="300"/>
              </a:spcBef>
              <a:buFont typeface="Arial" panose="020B0604020202020204" pitchFamily="34" charset="0"/>
              <a:buChar char="•"/>
            </a:pPr>
            <a:r>
              <a:rPr lang="ru-RU" sz="1400" dirty="0" smtClean="0"/>
              <a:t>«РЛК </a:t>
            </a:r>
            <a:r>
              <a:rPr lang="ru-RU" sz="1400" dirty="0"/>
              <a:t>Республики Татарстан» (</a:t>
            </a:r>
            <a:r>
              <a:rPr lang="ru-RU" sz="1400" dirty="0" smtClean="0"/>
              <a:t>г. Казань)</a:t>
            </a:r>
            <a:r>
              <a:rPr lang="en-US" sz="1400" dirty="0" smtClean="0"/>
              <a:t>;</a:t>
            </a:r>
            <a:endParaRPr lang="ru-RU" sz="1400" dirty="0" smtClean="0"/>
          </a:p>
          <a:p>
            <a:pPr marL="650642" lvl="2" indent="-171450" defTabSz="957263">
              <a:lnSpc>
                <a:spcPct val="120000"/>
              </a:lnSpc>
              <a:spcBef>
                <a:spcPts val="300"/>
              </a:spcBef>
              <a:buFont typeface="Arial" panose="020B0604020202020204" pitchFamily="34" charset="0"/>
              <a:buChar char="•"/>
            </a:pPr>
            <a:r>
              <a:rPr lang="ru-RU" sz="1400" dirty="0" smtClean="0"/>
              <a:t>«РЛК </a:t>
            </a:r>
            <a:r>
              <a:rPr lang="ru-RU" sz="1400" dirty="0"/>
              <a:t>Республики Башкортостан»</a:t>
            </a:r>
            <a:r>
              <a:rPr lang="en-US" sz="1400" dirty="0"/>
              <a:t> </a:t>
            </a:r>
            <a:r>
              <a:rPr lang="ru-RU" sz="1400" dirty="0"/>
              <a:t>(</a:t>
            </a:r>
            <a:r>
              <a:rPr lang="ru-RU" sz="1400" dirty="0" smtClean="0"/>
              <a:t>г</a:t>
            </a:r>
            <a:r>
              <a:rPr lang="ru-RU" sz="1400" dirty="0"/>
              <a:t>. </a:t>
            </a:r>
            <a:r>
              <a:rPr lang="ru-RU" sz="1400" dirty="0" smtClean="0"/>
              <a:t>Уфа)</a:t>
            </a:r>
            <a:r>
              <a:rPr lang="en-US" sz="1400" dirty="0" smtClean="0"/>
              <a:t>;</a:t>
            </a:r>
            <a:endParaRPr lang="ru-RU" sz="1400" dirty="0" smtClean="0"/>
          </a:p>
          <a:p>
            <a:pPr marL="650642" lvl="2" indent="-171450" defTabSz="957263">
              <a:lnSpc>
                <a:spcPct val="120000"/>
              </a:lnSpc>
              <a:spcBef>
                <a:spcPts val="300"/>
              </a:spcBef>
              <a:buFont typeface="Arial" panose="020B0604020202020204" pitchFamily="34" charset="0"/>
              <a:buChar char="•"/>
            </a:pPr>
            <a:r>
              <a:rPr lang="ru-RU" sz="1400" dirty="0" smtClean="0"/>
              <a:t>«РЛК Ярославской области»</a:t>
            </a:r>
            <a:r>
              <a:rPr lang="en-US" sz="1400" dirty="0" smtClean="0"/>
              <a:t> </a:t>
            </a:r>
            <a:r>
              <a:rPr lang="ru-RU" sz="1400" dirty="0"/>
              <a:t>(</a:t>
            </a:r>
            <a:r>
              <a:rPr lang="ru-RU" sz="1400" dirty="0" smtClean="0"/>
              <a:t>г</a:t>
            </a:r>
            <a:r>
              <a:rPr lang="ru-RU" sz="1400" dirty="0"/>
              <a:t>. </a:t>
            </a:r>
            <a:r>
              <a:rPr lang="ru-RU" sz="1400" dirty="0" smtClean="0"/>
              <a:t>Ярославль)</a:t>
            </a:r>
            <a:r>
              <a:rPr lang="en-US" sz="1400" dirty="0" smtClean="0"/>
              <a:t>;</a:t>
            </a:r>
            <a:endParaRPr lang="ru-RU" sz="1400" dirty="0" smtClean="0"/>
          </a:p>
          <a:p>
            <a:pPr marL="650642" lvl="2" indent="-171450" defTabSz="957263">
              <a:lnSpc>
                <a:spcPct val="120000"/>
              </a:lnSpc>
              <a:spcBef>
                <a:spcPts val="300"/>
              </a:spcBef>
              <a:buFont typeface="Arial" panose="020B0604020202020204" pitchFamily="34" charset="0"/>
              <a:buChar char="•"/>
            </a:pPr>
            <a:r>
              <a:rPr lang="ru-RU" sz="1400" dirty="0" smtClean="0"/>
              <a:t>«РЛК Республики Саха (Якутия)»</a:t>
            </a:r>
            <a:r>
              <a:rPr lang="en-US" sz="1400" dirty="0" smtClean="0"/>
              <a:t> </a:t>
            </a:r>
            <a:r>
              <a:rPr lang="ru-RU" sz="1400" dirty="0"/>
              <a:t>(</a:t>
            </a:r>
            <a:r>
              <a:rPr lang="ru-RU" sz="1400" dirty="0" smtClean="0"/>
              <a:t>г</a:t>
            </a:r>
            <a:r>
              <a:rPr lang="ru-RU" sz="1400" dirty="0"/>
              <a:t>. </a:t>
            </a:r>
            <a:r>
              <a:rPr lang="ru-RU" sz="1400" dirty="0" smtClean="0"/>
              <a:t>Якутск).</a:t>
            </a:r>
            <a:endParaRPr lang="en-US" sz="1400" dirty="0" smtClean="0"/>
          </a:p>
        </p:txBody>
      </p:sp>
      <p:sp>
        <p:nvSpPr>
          <p:cNvPr id="37" name="TextBox 36"/>
          <p:cNvSpPr txBox="1"/>
          <p:nvPr/>
        </p:nvSpPr>
        <p:spPr>
          <a:xfrm>
            <a:off x="293458" y="3593352"/>
            <a:ext cx="12050941" cy="523220"/>
          </a:xfrm>
          <a:prstGeom prst="rect">
            <a:avLst/>
          </a:prstGeom>
          <a:noFill/>
        </p:spPr>
        <p:txBody>
          <a:bodyPr wrap="square" rtlCol="0">
            <a:spAutoFit/>
          </a:bodyPr>
          <a:lstStyle/>
          <a:p>
            <a:pPr algn="ctr"/>
            <a:r>
              <a:rPr lang="ru-RU" sz="1400" b="1" dirty="0" smtClean="0">
                <a:solidFill>
                  <a:srgbClr val="1F4E79"/>
                </a:solidFill>
              </a:rPr>
              <a:t>РЛК предоставляют лизинговое финансирование на всей территории Российской Федерации вне зависимости от местонахождения лизингополучателя</a:t>
            </a:r>
            <a:endParaRPr lang="ru-RU" sz="1400" b="1" dirty="0">
              <a:solidFill>
                <a:srgbClr val="1F4E79"/>
              </a:solidFill>
            </a:endParaRPr>
          </a:p>
        </p:txBody>
      </p:sp>
      <p:sp>
        <p:nvSpPr>
          <p:cNvPr id="38" name="Прямоугольник 37"/>
          <p:cNvSpPr/>
          <p:nvPr/>
        </p:nvSpPr>
        <p:spPr>
          <a:xfrm>
            <a:off x="2595226" y="4636914"/>
            <a:ext cx="9572962" cy="3189914"/>
          </a:xfrm>
          <a:prstGeom prst="rect">
            <a:avLst/>
          </a:prstGeom>
        </p:spPr>
        <p:txBody>
          <a:bodyPr wrap="square" lIns="72000" tIns="108000" rIns="36000" bIns="0" anchor="t">
            <a:noAutofit/>
          </a:bodyPr>
          <a:lstStyle/>
          <a:p>
            <a:pPr marL="650642" lvl="2" indent="-171450" defTabSz="957263">
              <a:lnSpc>
                <a:spcPct val="120000"/>
              </a:lnSpc>
              <a:spcBef>
                <a:spcPts val="300"/>
              </a:spcBef>
              <a:buFont typeface="Arial" panose="020B0604020202020204" pitchFamily="34" charset="0"/>
              <a:buChar char="•"/>
            </a:pPr>
            <a:r>
              <a:rPr lang="ru-RU" sz="1400" dirty="0"/>
              <a:t>Льготные процентные </a:t>
            </a:r>
            <a:r>
              <a:rPr lang="ru-RU" sz="1400" dirty="0" smtClean="0"/>
              <a:t>ставки: 6% для российского оборудования, 8% для иностранного оборудования</a:t>
            </a:r>
            <a:r>
              <a:rPr lang="en-US" sz="1400" dirty="0" smtClean="0"/>
              <a:t>;</a:t>
            </a:r>
            <a:endParaRPr lang="ru-RU" sz="1400" dirty="0"/>
          </a:p>
          <a:p>
            <a:pPr marL="650642" lvl="2" indent="-171450" defTabSz="957263">
              <a:lnSpc>
                <a:spcPct val="120000"/>
              </a:lnSpc>
              <a:spcBef>
                <a:spcPts val="300"/>
              </a:spcBef>
              <a:buFont typeface="Arial" panose="020B0604020202020204" pitchFamily="34" charset="0"/>
              <a:buChar char="•"/>
            </a:pPr>
            <a:r>
              <a:rPr lang="ru-RU" sz="1400" dirty="0"/>
              <a:t>Лизинг представляет собой беззалоговое финансирование, обеспечением является сам предмет лизинга</a:t>
            </a:r>
            <a:r>
              <a:rPr lang="en-US" sz="1400" dirty="0"/>
              <a:t>;</a:t>
            </a:r>
            <a:endParaRPr lang="ru-RU" sz="1400" dirty="0"/>
          </a:p>
          <a:p>
            <a:pPr marL="650642" lvl="2" indent="-171450" defTabSz="957263">
              <a:lnSpc>
                <a:spcPct val="120000"/>
              </a:lnSpc>
              <a:spcBef>
                <a:spcPts val="300"/>
              </a:spcBef>
              <a:buFont typeface="Arial" panose="020B0604020202020204" pitchFamily="34" charset="0"/>
              <a:buChar char="•"/>
            </a:pPr>
            <a:r>
              <a:rPr lang="ru-RU" sz="1400" dirty="0"/>
              <a:t>Лизинговая компания самостоятельно приобретает у поставщика оборудование и передает его во временное пользование и владение лизингополучателю</a:t>
            </a:r>
            <a:r>
              <a:rPr lang="en-US" sz="1400" dirty="0"/>
              <a:t>;</a:t>
            </a:r>
          </a:p>
          <a:p>
            <a:pPr marL="650642" lvl="2" indent="-171450" defTabSz="957263">
              <a:lnSpc>
                <a:spcPct val="120000"/>
              </a:lnSpc>
              <a:spcBef>
                <a:spcPts val="300"/>
              </a:spcBef>
              <a:buFont typeface="Arial" panose="020B0604020202020204" pitchFamily="34" charset="0"/>
              <a:buChar char="•"/>
            </a:pPr>
            <a:r>
              <a:rPr lang="ru-RU" sz="1400" dirty="0"/>
              <a:t>Лизингополучатель не ограничен в выборе оборудования и поставщика оборудования</a:t>
            </a:r>
            <a:r>
              <a:rPr lang="en-US" sz="1400" dirty="0"/>
              <a:t>;</a:t>
            </a:r>
          </a:p>
          <a:p>
            <a:pPr marL="650642" lvl="2" indent="-171450" defTabSz="957263">
              <a:lnSpc>
                <a:spcPct val="120000"/>
              </a:lnSpc>
              <a:spcBef>
                <a:spcPts val="300"/>
              </a:spcBef>
              <a:buFont typeface="Arial" panose="020B0604020202020204" pitchFamily="34" charset="0"/>
              <a:buChar char="•"/>
            </a:pPr>
            <a:r>
              <a:rPr lang="ru-RU" sz="1400" dirty="0"/>
              <a:t>Лизингополучатель вправе выбрать график платежей исходя из сезонности бизнеса</a:t>
            </a:r>
            <a:r>
              <a:rPr lang="en-US" sz="1400" dirty="0"/>
              <a:t>;</a:t>
            </a:r>
          </a:p>
          <a:p>
            <a:pPr marL="650642" lvl="2" indent="-171450" defTabSz="957263">
              <a:lnSpc>
                <a:spcPct val="120000"/>
              </a:lnSpc>
              <a:spcBef>
                <a:spcPts val="300"/>
              </a:spcBef>
              <a:buFont typeface="Arial" panose="020B0604020202020204" pitchFamily="34" charset="0"/>
              <a:buChar char="•"/>
            </a:pPr>
            <a:r>
              <a:rPr lang="ru-RU" sz="1400" dirty="0"/>
              <a:t>Первый лизинговый платеж оплачивается через 30 дней после подписания акта приема-передачи</a:t>
            </a:r>
            <a:r>
              <a:rPr lang="en-US" sz="1400" dirty="0"/>
              <a:t>;</a:t>
            </a:r>
            <a:endParaRPr lang="ru-RU" sz="1400" dirty="0"/>
          </a:p>
          <a:p>
            <a:pPr marL="650642" lvl="2" indent="-171450" defTabSz="957263">
              <a:lnSpc>
                <a:spcPct val="120000"/>
              </a:lnSpc>
              <a:spcBef>
                <a:spcPts val="300"/>
              </a:spcBef>
              <a:buFont typeface="Arial" panose="020B0604020202020204" pitchFamily="34" charset="0"/>
              <a:buChar char="•"/>
            </a:pPr>
            <a:r>
              <a:rPr lang="ru-RU" sz="1400" dirty="0"/>
              <a:t>Существует возможность привлечения региональных гарантийных организаций в качестве поручителя</a:t>
            </a:r>
            <a:r>
              <a:rPr lang="en-US" sz="1400" dirty="0"/>
              <a:t>.</a:t>
            </a:r>
            <a:endParaRPr lang="ru-RU" sz="1400" dirty="0"/>
          </a:p>
        </p:txBody>
      </p:sp>
    </p:spTree>
    <p:extLst>
      <p:ext uri="{BB962C8B-B14F-4D97-AF65-F5344CB8AC3E}">
        <p14:creationId xmlns:p14="http://schemas.microsoft.com/office/powerpoint/2010/main" val="39841270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a:t>
            </a:r>
            <a:r>
              <a:rPr lang="ru-RU" dirty="0" smtClean="0"/>
              <a:t>поддержки</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55</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13</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309</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smtClean="0"/>
              <a:t>22</a:t>
            </a:r>
            <a:r>
              <a:rPr lang="ru-RU" smtClean="0"/>
              <a:t> </a:t>
            </a:r>
            <a:endParaRPr lang="ru-RU" dirty="0" smtClean="0"/>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й</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финансовой </a:t>
              </a:r>
              <a:r>
                <a:rPr lang="ru-RU" sz="1800" kern="0" dirty="0">
                  <a:latin typeface="Arial Narrow" panose="020B0606020202030204" pitchFamily="34" charset="0"/>
                </a:rPr>
                <a:t>поддержки </a:t>
              </a:r>
              <a:r>
                <a:rPr lang="ru-RU" sz="1800" kern="0" dirty="0" smtClean="0">
                  <a:latin typeface="Arial Narrow" panose="020B0606020202030204" pitchFamily="34" charset="0"/>
                </a:rPr>
                <a:t>с гарантийной поддержкой</a:t>
              </a:r>
              <a:endParaRPr lang="ru-RU" sz="1800" kern="0" dirty="0">
                <a:latin typeface="Arial Narrow" panose="020B0606020202030204" pitchFamily="34" charset="0"/>
              </a:endParaRP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70</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й</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6</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98686" y="391395"/>
            <a:ext cx="8827415" cy="698685"/>
          </a:xfrm>
        </p:spPr>
        <p:txBody>
          <a:bodyPr/>
          <a:lstStyle/>
          <a:p>
            <a:pPr algn="ctr"/>
            <a:r>
              <a:rPr lang="ru-RU" dirty="0"/>
              <a:t>Лизинговые продукты для приобретения оборудования в рамках Программы льготного лизинг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320" name="Таблица 319"/>
          <p:cNvGraphicFramePr>
            <a:graphicFrameLocks noGrp="1"/>
          </p:cNvGraphicFramePr>
          <p:nvPr>
            <p:extLst/>
          </p:nvPr>
        </p:nvGraphicFramePr>
        <p:xfrm>
          <a:off x="139983" y="1342540"/>
          <a:ext cx="12114716" cy="3900733"/>
        </p:xfrm>
        <a:graphic>
          <a:graphicData uri="http://schemas.openxmlformats.org/drawingml/2006/table">
            <a:tbl>
              <a:tblPr/>
              <a:tblGrid>
                <a:gridCol w="1329221">
                  <a:extLst>
                    <a:ext uri="{9D8B030D-6E8A-4147-A177-3AD203B41FA5}">
                      <a16:colId xmlns:a16="http://schemas.microsoft.com/office/drawing/2014/main" xmlns="" val="20000"/>
                    </a:ext>
                  </a:extLst>
                </a:gridCol>
                <a:gridCol w="960975">
                  <a:extLst>
                    <a:ext uri="{9D8B030D-6E8A-4147-A177-3AD203B41FA5}">
                      <a16:colId xmlns:a16="http://schemas.microsoft.com/office/drawing/2014/main" xmlns="" val="20001"/>
                    </a:ext>
                  </a:extLst>
                </a:gridCol>
                <a:gridCol w="982452">
                  <a:extLst>
                    <a:ext uri="{9D8B030D-6E8A-4147-A177-3AD203B41FA5}">
                      <a16:colId xmlns:a16="http://schemas.microsoft.com/office/drawing/2014/main" xmlns="" val="20002"/>
                    </a:ext>
                  </a:extLst>
                </a:gridCol>
                <a:gridCol w="982452">
                  <a:extLst>
                    <a:ext uri="{9D8B030D-6E8A-4147-A177-3AD203B41FA5}">
                      <a16:colId xmlns:a16="http://schemas.microsoft.com/office/drawing/2014/main" xmlns="" val="20003"/>
                    </a:ext>
                  </a:extLst>
                </a:gridCol>
                <a:gridCol w="982452">
                  <a:extLst>
                    <a:ext uri="{9D8B030D-6E8A-4147-A177-3AD203B41FA5}">
                      <a16:colId xmlns:a16="http://schemas.microsoft.com/office/drawing/2014/main" xmlns="" val="3351217519"/>
                    </a:ext>
                  </a:extLst>
                </a:gridCol>
                <a:gridCol w="881293">
                  <a:extLst>
                    <a:ext uri="{9D8B030D-6E8A-4147-A177-3AD203B41FA5}">
                      <a16:colId xmlns:a16="http://schemas.microsoft.com/office/drawing/2014/main" xmlns="" val="20004"/>
                    </a:ext>
                  </a:extLst>
                </a:gridCol>
                <a:gridCol w="1245541">
                  <a:extLst>
                    <a:ext uri="{9D8B030D-6E8A-4147-A177-3AD203B41FA5}">
                      <a16:colId xmlns:a16="http://schemas.microsoft.com/office/drawing/2014/main" xmlns="" val="20006"/>
                    </a:ext>
                  </a:extLst>
                </a:gridCol>
                <a:gridCol w="820522">
                  <a:extLst>
                    <a:ext uri="{9D8B030D-6E8A-4147-A177-3AD203B41FA5}">
                      <a16:colId xmlns:a16="http://schemas.microsoft.com/office/drawing/2014/main" xmlns="" val="20009"/>
                    </a:ext>
                  </a:extLst>
                </a:gridCol>
                <a:gridCol w="982452">
                  <a:extLst>
                    <a:ext uri="{9D8B030D-6E8A-4147-A177-3AD203B41FA5}">
                      <a16:colId xmlns:a16="http://schemas.microsoft.com/office/drawing/2014/main" xmlns="" val="20007"/>
                    </a:ext>
                  </a:extLst>
                </a:gridCol>
                <a:gridCol w="982452">
                  <a:extLst>
                    <a:ext uri="{9D8B030D-6E8A-4147-A177-3AD203B41FA5}">
                      <a16:colId xmlns:a16="http://schemas.microsoft.com/office/drawing/2014/main" xmlns="" val="20008"/>
                    </a:ext>
                  </a:extLst>
                </a:gridCol>
                <a:gridCol w="982452">
                  <a:extLst>
                    <a:ext uri="{9D8B030D-6E8A-4147-A177-3AD203B41FA5}">
                      <a16:colId xmlns:a16="http://schemas.microsoft.com/office/drawing/2014/main" xmlns="" val="2828936453"/>
                    </a:ext>
                  </a:extLst>
                </a:gridCol>
                <a:gridCol w="982452">
                  <a:extLst>
                    <a:ext uri="{9D8B030D-6E8A-4147-A177-3AD203B41FA5}">
                      <a16:colId xmlns:a16="http://schemas.microsoft.com/office/drawing/2014/main" xmlns="" val="4002543098"/>
                    </a:ext>
                  </a:extLst>
                </a:gridCol>
              </a:tblGrid>
              <a:tr h="971435">
                <a:tc>
                  <a:txBody>
                    <a:bodyPr/>
                    <a:lstStyle/>
                    <a:p>
                      <a:pPr algn="ctr" fontAlgn="b"/>
                      <a:endParaRPr lang="ru-RU" sz="900" b="1"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chemeClr val="bg1"/>
                    </a:solidFill>
                  </a:tcPr>
                </a:tc>
                <a:tc gridSpan="2">
                  <a:txBody>
                    <a:bodyPr/>
                    <a:lstStyle/>
                    <a:p>
                      <a:pPr algn="ctr" fontAlgn="b"/>
                      <a:r>
                        <a:rPr lang="ru-RU" sz="1100" b="1" i="0" u="none" strike="noStrike" dirty="0" smtClean="0">
                          <a:solidFill>
                            <a:srgbClr val="FFFFFF"/>
                          </a:solidFill>
                          <a:effectLst/>
                          <a:latin typeface="Arial" panose="020B0604020202020204" pitchFamily="34" charset="0"/>
                        </a:rPr>
                        <a:t>Производство</a:t>
                      </a:r>
                      <a:endParaRPr lang="ru-RU" sz="1100" b="1"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gridSpan="3">
                  <a:txBody>
                    <a:bodyPr/>
                    <a:lstStyle/>
                    <a:p>
                      <a:pPr algn="ctr" fontAlgn="b"/>
                      <a:r>
                        <a:rPr lang="ru-RU" sz="1100" b="1" i="0" u="none" strike="noStrike" dirty="0">
                          <a:solidFill>
                            <a:srgbClr val="FFFFFF"/>
                          </a:solidFill>
                          <a:effectLst/>
                          <a:latin typeface="Arial" panose="020B0604020202020204" pitchFamily="34" charset="0"/>
                        </a:rPr>
                        <a:t>Сельхозкооперация</a:t>
                      </a: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hMerge="1">
                  <a:txBody>
                    <a:bodyPr/>
                    <a:lstStyle/>
                    <a:p>
                      <a:endParaRPr lang="ru-RU"/>
                    </a:p>
                  </a:txBody>
                  <a:tcPr/>
                </a:tc>
                <a:tc gridSpan="2">
                  <a:txBody>
                    <a:bodyPr/>
                    <a:lstStyle/>
                    <a:p>
                      <a:pPr algn="ctr" fontAlgn="b"/>
                      <a:r>
                        <a:rPr lang="ru-RU" sz="1100" b="1" i="0" u="none" strike="noStrike" dirty="0">
                          <a:solidFill>
                            <a:srgbClr val="FFFFFF"/>
                          </a:solidFill>
                          <a:effectLst/>
                          <a:latin typeface="Arial" panose="020B0604020202020204" pitchFamily="34" charset="0"/>
                        </a:rPr>
                        <a:t>Поставщики крупнейших заказчиков</a:t>
                      </a: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0C0"/>
                    </a:solidFill>
                  </a:tcPr>
                </a:tc>
                <a:tc hMerge="1">
                  <a:txBody>
                    <a:bodyPr/>
                    <a:lstStyle/>
                    <a:p>
                      <a:endParaRPr lang="ru-RU"/>
                    </a:p>
                  </a:txBody>
                  <a:tcPr/>
                </a:tc>
                <a:tc rowSpan="2">
                  <a:txBody>
                    <a:bodyPr/>
                    <a:lstStyle/>
                    <a:p>
                      <a:pPr algn="ctr" fontAlgn="b"/>
                      <a:endParaRPr lang="ru-RU" sz="1100" b="1" i="0" u="none" strike="noStrike" dirty="0" smtClean="0">
                        <a:solidFill>
                          <a:srgbClr val="FFFFFF"/>
                        </a:solidFill>
                        <a:effectLst/>
                        <a:latin typeface="Arial" panose="020B0604020202020204" pitchFamily="34" charset="0"/>
                      </a:endParaRPr>
                    </a:p>
                    <a:p>
                      <a:pPr algn="ctr" fontAlgn="b"/>
                      <a:r>
                        <a:rPr lang="ru-RU" sz="1100" b="1" i="0" u="none" strike="noStrike" dirty="0" smtClean="0">
                          <a:solidFill>
                            <a:srgbClr val="FFFFFF"/>
                          </a:solidFill>
                          <a:effectLst/>
                          <a:latin typeface="Arial" panose="020B0604020202020204" pitchFamily="34" charset="0"/>
                        </a:rPr>
                        <a:t>ДФО</a:t>
                      </a:r>
                    </a:p>
                    <a:p>
                      <a:pPr algn="ctr" fontAlgn="b"/>
                      <a:endParaRPr lang="ru-RU" sz="1050" b="1" i="0" u="none" strike="noStrike" dirty="0" smtClean="0">
                        <a:solidFill>
                          <a:srgbClr val="FFFFFF"/>
                        </a:solidFill>
                        <a:effectLst/>
                        <a:latin typeface="Arial" panose="020B0604020202020204" pitchFamily="34" charset="0"/>
                      </a:endParaRPr>
                    </a:p>
                    <a:p>
                      <a:pPr algn="ctr" fontAlgn="b"/>
                      <a:r>
                        <a:rPr lang="ru-RU" sz="1100" b="1" i="0" u="none" strike="noStrike" dirty="0">
                          <a:solidFill>
                            <a:srgbClr val="FFFFFF"/>
                          </a:solidFill>
                          <a:effectLst/>
                          <a:latin typeface="Arial" panose="020B0604020202020204" pitchFamily="34" charset="0"/>
                        </a:rPr>
                        <a:t/>
                      </a:r>
                      <a:br>
                        <a:rPr lang="ru-RU" sz="1100" b="1" i="0" u="none" strike="noStrike" dirty="0">
                          <a:solidFill>
                            <a:srgbClr val="FFFFFF"/>
                          </a:solidFill>
                          <a:effectLst/>
                          <a:latin typeface="Arial" panose="020B0604020202020204" pitchFamily="34" charset="0"/>
                        </a:rPr>
                      </a:br>
                      <a:endParaRPr lang="ru-RU" sz="1100" b="1"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rowSpan="2">
                  <a:txBody>
                    <a:bodyPr/>
                    <a:lstStyle/>
                    <a:p>
                      <a:pPr algn="ctr" fontAlgn="b"/>
                      <a:r>
                        <a:rPr lang="ru-RU" sz="1100" b="1" i="0" u="none" strike="noStrike" dirty="0">
                          <a:solidFill>
                            <a:srgbClr val="FFFFFF"/>
                          </a:solidFill>
                          <a:effectLst/>
                          <a:latin typeface="Arial" panose="020B0604020202020204" pitchFamily="34" charset="0"/>
                        </a:rPr>
                        <a:t>Моногорода и </a:t>
                      </a:r>
                      <a:r>
                        <a:rPr lang="ru-RU" sz="1100" b="1" i="0" u="none" strike="noStrike" dirty="0" smtClean="0">
                          <a:solidFill>
                            <a:srgbClr val="FFFFFF"/>
                          </a:solidFill>
                          <a:effectLst/>
                          <a:latin typeface="Arial" panose="020B0604020202020204" pitchFamily="34" charset="0"/>
                        </a:rPr>
                        <a:t>ТОСЭР</a:t>
                      </a:r>
                    </a:p>
                    <a:p>
                      <a:pPr algn="ctr" fontAlgn="b"/>
                      <a:r>
                        <a:rPr lang="ru-RU" sz="1100" b="1" i="0" u="none" strike="noStrike" dirty="0">
                          <a:solidFill>
                            <a:srgbClr val="FFFFFF"/>
                          </a:solidFill>
                          <a:effectLst/>
                          <a:latin typeface="Arial" panose="020B0604020202020204" pitchFamily="34" charset="0"/>
                        </a:rPr>
                        <a:t/>
                      </a:r>
                      <a:br>
                        <a:rPr lang="ru-RU" sz="1100" b="1" i="0" u="none" strike="noStrike" dirty="0">
                          <a:solidFill>
                            <a:srgbClr val="FFFFFF"/>
                          </a:solidFill>
                          <a:effectLst/>
                          <a:latin typeface="Arial" panose="020B0604020202020204" pitchFamily="34" charset="0"/>
                        </a:rPr>
                      </a:br>
                      <a:endParaRPr lang="ru-RU" sz="1100" b="1"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rowSpan="2">
                  <a:txBody>
                    <a:bodyPr/>
                    <a:lstStyle/>
                    <a:p>
                      <a:pPr algn="ctr" fontAlgn="b"/>
                      <a:endParaRPr lang="ru-RU" sz="1100" b="1" i="0" u="none" strike="noStrike" dirty="0" smtClean="0">
                        <a:solidFill>
                          <a:srgbClr val="FFFFFF"/>
                        </a:solidFill>
                        <a:effectLst/>
                        <a:latin typeface="Arial" panose="020B0604020202020204" pitchFamily="34" charset="0"/>
                      </a:endParaRPr>
                    </a:p>
                    <a:p>
                      <a:pPr algn="ctr" fontAlgn="b"/>
                      <a:endParaRPr lang="ru-RU" sz="1100" b="1" i="0" u="none" strike="noStrike" dirty="0" smtClean="0">
                        <a:solidFill>
                          <a:srgbClr val="FFFFFF"/>
                        </a:solidFill>
                        <a:effectLst/>
                        <a:latin typeface="Arial" panose="020B0604020202020204" pitchFamily="34" charset="0"/>
                      </a:endParaRPr>
                    </a:p>
                    <a:p>
                      <a:pPr algn="ctr" fontAlgn="b"/>
                      <a:r>
                        <a:rPr lang="ru-RU" sz="1100" b="1" i="0" u="none" strike="noStrike" dirty="0" smtClean="0">
                          <a:solidFill>
                            <a:srgbClr val="FFFFFF"/>
                          </a:solidFill>
                          <a:effectLst/>
                          <a:latin typeface="Arial" panose="020B0604020202020204" pitchFamily="34" charset="0"/>
                        </a:rPr>
                        <a:t>Спорт и </a:t>
                      </a:r>
                    </a:p>
                    <a:p>
                      <a:pPr algn="ctr" fontAlgn="b"/>
                      <a:r>
                        <a:rPr lang="ru-RU" sz="1100" b="1" i="0" u="none" strike="noStrike" dirty="0" smtClean="0">
                          <a:solidFill>
                            <a:srgbClr val="FFFFFF"/>
                          </a:solidFill>
                          <a:effectLst/>
                          <a:latin typeface="Arial" panose="020B0604020202020204" pitchFamily="34" charset="0"/>
                        </a:rPr>
                        <a:t>Туризм</a:t>
                      </a:r>
                    </a:p>
                    <a:p>
                      <a:pPr algn="ctr" fontAlgn="b"/>
                      <a:endParaRPr lang="ru-RU" sz="1100" b="1" i="0" u="none" strike="noStrike" dirty="0" smtClean="0">
                        <a:solidFill>
                          <a:srgbClr val="FFFFFF"/>
                        </a:solidFill>
                        <a:effectLst/>
                        <a:latin typeface="Arial" panose="020B0604020202020204" pitchFamily="34" charset="0"/>
                      </a:endParaRPr>
                    </a:p>
                    <a:p>
                      <a:pPr algn="ctr" fontAlgn="b"/>
                      <a:endParaRPr lang="ru-RU" sz="1100" b="1"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rowSpan="2">
                  <a:txBody>
                    <a:bodyPr/>
                    <a:lstStyle/>
                    <a:p>
                      <a:pPr algn="ctr" fontAlgn="b"/>
                      <a:r>
                        <a:rPr lang="ru-RU" sz="1100" b="1" i="0" u="none" strike="noStrike" dirty="0" err="1" smtClean="0">
                          <a:solidFill>
                            <a:srgbClr val="FFFFFF"/>
                          </a:solidFill>
                          <a:effectLst/>
                          <a:latin typeface="Arial" panose="020B0604020202020204" pitchFamily="34" charset="0"/>
                        </a:rPr>
                        <a:t>Микролизинг</a:t>
                      </a:r>
                      <a:r>
                        <a:rPr lang="ru-RU" sz="1100" b="1" i="0" u="none" strike="noStrike" baseline="0" dirty="0" smtClean="0">
                          <a:solidFill>
                            <a:srgbClr val="FFFFFF"/>
                          </a:solidFill>
                          <a:effectLst/>
                          <a:latin typeface="Arial" panose="020B0604020202020204" pitchFamily="34" charset="0"/>
                        </a:rPr>
                        <a:t>  </a:t>
                      </a:r>
                      <a:r>
                        <a:rPr lang="ru-RU" sz="1100" b="0" i="0" u="none" strike="noStrike" baseline="0" dirty="0" smtClean="0">
                          <a:solidFill>
                            <a:srgbClr val="FFFFFF"/>
                          </a:solidFill>
                          <a:effectLst/>
                          <a:latin typeface="Arial" panose="020B0604020202020204" pitchFamily="34" charset="0"/>
                        </a:rPr>
                        <a:t>для регионов нахождения РЛК</a:t>
                      </a:r>
                      <a:endParaRPr lang="ru-RU" sz="1100" b="0" i="0" u="none" strike="noStrike" dirty="0">
                        <a:solidFill>
                          <a:srgbClr val="FFFFFF"/>
                        </a:solidFill>
                        <a:effectLst/>
                        <a:latin typeface="Arial" panose="020B0604020202020204" pitchFamily="34" charset="0"/>
                      </a:endParaRPr>
                    </a:p>
                  </a:txBody>
                  <a:tcPr marL="6100" marR="6100" marT="610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659456">
                <a:tc>
                  <a:txBody>
                    <a:bodyPr/>
                    <a:lstStyle/>
                    <a:p>
                      <a:pPr algn="ctr" fontAlgn="ctr"/>
                      <a:endParaRPr lang="ru-RU" sz="900" b="1" i="0" u="none" strike="noStrike" dirty="0">
                        <a:solidFill>
                          <a:srgbClr val="FFFFFF"/>
                        </a:solidFill>
                        <a:effectLst/>
                        <a:latin typeface="Arial" panose="020B0604020202020204" pitchFamily="34" charset="0"/>
                      </a:endParaRP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ctr"/>
                      <a:r>
                        <a:rPr lang="ru-RU" sz="1000" b="0" i="0" u="none" strike="noStrike" dirty="0">
                          <a:solidFill>
                            <a:srgbClr val="FFFFFF"/>
                          </a:solidFill>
                          <a:effectLst/>
                          <a:latin typeface="Arial" panose="020B0604020202020204" pitchFamily="34" charset="0"/>
                        </a:rPr>
                        <a:t>Высокотехнологичное и инновационное производство</a:t>
                      </a: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a:solidFill>
                            <a:srgbClr val="FFFFFF"/>
                          </a:solidFill>
                          <a:effectLst/>
                          <a:latin typeface="Arial" panose="020B0604020202020204" pitchFamily="34" charset="0"/>
                        </a:rPr>
                        <a:t>Приоритетное производство</a:t>
                      </a: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a:solidFill>
                            <a:srgbClr val="FFFFFF"/>
                          </a:solidFill>
                          <a:effectLst/>
                          <a:latin typeface="Arial" panose="020B0604020202020204" pitchFamily="34" charset="0"/>
                        </a:rPr>
                        <a:t>Создание</a:t>
                      </a: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smtClean="0">
                          <a:solidFill>
                            <a:srgbClr val="FFFFFF"/>
                          </a:solidFill>
                          <a:effectLst/>
                          <a:latin typeface="Arial" panose="020B0604020202020204" pitchFamily="34" charset="0"/>
                        </a:rPr>
                        <a:t>Развитие</a:t>
                      </a:r>
                      <a:endParaRPr lang="ru-RU" sz="1000" b="0" i="0" u="none" strike="noStrike" dirty="0">
                        <a:solidFill>
                          <a:srgbClr val="FFFFFF"/>
                        </a:solidFill>
                        <a:effectLst/>
                        <a:latin typeface="Arial" panose="020B0604020202020204" pitchFamily="34" charset="0"/>
                      </a:endParaRP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smtClean="0">
                          <a:solidFill>
                            <a:srgbClr val="FFFFFF"/>
                          </a:solidFill>
                          <a:effectLst/>
                          <a:latin typeface="Arial" panose="020B0604020202020204" pitchFamily="34" charset="0"/>
                        </a:rPr>
                        <a:t>Быстрое развитие</a:t>
                      </a:r>
                      <a:endParaRPr lang="ru-RU" sz="1000" b="0" i="0" u="none" strike="noStrike" dirty="0">
                        <a:solidFill>
                          <a:srgbClr val="FFFFFF"/>
                        </a:solidFill>
                        <a:effectLst/>
                        <a:latin typeface="Arial" panose="020B0604020202020204" pitchFamily="34" charset="0"/>
                      </a:endParaRP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a:solidFill>
                            <a:srgbClr val="FFFFFF"/>
                          </a:solidFill>
                          <a:effectLst/>
                          <a:latin typeface="Arial" panose="020B0604020202020204" pitchFamily="34" charset="0"/>
                        </a:rPr>
                        <a:t>Высокотехнологичная и инновационная продукция</a:t>
                      </a: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algn="ctr" fontAlgn="ctr"/>
                      <a:r>
                        <a:rPr lang="ru-RU" sz="1000" b="0" i="0" u="none" strike="noStrike" dirty="0">
                          <a:solidFill>
                            <a:srgbClr val="FFFFFF"/>
                          </a:solidFill>
                          <a:effectLst/>
                          <a:latin typeface="Arial" panose="020B0604020202020204" pitchFamily="34" charset="0"/>
                        </a:rPr>
                        <a:t>Прочая продукция</a:t>
                      </a:r>
                    </a:p>
                  </a:txBody>
                  <a:tcPr marL="6100" marR="6100" marT="610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xmlns="" val="10001"/>
                  </a:ext>
                </a:extLst>
              </a:tr>
              <a:tr h="566337">
                <a:tc>
                  <a:txBody>
                    <a:bodyPr/>
                    <a:lstStyle/>
                    <a:p>
                      <a:pPr algn="l" fontAlgn="ctr"/>
                      <a:r>
                        <a:rPr lang="ru-RU" sz="1100" b="1" i="0" u="none" strike="noStrike" dirty="0">
                          <a:solidFill>
                            <a:srgbClr val="000000"/>
                          </a:solidFill>
                          <a:effectLst/>
                          <a:latin typeface="Arial" panose="020B0604020202020204" pitchFamily="34" charset="0"/>
                        </a:rPr>
                        <a:t>Ставка</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gridSpan="11">
                  <a:txBody>
                    <a:bodyPr/>
                    <a:lstStyle/>
                    <a:p>
                      <a:pPr algn="ctr" fontAlgn="ctr"/>
                      <a:r>
                        <a:rPr lang="ru-RU" sz="1100" b="1" i="0" u="none" strike="noStrike" dirty="0">
                          <a:solidFill>
                            <a:srgbClr val="000000"/>
                          </a:solidFill>
                          <a:effectLst/>
                          <a:latin typeface="Arial" panose="020B0604020202020204" pitchFamily="34" charset="0"/>
                        </a:rPr>
                        <a:t>6 % годовых - для российского оборудования</a:t>
                      </a:r>
                      <a:br>
                        <a:rPr lang="ru-RU" sz="1100" b="1" i="0" u="none" strike="noStrike" dirty="0">
                          <a:solidFill>
                            <a:srgbClr val="000000"/>
                          </a:solidFill>
                          <a:effectLst/>
                          <a:latin typeface="Arial" panose="020B0604020202020204" pitchFamily="34" charset="0"/>
                        </a:rPr>
                      </a:br>
                      <a:r>
                        <a:rPr lang="ru-RU" sz="1100" b="1" i="0" u="none" strike="noStrike" dirty="0">
                          <a:solidFill>
                            <a:srgbClr val="000000"/>
                          </a:solidFill>
                          <a:effectLst/>
                          <a:latin typeface="Arial" panose="020B0604020202020204" pitchFamily="34" charset="0"/>
                        </a:rPr>
                        <a:t>8 % годовых - для иностранного оборудования</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2"/>
                  </a:ext>
                </a:extLst>
              </a:tr>
              <a:tr h="612421">
                <a:tc>
                  <a:txBody>
                    <a:bodyPr/>
                    <a:lstStyle/>
                    <a:p>
                      <a:pPr algn="l" fontAlgn="ctr"/>
                      <a:r>
                        <a:rPr lang="ru-RU" sz="1100" b="1" i="0" u="none" strike="noStrike" dirty="0" smtClean="0">
                          <a:solidFill>
                            <a:srgbClr val="000000"/>
                          </a:solidFill>
                          <a:effectLst/>
                          <a:latin typeface="Arial" panose="020B0604020202020204" pitchFamily="34" charset="0"/>
                        </a:rPr>
                        <a:t>Сумма</a:t>
                      </a:r>
                      <a:r>
                        <a:rPr lang="ru-RU" sz="1100" b="1" i="0" u="none" strike="noStrike" baseline="0" dirty="0" smtClean="0">
                          <a:solidFill>
                            <a:srgbClr val="000000"/>
                          </a:solidFill>
                          <a:effectLst/>
                          <a:latin typeface="Arial" panose="020B0604020202020204" pitchFamily="34" charset="0"/>
                        </a:rPr>
                        <a:t> </a:t>
                      </a:r>
                      <a:r>
                        <a:rPr lang="ru-RU" sz="1100" b="1" i="0" u="none" strike="noStrike" dirty="0" smtClean="0">
                          <a:solidFill>
                            <a:srgbClr val="000000"/>
                          </a:solidFill>
                          <a:effectLst/>
                          <a:latin typeface="Arial" panose="020B0604020202020204" pitchFamily="34" charset="0"/>
                        </a:rPr>
                        <a:t>финансирования</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3-1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a:t>
                      </a:r>
                      <a:r>
                        <a:rPr lang="ru-RU" sz="1100" b="1" i="0" u="none" strike="noStrike" dirty="0" smtClean="0">
                          <a:solidFill>
                            <a:srgbClr val="000000"/>
                          </a:solidFill>
                          <a:effectLst/>
                          <a:latin typeface="Arial" panose="020B0604020202020204" pitchFamily="34" charset="0"/>
                        </a:rPr>
                        <a:t/>
                      </a:r>
                      <a:br>
                        <a:rPr lang="ru-RU" sz="1100" b="1" i="0" u="none" strike="noStrike" dirty="0" smtClean="0">
                          <a:solidFill>
                            <a:srgbClr val="000000"/>
                          </a:solidFill>
                          <a:effectLst/>
                          <a:latin typeface="Arial" panose="020B0604020202020204" pitchFamily="34" charset="0"/>
                        </a:rPr>
                      </a:br>
                      <a:r>
                        <a:rPr lang="ru-RU" sz="1100" b="1" i="0" u="none" strike="noStrike" dirty="0" smtClean="0">
                          <a:solidFill>
                            <a:srgbClr val="000000"/>
                          </a:solidFill>
                          <a:effectLst/>
                          <a:latin typeface="Arial" panose="020B0604020202020204" pitchFamily="34" charset="0"/>
                        </a:rPr>
                        <a:t>млн </a:t>
                      </a:r>
                      <a:r>
                        <a:rPr lang="ru-RU" sz="1100" b="1" i="0" u="none" strike="noStrike" dirty="0">
                          <a:solidFill>
                            <a:srgbClr val="000000"/>
                          </a:solidFill>
                          <a:effectLst/>
                          <a:latin typeface="Arial" panose="020B0604020202020204" pitchFamily="34" charset="0"/>
                        </a:rPr>
                        <a:t>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1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5-200 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2,5-5 </a:t>
                      </a:r>
                      <a:r>
                        <a:rPr lang="ru-RU" sz="1100" b="1" i="0" u="none" strike="noStrike" dirty="0">
                          <a:solidFill>
                            <a:srgbClr val="000000"/>
                          </a:solidFill>
                          <a:effectLst/>
                          <a:latin typeface="Arial" panose="020B0604020202020204" pitchFamily="34" charset="0"/>
                        </a:rPr>
                        <a:t>млн рублей</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3"/>
                  </a:ext>
                </a:extLst>
              </a:tr>
              <a:tr h="299364">
                <a:tc>
                  <a:txBody>
                    <a:bodyPr/>
                    <a:lstStyle/>
                    <a:p>
                      <a:pPr marL="0" algn="l" defTabSz="1093324" rtl="0" eaLnBrk="1" fontAlgn="ctr" latinLnBrk="0" hangingPunct="1"/>
                      <a:r>
                        <a:rPr lang="ru-RU" sz="1100" b="1" i="0" u="none" strike="noStrike" kern="1200" dirty="0" smtClean="0">
                          <a:solidFill>
                            <a:srgbClr val="000000"/>
                          </a:solidFill>
                          <a:effectLst/>
                          <a:latin typeface="Arial" panose="020B0604020202020204" pitchFamily="34" charset="0"/>
                          <a:ea typeface="+mn-ea"/>
                          <a:cs typeface="+mn-cs"/>
                        </a:rPr>
                        <a:t>Срок лизинга</a:t>
                      </a:r>
                      <a:endParaRPr lang="ru-RU" sz="1100" b="1" i="0" u="none" strike="noStrike" kern="1200" dirty="0">
                        <a:solidFill>
                          <a:srgbClr val="000000"/>
                        </a:solidFill>
                        <a:effectLst/>
                        <a:latin typeface="Arial" panose="020B0604020202020204" pitchFamily="34" charset="0"/>
                        <a:ea typeface="+mn-ea"/>
                        <a:cs typeface="+mn-cs"/>
                      </a:endParaRPr>
                    </a:p>
                  </a:txBody>
                  <a:tcPr marL="6100" marR="6100" marT="610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marL="0" algn="ctr" defTabSz="1093324" rtl="0" eaLnBrk="1" fontAlgn="ctr" latinLnBrk="0" hangingPunct="1"/>
                      <a:r>
                        <a:rPr lang="ru-RU" sz="1100" b="1" i="0" u="none" strike="noStrike" kern="1200" dirty="0">
                          <a:solidFill>
                            <a:srgbClr val="000000"/>
                          </a:solidFill>
                          <a:effectLst/>
                          <a:latin typeface="Arial" panose="020B0604020202020204" pitchFamily="34" charset="0"/>
                          <a:ea typeface="+mn-ea"/>
                          <a:cs typeface="+mn-cs"/>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84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84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13-24 </a:t>
                      </a:r>
                      <a:r>
                        <a:rPr lang="ru-RU" sz="1100" b="1" i="0" u="none" strike="noStrike" dirty="0">
                          <a:solidFill>
                            <a:srgbClr val="000000"/>
                          </a:solidFill>
                          <a:effectLst/>
                          <a:latin typeface="Arial" panose="020B0604020202020204" pitchFamily="34" charset="0"/>
                        </a:rPr>
                        <a:t>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84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84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a:solidFill>
                            <a:srgbClr val="000000"/>
                          </a:solidFill>
                          <a:effectLst/>
                          <a:latin typeface="Arial" panose="020B0604020202020204" pitchFamily="34" charset="0"/>
                        </a:rPr>
                        <a:t>13-60 ме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4"/>
                  </a:ext>
                </a:extLst>
              </a:tr>
              <a:tr h="395860">
                <a:tc>
                  <a:txBody>
                    <a:bodyPr/>
                    <a:lstStyle/>
                    <a:p>
                      <a:pPr algn="l" fontAlgn="ctr"/>
                      <a:r>
                        <a:rPr lang="ru-RU" sz="1100" b="1" i="0" u="none" strike="noStrike" dirty="0">
                          <a:solidFill>
                            <a:srgbClr val="000000"/>
                          </a:solidFill>
                          <a:effectLst/>
                          <a:latin typeface="Arial" panose="020B0604020202020204" pitchFamily="34" charset="0"/>
                        </a:rPr>
                        <a:t>Минимальный аванс</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a:txBody>
                    <a:bodyPr/>
                    <a:lstStyle/>
                    <a:p>
                      <a:pPr algn="ctr" fontAlgn="ctr"/>
                      <a:r>
                        <a:rPr lang="ru-RU" sz="1100" b="1" i="0" u="none" strike="noStrike" dirty="0" smtClean="0">
                          <a:solidFill>
                            <a:srgbClr val="000000"/>
                          </a:solidFill>
                          <a:effectLst/>
                          <a:latin typeface="Arial" panose="020B0604020202020204" pitchFamily="34" charset="0"/>
                        </a:rPr>
                        <a:t>От 10</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a:t>
                      </a:r>
                      <a:r>
                        <a:rPr lang="ru-RU" sz="1100" b="1" i="0" u="none" strike="noStrike" baseline="0" dirty="0" smtClean="0">
                          <a:solidFill>
                            <a:srgbClr val="000000"/>
                          </a:solidFill>
                          <a:effectLst/>
                          <a:latin typeface="Arial" panose="020B0604020202020204" pitchFamily="34" charset="0"/>
                        </a:rPr>
                        <a:t> </a:t>
                      </a:r>
                      <a:r>
                        <a:rPr lang="ru-RU" sz="1100" b="1" i="0" u="none" strike="noStrike" dirty="0" smtClean="0">
                          <a:solidFill>
                            <a:srgbClr val="000000"/>
                          </a:solidFill>
                          <a:effectLst/>
                          <a:latin typeface="Arial" panose="020B0604020202020204" pitchFamily="34" charset="0"/>
                        </a:rPr>
                        <a:t>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0</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0%***</a:t>
                      </a: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0</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a:t>
                      </a:r>
                      <a:r>
                        <a:rPr lang="ru-RU" sz="1100" b="1" i="0" u="none" strike="noStrike" baseline="0" dirty="0" smtClean="0">
                          <a:solidFill>
                            <a:srgbClr val="000000"/>
                          </a:solidFill>
                          <a:effectLst/>
                          <a:latin typeface="Arial" panose="020B0604020202020204" pitchFamily="34" charset="0"/>
                        </a:rPr>
                        <a:t> </a:t>
                      </a:r>
                      <a:r>
                        <a:rPr lang="ru-RU" sz="1100" b="1" i="0" u="none" strike="noStrike" dirty="0" smtClean="0">
                          <a:solidFill>
                            <a:srgbClr val="000000"/>
                          </a:solidFill>
                          <a:effectLst/>
                          <a:latin typeface="Arial" panose="020B0604020202020204" pitchFamily="34" charset="0"/>
                        </a:rPr>
                        <a:t>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 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a:t>
                      </a:r>
                      <a:r>
                        <a:rPr lang="ru-RU" sz="1100" b="1" i="0" u="none" strike="noStrike" baseline="0" dirty="0" smtClean="0">
                          <a:solidFill>
                            <a:srgbClr val="000000"/>
                          </a:solidFill>
                          <a:effectLst/>
                          <a:latin typeface="Arial" panose="020B0604020202020204" pitchFamily="34" charset="0"/>
                        </a:rPr>
                        <a:t> </a:t>
                      </a:r>
                      <a:r>
                        <a:rPr lang="ru-RU" sz="1100" b="1" i="0" u="none" strike="noStrike" dirty="0" smtClean="0">
                          <a:solidFill>
                            <a:srgbClr val="000000"/>
                          </a:solidFill>
                          <a:effectLst/>
                          <a:latin typeface="Arial" panose="020B0604020202020204" pitchFamily="34" charset="0"/>
                        </a:rPr>
                        <a:t>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ctr"/>
                      <a:r>
                        <a:rPr lang="ru-RU" sz="1100" b="1" i="0" u="none" strike="noStrike" dirty="0" smtClean="0">
                          <a:solidFill>
                            <a:srgbClr val="000000"/>
                          </a:solidFill>
                          <a:effectLst/>
                          <a:latin typeface="Arial" panose="020B0604020202020204" pitchFamily="34" charset="0"/>
                        </a:rPr>
                        <a:t>От</a:t>
                      </a:r>
                      <a:r>
                        <a:rPr lang="ru-RU" sz="1100" b="1" i="0" u="none" strike="noStrike" baseline="0" dirty="0" smtClean="0">
                          <a:solidFill>
                            <a:srgbClr val="000000"/>
                          </a:solidFill>
                          <a:effectLst/>
                          <a:latin typeface="Arial" panose="020B0604020202020204" pitchFamily="34" charset="0"/>
                        </a:rPr>
                        <a:t> </a:t>
                      </a:r>
                      <a:r>
                        <a:rPr lang="ru-RU" sz="1100" b="1" i="0" u="none" strike="noStrike" dirty="0" smtClean="0">
                          <a:solidFill>
                            <a:srgbClr val="000000"/>
                          </a:solidFill>
                          <a:effectLst/>
                          <a:latin typeface="Arial" panose="020B0604020202020204" pitchFamily="34" charset="0"/>
                        </a:rPr>
                        <a:t>15</a:t>
                      </a:r>
                      <a:r>
                        <a:rPr lang="ru-RU" sz="1100" b="1" i="0" u="none" strike="noStrike" dirty="0">
                          <a:solidFill>
                            <a:srgbClr val="000000"/>
                          </a:solidFill>
                          <a:effectLst/>
                          <a:latin typeface="Arial" panose="020B0604020202020204" pitchFamily="34" charset="0"/>
                        </a:rPr>
                        <a:t>%</a:t>
                      </a: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5"/>
                  </a:ext>
                </a:extLst>
              </a:tr>
              <a:tr h="395860">
                <a:tc>
                  <a:txBody>
                    <a:bodyPr/>
                    <a:lstStyle/>
                    <a:p>
                      <a:pPr algn="l" fontAlgn="ctr"/>
                      <a:r>
                        <a:rPr lang="ru-RU" sz="1100" b="1" i="0" u="none" strike="noStrike" dirty="0" smtClean="0">
                          <a:solidFill>
                            <a:srgbClr val="000000"/>
                          </a:solidFill>
                          <a:effectLst/>
                          <a:latin typeface="Arial" panose="020B0604020202020204" pitchFamily="34" charset="0"/>
                        </a:rPr>
                        <a:t>Предмет лизинга</a:t>
                      </a: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CECFF"/>
                    </a:solidFill>
                  </a:tcPr>
                </a:tc>
                <a:tc gridSpan="11">
                  <a:txBody>
                    <a:bodyPr/>
                    <a:lstStyle/>
                    <a:p>
                      <a:pPr algn="ctr" fontAlgn="ctr"/>
                      <a:r>
                        <a:rPr lang="ru-RU" sz="1100" b="1" i="0" u="none" strike="noStrike" dirty="0" smtClean="0">
                          <a:solidFill>
                            <a:srgbClr val="000000"/>
                          </a:solidFill>
                          <a:effectLst/>
                          <a:latin typeface="Arial" panose="020B0604020202020204" pitchFamily="34" charset="0"/>
                        </a:rPr>
                        <a:t>Новое, ранее не использованное или не введенное в эксплуатацию оборудование</a:t>
                      </a: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ru-RU"/>
                    </a:p>
                  </a:txBody>
                  <a:tcPr/>
                </a:tc>
                <a:tc hMerge="1">
                  <a:txBody>
                    <a:bodyPr/>
                    <a:lstStyle/>
                    <a:p>
                      <a:endParaRPr lang="ru-RU"/>
                    </a:p>
                  </a:txBody>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fontAlgn="ctr"/>
                      <a:endParaRPr lang="ru-RU" sz="1100" b="1" i="0" u="none" strike="noStrike" dirty="0">
                        <a:solidFill>
                          <a:srgbClr val="000000"/>
                        </a:solidFill>
                        <a:effectLst/>
                        <a:latin typeface="Arial" panose="020B0604020202020204" pitchFamily="34" charset="0"/>
                      </a:endParaRPr>
                    </a:p>
                  </a:txBody>
                  <a:tcPr marL="9525" marR="9525" marT="952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xmlns="" val="10006"/>
                  </a:ext>
                </a:extLst>
              </a:tr>
            </a:tbl>
          </a:graphicData>
        </a:graphic>
      </p:graphicFrame>
      <p:grpSp>
        <p:nvGrpSpPr>
          <p:cNvPr id="321" name="Group 1007"/>
          <p:cNvGrpSpPr/>
          <p:nvPr/>
        </p:nvGrpSpPr>
        <p:grpSpPr>
          <a:xfrm>
            <a:off x="2174314" y="1435252"/>
            <a:ext cx="528546" cy="648043"/>
            <a:chOff x="0" y="0"/>
            <a:chExt cx="1044575" cy="1123950"/>
          </a:xfrm>
          <a:noFill/>
        </p:grpSpPr>
        <p:sp>
          <p:nvSpPr>
            <p:cNvPr id="322" name="Freeform 1183"/>
            <p:cNvSpPr>
              <a:spLocks/>
            </p:cNvSpPr>
            <p:nvPr/>
          </p:nvSpPr>
          <p:spPr bwMode="auto">
            <a:xfrm>
              <a:off x="207962" y="346075"/>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3" name="Freeform 1184"/>
            <p:cNvSpPr>
              <a:spLocks/>
            </p:cNvSpPr>
            <p:nvPr/>
          </p:nvSpPr>
          <p:spPr bwMode="auto">
            <a:xfrm>
              <a:off x="0" y="1085850"/>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4" name="Freeform 1185"/>
            <p:cNvSpPr>
              <a:spLocks/>
            </p:cNvSpPr>
            <p:nvPr/>
          </p:nvSpPr>
          <p:spPr bwMode="auto">
            <a:xfrm>
              <a:off x="284162" y="0"/>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5" name="Freeform 1186"/>
            <p:cNvSpPr>
              <a:spLocks/>
            </p:cNvSpPr>
            <p:nvPr/>
          </p:nvSpPr>
          <p:spPr bwMode="auto">
            <a:xfrm>
              <a:off x="71437" y="798513"/>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6" name="Freeform 1187"/>
            <p:cNvSpPr>
              <a:spLocks/>
            </p:cNvSpPr>
            <p:nvPr/>
          </p:nvSpPr>
          <p:spPr bwMode="auto">
            <a:xfrm>
              <a:off x="227012" y="401638"/>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7" name="Freeform 1188"/>
            <p:cNvSpPr>
              <a:spLocks/>
            </p:cNvSpPr>
            <p:nvPr/>
          </p:nvSpPr>
          <p:spPr bwMode="auto">
            <a:xfrm>
              <a:off x="382587" y="676275"/>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sp>
          <p:nvSpPr>
            <p:cNvPr id="328" name="Freeform 1189"/>
            <p:cNvSpPr>
              <a:spLocks/>
            </p:cNvSpPr>
            <p:nvPr/>
          </p:nvSpPr>
          <p:spPr bwMode="auto">
            <a:xfrm>
              <a:off x="407987" y="842963"/>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bg1"/>
              </a:solidFill>
              <a:round/>
              <a:headEnd/>
              <a:tailEnd/>
            </a:ln>
            <a:extLst/>
          </p:spPr>
          <p:txBody>
            <a:bodyPr vert="horz" wrap="square" lIns="89533" tIns="44766" rIns="89533" bIns="44766"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1020833"/>
              <a:endParaRPr lang="en-US" sz="2000" dirty="0">
                <a:solidFill>
                  <a:prstClr val="black"/>
                </a:solidFill>
                <a:cs typeface="Arial" pitchFamily="34" charset="0"/>
              </a:endParaRPr>
            </a:p>
          </p:txBody>
        </p:sp>
      </p:grpSp>
      <p:sp>
        <p:nvSpPr>
          <p:cNvPr id="329" name="Freeform 68"/>
          <p:cNvSpPr>
            <a:spLocks noChangeAspect="1"/>
          </p:cNvSpPr>
          <p:nvPr/>
        </p:nvSpPr>
        <p:spPr bwMode="auto">
          <a:xfrm>
            <a:off x="4610635" y="1416966"/>
            <a:ext cx="430372" cy="682317"/>
          </a:xfrm>
          <a:custGeom>
            <a:avLst/>
            <a:gdLst/>
            <a:ahLst/>
            <a:cxnLst>
              <a:cxn ang="0">
                <a:pos x="38" y="0"/>
              </a:cxn>
              <a:cxn ang="0">
                <a:pos x="4" y="75"/>
              </a:cxn>
              <a:cxn ang="0">
                <a:pos x="4" y="75"/>
              </a:cxn>
              <a:cxn ang="0">
                <a:pos x="37" y="108"/>
              </a:cxn>
              <a:cxn ang="0">
                <a:pos x="37" y="91"/>
              </a:cxn>
              <a:cxn ang="0">
                <a:pos x="12" y="70"/>
              </a:cxn>
              <a:cxn ang="0">
                <a:pos x="27" y="78"/>
              </a:cxn>
              <a:cxn ang="0">
                <a:pos x="37" y="87"/>
              </a:cxn>
              <a:cxn ang="0">
                <a:pos x="37" y="70"/>
              </a:cxn>
              <a:cxn ang="0">
                <a:pos x="18" y="54"/>
              </a:cxn>
              <a:cxn ang="0">
                <a:pos x="30" y="60"/>
              </a:cxn>
              <a:cxn ang="0">
                <a:pos x="37" y="66"/>
              </a:cxn>
              <a:cxn ang="0">
                <a:pos x="37" y="48"/>
              </a:cxn>
              <a:cxn ang="0">
                <a:pos x="26" y="38"/>
              </a:cxn>
              <a:cxn ang="0">
                <a:pos x="33" y="41"/>
              </a:cxn>
              <a:cxn ang="0">
                <a:pos x="37" y="45"/>
              </a:cxn>
              <a:cxn ang="0">
                <a:pos x="37" y="24"/>
              </a:cxn>
              <a:cxn ang="0">
                <a:pos x="39" y="24"/>
              </a:cxn>
              <a:cxn ang="0">
                <a:pos x="39" y="44"/>
              </a:cxn>
              <a:cxn ang="0">
                <a:pos x="43" y="41"/>
              </a:cxn>
              <a:cxn ang="0">
                <a:pos x="50" y="38"/>
              </a:cxn>
              <a:cxn ang="0">
                <a:pos x="39" y="47"/>
              </a:cxn>
              <a:cxn ang="0">
                <a:pos x="39" y="65"/>
              </a:cxn>
              <a:cxn ang="0">
                <a:pos x="46" y="60"/>
              </a:cxn>
              <a:cxn ang="0">
                <a:pos x="57" y="54"/>
              </a:cxn>
              <a:cxn ang="0">
                <a:pos x="39" y="69"/>
              </a:cxn>
              <a:cxn ang="0">
                <a:pos x="39" y="87"/>
              </a:cxn>
              <a:cxn ang="0">
                <a:pos x="49" y="78"/>
              </a:cxn>
              <a:cxn ang="0">
                <a:pos x="64" y="70"/>
              </a:cxn>
              <a:cxn ang="0">
                <a:pos x="39" y="91"/>
              </a:cxn>
              <a:cxn ang="0">
                <a:pos x="39" y="106"/>
              </a:cxn>
              <a:cxn ang="0">
                <a:pos x="39" y="106"/>
              </a:cxn>
              <a:cxn ang="0">
                <a:pos x="39" y="118"/>
              </a:cxn>
              <a:cxn ang="0">
                <a:pos x="45" y="118"/>
              </a:cxn>
              <a:cxn ang="0">
                <a:pos x="45" y="107"/>
              </a:cxn>
              <a:cxn ang="0">
                <a:pos x="72" y="74"/>
              </a:cxn>
              <a:cxn ang="0">
                <a:pos x="72" y="74"/>
              </a:cxn>
              <a:cxn ang="0">
                <a:pos x="38" y="0"/>
              </a:cxn>
            </a:cxnLst>
            <a:rect l="0" t="0" r="r" b="b"/>
            <a:pathLst>
              <a:path w="74" h="118">
                <a:moveTo>
                  <a:pt x="38" y="0"/>
                </a:moveTo>
                <a:cubicBezTo>
                  <a:pt x="38" y="0"/>
                  <a:pt x="0" y="53"/>
                  <a:pt x="4" y="75"/>
                </a:cubicBezTo>
                <a:cubicBezTo>
                  <a:pt x="4" y="75"/>
                  <a:pt x="4" y="75"/>
                  <a:pt x="4" y="75"/>
                </a:cubicBezTo>
                <a:cubicBezTo>
                  <a:pt x="4" y="93"/>
                  <a:pt x="19" y="108"/>
                  <a:pt x="37" y="108"/>
                </a:cubicBezTo>
                <a:cubicBezTo>
                  <a:pt x="37" y="91"/>
                  <a:pt x="37" y="91"/>
                  <a:pt x="37" y="91"/>
                </a:cubicBezTo>
                <a:cubicBezTo>
                  <a:pt x="12" y="70"/>
                  <a:pt x="12" y="70"/>
                  <a:pt x="12" y="70"/>
                </a:cubicBezTo>
                <a:cubicBezTo>
                  <a:pt x="12" y="70"/>
                  <a:pt x="25" y="76"/>
                  <a:pt x="27" y="78"/>
                </a:cubicBezTo>
                <a:cubicBezTo>
                  <a:pt x="29" y="80"/>
                  <a:pt x="34" y="85"/>
                  <a:pt x="37" y="87"/>
                </a:cubicBezTo>
                <a:cubicBezTo>
                  <a:pt x="37" y="70"/>
                  <a:pt x="37" y="70"/>
                  <a:pt x="37" y="70"/>
                </a:cubicBezTo>
                <a:cubicBezTo>
                  <a:pt x="18" y="54"/>
                  <a:pt x="18" y="54"/>
                  <a:pt x="18" y="54"/>
                </a:cubicBezTo>
                <a:cubicBezTo>
                  <a:pt x="18" y="54"/>
                  <a:pt x="26" y="58"/>
                  <a:pt x="30" y="60"/>
                </a:cubicBezTo>
                <a:cubicBezTo>
                  <a:pt x="32" y="61"/>
                  <a:pt x="35" y="64"/>
                  <a:pt x="37" y="66"/>
                </a:cubicBezTo>
                <a:cubicBezTo>
                  <a:pt x="37" y="48"/>
                  <a:pt x="37" y="48"/>
                  <a:pt x="37" y="48"/>
                </a:cubicBezTo>
                <a:cubicBezTo>
                  <a:pt x="26" y="38"/>
                  <a:pt x="26" y="38"/>
                  <a:pt x="26" y="38"/>
                </a:cubicBezTo>
                <a:cubicBezTo>
                  <a:pt x="26" y="38"/>
                  <a:pt x="32" y="41"/>
                  <a:pt x="33" y="41"/>
                </a:cubicBezTo>
                <a:cubicBezTo>
                  <a:pt x="34" y="42"/>
                  <a:pt x="36" y="44"/>
                  <a:pt x="37" y="45"/>
                </a:cubicBezTo>
                <a:cubicBezTo>
                  <a:pt x="37" y="24"/>
                  <a:pt x="37" y="24"/>
                  <a:pt x="37" y="24"/>
                </a:cubicBezTo>
                <a:cubicBezTo>
                  <a:pt x="39" y="24"/>
                  <a:pt x="39" y="24"/>
                  <a:pt x="39" y="24"/>
                </a:cubicBezTo>
                <a:cubicBezTo>
                  <a:pt x="39" y="44"/>
                  <a:pt x="39" y="44"/>
                  <a:pt x="39" y="44"/>
                </a:cubicBezTo>
                <a:cubicBezTo>
                  <a:pt x="40" y="43"/>
                  <a:pt x="42" y="42"/>
                  <a:pt x="43" y="41"/>
                </a:cubicBezTo>
                <a:cubicBezTo>
                  <a:pt x="44" y="41"/>
                  <a:pt x="50" y="38"/>
                  <a:pt x="50" y="38"/>
                </a:cubicBezTo>
                <a:cubicBezTo>
                  <a:pt x="39" y="47"/>
                  <a:pt x="39" y="47"/>
                  <a:pt x="39" y="47"/>
                </a:cubicBezTo>
                <a:cubicBezTo>
                  <a:pt x="39" y="65"/>
                  <a:pt x="39" y="65"/>
                  <a:pt x="39" y="65"/>
                </a:cubicBezTo>
                <a:cubicBezTo>
                  <a:pt x="41" y="64"/>
                  <a:pt x="44" y="61"/>
                  <a:pt x="46" y="60"/>
                </a:cubicBezTo>
                <a:cubicBezTo>
                  <a:pt x="50" y="58"/>
                  <a:pt x="57" y="54"/>
                  <a:pt x="57" y="54"/>
                </a:cubicBezTo>
                <a:cubicBezTo>
                  <a:pt x="39" y="69"/>
                  <a:pt x="39" y="69"/>
                  <a:pt x="39" y="69"/>
                </a:cubicBezTo>
                <a:cubicBezTo>
                  <a:pt x="39" y="87"/>
                  <a:pt x="39" y="87"/>
                  <a:pt x="39" y="87"/>
                </a:cubicBezTo>
                <a:cubicBezTo>
                  <a:pt x="42" y="85"/>
                  <a:pt x="47" y="80"/>
                  <a:pt x="49" y="78"/>
                </a:cubicBezTo>
                <a:cubicBezTo>
                  <a:pt x="51" y="76"/>
                  <a:pt x="64" y="70"/>
                  <a:pt x="64" y="70"/>
                </a:cubicBezTo>
                <a:cubicBezTo>
                  <a:pt x="39" y="91"/>
                  <a:pt x="39" y="91"/>
                  <a:pt x="39" y="91"/>
                </a:cubicBezTo>
                <a:cubicBezTo>
                  <a:pt x="39" y="106"/>
                  <a:pt x="39" y="106"/>
                  <a:pt x="39" y="106"/>
                </a:cubicBezTo>
                <a:cubicBezTo>
                  <a:pt x="39" y="106"/>
                  <a:pt x="39" y="106"/>
                  <a:pt x="39" y="106"/>
                </a:cubicBezTo>
                <a:cubicBezTo>
                  <a:pt x="39" y="118"/>
                  <a:pt x="39" y="118"/>
                  <a:pt x="39" y="118"/>
                </a:cubicBezTo>
                <a:cubicBezTo>
                  <a:pt x="45" y="118"/>
                  <a:pt x="45" y="118"/>
                  <a:pt x="45" y="118"/>
                </a:cubicBezTo>
                <a:cubicBezTo>
                  <a:pt x="45" y="107"/>
                  <a:pt x="45" y="107"/>
                  <a:pt x="45" y="107"/>
                </a:cubicBezTo>
                <a:cubicBezTo>
                  <a:pt x="61" y="104"/>
                  <a:pt x="72" y="90"/>
                  <a:pt x="72" y="74"/>
                </a:cubicBezTo>
                <a:cubicBezTo>
                  <a:pt x="72" y="74"/>
                  <a:pt x="72" y="74"/>
                  <a:pt x="72" y="74"/>
                </a:cubicBezTo>
                <a:cubicBezTo>
                  <a:pt x="74" y="51"/>
                  <a:pt x="38" y="0"/>
                  <a:pt x="38" y="0"/>
                </a:cubicBezTo>
                <a:close/>
              </a:path>
            </a:pathLst>
          </a:custGeom>
          <a:noFill/>
          <a:ln w="9525">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912" fontAlgn="base">
              <a:spcBef>
                <a:spcPct val="0"/>
              </a:spcBef>
              <a:spcAft>
                <a:spcPct val="0"/>
              </a:spcAft>
            </a:pPr>
            <a:endParaRPr lang="en-GB" sz="2051" dirty="0">
              <a:solidFill>
                <a:srgbClr val="000000"/>
              </a:solidFill>
              <a:cs typeface="Arial" pitchFamily="34" charset="0"/>
            </a:endParaRPr>
          </a:p>
        </p:txBody>
      </p:sp>
      <p:grpSp>
        <p:nvGrpSpPr>
          <p:cNvPr id="330" name="Группа 329"/>
          <p:cNvGrpSpPr/>
          <p:nvPr/>
        </p:nvGrpSpPr>
        <p:grpSpPr>
          <a:xfrm>
            <a:off x="8420994" y="1551010"/>
            <a:ext cx="863634" cy="687705"/>
            <a:chOff x="9557623" y="1382888"/>
            <a:chExt cx="1247783" cy="993600"/>
          </a:xfrm>
        </p:grpSpPr>
        <p:sp>
          <p:nvSpPr>
            <p:cNvPr id="331" name="Freeform 67"/>
            <p:cNvSpPr>
              <a:spLocks noChangeAspect="1" noEditPoints="1"/>
            </p:cNvSpPr>
            <p:nvPr/>
          </p:nvSpPr>
          <p:spPr bwMode="auto">
            <a:xfrm>
              <a:off x="10481489" y="1382888"/>
              <a:ext cx="165464" cy="259857"/>
            </a:xfrm>
            <a:custGeom>
              <a:avLst/>
              <a:gdLst/>
              <a:ahLst/>
              <a:cxnLst>
                <a:cxn ang="0">
                  <a:pos x="21" y="0"/>
                </a:cxn>
                <a:cxn ang="0">
                  <a:pos x="0" y="20"/>
                </a:cxn>
                <a:cxn ang="0">
                  <a:pos x="21" y="65"/>
                </a:cxn>
                <a:cxn ang="0">
                  <a:pos x="41" y="20"/>
                </a:cxn>
                <a:cxn ang="0">
                  <a:pos x="21" y="0"/>
                </a:cxn>
                <a:cxn ang="0">
                  <a:pos x="21" y="31"/>
                </a:cxn>
                <a:cxn ang="0">
                  <a:pos x="10" y="20"/>
                </a:cxn>
                <a:cxn ang="0">
                  <a:pos x="21" y="9"/>
                </a:cxn>
                <a:cxn ang="0">
                  <a:pos x="32" y="20"/>
                </a:cxn>
                <a:cxn ang="0">
                  <a:pos x="21" y="31"/>
                </a:cxn>
              </a:cxnLst>
              <a:rect l="0" t="0" r="r" b="b"/>
              <a:pathLst>
                <a:path w="41" h="65">
                  <a:moveTo>
                    <a:pt x="21" y="0"/>
                  </a:moveTo>
                  <a:cubicBezTo>
                    <a:pt x="9" y="0"/>
                    <a:pt x="0" y="9"/>
                    <a:pt x="0" y="20"/>
                  </a:cubicBezTo>
                  <a:cubicBezTo>
                    <a:pt x="0" y="40"/>
                    <a:pt x="21" y="65"/>
                    <a:pt x="21" y="65"/>
                  </a:cubicBezTo>
                  <a:cubicBezTo>
                    <a:pt x="21" y="65"/>
                    <a:pt x="41" y="40"/>
                    <a:pt x="41" y="20"/>
                  </a:cubicBezTo>
                  <a:cubicBezTo>
                    <a:pt x="41" y="9"/>
                    <a:pt x="32" y="0"/>
                    <a:pt x="21" y="0"/>
                  </a:cubicBezTo>
                  <a:close/>
                  <a:moveTo>
                    <a:pt x="21" y="31"/>
                  </a:moveTo>
                  <a:cubicBezTo>
                    <a:pt x="15" y="31"/>
                    <a:pt x="10" y="27"/>
                    <a:pt x="10" y="20"/>
                  </a:cubicBezTo>
                  <a:cubicBezTo>
                    <a:pt x="10" y="14"/>
                    <a:pt x="15" y="9"/>
                    <a:pt x="21" y="9"/>
                  </a:cubicBezTo>
                  <a:cubicBezTo>
                    <a:pt x="27" y="9"/>
                    <a:pt x="32" y="14"/>
                    <a:pt x="32" y="20"/>
                  </a:cubicBezTo>
                  <a:cubicBezTo>
                    <a:pt x="32" y="27"/>
                    <a:pt x="27" y="31"/>
                    <a:pt x="21" y="31"/>
                  </a:cubicBezTo>
                  <a:close/>
                </a:path>
              </a:pathLst>
            </a:custGeom>
            <a:noFill/>
            <a:ln w="9525">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912" fontAlgn="base">
                <a:spcBef>
                  <a:spcPct val="0"/>
                </a:spcBef>
                <a:spcAft>
                  <a:spcPct val="0"/>
                </a:spcAft>
              </a:pPr>
              <a:endParaRPr lang="en-GB" sz="2051" dirty="0">
                <a:solidFill>
                  <a:srgbClr val="000000"/>
                </a:solidFill>
                <a:cs typeface="Arial" pitchFamily="34" charset="0"/>
              </a:endParaRPr>
            </a:p>
          </p:txBody>
        </p:sp>
        <p:grpSp>
          <p:nvGrpSpPr>
            <p:cNvPr id="332" name="Группа 331"/>
            <p:cNvGrpSpPr/>
            <p:nvPr/>
          </p:nvGrpSpPr>
          <p:grpSpPr>
            <a:xfrm>
              <a:off x="9557623" y="1677037"/>
              <a:ext cx="1247783" cy="699451"/>
              <a:chOff x="0" y="258738"/>
              <a:chExt cx="8249681" cy="4048632"/>
            </a:xfrm>
            <a:solidFill>
              <a:sysClr val="window" lastClr="FFFFFF"/>
            </a:solidFill>
          </p:grpSpPr>
          <p:sp>
            <p:nvSpPr>
              <p:cNvPr id="333" name="Freeform 5"/>
              <p:cNvSpPr>
                <a:spLocks noEditPoints="1"/>
              </p:cNvSpPr>
              <p:nvPr/>
            </p:nvSpPr>
            <p:spPr bwMode="auto">
              <a:xfrm>
                <a:off x="6898991" y="258738"/>
                <a:ext cx="92914" cy="92914"/>
              </a:xfrm>
              <a:custGeom>
                <a:avLst/>
                <a:gdLst>
                  <a:gd name="T0" fmla="*/ 30 w 54"/>
                  <a:gd name="T1" fmla="*/ 6 h 54"/>
                  <a:gd name="T2" fmla="*/ 32 w 54"/>
                  <a:gd name="T3" fmla="*/ 4 h 54"/>
                  <a:gd name="T4" fmla="*/ 32 w 54"/>
                  <a:gd name="T5" fmla="*/ 4 h 54"/>
                  <a:gd name="T6" fmla="*/ 34 w 54"/>
                  <a:gd name="T7" fmla="*/ 6 h 54"/>
                  <a:gd name="T8" fmla="*/ 32 w 54"/>
                  <a:gd name="T9" fmla="*/ 8 h 54"/>
                  <a:gd name="T10" fmla="*/ 36 w 54"/>
                  <a:gd name="T11" fmla="*/ 6 h 54"/>
                  <a:gd name="T12" fmla="*/ 38 w 54"/>
                  <a:gd name="T13" fmla="*/ 4 h 54"/>
                  <a:gd name="T14" fmla="*/ 38 w 54"/>
                  <a:gd name="T15" fmla="*/ 6 h 54"/>
                  <a:gd name="T16" fmla="*/ 38 w 54"/>
                  <a:gd name="T17" fmla="*/ 6 h 54"/>
                  <a:gd name="T18" fmla="*/ 40 w 54"/>
                  <a:gd name="T19" fmla="*/ 4 h 54"/>
                  <a:gd name="T20" fmla="*/ 40 w 54"/>
                  <a:gd name="T21" fmla="*/ 4 h 54"/>
                  <a:gd name="T22" fmla="*/ 44 w 54"/>
                  <a:gd name="T23" fmla="*/ 2 h 54"/>
                  <a:gd name="T24" fmla="*/ 42 w 54"/>
                  <a:gd name="T25" fmla="*/ 2 h 54"/>
                  <a:gd name="T26" fmla="*/ 46 w 54"/>
                  <a:gd name="T27" fmla="*/ 2 h 54"/>
                  <a:gd name="T28" fmla="*/ 48 w 54"/>
                  <a:gd name="T29" fmla="*/ 0 h 54"/>
                  <a:gd name="T30" fmla="*/ 54 w 54"/>
                  <a:gd name="T31" fmla="*/ 2 h 54"/>
                  <a:gd name="T32" fmla="*/ 54 w 54"/>
                  <a:gd name="T33" fmla="*/ 8 h 54"/>
                  <a:gd name="T34" fmla="*/ 54 w 54"/>
                  <a:gd name="T35" fmla="*/ 12 h 54"/>
                  <a:gd name="T36" fmla="*/ 50 w 54"/>
                  <a:gd name="T37" fmla="*/ 16 h 54"/>
                  <a:gd name="T38" fmla="*/ 44 w 54"/>
                  <a:gd name="T39" fmla="*/ 18 h 54"/>
                  <a:gd name="T40" fmla="*/ 44 w 54"/>
                  <a:gd name="T41" fmla="*/ 18 h 54"/>
                  <a:gd name="T42" fmla="*/ 48 w 54"/>
                  <a:gd name="T43" fmla="*/ 18 h 54"/>
                  <a:gd name="T44" fmla="*/ 52 w 54"/>
                  <a:gd name="T45" fmla="*/ 14 h 54"/>
                  <a:gd name="T46" fmla="*/ 54 w 54"/>
                  <a:gd name="T47" fmla="*/ 16 h 54"/>
                  <a:gd name="T48" fmla="*/ 50 w 54"/>
                  <a:gd name="T49" fmla="*/ 21 h 54"/>
                  <a:gd name="T50" fmla="*/ 48 w 54"/>
                  <a:gd name="T51" fmla="*/ 27 h 54"/>
                  <a:gd name="T52" fmla="*/ 48 w 54"/>
                  <a:gd name="T53" fmla="*/ 25 h 54"/>
                  <a:gd name="T54" fmla="*/ 46 w 54"/>
                  <a:gd name="T55" fmla="*/ 31 h 54"/>
                  <a:gd name="T56" fmla="*/ 44 w 54"/>
                  <a:gd name="T57" fmla="*/ 33 h 54"/>
                  <a:gd name="T58" fmla="*/ 44 w 54"/>
                  <a:gd name="T59" fmla="*/ 33 h 54"/>
                  <a:gd name="T60" fmla="*/ 42 w 54"/>
                  <a:gd name="T61" fmla="*/ 39 h 54"/>
                  <a:gd name="T62" fmla="*/ 38 w 54"/>
                  <a:gd name="T63" fmla="*/ 44 h 54"/>
                  <a:gd name="T64" fmla="*/ 36 w 54"/>
                  <a:gd name="T65" fmla="*/ 46 h 54"/>
                  <a:gd name="T66" fmla="*/ 36 w 54"/>
                  <a:gd name="T67" fmla="*/ 46 h 54"/>
                  <a:gd name="T68" fmla="*/ 34 w 54"/>
                  <a:gd name="T69" fmla="*/ 52 h 54"/>
                  <a:gd name="T70" fmla="*/ 34 w 54"/>
                  <a:gd name="T71" fmla="*/ 48 h 54"/>
                  <a:gd name="T72" fmla="*/ 32 w 54"/>
                  <a:gd name="T73" fmla="*/ 48 h 54"/>
                  <a:gd name="T74" fmla="*/ 30 w 54"/>
                  <a:gd name="T75" fmla="*/ 50 h 54"/>
                  <a:gd name="T76" fmla="*/ 0 w 54"/>
                  <a:gd name="T77" fmla="*/ 35 h 54"/>
                  <a:gd name="T78" fmla="*/ 2 w 54"/>
                  <a:gd name="T79" fmla="*/ 33 h 54"/>
                  <a:gd name="T80" fmla="*/ 4 w 54"/>
                  <a:gd name="T81" fmla="*/ 31 h 54"/>
                  <a:gd name="T82" fmla="*/ 2 w 54"/>
                  <a:gd name="T83" fmla="*/ 33 h 54"/>
                  <a:gd name="T84" fmla="*/ 4 w 54"/>
                  <a:gd name="T85" fmla="*/ 27 h 54"/>
                  <a:gd name="T86" fmla="*/ 4 w 54"/>
                  <a:gd name="T87" fmla="*/ 27 h 54"/>
                  <a:gd name="T88" fmla="*/ 7 w 54"/>
                  <a:gd name="T89" fmla="*/ 25 h 54"/>
                  <a:gd name="T90" fmla="*/ 9 w 54"/>
                  <a:gd name="T91" fmla="*/ 23 h 54"/>
                  <a:gd name="T92" fmla="*/ 11 w 54"/>
                  <a:gd name="T93" fmla="*/ 21 h 54"/>
                  <a:gd name="T94" fmla="*/ 11 w 54"/>
                  <a:gd name="T95" fmla="*/ 19 h 54"/>
                  <a:gd name="T96" fmla="*/ 13 w 54"/>
                  <a:gd name="T97" fmla="*/ 18 h 54"/>
                  <a:gd name="T98" fmla="*/ 13 w 54"/>
                  <a:gd name="T99" fmla="*/ 18 h 54"/>
                  <a:gd name="T100" fmla="*/ 13 w 54"/>
                  <a:gd name="T101" fmla="*/ 14 h 54"/>
                  <a:gd name="T102" fmla="*/ 13 w 54"/>
                  <a:gd name="T103" fmla="*/ 14 h 54"/>
                  <a:gd name="T104" fmla="*/ 15 w 54"/>
                  <a:gd name="T105" fmla="*/ 12 h 54"/>
                  <a:gd name="T106" fmla="*/ 17 w 54"/>
                  <a:gd name="T107" fmla="*/ 10 h 54"/>
                  <a:gd name="T108" fmla="*/ 21 w 54"/>
                  <a:gd name="T109" fmla="*/ 8 h 54"/>
                  <a:gd name="T110" fmla="*/ 29 w 54"/>
                  <a:gd name="T111" fmla="*/ 4 h 54"/>
                  <a:gd name="T112" fmla="*/ 17 w 54"/>
                  <a:gd name="T113" fmla="*/ 16 h 54"/>
                  <a:gd name="T114" fmla="*/ 19 w 54"/>
                  <a:gd name="T115" fmla="*/ 18 h 54"/>
                  <a:gd name="T116" fmla="*/ 25 w 54"/>
                  <a:gd name="T117" fmla="*/ 19 h 54"/>
                  <a:gd name="T118" fmla="*/ 25 w 54"/>
                  <a:gd name="T119" fmla="*/ 19 h 54"/>
                  <a:gd name="T120" fmla="*/ 19 w 54"/>
                  <a:gd name="T121" fmla="*/ 1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54">
                    <a:moveTo>
                      <a:pt x="25" y="6"/>
                    </a:moveTo>
                    <a:lnTo>
                      <a:pt x="27" y="6"/>
                    </a:lnTo>
                    <a:lnTo>
                      <a:pt x="29" y="6"/>
                    </a:lnTo>
                    <a:lnTo>
                      <a:pt x="30" y="6"/>
                    </a:lnTo>
                    <a:lnTo>
                      <a:pt x="30" y="4"/>
                    </a:lnTo>
                    <a:lnTo>
                      <a:pt x="30" y="2"/>
                    </a:lnTo>
                    <a:lnTo>
                      <a:pt x="32" y="2"/>
                    </a:lnTo>
                    <a:lnTo>
                      <a:pt x="32" y="4"/>
                    </a:lnTo>
                    <a:lnTo>
                      <a:pt x="32" y="2"/>
                    </a:lnTo>
                    <a:lnTo>
                      <a:pt x="34" y="2"/>
                    </a:lnTo>
                    <a:lnTo>
                      <a:pt x="34" y="4"/>
                    </a:lnTo>
                    <a:lnTo>
                      <a:pt x="32" y="4"/>
                    </a:lnTo>
                    <a:lnTo>
                      <a:pt x="34" y="4"/>
                    </a:lnTo>
                    <a:lnTo>
                      <a:pt x="32" y="4"/>
                    </a:lnTo>
                    <a:lnTo>
                      <a:pt x="34" y="4"/>
                    </a:lnTo>
                    <a:lnTo>
                      <a:pt x="34" y="6"/>
                    </a:lnTo>
                    <a:lnTo>
                      <a:pt x="32" y="6"/>
                    </a:lnTo>
                    <a:lnTo>
                      <a:pt x="32" y="8"/>
                    </a:lnTo>
                    <a:lnTo>
                      <a:pt x="32" y="10"/>
                    </a:lnTo>
                    <a:lnTo>
                      <a:pt x="32" y="8"/>
                    </a:lnTo>
                    <a:lnTo>
                      <a:pt x="32" y="6"/>
                    </a:lnTo>
                    <a:lnTo>
                      <a:pt x="34" y="6"/>
                    </a:lnTo>
                    <a:lnTo>
                      <a:pt x="34" y="4"/>
                    </a:lnTo>
                    <a:lnTo>
                      <a:pt x="36" y="6"/>
                    </a:lnTo>
                    <a:lnTo>
                      <a:pt x="36" y="4"/>
                    </a:lnTo>
                    <a:lnTo>
                      <a:pt x="34" y="4"/>
                    </a:lnTo>
                    <a:lnTo>
                      <a:pt x="36" y="4"/>
                    </a:lnTo>
                    <a:lnTo>
                      <a:pt x="38" y="4"/>
                    </a:lnTo>
                    <a:lnTo>
                      <a:pt x="40" y="2"/>
                    </a:lnTo>
                    <a:lnTo>
                      <a:pt x="40" y="4"/>
                    </a:lnTo>
                    <a:lnTo>
                      <a:pt x="38" y="4"/>
                    </a:lnTo>
                    <a:lnTo>
                      <a:pt x="38" y="6"/>
                    </a:lnTo>
                    <a:lnTo>
                      <a:pt x="38" y="8"/>
                    </a:lnTo>
                    <a:lnTo>
                      <a:pt x="38" y="10"/>
                    </a:lnTo>
                    <a:lnTo>
                      <a:pt x="38" y="8"/>
                    </a:lnTo>
                    <a:lnTo>
                      <a:pt x="38" y="6"/>
                    </a:lnTo>
                    <a:lnTo>
                      <a:pt x="38" y="4"/>
                    </a:lnTo>
                    <a:lnTo>
                      <a:pt x="40" y="4"/>
                    </a:lnTo>
                    <a:lnTo>
                      <a:pt x="38" y="4"/>
                    </a:lnTo>
                    <a:lnTo>
                      <a:pt x="40" y="4"/>
                    </a:lnTo>
                    <a:lnTo>
                      <a:pt x="40" y="6"/>
                    </a:lnTo>
                    <a:lnTo>
                      <a:pt x="40" y="4"/>
                    </a:lnTo>
                    <a:lnTo>
                      <a:pt x="40" y="2"/>
                    </a:lnTo>
                    <a:lnTo>
                      <a:pt x="40" y="4"/>
                    </a:lnTo>
                    <a:lnTo>
                      <a:pt x="42" y="4"/>
                    </a:lnTo>
                    <a:lnTo>
                      <a:pt x="42" y="2"/>
                    </a:lnTo>
                    <a:lnTo>
                      <a:pt x="42" y="4"/>
                    </a:lnTo>
                    <a:lnTo>
                      <a:pt x="44" y="2"/>
                    </a:lnTo>
                    <a:lnTo>
                      <a:pt x="40" y="2"/>
                    </a:lnTo>
                    <a:lnTo>
                      <a:pt x="38" y="2"/>
                    </a:lnTo>
                    <a:lnTo>
                      <a:pt x="40" y="2"/>
                    </a:lnTo>
                    <a:lnTo>
                      <a:pt x="42" y="2"/>
                    </a:lnTo>
                    <a:lnTo>
                      <a:pt x="44" y="2"/>
                    </a:lnTo>
                    <a:lnTo>
                      <a:pt x="46" y="2"/>
                    </a:lnTo>
                    <a:lnTo>
                      <a:pt x="46" y="4"/>
                    </a:lnTo>
                    <a:lnTo>
                      <a:pt x="46" y="2"/>
                    </a:lnTo>
                    <a:lnTo>
                      <a:pt x="46" y="4"/>
                    </a:lnTo>
                    <a:lnTo>
                      <a:pt x="46" y="2"/>
                    </a:lnTo>
                    <a:lnTo>
                      <a:pt x="48" y="2"/>
                    </a:lnTo>
                    <a:lnTo>
                      <a:pt x="48" y="0"/>
                    </a:lnTo>
                    <a:lnTo>
                      <a:pt x="50" y="0"/>
                    </a:lnTo>
                    <a:lnTo>
                      <a:pt x="52" y="0"/>
                    </a:lnTo>
                    <a:lnTo>
                      <a:pt x="52" y="2"/>
                    </a:lnTo>
                    <a:lnTo>
                      <a:pt x="54" y="2"/>
                    </a:lnTo>
                    <a:lnTo>
                      <a:pt x="52" y="2"/>
                    </a:lnTo>
                    <a:lnTo>
                      <a:pt x="54" y="4"/>
                    </a:lnTo>
                    <a:lnTo>
                      <a:pt x="54" y="6"/>
                    </a:lnTo>
                    <a:lnTo>
                      <a:pt x="54" y="8"/>
                    </a:lnTo>
                    <a:lnTo>
                      <a:pt x="54" y="6"/>
                    </a:lnTo>
                    <a:lnTo>
                      <a:pt x="54" y="8"/>
                    </a:lnTo>
                    <a:lnTo>
                      <a:pt x="54" y="10"/>
                    </a:lnTo>
                    <a:lnTo>
                      <a:pt x="54" y="12"/>
                    </a:lnTo>
                    <a:lnTo>
                      <a:pt x="52" y="12"/>
                    </a:lnTo>
                    <a:lnTo>
                      <a:pt x="52" y="14"/>
                    </a:lnTo>
                    <a:lnTo>
                      <a:pt x="50" y="14"/>
                    </a:lnTo>
                    <a:lnTo>
                      <a:pt x="50" y="16"/>
                    </a:lnTo>
                    <a:lnTo>
                      <a:pt x="48" y="16"/>
                    </a:lnTo>
                    <a:lnTo>
                      <a:pt x="48" y="18"/>
                    </a:lnTo>
                    <a:lnTo>
                      <a:pt x="46" y="18"/>
                    </a:lnTo>
                    <a:lnTo>
                      <a:pt x="44" y="18"/>
                    </a:lnTo>
                    <a:lnTo>
                      <a:pt x="42" y="18"/>
                    </a:lnTo>
                    <a:lnTo>
                      <a:pt x="40" y="18"/>
                    </a:lnTo>
                    <a:lnTo>
                      <a:pt x="42" y="18"/>
                    </a:lnTo>
                    <a:lnTo>
                      <a:pt x="44" y="18"/>
                    </a:lnTo>
                    <a:lnTo>
                      <a:pt x="44" y="19"/>
                    </a:lnTo>
                    <a:lnTo>
                      <a:pt x="44" y="18"/>
                    </a:lnTo>
                    <a:lnTo>
                      <a:pt x="46" y="18"/>
                    </a:lnTo>
                    <a:lnTo>
                      <a:pt x="48" y="18"/>
                    </a:lnTo>
                    <a:lnTo>
                      <a:pt x="48" y="16"/>
                    </a:lnTo>
                    <a:lnTo>
                      <a:pt x="50" y="16"/>
                    </a:lnTo>
                    <a:lnTo>
                      <a:pt x="50" y="14"/>
                    </a:lnTo>
                    <a:lnTo>
                      <a:pt x="52" y="14"/>
                    </a:lnTo>
                    <a:lnTo>
                      <a:pt x="52" y="12"/>
                    </a:lnTo>
                    <a:lnTo>
                      <a:pt x="54" y="12"/>
                    </a:lnTo>
                    <a:lnTo>
                      <a:pt x="54" y="14"/>
                    </a:lnTo>
                    <a:lnTo>
                      <a:pt x="54" y="16"/>
                    </a:lnTo>
                    <a:lnTo>
                      <a:pt x="52" y="18"/>
                    </a:lnTo>
                    <a:lnTo>
                      <a:pt x="52" y="19"/>
                    </a:lnTo>
                    <a:lnTo>
                      <a:pt x="50" y="19"/>
                    </a:lnTo>
                    <a:lnTo>
                      <a:pt x="50" y="21"/>
                    </a:lnTo>
                    <a:lnTo>
                      <a:pt x="50" y="23"/>
                    </a:lnTo>
                    <a:lnTo>
                      <a:pt x="48" y="23"/>
                    </a:lnTo>
                    <a:lnTo>
                      <a:pt x="48" y="25"/>
                    </a:lnTo>
                    <a:lnTo>
                      <a:pt x="48" y="27"/>
                    </a:lnTo>
                    <a:lnTo>
                      <a:pt x="46" y="29"/>
                    </a:lnTo>
                    <a:lnTo>
                      <a:pt x="46" y="27"/>
                    </a:lnTo>
                    <a:lnTo>
                      <a:pt x="48" y="27"/>
                    </a:lnTo>
                    <a:lnTo>
                      <a:pt x="48" y="25"/>
                    </a:lnTo>
                    <a:lnTo>
                      <a:pt x="48" y="27"/>
                    </a:lnTo>
                    <a:lnTo>
                      <a:pt x="46" y="27"/>
                    </a:lnTo>
                    <a:lnTo>
                      <a:pt x="46" y="29"/>
                    </a:lnTo>
                    <a:lnTo>
                      <a:pt x="46" y="31"/>
                    </a:lnTo>
                    <a:lnTo>
                      <a:pt x="46" y="29"/>
                    </a:lnTo>
                    <a:lnTo>
                      <a:pt x="46" y="31"/>
                    </a:lnTo>
                    <a:lnTo>
                      <a:pt x="44" y="31"/>
                    </a:lnTo>
                    <a:lnTo>
                      <a:pt x="44" y="33"/>
                    </a:lnTo>
                    <a:lnTo>
                      <a:pt x="44" y="35"/>
                    </a:lnTo>
                    <a:lnTo>
                      <a:pt x="42" y="35"/>
                    </a:lnTo>
                    <a:lnTo>
                      <a:pt x="44" y="35"/>
                    </a:lnTo>
                    <a:lnTo>
                      <a:pt x="44" y="33"/>
                    </a:lnTo>
                    <a:lnTo>
                      <a:pt x="44" y="35"/>
                    </a:lnTo>
                    <a:lnTo>
                      <a:pt x="42" y="35"/>
                    </a:lnTo>
                    <a:lnTo>
                      <a:pt x="42" y="37"/>
                    </a:lnTo>
                    <a:lnTo>
                      <a:pt x="42" y="39"/>
                    </a:lnTo>
                    <a:lnTo>
                      <a:pt x="40" y="41"/>
                    </a:lnTo>
                    <a:lnTo>
                      <a:pt x="40" y="43"/>
                    </a:lnTo>
                    <a:lnTo>
                      <a:pt x="40" y="44"/>
                    </a:lnTo>
                    <a:lnTo>
                      <a:pt x="38" y="44"/>
                    </a:lnTo>
                    <a:lnTo>
                      <a:pt x="38" y="46"/>
                    </a:lnTo>
                    <a:lnTo>
                      <a:pt x="36" y="46"/>
                    </a:lnTo>
                    <a:lnTo>
                      <a:pt x="38" y="46"/>
                    </a:lnTo>
                    <a:lnTo>
                      <a:pt x="36" y="46"/>
                    </a:lnTo>
                    <a:lnTo>
                      <a:pt x="36" y="48"/>
                    </a:lnTo>
                    <a:lnTo>
                      <a:pt x="36" y="46"/>
                    </a:lnTo>
                    <a:lnTo>
                      <a:pt x="36" y="48"/>
                    </a:lnTo>
                    <a:lnTo>
                      <a:pt x="36" y="46"/>
                    </a:lnTo>
                    <a:lnTo>
                      <a:pt x="36" y="48"/>
                    </a:lnTo>
                    <a:lnTo>
                      <a:pt x="36" y="50"/>
                    </a:lnTo>
                    <a:lnTo>
                      <a:pt x="36" y="52"/>
                    </a:lnTo>
                    <a:lnTo>
                      <a:pt x="34" y="52"/>
                    </a:lnTo>
                    <a:lnTo>
                      <a:pt x="34" y="50"/>
                    </a:lnTo>
                    <a:lnTo>
                      <a:pt x="36" y="50"/>
                    </a:lnTo>
                    <a:lnTo>
                      <a:pt x="36" y="48"/>
                    </a:lnTo>
                    <a:lnTo>
                      <a:pt x="34" y="48"/>
                    </a:lnTo>
                    <a:lnTo>
                      <a:pt x="32" y="50"/>
                    </a:lnTo>
                    <a:lnTo>
                      <a:pt x="32" y="48"/>
                    </a:lnTo>
                    <a:lnTo>
                      <a:pt x="32" y="50"/>
                    </a:lnTo>
                    <a:lnTo>
                      <a:pt x="32" y="48"/>
                    </a:lnTo>
                    <a:lnTo>
                      <a:pt x="34" y="48"/>
                    </a:lnTo>
                    <a:lnTo>
                      <a:pt x="32" y="48"/>
                    </a:lnTo>
                    <a:lnTo>
                      <a:pt x="32" y="50"/>
                    </a:lnTo>
                    <a:lnTo>
                      <a:pt x="30" y="50"/>
                    </a:lnTo>
                    <a:lnTo>
                      <a:pt x="29" y="52"/>
                    </a:lnTo>
                    <a:lnTo>
                      <a:pt x="25" y="54"/>
                    </a:lnTo>
                    <a:lnTo>
                      <a:pt x="23" y="54"/>
                    </a:lnTo>
                    <a:lnTo>
                      <a:pt x="0" y="35"/>
                    </a:lnTo>
                    <a:lnTo>
                      <a:pt x="0" y="33"/>
                    </a:lnTo>
                    <a:lnTo>
                      <a:pt x="0" y="35"/>
                    </a:lnTo>
                    <a:lnTo>
                      <a:pt x="2" y="35"/>
                    </a:lnTo>
                    <a:lnTo>
                      <a:pt x="2" y="33"/>
                    </a:lnTo>
                    <a:lnTo>
                      <a:pt x="4" y="33"/>
                    </a:lnTo>
                    <a:lnTo>
                      <a:pt x="2" y="33"/>
                    </a:lnTo>
                    <a:lnTo>
                      <a:pt x="4" y="33"/>
                    </a:lnTo>
                    <a:lnTo>
                      <a:pt x="4" y="31"/>
                    </a:lnTo>
                    <a:lnTo>
                      <a:pt x="4" y="33"/>
                    </a:lnTo>
                    <a:lnTo>
                      <a:pt x="4" y="31"/>
                    </a:lnTo>
                    <a:lnTo>
                      <a:pt x="2" y="31"/>
                    </a:lnTo>
                    <a:lnTo>
                      <a:pt x="2" y="33"/>
                    </a:lnTo>
                    <a:lnTo>
                      <a:pt x="2" y="31"/>
                    </a:lnTo>
                    <a:lnTo>
                      <a:pt x="4" y="31"/>
                    </a:lnTo>
                    <a:lnTo>
                      <a:pt x="4" y="29"/>
                    </a:lnTo>
                    <a:lnTo>
                      <a:pt x="4" y="27"/>
                    </a:lnTo>
                    <a:lnTo>
                      <a:pt x="4" y="29"/>
                    </a:lnTo>
                    <a:lnTo>
                      <a:pt x="6" y="29"/>
                    </a:lnTo>
                    <a:lnTo>
                      <a:pt x="6" y="27"/>
                    </a:lnTo>
                    <a:lnTo>
                      <a:pt x="4" y="27"/>
                    </a:lnTo>
                    <a:lnTo>
                      <a:pt x="6" y="27"/>
                    </a:lnTo>
                    <a:lnTo>
                      <a:pt x="4" y="25"/>
                    </a:lnTo>
                    <a:lnTo>
                      <a:pt x="6" y="25"/>
                    </a:lnTo>
                    <a:lnTo>
                      <a:pt x="7" y="25"/>
                    </a:lnTo>
                    <a:lnTo>
                      <a:pt x="7" y="23"/>
                    </a:lnTo>
                    <a:lnTo>
                      <a:pt x="7" y="25"/>
                    </a:lnTo>
                    <a:lnTo>
                      <a:pt x="7" y="23"/>
                    </a:lnTo>
                    <a:lnTo>
                      <a:pt x="9" y="23"/>
                    </a:lnTo>
                    <a:lnTo>
                      <a:pt x="9" y="21"/>
                    </a:lnTo>
                    <a:lnTo>
                      <a:pt x="9" y="23"/>
                    </a:lnTo>
                    <a:lnTo>
                      <a:pt x="11" y="23"/>
                    </a:lnTo>
                    <a:lnTo>
                      <a:pt x="11" y="21"/>
                    </a:lnTo>
                    <a:lnTo>
                      <a:pt x="11" y="19"/>
                    </a:lnTo>
                    <a:lnTo>
                      <a:pt x="11" y="21"/>
                    </a:lnTo>
                    <a:lnTo>
                      <a:pt x="13" y="21"/>
                    </a:lnTo>
                    <a:lnTo>
                      <a:pt x="11" y="19"/>
                    </a:lnTo>
                    <a:lnTo>
                      <a:pt x="11" y="21"/>
                    </a:lnTo>
                    <a:lnTo>
                      <a:pt x="11" y="19"/>
                    </a:lnTo>
                    <a:lnTo>
                      <a:pt x="11" y="18"/>
                    </a:lnTo>
                    <a:lnTo>
                      <a:pt x="13" y="18"/>
                    </a:lnTo>
                    <a:lnTo>
                      <a:pt x="15" y="18"/>
                    </a:lnTo>
                    <a:lnTo>
                      <a:pt x="13" y="18"/>
                    </a:lnTo>
                    <a:lnTo>
                      <a:pt x="13" y="16"/>
                    </a:lnTo>
                    <a:lnTo>
                      <a:pt x="13" y="18"/>
                    </a:lnTo>
                    <a:lnTo>
                      <a:pt x="13" y="16"/>
                    </a:lnTo>
                    <a:lnTo>
                      <a:pt x="11" y="16"/>
                    </a:lnTo>
                    <a:lnTo>
                      <a:pt x="13" y="16"/>
                    </a:lnTo>
                    <a:lnTo>
                      <a:pt x="13" y="14"/>
                    </a:lnTo>
                    <a:lnTo>
                      <a:pt x="13" y="16"/>
                    </a:lnTo>
                    <a:lnTo>
                      <a:pt x="13" y="14"/>
                    </a:lnTo>
                    <a:lnTo>
                      <a:pt x="15" y="14"/>
                    </a:lnTo>
                    <a:lnTo>
                      <a:pt x="13" y="14"/>
                    </a:lnTo>
                    <a:lnTo>
                      <a:pt x="15" y="14"/>
                    </a:lnTo>
                    <a:lnTo>
                      <a:pt x="15" y="12"/>
                    </a:lnTo>
                    <a:lnTo>
                      <a:pt x="17" y="12"/>
                    </a:lnTo>
                    <a:lnTo>
                      <a:pt x="15" y="12"/>
                    </a:lnTo>
                    <a:lnTo>
                      <a:pt x="15" y="14"/>
                    </a:lnTo>
                    <a:lnTo>
                      <a:pt x="15" y="12"/>
                    </a:lnTo>
                    <a:lnTo>
                      <a:pt x="17" y="12"/>
                    </a:lnTo>
                    <a:lnTo>
                      <a:pt x="17" y="10"/>
                    </a:lnTo>
                    <a:lnTo>
                      <a:pt x="17" y="12"/>
                    </a:lnTo>
                    <a:lnTo>
                      <a:pt x="17" y="10"/>
                    </a:lnTo>
                    <a:lnTo>
                      <a:pt x="19" y="10"/>
                    </a:lnTo>
                    <a:lnTo>
                      <a:pt x="21" y="8"/>
                    </a:lnTo>
                    <a:lnTo>
                      <a:pt x="23" y="6"/>
                    </a:lnTo>
                    <a:lnTo>
                      <a:pt x="25" y="6"/>
                    </a:lnTo>
                    <a:lnTo>
                      <a:pt x="27" y="4"/>
                    </a:lnTo>
                    <a:lnTo>
                      <a:pt x="29" y="4"/>
                    </a:lnTo>
                    <a:lnTo>
                      <a:pt x="27" y="4"/>
                    </a:lnTo>
                    <a:lnTo>
                      <a:pt x="27" y="6"/>
                    </a:lnTo>
                    <a:lnTo>
                      <a:pt x="25" y="6"/>
                    </a:lnTo>
                    <a:close/>
                    <a:moveTo>
                      <a:pt x="17" y="16"/>
                    </a:moveTo>
                    <a:lnTo>
                      <a:pt x="15" y="18"/>
                    </a:lnTo>
                    <a:lnTo>
                      <a:pt x="17" y="16"/>
                    </a:lnTo>
                    <a:lnTo>
                      <a:pt x="19" y="16"/>
                    </a:lnTo>
                    <a:lnTo>
                      <a:pt x="19" y="18"/>
                    </a:lnTo>
                    <a:lnTo>
                      <a:pt x="21" y="18"/>
                    </a:lnTo>
                    <a:lnTo>
                      <a:pt x="21" y="19"/>
                    </a:lnTo>
                    <a:lnTo>
                      <a:pt x="23" y="19"/>
                    </a:lnTo>
                    <a:lnTo>
                      <a:pt x="25" y="19"/>
                    </a:lnTo>
                    <a:lnTo>
                      <a:pt x="27" y="19"/>
                    </a:lnTo>
                    <a:lnTo>
                      <a:pt x="27" y="21"/>
                    </a:lnTo>
                    <a:lnTo>
                      <a:pt x="27" y="19"/>
                    </a:lnTo>
                    <a:lnTo>
                      <a:pt x="25" y="19"/>
                    </a:lnTo>
                    <a:lnTo>
                      <a:pt x="23" y="19"/>
                    </a:lnTo>
                    <a:lnTo>
                      <a:pt x="21" y="18"/>
                    </a:lnTo>
                    <a:lnTo>
                      <a:pt x="19" y="18"/>
                    </a:lnTo>
                    <a:lnTo>
                      <a:pt x="19" y="16"/>
                    </a:lnTo>
                    <a:lnTo>
                      <a:pt x="17"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4" name="Freeform 6"/>
              <p:cNvSpPr>
                <a:spLocks/>
              </p:cNvSpPr>
              <p:nvPr/>
            </p:nvSpPr>
            <p:spPr bwMode="auto">
              <a:xfrm>
                <a:off x="5047597" y="3751608"/>
                <a:ext cx="218520" cy="172063"/>
              </a:xfrm>
              <a:custGeom>
                <a:avLst/>
                <a:gdLst>
                  <a:gd name="T0" fmla="*/ 100 w 127"/>
                  <a:gd name="T1" fmla="*/ 6 h 100"/>
                  <a:gd name="T2" fmla="*/ 111 w 127"/>
                  <a:gd name="T3" fmla="*/ 12 h 100"/>
                  <a:gd name="T4" fmla="*/ 117 w 127"/>
                  <a:gd name="T5" fmla="*/ 20 h 100"/>
                  <a:gd name="T6" fmla="*/ 123 w 127"/>
                  <a:gd name="T7" fmla="*/ 22 h 100"/>
                  <a:gd name="T8" fmla="*/ 121 w 127"/>
                  <a:gd name="T9" fmla="*/ 29 h 100"/>
                  <a:gd name="T10" fmla="*/ 119 w 127"/>
                  <a:gd name="T11" fmla="*/ 37 h 100"/>
                  <a:gd name="T12" fmla="*/ 115 w 127"/>
                  <a:gd name="T13" fmla="*/ 43 h 100"/>
                  <a:gd name="T14" fmla="*/ 113 w 127"/>
                  <a:gd name="T15" fmla="*/ 43 h 100"/>
                  <a:gd name="T16" fmla="*/ 106 w 127"/>
                  <a:gd name="T17" fmla="*/ 43 h 100"/>
                  <a:gd name="T18" fmla="*/ 106 w 127"/>
                  <a:gd name="T19" fmla="*/ 48 h 100"/>
                  <a:gd name="T20" fmla="*/ 106 w 127"/>
                  <a:gd name="T21" fmla="*/ 54 h 100"/>
                  <a:gd name="T22" fmla="*/ 115 w 127"/>
                  <a:gd name="T23" fmla="*/ 54 h 100"/>
                  <a:gd name="T24" fmla="*/ 123 w 127"/>
                  <a:gd name="T25" fmla="*/ 58 h 100"/>
                  <a:gd name="T26" fmla="*/ 127 w 127"/>
                  <a:gd name="T27" fmla="*/ 66 h 100"/>
                  <a:gd name="T28" fmla="*/ 121 w 127"/>
                  <a:gd name="T29" fmla="*/ 66 h 100"/>
                  <a:gd name="T30" fmla="*/ 119 w 127"/>
                  <a:gd name="T31" fmla="*/ 72 h 100"/>
                  <a:gd name="T32" fmla="*/ 113 w 127"/>
                  <a:gd name="T33" fmla="*/ 75 h 100"/>
                  <a:gd name="T34" fmla="*/ 107 w 127"/>
                  <a:gd name="T35" fmla="*/ 75 h 100"/>
                  <a:gd name="T36" fmla="*/ 104 w 127"/>
                  <a:gd name="T37" fmla="*/ 77 h 100"/>
                  <a:gd name="T38" fmla="*/ 102 w 127"/>
                  <a:gd name="T39" fmla="*/ 81 h 100"/>
                  <a:gd name="T40" fmla="*/ 96 w 127"/>
                  <a:gd name="T41" fmla="*/ 81 h 100"/>
                  <a:gd name="T42" fmla="*/ 92 w 127"/>
                  <a:gd name="T43" fmla="*/ 83 h 100"/>
                  <a:gd name="T44" fmla="*/ 84 w 127"/>
                  <a:gd name="T45" fmla="*/ 85 h 100"/>
                  <a:gd name="T46" fmla="*/ 81 w 127"/>
                  <a:gd name="T47" fmla="*/ 89 h 100"/>
                  <a:gd name="T48" fmla="*/ 77 w 127"/>
                  <a:gd name="T49" fmla="*/ 87 h 100"/>
                  <a:gd name="T50" fmla="*/ 73 w 127"/>
                  <a:gd name="T51" fmla="*/ 89 h 100"/>
                  <a:gd name="T52" fmla="*/ 69 w 127"/>
                  <a:gd name="T53" fmla="*/ 91 h 100"/>
                  <a:gd name="T54" fmla="*/ 65 w 127"/>
                  <a:gd name="T55" fmla="*/ 96 h 100"/>
                  <a:gd name="T56" fmla="*/ 59 w 127"/>
                  <a:gd name="T57" fmla="*/ 91 h 100"/>
                  <a:gd name="T58" fmla="*/ 48 w 127"/>
                  <a:gd name="T59" fmla="*/ 91 h 100"/>
                  <a:gd name="T60" fmla="*/ 46 w 127"/>
                  <a:gd name="T61" fmla="*/ 98 h 100"/>
                  <a:gd name="T62" fmla="*/ 42 w 127"/>
                  <a:gd name="T63" fmla="*/ 98 h 100"/>
                  <a:gd name="T64" fmla="*/ 38 w 127"/>
                  <a:gd name="T65" fmla="*/ 91 h 100"/>
                  <a:gd name="T66" fmla="*/ 34 w 127"/>
                  <a:gd name="T67" fmla="*/ 89 h 100"/>
                  <a:gd name="T68" fmla="*/ 29 w 127"/>
                  <a:gd name="T69" fmla="*/ 89 h 100"/>
                  <a:gd name="T70" fmla="*/ 19 w 127"/>
                  <a:gd name="T71" fmla="*/ 93 h 100"/>
                  <a:gd name="T72" fmla="*/ 15 w 127"/>
                  <a:gd name="T73" fmla="*/ 83 h 100"/>
                  <a:gd name="T74" fmla="*/ 8 w 127"/>
                  <a:gd name="T75" fmla="*/ 77 h 100"/>
                  <a:gd name="T76" fmla="*/ 0 w 127"/>
                  <a:gd name="T77" fmla="*/ 75 h 100"/>
                  <a:gd name="T78" fmla="*/ 2 w 127"/>
                  <a:gd name="T79" fmla="*/ 64 h 100"/>
                  <a:gd name="T80" fmla="*/ 6 w 127"/>
                  <a:gd name="T81" fmla="*/ 56 h 100"/>
                  <a:gd name="T82" fmla="*/ 11 w 127"/>
                  <a:gd name="T83" fmla="*/ 54 h 100"/>
                  <a:gd name="T84" fmla="*/ 17 w 127"/>
                  <a:gd name="T85" fmla="*/ 60 h 100"/>
                  <a:gd name="T86" fmla="*/ 23 w 127"/>
                  <a:gd name="T87" fmla="*/ 66 h 100"/>
                  <a:gd name="T88" fmla="*/ 29 w 127"/>
                  <a:gd name="T89" fmla="*/ 58 h 100"/>
                  <a:gd name="T90" fmla="*/ 33 w 127"/>
                  <a:gd name="T91" fmla="*/ 50 h 100"/>
                  <a:gd name="T92" fmla="*/ 40 w 127"/>
                  <a:gd name="T93" fmla="*/ 50 h 100"/>
                  <a:gd name="T94" fmla="*/ 50 w 127"/>
                  <a:gd name="T95" fmla="*/ 56 h 100"/>
                  <a:gd name="T96" fmla="*/ 48 w 127"/>
                  <a:gd name="T97" fmla="*/ 43 h 100"/>
                  <a:gd name="T98" fmla="*/ 52 w 127"/>
                  <a:gd name="T99" fmla="*/ 27 h 100"/>
                  <a:gd name="T100" fmla="*/ 58 w 127"/>
                  <a:gd name="T101" fmla="*/ 29 h 100"/>
                  <a:gd name="T102" fmla="*/ 61 w 127"/>
                  <a:gd name="T103" fmla="*/ 33 h 100"/>
                  <a:gd name="T104" fmla="*/ 69 w 127"/>
                  <a:gd name="T105" fmla="*/ 29 h 100"/>
                  <a:gd name="T106" fmla="*/ 75 w 127"/>
                  <a:gd name="T107" fmla="*/ 16 h 100"/>
                  <a:gd name="T108" fmla="*/ 82 w 127"/>
                  <a:gd name="T109" fmla="*/ 2 h 100"/>
                  <a:gd name="T110" fmla="*/ 88 w 127"/>
                  <a:gd name="T11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7" h="100">
                    <a:moveTo>
                      <a:pt x="90" y="2"/>
                    </a:moveTo>
                    <a:lnTo>
                      <a:pt x="94" y="4"/>
                    </a:lnTo>
                    <a:lnTo>
                      <a:pt x="94" y="6"/>
                    </a:lnTo>
                    <a:lnTo>
                      <a:pt x="98" y="6"/>
                    </a:lnTo>
                    <a:lnTo>
                      <a:pt x="100" y="6"/>
                    </a:lnTo>
                    <a:lnTo>
                      <a:pt x="102" y="8"/>
                    </a:lnTo>
                    <a:lnTo>
                      <a:pt x="106" y="10"/>
                    </a:lnTo>
                    <a:lnTo>
                      <a:pt x="107" y="12"/>
                    </a:lnTo>
                    <a:lnTo>
                      <a:pt x="109" y="12"/>
                    </a:lnTo>
                    <a:lnTo>
                      <a:pt x="111" y="12"/>
                    </a:lnTo>
                    <a:lnTo>
                      <a:pt x="113" y="14"/>
                    </a:lnTo>
                    <a:lnTo>
                      <a:pt x="113" y="16"/>
                    </a:lnTo>
                    <a:lnTo>
                      <a:pt x="115" y="18"/>
                    </a:lnTo>
                    <a:lnTo>
                      <a:pt x="117" y="18"/>
                    </a:lnTo>
                    <a:lnTo>
                      <a:pt x="117" y="20"/>
                    </a:lnTo>
                    <a:lnTo>
                      <a:pt x="119" y="20"/>
                    </a:lnTo>
                    <a:lnTo>
                      <a:pt x="119" y="18"/>
                    </a:lnTo>
                    <a:lnTo>
                      <a:pt x="121" y="18"/>
                    </a:lnTo>
                    <a:lnTo>
                      <a:pt x="123" y="20"/>
                    </a:lnTo>
                    <a:lnTo>
                      <a:pt x="123" y="22"/>
                    </a:lnTo>
                    <a:lnTo>
                      <a:pt x="123" y="23"/>
                    </a:lnTo>
                    <a:lnTo>
                      <a:pt x="123" y="25"/>
                    </a:lnTo>
                    <a:lnTo>
                      <a:pt x="123" y="27"/>
                    </a:lnTo>
                    <a:lnTo>
                      <a:pt x="123" y="29"/>
                    </a:lnTo>
                    <a:lnTo>
                      <a:pt x="121" y="29"/>
                    </a:lnTo>
                    <a:lnTo>
                      <a:pt x="121" y="31"/>
                    </a:lnTo>
                    <a:lnTo>
                      <a:pt x="121" y="33"/>
                    </a:lnTo>
                    <a:lnTo>
                      <a:pt x="121" y="35"/>
                    </a:lnTo>
                    <a:lnTo>
                      <a:pt x="119" y="35"/>
                    </a:lnTo>
                    <a:lnTo>
                      <a:pt x="119" y="37"/>
                    </a:lnTo>
                    <a:lnTo>
                      <a:pt x="117" y="37"/>
                    </a:lnTo>
                    <a:lnTo>
                      <a:pt x="117" y="39"/>
                    </a:lnTo>
                    <a:lnTo>
                      <a:pt x="117" y="41"/>
                    </a:lnTo>
                    <a:lnTo>
                      <a:pt x="115" y="41"/>
                    </a:lnTo>
                    <a:lnTo>
                      <a:pt x="115" y="43"/>
                    </a:lnTo>
                    <a:lnTo>
                      <a:pt x="115" y="45"/>
                    </a:lnTo>
                    <a:lnTo>
                      <a:pt x="113" y="45"/>
                    </a:lnTo>
                    <a:lnTo>
                      <a:pt x="113" y="47"/>
                    </a:lnTo>
                    <a:lnTo>
                      <a:pt x="113" y="45"/>
                    </a:lnTo>
                    <a:lnTo>
                      <a:pt x="113" y="43"/>
                    </a:lnTo>
                    <a:lnTo>
                      <a:pt x="111" y="43"/>
                    </a:lnTo>
                    <a:lnTo>
                      <a:pt x="109" y="43"/>
                    </a:lnTo>
                    <a:lnTo>
                      <a:pt x="107" y="41"/>
                    </a:lnTo>
                    <a:lnTo>
                      <a:pt x="107" y="43"/>
                    </a:lnTo>
                    <a:lnTo>
                      <a:pt x="106" y="43"/>
                    </a:lnTo>
                    <a:lnTo>
                      <a:pt x="106" y="45"/>
                    </a:lnTo>
                    <a:lnTo>
                      <a:pt x="107" y="45"/>
                    </a:lnTo>
                    <a:lnTo>
                      <a:pt x="107" y="47"/>
                    </a:lnTo>
                    <a:lnTo>
                      <a:pt x="107" y="48"/>
                    </a:lnTo>
                    <a:lnTo>
                      <a:pt x="106" y="48"/>
                    </a:lnTo>
                    <a:lnTo>
                      <a:pt x="106" y="50"/>
                    </a:lnTo>
                    <a:lnTo>
                      <a:pt x="104" y="50"/>
                    </a:lnTo>
                    <a:lnTo>
                      <a:pt x="104" y="52"/>
                    </a:lnTo>
                    <a:lnTo>
                      <a:pt x="106" y="52"/>
                    </a:lnTo>
                    <a:lnTo>
                      <a:pt x="106" y="54"/>
                    </a:lnTo>
                    <a:lnTo>
                      <a:pt x="107" y="54"/>
                    </a:lnTo>
                    <a:lnTo>
                      <a:pt x="109" y="54"/>
                    </a:lnTo>
                    <a:lnTo>
                      <a:pt x="111" y="54"/>
                    </a:lnTo>
                    <a:lnTo>
                      <a:pt x="113" y="54"/>
                    </a:lnTo>
                    <a:lnTo>
                      <a:pt x="115" y="54"/>
                    </a:lnTo>
                    <a:lnTo>
                      <a:pt x="117" y="54"/>
                    </a:lnTo>
                    <a:lnTo>
                      <a:pt x="119" y="54"/>
                    </a:lnTo>
                    <a:lnTo>
                      <a:pt x="121" y="54"/>
                    </a:lnTo>
                    <a:lnTo>
                      <a:pt x="123" y="56"/>
                    </a:lnTo>
                    <a:lnTo>
                      <a:pt x="123" y="58"/>
                    </a:lnTo>
                    <a:lnTo>
                      <a:pt x="125" y="58"/>
                    </a:lnTo>
                    <a:lnTo>
                      <a:pt x="125" y="62"/>
                    </a:lnTo>
                    <a:lnTo>
                      <a:pt x="127" y="62"/>
                    </a:lnTo>
                    <a:lnTo>
                      <a:pt x="127" y="64"/>
                    </a:lnTo>
                    <a:lnTo>
                      <a:pt x="127" y="66"/>
                    </a:lnTo>
                    <a:lnTo>
                      <a:pt x="125" y="66"/>
                    </a:lnTo>
                    <a:lnTo>
                      <a:pt x="123" y="66"/>
                    </a:lnTo>
                    <a:lnTo>
                      <a:pt x="123" y="64"/>
                    </a:lnTo>
                    <a:lnTo>
                      <a:pt x="123" y="66"/>
                    </a:lnTo>
                    <a:lnTo>
                      <a:pt x="121" y="66"/>
                    </a:lnTo>
                    <a:lnTo>
                      <a:pt x="123" y="68"/>
                    </a:lnTo>
                    <a:lnTo>
                      <a:pt x="123" y="70"/>
                    </a:lnTo>
                    <a:lnTo>
                      <a:pt x="121" y="70"/>
                    </a:lnTo>
                    <a:lnTo>
                      <a:pt x="121" y="72"/>
                    </a:lnTo>
                    <a:lnTo>
                      <a:pt x="119" y="72"/>
                    </a:lnTo>
                    <a:lnTo>
                      <a:pt x="119" y="73"/>
                    </a:lnTo>
                    <a:lnTo>
                      <a:pt x="117" y="73"/>
                    </a:lnTo>
                    <a:lnTo>
                      <a:pt x="115" y="73"/>
                    </a:lnTo>
                    <a:lnTo>
                      <a:pt x="113" y="73"/>
                    </a:lnTo>
                    <a:lnTo>
                      <a:pt x="113" y="75"/>
                    </a:lnTo>
                    <a:lnTo>
                      <a:pt x="111" y="73"/>
                    </a:lnTo>
                    <a:lnTo>
                      <a:pt x="109" y="73"/>
                    </a:lnTo>
                    <a:lnTo>
                      <a:pt x="107" y="73"/>
                    </a:lnTo>
                    <a:lnTo>
                      <a:pt x="109" y="75"/>
                    </a:lnTo>
                    <a:lnTo>
                      <a:pt x="107" y="75"/>
                    </a:lnTo>
                    <a:lnTo>
                      <a:pt x="107" y="73"/>
                    </a:lnTo>
                    <a:lnTo>
                      <a:pt x="107" y="75"/>
                    </a:lnTo>
                    <a:lnTo>
                      <a:pt x="106" y="75"/>
                    </a:lnTo>
                    <a:lnTo>
                      <a:pt x="106" y="77"/>
                    </a:lnTo>
                    <a:lnTo>
                      <a:pt x="104" y="77"/>
                    </a:lnTo>
                    <a:lnTo>
                      <a:pt x="104" y="79"/>
                    </a:lnTo>
                    <a:lnTo>
                      <a:pt x="104" y="77"/>
                    </a:lnTo>
                    <a:lnTo>
                      <a:pt x="104" y="79"/>
                    </a:lnTo>
                    <a:lnTo>
                      <a:pt x="102" y="79"/>
                    </a:lnTo>
                    <a:lnTo>
                      <a:pt x="102" y="81"/>
                    </a:lnTo>
                    <a:lnTo>
                      <a:pt x="100" y="81"/>
                    </a:lnTo>
                    <a:lnTo>
                      <a:pt x="98" y="81"/>
                    </a:lnTo>
                    <a:lnTo>
                      <a:pt x="98" y="79"/>
                    </a:lnTo>
                    <a:lnTo>
                      <a:pt x="98" y="81"/>
                    </a:lnTo>
                    <a:lnTo>
                      <a:pt x="96" y="81"/>
                    </a:lnTo>
                    <a:lnTo>
                      <a:pt x="96" y="83"/>
                    </a:lnTo>
                    <a:lnTo>
                      <a:pt x="96" y="81"/>
                    </a:lnTo>
                    <a:lnTo>
                      <a:pt x="96" y="83"/>
                    </a:lnTo>
                    <a:lnTo>
                      <a:pt x="94" y="83"/>
                    </a:lnTo>
                    <a:lnTo>
                      <a:pt x="92" y="83"/>
                    </a:lnTo>
                    <a:lnTo>
                      <a:pt x="90" y="83"/>
                    </a:lnTo>
                    <a:lnTo>
                      <a:pt x="88" y="83"/>
                    </a:lnTo>
                    <a:lnTo>
                      <a:pt x="86" y="83"/>
                    </a:lnTo>
                    <a:lnTo>
                      <a:pt x="86" y="85"/>
                    </a:lnTo>
                    <a:lnTo>
                      <a:pt x="84" y="85"/>
                    </a:lnTo>
                    <a:lnTo>
                      <a:pt x="84" y="87"/>
                    </a:lnTo>
                    <a:lnTo>
                      <a:pt x="82" y="87"/>
                    </a:lnTo>
                    <a:lnTo>
                      <a:pt x="81" y="89"/>
                    </a:lnTo>
                    <a:lnTo>
                      <a:pt x="81" y="87"/>
                    </a:lnTo>
                    <a:lnTo>
                      <a:pt x="81" y="89"/>
                    </a:lnTo>
                    <a:lnTo>
                      <a:pt x="79" y="89"/>
                    </a:lnTo>
                    <a:lnTo>
                      <a:pt x="79" y="87"/>
                    </a:lnTo>
                    <a:lnTo>
                      <a:pt x="79" y="89"/>
                    </a:lnTo>
                    <a:lnTo>
                      <a:pt x="79" y="87"/>
                    </a:lnTo>
                    <a:lnTo>
                      <a:pt x="77" y="87"/>
                    </a:lnTo>
                    <a:lnTo>
                      <a:pt x="77" y="89"/>
                    </a:lnTo>
                    <a:lnTo>
                      <a:pt x="75" y="89"/>
                    </a:lnTo>
                    <a:lnTo>
                      <a:pt x="75" y="87"/>
                    </a:lnTo>
                    <a:lnTo>
                      <a:pt x="73" y="87"/>
                    </a:lnTo>
                    <a:lnTo>
                      <a:pt x="73" y="89"/>
                    </a:lnTo>
                    <a:lnTo>
                      <a:pt x="71" y="89"/>
                    </a:lnTo>
                    <a:lnTo>
                      <a:pt x="69" y="89"/>
                    </a:lnTo>
                    <a:lnTo>
                      <a:pt x="71" y="89"/>
                    </a:lnTo>
                    <a:lnTo>
                      <a:pt x="69" y="89"/>
                    </a:lnTo>
                    <a:lnTo>
                      <a:pt x="69" y="91"/>
                    </a:lnTo>
                    <a:lnTo>
                      <a:pt x="67" y="91"/>
                    </a:lnTo>
                    <a:lnTo>
                      <a:pt x="65" y="93"/>
                    </a:lnTo>
                    <a:lnTo>
                      <a:pt x="67" y="93"/>
                    </a:lnTo>
                    <a:lnTo>
                      <a:pt x="65" y="95"/>
                    </a:lnTo>
                    <a:lnTo>
                      <a:pt x="65" y="96"/>
                    </a:lnTo>
                    <a:lnTo>
                      <a:pt x="63" y="96"/>
                    </a:lnTo>
                    <a:lnTo>
                      <a:pt x="63" y="95"/>
                    </a:lnTo>
                    <a:lnTo>
                      <a:pt x="61" y="95"/>
                    </a:lnTo>
                    <a:lnTo>
                      <a:pt x="61" y="93"/>
                    </a:lnTo>
                    <a:lnTo>
                      <a:pt x="59" y="91"/>
                    </a:lnTo>
                    <a:lnTo>
                      <a:pt x="56" y="89"/>
                    </a:lnTo>
                    <a:lnTo>
                      <a:pt x="54" y="89"/>
                    </a:lnTo>
                    <a:lnTo>
                      <a:pt x="52" y="89"/>
                    </a:lnTo>
                    <a:lnTo>
                      <a:pt x="50" y="89"/>
                    </a:lnTo>
                    <a:lnTo>
                      <a:pt x="48" y="91"/>
                    </a:lnTo>
                    <a:lnTo>
                      <a:pt x="50" y="93"/>
                    </a:lnTo>
                    <a:lnTo>
                      <a:pt x="48" y="95"/>
                    </a:lnTo>
                    <a:lnTo>
                      <a:pt x="46" y="95"/>
                    </a:lnTo>
                    <a:lnTo>
                      <a:pt x="46" y="96"/>
                    </a:lnTo>
                    <a:lnTo>
                      <a:pt x="46" y="98"/>
                    </a:lnTo>
                    <a:lnTo>
                      <a:pt x="46" y="100"/>
                    </a:lnTo>
                    <a:lnTo>
                      <a:pt x="44" y="100"/>
                    </a:lnTo>
                    <a:lnTo>
                      <a:pt x="42" y="100"/>
                    </a:lnTo>
                    <a:lnTo>
                      <a:pt x="40" y="100"/>
                    </a:lnTo>
                    <a:lnTo>
                      <a:pt x="42" y="98"/>
                    </a:lnTo>
                    <a:lnTo>
                      <a:pt x="42" y="96"/>
                    </a:lnTo>
                    <a:lnTo>
                      <a:pt x="42" y="95"/>
                    </a:lnTo>
                    <a:lnTo>
                      <a:pt x="40" y="95"/>
                    </a:lnTo>
                    <a:lnTo>
                      <a:pt x="38" y="93"/>
                    </a:lnTo>
                    <a:lnTo>
                      <a:pt x="38" y="91"/>
                    </a:lnTo>
                    <a:lnTo>
                      <a:pt x="38" y="89"/>
                    </a:lnTo>
                    <a:lnTo>
                      <a:pt x="38" y="87"/>
                    </a:lnTo>
                    <a:lnTo>
                      <a:pt x="36" y="87"/>
                    </a:lnTo>
                    <a:lnTo>
                      <a:pt x="36" y="89"/>
                    </a:lnTo>
                    <a:lnTo>
                      <a:pt x="34" y="89"/>
                    </a:lnTo>
                    <a:lnTo>
                      <a:pt x="33" y="87"/>
                    </a:lnTo>
                    <a:lnTo>
                      <a:pt x="31" y="87"/>
                    </a:lnTo>
                    <a:lnTo>
                      <a:pt x="29" y="87"/>
                    </a:lnTo>
                    <a:lnTo>
                      <a:pt x="31" y="89"/>
                    </a:lnTo>
                    <a:lnTo>
                      <a:pt x="29" y="89"/>
                    </a:lnTo>
                    <a:lnTo>
                      <a:pt x="25" y="89"/>
                    </a:lnTo>
                    <a:lnTo>
                      <a:pt x="23" y="89"/>
                    </a:lnTo>
                    <a:lnTo>
                      <a:pt x="23" y="91"/>
                    </a:lnTo>
                    <a:lnTo>
                      <a:pt x="21" y="93"/>
                    </a:lnTo>
                    <a:lnTo>
                      <a:pt x="19" y="93"/>
                    </a:lnTo>
                    <a:lnTo>
                      <a:pt x="17" y="91"/>
                    </a:lnTo>
                    <a:lnTo>
                      <a:pt x="15" y="89"/>
                    </a:lnTo>
                    <a:lnTo>
                      <a:pt x="15" y="87"/>
                    </a:lnTo>
                    <a:lnTo>
                      <a:pt x="15" y="85"/>
                    </a:lnTo>
                    <a:lnTo>
                      <a:pt x="15" y="83"/>
                    </a:lnTo>
                    <a:lnTo>
                      <a:pt x="15" y="81"/>
                    </a:lnTo>
                    <a:lnTo>
                      <a:pt x="13" y="79"/>
                    </a:lnTo>
                    <a:lnTo>
                      <a:pt x="11" y="79"/>
                    </a:lnTo>
                    <a:lnTo>
                      <a:pt x="9" y="79"/>
                    </a:lnTo>
                    <a:lnTo>
                      <a:pt x="8" y="77"/>
                    </a:lnTo>
                    <a:lnTo>
                      <a:pt x="8" y="79"/>
                    </a:lnTo>
                    <a:lnTo>
                      <a:pt x="6" y="79"/>
                    </a:lnTo>
                    <a:lnTo>
                      <a:pt x="6" y="81"/>
                    </a:lnTo>
                    <a:lnTo>
                      <a:pt x="2" y="79"/>
                    </a:lnTo>
                    <a:lnTo>
                      <a:pt x="0" y="75"/>
                    </a:lnTo>
                    <a:lnTo>
                      <a:pt x="0" y="73"/>
                    </a:lnTo>
                    <a:lnTo>
                      <a:pt x="0" y="72"/>
                    </a:lnTo>
                    <a:lnTo>
                      <a:pt x="0" y="70"/>
                    </a:lnTo>
                    <a:lnTo>
                      <a:pt x="2" y="68"/>
                    </a:lnTo>
                    <a:lnTo>
                      <a:pt x="2" y="64"/>
                    </a:lnTo>
                    <a:lnTo>
                      <a:pt x="4" y="62"/>
                    </a:lnTo>
                    <a:lnTo>
                      <a:pt x="6" y="62"/>
                    </a:lnTo>
                    <a:lnTo>
                      <a:pt x="4" y="60"/>
                    </a:lnTo>
                    <a:lnTo>
                      <a:pt x="6" y="58"/>
                    </a:lnTo>
                    <a:lnTo>
                      <a:pt x="6" y="56"/>
                    </a:lnTo>
                    <a:lnTo>
                      <a:pt x="6" y="54"/>
                    </a:lnTo>
                    <a:lnTo>
                      <a:pt x="6" y="52"/>
                    </a:lnTo>
                    <a:lnTo>
                      <a:pt x="9" y="52"/>
                    </a:lnTo>
                    <a:lnTo>
                      <a:pt x="9" y="54"/>
                    </a:lnTo>
                    <a:lnTo>
                      <a:pt x="11" y="54"/>
                    </a:lnTo>
                    <a:lnTo>
                      <a:pt x="11" y="52"/>
                    </a:lnTo>
                    <a:lnTo>
                      <a:pt x="15" y="52"/>
                    </a:lnTo>
                    <a:lnTo>
                      <a:pt x="15" y="56"/>
                    </a:lnTo>
                    <a:lnTo>
                      <a:pt x="15" y="58"/>
                    </a:lnTo>
                    <a:lnTo>
                      <a:pt x="17" y="60"/>
                    </a:lnTo>
                    <a:lnTo>
                      <a:pt x="17" y="62"/>
                    </a:lnTo>
                    <a:lnTo>
                      <a:pt x="19" y="64"/>
                    </a:lnTo>
                    <a:lnTo>
                      <a:pt x="21" y="64"/>
                    </a:lnTo>
                    <a:lnTo>
                      <a:pt x="21" y="66"/>
                    </a:lnTo>
                    <a:lnTo>
                      <a:pt x="23" y="66"/>
                    </a:lnTo>
                    <a:lnTo>
                      <a:pt x="25" y="66"/>
                    </a:lnTo>
                    <a:lnTo>
                      <a:pt x="25" y="64"/>
                    </a:lnTo>
                    <a:lnTo>
                      <a:pt x="25" y="62"/>
                    </a:lnTo>
                    <a:lnTo>
                      <a:pt x="27" y="62"/>
                    </a:lnTo>
                    <a:lnTo>
                      <a:pt x="29" y="58"/>
                    </a:lnTo>
                    <a:lnTo>
                      <a:pt x="29" y="56"/>
                    </a:lnTo>
                    <a:lnTo>
                      <a:pt x="31" y="56"/>
                    </a:lnTo>
                    <a:lnTo>
                      <a:pt x="31" y="54"/>
                    </a:lnTo>
                    <a:lnTo>
                      <a:pt x="31" y="52"/>
                    </a:lnTo>
                    <a:lnTo>
                      <a:pt x="33" y="50"/>
                    </a:lnTo>
                    <a:lnTo>
                      <a:pt x="33" y="52"/>
                    </a:lnTo>
                    <a:lnTo>
                      <a:pt x="34" y="50"/>
                    </a:lnTo>
                    <a:lnTo>
                      <a:pt x="34" y="48"/>
                    </a:lnTo>
                    <a:lnTo>
                      <a:pt x="36" y="48"/>
                    </a:lnTo>
                    <a:lnTo>
                      <a:pt x="40" y="50"/>
                    </a:lnTo>
                    <a:lnTo>
                      <a:pt x="42" y="54"/>
                    </a:lnTo>
                    <a:lnTo>
                      <a:pt x="46" y="54"/>
                    </a:lnTo>
                    <a:lnTo>
                      <a:pt x="46" y="52"/>
                    </a:lnTo>
                    <a:lnTo>
                      <a:pt x="48" y="54"/>
                    </a:lnTo>
                    <a:lnTo>
                      <a:pt x="50" y="56"/>
                    </a:lnTo>
                    <a:lnTo>
                      <a:pt x="50" y="54"/>
                    </a:lnTo>
                    <a:lnTo>
                      <a:pt x="50" y="48"/>
                    </a:lnTo>
                    <a:lnTo>
                      <a:pt x="52" y="47"/>
                    </a:lnTo>
                    <a:lnTo>
                      <a:pt x="50" y="45"/>
                    </a:lnTo>
                    <a:lnTo>
                      <a:pt x="48" y="43"/>
                    </a:lnTo>
                    <a:lnTo>
                      <a:pt x="46" y="43"/>
                    </a:lnTo>
                    <a:lnTo>
                      <a:pt x="48" y="37"/>
                    </a:lnTo>
                    <a:lnTo>
                      <a:pt x="50" y="29"/>
                    </a:lnTo>
                    <a:lnTo>
                      <a:pt x="52" y="29"/>
                    </a:lnTo>
                    <a:lnTo>
                      <a:pt x="52" y="27"/>
                    </a:lnTo>
                    <a:lnTo>
                      <a:pt x="54" y="27"/>
                    </a:lnTo>
                    <a:lnTo>
                      <a:pt x="54" y="25"/>
                    </a:lnTo>
                    <a:lnTo>
                      <a:pt x="56" y="27"/>
                    </a:lnTo>
                    <a:lnTo>
                      <a:pt x="58" y="27"/>
                    </a:lnTo>
                    <a:lnTo>
                      <a:pt x="58" y="29"/>
                    </a:lnTo>
                    <a:lnTo>
                      <a:pt x="59" y="29"/>
                    </a:lnTo>
                    <a:lnTo>
                      <a:pt x="59" y="27"/>
                    </a:lnTo>
                    <a:lnTo>
                      <a:pt x="61" y="27"/>
                    </a:lnTo>
                    <a:lnTo>
                      <a:pt x="61" y="29"/>
                    </a:lnTo>
                    <a:lnTo>
                      <a:pt x="61" y="33"/>
                    </a:lnTo>
                    <a:lnTo>
                      <a:pt x="63" y="33"/>
                    </a:lnTo>
                    <a:lnTo>
                      <a:pt x="67" y="33"/>
                    </a:lnTo>
                    <a:lnTo>
                      <a:pt x="69" y="33"/>
                    </a:lnTo>
                    <a:lnTo>
                      <a:pt x="69" y="31"/>
                    </a:lnTo>
                    <a:lnTo>
                      <a:pt x="69" y="29"/>
                    </a:lnTo>
                    <a:lnTo>
                      <a:pt x="69" y="23"/>
                    </a:lnTo>
                    <a:lnTo>
                      <a:pt x="71" y="20"/>
                    </a:lnTo>
                    <a:lnTo>
                      <a:pt x="73" y="20"/>
                    </a:lnTo>
                    <a:lnTo>
                      <a:pt x="73" y="18"/>
                    </a:lnTo>
                    <a:lnTo>
                      <a:pt x="75" y="16"/>
                    </a:lnTo>
                    <a:lnTo>
                      <a:pt x="77" y="14"/>
                    </a:lnTo>
                    <a:lnTo>
                      <a:pt x="77" y="12"/>
                    </a:lnTo>
                    <a:lnTo>
                      <a:pt x="79" y="8"/>
                    </a:lnTo>
                    <a:lnTo>
                      <a:pt x="81" y="4"/>
                    </a:lnTo>
                    <a:lnTo>
                      <a:pt x="82" y="2"/>
                    </a:lnTo>
                    <a:lnTo>
                      <a:pt x="84" y="2"/>
                    </a:lnTo>
                    <a:lnTo>
                      <a:pt x="84" y="4"/>
                    </a:lnTo>
                    <a:lnTo>
                      <a:pt x="86" y="4"/>
                    </a:lnTo>
                    <a:lnTo>
                      <a:pt x="88" y="4"/>
                    </a:lnTo>
                    <a:lnTo>
                      <a:pt x="88" y="2"/>
                    </a:lnTo>
                    <a:lnTo>
                      <a:pt x="88" y="0"/>
                    </a:lnTo>
                    <a:lnTo>
                      <a:pt x="90" y="0"/>
                    </a:lnTo>
                    <a:lnTo>
                      <a:pt x="90"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5" name="Freeform 7"/>
              <p:cNvSpPr>
                <a:spLocks/>
              </p:cNvSpPr>
              <p:nvPr/>
            </p:nvSpPr>
            <p:spPr bwMode="auto">
              <a:xfrm>
                <a:off x="2951876" y="3503837"/>
                <a:ext cx="541998" cy="462849"/>
              </a:xfrm>
              <a:custGeom>
                <a:avLst/>
                <a:gdLst>
                  <a:gd name="T0" fmla="*/ 303 w 315"/>
                  <a:gd name="T1" fmla="*/ 141 h 269"/>
                  <a:gd name="T2" fmla="*/ 296 w 315"/>
                  <a:gd name="T3" fmla="*/ 156 h 269"/>
                  <a:gd name="T4" fmla="*/ 301 w 315"/>
                  <a:gd name="T5" fmla="*/ 169 h 269"/>
                  <a:gd name="T6" fmla="*/ 288 w 315"/>
                  <a:gd name="T7" fmla="*/ 175 h 269"/>
                  <a:gd name="T8" fmla="*/ 278 w 315"/>
                  <a:gd name="T9" fmla="*/ 183 h 269"/>
                  <a:gd name="T10" fmla="*/ 267 w 315"/>
                  <a:gd name="T11" fmla="*/ 175 h 269"/>
                  <a:gd name="T12" fmla="*/ 265 w 315"/>
                  <a:gd name="T13" fmla="*/ 181 h 269"/>
                  <a:gd name="T14" fmla="*/ 259 w 315"/>
                  <a:gd name="T15" fmla="*/ 194 h 269"/>
                  <a:gd name="T16" fmla="*/ 250 w 315"/>
                  <a:gd name="T17" fmla="*/ 206 h 269"/>
                  <a:gd name="T18" fmla="*/ 240 w 315"/>
                  <a:gd name="T19" fmla="*/ 210 h 269"/>
                  <a:gd name="T20" fmla="*/ 230 w 315"/>
                  <a:gd name="T21" fmla="*/ 214 h 269"/>
                  <a:gd name="T22" fmla="*/ 213 w 315"/>
                  <a:gd name="T23" fmla="*/ 223 h 269"/>
                  <a:gd name="T24" fmla="*/ 198 w 315"/>
                  <a:gd name="T25" fmla="*/ 233 h 269"/>
                  <a:gd name="T26" fmla="*/ 192 w 315"/>
                  <a:gd name="T27" fmla="*/ 235 h 269"/>
                  <a:gd name="T28" fmla="*/ 200 w 315"/>
                  <a:gd name="T29" fmla="*/ 244 h 269"/>
                  <a:gd name="T30" fmla="*/ 209 w 315"/>
                  <a:gd name="T31" fmla="*/ 250 h 269"/>
                  <a:gd name="T32" fmla="*/ 207 w 315"/>
                  <a:gd name="T33" fmla="*/ 262 h 269"/>
                  <a:gd name="T34" fmla="*/ 194 w 315"/>
                  <a:gd name="T35" fmla="*/ 267 h 269"/>
                  <a:gd name="T36" fmla="*/ 184 w 315"/>
                  <a:gd name="T37" fmla="*/ 254 h 269"/>
                  <a:gd name="T38" fmla="*/ 173 w 315"/>
                  <a:gd name="T39" fmla="*/ 244 h 269"/>
                  <a:gd name="T40" fmla="*/ 157 w 315"/>
                  <a:gd name="T41" fmla="*/ 244 h 269"/>
                  <a:gd name="T42" fmla="*/ 144 w 315"/>
                  <a:gd name="T43" fmla="*/ 248 h 269"/>
                  <a:gd name="T44" fmla="*/ 130 w 315"/>
                  <a:gd name="T45" fmla="*/ 252 h 269"/>
                  <a:gd name="T46" fmla="*/ 117 w 315"/>
                  <a:gd name="T47" fmla="*/ 250 h 269"/>
                  <a:gd name="T48" fmla="*/ 98 w 315"/>
                  <a:gd name="T49" fmla="*/ 250 h 269"/>
                  <a:gd name="T50" fmla="*/ 96 w 315"/>
                  <a:gd name="T51" fmla="*/ 233 h 269"/>
                  <a:gd name="T52" fmla="*/ 88 w 315"/>
                  <a:gd name="T53" fmla="*/ 227 h 269"/>
                  <a:gd name="T54" fmla="*/ 84 w 315"/>
                  <a:gd name="T55" fmla="*/ 212 h 269"/>
                  <a:gd name="T56" fmla="*/ 65 w 315"/>
                  <a:gd name="T57" fmla="*/ 216 h 269"/>
                  <a:gd name="T58" fmla="*/ 52 w 315"/>
                  <a:gd name="T59" fmla="*/ 237 h 269"/>
                  <a:gd name="T60" fmla="*/ 31 w 315"/>
                  <a:gd name="T61" fmla="*/ 167 h 269"/>
                  <a:gd name="T62" fmla="*/ 0 w 315"/>
                  <a:gd name="T63" fmla="*/ 60 h 269"/>
                  <a:gd name="T64" fmla="*/ 8 w 315"/>
                  <a:gd name="T65" fmla="*/ 48 h 269"/>
                  <a:gd name="T66" fmla="*/ 11 w 315"/>
                  <a:gd name="T67" fmla="*/ 39 h 269"/>
                  <a:gd name="T68" fmla="*/ 15 w 315"/>
                  <a:gd name="T69" fmla="*/ 44 h 269"/>
                  <a:gd name="T70" fmla="*/ 27 w 315"/>
                  <a:gd name="T71" fmla="*/ 46 h 269"/>
                  <a:gd name="T72" fmla="*/ 44 w 315"/>
                  <a:gd name="T73" fmla="*/ 37 h 269"/>
                  <a:gd name="T74" fmla="*/ 69 w 315"/>
                  <a:gd name="T75" fmla="*/ 31 h 269"/>
                  <a:gd name="T76" fmla="*/ 81 w 315"/>
                  <a:gd name="T77" fmla="*/ 17 h 269"/>
                  <a:gd name="T78" fmla="*/ 98 w 315"/>
                  <a:gd name="T79" fmla="*/ 12 h 269"/>
                  <a:gd name="T80" fmla="*/ 109 w 315"/>
                  <a:gd name="T81" fmla="*/ 0 h 269"/>
                  <a:gd name="T82" fmla="*/ 119 w 315"/>
                  <a:gd name="T83" fmla="*/ 17 h 269"/>
                  <a:gd name="T84" fmla="*/ 132 w 315"/>
                  <a:gd name="T85" fmla="*/ 29 h 269"/>
                  <a:gd name="T86" fmla="*/ 138 w 315"/>
                  <a:gd name="T87" fmla="*/ 31 h 269"/>
                  <a:gd name="T88" fmla="*/ 136 w 315"/>
                  <a:gd name="T89" fmla="*/ 44 h 269"/>
                  <a:gd name="T90" fmla="*/ 142 w 315"/>
                  <a:gd name="T91" fmla="*/ 48 h 269"/>
                  <a:gd name="T92" fmla="*/ 150 w 315"/>
                  <a:gd name="T93" fmla="*/ 56 h 269"/>
                  <a:gd name="T94" fmla="*/ 161 w 315"/>
                  <a:gd name="T95" fmla="*/ 66 h 269"/>
                  <a:gd name="T96" fmla="*/ 169 w 315"/>
                  <a:gd name="T97" fmla="*/ 48 h 269"/>
                  <a:gd name="T98" fmla="*/ 190 w 315"/>
                  <a:gd name="T99" fmla="*/ 31 h 269"/>
                  <a:gd name="T100" fmla="*/ 198 w 315"/>
                  <a:gd name="T101" fmla="*/ 37 h 269"/>
                  <a:gd name="T102" fmla="*/ 207 w 315"/>
                  <a:gd name="T103" fmla="*/ 29 h 269"/>
                  <a:gd name="T104" fmla="*/ 230 w 315"/>
                  <a:gd name="T105" fmla="*/ 29 h 269"/>
                  <a:gd name="T106" fmla="*/ 246 w 315"/>
                  <a:gd name="T107" fmla="*/ 17 h 269"/>
                  <a:gd name="T108" fmla="*/ 271 w 315"/>
                  <a:gd name="T109" fmla="*/ 29 h 269"/>
                  <a:gd name="T110" fmla="*/ 286 w 315"/>
                  <a:gd name="T111" fmla="*/ 48 h 269"/>
                  <a:gd name="T112" fmla="*/ 296 w 315"/>
                  <a:gd name="T113" fmla="*/ 73 h 269"/>
                  <a:gd name="T114" fmla="*/ 305 w 315"/>
                  <a:gd name="T115" fmla="*/ 85 h 269"/>
                  <a:gd name="T116" fmla="*/ 309 w 315"/>
                  <a:gd name="T117" fmla="*/ 91 h 269"/>
                  <a:gd name="T118" fmla="*/ 300 w 315"/>
                  <a:gd name="T119" fmla="*/ 98 h 269"/>
                  <a:gd name="T120" fmla="*/ 305 w 315"/>
                  <a:gd name="T121" fmla="*/ 108 h 269"/>
                  <a:gd name="T122" fmla="*/ 307 w 315"/>
                  <a:gd name="T123" fmla="*/ 125 h 269"/>
                  <a:gd name="T124" fmla="*/ 315 w 315"/>
                  <a:gd name="T125" fmla="*/ 137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5" h="269">
                    <a:moveTo>
                      <a:pt x="313" y="144"/>
                    </a:moveTo>
                    <a:lnTo>
                      <a:pt x="313" y="142"/>
                    </a:lnTo>
                    <a:lnTo>
                      <a:pt x="311" y="142"/>
                    </a:lnTo>
                    <a:lnTo>
                      <a:pt x="311" y="141"/>
                    </a:lnTo>
                    <a:lnTo>
                      <a:pt x="309" y="142"/>
                    </a:lnTo>
                    <a:lnTo>
                      <a:pt x="309" y="141"/>
                    </a:lnTo>
                    <a:lnTo>
                      <a:pt x="307" y="141"/>
                    </a:lnTo>
                    <a:lnTo>
                      <a:pt x="307" y="142"/>
                    </a:lnTo>
                    <a:lnTo>
                      <a:pt x="305" y="142"/>
                    </a:lnTo>
                    <a:lnTo>
                      <a:pt x="303" y="142"/>
                    </a:lnTo>
                    <a:lnTo>
                      <a:pt x="303" y="141"/>
                    </a:lnTo>
                    <a:lnTo>
                      <a:pt x="303" y="142"/>
                    </a:lnTo>
                    <a:lnTo>
                      <a:pt x="301" y="144"/>
                    </a:lnTo>
                    <a:lnTo>
                      <a:pt x="301" y="146"/>
                    </a:lnTo>
                    <a:lnTo>
                      <a:pt x="301" y="148"/>
                    </a:lnTo>
                    <a:lnTo>
                      <a:pt x="300" y="148"/>
                    </a:lnTo>
                    <a:lnTo>
                      <a:pt x="298" y="148"/>
                    </a:lnTo>
                    <a:lnTo>
                      <a:pt x="298" y="150"/>
                    </a:lnTo>
                    <a:lnTo>
                      <a:pt x="296" y="150"/>
                    </a:lnTo>
                    <a:lnTo>
                      <a:pt x="296" y="152"/>
                    </a:lnTo>
                    <a:lnTo>
                      <a:pt x="296" y="154"/>
                    </a:lnTo>
                    <a:lnTo>
                      <a:pt x="296" y="156"/>
                    </a:lnTo>
                    <a:lnTo>
                      <a:pt x="298" y="156"/>
                    </a:lnTo>
                    <a:lnTo>
                      <a:pt x="300" y="158"/>
                    </a:lnTo>
                    <a:lnTo>
                      <a:pt x="300" y="156"/>
                    </a:lnTo>
                    <a:lnTo>
                      <a:pt x="301" y="156"/>
                    </a:lnTo>
                    <a:lnTo>
                      <a:pt x="301" y="158"/>
                    </a:lnTo>
                    <a:lnTo>
                      <a:pt x="301" y="160"/>
                    </a:lnTo>
                    <a:lnTo>
                      <a:pt x="301" y="162"/>
                    </a:lnTo>
                    <a:lnTo>
                      <a:pt x="301" y="164"/>
                    </a:lnTo>
                    <a:lnTo>
                      <a:pt x="301" y="166"/>
                    </a:lnTo>
                    <a:lnTo>
                      <a:pt x="301" y="167"/>
                    </a:lnTo>
                    <a:lnTo>
                      <a:pt x="301" y="169"/>
                    </a:lnTo>
                    <a:lnTo>
                      <a:pt x="300" y="169"/>
                    </a:lnTo>
                    <a:lnTo>
                      <a:pt x="300" y="171"/>
                    </a:lnTo>
                    <a:lnTo>
                      <a:pt x="300" y="173"/>
                    </a:lnTo>
                    <a:lnTo>
                      <a:pt x="300" y="175"/>
                    </a:lnTo>
                    <a:lnTo>
                      <a:pt x="298" y="177"/>
                    </a:lnTo>
                    <a:lnTo>
                      <a:pt x="296" y="177"/>
                    </a:lnTo>
                    <a:lnTo>
                      <a:pt x="294" y="177"/>
                    </a:lnTo>
                    <a:lnTo>
                      <a:pt x="292" y="177"/>
                    </a:lnTo>
                    <a:lnTo>
                      <a:pt x="290" y="177"/>
                    </a:lnTo>
                    <a:lnTo>
                      <a:pt x="290" y="175"/>
                    </a:lnTo>
                    <a:lnTo>
                      <a:pt x="288" y="175"/>
                    </a:lnTo>
                    <a:lnTo>
                      <a:pt x="286" y="175"/>
                    </a:lnTo>
                    <a:lnTo>
                      <a:pt x="286" y="177"/>
                    </a:lnTo>
                    <a:lnTo>
                      <a:pt x="286" y="175"/>
                    </a:lnTo>
                    <a:lnTo>
                      <a:pt x="286" y="177"/>
                    </a:lnTo>
                    <a:lnTo>
                      <a:pt x="286" y="179"/>
                    </a:lnTo>
                    <a:lnTo>
                      <a:pt x="284" y="179"/>
                    </a:lnTo>
                    <a:lnTo>
                      <a:pt x="284" y="181"/>
                    </a:lnTo>
                    <a:lnTo>
                      <a:pt x="282" y="181"/>
                    </a:lnTo>
                    <a:lnTo>
                      <a:pt x="280" y="181"/>
                    </a:lnTo>
                    <a:lnTo>
                      <a:pt x="278" y="181"/>
                    </a:lnTo>
                    <a:lnTo>
                      <a:pt x="278" y="183"/>
                    </a:lnTo>
                    <a:lnTo>
                      <a:pt x="277" y="181"/>
                    </a:lnTo>
                    <a:lnTo>
                      <a:pt x="277" y="179"/>
                    </a:lnTo>
                    <a:lnTo>
                      <a:pt x="275" y="179"/>
                    </a:lnTo>
                    <a:lnTo>
                      <a:pt x="275" y="177"/>
                    </a:lnTo>
                    <a:lnTo>
                      <a:pt x="273" y="177"/>
                    </a:lnTo>
                    <a:lnTo>
                      <a:pt x="271" y="177"/>
                    </a:lnTo>
                    <a:lnTo>
                      <a:pt x="271" y="175"/>
                    </a:lnTo>
                    <a:lnTo>
                      <a:pt x="269" y="175"/>
                    </a:lnTo>
                    <a:lnTo>
                      <a:pt x="267" y="175"/>
                    </a:lnTo>
                    <a:lnTo>
                      <a:pt x="269" y="175"/>
                    </a:lnTo>
                    <a:lnTo>
                      <a:pt x="267" y="175"/>
                    </a:lnTo>
                    <a:lnTo>
                      <a:pt x="269" y="175"/>
                    </a:lnTo>
                    <a:lnTo>
                      <a:pt x="267" y="177"/>
                    </a:lnTo>
                    <a:lnTo>
                      <a:pt x="267" y="179"/>
                    </a:lnTo>
                    <a:lnTo>
                      <a:pt x="267" y="177"/>
                    </a:lnTo>
                    <a:lnTo>
                      <a:pt x="265" y="177"/>
                    </a:lnTo>
                    <a:lnTo>
                      <a:pt x="265" y="179"/>
                    </a:lnTo>
                    <a:lnTo>
                      <a:pt x="263" y="179"/>
                    </a:lnTo>
                    <a:lnTo>
                      <a:pt x="265" y="179"/>
                    </a:lnTo>
                    <a:lnTo>
                      <a:pt x="265" y="181"/>
                    </a:lnTo>
                    <a:lnTo>
                      <a:pt x="267" y="181"/>
                    </a:lnTo>
                    <a:lnTo>
                      <a:pt x="265" y="181"/>
                    </a:lnTo>
                    <a:lnTo>
                      <a:pt x="265" y="183"/>
                    </a:lnTo>
                    <a:lnTo>
                      <a:pt x="263" y="183"/>
                    </a:lnTo>
                    <a:lnTo>
                      <a:pt x="263" y="185"/>
                    </a:lnTo>
                    <a:lnTo>
                      <a:pt x="263" y="187"/>
                    </a:lnTo>
                    <a:lnTo>
                      <a:pt x="265" y="189"/>
                    </a:lnTo>
                    <a:lnTo>
                      <a:pt x="263" y="191"/>
                    </a:lnTo>
                    <a:lnTo>
                      <a:pt x="261" y="191"/>
                    </a:lnTo>
                    <a:lnTo>
                      <a:pt x="259" y="192"/>
                    </a:lnTo>
                    <a:lnTo>
                      <a:pt x="261" y="192"/>
                    </a:lnTo>
                    <a:lnTo>
                      <a:pt x="261" y="194"/>
                    </a:lnTo>
                    <a:lnTo>
                      <a:pt x="259" y="194"/>
                    </a:lnTo>
                    <a:lnTo>
                      <a:pt x="259" y="196"/>
                    </a:lnTo>
                    <a:lnTo>
                      <a:pt x="259" y="198"/>
                    </a:lnTo>
                    <a:lnTo>
                      <a:pt x="257" y="200"/>
                    </a:lnTo>
                    <a:lnTo>
                      <a:pt x="255" y="200"/>
                    </a:lnTo>
                    <a:lnTo>
                      <a:pt x="255" y="198"/>
                    </a:lnTo>
                    <a:lnTo>
                      <a:pt x="253" y="200"/>
                    </a:lnTo>
                    <a:lnTo>
                      <a:pt x="253" y="202"/>
                    </a:lnTo>
                    <a:lnTo>
                      <a:pt x="252" y="202"/>
                    </a:lnTo>
                    <a:lnTo>
                      <a:pt x="250" y="202"/>
                    </a:lnTo>
                    <a:lnTo>
                      <a:pt x="250" y="204"/>
                    </a:lnTo>
                    <a:lnTo>
                      <a:pt x="250" y="206"/>
                    </a:lnTo>
                    <a:lnTo>
                      <a:pt x="248" y="206"/>
                    </a:lnTo>
                    <a:lnTo>
                      <a:pt x="248" y="208"/>
                    </a:lnTo>
                    <a:lnTo>
                      <a:pt x="248" y="210"/>
                    </a:lnTo>
                    <a:lnTo>
                      <a:pt x="248" y="212"/>
                    </a:lnTo>
                    <a:lnTo>
                      <a:pt x="246" y="212"/>
                    </a:lnTo>
                    <a:lnTo>
                      <a:pt x="246" y="210"/>
                    </a:lnTo>
                    <a:lnTo>
                      <a:pt x="244" y="210"/>
                    </a:lnTo>
                    <a:lnTo>
                      <a:pt x="242" y="210"/>
                    </a:lnTo>
                    <a:lnTo>
                      <a:pt x="242" y="212"/>
                    </a:lnTo>
                    <a:lnTo>
                      <a:pt x="242" y="210"/>
                    </a:lnTo>
                    <a:lnTo>
                      <a:pt x="240" y="210"/>
                    </a:lnTo>
                    <a:lnTo>
                      <a:pt x="240" y="212"/>
                    </a:lnTo>
                    <a:lnTo>
                      <a:pt x="240" y="214"/>
                    </a:lnTo>
                    <a:lnTo>
                      <a:pt x="238" y="214"/>
                    </a:lnTo>
                    <a:lnTo>
                      <a:pt x="238" y="216"/>
                    </a:lnTo>
                    <a:lnTo>
                      <a:pt x="236" y="216"/>
                    </a:lnTo>
                    <a:lnTo>
                      <a:pt x="236" y="214"/>
                    </a:lnTo>
                    <a:lnTo>
                      <a:pt x="236" y="212"/>
                    </a:lnTo>
                    <a:lnTo>
                      <a:pt x="234" y="212"/>
                    </a:lnTo>
                    <a:lnTo>
                      <a:pt x="232" y="214"/>
                    </a:lnTo>
                    <a:lnTo>
                      <a:pt x="230" y="212"/>
                    </a:lnTo>
                    <a:lnTo>
                      <a:pt x="230" y="214"/>
                    </a:lnTo>
                    <a:lnTo>
                      <a:pt x="228" y="214"/>
                    </a:lnTo>
                    <a:lnTo>
                      <a:pt x="228" y="216"/>
                    </a:lnTo>
                    <a:lnTo>
                      <a:pt x="227" y="217"/>
                    </a:lnTo>
                    <a:lnTo>
                      <a:pt x="225" y="217"/>
                    </a:lnTo>
                    <a:lnTo>
                      <a:pt x="223" y="217"/>
                    </a:lnTo>
                    <a:lnTo>
                      <a:pt x="221" y="217"/>
                    </a:lnTo>
                    <a:lnTo>
                      <a:pt x="219" y="219"/>
                    </a:lnTo>
                    <a:lnTo>
                      <a:pt x="217" y="221"/>
                    </a:lnTo>
                    <a:lnTo>
                      <a:pt x="217" y="223"/>
                    </a:lnTo>
                    <a:lnTo>
                      <a:pt x="215" y="223"/>
                    </a:lnTo>
                    <a:lnTo>
                      <a:pt x="213" y="223"/>
                    </a:lnTo>
                    <a:lnTo>
                      <a:pt x="211" y="223"/>
                    </a:lnTo>
                    <a:lnTo>
                      <a:pt x="211" y="225"/>
                    </a:lnTo>
                    <a:lnTo>
                      <a:pt x="209" y="225"/>
                    </a:lnTo>
                    <a:lnTo>
                      <a:pt x="209" y="227"/>
                    </a:lnTo>
                    <a:lnTo>
                      <a:pt x="207" y="227"/>
                    </a:lnTo>
                    <a:lnTo>
                      <a:pt x="205" y="225"/>
                    </a:lnTo>
                    <a:lnTo>
                      <a:pt x="204" y="225"/>
                    </a:lnTo>
                    <a:lnTo>
                      <a:pt x="202" y="227"/>
                    </a:lnTo>
                    <a:lnTo>
                      <a:pt x="200" y="229"/>
                    </a:lnTo>
                    <a:lnTo>
                      <a:pt x="200" y="231"/>
                    </a:lnTo>
                    <a:lnTo>
                      <a:pt x="198" y="233"/>
                    </a:lnTo>
                    <a:lnTo>
                      <a:pt x="198" y="235"/>
                    </a:lnTo>
                    <a:lnTo>
                      <a:pt x="198" y="237"/>
                    </a:lnTo>
                    <a:lnTo>
                      <a:pt x="196" y="239"/>
                    </a:lnTo>
                    <a:lnTo>
                      <a:pt x="196" y="237"/>
                    </a:lnTo>
                    <a:lnTo>
                      <a:pt x="196" y="235"/>
                    </a:lnTo>
                    <a:lnTo>
                      <a:pt x="194" y="235"/>
                    </a:lnTo>
                    <a:lnTo>
                      <a:pt x="194" y="233"/>
                    </a:lnTo>
                    <a:lnTo>
                      <a:pt x="194" y="235"/>
                    </a:lnTo>
                    <a:lnTo>
                      <a:pt x="192" y="235"/>
                    </a:lnTo>
                    <a:lnTo>
                      <a:pt x="192" y="233"/>
                    </a:lnTo>
                    <a:lnTo>
                      <a:pt x="192" y="235"/>
                    </a:lnTo>
                    <a:lnTo>
                      <a:pt x="192" y="237"/>
                    </a:lnTo>
                    <a:lnTo>
                      <a:pt x="190" y="237"/>
                    </a:lnTo>
                    <a:lnTo>
                      <a:pt x="190" y="239"/>
                    </a:lnTo>
                    <a:lnTo>
                      <a:pt x="192" y="239"/>
                    </a:lnTo>
                    <a:lnTo>
                      <a:pt x="192" y="240"/>
                    </a:lnTo>
                    <a:lnTo>
                      <a:pt x="194" y="240"/>
                    </a:lnTo>
                    <a:lnTo>
                      <a:pt x="194" y="242"/>
                    </a:lnTo>
                    <a:lnTo>
                      <a:pt x="196" y="242"/>
                    </a:lnTo>
                    <a:lnTo>
                      <a:pt x="196" y="244"/>
                    </a:lnTo>
                    <a:lnTo>
                      <a:pt x="198" y="244"/>
                    </a:lnTo>
                    <a:lnTo>
                      <a:pt x="200" y="244"/>
                    </a:lnTo>
                    <a:lnTo>
                      <a:pt x="200" y="246"/>
                    </a:lnTo>
                    <a:lnTo>
                      <a:pt x="200" y="244"/>
                    </a:lnTo>
                    <a:lnTo>
                      <a:pt x="202" y="244"/>
                    </a:lnTo>
                    <a:lnTo>
                      <a:pt x="202" y="246"/>
                    </a:lnTo>
                    <a:lnTo>
                      <a:pt x="202" y="244"/>
                    </a:lnTo>
                    <a:lnTo>
                      <a:pt x="204" y="244"/>
                    </a:lnTo>
                    <a:lnTo>
                      <a:pt x="204" y="246"/>
                    </a:lnTo>
                    <a:lnTo>
                      <a:pt x="205" y="248"/>
                    </a:lnTo>
                    <a:lnTo>
                      <a:pt x="207" y="248"/>
                    </a:lnTo>
                    <a:lnTo>
                      <a:pt x="207" y="250"/>
                    </a:lnTo>
                    <a:lnTo>
                      <a:pt x="209" y="250"/>
                    </a:lnTo>
                    <a:lnTo>
                      <a:pt x="207" y="252"/>
                    </a:lnTo>
                    <a:lnTo>
                      <a:pt x="207" y="254"/>
                    </a:lnTo>
                    <a:lnTo>
                      <a:pt x="205" y="254"/>
                    </a:lnTo>
                    <a:lnTo>
                      <a:pt x="205" y="256"/>
                    </a:lnTo>
                    <a:lnTo>
                      <a:pt x="207" y="256"/>
                    </a:lnTo>
                    <a:lnTo>
                      <a:pt x="209" y="256"/>
                    </a:lnTo>
                    <a:lnTo>
                      <a:pt x="209" y="258"/>
                    </a:lnTo>
                    <a:lnTo>
                      <a:pt x="211" y="258"/>
                    </a:lnTo>
                    <a:lnTo>
                      <a:pt x="211" y="260"/>
                    </a:lnTo>
                    <a:lnTo>
                      <a:pt x="209" y="262"/>
                    </a:lnTo>
                    <a:lnTo>
                      <a:pt x="207" y="262"/>
                    </a:lnTo>
                    <a:lnTo>
                      <a:pt x="207" y="264"/>
                    </a:lnTo>
                    <a:lnTo>
                      <a:pt x="207" y="265"/>
                    </a:lnTo>
                    <a:lnTo>
                      <a:pt x="207" y="267"/>
                    </a:lnTo>
                    <a:lnTo>
                      <a:pt x="205" y="267"/>
                    </a:lnTo>
                    <a:lnTo>
                      <a:pt x="204" y="267"/>
                    </a:lnTo>
                    <a:lnTo>
                      <a:pt x="204" y="265"/>
                    </a:lnTo>
                    <a:lnTo>
                      <a:pt x="202" y="267"/>
                    </a:lnTo>
                    <a:lnTo>
                      <a:pt x="200" y="267"/>
                    </a:lnTo>
                    <a:lnTo>
                      <a:pt x="198" y="267"/>
                    </a:lnTo>
                    <a:lnTo>
                      <a:pt x="196" y="267"/>
                    </a:lnTo>
                    <a:lnTo>
                      <a:pt x="194" y="267"/>
                    </a:lnTo>
                    <a:lnTo>
                      <a:pt x="192" y="269"/>
                    </a:lnTo>
                    <a:lnTo>
                      <a:pt x="192" y="267"/>
                    </a:lnTo>
                    <a:lnTo>
                      <a:pt x="190" y="267"/>
                    </a:lnTo>
                    <a:lnTo>
                      <a:pt x="190" y="265"/>
                    </a:lnTo>
                    <a:lnTo>
                      <a:pt x="188" y="264"/>
                    </a:lnTo>
                    <a:lnTo>
                      <a:pt x="188" y="262"/>
                    </a:lnTo>
                    <a:lnTo>
                      <a:pt x="188" y="260"/>
                    </a:lnTo>
                    <a:lnTo>
                      <a:pt x="188" y="258"/>
                    </a:lnTo>
                    <a:lnTo>
                      <a:pt x="186" y="256"/>
                    </a:lnTo>
                    <a:lnTo>
                      <a:pt x="186" y="254"/>
                    </a:lnTo>
                    <a:lnTo>
                      <a:pt x="184" y="254"/>
                    </a:lnTo>
                    <a:lnTo>
                      <a:pt x="184" y="252"/>
                    </a:lnTo>
                    <a:lnTo>
                      <a:pt x="182" y="250"/>
                    </a:lnTo>
                    <a:lnTo>
                      <a:pt x="180" y="250"/>
                    </a:lnTo>
                    <a:lnTo>
                      <a:pt x="180" y="248"/>
                    </a:lnTo>
                    <a:lnTo>
                      <a:pt x="179" y="248"/>
                    </a:lnTo>
                    <a:lnTo>
                      <a:pt x="179" y="246"/>
                    </a:lnTo>
                    <a:lnTo>
                      <a:pt x="177" y="246"/>
                    </a:lnTo>
                    <a:lnTo>
                      <a:pt x="177" y="244"/>
                    </a:lnTo>
                    <a:lnTo>
                      <a:pt x="177" y="246"/>
                    </a:lnTo>
                    <a:lnTo>
                      <a:pt x="175" y="244"/>
                    </a:lnTo>
                    <a:lnTo>
                      <a:pt x="173" y="244"/>
                    </a:lnTo>
                    <a:lnTo>
                      <a:pt x="171" y="242"/>
                    </a:lnTo>
                    <a:lnTo>
                      <a:pt x="171" y="240"/>
                    </a:lnTo>
                    <a:lnTo>
                      <a:pt x="169" y="240"/>
                    </a:lnTo>
                    <a:lnTo>
                      <a:pt x="167" y="240"/>
                    </a:lnTo>
                    <a:lnTo>
                      <a:pt x="165" y="240"/>
                    </a:lnTo>
                    <a:lnTo>
                      <a:pt x="163" y="240"/>
                    </a:lnTo>
                    <a:lnTo>
                      <a:pt x="161" y="240"/>
                    </a:lnTo>
                    <a:lnTo>
                      <a:pt x="161" y="239"/>
                    </a:lnTo>
                    <a:lnTo>
                      <a:pt x="159" y="239"/>
                    </a:lnTo>
                    <a:lnTo>
                      <a:pt x="159" y="242"/>
                    </a:lnTo>
                    <a:lnTo>
                      <a:pt x="157" y="244"/>
                    </a:lnTo>
                    <a:lnTo>
                      <a:pt x="155" y="244"/>
                    </a:lnTo>
                    <a:lnTo>
                      <a:pt x="155" y="246"/>
                    </a:lnTo>
                    <a:lnTo>
                      <a:pt x="154" y="246"/>
                    </a:lnTo>
                    <a:lnTo>
                      <a:pt x="154" y="248"/>
                    </a:lnTo>
                    <a:lnTo>
                      <a:pt x="152" y="246"/>
                    </a:lnTo>
                    <a:lnTo>
                      <a:pt x="150" y="246"/>
                    </a:lnTo>
                    <a:lnTo>
                      <a:pt x="150" y="244"/>
                    </a:lnTo>
                    <a:lnTo>
                      <a:pt x="148" y="244"/>
                    </a:lnTo>
                    <a:lnTo>
                      <a:pt x="146" y="244"/>
                    </a:lnTo>
                    <a:lnTo>
                      <a:pt x="144" y="246"/>
                    </a:lnTo>
                    <a:lnTo>
                      <a:pt x="144" y="248"/>
                    </a:lnTo>
                    <a:lnTo>
                      <a:pt x="144" y="250"/>
                    </a:lnTo>
                    <a:lnTo>
                      <a:pt x="144" y="252"/>
                    </a:lnTo>
                    <a:lnTo>
                      <a:pt x="142" y="252"/>
                    </a:lnTo>
                    <a:lnTo>
                      <a:pt x="140" y="252"/>
                    </a:lnTo>
                    <a:lnTo>
                      <a:pt x="138" y="256"/>
                    </a:lnTo>
                    <a:lnTo>
                      <a:pt x="136" y="254"/>
                    </a:lnTo>
                    <a:lnTo>
                      <a:pt x="136" y="256"/>
                    </a:lnTo>
                    <a:lnTo>
                      <a:pt x="134" y="256"/>
                    </a:lnTo>
                    <a:lnTo>
                      <a:pt x="134" y="254"/>
                    </a:lnTo>
                    <a:lnTo>
                      <a:pt x="132" y="254"/>
                    </a:lnTo>
                    <a:lnTo>
                      <a:pt x="130" y="252"/>
                    </a:lnTo>
                    <a:lnTo>
                      <a:pt x="129" y="252"/>
                    </a:lnTo>
                    <a:lnTo>
                      <a:pt x="129" y="254"/>
                    </a:lnTo>
                    <a:lnTo>
                      <a:pt x="129" y="252"/>
                    </a:lnTo>
                    <a:lnTo>
                      <a:pt x="127" y="252"/>
                    </a:lnTo>
                    <a:lnTo>
                      <a:pt x="127" y="254"/>
                    </a:lnTo>
                    <a:lnTo>
                      <a:pt x="125" y="254"/>
                    </a:lnTo>
                    <a:lnTo>
                      <a:pt x="123" y="254"/>
                    </a:lnTo>
                    <a:lnTo>
                      <a:pt x="121" y="252"/>
                    </a:lnTo>
                    <a:lnTo>
                      <a:pt x="119" y="252"/>
                    </a:lnTo>
                    <a:lnTo>
                      <a:pt x="119" y="250"/>
                    </a:lnTo>
                    <a:lnTo>
                      <a:pt x="117" y="250"/>
                    </a:lnTo>
                    <a:lnTo>
                      <a:pt x="115" y="248"/>
                    </a:lnTo>
                    <a:lnTo>
                      <a:pt x="113" y="248"/>
                    </a:lnTo>
                    <a:lnTo>
                      <a:pt x="111" y="250"/>
                    </a:lnTo>
                    <a:lnTo>
                      <a:pt x="109" y="250"/>
                    </a:lnTo>
                    <a:lnTo>
                      <a:pt x="109" y="248"/>
                    </a:lnTo>
                    <a:lnTo>
                      <a:pt x="109" y="246"/>
                    </a:lnTo>
                    <a:lnTo>
                      <a:pt x="109" y="248"/>
                    </a:lnTo>
                    <a:lnTo>
                      <a:pt x="107" y="250"/>
                    </a:lnTo>
                    <a:lnTo>
                      <a:pt x="102" y="250"/>
                    </a:lnTo>
                    <a:lnTo>
                      <a:pt x="100" y="250"/>
                    </a:lnTo>
                    <a:lnTo>
                      <a:pt x="98" y="250"/>
                    </a:lnTo>
                    <a:lnTo>
                      <a:pt x="98" y="248"/>
                    </a:lnTo>
                    <a:lnTo>
                      <a:pt x="98" y="246"/>
                    </a:lnTo>
                    <a:lnTo>
                      <a:pt x="100" y="244"/>
                    </a:lnTo>
                    <a:lnTo>
                      <a:pt x="100" y="242"/>
                    </a:lnTo>
                    <a:lnTo>
                      <a:pt x="98" y="242"/>
                    </a:lnTo>
                    <a:lnTo>
                      <a:pt x="98" y="240"/>
                    </a:lnTo>
                    <a:lnTo>
                      <a:pt x="98" y="239"/>
                    </a:lnTo>
                    <a:lnTo>
                      <a:pt x="98" y="237"/>
                    </a:lnTo>
                    <a:lnTo>
                      <a:pt x="98" y="235"/>
                    </a:lnTo>
                    <a:lnTo>
                      <a:pt x="96" y="235"/>
                    </a:lnTo>
                    <a:lnTo>
                      <a:pt x="96" y="233"/>
                    </a:lnTo>
                    <a:lnTo>
                      <a:pt x="94" y="233"/>
                    </a:lnTo>
                    <a:lnTo>
                      <a:pt x="92" y="235"/>
                    </a:lnTo>
                    <a:lnTo>
                      <a:pt x="92" y="233"/>
                    </a:lnTo>
                    <a:lnTo>
                      <a:pt x="90" y="235"/>
                    </a:lnTo>
                    <a:lnTo>
                      <a:pt x="88" y="235"/>
                    </a:lnTo>
                    <a:lnTo>
                      <a:pt x="86" y="235"/>
                    </a:lnTo>
                    <a:lnTo>
                      <a:pt x="84" y="235"/>
                    </a:lnTo>
                    <a:lnTo>
                      <a:pt x="86" y="233"/>
                    </a:lnTo>
                    <a:lnTo>
                      <a:pt x="86" y="231"/>
                    </a:lnTo>
                    <a:lnTo>
                      <a:pt x="86" y="229"/>
                    </a:lnTo>
                    <a:lnTo>
                      <a:pt x="88" y="227"/>
                    </a:lnTo>
                    <a:lnTo>
                      <a:pt x="90" y="225"/>
                    </a:lnTo>
                    <a:lnTo>
                      <a:pt x="92" y="221"/>
                    </a:lnTo>
                    <a:lnTo>
                      <a:pt x="92" y="219"/>
                    </a:lnTo>
                    <a:lnTo>
                      <a:pt x="92" y="217"/>
                    </a:lnTo>
                    <a:lnTo>
                      <a:pt x="90" y="217"/>
                    </a:lnTo>
                    <a:lnTo>
                      <a:pt x="90" y="216"/>
                    </a:lnTo>
                    <a:lnTo>
                      <a:pt x="90" y="217"/>
                    </a:lnTo>
                    <a:lnTo>
                      <a:pt x="88" y="217"/>
                    </a:lnTo>
                    <a:lnTo>
                      <a:pt x="86" y="217"/>
                    </a:lnTo>
                    <a:lnTo>
                      <a:pt x="82" y="216"/>
                    </a:lnTo>
                    <a:lnTo>
                      <a:pt x="84" y="212"/>
                    </a:lnTo>
                    <a:lnTo>
                      <a:pt x="82" y="212"/>
                    </a:lnTo>
                    <a:lnTo>
                      <a:pt x="81" y="212"/>
                    </a:lnTo>
                    <a:lnTo>
                      <a:pt x="81" y="210"/>
                    </a:lnTo>
                    <a:lnTo>
                      <a:pt x="79" y="210"/>
                    </a:lnTo>
                    <a:lnTo>
                      <a:pt x="75" y="206"/>
                    </a:lnTo>
                    <a:lnTo>
                      <a:pt x="73" y="210"/>
                    </a:lnTo>
                    <a:lnTo>
                      <a:pt x="73" y="214"/>
                    </a:lnTo>
                    <a:lnTo>
                      <a:pt x="69" y="214"/>
                    </a:lnTo>
                    <a:lnTo>
                      <a:pt x="67" y="214"/>
                    </a:lnTo>
                    <a:lnTo>
                      <a:pt x="65" y="214"/>
                    </a:lnTo>
                    <a:lnTo>
                      <a:pt x="65" y="216"/>
                    </a:lnTo>
                    <a:lnTo>
                      <a:pt x="65" y="219"/>
                    </a:lnTo>
                    <a:lnTo>
                      <a:pt x="65" y="229"/>
                    </a:lnTo>
                    <a:lnTo>
                      <a:pt x="63" y="231"/>
                    </a:lnTo>
                    <a:lnTo>
                      <a:pt x="61" y="229"/>
                    </a:lnTo>
                    <a:lnTo>
                      <a:pt x="59" y="233"/>
                    </a:lnTo>
                    <a:lnTo>
                      <a:pt x="59" y="231"/>
                    </a:lnTo>
                    <a:lnTo>
                      <a:pt x="57" y="233"/>
                    </a:lnTo>
                    <a:lnTo>
                      <a:pt x="56" y="233"/>
                    </a:lnTo>
                    <a:lnTo>
                      <a:pt x="54" y="233"/>
                    </a:lnTo>
                    <a:lnTo>
                      <a:pt x="54" y="237"/>
                    </a:lnTo>
                    <a:lnTo>
                      <a:pt x="52" y="237"/>
                    </a:lnTo>
                    <a:lnTo>
                      <a:pt x="52" y="239"/>
                    </a:lnTo>
                    <a:lnTo>
                      <a:pt x="48" y="237"/>
                    </a:lnTo>
                    <a:lnTo>
                      <a:pt x="50" y="235"/>
                    </a:lnTo>
                    <a:lnTo>
                      <a:pt x="48" y="235"/>
                    </a:lnTo>
                    <a:lnTo>
                      <a:pt x="48" y="237"/>
                    </a:lnTo>
                    <a:lnTo>
                      <a:pt x="48" y="240"/>
                    </a:lnTo>
                    <a:lnTo>
                      <a:pt x="48" y="244"/>
                    </a:lnTo>
                    <a:lnTo>
                      <a:pt x="42" y="216"/>
                    </a:lnTo>
                    <a:lnTo>
                      <a:pt x="36" y="191"/>
                    </a:lnTo>
                    <a:lnTo>
                      <a:pt x="33" y="173"/>
                    </a:lnTo>
                    <a:lnTo>
                      <a:pt x="31" y="167"/>
                    </a:lnTo>
                    <a:lnTo>
                      <a:pt x="31" y="164"/>
                    </a:lnTo>
                    <a:lnTo>
                      <a:pt x="29" y="158"/>
                    </a:lnTo>
                    <a:lnTo>
                      <a:pt x="27" y="154"/>
                    </a:lnTo>
                    <a:lnTo>
                      <a:pt x="19" y="127"/>
                    </a:lnTo>
                    <a:lnTo>
                      <a:pt x="17" y="119"/>
                    </a:lnTo>
                    <a:lnTo>
                      <a:pt x="13" y="104"/>
                    </a:lnTo>
                    <a:lnTo>
                      <a:pt x="9" y="87"/>
                    </a:lnTo>
                    <a:lnTo>
                      <a:pt x="8" y="81"/>
                    </a:lnTo>
                    <a:lnTo>
                      <a:pt x="4" y="71"/>
                    </a:lnTo>
                    <a:lnTo>
                      <a:pt x="2" y="64"/>
                    </a:lnTo>
                    <a:lnTo>
                      <a:pt x="0" y="60"/>
                    </a:lnTo>
                    <a:lnTo>
                      <a:pt x="0" y="56"/>
                    </a:lnTo>
                    <a:lnTo>
                      <a:pt x="0" y="52"/>
                    </a:lnTo>
                    <a:lnTo>
                      <a:pt x="2" y="52"/>
                    </a:lnTo>
                    <a:lnTo>
                      <a:pt x="2" y="50"/>
                    </a:lnTo>
                    <a:lnTo>
                      <a:pt x="4" y="50"/>
                    </a:lnTo>
                    <a:lnTo>
                      <a:pt x="2" y="50"/>
                    </a:lnTo>
                    <a:lnTo>
                      <a:pt x="2" y="48"/>
                    </a:lnTo>
                    <a:lnTo>
                      <a:pt x="2" y="46"/>
                    </a:lnTo>
                    <a:lnTo>
                      <a:pt x="4" y="46"/>
                    </a:lnTo>
                    <a:lnTo>
                      <a:pt x="6" y="46"/>
                    </a:lnTo>
                    <a:lnTo>
                      <a:pt x="8" y="48"/>
                    </a:lnTo>
                    <a:lnTo>
                      <a:pt x="8" y="44"/>
                    </a:lnTo>
                    <a:lnTo>
                      <a:pt x="6" y="44"/>
                    </a:lnTo>
                    <a:lnTo>
                      <a:pt x="4" y="44"/>
                    </a:lnTo>
                    <a:lnTo>
                      <a:pt x="4" y="42"/>
                    </a:lnTo>
                    <a:lnTo>
                      <a:pt x="4" y="41"/>
                    </a:lnTo>
                    <a:lnTo>
                      <a:pt x="4" y="39"/>
                    </a:lnTo>
                    <a:lnTo>
                      <a:pt x="4" y="37"/>
                    </a:lnTo>
                    <a:lnTo>
                      <a:pt x="6" y="37"/>
                    </a:lnTo>
                    <a:lnTo>
                      <a:pt x="8" y="39"/>
                    </a:lnTo>
                    <a:lnTo>
                      <a:pt x="9" y="39"/>
                    </a:lnTo>
                    <a:lnTo>
                      <a:pt x="11" y="39"/>
                    </a:lnTo>
                    <a:lnTo>
                      <a:pt x="11" y="37"/>
                    </a:lnTo>
                    <a:lnTo>
                      <a:pt x="11" y="35"/>
                    </a:lnTo>
                    <a:lnTo>
                      <a:pt x="13" y="37"/>
                    </a:lnTo>
                    <a:lnTo>
                      <a:pt x="15" y="37"/>
                    </a:lnTo>
                    <a:lnTo>
                      <a:pt x="15" y="39"/>
                    </a:lnTo>
                    <a:lnTo>
                      <a:pt x="13" y="41"/>
                    </a:lnTo>
                    <a:lnTo>
                      <a:pt x="13" y="42"/>
                    </a:lnTo>
                    <a:lnTo>
                      <a:pt x="15" y="42"/>
                    </a:lnTo>
                    <a:lnTo>
                      <a:pt x="15" y="44"/>
                    </a:lnTo>
                    <a:lnTo>
                      <a:pt x="13" y="44"/>
                    </a:lnTo>
                    <a:lnTo>
                      <a:pt x="15" y="44"/>
                    </a:lnTo>
                    <a:lnTo>
                      <a:pt x="15" y="46"/>
                    </a:lnTo>
                    <a:lnTo>
                      <a:pt x="15" y="44"/>
                    </a:lnTo>
                    <a:lnTo>
                      <a:pt x="17" y="46"/>
                    </a:lnTo>
                    <a:lnTo>
                      <a:pt x="19" y="46"/>
                    </a:lnTo>
                    <a:lnTo>
                      <a:pt x="21" y="44"/>
                    </a:lnTo>
                    <a:lnTo>
                      <a:pt x="23" y="44"/>
                    </a:lnTo>
                    <a:lnTo>
                      <a:pt x="25" y="44"/>
                    </a:lnTo>
                    <a:lnTo>
                      <a:pt x="23" y="44"/>
                    </a:lnTo>
                    <a:lnTo>
                      <a:pt x="25" y="44"/>
                    </a:lnTo>
                    <a:lnTo>
                      <a:pt x="25" y="46"/>
                    </a:lnTo>
                    <a:lnTo>
                      <a:pt x="27" y="46"/>
                    </a:lnTo>
                    <a:lnTo>
                      <a:pt x="29" y="44"/>
                    </a:lnTo>
                    <a:lnTo>
                      <a:pt x="29" y="42"/>
                    </a:lnTo>
                    <a:lnTo>
                      <a:pt x="29" y="41"/>
                    </a:lnTo>
                    <a:lnTo>
                      <a:pt x="29" y="37"/>
                    </a:lnTo>
                    <a:lnTo>
                      <a:pt x="31" y="37"/>
                    </a:lnTo>
                    <a:lnTo>
                      <a:pt x="31" y="39"/>
                    </a:lnTo>
                    <a:lnTo>
                      <a:pt x="34" y="37"/>
                    </a:lnTo>
                    <a:lnTo>
                      <a:pt x="38" y="37"/>
                    </a:lnTo>
                    <a:lnTo>
                      <a:pt x="40" y="37"/>
                    </a:lnTo>
                    <a:lnTo>
                      <a:pt x="42" y="39"/>
                    </a:lnTo>
                    <a:lnTo>
                      <a:pt x="44" y="37"/>
                    </a:lnTo>
                    <a:lnTo>
                      <a:pt x="46" y="37"/>
                    </a:lnTo>
                    <a:lnTo>
                      <a:pt x="50" y="39"/>
                    </a:lnTo>
                    <a:lnTo>
                      <a:pt x="52" y="37"/>
                    </a:lnTo>
                    <a:lnTo>
                      <a:pt x="54" y="37"/>
                    </a:lnTo>
                    <a:lnTo>
                      <a:pt x="56" y="37"/>
                    </a:lnTo>
                    <a:lnTo>
                      <a:pt x="56" y="39"/>
                    </a:lnTo>
                    <a:lnTo>
                      <a:pt x="63" y="35"/>
                    </a:lnTo>
                    <a:lnTo>
                      <a:pt x="65" y="33"/>
                    </a:lnTo>
                    <a:lnTo>
                      <a:pt x="63" y="33"/>
                    </a:lnTo>
                    <a:lnTo>
                      <a:pt x="67" y="31"/>
                    </a:lnTo>
                    <a:lnTo>
                      <a:pt x="69" y="31"/>
                    </a:lnTo>
                    <a:lnTo>
                      <a:pt x="73" y="31"/>
                    </a:lnTo>
                    <a:lnTo>
                      <a:pt x="73" y="27"/>
                    </a:lnTo>
                    <a:lnTo>
                      <a:pt x="73" y="25"/>
                    </a:lnTo>
                    <a:lnTo>
                      <a:pt x="75" y="25"/>
                    </a:lnTo>
                    <a:lnTo>
                      <a:pt x="79" y="23"/>
                    </a:lnTo>
                    <a:lnTo>
                      <a:pt x="81" y="23"/>
                    </a:lnTo>
                    <a:lnTo>
                      <a:pt x="79" y="23"/>
                    </a:lnTo>
                    <a:lnTo>
                      <a:pt x="81" y="21"/>
                    </a:lnTo>
                    <a:lnTo>
                      <a:pt x="82" y="21"/>
                    </a:lnTo>
                    <a:lnTo>
                      <a:pt x="81" y="19"/>
                    </a:lnTo>
                    <a:lnTo>
                      <a:pt x="81" y="17"/>
                    </a:lnTo>
                    <a:lnTo>
                      <a:pt x="86" y="16"/>
                    </a:lnTo>
                    <a:lnTo>
                      <a:pt x="86" y="17"/>
                    </a:lnTo>
                    <a:lnTo>
                      <a:pt x="86" y="19"/>
                    </a:lnTo>
                    <a:lnTo>
                      <a:pt x="90" y="17"/>
                    </a:lnTo>
                    <a:lnTo>
                      <a:pt x="92" y="17"/>
                    </a:lnTo>
                    <a:lnTo>
                      <a:pt x="92" y="16"/>
                    </a:lnTo>
                    <a:lnTo>
                      <a:pt x="94" y="16"/>
                    </a:lnTo>
                    <a:lnTo>
                      <a:pt x="96" y="16"/>
                    </a:lnTo>
                    <a:lnTo>
                      <a:pt x="100" y="16"/>
                    </a:lnTo>
                    <a:lnTo>
                      <a:pt x="98" y="14"/>
                    </a:lnTo>
                    <a:lnTo>
                      <a:pt x="98" y="12"/>
                    </a:lnTo>
                    <a:lnTo>
                      <a:pt x="100" y="12"/>
                    </a:lnTo>
                    <a:lnTo>
                      <a:pt x="102" y="10"/>
                    </a:lnTo>
                    <a:lnTo>
                      <a:pt x="104" y="10"/>
                    </a:lnTo>
                    <a:lnTo>
                      <a:pt x="106" y="8"/>
                    </a:lnTo>
                    <a:lnTo>
                      <a:pt x="107" y="8"/>
                    </a:lnTo>
                    <a:lnTo>
                      <a:pt x="109" y="6"/>
                    </a:lnTo>
                    <a:lnTo>
                      <a:pt x="109" y="8"/>
                    </a:lnTo>
                    <a:lnTo>
                      <a:pt x="111" y="8"/>
                    </a:lnTo>
                    <a:lnTo>
                      <a:pt x="111" y="6"/>
                    </a:lnTo>
                    <a:lnTo>
                      <a:pt x="109" y="2"/>
                    </a:lnTo>
                    <a:lnTo>
                      <a:pt x="109" y="0"/>
                    </a:lnTo>
                    <a:lnTo>
                      <a:pt x="113" y="0"/>
                    </a:lnTo>
                    <a:lnTo>
                      <a:pt x="115" y="0"/>
                    </a:lnTo>
                    <a:lnTo>
                      <a:pt x="115" y="2"/>
                    </a:lnTo>
                    <a:lnTo>
                      <a:pt x="115" y="4"/>
                    </a:lnTo>
                    <a:lnTo>
                      <a:pt x="115" y="6"/>
                    </a:lnTo>
                    <a:lnTo>
                      <a:pt x="115" y="8"/>
                    </a:lnTo>
                    <a:lnTo>
                      <a:pt x="117" y="10"/>
                    </a:lnTo>
                    <a:lnTo>
                      <a:pt x="117" y="12"/>
                    </a:lnTo>
                    <a:lnTo>
                      <a:pt x="119" y="14"/>
                    </a:lnTo>
                    <a:lnTo>
                      <a:pt x="119" y="16"/>
                    </a:lnTo>
                    <a:lnTo>
                      <a:pt x="119" y="17"/>
                    </a:lnTo>
                    <a:lnTo>
                      <a:pt x="119" y="19"/>
                    </a:lnTo>
                    <a:lnTo>
                      <a:pt x="121" y="19"/>
                    </a:lnTo>
                    <a:lnTo>
                      <a:pt x="123" y="21"/>
                    </a:lnTo>
                    <a:lnTo>
                      <a:pt x="125" y="21"/>
                    </a:lnTo>
                    <a:lnTo>
                      <a:pt x="125" y="23"/>
                    </a:lnTo>
                    <a:lnTo>
                      <a:pt x="129" y="21"/>
                    </a:lnTo>
                    <a:lnTo>
                      <a:pt x="130" y="23"/>
                    </a:lnTo>
                    <a:lnTo>
                      <a:pt x="130" y="25"/>
                    </a:lnTo>
                    <a:lnTo>
                      <a:pt x="130" y="27"/>
                    </a:lnTo>
                    <a:lnTo>
                      <a:pt x="132" y="27"/>
                    </a:lnTo>
                    <a:lnTo>
                      <a:pt x="132" y="29"/>
                    </a:lnTo>
                    <a:lnTo>
                      <a:pt x="132" y="31"/>
                    </a:lnTo>
                    <a:lnTo>
                      <a:pt x="130" y="31"/>
                    </a:lnTo>
                    <a:lnTo>
                      <a:pt x="130" y="33"/>
                    </a:lnTo>
                    <a:lnTo>
                      <a:pt x="130" y="35"/>
                    </a:lnTo>
                    <a:lnTo>
                      <a:pt x="130" y="33"/>
                    </a:lnTo>
                    <a:lnTo>
                      <a:pt x="132" y="33"/>
                    </a:lnTo>
                    <a:lnTo>
                      <a:pt x="134" y="31"/>
                    </a:lnTo>
                    <a:lnTo>
                      <a:pt x="134" y="29"/>
                    </a:lnTo>
                    <a:lnTo>
                      <a:pt x="136" y="29"/>
                    </a:lnTo>
                    <a:lnTo>
                      <a:pt x="138" y="33"/>
                    </a:lnTo>
                    <a:lnTo>
                      <a:pt x="138" y="31"/>
                    </a:lnTo>
                    <a:lnTo>
                      <a:pt x="142" y="31"/>
                    </a:lnTo>
                    <a:lnTo>
                      <a:pt x="142" y="33"/>
                    </a:lnTo>
                    <a:lnTo>
                      <a:pt x="142" y="35"/>
                    </a:lnTo>
                    <a:lnTo>
                      <a:pt x="140" y="35"/>
                    </a:lnTo>
                    <a:lnTo>
                      <a:pt x="140" y="37"/>
                    </a:lnTo>
                    <a:lnTo>
                      <a:pt x="140" y="39"/>
                    </a:lnTo>
                    <a:lnTo>
                      <a:pt x="138" y="39"/>
                    </a:lnTo>
                    <a:lnTo>
                      <a:pt x="136" y="39"/>
                    </a:lnTo>
                    <a:lnTo>
                      <a:pt x="136" y="41"/>
                    </a:lnTo>
                    <a:lnTo>
                      <a:pt x="136" y="42"/>
                    </a:lnTo>
                    <a:lnTo>
                      <a:pt x="136" y="44"/>
                    </a:lnTo>
                    <a:lnTo>
                      <a:pt x="134" y="44"/>
                    </a:lnTo>
                    <a:lnTo>
                      <a:pt x="136" y="44"/>
                    </a:lnTo>
                    <a:lnTo>
                      <a:pt x="136" y="46"/>
                    </a:lnTo>
                    <a:lnTo>
                      <a:pt x="136" y="44"/>
                    </a:lnTo>
                    <a:lnTo>
                      <a:pt x="136" y="46"/>
                    </a:lnTo>
                    <a:lnTo>
                      <a:pt x="138" y="48"/>
                    </a:lnTo>
                    <a:lnTo>
                      <a:pt x="136" y="48"/>
                    </a:lnTo>
                    <a:lnTo>
                      <a:pt x="138" y="48"/>
                    </a:lnTo>
                    <a:lnTo>
                      <a:pt x="138" y="50"/>
                    </a:lnTo>
                    <a:lnTo>
                      <a:pt x="140" y="48"/>
                    </a:lnTo>
                    <a:lnTo>
                      <a:pt x="142" y="48"/>
                    </a:lnTo>
                    <a:lnTo>
                      <a:pt x="142" y="50"/>
                    </a:lnTo>
                    <a:lnTo>
                      <a:pt x="144" y="50"/>
                    </a:lnTo>
                    <a:lnTo>
                      <a:pt x="146" y="52"/>
                    </a:lnTo>
                    <a:lnTo>
                      <a:pt x="146" y="54"/>
                    </a:lnTo>
                    <a:lnTo>
                      <a:pt x="148" y="54"/>
                    </a:lnTo>
                    <a:lnTo>
                      <a:pt x="150" y="54"/>
                    </a:lnTo>
                    <a:lnTo>
                      <a:pt x="150" y="56"/>
                    </a:lnTo>
                    <a:lnTo>
                      <a:pt x="148" y="56"/>
                    </a:lnTo>
                    <a:lnTo>
                      <a:pt x="148" y="58"/>
                    </a:lnTo>
                    <a:lnTo>
                      <a:pt x="150" y="58"/>
                    </a:lnTo>
                    <a:lnTo>
                      <a:pt x="150" y="56"/>
                    </a:lnTo>
                    <a:lnTo>
                      <a:pt x="150" y="58"/>
                    </a:lnTo>
                    <a:lnTo>
                      <a:pt x="152" y="60"/>
                    </a:lnTo>
                    <a:lnTo>
                      <a:pt x="154" y="60"/>
                    </a:lnTo>
                    <a:lnTo>
                      <a:pt x="154" y="62"/>
                    </a:lnTo>
                    <a:lnTo>
                      <a:pt x="154" y="64"/>
                    </a:lnTo>
                    <a:lnTo>
                      <a:pt x="155" y="64"/>
                    </a:lnTo>
                    <a:lnTo>
                      <a:pt x="155" y="66"/>
                    </a:lnTo>
                    <a:lnTo>
                      <a:pt x="157" y="66"/>
                    </a:lnTo>
                    <a:lnTo>
                      <a:pt x="159" y="67"/>
                    </a:lnTo>
                    <a:lnTo>
                      <a:pt x="159" y="66"/>
                    </a:lnTo>
                    <a:lnTo>
                      <a:pt x="161" y="66"/>
                    </a:lnTo>
                    <a:lnTo>
                      <a:pt x="161" y="67"/>
                    </a:lnTo>
                    <a:lnTo>
                      <a:pt x="161" y="66"/>
                    </a:lnTo>
                    <a:lnTo>
                      <a:pt x="163" y="66"/>
                    </a:lnTo>
                    <a:lnTo>
                      <a:pt x="161" y="66"/>
                    </a:lnTo>
                    <a:lnTo>
                      <a:pt x="161" y="64"/>
                    </a:lnTo>
                    <a:lnTo>
                      <a:pt x="159" y="64"/>
                    </a:lnTo>
                    <a:lnTo>
                      <a:pt x="167" y="58"/>
                    </a:lnTo>
                    <a:lnTo>
                      <a:pt x="165" y="56"/>
                    </a:lnTo>
                    <a:lnTo>
                      <a:pt x="169" y="52"/>
                    </a:lnTo>
                    <a:lnTo>
                      <a:pt x="171" y="50"/>
                    </a:lnTo>
                    <a:lnTo>
                      <a:pt x="169" y="48"/>
                    </a:lnTo>
                    <a:lnTo>
                      <a:pt x="171" y="46"/>
                    </a:lnTo>
                    <a:lnTo>
                      <a:pt x="173" y="44"/>
                    </a:lnTo>
                    <a:lnTo>
                      <a:pt x="175" y="42"/>
                    </a:lnTo>
                    <a:lnTo>
                      <a:pt x="179" y="41"/>
                    </a:lnTo>
                    <a:lnTo>
                      <a:pt x="180" y="39"/>
                    </a:lnTo>
                    <a:lnTo>
                      <a:pt x="182" y="37"/>
                    </a:lnTo>
                    <a:lnTo>
                      <a:pt x="184" y="35"/>
                    </a:lnTo>
                    <a:lnTo>
                      <a:pt x="184" y="33"/>
                    </a:lnTo>
                    <a:lnTo>
                      <a:pt x="186" y="33"/>
                    </a:lnTo>
                    <a:lnTo>
                      <a:pt x="188" y="31"/>
                    </a:lnTo>
                    <a:lnTo>
                      <a:pt x="190" y="31"/>
                    </a:lnTo>
                    <a:lnTo>
                      <a:pt x="192" y="31"/>
                    </a:lnTo>
                    <a:lnTo>
                      <a:pt x="192" y="29"/>
                    </a:lnTo>
                    <a:lnTo>
                      <a:pt x="192" y="31"/>
                    </a:lnTo>
                    <a:lnTo>
                      <a:pt x="192" y="35"/>
                    </a:lnTo>
                    <a:lnTo>
                      <a:pt x="192" y="37"/>
                    </a:lnTo>
                    <a:lnTo>
                      <a:pt x="192" y="39"/>
                    </a:lnTo>
                    <a:lnTo>
                      <a:pt x="192" y="41"/>
                    </a:lnTo>
                    <a:lnTo>
                      <a:pt x="196" y="41"/>
                    </a:lnTo>
                    <a:lnTo>
                      <a:pt x="196" y="39"/>
                    </a:lnTo>
                    <a:lnTo>
                      <a:pt x="198" y="39"/>
                    </a:lnTo>
                    <a:lnTo>
                      <a:pt x="198" y="37"/>
                    </a:lnTo>
                    <a:lnTo>
                      <a:pt x="198" y="35"/>
                    </a:lnTo>
                    <a:lnTo>
                      <a:pt x="198" y="33"/>
                    </a:lnTo>
                    <a:lnTo>
                      <a:pt x="198" y="31"/>
                    </a:lnTo>
                    <a:lnTo>
                      <a:pt x="200" y="31"/>
                    </a:lnTo>
                    <a:lnTo>
                      <a:pt x="200" y="29"/>
                    </a:lnTo>
                    <a:lnTo>
                      <a:pt x="202" y="29"/>
                    </a:lnTo>
                    <a:lnTo>
                      <a:pt x="204" y="29"/>
                    </a:lnTo>
                    <a:lnTo>
                      <a:pt x="205" y="29"/>
                    </a:lnTo>
                    <a:lnTo>
                      <a:pt x="205" y="31"/>
                    </a:lnTo>
                    <a:lnTo>
                      <a:pt x="207" y="31"/>
                    </a:lnTo>
                    <a:lnTo>
                      <a:pt x="207" y="29"/>
                    </a:lnTo>
                    <a:lnTo>
                      <a:pt x="209" y="29"/>
                    </a:lnTo>
                    <a:lnTo>
                      <a:pt x="211" y="29"/>
                    </a:lnTo>
                    <a:lnTo>
                      <a:pt x="213" y="29"/>
                    </a:lnTo>
                    <a:lnTo>
                      <a:pt x="217" y="27"/>
                    </a:lnTo>
                    <a:lnTo>
                      <a:pt x="219" y="25"/>
                    </a:lnTo>
                    <a:lnTo>
                      <a:pt x="219" y="27"/>
                    </a:lnTo>
                    <a:lnTo>
                      <a:pt x="221" y="27"/>
                    </a:lnTo>
                    <a:lnTo>
                      <a:pt x="225" y="25"/>
                    </a:lnTo>
                    <a:lnTo>
                      <a:pt x="227" y="27"/>
                    </a:lnTo>
                    <a:lnTo>
                      <a:pt x="228" y="27"/>
                    </a:lnTo>
                    <a:lnTo>
                      <a:pt x="230" y="29"/>
                    </a:lnTo>
                    <a:lnTo>
                      <a:pt x="230" y="31"/>
                    </a:lnTo>
                    <a:lnTo>
                      <a:pt x="232" y="31"/>
                    </a:lnTo>
                    <a:lnTo>
                      <a:pt x="234" y="29"/>
                    </a:lnTo>
                    <a:lnTo>
                      <a:pt x="236" y="27"/>
                    </a:lnTo>
                    <a:lnTo>
                      <a:pt x="236" y="25"/>
                    </a:lnTo>
                    <a:lnTo>
                      <a:pt x="236" y="23"/>
                    </a:lnTo>
                    <a:lnTo>
                      <a:pt x="238" y="21"/>
                    </a:lnTo>
                    <a:lnTo>
                      <a:pt x="240" y="19"/>
                    </a:lnTo>
                    <a:lnTo>
                      <a:pt x="242" y="19"/>
                    </a:lnTo>
                    <a:lnTo>
                      <a:pt x="244" y="17"/>
                    </a:lnTo>
                    <a:lnTo>
                      <a:pt x="246" y="17"/>
                    </a:lnTo>
                    <a:lnTo>
                      <a:pt x="248" y="17"/>
                    </a:lnTo>
                    <a:lnTo>
                      <a:pt x="252" y="16"/>
                    </a:lnTo>
                    <a:lnTo>
                      <a:pt x="255" y="14"/>
                    </a:lnTo>
                    <a:lnTo>
                      <a:pt x="257" y="14"/>
                    </a:lnTo>
                    <a:lnTo>
                      <a:pt x="261" y="21"/>
                    </a:lnTo>
                    <a:lnTo>
                      <a:pt x="263" y="25"/>
                    </a:lnTo>
                    <a:lnTo>
                      <a:pt x="263" y="29"/>
                    </a:lnTo>
                    <a:lnTo>
                      <a:pt x="265" y="31"/>
                    </a:lnTo>
                    <a:lnTo>
                      <a:pt x="269" y="29"/>
                    </a:lnTo>
                    <a:lnTo>
                      <a:pt x="269" y="31"/>
                    </a:lnTo>
                    <a:lnTo>
                      <a:pt x="271" y="29"/>
                    </a:lnTo>
                    <a:lnTo>
                      <a:pt x="273" y="33"/>
                    </a:lnTo>
                    <a:lnTo>
                      <a:pt x="273" y="35"/>
                    </a:lnTo>
                    <a:lnTo>
                      <a:pt x="275" y="33"/>
                    </a:lnTo>
                    <a:lnTo>
                      <a:pt x="277" y="37"/>
                    </a:lnTo>
                    <a:lnTo>
                      <a:pt x="278" y="42"/>
                    </a:lnTo>
                    <a:lnTo>
                      <a:pt x="280" y="41"/>
                    </a:lnTo>
                    <a:lnTo>
                      <a:pt x="280" y="42"/>
                    </a:lnTo>
                    <a:lnTo>
                      <a:pt x="282" y="44"/>
                    </a:lnTo>
                    <a:lnTo>
                      <a:pt x="284" y="44"/>
                    </a:lnTo>
                    <a:lnTo>
                      <a:pt x="284" y="46"/>
                    </a:lnTo>
                    <a:lnTo>
                      <a:pt x="286" y="48"/>
                    </a:lnTo>
                    <a:lnTo>
                      <a:pt x="286" y="50"/>
                    </a:lnTo>
                    <a:lnTo>
                      <a:pt x="288" y="54"/>
                    </a:lnTo>
                    <a:lnTo>
                      <a:pt x="288" y="58"/>
                    </a:lnTo>
                    <a:lnTo>
                      <a:pt x="292" y="58"/>
                    </a:lnTo>
                    <a:lnTo>
                      <a:pt x="292" y="62"/>
                    </a:lnTo>
                    <a:lnTo>
                      <a:pt x="292" y="64"/>
                    </a:lnTo>
                    <a:lnTo>
                      <a:pt x="292" y="67"/>
                    </a:lnTo>
                    <a:lnTo>
                      <a:pt x="292" y="69"/>
                    </a:lnTo>
                    <a:lnTo>
                      <a:pt x="294" y="71"/>
                    </a:lnTo>
                    <a:lnTo>
                      <a:pt x="294" y="73"/>
                    </a:lnTo>
                    <a:lnTo>
                      <a:pt x="296" y="73"/>
                    </a:lnTo>
                    <a:lnTo>
                      <a:pt x="296" y="75"/>
                    </a:lnTo>
                    <a:lnTo>
                      <a:pt x="298" y="75"/>
                    </a:lnTo>
                    <a:lnTo>
                      <a:pt x="298" y="77"/>
                    </a:lnTo>
                    <a:lnTo>
                      <a:pt x="298" y="79"/>
                    </a:lnTo>
                    <a:lnTo>
                      <a:pt x="300" y="79"/>
                    </a:lnTo>
                    <a:lnTo>
                      <a:pt x="300" y="81"/>
                    </a:lnTo>
                    <a:lnTo>
                      <a:pt x="301" y="81"/>
                    </a:lnTo>
                    <a:lnTo>
                      <a:pt x="303" y="81"/>
                    </a:lnTo>
                    <a:lnTo>
                      <a:pt x="303" y="83"/>
                    </a:lnTo>
                    <a:lnTo>
                      <a:pt x="305" y="83"/>
                    </a:lnTo>
                    <a:lnTo>
                      <a:pt x="305" y="85"/>
                    </a:lnTo>
                    <a:lnTo>
                      <a:pt x="307" y="85"/>
                    </a:lnTo>
                    <a:lnTo>
                      <a:pt x="309" y="85"/>
                    </a:lnTo>
                    <a:lnTo>
                      <a:pt x="309" y="83"/>
                    </a:lnTo>
                    <a:lnTo>
                      <a:pt x="311" y="83"/>
                    </a:lnTo>
                    <a:lnTo>
                      <a:pt x="311" y="85"/>
                    </a:lnTo>
                    <a:lnTo>
                      <a:pt x="309" y="85"/>
                    </a:lnTo>
                    <a:lnTo>
                      <a:pt x="309" y="87"/>
                    </a:lnTo>
                    <a:lnTo>
                      <a:pt x="309" y="89"/>
                    </a:lnTo>
                    <a:lnTo>
                      <a:pt x="311" y="89"/>
                    </a:lnTo>
                    <a:lnTo>
                      <a:pt x="309" y="89"/>
                    </a:lnTo>
                    <a:lnTo>
                      <a:pt x="309" y="91"/>
                    </a:lnTo>
                    <a:lnTo>
                      <a:pt x="309" y="92"/>
                    </a:lnTo>
                    <a:lnTo>
                      <a:pt x="307" y="92"/>
                    </a:lnTo>
                    <a:lnTo>
                      <a:pt x="307" y="94"/>
                    </a:lnTo>
                    <a:lnTo>
                      <a:pt x="305" y="96"/>
                    </a:lnTo>
                    <a:lnTo>
                      <a:pt x="303" y="96"/>
                    </a:lnTo>
                    <a:lnTo>
                      <a:pt x="303" y="98"/>
                    </a:lnTo>
                    <a:lnTo>
                      <a:pt x="301" y="98"/>
                    </a:lnTo>
                    <a:lnTo>
                      <a:pt x="303" y="98"/>
                    </a:lnTo>
                    <a:lnTo>
                      <a:pt x="301" y="100"/>
                    </a:lnTo>
                    <a:lnTo>
                      <a:pt x="301" y="98"/>
                    </a:lnTo>
                    <a:lnTo>
                      <a:pt x="300" y="98"/>
                    </a:lnTo>
                    <a:lnTo>
                      <a:pt x="300" y="100"/>
                    </a:lnTo>
                    <a:lnTo>
                      <a:pt x="300" y="104"/>
                    </a:lnTo>
                    <a:lnTo>
                      <a:pt x="301" y="104"/>
                    </a:lnTo>
                    <a:lnTo>
                      <a:pt x="301" y="102"/>
                    </a:lnTo>
                    <a:lnTo>
                      <a:pt x="301" y="104"/>
                    </a:lnTo>
                    <a:lnTo>
                      <a:pt x="303" y="104"/>
                    </a:lnTo>
                    <a:lnTo>
                      <a:pt x="303" y="106"/>
                    </a:lnTo>
                    <a:lnTo>
                      <a:pt x="305" y="106"/>
                    </a:lnTo>
                    <a:lnTo>
                      <a:pt x="307" y="106"/>
                    </a:lnTo>
                    <a:lnTo>
                      <a:pt x="307" y="108"/>
                    </a:lnTo>
                    <a:lnTo>
                      <a:pt x="305" y="108"/>
                    </a:lnTo>
                    <a:lnTo>
                      <a:pt x="307" y="110"/>
                    </a:lnTo>
                    <a:lnTo>
                      <a:pt x="309" y="112"/>
                    </a:lnTo>
                    <a:lnTo>
                      <a:pt x="311" y="112"/>
                    </a:lnTo>
                    <a:lnTo>
                      <a:pt x="313" y="114"/>
                    </a:lnTo>
                    <a:lnTo>
                      <a:pt x="313" y="116"/>
                    </a:lnTo>
                    <a:lnTo>
                      <a:pt x="313" y="117"/>
                    </a:lnTo>
                    <a:lnTo>
                      <a:pt x="311" y="117"/>
                    </a:lnTo>
                    <a:lnTo>
                      <a:pt x="311" y="121"/>
                    </a:lnTo>
                    <a:lnTo>
                      <a:pt x="311" y="123"/>
                    </a:lnTo>
                    <a:lnTo>
                      <a:pt x="309" y="125"/>
                    </a:lnTo>
                    <a:lnTo>
                      <a:pt x="307" y="125"/>
                    </a:lnTo>
                    <a:lnTo>
                      <a:pt x="307" y="127"/>
                    </a:lnTo>
                    <a:lnTo>
                      <a:pt x="307" y="129"/>
                    </a:lnTo>
                    <a:lnTo>
                      <a:pt x="309" y="129"/>
                    </a:lnTo>
                    <a:lnTo>
                      <a:pt x="309" y="131"/>
                    </a:lnTo>
                    <a:lnTo>
                      <a:pt x="309" y="133"/>
                    </a:lnTo>
                    <a:lnTo>
                      <a:pt x="311" y="135"/>
                    </a:lnTo>
                    <a:lnTo>
                      <a:pt x="311" y="137"/>
                    </a:lnTo>
                    <a:lnTo>
                      <a:pt x="311" y="139"/>
                    </a:lnTo>
                    <a:lnTo>
                      <a:pt x="313" y="139"/>
                    </a:lnTo>
                    <a:lnTo>
                      <a:pt x="313" y="137"/>
                    </a:lnTo>
                    <a:lnTo>
                      <a:pt x="315" y="137"/>
                    </a:lnTo>
                    <a:lnTo>
                      <a:pt x="315" y="139"/>
                    </a:lnTo>
                    <a:lnTo>
                      <a:pt x="315" y="141"/>
                    </a:lnTo>
                    <a:lnTo>
                      <a:pt x="313" y="142"/>
                    </a:lnTo>
                    <a:lnTo>
                      <a:pt x="313" y="1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6" name="Freeform 8"/>
              <p:cNvSpPr>
                <a:spLocks/>
              </p:cNvSpPr>
              <p:nvPr/>
            </p:nvSpPr>
            <p:spPr bwMode="auto">
              <a:xfrm>
                <a:off x="5321176" y="3001414"/>
                <a:ext cx="989360" cy="810415"/>
              </a:xfrm>
              <a:custGeom>
                <a:avLst/>
                <a:gdLst>
                  <a:gd name="T0" fmla="*/ 406 w 575"/>
                  <a:gd name="T1" fmla="*/ 8 h 471"/>
                  <a:gd name="T2" fmla="*/ 444 w 575"/>
                  <a:gd name="T3" fmla="*/ 13 h 471"/>
                  <a:gd name="T4" fmla="*/ 433 w 575"/>
                  <a:gd name="T5" fmla="*/ 36 h 471"/>
                  <a:gd name="T6" fmla="*/ 421 w 575"/>
                  <a:gd name="T7" fmla="*/ 67 h 471"/>
                  <a:gd name="T8" fmla="*/ 413 w 575"/>
                  <a:gd name="T9" fmla="*/ 108 h 471"/>
                  <a:gd name="T10" fmla="*/ 400 w 575"/>
                  <a:gd name="T11" fmla="*/ 136 h 471"/>
                  <a:gd name="T12" fmla="*/ 438 w 575"/>
                  <a:gd name="T13" fmla="*/ 140 h 471"/>
                  <a:gd name="T14" fmla="*/ 459 w 575"/>
                  <a:gd name="T15" fmla="*/ 167 h 471"/>
                  <a:gd name="T16" fmla="*/ 488 w 575"/>
                  <a:gd name="T17" fmla="*/ 158 h 471"/>
                  <a:gd name="T18" fmla="*/ 509 w 575"/>
                  <a:gd name="T19" fmla="*/ 127 h 471"/>
                  <a:gd name="T20" fmla="*/ 538 w 575"/>
                  <a:gd name="T21" fmla="*/ 108 h 471"/>
                  <a:gd name="T22" fmla="*/ 561 w 575"/>
                  <a:gd name="T23" fmla="*/ 129 h 471"/>
                  <a:gd name="T24" fmla="*/ 569 w 575"/>
                  <a:gd name="T25" fmla="*/ 161 h 471"/>
                  <a:gd name="T26" fmla="*/ 556 w 575"/>
                  <a:gd name="T27" fmla="*/ 185 h 471"/>
                  <a:gd name="T28" fmla="*/ 529 w 575"/>
                  <a:gd name="T29" fmla="*/ 196 h 471"/>
                  <a:gd name="T30" fmla="*/ 521 w 575"/>
                  <a:gd name="T31" fmla="*/ 221 h 471"/>
                  <a:gd name="T32" fmla="*/ 515 w 575"/>
                  <a:gd name="T33" fmla="*/ 244 h 471"/>
                  <a:gd name="T34" fmla="*/ 494 w 575"/>
                  <a:gd name="T35" fmla="*/ 271 h 471"/>
                  <a:gd name="T36" fmla="*/ 492 w 575"/>
                  <a:gd name="T37" fmla="*/ 300 h 471"/>
                  <a:gd name="T38" fmla="*/ 488 w 575"/>
                  <a:gd name="T39" fmla="*/ 331 h 471"/>
                  <a:gd name="T40" fmla="*/ 500 w 575"/>
                  <a:gd name="T41" fmla="*/ 358 h 471"/>
                  <a:gd name="T42" fmla="*/ 525 w 575"/>
                  <a:gd name="T43" fmla="*/ 365 h 471"/>
                  <a:gd name="T44" fmla="*/ 536 w 575"/>
                  <a:gd name="T45" fmla="*/ 398 h 471"/>
                  <a:gd name="T46" fmla="*/ 542 w 575"/>
                  <a:gd name="T47" fmla="*/ 433 h 471"/>
                  <a:gd name="T48" fmla="*/ 534 w 575"/>
                  <a:gd name="T49" fmla="*/ 458 h 471"/>
                  <a:gd name="T50" fmla="*/ 500 w 575"/>
                  <a:gd name="T51" fmla="*/ 459 h 471"/>
                  <a:gd name="T52" fmla="*/ 473 w 575"/>
                  <a:gd name="T53" fmla="*/ 450 h 471"/>
                  <a:gd name="T54" fmla="*/ 440 w 575"/>
                  <a:gd name="T55" fmla="*/ 444 h 471"/>
                  <a:gd name="T56" fmla="*/ 406 w 575"/>
                  <a:gd name="T57" fmla="*/ 448 h 471"/>
                  <a:gd name="T58" fmla="*/ 388 w 575"/>
                  <a:gd name="T59" fmla="*/ 413 h 471"/>
                  <a:gd name="T60" fmla="*/ 360 w 575"/>
                  <a:gd name="T61" fmla="*/ 375 h 471"/>
                  <a:gd name="T62" fmla="*/ 340 w 575"/>
                  <a:gd name="T63" fmla="*/ 350 h 471"/>
                  <a:gd name="T64" fmla="*/ 329 w 575"/>
                  <a:gd name="T65" fmla="*/ 327 h 471"/>
                  <a:gd name="T66" fmla="*/ 304 w 575"/>
                  <a:gd name="T67" fmla="*/ 296 h 471"/>
                  <a:gd name="T68" fmla="*/ 285 w 575"/>
                  <a:gd name="T69" fmla="*/ 277 h 471"/>
                  <a:gd name="T70" fmla="*/ 269 w 575"/>
                  <a:gd name="T71" fmla="*/ 263 h 471"/>
                  <a:gd name="T72" fmla="*/ 242 w 575"/>
                  <a:gd name="T73" fmla="*/ 248 h 471"/>
                  <a:gd name="T74" fmla="*/ 216 w 575"/>
                  <a:gd name="T75" fmla="*/ 248 h 471"/>
                  <a:gd name="T76" fmla="*/ 185 w 575"/>
                  <a:gd name="T77" fmla="*/ 240 h 471"/>
                  <a:gd name="T78" fmla="*/ 150 w 575"/>
                  <a:gd name="T79" fmla="*/ 258 h 471"/>
                  <a:gd name="T80" fmla="*/ 123 w 575"/>
                  <a:gd name="T81" fmla="*/ 235 h 471"/>
                  <a:gd name="T82" fmla="*/ 108 w 575"/>
                  <a:gd name="T83" fmla="*/ 200 h 471"/>
                  <a:gd name="T84" fmla="*/ 108 w 575"/>
                  <a:gd name="T85" fmla="*/ 173 h 471"/>
                  <a:gd name="T86" fmla="*/ 104 w 575"/>
                  <a:gd name="T87" fmla="*/ 148 h 471"/>
                  <a:gd name="T88" fmla="*/ 85 w 575"/>
                  <a:gd name="T89" fmla="*/ 125 h 471"/>
                  <a:gd name="T90" fmla="*/ 64 w 575"/>
                  <a:gd name="T91" fmla="*/ 102 h 471"/>
                  <a:gd name="T92" fmla="*/ 31 w 575"/>
                  <a:gd name="T93" fmla="*/ 117 h 471"/>
                  <a:gd name="T94" fmla="*/ 37 w 575"/>
                  <a:gd name="T95" fmla="*/ 90 h 471"/>
                  <a:gd name="T96" fmla="*/ 10 w 575"/>
                  <a:gd name="T97" fmla="*/ 73 h 471"/>
                  <a:gd name="T98" fmla="*/ 12 w 575"/>
                  <a:gd name="T99" fmla="*/ 46 h 471"/>
                  <a:gd name="T100" fmla="*/ 43 w 575"/>
                  <a:gd name="T101" fmla="*/ 35 h 471"/>
                  <a:gd name="T102" fmla="*/ 85 w 575"/>
                  <a:gd name="T103" fmla="*/ 48 h 471"/>
                  <a:gd name="T104" fmla="*/ 112 w 575"/>
                  <a:gd name="T105" fmla="*/ 52 h 471"/>
                  <a:gd name="T106" fmla="*/ 150 w 575"/>
                  <a:gd name="T107" fmla="*/ 58 h 471"/>
                  <a:gd name="T108" fmla="*/ 185 w 575"/>
                  <a:gd name="T109" fmla="*/ 75 h 471"/>
                  <a:gd name="T110" fmla="*/ 223 w 575"/>
                  <a:gd name="T111" fmla="*/ 73 h 471"/>
                  <a:gd name="T112" fmla="*/ 246 w 575"/>
                  <a:gd name="T113" fmla="*/ 73 h 471"/>
                  <a:gd name="T114" fmla="*/ 271 w 575"/>
                  <a:gd name="T115" fmla="*/ 60 h 471"/>
                  <a:gd name="T116" fmla="*/ 304 w 575"/>
                  <a:gd name="T117" fmla="*/ 56 h 471"/>
                  <a:gd name="T118" fmla="*/ 321 w 575"/>
                  <a:gd name="T119" fmla="*/ 38 h 471"/>
                  <a:gd name="T120" fmla="*/ 352 w 575"/>
                  <a:gd name="T121" fmla="*/ 27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5" h="471">
                    <a:moveTo>
                      <a:pt x="375" y="19"/>
                    </a:moveTo>
                    <a:lnTo>
                      <a:pt x="377" y="19"/>
                    </a:lnTo>
                    <a:lnTo>
                      <a:pt x="377" y="21"/>
                    </a:lnTo>
                    <a:lnTo>
                      <a:pt x="379" y="21"/>
                    </a:lnTo>
                    <a:lnTo>
                      <a:pt x="381" y="21"/>
                    </a:lnTo>
                    <a:lnTo>
                      <a:pt x="383" y="21"/>
                    </a:lnTo>
                    <a:lnTo>
                      <a:pt x="383" y="19"/>
                    </a:lnTo>
                    <a:lnTo>
                      <a:pt x="383" y="17"/>
                    </a:lnTo>
                    <a:lnTo>
                      <a:pt x="386" y="19"/>
                    </a:lnTo>
                    <a:lnTo>
                      <a:pt x="388" y="19"/>
                    </a:lnTo>
                    <a:lnTo>
                      <a:pt x="388" y="17"/>
                    </a:lnTo>
                    <a:lnTo>
                      <a:pt x="390" y="17"/>
                    </a:lnTo>
                    <a:lnTo>
                      <a:pt x="390" y="15"/>
                    </a:lnTo>
                    <a:lnTo>
                      <a:pt x="390" y="13"/>
                    </a:lnTo>
                    <a:lnTo>
                      <a:pt x="392" y="13"/>
                    </a:lnTo>
                    <a:lnTo>
                      <a:pt x="394" y="15"/>
                    </a:lnTo>
                    <a:lnTo>
                      <a:pt x="394" y="13"/>
                    </a:lnTo>
                    <a:lnTo>
                      <a:pt x="394" y="11"/>
                    </a:lnTo>
                    <a:lnTo>
                      <a:pt x="396" y="11"/>
                    </a:lnTo>
                    <a:lnTo>
                      <a:pt x="398" y="11"/>
                    </a:lnTo>
                    <a:lnTo>
                      <a:pt x="400" y="11"/>
                    </a:lnTo>
                    <a:lnTo>
                      <a:pt x="402" y="11"/>
                    </a:lnTo>
                    <a:lnTo>
                      <a:pt x="402" y="13"/>
                    </a:lnTo>
                    <a:lnTo>
                      <a:pt x="404" y="11"/>
                    </a:lnTo>
                    <a:lnTo>
                      <a:pt x="406" y="11"/>
                    </a:lnTo>
                    <a:lnTo>
                      <a:pt x="406" y="10"/>
                    </a:lnTo>
                    <a:lnTo>
                      <a:pt x="406" y="8"/>
                    </a:lnTo>
                    <a:lnTo>
                      <a:pt x="408" y="8"/>
                    </a:lnTo>
                    <a:lnTo>
                      <a:pt x="410" y="6"/>
                    </a:lnTo>
                    <a:lnTo>
                      <a:pt x="411" y="6"/>
                    </a:lnTo>
                    <a:lnTo>
                      <a:pt x="411" y="4"/>
                    </a:lnTo>
                    <a:lnTo>
                      <a:pt x="413" y="4"/>
                    </a:lnTo>
                    <a:lnTo>
                      <a:pt x="413" y="2"/>
                    </a:lnTo>
                    <a:lnTo>
                      <a:pt x="415" y="2"/>
                    </a:lnTo>
                    <a:lnTo>
                      <a:pt x="417" y="0"/>
                    </a:lnTo>
                    <a:lnTo>
                      <a:pt x="419" y="0"/>
                    </a:lnTo>
                    <a:lnTo>
                      <a:pt x="421" y="0"/>
                    </a:lnTo>
                    <a:lnTo>
                      <a:pt x="423" y="0"/>
                    </a:lnTo>
                    <a:lnTo>
                      <a:pt x="423" y="2"/>
                    </a:lnTo>
                    <a:lnTo>
                      <a:pt x="425" y="2"/>
                    </a:lnTo>
                    <a:lnTo>
                      <a:pt x="427" y="2"/>
                    </a:lnTo>
                    <a:lnTo>
                      <a:pt x="427" y="4"/>
                    </a:lnTo>
                    <a:lnTo>
                      <a:pt x="429" y="4"/>
                    </a:lnTo>
                    <a:lnTo>
                      <a:pt x="429" y="6"/>
                    </a:lnTo>
                    <a:lnTo>
                      <a:pt x="431" y="6"/>
                    </a:lnTo>
                    <a:lnTo>
                      <a:pt x="431" y="8"/>
                    </a:lnTo>
                    <a:lnTo>
                      <a:pt x="431" y="10"/>
                    </a:lnTo>
                    <a:lnTo>
                      <a:pt x="433" y="11"/>
                    </a:lnTo>
                    <a:lnTo>
                      <a:pt x="435" y="11"/>
                    </a:lnTo>
                    <a:lnTo>
                      <a:pt x="436" y="13"/>
                    </a:lnTo>
                    <a:lnTo>
                      <a:pt x="438" y="13"/>
                    </a:lnTo>
                    <a:lnTo>
                      <a:pt x="440" y="13"/>
                    </a:lnTo>
                    <a:lnTo>
                      <a:pt x="442" y="13"/>
                    </a:lnTo>
                    <a:lnTo>
                      <a:pt x="444" y="13"/>
                    </a:lnTo>
                    <a:lnTo>
                      <a:pt x="444" y="15"/>
                    </a:lnTo>
                    <a:lnTo>
                      <a:pt x="442" y="15"/>
                    </a:lnTo>
                    <a:lnTo>
                      <a:pt x="440" y="17"/>
                    </a:lnTo>
                    <a:lnTo>
                      <a:pt x="438" y="19"/>
                    </a:lnTo>
                    <a:lnTo>
                      <a:pt x="438" y="21"/>
                    </a:lnTo>
                    <a:lnTo>
                      <a:pt x="436" y="21"/>
                    </a:lnTo>
                    <a:lnTo>
                      <a:pt x="436" y="19"/>
                    </a:lnTo>
                    <a:lnTo>
                      <a:pt x="436" y="21"/>
                    </a:lnTo>
                    <a:lnTo>
                      <a:pt x="436" y="23"/>
                    </a:lnTo>
                    <a:lnTo>
                      <a:pt x="438" y="23"/>
                    </a:lnTo>
                    <a:lnTo>
                      <a:pt x="438" y="25"/>
                    </a:lnTo>
                    <a:lnTo>
                      <a:pt x="436" y="27"/>
                    </a:lnTo>
                    <a:lnTo>
                      <a:pt x="436" y="29"/>
                    </a:lnTo>
                    <a:lnTo>
                      <a:pt x="435" y="29"/>
                    </a:lnTo>
                    <a:lnTo>
                      <a:pt x="435" y="31"/>
                    </a:lnTo>
                    <a:lnTo>
                      <a:pt x="433" y="31"/>
                    </a:lnTo>
                    <a:lnTo>
                      <a:pt x="431" y="31"/>
                    </a:lnTo>
                    <a:lnTo>
                      <a:pt x="429" y="31"/>
                    </a:lnTo>
                    <a:lnTo>
                      <a:pt x="429" y="33"/>
                    </a:lnTo>
                    <a:lnTo>
                      <a:pt x="431" y="33"/>
                    </a:lnTo>
                    <a:lnTo>
                      <a:pt x="431" y="35"/>
                    </a:lnTo>
                    <a:lnTo>
                      <a:pt x="429" y="35"/>
                    </a:lnTo>
                    <a:lnTo>
                      <a:pt x="431" y="35"/>
                    </a:lnTo>
                    <a:lnTo>
                      <a:pt x="431" y="36"/>
                    </a:lnTo>
                    <a:lnTo>
                      <a:pt x="431" y="35"/>
                    </a:lnTo>
                    <a:lnTo>
                      <a:pt x="431" y="36"/>
                    </a:lnTo>
                    <a:lnTo>
                      <a:pt x="433" y="36"/>
                    </a:lnTo>
                    <a:lnTo>
                      <a:pt x="433" y="38"/>
                    </a:lnTo>
                    <a:lnTo>
                      <a:pt x="433" y="36"/>
                    </a:lnTo>
                    <a:lnTo>
                      <a:pt x="433" y="38"/>
                    </a:lnTo>
                    <a:lnTo>
                      <a:pt x="435" y="38"/>
                    </a:lnTo>
                    <a:lnTo>
                      <a:pt x="435" y="40"/>
                    </a:lnTo>
                    <a:lnTo>
                      <a:pt x="435" y="42"/>
                    </a:lnTo>
                    <a:lnTo>
                      <a:pt x="433" y="42"/>
                    </a:lnTo>
                    <a:lnTo>
                      <a:pt x="433" y="44"/>
                    </a:lnTo>
                    <a:lnTo>
                      <a:pt x="431" y="44"/>
                    </a:lnTo>
                    <a:lnTo>
                      <a:pt x="429" y="44"/>
                    </a:lnTo>
                    <a:lnTo>
                      <a:pt x="429" y="46"/>
                    </a:lnTo>
                    <a:lnTo>
                      <a:pt x="427" y="46"/>
                    </a:lnTo>
                    <a:lnTo>
                      <a:pt x="425" y="46"/>
                    </a:lnTo>
                    <a:lnTo>
                      <a:pt x="425" y="48"/>
                    </a:lnTo>
                    <a:lnTo>
                      <a:pt x="425" y="50"/>
                    </a:lnTo>
                    <a:lnTo>
                      <a:pt x="423" y="50"/>
                    </a:lnTo>
                    <a:lnTo>
                      <a:pt x="423" y="52"/>
                    </a:lnTo>
                    <a:lnTo>
                      <a:pt x="423" y="54"/>
                    </a:lnTo>
                    <a:lnTo>
                      <a:pt x="425" y="54"/>
                    </a:lnTo>
                    <a:lnTo>
                      <a:pt x="427" y="56"/>
                    </a:lnTo>
                    <a:lnTo>
                      <a:pt x="425" y="60"/>
                    </a:lnTo>
                    <a:lnTo>
                      <a:pt x="423" y="60"/>
                    </a:lnTo>
                    <a:lnTo>
                      <a:pt x="423" y="61"/>
                    </a:lnTo>
                    <a:lnTo>
                      <a:pt x="421" y="61"/>
                    </a:lnTo>
                    <a:lnTo>
                      <a:pt x="421" y="63"/>
                    </a:lnTo>
                    <a:lnTo>
                      <a:pt x="421" y="65"/>
                    </a:lnTo>
                    <a:lnTo>
                      <a:pt x="421" y="67"/>
                    </a:lnTo>
                    <a:lnTo>
                      <a:pt x="419" y="67"/>
                    </a:lnTo>
                    <a:lnTo>
                      <a:pt x="419" y="69"/>
                    </a:lnTo>
                    <a:lnTo>
                      <a:pt x="419" y="71"/>
                    </a:lnTo>
                    <a:lnTo>
                      <a:pt x="417" y="71"/>
                    </a:lnTo>
                    <a:lnTo>
                      <a:pt x="417" y="69"/>
                    </a:lnTo>
                    <a:lnTo>
                      <a:pt x="417" y="71"/>
                    </a:lnTo>
                    <a:lnTo>
                      <a:pt x="415" y="71"/>
                    </a:lnTo>
                    <a:lnTo>
                      <a:pt x="415" y="73"/>
                    </a:lnTo>
                    <a:lnTo>
                      <a:pt x="417" y="73"/>
                    </a:lnTo>
                    <a:lnTo>
                      <a:pt x="413" y="75"/>
                    </a:lnTo>
                    <a:lnTo>
                      <a:pt x="413" y="77"/>
                    </a:lnTo>
                    <a:lnTo>
                      <a:pt x="411" y="77"/>
                    </a:lnTo>
                    <a:lnTo>
                      <a:pt x="411" y="79"/>
                    </a:lnTo>
                    <a:lnTo>
                      <a:pt x="410" y="79"/>
                    </a:lnTo>
                    <a:lnTo>
                      <a:pt x="410" y="81"/>
                    </a:lnTo>
                    <a:lnTo>
                      <a:pt x="410" y="83"/>
                    </a:lnTo>
                    <a:lnTo>
                      <a:pt x="408" y="83"/>
                    </a:lnTo>
                    <a:lnTo>
                      <a:pt x="408" y="85"/>
                    </a:lnTo>
                    <a:lnTo>
                      <a:pt x="408" y="86"/>
                    </a:lnTo>
                    <a:lnTo>
                      <a:pt x="410" y="88"/>
                    </a:lnTo>
                    <a:lnTo>
                      <a:pt x="411" y="90"/>
                    </a:lnTo>
                    <a:lnTo>
                      <a:pt x="411" y="96"/>
                    </a:lnTo>
                    <a:lnTo>
                      <a:pt x="413" y="102"/>
                    </a:lnTo>
                    <a:lnTo>
                      <a:pt x="413" y="104"/>
                    </a:lnTo>
                    <a:lnTo>
                      <a:pt x="411" y="104"/>
                    </a:lnTo>
                    <a:lnTo>
                      <a:pt x="413" y="106"/>
                    </a:lnTo>
                    <a:lnTo>
                      <a:pt x="413" y="108"/>
                    </a:lnTo>
                    <a:lnTo>
                      <a:pt x="411" y="108"/>
                    </a:lnTo>
                    <a:lnTo>
                      <a:pt x="411" y="110"/>
                    </a:lnTo>
                    <a:lnTo>
                      <a:pt x="410" y="110"/>
                    </a:lnTo>
                    <a:lnTo>
                      <a:pt x="410" y="108"/>
                    </a:lnTo>
                    <a:lnTo>
                      <a:pt x="408" y="108"/>
                    </a:lnTo>
                    <a:lnTo>
                      <a:pt x="406" y="108"/>
                    </a:lnTo>
                    <a:lnTo>
                      <a:pt x="406" y="110"/>
                    </a:lnTo>
                    <a:lnTo>
                      <a:pt x="404" y="111"/>
                    </a:lnTo>
                    <a:lnTo>
                      <a:pt x="402" y="111"/>
                    </a:lnTo>
                    <a:lnTo>
                      <a:pt x="402" y="113"/>
                    </a:lnTo>
                    <a:lnTo>
                      <a:pt x="402" y="115"/>
                    </a:lnTo>
                    <a:lnTo>
                      <a:pt x="400" y="115"/>
                    </a:lnTo>
                    <a:lnTo>
                      <a:pt x="400" y="117"/>
                    </a:lnTo>
                    <a:lnTo>
                      <a:pt x="402" y="117"/>
                    </a:lnTo>
                    <a:lnTo>
                      <a:pt x="402" y="119"/>
                    </a:lnTo>
                    <a:lnTo>
                      <a:pt x="400" y="119"/>
                    </a:lnTo>
                    <a:lnTo>
                      <a:pt x="400" y="121"/>
                    </a:lnTo>
                    <a:lnTo>
                      <a:pt x="402" y="121"/>
                    </a:lnTo>
                    <a:lnTo>
                      <a:pt x="400" y="121"/>
                    </a:lnTo>
                    <a:lnTo>
                      <a:pt x="400" y="123"/>
                    </a:lnTo>
                    <a:lnTo>
                      <a:pt x="398" y="125"/>
                    </a:lnTo>
                    <a:lnTo>
                      <a:pt x="398" y="127"/>
                    </a:lnTo>
                    <a:lnTo>
                      <a:pt x="398" y="129"/>
                    </a:lnTo>
                    <a:lnTo>
                      <a:pt x="400" y="131"/>
                    </a:lnTo>
                    <a:lnTo>
                      <a:pt x="400" y="133"/>
                    </a:lnTo>
                    <a:lnTo>
                      <a:pt x="400" y="135"/>
                    </a:lnTo>
                    <a:lnTo>
                      <a:pt x="400" y="136"/>
                    </a:lnTo>
                    <a:lnTo>
                      <a:pt x="400" y="138"/>
                    </a:lnTo>
                    <a:lnTo>
                      <a:pt x="400" y="140"/>
                    </a:lnTo>
                    <a:lnTo>
                      <a:pt x="402" y="142"/>
                    </a:lnTo>
                    <a:lnTo>
                      <a:pt x="404" y="142"/>
                    </a:lnTo>
                    <a:lnTo>
                      <a:pt x="404" y="140"/>
                    </a:lnTo>
                    <a:lnTo>
                      <a:pt x="408" y="140"/>
                    </a:lnTo>
                    <a:lnTo>
                      <a:pt x="410" y="138"/>
                    </a:lnTo>
                    <a:lnTo>
                      <a:pt x="410" y="140"/>
                    </a:lnTo>
                    <a:lnTo>
                      <a:pt x="411" y="140"/>
                    </a:lnTo>
                    <a:lnTo>
                      <a:pt x="413" y="142"/>
                    </a:lnTo>
                    <a:lnTo>
                      <a:pt x="413" y="140"/>
                    </a:lnTo>
                    <a:lnTo>
                      <a:pt x="415" y="140"/>
                    </a:lnTo>
                    <a:lnTo>
                      <a:pt x="417" y="140"/>
                    </a:lnTo>
                    <a:lnTo>
                      <a:pt x="417" y="142"/>
                    </a:lnTo>
                    <a:lnTo>
                      <a:pt x="419" y="144"/>
                    </a:lnTo>
                    <a:lnTo>
                      <a:pt x="421" y="142"/>
                    </a:lnTo>
                    <a:lnTo>
                      <a:pt x="421" y="140"/>
                    </a:lnTo>
                    <a:lnTo>
                      <a:pt x="423" y="140"/>
                    </a:lnTo>
                    <a:lnTo>
                      <a:pt x="423" y="138"/>
                    </a:lnTo>
                    <a:lnTo>
                      <a:pt x="425" y="138"/>
                    </a:lnTo>
                    <a:lnTo>
                      <a:pt x="427" y="138"/>
                    </a:lnTo>
                    <a:lnTo>
                      <a:pt x="429" y="138"/>
                    </a:lnTo>
                    <a:lnTo>
                      <a:pt x="431" y="138"/>
                    </a:lnTo>
                    <a:lnTo>
                      <a:pt x="433" y="138"/>
                    </a:lnTo>
                    <a:lnTo>
                      <a:pt x="435" y="138"/>
                    </a:lnTo>
                    <a:lnTo>
                      <a:pt x="436" y="138"/>
                    </a:lnTo>
                    <a:lnTo>
                      <a:pt x="438" y="140"/>
                    </a:lnTo>
                    <a:lnTo>
                      <a:pt x="438" y="142"/>
                    </a:lnTo>
                    <a:lnTo>
                      <a:pt x="438" y="144"/>
                    </a:lnTo>
                    <a:lnTo>
                      <a:pt x="440" y="144"/>
                    </a:lnTo>
                    <a:lnTo>
                      <a:pt x="440" y="146"/>
                    </a:lnTo>
                    <a:lnTo>
                      <a:pt x="442" y="148"/>
                    </a:lnTo>
                    <a:lnTo>
                      <a:pt x="442" y="150"/>
                    </a:lnTo>
                    <a:lnTo>
                      <a:pt x="444" y="150"/>
                    </a:lnTo>
                    <a:lnTo>
                      <a:pt x="444" y="152"/>
                    </a:lnTo>
                    <a:lnTo>
                      <a:pt x="444" y="154"/>
                    </a:lnTo>
                    <a:lnTo>
                      <a:pt x="446" y="156"/>
                    </a:lnTo>
                    <a:lnTo>
                      <a:pt x="446" y="158"/>
                    </a:lnTo>
                    <a:lnTo>
                      <a:pt x="448" y="158"/>
                    </a:lnTo>
                    <a:lnTo>
                      <a:pt x="448" y="160"/>
                    </a:lnTo>
                    <a:lnTo>
                      <a:pt x="448" y="161"/>
                    </a:lnTo>
                    <a:lnTo>
                      <a:pt x="450" y="161"/>
                    </a:lnTo>
                    <a:lnTo>
                      <a:pt x="450" y="163"/>
                    </a:lnTo>
                    <a:lnTo>
                      <a:pt x="452" y="165"/>
                    </a:lnTo>
                    <a:lnTo>
                      <a:pt x="452" y="167"/>
                    </a:lnTo>
                    <a:lnTo>
                      <a:pt x="452" y="169"/>
                    </a:lnTo>
                    <a:lnTo>
                      <a:pt x="450" y="171"/>
                    </a:lnTo>
                    <a:lnTo>
                      <a:pt x="450" y="173"/>
                    </a:lnTo>
                    <a:lnTo>
                      <a:pt x="452" y="173"/>
                    </a:lnTo>
                    <a:lnTo>
                      <a:pt x="454" y="173"/>
                    </a:lnTo>
                    <a:lnTo>
                      <a:pt x="454" y="171"/>
                    </a:lnTo>
                    <a:lnTo>
                      <a:pt x="456" y="171"/>
                    </a:lnTo>
                    <a:lnTo>
                      <a:pt x="459" y="169"/>
                    </a:lnTo>
                    <a:lnTo>
                      <a:pt x="459" y="167"/>
                    </a:lnTo>
                    <a:lnTo>
                      <a:pt x="461" y="167"/>
                    </a:lnTo>
                    <a:lnTo>
                      <a:pt x="461" y="165"/>
                    </a:lnTo>
                    <a:lnTo>
                      <a:pt x="463" y="167"/>
                    </a:lnTo>
                    <a:lnTo>
                      <a:pt x="463" y="169"/>
                    </a:lnTo>
                    <a:lnTo>
                      <a:pt x="465" y="169"/>
                    </a:lnTo>
                    <a:lnTo>
                      <a:pt x="465" y="171"/>
                    </a:lnTo>
                    <a:lnTo>
                      <a:pt x="467" y="171"/>
                    </a:lnTo>
                    <a:lnTo>
                      <a:pt x="469" y="171"/>
                    </a:lnTo>
                    <a:lnTo>
                      <a:pt x="469" y="169"/>
                    </a:lnTo>
                    <a:lnTo>
                      <a:pt x="469" y="171"/>
                    </a:lnTo>
                    <a:lnTo>
                      <a:pt x="471" y="171"/>
                    </a:lnTo>
                    <a:lnTo>
                      <a:pt x="471" y="169"/>
                    </a:lnTo>
                    <a:lnTo>
                      <a:pt x="471" y="167"/>
                    </a:lnTo>
                    <a:lnTo>
                      <a:pt x="471" y="165"/>
                    </a:lnTo>
                    <a:lnTo>
                      <a:pt x="471" y="163"/>
                    </a:lnTo>
                    <a:lnTo>
                      <a:pt x="473" y="163"/>
                    </a:lnTo>
                    <a:lnTo>
                      <a:pt x="475" y="163"/>
                    </a:lnTo>
                    <a:lnTo>
                      <a:pt x="475" y="161"/>
                    </a:lnTo>
                    <a:lnTo>
                      <a:pt x="477" y="161"/>
                    </a:lnTo>
                    <a:lnTo>
                      <a:pt x="477" y="160"/>
                    </a:lnTo>
                    <a:lnTo>
                      <a:pt x="479" y="160"/>
                    </a:lnTo>
                    <a:lnTo>
                      <a:pt x="481" y="160"/>
                    </a:lnTo>
                    <a:lnTo>
                      <a:pt x="483" y="160"/>
                    </a:lnTo>
                    <a:lnTo>
                      <a:pt x="484" y="160"/>
                    </a:lnTo>
                    <a:lnTo>
                      <a:pt x="484" y="158"/>
                    </a:lnTo>
                    <a:lnTo>
                      <a:pt x="486" y="158"/>
                    </a:lnTo>
                    <a:lnTo>
                      <a:pt x="488" y="158"/>
                    </a:lnTo>
                    <a:lnTo>
                      <a:pt x="488" y="156"/>
                    </a:lnTo>
                    <a:lnTo>
                      <a:pt x="490" y="156"/>
                    </a:lnTo>
                    <a:lnTo>
                      <a:pt x="492" y="156"/>
                    </a:lnTo>
                    <a:lnTo>
                      <a:pt x="492" y="154"/>
                    </a:lnTo>
                    <a:lnTo>
                      <a:pt x="494" y="154"/>
                    </a:lnTo>
                    <a:lnTo>
                      <a:pt x="496" y="154"/>
                    </a:lnTo>
                    <a:lnTo>
                      <a:pt x="498" y="152"/>
                    </a:lnTo>
                    <a:lnTo>
                      <a:pt x="496" y="152"/>
                    </a:lnTo>
                    <a:lnTo>
                      <a:pt x="496" y="150"/>
                    </a:lnTo>
                    <a:lnTo>
                      <a:pt x="496" y="148"/>
                    </a:lnTo>
                    <a:lnTo>
                      <a:pt x="498" y="148"/>
                    </a:lnTo>
                    <a:lnTo>
                      <a:pt x="500" y="148"/>
                    </a:lnTo>
                    <a:lnTo>
                      <a:pt x="500" y="146"/>
                    </a:lnTo>
                    <a:lnTo>
                      <a:pt x="502" y="146"/>
                    </a:lnTo>
                    <a:lnTo>
                      <a:pt x="504" y="146"/>
                    </a:lnTo>
                    <a:lnTo>
                      <a:pt x="504" y="144"/>
                    </a:lnTo>
                    <a:lnTo>
                      <a:pt x="502" y="142"/>
                    </a:lnTo>
                    <a:lnTo>
                      <a:pt x="502" y="140"/>
                    </a:lnTo>
                    <a:lnTo>
                      <a:pt x="502" y="138"/>
                    </a:lnTo>
                    <a:lnTo>
                      <a:pt x="504" y="136"/>
                    </a:lnTo>
                    <a:lnTo>
                      <a:pt x="504" y="135"/>
                    </a:lnTo>
                    <a:lnTo>
                      <a:pt x="504" y="133"/>
                    </a:lnTo>
                    <a:lnTo>
                      <a:pt x="506" y="131"/>
                    </a:lnTo>
                    <a:lnTo>
                      <a:pt x="508" y="131"/>
                    </a:lnTo>
                    <a:lnTo>
                      <a:pt x="508" y="129"/>
                    </a:lnTo>
                    <a:lnTo>
                      <a:pt x="509" y="129"/>
                    </a:lnTo>
                    <a:lnTo>
                      <a:pt x="509" y="127"/>
                    </a:lnTo>
                    <a:lnTo>
                      <a:pt x="511" y="125"/>
                    </a:lnTo>
                    <a:lnTo>
                      <a:pt x="511" y="123"/>
                    </a:lnTo>
                    <a:lnTo>
                      <a:pt x="513" y="123"/>
                    </a:lnTo>
                    <a:lnTo>
                      <a:pt x="517" y="127"/>
                    </a:lnTo>
                    <a:lnTo>
                      <a:pt x="519" y="127"/>
                    </a:lnTo>
                    <a:lnTo>
                      <a:pt x="519" y="125"/>
                    </a:lnTo>
                    <a:lnTo>
                      <a:pt x="519" y="127"/>
                    </a:lnTo>
                    <a:lnTo>
                      <a:pt x="521" y="127"/>
                    </a:lnTo>
                    <a:lnTo>
                      <a:pt x="521" y="125"/>
                    </a:lnTo>
                    <a:lnTo>
                      <a:pt x="523" y="125"/>
                    </a:lnTo>
                    <a:lnTo>
                      <a:pt x="525" y="125"/>
                    </a:lnTo>
                    <a:lnTo>
                      <a:pt x="527" y="125"/>
                    </a:lnTo>
                    <a:lnTo>
                      <a:pt x="529" y="125"/>
                    </a:lnTo>
                    <a:lnTo>
                      <a:pt x="529" y="123"/>
                    </a:lnTo>
                    <a:lnTo>
                      <a:pt x="531" y="123"/>
                    </a:lnTo>
                    <a:lnTo>
                      <a:pt x="531" y="121"/>
                    </a:lnTo>
                    <a:lnTo>
                      <a:pt x="533" y="121"/>
                    </a:lnTo>
                    <a:lnTo>
                      <a:pt x="533" y="119"/>
                    </a:lnTo>
                    <a:lnTo>
                      <a:pt x="533" y="117"/>
                    </a:lnTo>
                    <a:lnTo>
                      <a:pt x="533" y="115"/>
                    </a:lnTo>
                    <a:lnTo>
                      <a:pt x="534" y="115"/>
                    </a:lnTo>
                    <a:lnTo>
                      <a:pt x="534" y="113"/>
                    </a:lnTo>
                    <a:lnTo>
                      <a:pt x="536" y="113"/>
                    </a:lnTo>
                    <a:lnTo>
                      <a:pt x="536" y="111"/>
                    </a:lnTo>
                    <a:lnTo>
                      <a:pt x="538" y="111"/>
                    </a:lnTo>
                    <a:lnTo>
                      <a:pt x="538" y="110"/>
                    </a:lnTo>
                    <a:lnTo>
                      <a:pt x="538" y="108"/>
                    </a:lnTo>
                    <a:lnTo>
                      <a:pt x="540" y="108"/>
                    </a:lnTo>
                    <a:lnTo>
                      <a:pt x="540" y="106"/>
                    </a:lnTo>
                    <a:lnTo>
                      <a:pt x="542" y="108"/>
                    </a:lnTo>
                    <a:lnTo>
                      <a:pt x="544" y="108"/>
                    </a:lnTo>
                    <a:lnTo>
                      <a:pt x="544" y="110"/>
                    </a:lnTo>
                    <a:lnTo>
                      <a:pt x="546" y="110"/>
                    </a:lnTo>
                    <a:lnTo>
                      <a:pt x="548" y="110"/>
                    </a:lnTo>
                    <a:lnTo>
                      <a:pt x="548" y="111"/>
                    </a:lnTo>
                    <a:lnTo>
                      <a:pt x="550" y="111"/>
                    </a:lnTo>
                    <a:lnTo>
                      <a:pt x="552" y="111"/>
                    </a:lnTo>
                    <a:lnTo>
                      <a:pt x="552" y="113"/>
                    </a:lnTo>
                    <a:lnTo>
                      <a:pt x="554" y="113"/>
                    </a:lnTo>
                    <a:lnTo>
                      <a:pt x="556" y="113"/>
                    </a:lnTo>
                    <a:lnTo>
                      <a:pt x="557" y="115"/>
                    </a:lnTo>
                    <a:lnTo>
                      <a:pt x="557" y="117"/>
                    </a:lnTo>
                    <a:lnTo>
                      <a:pt x="556" y="117"/>
                    </a:lnTo>
                    <a:lnTo>
                      <a:pt x="554" y="117"/>
                    </a:lnTo>
                    <a:lnTo>
                      <a:pt x="554" y="119"/>
                    </a:lnTo>
                    <a:lnTo>
                      <a:pt x="556" y="119"/>
                    </a:lnTo>
                    <a:lnTo>
                      <a:pt x="556" y="121"/>
                    </a:lnTo>
                    <a:lnTo>
                      <a:pt x="557" y="121"/>
                    </a:lnTo>
                    <a:lnTo>
                      <a:pt x="559" y="121"/>
                    </a:lnTo>
                    <a:lnTo>
                      <a:pt x="557" y="123"/>
                    </a:lnTo>
                    <a:lnTo>
                      <a:pt x="559" y="125"/>
                    </a:lnTo>
                    <a:lnTo>
                      <a:pt x="561" y="125"/>
                    </a:lnTo>
                    <a:lnTo>
                      <a:pt x="561" y="127"/>
                    </a:lnTo>
                    <a:lnTo>
                      <a:pt x="561" y="129"/>
                    </a:lnTo>
                    <a:lnTo>
                      <a:pt x="561" y="131"/>
                    </a:lnTo>
                    <a:lnTo>
                      <a:pt x="561" y="133"/>
                    </a:lnTo>
                    <a:lnTo>
                      <a:pt x="563" y="133"/>
                    </a:lnTo>
                    <a:lnTo>
                      <a:pt x="563" y="135"/>
                    </a:lnTo>
                    <a:lnTo>
                      <a:pt x="565" y="135"/>
                    </a:lnTo>
                    <a:lnTo>
                      <a:pt x="563" y="136"/>
                    </a:lnTo>
                    <a:lnTo>
                      <a:pt x="563" y="138"/>
                    </a:lnTo>
                    <a:lnTo>
                      <a:pt x="561" y="138"/>
                    </a:lnTo>
                    <a:lnTo>
                      <a:pt x="561" y="140"/>
                    </a:lnTo>
                    <a:lnTo>
                      <a:pt x="561" y="142"/>
                    </a:lnTo>
                    <a:lnTo>
                      <a:pt x="563" y="142"/>
                    </a:lnTo>
                    <a:lnTo>
                      <a:pt x="561" y="144"/>
                    </a:lnTo>
                    <a:lnTo>
                      <a:pt x="561" y="146"/>
                    </a:lnTo>
                    <a:lnTo>
                      <a:pt x="561" y="148"/>
                    </a:lnTo>
                    <a:lnTo>
                      <a:pt x="561" y="150"/>
                    </a:lnTo>
                    <a:lnTo>
                      <a:pt x="561" y="152"/>
                    </a:lnTo>
                    <a:lnTo>
                      <a:pt x="563" y="152"/>
                    </a:lnTo>
                    <a:lnTo>
                      <a:pt x="563" y="154"/>
                    </a:lnTo>
                    <a:lnTo>
                      <a:pt x="561" y="154"/>
                    </a:lnTo>
                    <a:lnTo>
                      <a:pt x="561" y="156"/>
                    </a:lnTo>
                    <a:lnTo>
                      <a:pt x="563" y="156"/>
                    </a:lnTo>
                    <a:lnTo>
                      <a:pt x="563" y="158"/>
                    </a:lnTo>
                    <a:lnTo>
                      <a:pt x="565" y="158"/>
                    </a:lnTo>
                    <a:lnTo>
                      <a:pt x="567" y="158"/>
                    </a:lnTo>
                    <a:lnTo>
                      <a:pt x="567" y="160"/>
                    </a:lnTo>
                    <a:lnTo>
                      <a:pt x="567" y="161"/>
                    </a:lnTo>
                    <a:lnTo>
                      <a:pt x="569" y="161"/>
                    </a:lnTo>
                    <a:lnTo>
                      <a:pt x="571" y="161"/>
                    </a:lnTo>
                    <a:lnTo>
                      <a:pt x="571" y="163"/>
                    </a:lnTo>
                    <a:lnTo>
                      <a:pt x="573" y="163"/>
                    </a:lnTo>
                    <a:lnTo>
                      <a:pt x="573" y="165"/>
                    </a:lnTo>
                    <a:lnTo>
                      <a:pt x="573" y="167"/>
                    </a:lnTo>
                    <a:lnTo>
                      <a:pt x="571" y="167"/>
                    </a:lnTo>
                    <a:lnTo>
                      <a:pt x="571" y="169"/>
                    </a:lnTo>
                    <a:lnTo>
                      <a:pt x="571" y="171"/>
                    </a:lnTo>
                    <a:lnTo>
                      <a:pt x="571" y="173"/>
                    </a:lnTo>
                    <a:lnTo>
                      <a:pt x="571" y="175"/>
                    </a:lnTo>
                    <a:lnTo>
                      <a:pt x="573" y="177"/>
                    </a:lnTo>
                    <a:lnTo>
                      <a:pt x="575" y="179"/>
                    </a:lnTo>
                    <a:lnTo>
                      <a:pt x="575" y="181"/>
                    </a:lnTo>
                    <a:lnTo>
                      <a:pt x="573" y="181"/>
                    </a:lnTo>
                    <a:lnTo>
                      <a:pt x="573" y="183"/>
                    </a:lnTo>
                    <a:lnTo>
                      <a:pt x="571" y="183"/>
                    </a:lnTo>
                    <a:lnTo>
                      <a:pt x="571" y="181"/>
                    </a:lnTo>
                    <a:lnTo>
                      <a:pt x="569" y="181"/>
                    </a:lnTo>
                    <a:lnTo>
                      <a:pt x="567" y="181"/>
                    </a:lnTo>
                    <a:lnTo>
                      <a:pt x="567" y="183"/>
                    </a:lnTo>
                    <a:lnTo>
                      <a:pt x="565" y="183"/>
                    </a:lnTo>
                    <a:lnTo>
                      <a:pt x="563" y="183"/>
                    </a:lnTo>
                    <a:lnTo>
                      <a:pt x="561" y="183"/>
                    </a:lnTo>
                    <a:lnTo>
                      <a:pt x="559" y="183"/>
                    </a:lnTo>
                    <a:lnTo>
                      <a:pt x="557" y="183"/>
                    </a:lnTo>
                    <a:lnTo>
                      <a:pt x="557" y="185"/>
                    </a:lnTo>
                    <a:lnTo>
                      <a:pt x="556" y="185"/>
                    </a:lnTo>
                    <a:lnTo>
                      <a:pt x="554" y="185"/>
                    </a:lnTo>
                    <a:lnTo>
                      <a:pt x="552" y="183"/>
                    </a:lnTo>
                    <a:lnTo>
                      <a:pt x="550" y="185"/>
                    </a:lnTo>
                    <a:lnTo>
                      <a:pt x="548" y="185"/>
                    </a:lnTo>
                    <a:lnTo>
                      <a:pt x="548" y="186"/>
                    </a:lnTo>
                    <a:lnTo>
                      <a:pt x="548" y="185"/>
                    </a:lnTo>
                    <a:lnTo>
                      <a:pt x="546" y="185"/>
                    </a:lnTo>
                    <a:lnTo>
                      <a:pt x="546" y="183"/>
                    </a:lnTo>
                    <a:lnTo>
                      <a:pt x="544" y="185"/>
                    </a:lnTo>
                    <a:lnTo>
                      <a:pt x="542" y="185"/>
                    </a:lnTo>
                    <a:lnTo>
                      <a:pt x="538" y="185"/>
                    </a:lnTo>
                    <a:lnTo>
                      <a:pt x="536" y="183"/>
                    </a:lnTo>
                    <a:lnTo>
                      <a:pt x="534" y="183"/>
                    </a:lnTo>
                    <a:lnTo>
                      <a:pt x="533" y="183"/>
                    </a:lnTo>
                    <a:lnTo>
                      <a:pt x="531" y="183"/>
                    </a:lnTo>
                    <a:lnTo>
                      <a:pt x="529" y="183"/>
                    </a:lnTo>
                    <a:lnTo>
                      <a:pt x="527" y="183"/>
                    </a:lnTo>
                    <a:lnTo>
                      <a:pt x="525" y="183"/>
                    </a:lnTo>
                    <a:lnTo>
                      <a:pt x="523" y="185"/>
                    </a:lnTo>
                    <a:lnTo>
                      <a:pt x="525" y="186"/>
                    </a:lnTo>
                    <a:lnTo>
                      <a:pt x="525" y="188"/>
                    </a:lnTo>
                    <a:lnTo>
                      <a:pt x="525" y="190"/>
                    </a:lnTo>
                    <a:lnTo>
                      <a:pt x="527" y="190"/>
                    </a:lnTo>
                    <a:lnTo>
                      <a:pt x="527" y="192"/>
                    </a:lnTo>
                    <a:lnTo>
                      <a:pt x="529" y="192"/>
                    </a:lnTo>
                    <a:lnTo>
                      <a:pt x="529" y="194"/>
                    </a:lnTo>
                    <a:lnTo>
                      <a:pt x="529" y="196"/>
                    </a:lnTo>
                    <a:lnTo>
                      <a:pt x="529" y="198"/>
                    </a:lnTo>
                    <a:lnTo>
                      <a:pt x="531" y="200"/>
                    </a:lnTo>
                    <a:lnTo>
                      <a:pt x="533" y="200"/>
                    </a:lnTo>
                    <a:lnTo>
                      <a:pt x="534" y="202"/>
                    </a:lnTo>
                    <a:lnTo>
                      <a:pt x="534" y="204"/>
                    </a:lnTo>
                    <a:lnTo>
                      <a:pt x="534" y="206"/>
                    </a:lnTo>
                    <a:lnTo>
                      <a:pt x="536" y="206"/>
                    </a:lnTo>
                    <a:lnTo>
                      <a:pt x="538" y="206"/>
                    </a:lnTo>
                    <a:lnTo>
                      <a:pt x="538" y="208"/>
                    </a:lnTo>
                    <a:lnTo>
                      <a:pt x="540" y="208"/>
                    </a:lnTo>
                    <a:lnTo>
                      <a:pt x="540" y="210"/>
                    </a:lnTo>
                    <a:lnTo>
                      <a:pt x="538" y="210"/>
                    </a:lnTo>
                    <a:lnTo>
                      <a:pt x="538" y="211"/>
                    </a:lnTo>
                    <a:lnTo>
                      <a:pt x="538" y="213"/>
                    </a:lnTo>
                    <a:lnTo>
                      <a:pt x="538" y="215"/>
                    </a:lnTo>
                    <a:lnTo>
                      <a:pt x="536" y="215"/>
                    </a:lnTo>
                    <a:lnTo>
                      <a:pt x="534" y="215"/>
                    </a:lnTo>
                    <a:lnTo>
                      <a:pt x="534" y="217"/>
                    </a:lnTo>
                    <a:lnTo>
                      <a:pt x="533" y="217"/>
                    </a:lnTo>
                    <a:lnTo>
                      <a:pt x="533" y="219"/>
                    </a:lnTo>
                    <a:lnTo>
                      <a:pt x="531" y="219"/>
                    </a:lnTo>
                    <a:lnTo>
                      <a:pt x="529" y="219"/>
                    </a:lnTo>
                    <a:lnTo>
                      <a:pt x="529" y="221"/>
                    </a:lnTo>
                    <a:lnTo>
                      <a:pt x="527" y="221"/>
                    </a:lnTo>
                    <a:lnTo>
                      <a:pt x="525" y="221"/>
                    </a:lnTo>
                    <a:lnTo>
                      <a:pt x="523" y="221"/>
                    </a:lnTo>
                    <a:lnTo>
                      <a:pt x="521" y="221"/>
                    </a:lnTo>
                    <a:lnTo>
                      <a:pt x="523" y="221"/>
                    </a:lnTo>
                    <a:lnTo>
                      <a:pt x="523" y="223"/>
                    </a:lnTo>
                    <a:lnTo>
                      <a:pt x="523" y="225"/>
                    </a:lnTo>
                    <a:lnTo>
                      <a:pt x="521" y="227"/>
                    </a:lnTo>
                    <a:lnTo>
                      <a:pt x="519" y="227"/>
                    </a:lnTo>
                    <a:lnTo>
                      <a:pt x="519" y="229"/>
                    </a:lnTo>
                    <a:lnTo>
                      <a:pt x="517" y="229"/>
                    </a:lnTo>
                    <a:lnTo>
                      <a:pt x="517" y="231"/>
                    </a:lnTo>
                    <a:lnTo>
                      <a:pt x="519" y="231"/>
                    </a:lnTo>
                    <a:lnTo>
                      <a:pt x="519" y="229"/>
                    </a:lnTo>
                    <a:lnTo>
                      <a:pt x="519" y="231"/>
                    </a:lnTo>
                    <a:lnTo>
                      <a:pt x="517" y="231"/>
                    </a:lnTo>
                    <a:lnTo>
                      <a:pt x="517" y="233"/>
                    </a:lnTo>
                    <a:lnTo>
                      <a:pt x="517" y="235"/>
                    </a:lnTo>
                    <a:lnTo>
                      <a:pt x="517" y="236"/>
                    </a:lnTo>
                    <a:lnTo>
                      <a:pt x="517" y="238"/>
                    </a:lnTo>
                    <a:lnTo>
                      <a:pt x="519" y="240"/>
                    </a:lnTo>
                    <a:lnTo>
                      <a:pt x="517" y="240"/>
                    </a:lnTo>
                    <a:lnTo>
                      <a:pt x="517" y="238"/>
                    </a:lnTo>
                    <a:lnTo>
                      <a:pt x="515" y="238"/>
                    </a:lnTo>
                    <a:lnTo>
                      <a:pt x="515" y="240"/>
                    </a:lnTo>
                    <a:lnTo>
                      <a:pt x="513" y="238"/>
                    </a:lnTo>
                    <a:lnTo>
                      <a:pt x="513" y="240"/>
                    </a:lnTo>
                    <a:lnTo>
                      <a:pt x="515" y="242"/>
                    </a:lnTo>
                    <a:lnTo>
                      <a:pt x="515" y="244"/>
                    </a:lnTo>
                    <a:lnTo>
                      <a:pt x="517" y="244"/>
                    </a:lnTo>
                    <a:lnTo>
                      <a:pt x="515" y="244"/>
                    </a:lnTo>
                    <a:lnTo>
                      <a:pt x="517" y="244"/>
                    </a:lnTo>
                    <a:lnTo>
                      <a:pt x="517" y="246"/>
                    </a:lnTo>
                    <a:lnTo>
                      <a:pt x="517" y="248"/>
                    </a:lnTo>
                    <a:lnTo>
                      <a:pt x="515" y="248"/>
                    </a:lnTo>
                    <a:lnTo>
                      <a:pt x="515" y="250"/>
                    </a:lnTo>
                    <a:lnTo>
                      <a:pt x="515" y="252"/>
                    </a:lnTo>
                    <a:lnTo>
                      <a:pt x="513" y="254"/>
                    </a:lnTo>
                    <a:lnTo>
                      <a:pt x="513" y="252"/>
                    </a:lnTo>
                    <a:lnTo>
                      <a:pt x="511" y="252"/>
                    </a:lnTo>
                    <a:lnTo>
                      <a:pt x="511" y="254"/>
                    </a:lnTo>
                    <a:lnTo>
                      <a:pt x="509" y="254"/>
                    </a:lnTo>
                    <a:lnTo>
                      <a:pt x="509" y="256"/>
                    </a:lnTo>
                    <a:lnTo>
                      <a:pt x="509" y="258"/>
                    </a:lnTo>
                    <a:lnTo>
                      <a:pt x="508" y="258"/>
                    </a:lnTo>
                    <a:lnTo>
                      <a:pt x="508" y="256"/>
                    </a:lnTo>
                    <a:lnTo>
                      <a:pt x="506" y="258"/>
                    </a:lnTo>
                    <a:lnTo>
                      <a:pt x="506" y="259"/>
                    </a:lnTo>
                    <a:lnTo>
                      <a:pt x="504" y="261"/>
                    </a:lnTo>
                    <a:lnTo>
                      <a:pt x="502" y="261"/>
                    </a:lnTo>
                    <a:lnTo>
                      <a:pt x="502" y="263"/>
                    </a:lnTo>
                    <a:lnTo>
                      <a:pt x="500" y="263"/>
                    </a:lnTo>
                    <a:lnTo>
                      <a:pt x="500" y="265"/>
                    </a:lnTo>
                    <a:lnTo>
                      <a:pt x="498" y="267"/>
                    </a:lnTo>
                    <a:lnTo>
                      <a:pt x="498" y="269"/>
                    </a:lnTo>
                    <a:lnTo>
                      <a:pt x="496" y="269"/>
                    </a:lnTo>
                    <a:lnTo>
                      <a:pt x="496" y="271"/>
                    </a:lnTo>
                    <a:lnTo>
                      <a:pt x="494" y="271"/>
                    </a:lnTo>
                    <a:lnTo>
                      <a:pt x="492" y="271"/>
                    </a:lnTo>
                    <a:lnTo>
                      <a:pt x="490" y="271"/>
                    </a:lnTo>
                    <a:lnTo>
                      <a:pt x="488" y="271"/>
                    </a:lnTo>
                    <a:lnTo>
                      <a:pt x="488" y="273"/>
                    </a:lnTo>
                    <a:lnTo>
                      <a:pt x="488" y="271"/>
                    </a:lnTo>
                    <a:lnTo>
                      <a:pt x="488" y="273"/>
                    </a:lnTo>
                    <a:lnTo>
                      <a:pt x="488" y="275"/>
                    </a:lnTo>
                    <a:lnTo>
                      <a:pt x="488" y="277"/>
                    </a:lnTo>
                    <a:lnTo>
                      <a:pt x="490" y="279"/>
                    </a:lnTo>
                    <a:lnTo>
                      <a:pt x="492" y="281"/>
                    </a:lnTo>
                    <a:lnTo>
                      <a:pt x="492" y="283"/>
                    </a:lnTo>
                    <a:lnTo>
                      <a:pt x="494" y="283"/>
                    </a:lnTo>
                    <a:lnTo>
                      <a:pt x="494" y="284"/>
                    </a:lnTo>
                    <a:lnTo>
                      <a:pt x="496" y="286"/>
                    </a:lnTo>
                    <a:lnTo>
                      <a:pt x="496" y="288"/>
                    </a:lnTo>
                    <a:lnTo>
                      <a:pt x="498" y="288"/>
                    </a:lnTo>
                    <a:lnTo>
                      <a:pt x="498" y="290"/>
                    </a:lnTo>
                    <a:lnTo>
                      <a:pt x="500" y="292"/>
                    </a:lnTo>
                    <a:lnTo>
                      <a:pt x="498" y="292"/>
                    </a:lnTo>
                    <a:lnTo>
                      <a:pt x="498" y="294"/>
                    </a:lnTo>
                    <a:lnTo>
                      <a:pt x="498" y="292"/>
                    </a:lnTo>
                    <a:lnTo>
                      <a:pt x="496" y="292"/>
                    </a:lnTo>
                    <a:lnTo>
                      <a:pt x="494" y="292"/>
                    </a:lnTo>
                    <a:lnTo>
                      <a:pt x="492" y="294"/>
                    </a:lnTo>
                    <a:lnTo>
                      <a:pt x="490" y="296"/>
                    </a:lnTo>
                    <a:lnTo>
                      <a:pt x="490" y="298"/>
                    </a:lnTo>
                    <a:lnTo>
                      <a:pt x="492" y="300"/>
                    </a:lnTo>
                    <a:lnTo>
                      <a:pt x="490" y="300"/>
                    </a:lnTo>
                    <a:lnTo>
                      <a:pt x="490" y="302"/>
                    </a:lnTo>
                    <a:lnTo>
                      <a:pt x="490" y="304"/>
                    </a:lnTo>
                    <a:lnTo>
                      <a:pt x="488" y="302"/>
                    </a:lnTo>
                    <a:lnTo>
                      <a:pt x="488" y="304"/>
                    </a:lnTo>
                    <a:lnTo>
                      <a:pt x="486" y="306"/>
                    </a:lnTo>
                    <a:lnTo>
                      <a:pt x="488" y="306"/>
                    </a:lnTo>
                    <a:lnTo>
                      <a:pt x="488" y="308"/>
                    </a:lnTo>
                    <a:lnTo>
                      <a:pt x="488" y="309"/>
                    </a:lnTo>
                    <a:lnTo>
                      <a:pt x="486" y="311"/>
                    </a:lnTo>
                    <a:lnTo>
                      <a:pt x="488" y="311"/>
                    </a:lnTo>
                    <a:lnTo>
                      <a:pt x="486" y="311"/>
                    </a:lnTo>
                    <a:lnTo>
                      <a:pt x="486" y="313"/>
                    </a:lnTo>
                    <a:lnTo>
                      <a:pt x="488" y="315"/>
                    </a:lnTo>
                    <a:lnTo>
                      <a:pt x="488" y="317"/>
                    </a:lnTo>
                    <a:lnTo>
                      <a:pt x="488" y="319"/>
                    </a:lnTo>
                    <a:lnTo>
                      <a:pt x="488" y="321"/>
                    </a:lnTo>
                    <a:lnTo>
                      <a:pt x="486" y="321"/>
                    </a:lnTo>
                    <a:lnTo>
                      <a:pt x="484" y="323"/>
                    </a:lnTo>
                    <a:lnTo>
                      <a:pt x="484" y="325"/>
                    </a:lnTo>
                    <a:lnTo>
                      <a:pt x="484" y="327"/>
                    </a:lnTo>
                    <a:lnTo>
                      <a:pt x="486" y="327"/>
                    </a:lnTo>
                    <a:lnTo>
                      <a:pt x="486" y="329"/>
                    </a:lnTo>
                    <a:lnTo>
                      <a:pt x="488" y="329"/>
                    </a:lnTo>
                    <a:lnTo>
                      <a:pt x="488" y="331"/>
                    </a:lnTo>
                    <a:lnTo>
                      <a:pt x="490" y="331"/>
                    </a:lnTo>
                    <a:lnTo>
                      <a:pt x="488" y="331"/>
                    </a:lnTo>
                    <a:lnTo>
                      <a:pt x="488" y="333"/>
                    </a:lnTo>
                    <a:lnTo>
                      <a:pt x="488" y="334"/>
                    </a:lnTo>
                    <a:lnTo>
                      <a:pt x="488" y="336"/>
                    </a:lnTo>
                    <a:lnTo>
                      <a:pt x="488" y="338"/>
                    </a:lnTo>
                    <a:lnTo>
                      <a:pt x="486" y="340"/>
                    </a:lnTo>
                    <a:lnTo>
                      <a:pt x="486" y="342"/>
                    </a:lnTo>
                    <a:lnTo>
                      <a:pt x="486" y="344"/>
                    </a:lnTo>
                    <a:lnTo>
                      <a:pt x="488" y="344"/>
                    </a:lnTo>
                    <a:lnTo>
                      <a:pt x="488" y="346"/>
                    </a:lnTo>
                    <a:lnTo>
                      <a:pt x="488" y="348"/>
                    </a:lnTo>
                    <a:lnTo>
                      <a:pt x="490" y="350"/>
                    </a:lnTo>
                    <a:lnTo>
                      <a:pt x="492" y="352"/>
                    </a:lnTo>
                    <a:lnTo>
                      <a:pt x="492" y="350"/>
                    </a:lnTo>
                    <a:lnTo>
                      <a:pt x="492" y="348"/>
                    </a:lnTo>
                    <a:lnTo>
                      <a:pt x="492" y="346"/>
                    </a:lnTo>
                    <a:lnTo>
                      <a:pt x="494" y="346"/>
                    </a:lnTo>
                    <a:lnTo>
                      <a:pt x="496" y="344"/>
                    </a:lnTo>
                    <a:lnTo>
                      <a:pt x="498" y="344"/>
                    </a:lnTo>
                    <a:lnTo>
                      <a:pt x="500" y="344"/>
                    </a:lnTo>
                    <a:lnTo>
                      <a:pt x="500" y="346"/>
                    </a:lnTo>
                    <a:lnTo>
                      <a:pt x="502" y="346"/>
                    </a:lnTo>
                    <a:lnTo>
                      <a:pt x="502" y="348"/>
                    </a:lnTo>
                    <a:lnTo>
                      <a:pt x="502" y="350"/>
                    </a:lnTo>
                    <a:lnTo>
                      <a:pt x="502" y="352"/>
                    </a:lnTo>
                    <a:lnTo>
                      <a:pt x="502" y="354"/>
                    </a:lnTo>
                    <a:lnTo>
                      <a:pt x="500" y="356"/>
                    </a:lnTo>
                    <a:lnTo>
                      <a:pt x="500" y="358"/>
                    </a:lnTo>
                    <a:lnTo>
                      <a:pt x="502" y="359"/>
                    </a:lnTo>
                    <a:lnTo>
                      <a:pt x="504" y="359"/>
                    </a:lnTo>
                    <a:lnTo>
                      <a:pt x="504" y="361"/>
                    </a:lnTo>
                    <a:lnTo>
                      <a:pt x="504" y="363"/>
                    </a:lnTo>
                    <a:lnTo>
                      <a:pt x="506" y="363"/>
                    </a:lnTo>
                    <a:lnTo>
                      <a:pt x="506" y="361"/>
                    </a:lnTo>
                    <a:lnTo>
                      <a:pt x="508" y="359"/>
                    </a:lnTo>
                    <a:lnTo>
                      <a:pt x="506" y="359"/>
                    </a:lnTo>
                    <a:lnTo>
                      <a:pt x="508" y="359"/>
                    </a:lnTo>
                    <a:lnTo>
                      <a:pt x="506" y="358"/>
                    </a:lnTo>
                    <a:lnTo>
                      <a:pt x="508" y="358"/>
                    </a:lnTo>
                    <a:lnTo>
                      <a:pt x="509" y="358"/>
                    </a:lnTo>
                    <a:lnTo>
                      <a:pt x="509" y="356"/>
                    </a:lnTo>
                    <a:lnTo>
                      <a:pt x="509" y="358"/>
                    </a:lnTo>
                    <a:lnTo>
                      <a:pt x="511" y="359"/>
                    </a:lnTo>
                    <a:lnTo>
                      <a:pt x="513" y="359"/>
                    </a:lnTo>
                    <a:lnTo>
                      <a:pt x="513" y="361"/>
                    </a:lnTo>
                    <a:lnTo>
                      <a:pt x="515" y="359"/>
                    </a:lnTo>
                    <a:lnTo>
                      <a:pt x="517" y="359"/>
                    </a:lnTo>
                    <a:lnTo>
                      <a:pt x="517" y="358"/>
                    </a:lnTo>
                    <a:lnTo>
                      <a:pt x="519" y="358"/>
                    </a:lnTo>
                    <a:lnTo>
                      <a:pt x="519" y="359"/>
                    </a:lnTo>
                    <a:lnTo>
                      <a:pt x="519" y="361"/>
                    </a:lnTo>
                    <a:lnTo>
                      <a:pt x="521" y="363"/>
                    </a:lnTo>
                    <a:lnTo>
                      <a:pt x="523" y="363"/>
                    </a:lnTo>
                    <a:lnTo>
                      <a:pt x="525" y="363"/>
                    </a:lnTo>
                    <a:lnTo>
                      <a:pt x="525" y="365"/>
                    </a:lnTo>
                    <a:lnTo>
                      <a:pt x="525" y="367"/>
                    </a:lnTo>
                    <a:lnTo>
                      <a:pt x="527" y="367"/>
                    </a:lnTo>
                    <a:lnTo>
                      <a:pt x="529" y="369"/>
                    </a:lnTo>
                    <a:lnTo>
                      <a:pt x="529" y="371"/>
                    </a:lnTo>
                    <a:lnTo>
                      <a:pt x="527" y="371"/>
                    </a:lnTo>
                    <a:lnTo>
                      <a:pt x="527" y="375"/>
                    </a:lnTo>
                    <a:lnTo>
                      <a:pt x="527" y="377"/>
                    </a:lnTo>
                    <a:lnTo>
                      <a:pt x="529" y="377"/>
                    </a:lnTo>
                    <a:lnTo>
                      <a:pt x="531" y="377"/>
                    </a:lnTo>
                    <a:lnTo>
                      <a:pt x="531" y="379"/>
                    </a:lnTo>
                    <a:lnTo>
                      <a:pt x="531" y="381"/>
                    </a:lnTo>
                    <a:lnTo>
                      <a:pt x="531" y="383"/>
                    </a:lnTo>
                    <a:lnTo>
                      <a:pt x="533" y="383"/>
                    </a:lnTo>
                    <a:lnTo>
                      <a:pt x="533" y="384"/>
                    </a:lnTo>
                    <a:lnTo>
                      <a:pt x="534" y="384"/>
                    </a:lnTo>
                    <a:lnTo>
                      <a:pt x="536" y="384"/>
                    </a:lnTo>
                    <a:lnTo>
                      <a:pt x="536" y="386"/>
                    </a:lnTo>
                    <a:lnTo>
                      <a:pt x="538" y="390"/>
                    </a:lnTo>
                    <a:lnTo>
                      <a:pt x="538" y="392"/>
                    </a:lnTo>
                    <a:lnTo>
                      <a:pt x="536" y="392"/>
                    </a:lnTo>
                    <a:lnTo>
                      <a:pt x="538" y="392"/>
                    </a:lnTo>
                    <a:lnTo>
                      <a:pt x="538" y="394"/>
                    </a:lnTo>
                    <a:lnTo>
                      <a:pt x="540" y="394"/>
                    </a:lnTo>
                    <a:lnTo>
                      <a:pt x="540" y="396"/>
                    </a:lnTo>
                    <a:lnTo>
                      <a:pt x="540" y="398"/>
                    </a:lnTo>
                    <a:lnTo>
                      <a:pt x="538" y="398"/>
                    </a:lnTo>
                    <a:lnTo>
                      <a:pt x="536" y="398"/>
                    </a:lnTo>
                    <a:lnTo>
                      <a:pt x="536" y="400"/>
                    </a:lnTo>
                    <a:lnTo>
                      <a:pt x="536" y="402"/>
                    </a:lnTo>
                    <a:lnTo>
                      <a:pt x="538" y="404"/>
                    </a:lnTo>
                    <a:lnTo>
                      <a:pt x="538" y="402"/>
                    </a:lnTo>
                    <a:lnTo>
                      <a:pt x="540" y="402"/>
                    </a:lnTo>
                    <a:lnTo>
                      <a:pt x="540" y="404"/>
                    </a:lnTo>
                    <a:lnTo>
                      <a:pt x="542" y="404"/>
                    </a:lnTo>
                    <a:lnTo>
                      <a:pt x="544" y="404"/>
                    </a:lnTo>
                    <a:lnTo>
                      <a:pt x="544" y="406"/>
                    </a:lnTo>
                    <a:lnTo>
                      <a:pt x="544" y="408"/>
                    </a:lnTo>
                    <a:lnTo>
                      <a:pt x="546" y="409"/>
                    </a:lnTo>
                    <a:lnTo>
                      <a:pt x="546" y="411"/>
                    </a:lnTo>
                    <a:lnTo>
                      <a:pt x="546" y="413"/>
                    </a:lnTo>
                    <a:lnTo>
                      <a:pt x="548" y="415"/>
                    </a:lnTo>
                    <a:lnTo>
                      <a:pt x="548" y="417"/>
                    </a:lnTo>
                    <a:lnTo>
                      <a:pt x="548" y="419"/>
                    </a:lnTo>
                    <a:lnTo>
                      <a:pt x="550" y="421"/>
                    </a:lnTo>
                    <a:lnTo>
                      <a:pt x="550" y="423"/>
                    </a:lnTo>
                    <a:lnTo>
                      <a:pt x="550" y="425"/>
                    </a:lnTo>
                    <a:lnTo>
                      <a:pt x="550" y="427"/>
                    </a:lnTo>
                    <a:lnTo>
                      <a:pt x="550" y="429"/>
                    </a:lnTo>
                    <a:lnTo>
                      <a:pt x="548" y="429"/>
                    </a:lnTo>
                    <a:lnTo>
                      <a:pt x="546" y="429"/>
                    </a:lnTo>
                    <a:lnTo>
                      <a:pt x="546" y="431"/>
                    </a:lnTo>
                    <a:lnTo>
                      <a:pt x="546" y="433"/>
                    </a:lnTo>
                    <a:lnTo>
                      <a:pt x="544" y="431"/>
                    </a:lnTo>
                    <a:lnTo>
                      <a:pt x="542" y="433"/>
                    </a:lnTo>
                    <a:lnTo>
                      <a:pt x="540" y="434"/>
                    </a:lnTo>
                    <a:lnTo>
                      <a:pt x="540" y="433"/>
                    </a:lnTo>
                    <a:lnTo>
                      <a:pt x="540" y="434"/>
                    </a:lnTo>
                    <a:lnTo>
                      <a:pt x="538" y="434"/>
                    </a:lnTo>
                    <a:lnTo>
                      <a:pt x="540" y="434"/>
                    </a:lnTo>
                    <a:lnTo>
                      <a:pt x="540" y="436"/>
                    </a:lnTo>
                    <a:lnTo>
                      <a:pt x="540" y="438"/>
                    </a:lnTo>
                    <a:lnTo>
                      <a:pt x="540" y="440"/>
                    </a:lnTo>
                    <a:lnTo>
                      <a:pt x="540" y="442"/>
                    </a:lnTo>
                    <a:lnTo>
                      <a:pt x="540" y="444"/>
                    </a:lnTo>
                    <a:lnTo>
                      <a:pt x="540" y="446"/>
                    </a:lnTo>
                    <a:lnTo>
                      <a:pt x="540" y="448"/>
                    </a:lnTo>
                    <a:lnTo>
                      <a:pt x="542" y="450"/>
                    </a:lnTo>
                    <a:lnTo>
                      <a:pt x="544" y="452"/>
                    </a:lnTo>
                    <a:lnTo>
                      <a:pt x="542" y="452"/>
                    </a:lnTo>
                    <a:lnTo>
                      <a:pt x="542" y="454"/>
                    </a:lnTo>
                    <a:lnTo>
                      <a:pt x="542" y="452"/>
                    </a:lnTo>
                    <a:lnTo>
                      <a:pt x="542" y="454"/>
                    </a:lnTo>
                    <a:lnTo>
                      <a:pt x="540" y="452"/>
                    </a:lnTo>
                    <a:lnTo>
                      <a:pt x="540" y="454"/>
                    </a:lnTo>
                    <a:lnTo>
                      <a:pt x="540" y="452"/>
                    </a:lnTo>
                    <a:lnTo>
                      <a:pt x="540" y="454"/>
                    </a:lnTo>
                    <a:lnTo>
                      <a:pt x="538" y="454"/>
                    </a:lnTo>
                    <a:lnTo>
                      <a:pt x="536" y="454"/>
                    </a:lnTo>
                    <a:lnTo>
                      <a:pt x="534" y="454"/>
                    </a:lnTo>
                    <a:lnTo>
                      <a:pt x="534" y="456"/>
                    </a:lnTo>
                    <a:lnTo>
                      <a:pt x="534" y="458"/>
                    </a:lnTo>
                    <a:lnTo>
                      <a:pt x="533" y="458"/>
                    </a:lnTo>
                    <a:lnTo>
                      <a:pt x="533" y="459"/>
                    </a:lnTo>
                    <a:lnTo>
                      <a:pt x="531" y="459"/>
                    </a:lnTo>
                    <a:lnTo>
                      <a:pt x="531" y="461"/>
                    </a:lnTo>
                    <a:lnTo>
                      <a:pt x="531" y="463"/>
                    </a:lnTo>
                    <a:lnTo>
                      <a:pt x="531" y="465"/>
                    </a:lnTo>
                    <a:lnTo>
                      <a:pt x="529" y="467"/>
                    </a:lnTo>
                    <a:lnTo>
                      <a:pt x="527" y="467"/>
                    </a:lnTo>
                    <a:lnTo>
                      <a:pt x="525" y="465"/>
                    </a:lnTo>
                    <a:lnTo>
                      <a:pt x="523" y="465"/>
                    </a:lnTo>
                    <a:lnTo>
                      <a:pt x="521" y="467"/>
                    </a:lnTo>
                    <a:lnTo>
                      <a:pt x="521" y="469"/>
                    </a:lnTo>
                    <a:lnTo>
                      <a:pt x="519" y="469"/>
                    </a:lnTo>
                    <a:lnTo>
                      <a:pt x="517" y="469"/>
                    </a:lnTo>
                    <a:lnTo>
                      <a:pt x="517" y="471"/>
                    </a:lnTo>
                    <a:lnTo>
                      <a:pt x="517" y="469"/>
                    </a:lnTo>
                    <a:lnTo>
                      <a:pt x="515" y="469"/>
                    </a:lnTo>
                    <a:lnTo>
                      <a:pt x="515" y="467"/>
                    </a:lnTo>
                    <a:lnTo>
                      <a:pt x="513" y="467"/>
                    </a:lnTo>
                    <a:lnTo>
                      <a:pt x="509" y="465"/>
                    </a:lnTo>
                    <a:lnTo>
                      <a:pt x="508" y="465"/>
                    </a:lnTo>
                    <a:lnTo>
                      <a:pt x="506" y="463"/>
                    </a:lnTo>
                    <a:lnTo>
                      <a:pt x="504" y="463"/>
                    </a:lnTo>
                    <a:lnTo>
                      <a:pt x="502" y="463"/>
                    </a:lnTo>
                    <a:lnTo>
                      <a:pt x="502" y="461"/>
                    </a:lnTo>
                    <a:lnTo>
                      <a:pt x="500" y="461"/>
                    </a:lnTo>
                    <a:lnTo>
                      <a:pt x="500" y="459"/>
                    </a:lnTo>
                    <a:lnTo>
                      <a:pt x="498" y="459"/>
                    </a:lnTo>
                    <a:lnTo>
                      <a:pt x="498" y="461"/>
                    </a:lnTo>
                    <a:lnTo>
                      <a:pt x="498" y="459"/>
                    </a:lnTo>
                    <a:lnTo>
                      <a:pt x="496" y="459"/>
                    </a:lnTo>
                    <a:lnTo>
                      <a:pt x="496" y="458"/>
                    </a:lnTo>
                    <a:lnTo>
                      <a:pt x="496" y="456"/>
                    </a:lnTo>
                    <a:lnTo>
                      <a:pt x="494" y="456"/>
                    </a:lnTo>
                    <a:lnTo>
                      <a:pt x="492" y="454"/>
                    </a:lnTo>
                    <a:lnTo>
                      <a:pt x="490" y="454"/>
                    </a:lnTo>
                    <a:lnTo>
                      <a:pt x="490" y="452"/>
                    </a:lnTo>
                    <a:lnTo>
                      <a:pt x="490" y="450"/>
                    </a:lnTo>
                    <a:lnTo>
                      <a:pt x="488" y="450"/>
                    </a:lnTo>
                    <a:lnTo>
                      <a:pt x="486" y="450"/>
                    </a:lnTo>
                    <a:lnTo>
                      <a:pt x="486" y="452"/>
                    </a:lnTo>
                    <a:lnTo>
                      <a:pt x="484" y="452"/>
                    </a:lnTo>
                    <a:lnTo>
                      <a:pt x="483" y="450"/>
                    </a:lnTo>
                    <a:lnTo>
                      <a:pt x="481" y="450"/>
                    </a:lnTo>
                    <a:lnTo>
                      <a:pt x="481" y="448"/>
                    </a:lnTo>
                    <a:lnTo>
                      <a:pt x="481" y="446"/>
                    </a:lnTo>
                    <a:lnTo>
                      <a:pt x="481" y="444"/>
                    </a:lnTo>
                    <a:lnTo>
                      <a:pt x="479" y="444"/>
                    </a:lnTo>
                    <a:lnTo>
                      <a:pt x="477" y="444"/>
                    </a:lnTo>
                    <a:lnTo>
                      <a:pt x="475" y="444"/>
                    </a:lnTo>
                    <a:lnTo>
                      <a:pt x="475" y="446"/>
                    </a:lnTo>
                    <a:lnTo>
                      <a:pt x="475" y="448"/>
                    </a:lnTo>
                    <a:lnTo>
                      <a:pt x="475" y="450"/>
                    </a:lnTo>
                    <a:lnTo>
                      <a:pt x="473" y="450"/>
                    </a:lnTo>
                    <a:lnTo>
                      <a:pt x="471" y="450"/>
                    </a:lnTo>
                    <a:lnTo>
                      <a:pt x="471" y="448"/>
                    </a:lnTo>
                    <a:lnTo>
                      <a:pt x="469" y="448"/>
                    </a:lnTo>
                    <a:lnTo>
                      <a:pt x="467" y="450"/>
                    </a:lnTo>
                    <a:lnTo>
                      <a:pt x="467" y="452"/>
                    </a:lnTo>
                    <a:lnTo>
                      <a:pt x="467" y="454"/>
                    </a:lnTo>
                    <a:lnTo>
                      <a:pt x="465" y="454"/>
                    </a:lnTo>
                    <a:lnTo>
                      <a:pt x="463" y="454"/>
                    </a:lnTo>
                    <a:lnTo>
                      <a:pt x="463" y="452"/>
                    </a:lnTo>
                    <a:lnTo>
                      <a:pt x="461" y="450"/>
                    </a:lnTo>
                    <a:lnTo>
                      <a:pt x="461" y="448"/>
                    </a:lnTo>
                    <a:lnTo>
                      <a:pt x="459" y="448"/>
                    </a:lnTo>
                    <a:lnTo>
                      <a:pt x="458" y="448"/>
                    </a:lnTo>
                    <a:lnTo>
                      <a:pt x="456" y="448"/>
                    </a:lnTo>
                    <a:lnTo>
                      <a:pt x="454" y="448"/>
                    </a:lnTo>
                    <a:lnTo>
                      <a:pt x="452" y="450"/>
                    </a:lnTo>
                    <a:lnTo>
                      <a:pt x="450" y="450"/>
                    </a:lnTo>
                    <a:lnTo>
                      <a:pt x="450" y="448"/>
                    </a:lnTo>
                    <a:lnTo>
                      <a:pt x="450" y="446"/>
                    </a:lnTo>
                    <a:lnTo>
                      <a:pt x="450" y="444"/>
                    </a:lnTo>
                    <a:lnTo>
                      <a:pt x="450" y="442"/>
                    </a:lnTo>
                    <a:lnTo>
                      <a:pt x="448" y="442"/>
                    </a:lnTo>
                    <a:lnTo>
                      <a:pt x="448" y="444"/>
                    </a:lnTo>
                    <a:lnTo>
                      <a:pt x="446" y="444"/>
                    </a:lnTo>
                    <a:lnTo>
                      <a:pt x="444" y="444"/>
                    </a:lnTo>
                    <a:lnTo>
                      <a:pt x="442" y="444"/>
                    </a:lnTo>
                    <a:lnTo>
                      <a:pt x="440" y="444"/>
                    </a:lnTo>
                    <a:lnTo>
                      <a:pt x="438" y="444"/>
                    </a:lnTo>
                    <a:lnTo>
                      <a:pt x="438" y="446"/>
                    </a:lnTo>
                    <a:lnTo>
                      <a:pt x="435" y="446"/>
                    </a:lnTo>
                    <a:lnTo>
                      <a:pt x="435" y="448"/>
                    </a:lnTo>
                    <a:lnTo>
                      <a:pt x="435" y="450"/>
                    </a:lnTo>
                    <a:lnTo>
                      <a:pt x="433" y="452"/>
                    </a:lnTo>
                    <a:lnTo>
                      <a:pt x="431" y="452"/>
                    </a:lnTo>
                    <a:lnTo>
                      <a:pt x="429" y="454"/>
                    </a:lnTo>
                    <a:lnTo>
                      <a:pt x="427" y="454"/>
                    </a:lnTo>
                    <a:lnTo>
                      <a:pt x="425" y="454"/>
                    </a:lnTo>
                    <a:lnTo>
                      <a:pt x="425" y="456"/>
                    </a:lnTo>
                    <a:lnTo>
                      <a:pt x="423" y="454"/>
                    </a:lnTo>
                    <a:lnTo>
                      <a:pt x="421" y="454"/>
                    </a:lnTo>
                    <a:lnTo>
                      <a:pt x="421" y="452"/>
                    </a:lnTo>
                    <a:lnTo>
                      <a:pt x="419" y="452"/>
                    </a:lnTo>
                    <a:lnTo>
                      <a:pt x="419" y="454"/>
                    </a:lnTo>
                    <a:lnTo>
                      <a:pt x="417" y="454"/>
                    </a:lnTo>
                    <a:lnTo>
                      <a:pt x="415" y="454"/>
                    </a:lnTo>
                    <a:lnTo>
                      <a:pt x="415" y="456"/>
                    </a:lnTo>
                    <a:lnTo>
                      <a:pt x="413" y="456"/>
                    </a:lnTo>
                    <a:lnTo>
                      <a:pt x="413" y="454"/>
                    </a:lnTo>
                    <a:lnTo>
                      <a:pt x="413" y="452"/>
                    </a:lnTo>
                    <a:lnTo>
                      <a:pt x="411" y="452"/>
                    </a:lnTo>
                    <a:lnTo>
                      <a:pt x="410" y="450"/>
                    </a:lnTo>
                    <a:lnTo>
                      <a:pt x="408" y="450"/>
                    </a:lnTo>
                    <a:lnTo>
                      <a:pt x="408" y="448"/>
                    </a:lnTo>
                    <a:lnTo>
                      <a:pt x="406" y="448"/>
                    </a:lnTo>
                    <a:lnTo>
                      <a:pt x="406" y="446"/>
                    </a:lnTo>
                    <a:lnTo>
                      <a:pt x="406" y="444"/>
                    </a:lnTo>
                    <a:lnTo>
                      <a:pt x="404" y="444"/>
                    </a:lnTo>
                    <a:lnTo>
                      <a:pt x="402" y="444"/>
                    </a:lnTo>
                    <a:lnTo>
                      <a:pt x="400" y="442"/>
                    </a:lnTo>
                    <a:lnTo>
                      <a:pt x="398" y="442"/>
                    </a:lnTo>
                    <a:lnTo>
                      <a:pt x="398" y="440"/>
                    </a:lnTo>
                    <a:lnTo>
                      <a:pt x="398" y="438"/>
                    </a:lnTo>
                    <a:lnTo>
                      <a:pt x="398" y="436"/>
                    </a:lnTo>
                    <a:lnTo>
                      <a:pt x="398" y="434"/>
                    </a:lnTo>
                    <a:lnTo>
                      <a:pt x="396" y="434"/>
                    </a:lnTo>
                    <a:lnTo>
                      <a:pt x="396" y="433"/>
                    </a:lnTo>
                    <a:lnTo>
                      <a:pt x="394" y="433"/>
                    </a:lnTo>
                    <a:lnTo>
                      <a:pt x="394" y="431"/>
                    </a:lnTo>
                    <a:lnTo>
                      <a:pt x="394" y="429"/>
                    </a:lnTo>
                    <a:lnTo>
                      <a:pt x="394" y="427"/>
                    </a:lnTo>
                    <a:lnTo>
                      <a:pt x="392" y="427"/>
                    </a:lnTo>
                    <a:lnTo>
                      <a:pt x="392" y="425"/>
                    </a:lnTo>
                    <a:lnTo>
                      <a:pt x="394" y="425"/>
                    </a:lnTo>
                    <a:lnTo>
                      <a:pt x="394" y="423"/>
                    </a:lnTo>
                    <a:lnTo>
                      <a:pt x="394" y="421"/>
                    </a:lnTo>
                    <a:lnTo>
                      <a:pt x="394" y="419"/>
                    </a:lnTo>
                    <a:lnTo>
                      <a:pt x="394" y="417"/>
                    </a:lnTo>
                    <a:lnTo>
                      <a:pt x="394" y="415"/>
                    </a:lnTo>
                    <a:lnTo>
                      <a:pt x="392" y="413"/>
                    </a:lnTo>
                    <a:lnTo>
                      <a:pt x="390" y="413"/>
                    </a:lnTo>
                    <a:lnTo>
                      <a:pt x="388" y="413"/>
                    </a:lnTo>
                    <a:lnTo>
                      <a:pt x="386" y="413"/>
                    </a:lnTo>
                    <a:lnTo>
                      <a:pt x="385" y="413"/>
                    </a:lnTo>
                    <a:lnTo>
                      <a:pt x="383" y="413"/>
                    </a:lnTo>
                    <a:lnTo>
                      <a:pt x="381" y="411"/>
                    </a:lnTo>
                    <a:lnTo>
                      <a:pt x="381" y="409"/>
                    </a:lnTo>
                    <a:lnTo>
                      <a:pt x="381" y="408"/>
                    </a:lnTo>
                    <a:lnTo>
                      <a:pt x="381" y="406"/>
                    </a:lnTo>
                    <a:lnTo>
                      <a:pt x="381" y="404"/>
                    </a:lnTo>
                    <a:lnTo>
                      <a:pt x="379" y="404"/>
                    </a:lnTo>
                    <a:lnTo>
                      <a:pt x="377" y="404"/>
                    </a:lnTo>
                    <a:lnTo>
                      <a:pt x="377" y="402"/>
                    </a:lnTo>
                    <a:lnTo>
                      <a:pt x="377" y="400"/>
                    </a:lnTo>
                    <a:lnTo>
                      <a:pt x="377" y="398"/>
                    </a:lnTo>
                    <a:lnTo>
                      <a:pt x="377" y="396"/>
                    </a:lnTo>
                    <a:lnTo>
                      <a:pt x="377" y="394"/>
                    </a:lnTo>
                    <a:lnTo>
                      <a:pt x="375" y="392"/>
                    </a:lnTo>
                    <a:lnTo>
                      <a:pt x="373" y="390"/>
                    </a:lnTo>
                    <a:lnTo>
                      <a:pt x="373" y="388"/>
                    </a:lnTo>
                    <a:lnTo>
                      <a:pt x="371" y="388"/>
                    </a:lnTo>
                    <a:lnTo>
                      <a:pt x="371" y="386"/>
                    </a:lnTo>
                    <a:lnTo>
                      <a:pt x="371" y="384"/>
                    </a:lnTo>
                    <a:lnTo>
                      <a:pt x="369" y="383"/>
                    </a:lnTo>
                    <a:lnTo>
                      <a:pt x="367" y="383"/>
                    </a:lnTo>
                    <a:lnTo>
                      <a:pt x="365" y="379"/>
                    </a:lnTo>
                    <a:lnTo>
                      <a:pt x="363" y="377"/>
                    </a:lnTo>
                    <a:lnTo>
                      <a:pt x="362" y="375"/>
                    </a:lnTo>
                    <a:lnTo>
                      <a:pt x="360" y="375"/>
                    </a:lnTo>
                    <a:lnTo>
                      <a:pt x="360" y="373"/>
                    </a:lnTo>
                    <a:lnTo>
                      <a:pt x="358" y="373"/>
                    </a:lnTo>
                    <a:lnTo>
                      <a:pt x="356" y="373"/>
                    </a:lnTo>
                    <a:lnTo>
                      <a:pt x="356" y="371"/>
                    </a:lnTo>
                    <a:lnTo>
                      <a:pt x="354" y="369"/>
                    </a:lnTo>
                    <a:lnTo>
                      <a:pt x="352" y="369"/>
                    </a:lnTo>
                    <a:lnTo>
                      <a:pt x="352" y="367"/>
                    </a:lnTo>
                    <a:lnTo>
                      <a:pt x="350" y="367"/>
                    </a:lnTo>
                    <a:lnTo>
                      <a:pt x="350" y="365"/>
                    </a:lnTo>
                    <a:lnTo>
                      <a:pt x="350" y="363"/>
                    </a:lnTo>
                    <a:lnTo>
                      <a:pt x="348" y="361"/>
                    </a:lnTo>
                    <a:lnTo>
                      <a:pt x="348" y="359"/>
                    </a:lnTo>
                    <a:lnTo>
                      <a:pt x="346" y="359"/>
                    </a:lnTo>
                    <a:lnTo>
                      <a:pt x="346" y="358"/>
                    </a:lnTo>
                    <a:lnTo>
                      <a:pt x="346" y="354"/>
                    </a:lnTo>
                    <a:lnTo>
                      <a:pt x="348" y="354"/>
                    </a:lnTo>
                    <a:lnTo>
                      <a:pt x="348" y="352"/>
                    </a:lnTo>
                    <a:lnTo>
                      <a:pt x="346" y="350"/>
                    </a:lnTo>
                    <a:lnTo>
                      <a:pt x="344" y="352"/>
                    </a:lnTo>
                    <a:lnTo>
                      <a:pt x="344" y="354"/>
                    </a:lnTo>
                    <a:lnTo>
                      <a:pt x="346" y="354"/>
                    </a:lnTo>
                    <a:lnTo>
                      <a:pt x="346" y="356"/>
                    </a:lnTo>
                    <a:lnTo>
                      <a:pt x="344" y="356"/>
                    </a:lnTo>
                    <a:lnTo>
                      <a:pt x="342" y="356"/>
                    </a:lnTo>
                    <a:lnTo>
                      <a:pt x="342" y="354"/>
                    </a:lnTo>
                    <a:lnTo>
                      <a:pt x="340" y="352"/>
                    </a:lnTo>
                    <a:lnTo>
                      <a:pt x="340" y="350"/>
                    </a:lnTo>
                    <a:lnTo>
                      <a:pt x="342" y="350"/>
                    </a:lnTo>
                    <a:lnTo>
                      <a:pt x="344" y="350"/>
                    </a:lnTo>
                    <a:lnTo>
                      <a:pt x="344" y="348"/>
                    </a:lnTo>
                    <a:lnTo>
                      <a:pt x="344" y="346"/>
                    </a:lnTo>
                    <a:lnTo>
                      <a:pt x="342" y="346"/>
                    </a:lnTo>
                    <a:lnTo>
                      <a:pt x="342" y="344"/>
                    </a:lnTo>
                    <a:lnTo>
                      <a:pt x="340" y="346"/>
                    </a:lnTo>
                    <a:lnTo>
                      <a:pt x="338" y="346"/>
                    </a:lnTo>
                    <a:lnTo>
                      <a:pt x="338" y="344"/>
                    </a:lnTo>
                    <a:lnTo>
                      <a:pt x="337" y="344"/>
                    </a:lnTo>
                    <a:lnTo>
                      <a:pt x="337" y="342"/>
                    </a:lnTo>
                    <a:lnTo>
                      <a:pt x="338" y="342"/>
                    </a:lnTo>
                    <a:lnTo>
                      <a:pt x="337" y="342"/>
                    </a:lnTo>
                    <a:lnTo>
                      <a:pt x="337" y="340"/>
                    </a:lnTo>
                    <a:lnTo>
                      <a:pt x="338" y="340"/>
                    </a:lnTo>
                    <a:lnTo>
                      <a:pt x="338" y="338"/>
                    </a:lnTo>
                    <a:lnTo>
                      <a:pt x="337" y="338"/>
                    </a:lnTo>
                    <a:lnTo>
                      <a:pt x="337" y="336"/>
                    </a:lnTo>
                    <a:lnTo>
                      <a:pt x="335" y="336"/>
                    </a:lnTo>
                    <a:lnTo>
                      <a:pt x="333" y="336"/>
                    </a:lnTo>
                    <a:lnTo>
                      <a:pt x="331" y="336"/>
                    </a:lnTo>
                    <a:lnTo>
                      <a:pt x="331" y="334"/>
                    </a:lnTo>
                    <a:lnTo>
                      <a:pt x="331" y="333"/>
                    </a:lnTo>
                    <a:lnTo>
                      <a:pt x="331" y="331"/>
                    </a:lnTo>
                    <a:lnTo>
                      <a:pt x="331" y="329"/>
                    </a:lnTo>
                    <a:lnTo>
                      <a:pt x="331" y="327"/>
                    </a:lnTo>
                    <a:lnTo>
                      <a:pt x="329" y="327"/>
                    </a:lnTo>
                    <a:lnTo>
                      <a:pt x="327" y="327"/>
                    </a:lnTo>
                    <a:lnTo>
                      <a:pt x="327" y="325"/>
                    </a:lnTo>
                    <a:lnTo>
                      <a:pt x="325" y="325"/>
                    </a:lnTo>
                    <a:lnTo>
                      <a:pt x="323" y="323"/>
                    </a:lnTo>
                    <a:lnTo>
                      <a:pt x="321" y="321"/>
                    </a:lnTo>
                    <a:lnTo>
                      <a:pt x="321" y="319"/>
                    </a:lnTo>
                    <a:lnTo>
                      <a:pt x="319" y="317"/>
                    </a:lnTo>
                    <a:lnTo>
                      <a:pt x="317" y="315"/>
                    </a:lnTo>
                    <a:lnTo>
                      <a:pt x="315" y="315"/>
                    </a:lnTo>
                    <a:lnTo>
                      <a:pt x="315" y="313"/>
                    </a:lnTo>
                    <a:lnTo>
                      <a:pt x="315" y="311"/>
                    </a:lnTo>
                    <a:lnTo>
                      <a:pt x="313" y="311"/>
                    </a:lnTo>
                    <a:lnTo>
                      <a:pt x="313" y="309"/>
                    </a:lnTo>
                    <a:lnTo>
                      <a:pt x="313" y="308"/>
                    </a:lnTo>
                    <a:lnTo>
                      <a:pt x="315" y="308"/>
                    </a:lnTo>
                    <a:lnTo>
                      <a:pt x="315" y="306"/>
                    </a:lnTo>
                    <a:lnTo>
                      <a:pt x="315" y="304"/>
                    </a:lnTo>
                    <a:lnTo>
                      <a:pt x="315" y="302"/>
                    </a:lnTo>
                    <a:lnTo>
                      <a:pt x="313" y="302"/>
                    </a:lnTo>
                    <a:lnTo>
                      <a:pt x="313" y="300"/>
                    </a:lnTo>
                    <a:lnTo>
                      <a:pt x="312" y="300"/>
                    </a:lnTo>
                    <a:lnTo>
                      <a:pt x="310" y="300"/>
                    </a:lnTo>
                    <a:lnTo>
                      <a:pt x="308" y="300"/>
                    </a:lnTo>
                    <a:lnTo>
                      <a:pt x="306" y="300"/>
                    </a:lnTo>
                    <a:lnTo>
                      <a:pt x="304" y="300"/>
                    </a:lnTo>
                    <a:lnTo>
                      <a:pt x="304" y="298"/>
                    </a:lnTo>
                    <a:lnTo>
                      <a:pt x="304" y="296"/>
                    </a:lnTo>
                    <a:lnTo>
                      <a:pt x="306" y="296"/>
                    </a:lnTo>
                    <a:lnTo>
                      <a:pt x="306" y="294"/>
                    </a:lnTo>
                    <a:lnTo>
                      <a:pt x="308" y="294"/>
                    </a:lnTo>
                    <a:lnTo>
                      <a:pt x="308" y="292"/>
                    </a:lnTo>
                    <a:lnTo>
                      <a:pt x="306" y="292"/>
                    </a:lnTo>
                    <a:lnTo>
                      <a:pt x="304" y="292"/>
                    </a:lnTo>
                    <a:lnTo>
                      <a:pt x="302" y="292"/>
                    </a:lnTo>
                    <a:lnTo>
                      <a:pt x="302" y="290"/>
                    </a:lnTo>
                    <a:lnTo>
                      <a:pt x="302" y="288"/>
                    </a:lnTo>
                    <a:lnTo>
                      <a:pt x="302" y="286"/>
                    </a:lnTo>
                    <a:lnTo>
                      <a:pt x="300" y="286"/>
                    </a:lnTo>
                    <a:lnTo>
                      <a:pt x="300" y="284"/>
                    </a:lnTo>
                    <a:lnTo>
                      <a:pt x="298" y="284"/>
                    </a:lnTo>
                    <a:lnTo>
                      <a:pt x="298" y="283"/>
                    </a:lnTo>
                    <a:lnTo>
                      <a:pt x="296" y="283"/>
                    </a:lnTo>
                    <a:lnTo>
                      <a:pt x="296" y="284"/>
                    </a:lnTo>
                    <a:lnTo>
                      <a:pt x="294" y="284"/>
                    </a:lnTo>
                    <a:lnTo>
                      <a:pt x="294" y="283"/>
                    </a:lnTo>
                    <a:lnTo>
                      <a:pt x="294" y="281"/>
                    </a:lnTo>
                    <a:lnTo>
                      <a:pt x="294" y="279"/>
                    </a:lnTo>
                    <a:lnTo>
                      <a:pt x="292" y="277"/>
                    </a:lnTo>
                    <a:lnTo>
                      <a:pt x="290" y="277"/>
                    </a:lnTo>
                    <a:lnTo>
                      <a:pt x="289" y="277"/>
                    </a:lnTo>
                    <a:lnTo>
                      <a:pt x="287" y="277"/>
                    </a:lnTo>
                    <a:lnTo>
                      <a:pt x="287" y="279"/>
                    </a:lnTo>
                    <a:lnTo>
                      <a:pt x="287" y="277"/>
                    </a:lnTo>
                    <a:lnTo>
                      <a:pt x="285" y="277"/>
                    </a:lnTo>
                    <a:lnTo>
                      <a:pt x="285" y="275"/>
                    </a:lnTo>
                    <a:lnTo>
                      <a:pt x="283" y="273"/>
                    </a:lnTo>
                    <a:lnTo>
                      <a:pt x="285" y="273"/>
                    </a:lnTo>
                    <a:lnTo>
                      <a:pt x="285" y="271"/>
                    </a:lnTo>
                    <a:lnTo>
                      <a:pt x="287" y="271"/>
                    </a:lnTo>
                    <a:lnTo>
                      <a:pt x="287" y="269"/>
                    </a:lnTo>
                    <a:lnTo>
                      <a:pt x="285" y="269"/>
                    </a:lnTo>
                    <a:lnTo>
                      <a:pt x="285" y="267"/>
                    </a:lnTo>
                    <a:lnTo>
                      <a:pt x="285" y="265"/>
                    </a:lnTo>
                    <a:lnTo>
                      <a:pt x="287" y="265"/>
                    </a:lnTo>
                    <a:lnTo>
                      <a:pt x="285" y="265"/>
                    </a:lnTo>
                    <a:lnTo>
                      <a:pt x="285" y="263"/>
                    </a:lnTo>
                    <a:lnTo>
                      <a:pt x="283" y="263"/>
                    </a:lnTo>
                    <a:lnTo>
                      <a:pt x="283" y="265"/>
                    </a:lnTo>
                    <a:lnTo>
                      <a:pt x="283" y="267"/>
                    </a:lnTo>
                    <a:lnTo>
                      <a:pt x="281" y="267"/>
                    </a:lnTo>
                    <a:lnTo>
                      <a:pt x="281" y="265"/>
                    </a:lnTo>
                    <a:lnTo>
                      <a:pt x="279" y="265"/>
                    </a:lnTo>
                    <a:lnTo>
                      <a:pt x="279" y="263"/>
                    </a:lnTo>
                    <a:lnTo>
                      <a:pt x="277" y="263"/>
                    </a:lnTo>
                    <a:lnTo>
                      <a:pt x="277" y="261"/>
                    </a:lnTo>
                    <a:lnTo>
                      <a:pt x="275" y="261"/>
                    </a:lnTo>
                    <a:lnTo>
                      <a:pt x="275" y="259"/>
                    </a:lnTo>
                    <a:lnTo>
                      <a:pt x="273" y="259"/>
                    </a:lnTo>
                    <a:lnTo>
                      <a:pt x="271" y="259"/>
                    </a:lnTo>
                    <a:lnTo>
                      <a:pt x="271" y="261"/>
                    </a:lnTo>
                    <a:lnTo>
                      <a:pt x="269" y="263"/>
                    </a:lnTo>
                    <a:lnTo>
                      <a:pt x="269" y="261"/>
                    </a:lnTo>
                    <a:lnTo>
                      <a:pt x="267" y="261"/>
                    </a:lnTo>
                    <a:lnTo>
                      <a:pt x="267" y="259"/>
                    </a:lnTo>
                    <a:lnTo>
                      <a:pt x="269" y="259"/>
                    </a:lnTo>
                    <a:lnTo>
                      <a:pt x="269" y="258"/>
                    </a:lnTo>
                    <a:lnTo>
                      <a:pt x="269" y="256"/>
                    </a:lnTo>
                    <a:lnTo>
                      <a:pt x="269" y="254"/>
                    </a:lnTo>
                    <a:lnTo>
                      <a:pt x="267" y="254"/>
                    </a:lnTo>
                    <a:lnTo>
                      <a:pt x="265" y="254"/>
                    </a:lnTo>
                    <a:lnTo>
                      <a:pt x="265" y="252"/>
                    </a:lnTo>
                    <a:lnTo>
                      <a:pt x="264" y="252"/>
                    </a:lnTo>
                    <a:lnTo>
                      <a:pt x="264" y="250"/>
                    </a:lnTo>
                    <a:lnTo>
                      <a:pt x="262" y="250"/>
                    </a:lnTo>
                    <a:lnTo>
                      <a:pt x="262" y="252"/>
                    </a:lnTo>
                    <a:lnTo>
                      <a:pt x="260" y="252"/>
                    </a:lnTo>
                    <a:lnTo>
                      <a:pt x="260" y="250"/>
                    </a:lnTo>
                    <a:lnTo>
                      <a:pt x="258" y="250"/>
                    </a:lnTo>
                    <a:lnTo>
                      <a:pt x="256" y="250"/>
                    </a:lnTo>
                    <a:lnTo>
                      <a:pt x="254" y="248"/>
                    </a:lnTo>
                    <a:lnTo>
                      <a:pt x="252" y="248"/>
                    </a:lnTo>
                    <a:lnTo>
                      <a:pt x="250" y="248"/>
                    </a:lnTo>
                    <a:lnTo>
                      <a:pt x="248" y="248"/>
                    </a:lnTo>
                    <a:lnTo>
                      <a:pt x="248" y="246"/>
                    </a:lnTo>
                    <a:lnTo>
                      <a:pt x="246" y="246"/>
                    </a:lnTo>
                    <a:lnTo>
                      <a:pt x="244" y="246"/>
                    </a:lnTo>
                    <a:lnTo>
                      <a:pt x="244" y="248"/>
                    </a:lnTo>
                    <a:lnTo>
                      <a:pt x="242" y="248"/>
                    </a:lnTo>
                    <a:lnTo>
                      <a:pt x="240" y="248"/>
                    </a:lnTo>
                    <a:lnTo>
                      <a:pt x="239" y="250"/>
                    </a:lnTo>
                    <a:lnTo>
                      <a:pt x="237" y="252"/>
                    </a:lnTo>
                    <a:lnTo>
                      <a:pt x="239" y="254"/>
                    </a:lnTo>
                    <a:lnTo>
                      <a:pt x="239" y="256"/>
                    </a:lnTo>
                    <a:lnTo>
                      <a:pt x="237" y="258"/>
                    </a:lnTo>
                    <a:lnTo>
                      <a:pt x="237" y="256"/>
                    </a:lnTo>
                    <a:lnTo>
                      <a:pt x="237" y="254"/>
                    </a:lnTo>
                    <a:lnTo>
                      <a:pt x="235" y="254"/>
                    </a:lnTo>
                    <a:lnTo>
                      <a:pt x="233" y="256"/>
                    </a:lnTo>
                    <a:lnTo>
                      <a:pt x="233" y="254"/>
                    </a:lnTo>
                    <a:lnTo>
                      <a:pt x="233" y="256"/>
                    </a:lnTo>
                    <a:lnTo>
                      <a:pt x="231" y="254"/>
                    </a:lnTo>
                    <a:lnTo>
                      <a:pt x="231" y="252"/>
                    </a:lnTo>
                    <a:lnTo>
                      <a:pt x="229" y="252"/>
                    </a:lnTo>
                    <a:lnTo>
                      <a:pt x="227" y="252"/>
                    </a:lnTo>
                    <a:lnTo>
                      <a:pt x="225" y="252"/>
                    </a:lnTo>
                    <a:lnTo>
                      <a:pt x="225" y="254"/>
                    </a:lnTo>
                    <a:lnTo>
                      <a:pt x="223" y="254"/>
                    </a:lnTo>
                    <a:lnTo>
                      <a:pt x="221" y="252"/>
                    </a:lnTo>
                    <a:lnTo>
                      <a:pt x="221" y="254"/>
                    </a:lnTo>
                    <a:lnTo>
                      <a:pt x="221" y="252"/>
                    </a:lnTo>
                    <a:lnTo>
                      <a:pt x="219" y="252"/>
                    </a:lnTo>
                    <a:lnTo>
                      <a:pt x="217" y="252"/>
                    </a:lnTo>
                    <a:lnTo>
                      <a:pt x="217" y="250"/>
                    </a:lnTo>
                    <a:lnTo>
                      <a:pt x="216" y="250"/>
                    </a:lnTo>
                    <a:lnTo>
                      <a:pt x="216" y="248"/>
                    </a:lnTo>
                    <a:lnTo>
                      <a:pt x="214" y="246"/>
                    </a:lnTo>
                    <a:lnTo>
                      <a:pt x="212" y="246"/>
                    </a:lnTo>
                    <a:lnTo>
                      <a:pt x="212" y="244"/>
                    </a:lnTo>
                    <a:lnTo>
                      <a:pt x="210" y="244"/>
                    </a:lnTo>
                    <a:lnTo>
                      <a:pt x="210" y="246"/>
                    </a:lnTo>
                    <a:lnTo>
                      <a:pt x="208" y="248"/>
                    </a:lnTo>
                    <a:lnTo>
                      <a:pt x="206" y="246"/>
                    </a:lnTo>
                    <a:lnTo>
                      <a:pt x="206" y="244"/>
                    </a:lnTo>
                    <a:lnTo>
                      <a:pt x="204" y="244"/>
                    </a:lnTo>
                    <a:lnTo>
                      <a:pt x="204" y="246"/>
                    </a:lnTo>
                    <a:lnTo>
                      <a:pt x="202" y="246"/>
                    </a:lnTo>
                    <a:lnTo>
                      <a:pt x="202" y="244"/>
                    </a:lnTo>
                    <a:lnTo>
                      <a:pt x="200" y="244"/>
                    </a:lnTo>
                    <a:lnTo>
                      <a:pt x="200" y="242"/>
                    </a:lnTo>
                    <a:lnTo>
                      <a:pt x="198" y="242"/>
                    </a:lnTo>
                    <a:lnTo>
                      <a:pt x="196" y="240"/>
                    </a:lnTo>
                    <a:lnTo>
                      <a:pt x="194" y="242"/>
                    </a:lnTo>
                    <a:lnTo>
                      <a:pt x="192" y="242"/>
                    </a:lnTo>
                    <a:lnTo>
                      <a:pt x="191" y="242"/>
                    </a:lnTo>
                    <a:lnTo>
                      <a:pt x="191" y="240"/>
                    </a:lnTo>
                    <a:lnTo>
                      <a:pt x="189" y="240"/>
                    </a:lnTo>
                    <a:lnTo>
                      <a:pt x="187" y="240"/>
                    </a:lnTo>
                    <a:lnTo>
                      <a:pt x="187" y="242"/>
                    </a:lnTo>
                    <a:lnTo>
                      <a:pt x="187" y="244"/>
                    </a:lnTo>
                    <a:lnTo>
                      <a:pt x="185" y="244"/>
                    </a:lnTo>
                    <a:lnTo>
                      <a:pt x="185" y="242"/>
                    </a:lnTo>
                    <a:lnTo>
                      <a:pt x="185" y="240"/>
                    </a:lnTo>
                    <a:lnTo>
                      <a:pt x="183" y="240"/>
                    </a:lnTo>
                    <a:lnTo>
                      <a:pt x="183" y="242"/>
                    </a:lnTo>
                    <a:lnTo>
                      <a:pt x="185" y="242"/>
                    </a:lnTo>
                    <a:lnTo>
                      <a:pt x="185" y="244"/>
                    </a:lnTo>
                    <a:lnTo>
                      <a:pt x="183" y="244"/>
                    </a:lnTo>
                    <a:lnTo>
                      <a:pt x="183" y="242"/>
                    </a:lnTo>
                    <a:lnTo>
                      <a:pt x="181" y="242"/>
                    </a:lnTo>
                    <a:lnTo>
                      <a:pt x="179" y="242"/>
                    </a:lnTo>
                    <a:lnTo>
                      <a:pt x="177" y="242"/>
                    </a:lnTo>
                    <a:lnTo>
                      <a:pt x="175" y="242"/>
                    </a:lnTo>
                    <a:lnTo>
                      <a:pt x="173" y="244"/>
                    </a:lnTo>
                    <a:lnTo>
                      <a:pt x="173" y="246"/>
                    </a:lnTo>
                    <a:lnTo>
                      <a:pt x="173" y="248"/>
                    </a:lnTo>
                    <a:lnTo>
                      <a:pt x="171" y="248"/>
                    </a:lnTo>
                    <a:lnTo>
                      <a:pt x="169" y="248"/>
                    </a:lnTo>
                    <a:lnTo>
                      <a:pt x="167" y="250"/>
                    </a:lnTo>
                    <a:lnTo>
                      <a:pt x="166" y="250"/>
                    </a:lnTo>
                    <a:lnTo>
                      <a:pt x="166" y="252"/>
                    </a:lnTo>
                    <a:lnTo>
                      <a:pt x="164" y="254"/>
                    </a:lnTo>
                    <a:lnTo>
                      <a:pt x="162" y="254"/>
                    </a:lnTo>
                    <a:lnTo>
                      <a:pt x="160" y="254"/>
                    </a:lnTo>
                    <a:lnTo>
                      <a:pt x="158" y="254"/>
                    </a:lnTo>
                    <a:lnTo>
                      <a:pt x="158" y="256"/>
                    </a:lnTo>
                    <a:lnTo>
                      <a:pt x="154" y="256"/>
                    </a:lnTo>
                    <a:lnTo>
                      <a:pt x="152" y="256"/>
                    </a:lnTo>
                    <a:lnTo>
                      <a:pt x="152" y="258"/>
                    </a:lnTo>
                    <a:lnTo>
                      <a:pt x="150" y="258"/>
                    </a:lnTo>
                    <a:lnTo>
                      <a:pt x="148" y="258"/>
                    </a:lnTo>
                    <a:lnTo>
                      <a:pt x="146" y="256"/>
                    </a:lnTo>
                    <a:lnTo>
                      <a:pt x="144" y="256"/>
                    </a:lnTo>
                    <a:lnTo>
                      <a:pt x="144" y="258"/>
                    </a:lnTo>
                    <a:lnTo>
                      <a:pt x="143" y="258"/>
                    </a:lnTo>
                    <a:lnTo>
                      <a:pt x="143" y="259"/>
                    </a:lnTo>
                    <a:lnTo>
                      <a:pt x="141" y="258"/>
                    </a:lnTo>
                    <a:lnTo>
                      <a:pt x="141" y="259"/>
                    </a:lnTo>
                    <a:lnTo>
                      <a:pt x="141" y="261"/>
                    </a:lnTo>
                    <a:lnTo>
                      <a:pt x="139" y="261"/>
                    </a:lnTo>
                    <a:lnTo>
                      <a:pt x="139" y="259"/>
                    </a:lnTo>
                    <a:lnTo>
                      <a:pt x="135" y="258"/>
                    </a:lnTo>
                    <a:lnTo>
                      <a:pt x="135" y="256"/>
                    </a:lnTo>
                    <a:lnTo>
                      <a:pt x="133" y="256"/>
                    </a:lnTo>
                    <a:lnTo>
                      <a:pt x="133" y="254"/>
                    </a:lnTo>
                    <a:lnTo>
                      <a:pt x="133" y="252"/>
                    </a:lnTo>
                    <a:lnTo>
                      <a:pt x="131" y="252"/>
                    </a:lnTo>
                    <a:lnTo>
                      <a:pt x="131" y="250"/>
                    </a:lnTo>
                    <a:lnTo>
                      <a:pt x="131" y="248"/>
                    </a:lnTo>
                    <a:lnTo>
                      <a:pt x="129" y="244"/>
                    </a:lnTo>
                    <a:lnTo>
                      <a:pt x="127" y="244"/>
                    </a:lnTo>
                    <a:lnTo>
                      <a:pt x="127" y="242"/>
                    </a:lnTo>
                    <a:lnTo>
                      <a:pt x="127" y="240"/>
                    </a:lnTo>
                    <a:lnTo>
                      <a:pt x="127" y="238"/>
                    </a:lnTo>
                    <a:lnTo>
                      <a:pt x="125" y="236"/>
                    </a:lnTo>
                    <a:lnTo>
                      <a:pt x="125" y="235"/>
                    </a:lnTo>
                    <a:lnTo>
                      <a:pt x="123" y="235"/>
                    </a:lnTo>
                    <a:lnTo>
                      <a:pt x="121" y="233"/>
                    </a:lnTo>
                    <a:lnTo>
                      <a:pt x="121" y="231"/>
                    </a:lnTo>
                    <a:lnTo>
                      <a:pt x="119" y="229"/>
                    </a:lnTo>
                    <a:lnTo>
                      <a:pt x="119" y="231"/>
                    </a:lnTo>
                    <a:lnTo>
                      <a:pt x="118" y="231"/>
                    </a:lnTo>
                    <a:lnTo>
                      <a:pt x="118" y="229"/>
                    </a:lnTo>
                    <a:lnTo>
                      <a:pt x="116" y="229"/>
                    </a:lnTo>
                    <a:lnTo>
                      <a:pt x="116" y="227"/>
                    </a:lnTo>
                    <a:lnTo>
                      <a:pt x="114" y="227"/>
                    </a:lnTo>
                    <a:lnTo>
                      <a:pt x="114" y="225"/>
                    </a:lnTo>
                    <a:lnTo>
                      <a:pt x="112" y="225"/>
                    </a:lnTo>
                    <a:lnTo>
                      <a:pt x="112" y="223"/>
                    </a:lnTo>
                    <a:lnTo>
                      <a:pt x="112" y="221"/>
                    </a:lnTo>
                    <a:lnTo>
                      <a:pt x="112" y="219"/>
                    </a:lnTo>
                    <a:lnTo>
                      <a:pt x="114" y="219"/>
                    </a:lnTo>
                    <a:lnTo>
                      <a:pt x="114" y="217"/>
                    </a:lnTo>
                    <a:lnTo>
                      <a:pt x="114" y="215"/>
                    </a:lnTo>
                    <a:lnTo>
                      <a:pt x="114" y="213"/>
                    </a:lnTo>
                    <a:lnTo>
                      <a:pt x="112" y="213"/>
                    </a:lnTo>
                    <a:lnTo>
                      <a:pt x="112" y="211"/>
                    </a:lnTo>
                    <a:lnTo>
                      <a:pt x="112" y="210"/>
                    </a:lnTo>
                    <a:lnTo>
                      <a:pt x="110" y="208"/>
                    </a:lnTo>
                    <a:lnTo>
                      <a:pt x="110" y="206"/>
                    </a:lnTo>
                    <a:lnTo>
                      <a:pt x="108" y="206"/>
                    </a:lnTo>
                    <a:lnTo>
                      <a:pt x="108" y="204"/>
                    </a:lnTo>
                    <a:lnTo>
                      <a:pt x="108" y="202"/>
                    </a:lnTo>
                    <a:lnTo>
                      <a:pt x="108" y="200"/>
                    </a:lnTo>
                    <a:lnTo>
                      <a:pt x="110" y="198"/>
                    </a:lnTo>
                    <a:lnTo>
                      <a:pt x="112" y="198"/>
                    </a:lnTo>
                    <a:lnTo>
                      <a:pt x="114" y="198"/>
                    </a:lnTo>
                    <a:lnTo>
                      <a:pt x="114" y="200"/>
                    </a:lnTo>
                    <a:lnTo>
                      <a:pt x="116" y="202"/>
                    </a:lnTo>
                    <a:lnTo>
                      <a:pt x="118" y="200"/>
                    </a:lnTo>
                    <a:lnTo>
                      <a:pt x="119" y="198"/>
                    </a:lnTo>
                    <a:lnTo>
                      <a:pt x="119" y="196"/>
                    </a:lnTo>
                    <a:lnTo>
                      <a:pt x="121" y="198"/>
                    </a:lnTo>
                    <a:lnTo>
                      <a:pt x="121" y="196"/>
                    </a:lnTo>
                    <a:lnTo>
                      <a:pt x="121" y="194"/>
                    </a:lnTo>
                    <a:lnTo>
                      <a:pt x="121" y="192"/>
                    </a:lnTo>
                    <a:lnTo>
                      <a:pt x="119" y="192"/>
                    </a:lnTo>
                    <a:lnTo>
                      <a:pt x="118" y="190"/>
                    </a:lnTo>
                    <a:lnTo>
                      <a:pt x="116" y="190"/>
                    </a:lnTo>
                    <a:lnTo>
                      <a:pt x="116" y="188"/>
                    </a:lnTo>
                    <a:lnTo>
                      <a:pt x="114" y="188"/>
                    </a:lnTo>
                    <a:lnTo>
                      <a:pt x="112" y="188"/>
                    </a:lnTo>
                    <a:lnTo>
                      <a:pt x="112" y="186"/>
                    </a:lnTo>
                    <a:lnTo>
                      <a:pt x="112" y="185"/>
                    </a:lnTo>
                    <a:lnTo>
                      <a:pt x="110" y="183"/>
                    </a:lnTo>
                    <a:lnTo>
                      <a:pt x="110" y="181"/>
                    </a:lnTo>
                    <a:lnTo>
                      <a:pt x="110" y="179"/>
                    </a:lnTo>
                    <a:lnTo>
                      <a:pt x="110" y="177"/>
                    </a:lnTo>
                    <a:lnTo>
                      <a:pt x="108" y="177"/>
                    </a:lnTo>
                    <a:lnTo>
                      <a:pt x="108" y="175"/>
                    </a:lnTo>
                    <a:lnTo>
                      <a:pt x="108" y="173"/>
                    </a:lnTo>
                    <a:lnTo>
                      <a:pt x="106" y="173"/>
                    </a:lnTo>
                    <a:lnTo>
                      <a:pt x="106" y="175"/>
                    </a:lnTo>
                    <a:lnTo>
                      <a:pt x="104" y="175"/>
                    </a:lnTo>
                    <a:lnTo>
                      <a:pt x="104" y="177"/>
                    </a:lnTo>
                    <a:lnTo>
                      <a:pt x="102" y="177"/>
                    </a:lnTo>
                    <a:lnTo>
                      <a:pt x="102" y="179"/>
                    </a:lnTo>
                    <a:lnTo>
                      <a:pt x="102" y="181"/>
                    </a:lnTo>
                    <a:lnTo>
                      <a:pt x="100" y="181"/>
                    </a:lnTo>
                    <a:lnTo>
                      <a:pt x="100" y="179"/>
                    </a:lnTo>
                    <a:lnTo>
                      <a:pt x="100" y="177"/>
                    </a:lnTo>
                    <a:lnTo>
                      <a:pt x="100" y="175"/>
                    </a:lnTo>
                    <a:lnTo>
                      <a:pt x="98" y="173"/>
                    </a:lnTo>
                    <a:lnTo>
                      <a:pt x="100" y="171"/>
                    </a:lnTo>
                    <a:lnTo>
                      <a:pt x="100" y="169"/>
                    </a:lnTo>
                    <a:lnTo>
                      <a:pt x="102" y="167"/>
                    </a:lnTo>
                    <a:lnTo>
                      <a:pt x="102" y="165"/>
                    </a:lnTo>
                    <a:lnTo>
                      <a:pt x="102" y="163"/>
                    </a:lnTo>
                    <a:lnTo>
                      <a:pt x="102" y="161"/>
                    </a:lnTo>
                    <a:lnTo>
                      <a:pt x="104" y="161"/>
                    </a:lnTo>
                    <a:lnTo>
                      <a:pt x="104" y="160"/>
                    </a:lnTo>
                    <a:lnTo>
                      <a:pt x="104" y="158"/>
                    </a:lnTo>
                    <a:lnTo>
                      <a:pt x="104" y="156"/>
                    </a:lnTo>
                    <a:lnTo>
                      <a:pt x="104" y="154"/>
                    </a:lnTo>
                    <a:lnTo>
                      <a:pt x="102" y="154"/>
                    </a:lnTo>
                    <a:lnTo>
                      <a:pt x="102" y="152"/>
                    </a:lnTo>
                    <a:lnTo>
                      <a:pt x="102" y="148"/>
                    </a:lnTo>
                    <a:lnTo>
                      <a:pt x="104" y="148"/>
                    </a:lnTo>
                    <a:lnTo>
                      <a:pt x="104" y="146"/>
                    </a:lnTo>
                    <a:lnTo>
                      <a:pt x="102" y="146"/>
                    </a:lnTo>
                    <a:lnTo>
                      <a:pt x="100" y="144"/>
                    </a:lnTo>
                    <a:lnTo>
                      <a:pt x="100" y="142"/>
                    </a:lnTo>
                    <a:lnTo>
                      <a:pt x="98" y="140"/>
                    </a:lnTo>
                    <a:lnTo>
                      <a:pt x="100" y="140"/>
                    </a:lnTo>
                    <a:lnTo>
                      <a:pt x="100" y="138"/>
                    </a:lnTo>
                    <a:lnTo>
                      <a:pt x="100" y="136"/>
                    </a:lnTo>
                    <a:lnTo>
                      <a:pt x="98" y="136"/>
                    </a:lnTo>
                    <a:lnTo>
                      <a:pt x="98" y="135"/>
                    </a:lnTo>
                    <a:lnTo>
                      <a:pt x="98" y="133"/>
                    </a:lnTo>
                    <a:lnTo>
                      <a:pt x="98" y="131"/>
                    </a:lnTo>
                    <a:lnTo>
                      <a:pt x="96" y="127"/>
                    </a:lnTo>
                    <a:lnTo>
                      <a:pt x="96" y="125"/>
                    </a:lnTo>
                    <a:lnTo>
                      <a:pt x="94" y="127"/>
                    </a:lnTo>
                    <a:lnTo>
                      <a:pt x="94" y="125"/>
                    </a:lnTo>
                    <a:lnTo>
                      <a:pt x="94" y="123"/>
                    </a:lnTo>
                    <a:lnTo>
                      <a:pt x="93" y="123"/>
                    </a:lnTo>
                    <a:lnTo>
                      <a:pt x="93" y="121"/>
                    </a:lnTo>
                    <a:lnTo>
                      <a:pt x="91" y="119"/>
                    </a:lnTo>
                    <a:lnTo>
                      <a:pt x="91" y="121"/>
                    </a:lnTo>
                    <a:lnTo>
                      <a:pt x="89" y="119"/>
                    </a:lnTo>
                    <a:lnTo>
                      <a:pt x="87" y="119"/>
                    </a:lnTo>
                    <a:lnTo>
                      <a:pt x="87" y="121"/>
                    </a:lnTo>
                    <a:lnTo>
                      <a:pt x="85" y="121"/>
                    </a:lnTo>
                    <a:lnTo>
                      <a:pt x="85" y="123"/>
                    </a:lnTo>
                    <a:lnTo>
                      <a:pt x="85" y="125"/>
                    </a:lnTo>
                    <a:lnTo>
                      <a:pt x="85" y="129"/>
                    </a:lnTo>
                    <a:lnTo>
                      <a:pt x="83" y="129"/>
                    </a:lnTo>
                    <a:lnTo>
                      <a:pt x="81" y="129"/>
                    </a:lnTo>
                    <a:lnTo>
                      <a:pt x="81" y="131"/>
                    </a:lnTo>
                    <a:lnTo>
                      <a:pt x="79" y="131"/>
                    </a:lnTo>
                    <a:lnTo>
                      <a:pt x="79" y="133"/>
                    </a:lnTo>
                    <a:lnTo>
                      <a:pt x="77" y="131"/>
                    </a:lnTo>
                    <a:lnTo>
                      <a:pt x="75" y="131"/>
                    </a:lnTo>
                    <a:lnTo>
                      <a:pt x="75" y="129"/>
                    </a:lnTo>
                    <a:lnTo>
                      <a:pt x="75" y="127"/>
                    </a:lnTo>
                    <a:lnTo>
                      <a:pt x="75" y="125"/>
                    </a:lnTo>
                    <a:lnTo>
                      <a:pt x="73" y="123"/>
                    </a:lnTo>
                    <a:lnTo>
                      <a:pt x="73" y="121"/>
                    </a:lnTo>
                    <a:lnTo>
                      <a:pt x="71" y="119"/>
                    </a:lnTo>
                    <a:lnTo>
                      <a:pt x="71" y="117"/>
                    </a:lnTo>
                    <a:lnTo>
                      <a:pt x="69" y="117"/>
                    </a:lnTo>
                    <a:lnTo>
                      <a:pt x="69" y="113"/>
                    </a:lnTo>
                    <a:lnTo>
                      <a:pt x="71" y="113"/>
                    </a:lnTo>
                    <a:lnTo>
                      <a:pt x="71" y="111"/>
                    </a:lnTo>
                    <a:lnTo>
                      <a:pt x="69" y="111"/>
                    </a:lnTo>
                    <a:lnTo>
                      <a:pt x="69" y="110"/>
                    </a:lnTo>
                    <a:lnTo>
                      <a:pt x="68" y="110"/>
                    </a:lnTo>
                    <a:lnTo>
                      <a:pt x="66" y="108"/>
                    </a:lnTo>
                    <a:lnTo>
                      <a:pt x="66" y="106"/>
                    </a:lnTo>
                    <a:lnTo>
                      <a:pt x="66" y="104"/>
                    </a:lnTo>
                    <a:lnTo>
                      <a:pt x="66" y="102"/>
                    </a:lnTo>
                    <a:lnTo>
                      <a:pt x="64" y="102"/>
                    </a:lnTo>
                    <a:lnTo>
                      <a:pt x="64" y="100"/>
                    </a:lnTo>
                    <a:lnTo>
                      <a:pt x="64" y="98"/>
                    </a:lnTo>
                    <a:lnTo>
                      <a:pt x="62" y="98"/>
                    </a:lnTo>
                    <a:lnTo>
                      <a:pt x="60" y="98"/>
                    </a:lnTo>
                    <a:lnTo>
                      <a:pt x="60" y="100"/>
                    </a:lnTo>
                    <a:lnTo>
                      <a:pt x="58" y="100"/>
                    </a:lnTo>
                    <a:lnTo>
                      <a:pt x="56" y="100"/>
                    </a:lnTo>
                    <a:lnTo>
                      <a:pt x="54" y="102"/>
                    </a:lnTo>
                    <a:lnTo>
                      <a:pt x="52" y="102"/>
                    </a:lnTo>
                    <a:lnTo>
                      <a:pt x="50" y="104"/>
                    </a:lnTo>
                    <a:lnTo>
                      <a:pt x="50" y="106"/>
                    </a:lnTo>
                    <a:lnTo>
                      <a:pt x="48" y="106"/>
                    </a:lnTo>
                    <a:lnTo>
                      <a:pt x="46" y="108"/>
                    </a:lnTo>
                    <a:lnTo>
                      <a:pt x="46" y="110"/>
                    </a:lnTo>
                    <a:lnTo>
                      <a:pt x="45" y="110"/>
                    </a:lnTo>
                    <a:lnTo>
                      <a:pt x="43" y="110"/>
                    </a:lnTo>
                    <a:lnTo>
                      <a:pt x="41" y="111"/>
                    </a:lnTo>
                    <a:lnTo>
                      <a:pt x="41" y="113"/>
                    </a:lnTo>
                    <a:lnTo>
                      <a:pt x="43" y="113"/>
                    </a:lnTo>
                    <a:lnTo>
                      <a:pt x="41" y="115"/>
                    </a:lnTo>
                    <a:lnTo>
                      <a:pt x="39" y="115"/>
                    </a:lnTo>
                    <a:lnTo>
                      <a:pt x="37" y="115"/>
                    </a:lnTo>
                    <a:lnTo>
                      <a:pt x="37" y="113"/>
                    </a:lnTo>
                    <a:lnTo>
                      <a:pt x="35" y="113"/>
                    </a:lnTo>
                    <a:lnTo>
                      <a:pt x="33" y="113"/>
                    </a:lnTo>
                    <a:lnTo>
                      <a:pt x="33" y="115"/>
                    </a:lnTo>
                    <a:lnTo>
                      <a:pt x="31" y="117"/>
                    </a:lnTo>
                    <a:lnTo>
                      <a:pt x="31" y="119"/>
                    </a:lnTo>
                    <a:lnTo>
                      <a:pt x="31" y="117"/>
                    </a:lnTo>
                    <a:lnTo>
                      <a:pt x="31" y="115"/>
                    </a:lnTo>
                    <a:lnTo>
                      <a:pt x="31" y="117"/>
                    </a:lnTo>
                    <a:lnTo>
                      <a:pt x="31" y="115"/>
                    </a:lnTo>
                    <a:lnTo>
                      <a:pt x="29" y="115"/>
                    </a:lnTo>
                    <a:lnTo>
                      <a:pt x="29" y="113"/>
                    </a:lnTo>
                    <a:lnTo>
                      <a:pt x="29" y="111"/>
                    </a:lnTo>
                    <a:lnTo>
                      <a:pt x="29" y="110"/>
                    </a:lnTo>
                    <a:lnTo>
                      <a:pt x="29" y="108"/>
                    </a:lnTo>
                    <a:lnTo>
                      <a:pt x="27" y="108"/>
                    </a:lnTo>
                    <a:lnTo>
                      <a:pt x="27" y="106"/>
                    </a:lnTo>
                    <a:lnTo>
                      <a:pt x="25" y="106"/>
                    </a:lnTo>
                    <a:lnTo>
                      <a:pt x="25" y="104"/>
                    </a:lnTo>
                    <a:lnTo>
                      <a:pt x="23" y="104"/>
                    </a:lnTo>
                    <a:lnTo>
                      <a:pt x="23" y="102"/>
                    </a:lnTo>
                    <a:lnTo>
                      <a:pt x="23" y="100"/>
                    </a:lnTo>
                    <a:lnTo>
                      <a:pt x="25" y="98"/>
                    </a:lnTo>
                    <a:lnTo>
                      <a:pt x="27" y="96"/>
                    </a:lnTo>
                    <a:lnTo>
                      <a:pt x="27" y="94"/>
                    </a:lnTo>
                    <a:lnTo>
                      <a:pt x="29" y="94"/>
                    </a:lnTo>
                    <a:lnTo>
                      <a:pt x="31" y="94"/>
                    </a:lnTo>
                    <a:lnTo>
                      <a:pt x="31" y="92"/>
                    </a:lnTo>
                    <a:lnTo>
                      <a:pt x="33" y="92"/>
                    </a:lnTo>
                    <a:lnTo>
                      <a:pt x="35" y="92"/>
                    </a:lnTo>
                    <a:lnTo>
                      <a:pt x="35" y="90"/>
                    </a:lnTo>
                    <a:lnTo>
                      <a:pt x="37" y="90"/>
                    </a:lnTo>
                    <a:lnTo>
                      <a:pt x="37" y="88"/>
                    </a:lnTo>
                    <a:lnTo>
                      <a:pt x="37" y="86"/>
                    </a:lnTo>
                    <a:lnTo>
                      <a:pt x="35" y="86"/>
                    </a:lnTo>
                    <a:lnTo>
                      <a:pt x="33" y="86"/>
                    </a:lnTo>
                    <a:lnTo>
                      <a:pt x="31" y="86"/>
                    </a:lnTo>
                    <a:lnTo>
                      <a:pt x="31" y="85"/>
                    </a:lnTo>
                    <a:lnTo>
                      <a:pt x="31" y="83"/>
                    </a:lnTo>
                    <a:lnTo>
                      <a:pt x="29" y="83"/>
                    </a:lnTo>
                    <a:lnTo>
                      <a:pt x="29" y="85"/>
                    </a:lnTo>
                    <a:lnTo>
                      <a:pt x="25" y="83"/>
                    </a:lnTo>
                    <a:lnTo>
                      <a:pt x="25" y="81"/>
                    </a:lnTo>
                    <a:lnTo>
                      <a:pt x="25" y="79"/>
                    </a:lnTo>
                    <a:lnTo>
                      <a:pt x="25" y="77"/>
                    </a:lnTo>
                    <a:lnTo>
                      <a:pt x="23" y="77"/>
                    </a:lnTo>
                    <a:lnTo>
                      <a:pt x="23" y="79"/>
                    </a:lnTo>
                    <a:lnTo>
                      <a:pt x="21" y="79"/>
                    </a:lnTo>
                    <a:lnTo>
                      <a:pt x="20" y="79"/>
                    </a:lnTo>
                    <a:lnTo>
                      <a:pt x="20" y="77"/>
                    </a:lnTo>
                    <a:lnTo>
                      <a:pt x="18" y="77"/>
                    </a:lnTo>
                    <a:lnTo>
                      <a:pt x="18" y="79"/>
                    </a:lnTo>
                    <a:lnTo>
                      <a:pt x="16" y="79"/>
                    </a:lnTo>
                    <a:lnTo>
                      <a:pt x="14" y="79"/>
                    </a:lnTo>
                    <a:lnTo>
                      <a:pt x="14" y="77"/>
                    </a:lnTo>
                    <a:lnTo>
                      <a:pt x="14" y="75"/>
                    </a:lnTo>
                    <a:lnTo>
                      <a:pt x="12" y="75"/>
                    </a:lnTo>
                    <a:lnTo>
                      <a:pt x="10" y="75"/>
                    </a:lnTo>
                    <a:lnTo>
                      <a:pt x="10" y="73"/>
                    </a:lnTo>
                    <a:lnTo>
                      <a:pt x="8" y="73"/>
                    </a:lnTo>
                    <a:lnTo>
                      <a:pt x="8" y="71"/>
                    </a:lnTo>
                    <a:lnTo>
                      <a:pt x="8" y="69"/>
                    </a:lnTo>
                    <a:lnTo>
                      <a:pt x="10" y="67"/>
                    </a:lnTo>
                    <a:lnTo>
                      <a:pt x="8" y="65"/>
                    </a:lnTo>
                    <a:lnTo>
                      <a:pt x="6" y="67"/>
                    </a:lnTo>
                    <a:lnTo>
                      <a:pt x="6" y="65"/>
                    </a:lnTo>
                    <a:lnTo>
                      <a:pt x="6" y="63"/>
                    </a:lnTo>
                    <a:lnTo>
                      <a:pt x="4" y="63"/>
                    </a:lnTo>
                    <a:lnTo>
                      <a:pt x="4" y="65"/>
                    </a:lnTo>
                    <a:lnTo>
                      <a:pt x="2" y="65"/>
                    </a:lnTo>
                    <a:lnTo>
                      <a:pt x="2" y="63"/>
                    </a:lnTo>
                    <a:lnTo>
                      <a:pt x="0" y="63"/>
                    </a:lnTo>
                    <a:lnTo>
                      <a:pt x="0" y="61"/>
                    </a:lnTo>
                    <a:lnTo>
                      <a:pt x="2" y="60"/>
                    </a:lnTo>
                    <a:lnTo>
                      <a:pt x="0" y="60"/>
                    </a:lnTo>
                    <a:lnTo>
                      <a:pt x="2" y="58"/>
                    </a:lnTo>
                    <a:lnTo>
                      <a:pt x="4" y="56"/>
                    </a:lnTo>
                    <a:lnTo>
                      <a:pt x="4" y="54"/>
                    </a:lnTo>
                    <a:lnTo>
                      <a:pt x="4" y="52"/>
                    </a:lnTo>
                    <a:lnTo>
                      <a:pt x="6" y="52"/>
                    </a:lnTo>
                    <a:lnTo>
                      <a:pt x="8" y="50"/>
                    </a:lnTo>
                    <a:lnTo>
                      <a:pt x="8" y="52"/>
                    </a:lnTo>
                    <a:lnTo>
                      <a:pt x="8" y="50"/>
                    </a:lnTo>
                    <a:lnTo>
                      <a:pt x="10" y="50"/>
                    </a:lnTo>
                    <a:lnTo>
                      <a:pt x="12" y="48"/>
                    </a:lnTo>
                    <a:lnTo>
                      <a:pt x="12" y="46"/>
                    </a:lnTo>
                    <a:lnTo>
                      <a:pt x="14" y="46"/>
                    </a:lnTo>
                    <a:lnTo>
                      <a:pt x="14" y="44"/>
                    </a:lnTo>
                    <a:lnTo>
                      <a:pt x="16" y="44"/>
                    </a:lnTo>
                    <a:lnTo>
                      <a:pt x="16" y="42"/>
                    </a:lnTo>
                    <a:lnTo>
                      <a:pt x="16" y="40"/>
                    </a:lnTo>
                    <a:lnTo>
                      <a:pt x="18" y="40"/>
                    </a:lnTo>
                    <a:lnTo>
                      <a:pt x="20" y="40"/>
                    </a:lnTo>
                    <a:lnTo>
                      <a:pt x="21" y="38"/>
                    </a:lnTo>
                    <a:lnTo>
                      <a:pt x="23" y="38"/>
                    </a:lnTo>
                    <a:lnTo>
                      <a:pt x="23" y="36"/>
                    </a:lnTo>
                    <a:lnTo>
                      <a:pt x="25" y="38"/>
                    </a:lnTo>
                    <a:lnTo>
                      <a:pt x="27" y="38"/>
                    </a:lnTo>
                    <a:lnTo>
                      <a:pt x="27" y="36"/>
                    </a:lnTo>
                    <a:lnTo>
                      <a:pt x="29" y="36"/>
                    </a:lnTo>
                    <a:lnTo>
                      <a:pt x="31" y="36"/>
                    </a:lnTo>
                    <a:lnTo>
                      <a:pt x="33" y="36"/>
                    </a:lnTo>
                    <a:lnTo>
                      <a:pt x="31" y="35"/>
                    </a:lnTo>
                    <a:lnTo>
                      <a:pt x="33" y="35"/>
                    </a:lnTo>
                    <a:lnTo>
                      <a:pt x="35" y="35"/>
                    </a:lnTo>
                    <a:lnTo>
                      <a:pt x="35" y="33"/>
                    </a:lnTo>
                    <a:lnTo>
                      <a:pt x="37" y="35"/>
                    </a:lnTo>
                    <a:lnTo>
                      <a:pt x="39" y="33"/>
                    </a:lnTo>
                    <a:lnTo>
                      <a:pt x="39" y="35"/>
                    </a:lnTo>
                    <a:lnTo>
                      <a:pt x="41" y="35"/>
                    </a:lnTo>
                    <a:lnTo>
                      <a:pt x="41" y="36"/>
                    </a:lnTo>
                    <a:lnTo>
                      <a:pt x="43" y="36"/>
                    </a:lnTo>
                    <a:lnTo>
                      <a:pt x="43" y="35"/>
                    </a:lnTo>
                    <a:lnTo>
                      <a:pt x="45" y="35"/>
                    </a:lnTo>
                    <a:lnTo>
                      <a:pt x="46" y="35"/>
                    </a:lnTo>
                    <a:lnTo>
                      <a:pt x="48" y="35"/>
                    </a:lnTo>
                    <a:lnTo>
                      <a:pt x="50" y="35"/>
                    </a:lnTo>
                    <a:lnTo>
                      <a:pt x="52" y="35"/>
                    </a:lnTo>
                    <a:lnTo>
                      <a:pt x="54" y="35"/>
                    </a:lnTo>
                    <a:lnTo>
                      <a:pt x="56" y="36"/>
                    </a:lnTo>
                    <a:lnTo>
                      <a:pt x="56" y="38"/>
                    </a:lnTo>
                    <a:lnTo>
                      <a:pt x="56" y="40"/>
                    </a:lnTo>
                    <a:lnTo>
                      <a:pt x="58" y="42"/>
                    </a:lnTo>
                    <a:lnTo>
                      <a:pt x="60" y="40"/>
                    </a:lnTo>
                    <a:lnTo>
                      <a:pt x="60" y="42"/>
                    </a:lnTo>
                    <a:lnTo>
                      <a:pt x="62" y="44"/>
                    </a:lnTo>
                    <a:lnTo>
                      <a:pt x="62" y="46"/>
                    </a:lnTo>
                    <a:lnTo>
                      <a:pt x="62" y="48"/>
                    </a:lnTo>
                    <a:lnTo>
                      <a:pt x="64" y="48"/>
                    </a:lnTo>
                    <a:lnTo>
                      <a:pt x="64" y="46"/>
                    </a:lnTo>
                    <a:lnTo>
                      <a:pt x="69" y="46"/>
                    </a:lnTo>
                    <a:lnTo>
                      <a:pt x="71" y="46"/>
                    </a:lnTo>
                    <a:lnTo>
                      <a:pt x="73" y="44"/>
                    </a:lnTo>
                    <a:lnTo>
                      <a:pt x="75" y="44"/>
                    </a:lnTo>
                    <a:lnTo>
                      <a:pt x="77" y="42"/>
                    </a:lnTo>
                    <a:lnTo>
                      <a:pt x="79" y="42"/>
                    </a:lnTo>
                    <a:lnTo>
                      <a:pt x="81" y="44"/>
                    </a:lnTo>
                    <a:lnTo>
                      <a:pt x="81" y="46"/>
                    </a:lnTo>
                    <a:lnTo>
                      <a:pt x="83" y="46"/>
                    </a:lnTo>
                    <a:lnTo>
                      <a:pt x="85" y="48"/>
                    </a:lnTo>
                    <a:lnTo>
                      <a:pt x="87" y="48"/>
                    </a:lnTo>
                    <a:lnTo>
                      <a:pt x="89" y="48"/>
                    </a:lnTo>
                    <a:lnTo>
                      <a:pt x="91" y="50"/>
                    </a:lnTo>
                    <a:lnTo>
                      <a:pt x="93" y="52"/>
                    </a:lnTo>
                    <a:lnTo>
                      <a:pt x="94" y="52"/>
                    </a:lnTo>
                    <a:lnTo>
                      <a:pt x="94" y="54"/>
                    </a:lnTo>
                    <a:lnTo>
                      <a:pt x="96" y="54"/>
                    </a:lnTo>
                    <a:lnTo>
                      <a:pt x="96" y="56"/>
                    </a:lnTo>
                    <a:lnTo>
                      <a:pt x="98" y="56"/>
                    </a:lnTo>
                    <a:lnTo>
                      <a:pt x="100" y="56"/>
                    </a:lnTo>
                    <a:lnTo>
                      <a:pt x="100" y="54"/>
                    </a:lnTo>
                    <a:lnTo>
                      <a:pt x="102" y="54"/>
                    </a:lnTo>
                    <a:lnTo>
                      <a:pt x="104" y="54"/>
                    </a:lnTo>
                    <a:lnTo>
                      <a:pt x="104" y="52"/>
                    </a:lnTo>
                    <a:lnTo>
                      <a:pt x="102" y="52"/>
                    </a:lnTo>
                    <a:lnTo>
                      <a:pt x="102" y="50"/>
                    </a:lnTo>
                    <a:lnTo>
                      <a:pt x="104" y="50"/>
                    </a:lnTo>
                    <a:lnTo>
                      <a:pt x="102" y="50"/>
                    </a:lnTo>
                    <a:lnTo>
                      <a:pt x="102" y="48"/>
                    </a:lnTo>
                    <a:lnTo>
                      <a:pt x="104" y="48"/>
                    </a:lnTo>
                    <a:lnTo>
                      <a:pt x="104" y="46"/>
                    </a:lnTo>
                    <a:lnTo>
                      <a:pt x="106" y="46"/>
                    </a:lnTo>
                    <a:lnTo>
                      <a:pt x="106" y="48"/>
                    </a:lnTo>
                    <a:lnTo>
                      <a:pt x="108" y="50"/>
                    </a:lnTo>
                    <a:lnTo>
                      <a:pt x="110" y="50"/>
                    </a:lnTo>
                    <a:lnTo>
                      <a:pt x="110" y="52"/>
                    </a:lnTo>
                    <a:lnTo>
                      <a:pt x="112" y="52"/>
                    </a:lnTo>
                    <a:lnTo>
                      <a:pt x="114" y="52"/>
                    </a:lnTo>
                    <a:lnTo>
                      <a:pt x="114" y="54"/>
                    </a:lnTo>
                    <a:lnTo>
                      <a:pt x="116" y="54"/>
                    </a:lnTo>
                    <a:lnTo>
                      <a:pt x="118" y="54"/>
                    </a:lnTo>
                    <a:lnTo>
                      <a:pt x="119" y="54"/>
                    </a:lnTo>
                    <a:lnTo>
                      <a:pt x="121" y="54"/>
                    </a:lnTo>
                    <a:lnTo>
                      <a:pt x="123" y="54"/>
                    </a:lnTo>
                    <a:lnTo>
                      <a:pt x="125" y="52"/>
                    </a:lnTo>
                    <a:lnTo>
                      <a:pt x="127" y="52"/>
                    </a:lnTo>
                    <a:lnTo>
                      <a:pt x="129" y="52"/>
                    </a:lnTo>
                    <a:lnTo>
                      <a:pt x="131" y="52"/>
                    </a:lnTo>
                    <a:lnTo>
                      <a:pt x="133" y="52"/>
                    </a:lnTo>
                    <a:lnTo>
                      <a:pt x="135" y="52"/>
                    </a:lnTo>
                    <a:lnTo>
                      <a:pt x="135" y="50"/>
                    </a:lnTo>
                    <a:lnTo>
                      <a:pt x="137" y="50"/>
                    </a:lnTo>
                    <a:lnTo>
                      <a:pt x="139" y="50"/>
                    </a:lnTo>
                    <a:lnTo>
                      <a:pt x="141" y="50"/>
                    </a:lnTo>
                    <a:lnTo>
                      <a:pt x="141" y="52"/>
                    </a:lnTo>
                    <a:lnTo>
                      <a:pt x="143" y="52"/>
                    </a:lnTo>
                    <a:lnTo>
                      <a:pt x="143" y="54"/>
                    </a:lnTo>
                    <a:lnTo>
                      <a:pt x="144" y="54"/>
                    </a:lnTo>
                    <a:lnTo>
                      <a:pt x="144" y="56"/>
                    </a:lnTo>
                    <a:lnTo>
                      <a:pt x="146" y="56"/>
                    </a:lnTo>
                    <a:lnTo>
                      <a:pt x="146" y="58"/>
                    </a:lnTo>
                    <a:lnTo>
                      <a:pt x="148" y="58"/>
                    </a:lnTo>
                    <a:lnTo>
                      <a:pt x="148" y="60"/>
                    </a:lnTo>
                    <a:lnTo>
                      <a:pt x="150" y="58"/>
                    </a:lnTo>
                    <a:lnTo>
                      <a:pt x="150" y="60"/>
                    </a:lnTo>
                    <a:lnTo>
                      <a:pt x="152" y="60"/>
                    </a:lnTo>
                    <a:lnTo>
                      <a:pt x="152" y="61"/>
                    </a:lnTo>
                    <a:lnTo>
                      <a:pt x="154" y="61"/>
                    </a:lnTo>
                    <a:lnTo>
                      <a:pt x="154" y="63"/>
                    </a:lnTo>
                    <a:lnTo>
                      <a:pt x="156" y="65"/>
                    </a:lnTo>
                    <a:lnTo>
                      <a:pt x="156" y="67"/>
                    </a:lnTo>
                    <a:lnTo>
                      <a:pt x="158" y="67"/>
                    </a:lnTo>
                    <a:lnTo>
                      <a:pt x="160" y="67"/>
                    </a:lnTo>
                    <a:lnTo>
                      <a:pt x="162" y="67"/>
                    </a:lnTo>
                    <a:lnTo>
                      <a:pt x="164" y="67"/>
                    </a:lnTo>
                    <a:lnTo>
                      <a:pt x="164" y="71"/>
                    </a:lnTo>
                    <a:lnTo>
                      <a:pt x="164" y="73"/>
                    </a:lnTo>
                    <a:lnTo>
                      <a:pt x="166" y="73"/>
                    </a:lnTo>
                    <a:lnTo>
                      <a:pt x="166" y="75"/>
                    </a:lnTo>
                    <a:lnTo>
                      <a:pt x="166" y="77"/>
                    </a:lnTo>
                    <a:lnTo>
                      <a:pt x="167" y="77"/>
                    </a:lnTo>
                    <a:lnTo>
                      <a:pt x="169" y="77"/>
                    </a:lnTo>
                    <a:lnTo>
                      <a:pt x="171" y="77"/>
                    </a:lnTo>
                    <a:lnTo>
                      <a:pt x="171" y="75"/>
                    </a:lnTo>
                    <a:lnTo>
                      <a:pt x="171" y="73"/>
                    </a:lnTo>
                    <a:lnTo>
                      <a:pt x="175" y="73"/>
                    </a:lnTo>
                    <a:lnTo>
                      <a:pt x="177" y="75"/>
                    </a:lnTo>
                    <a:lnTo>
                      <a:pt x="179" y="75"/>
                    </a:lnTo>
                    <a:lnTo>
                      <a:pt x="181" y="75"/>
                    </a:lnTo>
                    <a:lnTo>
                      <a:pt x="183" y="77"/>
                    </a:lnTo>
                    <a:lnTo>
                      <a:pt x="185" y="75"/>
                    </a:lnTo>
                    <a:lnTo>
                      <a:pt x="185" y="73"/>
                    </a:lnTo>
                    <a:lnTo>
                      <a:pt x="187" y="73"/>
                    </a:lnTo>
                    <a:lnTo>
                      <a:pt x="189" y="71"/>
                    </a:lnTo>
                    <a:lnTo>
                      <a:pt x="191" y="69"/>
                    </a:lnTo>
                    <a:lnTo>
                      <a:pt x="192" y="69"/>
                    </a:lnTo>
                    <a:lnTo>
                      <a:pt x="194" y="69"/>
                    </a:lnTo>
                    <a:lnTo>
                      <a:pt x="196" y="69"/>
                    </a:lnTo>
                    <a:lnTo>
                      <a:pt x="198" y="69"/>
                    </a:lnTo>
                    <a:lnTo>
                      <a:pt x="200" y="71"/>
                    </a:lnTo>
                    <a:lnTo>
                      <a:pt x="200" y="73"/>
                    </a:lnTo>
                    <a:lnTo>
                      <a:pt x="202" y="73"/>
                    </a:lnTo>
                    <a:lnTo>
                      <a:pt x="202" y="75"/>
                    </a:lnTo>
                    <a:lnTo>
                      <a:pt x="204" y="77"/>
                    </a:lnTo>
                    <a:lnTo>
                      <a:pt x="206" y="77"/>
                    </a:lnTo>
                    <a:lnTo>
                      <a:pt x="206" y="75"/>
                    </a:lnTo>
                    <a:lnTo>
                      <a:pt x="206" y="73"/>
                    </a:lnTo>
                    <a:lnTo>
                      <a:pt x="208" y="73"/>
                    </a:lnTo>
                    <a:lnTo>
                      <a:pt x="208" y="71"/>
                    </a:lnTo>
                    <a:lnTo>
                      <a:pt x="210" y="71"/>
                    </a:lnTo>
                    <a:lnTo>
                      <a:pt x="212" y="71"/>
                    </a:lnTo>
                    <a:lnTo>
                      <a:pt x="212" y="69"/>
                    </a:lnTo>
                    <a:lnTo>
                      <a:pt x="216" y="69"/>
                    </a:lnTo>
                    <a:lnTo>
                      <a:pt x="217" y="71"/>
                    </a:lnTo>
                    <a:lnTo>
                      <a:pt x="219" y="71"/>
                    </a:lnTo>
                    <a:lnTo>
                      <a:pt x="219" y="73"/>
                    </a:lnTo>
                    <a:lnTo>
                      <a:pt x="221" y="73"/>
                    </a:lnTo>
                    <a:lnTo>
                      <a:pt x="223" y="73"/>
                    </a:lnTo>
                    <a:lnTo>
                      <a:pt x="221" y="73"/>
                    </a:lnTo>
                    <a:lnTo>
                      <a:pt x="221" y="75"/>
                    </a:lnTo>
                    <a:lnTo>
                      <a:pt x="223" y="75"/>
                    </a:lnTo>
                    <a:lnTo>
                      <a:pt x="225" y="75"/>
                    </a:lnTo>
                    <a:lnTo>
                      <a:pt x="225" y="77"/>
                    </a:lnTo>
                    <a:lnTo>
                      <a:pt x="223" y="77"/>
                    </a:lnTo>
                    <a:lnTo>
                      <a:pt x="223" y="79"/>
                    </a:lnTo>
                    <a:lnTo>
                      <a:pt x="225" y="81"/>
                    </a:lnTo>
                    <a:lnTo>
                      <a:pt x="227" y="81"/>
                    </a:lnTo>
                    <a:lnTo>
                      <a:pt x="227" y="79"/>
                    </a:lnTo>
                    <a:lnTo>
                      <a:pt x="229" y="79"/>
                    </a:lnTo>
                    <a:lnTo>
                      <a:pt x="231" y="79"/>
                    </a:lnTo>
                    <a:lnTo>
                      <a:pt x="231" y="77"/>
                    </a:lnTo>
                    <a:lnTo>
                      <a:pt x="233" y="79"/>
                    </a:lnTo>
                    <a:lnTo>
                      <a:pt x="233" y="77"/>
                    </a:lnTo>
                    <a:lnTo>
                      <a:pt x="235" y="77"/>
                    </a:lnTo>
                    <a:lnTo>
                      <a:pt x="235" y="79"/>
                    </a:lnTo>
                    <a:lnTo>
                      <a:pt x="237" y="79"/>
                    </a:lnTo>
                    <a:lnTo>
                      <a:pt x="239" y="79"/>
                    </a:lnTo>
                    <a:lnTo>
                      <a:pt x="239" y="77"/>
                    </a:lnTo>
                    <a:lnTo>
                      <a:pt x="239" y="75"/>
                    </a:lnTo>
                    <a:lnTo>
                      <a:pt x="239" y="73"/>
                    </a:lnTo>
                    <a:lnTo>
                      <a:pt x="240" y="71"/>
                    </a:lnTo>
                    <a:lnTo>
                      <a:pt x="242" y="69"/>
                    </a:lnTo>
                    <a:lnTo>
                      <a:pt x="242" y="71"/>
                    </a:lnTo>
                    <a:lnTo>
                      <a:pt x="244" y="73"/>
                    </a:lnTo>
                    <a:lnTo>
                      <a:pt x="246" y="73"/>
                    </a:lnTo>
                    <a:lnTo>
                      <a:pt x="246" y="71"/>
                    </a:lnTo>
                    <a:lnTo>
                      <a:pt x="248" y="71"/>
                    </a:lnTo>
                    <a:lnTo>
                      <a:pt x="250" y="69"/>
                    </a:lnTo>
                    <a:lnTo>
                      <a:pt x="250" y="67"/>
                    </a:lnTo>
                    <a:lnTo>
                      <a:pt x="248" y="65"/>
                    </a:lnTo>
                    <a:lnTo>
                      <a:pt x="250" y="65"/>
                    </a:lnTo>
                    <a:lnTo>
                      <a:pt x="250" y="63"/>
                    </a:lnTo>
                    <a:lnTo>
                      <a:pt x="252" y="63"/>
                    </a:lnTo>
                    <a:lnTo>
                      <a:pt x="254" y="63"/>
                    </a:lnTo>
                    <a:lnTo>
                      <a:pt x="256" y="63"/>
                    </a:lnTo>
                    <a:lnTo>
                      <a:pt x="256" y="61"/>
                    </a:lnTo>
                    <a:lnTo>
                      <a:pt x="258" y="61"/>
                    </a:lnTo>
                    <a:lnTo>
                      <a:pt x="260" y="63"/>
                    </a:lnTo>
                    <a:lnTo>
                      <a:pt x="262" y="61"/>
                    </a:lnTo>
                    <a:lnTo>
                      <a:pt x="262" y="63"/>
                    </a:lnTo>
                    <a:lnTo>
                      <a:pt x="264" y="63"/>
                    </a:lnTo>
                    <a:lnTo>
                      <a:pt x="264" y="65"/>
                    </a:lnTo>
                    <a:lnTo>
                      <a:pt x="265" y="65"/>
                    </a:lnTo>
                    <a:lnTo>
                      <a:pt x="267" y="67"/>
                    </a:lnTo>
                    <a:lnTo>
                      <a:pt x="269" y="67"/>
                    </a:lnTo>
                    <a:lnTo>
                      <a:pt x="269" y="65"/>
                    </a:lnTo>
                    <a:lnTo>
                      <a:pt x="271" y="65"/>
                    </a:lnTo>
                    <a:lnTo>
                      <a:pt x="273" y="65"/>
                    </a:lnTo>
                    <a:lnTo>
                      <a:pt x="273" y="63"/>
                    </a:lnTo>
                    <a:lnTo>
                      <a:pt x="271" y="63"/>
                    </a:lnTo>
                    <a:lnTo>
                      <a:pt x="269" y="61"/>
                    </a:lnTo>
                    <a:lnTo>
                      <a:pt x="271" y="60"/>
                    </a:lnTo>
                    <a:lnTo>
                      <a:pt x="271" y="58"/>
                    </a:lnTo>
                    <a:lnTo>
                      <a:pt x="271" y="56"/>
                    </a:lnTo>
                    <a:lnTo>
                      <a:pt x="273" y="56"/>
                    </a:lnTo>
                    <a:lnTo>
                      <a:pt x="273" y="54"/>
                    </a:lnTo>
                    <a:lnTo>
                      <a:pt x="275" y="56"/>
                    </a:lnTo>
                    <a:lnTo>
                      <a:pt x="277" y="56"/>
                    </a:lnTo>
                    <a:lnTo>
                      <a:pt x="277" y="58"/>
                    </a:lnTo>
                    <a:lnTo>
                      <a:pt x="279" y="58"/>
                    </a:lnTo>
                    <a:lnTo>
                      <a:pt x="281" y="58"/>
                    </a:lnTo>
                    <a:lnTo>
                      <a:pt x="283" y="56"/>
                    </a:lnTo>
                    <a:lnTo>
                      <a:pt x="283" y="54"/>
                    </a:lnTo>
                    <a:lnTo>
                      <a:pt x="285" y="54"/>
                    </a:lnTo>
                    <a:lnTo>
                      <a:pt x="287" y="54"/>
                    </a:lnTo>
                    <a:lnTo>
                      <a:pt x="287" y="52"/>
                    </a:lnTo>
                    <a:lnTo>
                      <a:pt x="289" y="52"/>
                    </a:lnTo>
                    <a:lnTo>
                      <a:pt x="290" y="52"/>
                    </a:lnTo>
                    <a:lnTo>
                      <a:pt x="292" y="52"/>
                    </a:lnTo>
                    <a:lnTo>
                      <a:pt x="292" y="50"/>
                    </a:lnTo>
                    <a:lnTo>
                      <a:pt x="292" y="52"/>
                    </a:lnTo>
                    <a:lnTo>
                      <a:pt x="294" y="52"/>
                    </a:lnTo>
                    <a:lnTo>
                      <a:pt x="294" y="54"/>
                    </a:lnTo>
                    <a:lnTo>
                      <a:pt x="296" y="54"/>
                    </a:lnTo>
                    <a:lnTo>
                      <a:pt x="298" y="54"/>
                    </a:lnTo>
                    <a:lnTo>
                      <a:pt x="300" y="56"/>
                    </a:lnTo>
                    <a:lnTo>
                      <a:pt x="302" y="56"/>
                    </a:lnTo>
                    <a:lnTo>
                      <a:pt x="304" y="58"/>
                    </a:lnTo>
                    <a:lnTo>
                      <a:pt x="304" y="56"/>
                    </a:lnTo>
                    <a:lnTo>
                      <a:pt x="306" y="56"/>
                    </a:lnTo>
                    <a:lnTo>
                      <a:pt x="308" y="56"/>
                    </a:lnTo>
                    <a:lnTo>
                      <a:pt x="308" y="58"/>
                    </a:lnTo>
                    <a:lnTo>
                      <a:pt x="310" y="58"/>
                    </a:lnTo>
                    <a:lnTo>
                      <a:pt x="312" y="58"/>
                    </a:lnTo>
                    <a:lnTo>
                      <a:pt x="313" y="58"/>
                    </a:lnTo>
                    <a:lnTo>
                      <a:pt x="313" y="56"/>
                    </a:lnTo>
                    <a:lnTo>
                      <a:pt x="313" y="58"/>
                    </a:lnTo>
                    <a:lnTo>
                      <a:pt x="315" y="56"/>
                    </a:lnTo>
                    <a:lnTo>
                      <a:pt x="317" y="56"/>
                    </a:lnTo>
                    <a:lnTo>
                      <a:pt x="319" y="56"/>
                    </a:lnTo>
                    <a:lnTo>
                      <a:pt x="321" y="54"/>
                    </a:lnTo>
                    <a:lnTo>
                      <a:pt x="321" y="52"/>
                    </a:lnTo>
                    <a:lnTo>
                      <a:pt x="321" y="50"/>
                    </a:lnTo>
                    <a:lnTo>
                      <a:pt x="319" y="50"/>
                    </a:lnTo>
                    <a:lnTo>
                      <a:pt x="319" y="48"/>
                    </a:lnTo>
                    <a:lnTo>
                      <a:pt x="319" y="46"/>
                    </a:lnTo>
                    <a:lnTo>
                      <a:pt x="317" y="46"/>
                    </a:lnTo>
                    <a:lnTo>
                      <a:pt x="317" y="44"/>
                    </a:lnTo>
                    <a:lnTo>
                      <a:pt x="315" y="44"/>
                    </a:lnTo>
                    <a:lnTo>
                      <a:pt x="315" y="42"/>
                    </a:lnTo>
                    <a:lnTo>
                      <a:pt x="317" y="42"/>
                    </a:lnTo>
                    <a:lnTo>
                      <a:pt x="317" y="40"/>
                    </a:lnTo>
                    <a:lnTo>
                      <a:pt x="319" y="40"/>
                    </a:lnTo>
                    <a:lnTo>
                      <a:pt x="321" y="38"/>
                    </a:lnTo>
                    <a:lnTo>
                      <a:pt x="321" y="36"/>
                    </a:lnTo>
                    <a:lnTo>
                      <a:pt x="321" y="38"/>
                    </a:lnTo>
                    <a:lnTo>
                      <a:pt x="323" y="38"/>
                    </a:lnTo>
                    <a:lnTo>
                      <a:pt x="323" y="36"/>
                    </a:lnTo>
                    <a:lnTo>
                      <a:pt x="325" y="38"/>
                    </a:lnTo>
                    <a:lnTo>
                      <a:pt x="325" y="36"/>
                    </a:lnTo>
                    <a:lnTo>
                      <a:pt x="327" y="36"/>
                    </a:lnTo>
                    <a:lnTo>
                      <a:pt x="327" y="35"/>
                    </a:lnTo>
                    <a:lnTo>
                      <a:pt x="327" y="33"/>
                    </a:lnTo>
                    <a:lnTo>
                      <a:pt x="329" y="33"/>
                    </a:lnTo>
                    <a:lnTo>
                      <a:pt x="331" y="33"/>
                    </a:lnTo>
                    <a:lnTo>
                      <a:pt x="331" y="31"/>
                    </a:lnTo>
                    <a:lnTo>
                      <a:pt x="333" y="31"/>
                    </a:lnTo>
                    <a:lnTo>
                      <a:pt x="335" y="31"/>
                    </a:lnTo>
                    <a:lnTo>
                      <a:pt x="335" y="29"/>
                    </a:lnTo>
                    <a:lnTo>
                      <a:pt x="337" y="29"/>
                    </a:lnTo>
                    <a:lnTo>
                      <a:pt x="338" y="31"/>
                    </a:lnTo>
                    <a:lnTo>
                      <a:pt x="340" y="31"/>
                    </a:lnTo>
                    <a:lnTo>
                      <a:pt x="340" y="29"/>
                    </a:lnTo>
                    <a:lnTo>
                      <a:pt x="340" y="27"/>
                    </a:lnTo>
                    <a:lnTo>
                      <a:pt x="342" y="27"/>
                    </a:lnTo>
                    <a:lnTo>
                      <a:pt x="342" y="29"/>
                    </a:lnTo>
                    <a:lnTo>
                      <a:pt x="344" y="29"/>
                    </a:lnTo>
                    <a:lnTo>
                      <a:pt x="344" y="31"/>
                    </a:lnTo>
                    <a:lnTo>
                      <a:pt x="346" y="31"/>
                    </a:lnTo>
                    <a:lnTo>
                      <a:pt x="348" y="29"/>
                    </a:lnTo>
                    <a:lnTo>
                      <a:pt x="350" y="29"/>
                    </a:lnTo>
                    <a:lnTo>
                      <a:pt x="350" y="27"/>
                    </a:lnTo>
                    <a:lnTo>
                      <a:pt x="352" y="27"/>
                    </a:lnTo>
                    <a:lnTo>
                      <a:pt x="352" y="25"/>
                    </a:lnTo>
                    <a:lnTo>
                      <a:pt x="354" y="25"/>
                    </a:lnTo>
                    <a:lnTo>
                      <a:pt x="356" y="25"/>
                    </a:lnTo>
                    <a:lnTo>
                      <a:pt x="356" y="23"/>
                    </a:lnTo>
                    <a:lnTo>
                      <a:pt x="356" y="25"/>
                    </a:lnTo>
                    <a:lnTo>
                      <a:pt x="356" y="23"/>
                    </a:lnTo>
                    <a:lnTo>
                      <a:pt x="358" y="23"/>
                    </a:lnTo>
                    <a:lnTo>
                      <a:pt x="358" y="25"/>
                    </a:lnTo>
                    <a:lnTo>
                      <a:pt x="358" y="23"/>
                    </a:lnTo>
                    <a:lnTo>
                      <a:pt x="360" y="25"/>
                    </a:lnTo>
                    <a:lnTo>
                      <a:pt x="360" y="23"/>
                    </a:lnTo>
                    <a:lnTo>
                      <a:pt x="362" y="23"/>
                    </a:lnTo>
                    <a:lnTo>
                      <a:pt x="362" y="21"/>
                    </a:lnTo>
                    <a:lnTo>
                      <a:pt x="362" y="19"/>
                    </a:lnTo>
                    <a:lnTo>
                      <a:pt x="363" y="19"/>
                    </a:lnTo>
                    <a:lnTo>
                      <a:pt x="363" y="21"/>
                    </a:lnTo>
                    <a:lnTo>
                      <a:pt x="365" y="21"/>
                    </a:lnTo>
                    <a:lnTo>
                      <a:pt x="365" y="19"/>
                    </a:lnTo>
                    <a:lnTo>
                      <a:pt x="367" y="19"/>
                    </a:lnTo>
                    <a:lnTo>
                      <a:pt x="369" y="19"/>
                    </a:lnTo>
                    <a:lnTo>
                      <a:pt x="371" y="19"/>
                    </a:lnTo>
                    <a:lnTo>
                      <a:pt x="373" y="19"/>
                    </a:lnTo>
                    <a:lnTo>
                      <a:pt x="375"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7" name="Freeform 11"/>
              <p:cNvSpPr>
                <a:spLocks noEditPoints="1"/>
              </p:cNvSpPr>
              <p:nvPr/>
            </p:nvSpPr>
            <p:spPr bwMode="auto">
              <a:xfrm>
                <a:off x="1248457" y="1046784"/>
                <a:ext cx="1832467" cy="1213042"/>
              </a:xfrm>
              <a:custGeom>
                <a:avLst/>
                <a:gdLst>
                  <a:gd name="T0" fmla="*/ 183 w 1065"/>
                  <a:gd name="T1" fmla="*/ 371 h 705"/>
                  <a:gd name="T2" fmla="*/ 298 w 1065"/>
                  <a:gd name="T3" fmla="*/ 340 h 705"/>
                  <a:gd name="T4" fmla="*/ 317 w 1065"/>
                  <a:gd name="T5" fmla="*/ 421 h 705"/>
                  <a:gd name="T6" fmla="*/ 314 w 1065"/>
                  <a:gd name="T7" fmla="*/ 379 h 705"/>
                  <a:gd name="T8" fmla="*/ 362 w 1065"/>
                  <a:gd name="T9" fmla="*/ 382 h 705"/>
                  <a:gd name="T10" fmla="*/ 287 w 1065"/>
                  <a:gd name="T11" fmla="*/ 473 h 705"/>
                  <a:gd name="T12" fmla="*/ 344 w 1065"/>
                  <a:gd name="T13" fmla="*/ 605 h 705"/>
                  <a:gd name="T14" fmla="*/ 154 w 1065"/>
                  <a:gd name="T15" fmla="*/ 640 h 705"/>
                  <a:gd name="T16" fmla="*/ 83 w 1065"/>
                  <a:gd name="T17" fmla="*/ 603 h 705"/>
                  <a:gd name="T18" fmla="*/ 2 w 1065"/>
                  <a:gd name="T19" fmla="*/ 552 h 705"/>
                  <a:gd name="T20" fmla="*/ 35 w 1065"/>
                  <a:gd name="T21" fmla="*/ 436 h 705"/>
                  <a:gd name="T22" fmla="*/ 89 w 1065"/>
                  <a:gd name="T23" fmla="*/ 382 h 705"/>
                  <a:gd name="T24" fmla="*/ 97 w 1065"/>
                  <a:gd name="T25" fmla="*/ 484 h 705"/>
                  <a:gd name="T26" fmla="*/ 62 w 1065"/>
                  <a:gd name="T27" fmla="*/ 500 h 705"/>
                  <a:gd name="T28" fmla="*/ 104 w 1065"/>
                  <a:gd name="T29" fmla="*/ 438 h 705"/>
                  <a:gd name="T30" fmla="*/ 98 w 1065"/>
                  <a:gd name="T31" fmla="*/ 342 h 705"/>
                  <a:gd name="T32" fmla="*/ 129 w 1065"/>
                  <a:gd name="T33" fmla="*/ 340 h 705"/>
                  <a:gd name="T34" fmla="*/ 170 w 1065"/>
                  <a:gd name="T35" fmla="*/ 375 h 705"/>
                  <a:gd name="T36" fmla="*/ 193 w 1065"/>
                  <a:gd name="T37" fmla="*/ 432 h 705"/>
                  <a:gd name="T38" fmla="*/ 171 w 1065"/>
                  <a:gd name="T39" fmla="*/ 496 h 705"/>
                  <a:gd name="T40" fmla="*/ 166 w 1065"/>
                  <a:gd name="T41" fmla="*/ 548 h 705"/>
                  <a:gd name="T42" fmla="*/ 125 w 1065"/>
                  <a:gd name="T43" fmla="*/ 582 h 705"/>
                  <a:gd name="T44" fmla="*/ 123 w 1065"/>
                  <a:gd name="T45" fmla="*/ 590 h 705"/>
                  <a:gd name="T46" fmla="*/ 139 w 1065"/>
                  <a:gd name="T47" fmla="*/ 567 h 705"/>
                  <a:gd name="T48" fmla="*/ 166 w 1065"/>
                  <a:gd name="T49" fmla="*/ 538 h 705"/>
                  <a:gd name="T50" fmla="*/ 193 w 1065"/>
                  <a:gd name="T51" fmla="*/ 553 h 705"/>
                  <a:gd name="T52" fmla="*/ 179 w 1065"/>
                  <a:gd name="T53" fmla="*/ 513 h 705"/>
                  <a:gd name="T54" fmla="*/ 177 w 1065"/>
                  <a:gd name="T55" fmla="*/ 450 h 705"/>
                  <a:gd name="T56" fmla="*/ 262 w 1065"/>
                  <a:gd name="T57" fmla="*/ 430 h 705"/>
                  <a:gd name="T58" fmla="*/ 185 w 1065"/>
                  <a:gd name="T59" fmla="*/ 396 h 705"/>
                  <a:gd name="T60" fmla="*/ 198 w 1065"/>
                  <a:gd name="T61" fmla="*/ 321 h 705"/>
                  <a:gd name="T62" fmla="*/ 289 w 1065"/>
                  <a:gd name="T63" fmla="*/ 313 h 705"/>
                  <a:gd name="T64" fmla="*/ 652 w 1065"/>
                  <a:gd name="T65" fmla="*/ 173 h 705"/>
                  <a:gd name="T66" fmla="*/ 717 w 1065"/>
                  <a:gd name="T67" fmla="*/ 134 h 705"/>
                  <a:gd name="T68" fmla="*/ 711 w 1065"/>
                  <a:gd name="T69" fmla="*/ 205 h 705"/>
                  <a:gd name="T70" fmla="*/ 715 w 1065"/>
                  <a:gd name="T71" fmla="*/ 248 h 705"/>
                  <a:gd name="T72" fmla="*/ 706 w 1065"/>
                  <a:gd name="T73" fmla="*/ 246 h 705"/>
                  <a:gd name="T74" fmla="*/ 682 w 1065"/>
                  <a:gd name="T75" fmla="*/ 229 h 705"/>
                  <a:gd name="T76" fmla="*/ 654 w 1065"/>
                  <a:gd name="T77" fmla="*/ 209 h 705"/>
                  <a:gd name="T78" fmla="*/ 669 w 1065"/>
                  <a:gd name="T79" fmla="*/ 192 h 705"/>
                  <a:gd name="T80" fmla="*/ 654 w 1065"/>
                  <a:gd name="T81" fmla="*/ 167 h 705"/>
                  <a:gd name="T82" fmla="*/ 638 w 1065"/>
                  <a:gd name="T83" fmla="*/ 154 h 705"/>
                  <a:gd name="T84" fmla="*/ 654 w 1065"/>
                  <a:gd name="T85" fmla="*/ 129 h 705"/>
                  <a:gd name="T86" fmla="*/ 675 w 1065"/>
                  <a:gd name="T87" fmla="*/ 111 h 705"/>
                  <a:gd name="T88" fmla="*/ 694 w 1065"/>
                  <a:gd name="T89" fmla="*/ 100 h 705"/>
                  <a:gd name="T90" fmla="*/ 740 w 1065"/>
                  <a:gd name="T91" fmla="*/ 94 h 705"/>
                  <a:gd name="T92" fmla="*/ 736 w 1065"/>
                  <a:gd name="T93" fmla="*/ 115 h 705"/>
                  <a:gd name="T94" fmla="*/ 1023 w 1065"/>
                  <a:gd name="T95" fmla="*/ 48 h 705"/>
                  <a:gd name="T96" fmla="*/ 896 w 1065"/>
                  <a:gd name="T97" fmla="*/ 52 h 705"/>
                  <a:gd name="T98" fmla="*/ 853 w 1065"/>
                  <a:gd name="T99" fmla="*/ 63 h 705"/>
                  <a:gd name="T100" fmla="*/ 825 w 1065"/>
                  <a:gd name="T101" fmla="*/ 67 h 705"/>
                  <a:gd name="T102" fmla="*/ 796 w 1065"/>
                  <a:gd name="T103" fmla="*/ 77 h 705"/>
                  <a:gd name="T104" fmla="*/ 773 w 1065"/>
                  <a:gd name="T105" fmla="*/ 86 h 705"/>
                  <a:gd name="T106" fmla="*/ 738 w 1065"/>
                  <a:gd name="T107" fmla="*/ 92 h 705"/>
                  <a:gd name="T108" fmla="*/ 746 w 1065"/>
                  <a:gd name="T109" fmla="*/ 73 h 705"/>
                  <a:gd name="T110" fmla="*/ 752 w 1065"/>
                  <a:gd name="T111" fmla="*/ 54 h 705"/>
                  <a:gd name="T112" fmla="*/ 779 w 1065"/>
                  <a:gd name="T113" fmla="*/ 48 h 705"/>
                  <a:gd name="T114" fmla="*/ 792 w 1065"/>
                  <a:gd name="T115" fmla="*/ 42 h 705"/>
                  <a:gd name="T116" fmla="*/ 794 w 1065"/>
                  <a:gd name="T117" fmla="*/ 21 h 705"/>
                  <a:gd name="T118" fmla="*/ 842 w 1065"/>
                  <a:gd name="T119" fmla="*/ 9 h 705"/>
                  <a:gd name="T120" fmla="*/ 898 w 1065"/>
                  <a:gd name="T121" fmla="*/ 9 h 705"/>
                  <a:gd name="T122" fmla="*/ 955 w 1065"/>
                  <a:gd name="T123" fmla="*/ 17 h 705"/>
                  <a:gd name="T124" fmla="*/ 1021 w 1065"/>
                  <a:gd name="T125" fmla="*/ 11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5" h="705">
                    <a:moveTo>
                      <a:pt x="189" y="505"/>
                    </a:moveTo>
                    <a:lnTo>
                      <a:pt x="187" y="505"/>
                    </a:lnTo>
                    <a:lnTo>
                      <a:pt x="189" y="505"/>
                    </a:lnTo>
                    <a:close/>
                    <a:moveTo>
                      <a:pt x="177" y="375"/>
                    </a:moveTo>
                    <a:lnTo>
                      <a:pt x="177" y="377"/>
                    </a:lnTo>
                    <a:lnTo>
                      <a:pt x="177" y="375"/>
                    </a:lnTo>
                    <a:lnTo>
                      <a:pt x="179" y="375"/>
                    </a:lnTo>
                    <a:lnTo>
                      <a:pt x="179" y="377"/>
                    </a:lnTo>
                    <a:lnTo>
                      <a:pt x="177" y="377"/>
                    </a:lnTo>
                    <a:lnTo>
                      <a:pt x="179" y="377"/>
                    </a:lnTo>
                    <a:lnTo>
                      <a:pt x="177" y="377"/>
                    </a:lnTo>
                    <a:lnTo>
                      <a:pt x="177" y="375"/>
                    </a:lnTo>
                    <a:close/>
                    <a:moveTo>
                      <a:pt x="185" y="380"/>
                    </a:moveTo>
                    <a:lnTo>
                      <a:pt x="185" y="379"/>
                    </a:lnTo>
                    <a:lnTo>
                      <a:pt x="185" y="377"/>
                    </a:lnTo>
                    <a:lnTo>
                      <a:pt x="187" y="377"/>
                    </a:lnTo>
                    <a:lnTo>
                      <a:pt x="185" y="377"/>
                    </a:lnTo>
                    <a:lnTo>
                      <a:pt x="187" y="377"/>
                    </a:lnTo>
                    <a:lnTo>
                      <a:pt x="187" y="379"/>
                    </a:lnTo>
                    <a:lnTo>
                      <a:pt x="187" y="377"/>
                    </a:lnTo>
                    <a:lnTo>
                      <a:pt x="187" y="379"/>
                    </a:lnTo>
                    <a:lnTo>
                      <a:pt x="187" y="380"/>
                    </a:lnTo>
                    <a:lnTo>
                      <a:pt x="187" y="379"/>
                    </a:lnTo>
                    <a:lnTo>
                      <a:pt x="189" y="380"/>
                    </a:lnTo>
                    <a:lnTo>
                      <a:pt x="187" y="380"/>
                    </a:lnTo>
                    <a:lnTo>
                      <a:pt x="187" y="382"/>
                    </a:lnTo>
                    <a:lnTo>
                      <a:pt x="185" y="382"/>
                    </a:lnTo>
                    <a:lnTo>
                      <a:pt x="185" y="384"/>
                    </a:lnTo>
                    <a:lnTo>
                      <a:pt x="183" y="384"/>
                    </a:lnTo>
                    <a:lnTo>
                      <a:pt x="181" y="384"/>
                    </a:lnTo>
                    <a:lnTo>
                      <a:pt x="181" y="382"/>
                    </a:lnTo>
                    <a:lnTo>
                      <a:pt x="183" y="382"/>
                    </a:lnTo>
                    <a:lnTo>
                      <a:pt x="183" y="380"/>
                    </a:lnTo>
                    <a:lnTo>
                      <a:pt x="185" y="380"/>
                    </a:lnTo>
                    <a:close/>
                    <a:moveTo>
                      <a:pt x="185" y="377"/>
                    </a:moveTo>
                    <a:lnTo>
                      <a:pt x="185" y="375"/>
                    </a:lnTo>
                    <a:lnTo>
                      <a:pt x="185" y="373"/>
                    </a:lnTo>
                    <a:lnTo>
                      <a:pt x="185" y="375"/>
                    </a:lnTo>
                    <a:lnTo>
                      <a:pt x="185" y="373"/>
                    </a:lnTo>
                    <a:lnTo>
                      <a:pt x="185" y="375"/>
                    </a:lnTo>
                    <a:lnTo>
                      <a:pt x="185" y="373"/>
                    </a:lnTo>
                    <a:lnTo>
                      <a:pt x="187" y="373"/>
                    </a:lnTo>
                    <a:lnTo>
                      <a:pt x="185" y="373"/>
                    </a:lnTo>
                    <a:lnTo>
                      <a:pt x="187" y="373"/>
                    </a:lnTo>
                    <a:lnTo>
                      <a:pt x="187" y="375"/>
                    </a:lnTo>
                    <a:lnTo>
                      <a:pt x="187" y="377"/>
                    </a:lnTo>
                    <a:lnTo>
                      <a:pt x="187" y="375"/>
                    </a:lnTo>
                    <a:lnTo>
                      <a:pt x="187" y="377"/>
                    </a:lnTo>
                    <a:lnTo>
                      <a:pt x="185" y="377"/>
                    </a:lnTo>
                    <a:lnTo>
                      <a:pt x="185" y="379"/>
                    </a:lnTo>
                    <a:lnTo>
                      <a:pt x="185" y="377"/>
                    </a:lnTo>
                    <a:lnTo>
                      <a:pt x="185" y="379"/>
                    </a:lnTo>
                    <a:lnTo>
                      <a:pt x="183" y="379"/>
                    </a:lnTo>
                    <a:lnTo>
                      <a:pt x="185" y="379"/>
                    </a:lnTo>
                    <a:lnTo>
                      <a:pt x="185" y="380"/>
                    </a:lnTo>
                    <a:lnTo>
                      <a:pt x="183" y="380"/>
                    </a:lnTo>
                    <a:lnTo>
                      <a:pt x="181" y="380"/>
                    </a:lnTo>
                    <a:lnTo>
                      <a:pt x="183" y="380"/>
                    </a:lnTo>
                    <a:lnTo>
                      <a:pt x="181" y="380"/>
                    </a:lnTo>
                    <a:lnTo>
                      <a:pt x="181" y="382"/>
                    </a:lnTo>
                    <a:lnTo>
                      <a:pt x="181" y="380"/>
                    </a:lnTo>
                    <a:lnTo>
                      <a:pt x="181" y="379"/>
                    </a:lnTo>
                    <a:lnTo>
                      <a:pt x="183" y="379"/>
                    </a:lnTo>
                    <a:lnTo>
                      <a:pt x="183" y="377"/>
                    </a:lnTo>
                    <a:lnTo>
                      <a:pt x="183" y="379"/>
                    </a:lnTo>
                    <a:lnTo>
                      <a:pt x="183" y="377"/>
                    </a:lnTo>
                    <a:lnTo>
                      <a:pt x="183" y="375"/>
                    </a:lnTo>
                    <a:lnTo>
                      <a:pt x="185" y="375"/>
                    </a:lnTo>
                    <a:lnTo>
                      <a:pt x="185" y="377"/>
                    </a:lnTo>
                    <a:close/>
                    <a:moveTo>
                      <a:pt x="183" y="373"/>
                    </a:moveTo>
                    <a:lnTo>
                      <a:pt x="183" y="375"/>
                    </a:lnTo>
                    <a:lnTo>
                      <a:pt x="181" y="377"/>
                    </a:lnTo>
                    <a:lnTo>
                      <a:pt x="183" y="375"/>
                    </a:lnTo>
                    <a:lnTo>
                      <a:pt x="183" y="377"/>
                    </a:lnTo>
                    <a:lnTo>
                      <a:pt x="181" y="377"/>
                    </a:lnTo>
                    <a:lnTo>
                      <a:pt x="181" y="379"/>
                    </a:lnTo>
                    <a:lnTo>
                      <a:pt x="181" y="380"/>
                    </a:lnTo>
                    <a:lnTo>
                      <a:pt x="181" y="379"/>
                    </a:lnTo>
                    <a:lnTo>
                      <a:pt x="179" y="379"/>
                    </a:lnTo>
                    <a:lnTo>
                      <a:pt x="179" y="377"/>
                    </a:lnTo>
                    <a:lnTo>
                      <a:pt x="179" y="375"/>
                    </a:lnTo>
                    <a:lnTo>
                      <a:pt x="179" y="373"/>
                    </a:lnTo>
                    <a:lnTo>
                      <a:pt x="179" y="371"/>
                    </a:lnTo>
                    <a:lnTo>
                      <a:pt x="177" y="369"/>
                    </a:lnTo>
                    <a:lnTo>
                      <a:pt x="179" y="369"/>
                    </a:lnTo>
                    <a:lnTo>
                      <a:pt x="181" y="369"/>
                    </a:lnTo>
                    <a:lnTo>
                      <a:pt x="181" y="371"/>
                    </a:lnTo>
                    <a:lnTo>
                      <a:pt x="179" y="371"/>
                    </a:lnTo>
                    <a:lnTo>
                      <a:pt x="181" y="371"/>
                    </a:lnTo>
                    <a:lnTo>
                      <a:pt x="183" y="371"/>
                    </a:lnTo>
                    <a:lnTo>
                      <a:pt x="183" y="373"/>
                    </a:lnTo>
                    <a:lnTo>
                      <a:pt x="183" y="371"/>
                    </a:lnTo>
                    <a:lnTo>
                      <a:pt x="181" y="371"/>
                    </a:lnTo>
                    <a:lnTo>
                      <a:pt x="183" y="371"/>
                    </a:lnTo>
                    <a:lnTo>
                      <a:pt x="181" y="371"/>
                    </a:lnTo>
                    <a:lnTo>
                      <a:pt x="183" y="371"/>
                    </a:lnTo>
                    <a:lnTo>
                      <a:pt x="181" y="371"/>
                    </a:lnTo>
                    <a:lnTo>
                      <a:pt x="183" y="371"/>
                    </a:lnTo>
                    <a:lnTo>
                      <a:pt x="183" y="373"/>
                    </a:lnTo>
                    <a:close/>
                    <a:moveTo>
                      <a:pt x="294" y="340"/>
                    </a:moveTo>
                    <a:lnTo>
                      <a:pt x="294" y="342"/>
                    </a:lnTo>
                    <a:lnTo>
                      <a:pt x="292" y="342"/>
                    </a:lnTo>
                    <a:lnTo>
                      <a:pt x="294" y="342"/>
                    </a:lnTo>
                    <a:lnTo>
                      <a:pt x="292" y="342"/>
                    </a:lnTo>
                    <a:lnTo>
                      <a:pt x="292" y="344"/>
                    </a:lnTo>
                    <a:lnTo>
                      <a:pt x="294" y="344"/>
                    </a:lnTo>
                    <a:lnTo>
                      <a:pt x="296" y="344"/>
                    </a:lnTo>
                    <a:lnTo>
                      <a:pt x="294" y="348"/>
                    </a:lnTo>
                    <a:lnTo>
                      <a:pt x="294" y="350"/>
                    </a:lnTo>
                    <a:lnTo>
                      <a:pt x="294" y="348"/>
                    </a:lnTo>
                    <a:lnTo>
                      <a:pt x="294" y="350"/>
                    </a:lnTo>
                    <a:lnTo>
                      <a:pt x="292" y="350"/>
                    </a:lnTo>
                    <a:lnTo>
                      <a:pt x="292" y="352"/>
                    </a:lnTo>
                    <a:lnTo>
                      <a:pt x="292" y="354"/>
                    </a:lnTo>
                    <a:lnTo>
                      <a:pt x="291" y="354"/>
                    </a:lnTo>
                    <a:lnTo>
                      <a:pt x="289" y="355"/>
                    </a:lnTo>
                    <a:lnTo>
                      <a:pt x="287" y="355"/>
                    </a:lnTo>
                    <a:lnTo>
                      <a:pt x="287" y="357"/>
                    </a:lnTo>
                    <a:lnTo>
                      <a:pt x="285" y="357"/>
                    </a:lnTo>
                    <a:lnTo>
                      <a:pt x="287" y="357"/>
                    </a:lnTo>
                    <a:lnTo>
                      <a:pt x="285" y="357"/>
                    </a:lnTo>
                    <a:lnTo>
                      <a:pt x="285" y="359"/>
                    </a:lnTo>
                    <a:lnTo>
                      <a:pt x="285" y="357"/>
                    </a:lnTo>
                    <a:lnTo>
                      <a:pt x="287" y="357"/>
                    </a:lnTo>
                    <a:lnTo>
                      <a:pt x="285" y="357"/>
                    </a:lnTo>
                    <a:lnTo>
                      <a:pt x="287" y="357"/>
                    </a:lnTo>
                    <a:lnTo>
                      <a:pt x="287" y="355"/>
                    </a:lnTo>
                    <a:lnTo>
                      <a:pt x="289" y="355"/>
                    </a:lnTo>
                    <a:lnTo>
                      <a:pt x="291" y="354"/>
                    </a:lnTo>
                    <a:lnTo>
                      <a:pt x="292" y="355"/>
                    </a:lnTo>
                    <a:lnTo>
                      <a:pt x="292" y="357"/>
                    </a:lnTo>
                    <a:lnTo>
                      <a:pt x="291" y="359"/>
                    </a:lnTo>
                    <a:lnTo>
                      <a:pt x="289" y="359"/>
                    </a:lnTo>
                    <a:lnTo>
                      <a:pt x="289" y="361"/>
                    </a:lnTo>
                    <a:lnTo>
                      <a:pt x="289" y="363"/>
                    </a:lnTo>
                    <a:lnTo>
                      <a:pt x="287" y="363"/>
                    </a:lnTo>
                    <a:lnTo>
                      <a:pt x="287" y="365"/>
                    </a:lnTo>
                    <a:lnTo>
                      <a:pt x="287" y="367"/>
                    </a:lnTo>
                    <a:lnTo>
                      <a:pt x="285" y="367"/>
                    </a:lnTo>
                    <a:lnTo>
                      <a:pt x="287" y="367"/>
                    </a:lnTo>
                    <a:lnTo>
                      <a:pt x="287" y="369"/>
                    </a:lnTo>
                    <a:lnTo>
                      <a:pt x="285" y="371"/>
                    </a:lnTo>
                    <a:lnTo>
                      <a:pt x="285" y="373"/>
                    </a:lnTo>
                    <a:lnTo>
                      <a:pt x="285" y="375"/>
                    </a:lnTo>
                    <a:lnTo>
                      <a:pt x="285" y="377"/>
                    </a:lnTo>
                    <a:lnTo>
                      <a:pt x="285" y="379"/>
                    </a:lnTo>
                    <a:lnTo>
                      <a:pt x="283" y="379"/>
                    </a:lnTo>
                    <a:lnTo>
                      <a:pt x="285" y="379"/>
                    </a:lnTo>
                    <a:lnTo>
                      <a:pt x="283" y="379"/>
                    </a:lnTo>
                    <a:lnTo>
                      <a:pt x="285" y="380"/>
                    </a:lnTo>
                    <a:lnTo>
                      <a:pt x="285" y="379"/>
                    </a:lnTo>
                    <a:lnTo>
                      <a:pt x="283" y="379"/>
                    </a:lnTo>
                    <a:lnTo>
                      <a:pt x="285" y="379"/>
                    </a:lnTo>
                    <a:lnTo>
                      <a:pt x="283" y="379"/>
                    </a:lnTo>
                    <a:lnTo>
                      <a:pt x="285" y="379"/>
                    </a:lnTo>
                    <a:lnTo>
                      <a:pt x="285" y="377"/>
                    </a:lnTo>
                    <a:lnTo>
                      <a:pt x="285" y="375"/>
                    </a:lnTo>
                    <a:lnTo>
                      <a:pt x="285" y="373"/>
                    </a:lnTo>
                    <a:lnTo>
                      <a:pt x="285" y="371"/>
                    </a:lnTo>
                    <a:lnTo>
                      <a:pt x="287" y="371"/>
                    </a:lnTo>
                    <a:lnTo>
                      <a:pt x="287" y="369"/>
                    </a:lnTo>
                    <a:lnTo>
                      <a:pt x="287" y="367"/>
                    </a:lnTo>
                    <a:lnTo>
                      <a:pt x="287" y="365"/>
                    </a:lnTo>
                    <a:lnTo>
                      <a:pt x="287" y="363"/>
                    </a:lnTo>
                    <a:lnTo>
                      <a:pt x="289" y="363"/>
                    </a:lnTo>
                    <a:lnTo>
                      <a:pt x="289" y="361"/>
                    </a:lnTo>
                    <a:lnTo>
                      <a:pt x="289" y="359"/>
                    </a:lnTo>
                    <a:lnTo>
                      <a:pt x="291" y="359"/>
                    </a:lnTo>
                    <a:lnTo>
                      <a:pt x="292" y="359"/>
                    </a:lnTo>
                    <a:lnTo>
                      <a:pt x="292" y="357"/>
                    </a:lnTo>
                    <a:lnTo>
                      <a:pt x="292" y="355"/>
                    </a:lnTo>
                    <a:lnTo>
                      <a:pt x="291" y="354"/>
                    </a:lnTo>
                    <a:lnTo>
                      <a:pt x="292" y="354"/>
                    </a:lnTo>
                    <a:lnTo>
                      <a:pt x="292" y="352"/>
                    </a:lnTo>
                    <a:lnTo>
                      <a:pt x="292" y="350"/>
                    </a:lnTo>
                    <a:lnTo>
                      <a:pt x="294" y="350"/>
                    </a:lnTo>
                    <a:lnTo>
                      <a:pt x="294" y="348"/>
                    </a:lnTo>
                    <a:lnTo>
                      <a:pt x="296" y="346"/>
                    </a:lnTo>
                    <a:lnTo>
                      <a:pt x="296" y="344"/>
                    </a:lnTo>
                    <a:lnTo>
                      <a:pt x="294" y="344"/>
                    </a:lnTo>
                    <a:lnTo>
                      <a:pt x="294" y="342"/>
                    </a:lnTo>
                    <a:lnTo>
                      <a:pt x="296" y="342"/>
                    </a:lnTo>
                    <a:lnTo>
                      <a:pt x="296" y="340"/>
                    </a:lnTo>
                    <a:lnTo>
                      <a:pt x="298" y="340"/>
                    </a:lnTo>
                    <a:lnTo>
                      <a:pt x="300" y="340"/>
                    </a:lnTo>
                    <a:lnTo>
                      <a:pt x="302" y="340"/>
                    </a:lnTo>
                    <a:lnTo>
                      <a:pt x="304" y="340"/>
                    </a:lnTo>
                    <a:lnTo>
                      <a:pt x="306" y="340"/>
                    </a:lnTo>
                    <a:lnTo>
                      <a:pt x="308" y="340"/>
                    </a:lnTo>
                    <a:lnTo>
                      <a:pt x="306" y="340"/>
                    </a:lnTo>
                    <a:lnTo>
                      <a:pt x="308" y="340"/>
                    </a:lnTo>
                    <a:lnTo>
                      <a:pt x="308" y="342"/>
                    </a:lnTo>
                    <a:lnTo>
                      <a:pt x="310" y="342"/>
                    </a:lnTo>
                    <a:lnTo>
                      <a:pt x="310" y="344"/>
                    </a:lnTo>
                    <a:lnTo>
                      <a:pt x="310" y="342"/>
                    </a:lnTo>
                    <a:lnTo>
                      <a:pt x="310" y="344"/>
                    </a:lnTo>
                    <a:lnTo>
                      <a:pt x="310" y="346"/>
                    </a:lnTo>
                    <a:lnTo>
                      <a:pt x="310" y="348"/>
                    </a:lnTo>
                    <a:lnTo>
                      <a:pt x="310" y="350"/>
                    </a:lnTo>
                    <a:lnTo>
                      <a:pt x="310" y="352"/>
                    </a:lnTo>
                    <a:lnTo>
                      <a:pt x="308" y="354"/>
                    </a:lnTo>
                    <a:lnTo>
                      <a:pt x="308" y="355"/>
                    </a:lnTo>
                    <a:lnTo>
                      <a:pt x="306" y="355"/>
                    </a:lnTo>
                    <a:lnTo>
                      <a:pt x="308" y="355"/>
                    </a:lnTo>
                    <a:lnTo>
                      <a:pt x="306" y="357"/>
                    </a:lnTo>
                    <a:lnTo>
                      <a:pt x="308" y="357"/>
                    </a:lnTo>
                    <a:lnTo>
                      <a:pt x="308" y="359"/>
                    </a:lnTo>
                    <a:lnTo>
                      <a:pt x="306" y="361"/>
                    </a:lnTo>
                    <a:lnTo>
                      <a:pt x="306" y="363"/>
                    </a:lnTo>
                    <a:lnTo>
                      <a:pt x="306" y="365"/>
                    </a:lnTo>
                    <a:lnTo>
                      <a:pt x="306" y="367"/>
                    </a:lnTo>
                    <a:lnTo>
                      <a:pt x="304" y="369"/>
                    </a:lnTo>
                    <a:lnTo>
                      <a:pt x="304" y="371"/>
                    </a:lnTo>
                    <a:lnTo>
                      <a:pt x="304" y="373"/>
                    </a:lnTo>
                    <a:lnTo>
                      <a:pt x="304" y="375"/>
                    </a:lnTo>
                    <a:lnTo>
                      <a:pt x="304" y="377"/>
                    </a:lnTo>
                    <a:lnTo>
                      <a:pt x="304" y="379"/>
                    </a:lnTo>
                    <a:lnTo>
                      <a:pt x="304" y="380"/>
                    </a:lnTo>
                    <a:lnTo>
                      <a:pt x="304" y="379"/>
                    </a:lnTo>
                    <a:lnTo>
                      <a:pt x="304" y="380"/>
                    </a:lnTo>
                    <a:lnTo>
                      <a:pt x="306" y="380"/>
                    </a:lnTo>
                    <a:lnTo>
                      <a:pt x="304" y="382"/>
                    </a:lnTo>
                    <a:lnTo>
                      <a:pt x="306" y="382"/>
                    </a:lnTo>
                    <a:lnTo>
                      <a:pt x="304" y="382"/>
                    </a:lnTo>
                    <a:lnTo>
                      <a:pt x="304" y="380"/>
                    </a:lnTo>
                    <a:lnTo>
                      <a:pt x="304" y="382"/>
                    </a:lnTo>
                    <a:lnTo>
                      <a:pt x="306" y="382"/>
                    </a:lnTo>
                    <a:lnTo>
                      <a:pt x="306" y="384"/>
                    </a:lnTo>
                    <a:lnTo>
                      <a:pt x="306" y="382"/>
                    </a:lnTo>
                    <a:lnTo>
                      <a:pt x="306" y="384"/>
                    </a:lnTo>
                    <a:lnTo>
                      <a:pt x="306" y="382"/>
                    </a:lnTo>
                    <a:lnTo>
                      <a:pt x="308" y="382"/>
                    </a:lnTo>
                    <a:lnTo>
                      <a:pt x="308" y="384"/>
                    </a:lnTo>
                    <a:lnTo>
                      <a:pt x="306" y="384"/>
                    </a:lnTo>
                    <a:lnTo>
                      <a:pt x="308" y="384"/>
                    </a:lnTo>
                    <a:lnTo>
                      <a:pt x="308" y="386"/>
                    </a:lnTo>
                    <a:lnTo>
                      <a:pt x="308" y="388"/>
                    </a:lnTo>
                    <a:lnTo>
                      <a:pt x="308" y="390"/>
                    </a:lnTo>
                    <a:lnTo>
                      <a:pt x="310" y="390"/>
                    </a:lnTo>
                    <a:lnTo>
                      <a:pt x="310" y="392"/>
                    </a:lnTo>
                    <a:lnTo>
                      <a:pt x="310" y="390"/>
                    </a:lnTo>
                    <a:lnTo>
                      <a:pt x="310" y="392"/>
                    </a:lnTo>
                    <a:lnTo>
                      <a:pt x="312" y="392"/>
                    </a:lnTo>
                    <a:lnTo>
                      <a:pt x="312" y="394"/>
                    </a:lnTo>
                    <a:lnTo>
                      <a:pt x="312" y="392"/>
                    </a:lnTo>
                    <a:lnTo>
                      <a:pt x="312" y="394"/>
                    </a:lnTo>
                    <a:lnTo>
                      <a:pt x="312" y="396"/>
                    </a:lnTo>
                    <a:lnTo>
                      <a:pt x="312" y="398"/>
                    </a:lnTo>
                    <a:lnTo>
                      <a:pt x="312" y="400"/>
                    </a:lnTo>
                    <a:lnTo>
                      <a:pt x="312" y="398"/>
                    </a:lnTo>
                    <a:lnTo>
                      <a:pt x="314" y="398"/>
                    </a:lnTo>
                    <a:lnTo>
                      <a:pt x="314" y="400"/>
                    </a:lnTo>
                    <a:lnTo>
                      <a:pt x="312" y="400"/>
                    </a:lnTo>
                    <a:lnTo>
                      <a:pt x="312" y="402"/>
                    </a:lnTo>
                    <a:lnTo>
                      <a:pt x="312" y="403"/>
                    </a:lnTo>
                    <a:lnTo>
                      <a:pt x="310" y="403"/>
                    </a:lnTo>
                    <a:lnTo>
                      <a:pt x="312" y="405"/>
                    </a:lnTo>
                    <a:lnTo>
                      <a:pt x="312" y="407"/>
                    </a:lnTo>
                    <a:lnTo>
                      <a:pt x="312" y="409"/>
                    </a:lnTo>
                    <a:lnTo>
                      <a:pt x="312" y="411"/>
                    </a:lnTo>
                    <a:lnTo>
                      <a:pt x="312" y="413"/>
                    </a:lnTo>
                    <a:lnTo>
                      <a:pt x="312" y="415"/>
                    </a:lnTo>
                    <a:lnTo>
                      <a:pt x="314" y="415"/>
                    </a:lnTo>
                    <a:lnTo>
                      <a:pt x="314" y="417"/>
                    </a:lnTo>
                    <a:lnTo>
                      <a:pt x="316" y="417"/>
                    </a:lnTo>
                    <a:lnTo>
                      <a:pt x="314" y="417"/>
                    </a:lnTo>
                    <a:lnTo>
                      <a:pt x="316" y="417"/>
                    </a:lnTo>
                    <a:lnTo>
                      <a:pt x="316" y="419"/>
                    </a:lnTo>
                    <a:lnTo>
                      <a:pt x="316" y="417"/>
                    </a:lnTo>
                    <a:lnTo>
                      <a:pt x="316" y="419"/>
                    </a:lnTo>
                    <a:lnTo>
                      <a:pt x="317" y="419"/>
                    </a:lnTo>
                    <a:lnTo>
                      <a:pt x="316" y="419"/>
                    </a:lnTo>
                    <a:lnTo>
                      <a:pt x="316" y="421"/>
                    </a:lnTo>
                    <a:lnTo>
                      <a:pt x="316" y="419"/>
                    </a:lnTo>
                    <a:lnTo>
                      <a:pt x="316" y="421"/>
                    </a:lnTo>
                    <a:lnTo>
                      <a:pt x="317" y="421"/>
                    </a:lnTo>
                    <a:lnTo>
                      <a:pt x="317" y="423"/>
                    </a:lnTo>
                    <a:lnTo>
                      <a:pt x="317" y="421"/>
                    </a:lnTo>
                    <a:lnTo>
                      <a:pt x="317" y="423"/>
                    </a:lnTo>
                    <a:lnTo>
                      <a:pt x="317" y="425"/>
                    </a:lnTo>
                    <a:lnTo>
                      <a:pt x="316" y="425"/>
                    </a:lnTo>
                    <a:lnTo>
                      <a:pt x="316" y="427"/>
                    </a:lnTo>
                    <a:lnTo>
                      <a:pt x="316" y="428"/>
                    </a:lnTo>
                    <a:lnTo>
                      <a:pt x="316" y="430"/>
                    </a:lnTo>
                    <a:lnTo>
                      <a:pt x="314" y="430"/>
                    </a:lnTo>
                    <a:lnTo>
                      <a:pt x="316" y="430"/>
                    </a:lnTo>
                    <a:lnTo>
                      <a:pt x="316" y="428"/>
                    </a:lnTo>
                    <a:lnTo>
                      <a:pt x="316" y="427"/>
                    </a:lnTo>
                    <a:lnTo>
                      <a:pt x="317" y="427"/>
                    </a:lnTo>
                    <a:lnTo>
                      <a:pt x="317" y="425"/>
                    </a:lnTo>
                    <a:lnTo>
                      <a:pt x="317" y="423"/>
                    </a:lnTo>
                    <a:lnTo>
                      <a:pt x="317" y="425"/>
                    </a:lnTo>
                    <a:lnTo>
                      <a:pt x="317" y="423"/>
                    </a:lnTo>
                    <a:lnTo>
                      <a:pt x="317" y="421"/>
                    </a:lnTo>
                    <a:lnTo>
                      <a:pt x="317" y="419"/>
                    </a:lnTo>
                    <a:lnTo>
                      <a:pt x="316" y="419"/>
                    </a:lnTo>
                    <a:lnTo>
                      <a:pt x="316" y="417"/>
                    </a:lnTo>
                    <a:lnTo>
                      <a:pt x="316" y="415"/>
                    </a:lnTo>
                    <a:lnTo>
                      <a:pt x="314" y="415"/>
                    </a:lnTo>
                    <a:lnTo>
                      <a:pt x="312" y="413"/>
                    </a:lnTo>
                    <a:lnTo>
                      <a:pt x="312" y="411"/>
                    </a:lnTo>
                    <a:lnTo>
                      <a:pt x="312" y="409"/>
                    </a:lnTo>
                    <a:lnTo>
                      <a:pt x="314" y="407"/>
                    </a:lnTo>
                    <a:lnTo>
                      <a:pt x="314" y="405"/>
                    </a:lnTo>
                    <a:lnTo>
                      <a:pt x="314" y="407"/>
                    </a:lnTo>
                    <a:lnTo>
                      <a:pt x="314" y="405"/>
                    </a:lnTo>
                    <a:lnTo>
                      <a:pt x="312" y="405"/>
                    </a:lnTo>
                    <a:lnTo>
                      <a:pt x="312" y="403"/>
                    </a:lnTo>
                    <a:lnTo>
                      <a:pt x="312" y="402"/>
                    </a:lnTo>
                    <a:lnTo>
                      <a:pt x="314" y="402"/>
                    </a:lnTo>
                    <a:lnTo>
                      <a:pt x="314" y="400"/>
                    </a:lnTo>
                    <a:lnTo>
                      <a:pt x="314" y="398"/>
                    </a:lnTo>
                    <a:lnTo>
                      <a:pt x="314" y="396"/>
                    </a:lnTo>
                    <a:lnTo>
                      <a:pt x="314" y="394"/>
                    </a:lnTo>
                    <a:lnTo>
                      <a:pt x="314" y="396"/>
                    </a:lnTo>
                    <a:lnTo>
                      <a:pt x="314" y="394"/>
                    </a:lnTo>
                    <a:lnTo>
                      <a:pt x="314" y="392"/>
                    </a:lnTo>
                    <a:lnTo>
                      <a:pt x="312" y="392"/>
                    </a:lnTo>
                    <a:lnTo>
                      <a:pt x="312" y="390"/>
                    </a:lnTo>
                    <a:lnTo>
                      <a:pt x="310" y="390"/>
                    </a:lnTo>
                    <a:lnTo>
                      <a:pt x="310" y="388"/>
                    </a:lnTo>
                    <a:lnTo>
                      <a:pt x="308" y="388"/>
                    </a:lnTo>
                    <a:lnTo>
                      <a:pt x="308" y="386"/>
                    </a:lnTo>
                    <a:lnTo>
                      <a:pt x="310" y="384"/>
                    </a:lnTo>
                    <a:lnTo>
                      <a:pt x="308" y="384"/>
                    </a:lnTo>
                    <a:lnTo>
                      <a:pt x="310" y="384"/>
                    </a:lnTo>
                    <a:lnTo>
                      <a:pt x="310" y="382"/>
                    </a:lnTo>
                    <a:lnTo>
                      <a:pt x="310" y="380"/>
                    </a:lnTo>
                    <a:lnTo>
                      <a:pt x="312" y="382"/>
                    </a:lnTo>
                    <a:lnTo>
                      <a:pt x="314" y="382"/>
                    </a:lnTo>
                    <a:lnTo>
                      <a:pt x="312" y="380"/>
                    </a:lnTo>
                    <a:lnTo>
                      <a:pt x="314" y="380"/>
                    </a:lnTo>
                    <a:lnTo>
                      <a:pt x="314" y="382"/>
                    </a:lnTo>
                    <a:lnTo>
                      <a:pt x="316" y="382"/>
                    </a:lnTo>
                    <a:lnTo>
                      <a:pt x="316" y="380"/>
                    </a:lnTo>
                    <a:lnTo>
                      <a:pt x="314" y="380"/>
                    </a:lnTo>
                    <a:lnTo>
                      <a:pt x="314" y="379"/>
                    </a:lnTo>
                    <a:lnTo>
                      <a:pt x="316" y="379"/>
                    </a:lnTo>
                    <a:lnTo>
                      <a:pt x="316" y="377"/>
                    </a:lnTo>
                    <a:lnTo>
                      <a:pt x="317" y="377"/>
                    </a:lnTo>
                    <a:lnTo>
                      <a:pt x="317" y="375"/>
                    </a:lnTo>
                    <a:lnTo>
                      <a:pt x="317" y="377"/>
                    </a:lnTo>
                    <a:lnTo>
                      <a:pt x="317" y="379"/>
                    </a:lnTo>
                    <a:lnTo>
                      <a:pt x="319" y="379"/>
                    </a:lnTo>
                    <a:lnTo>
                      <a:pt x="319" y="377"/>
                    </a:lnTo>
                    <a:lnTo>
                      <a:pt x="321" y="377"/>
                    </a:lnTo>
                    <a:lnTo>
                      <a:pt x="319" y="379"/>
                    </a:lnTo>
                    <a:lnTo>
                      <a:pt x="321" y="379"/>
                    </a:lnTo>
                    <a:lnTo>
                      <a:pt x="321" y="380"/>
                    </a:lnTo>
                    <a:lnTo>
                      <a:pt x="321" y="379"/>
                    </a:lnTo>
                    <a:lnTo>
                      <a:pt x="323" y="379"/>
                    </a:lnTo>
                    <a:lnTo>
                      <a:pt x="321" y="379"/>
                    </a:lnTo>
                    <a:lnTo>
                      <a:pt x="321" y="380"/>
                    </a:lnTo>
                    <a:lnTo>
                      <a:pt x="321" y="379"/>
                    </a:lnTo>
                    <a:lnTo>
                      <a:pt x="319" y="379"/>
                    </a:lnTo>
                    <a:lnTo>
                      <a:pt x="321" y="379"/>
                    </a:lnTo>
                    <a:lnTo>
                      <a:pt x="321" y="377"/>
                    </a:lnTo>
                    <a:lnTo>
                      <a:pt x="319" y="377"/>
                    </a:lnTo>
                    <a:lnTo>
                      <a:pt x="319" y="379"/>
                    </a:lnTo>
                    <a:lnTo>
                      <a:pt x="317" y="379"/>
                    </a:lnTo>
                    <a:lnTo>
                      <a:pt x="317" y="377"/>
                    </a:lnTo>
                    <a:lnTo>
                      <a:pt x="317" y="379"/>
                    </a:lnTo>
                    <a:lnTo>
                      <a:pt x="317" y="377"/>
                    </a:lnTo>
                    <a:lnTo>
                      <a:pt x="317" y="375"/>
                    </a:lnTo>
                    <a:lnTo>
                      <a:pt x="317" y="377"/>
                    </a:lnTo>
                    <a:lnTo>
                      <a:pt x="316" y="377"/>
                    </a:lnTo>
                    <a:lnTo>
                      <a:pt x="316" y="379"/>
                    </a:lnTo>
                    <a:lnTo>
                      <a:pt x="314" y="379"/>
                    </a:lnTo>
                    <a:lnTo>
                      <a:pt x="314" y="380"/>
                    </a:lnTo>
                    <a:lnTo>
                      <a:pt x="316" y="380"/>
                    </a:lnTo>
                    <a:lnTo>
                      <a:pt x="316" y="382"/>
                    </a:lnTo>
                    <a:lnTo>
                      <a:pt x="314" y="382"/>
                    </a:lnTo>
                    <a:lnTo>
                      <a:pt x="314" y="380"/>
                    </a:lnTo>
                    <a:lnTo>
                      <a:pt x="312" y="380"/>
                    </a:lnTo>
                    <a:lnTo>
                      <a:pt x="312" y="382"/>
                    </a:lnTo>
                    <a:lnTo>
                      <a:pt x="310" y="380"/>
                    </a:lnTo>
                    <a:lnTo>
                      <a:pt x="310" y="382"/>
                    </a:lnTo>
                    <a:lnTo>
                      <a:pt x="310" y="384"/>
                    </a:lnTo>
                    <a:lnTo>
                      <a:pt x="310" y="382"/>
                    </a:lnTo>
                    <a:lnTo>
                      <a:pt x="308" y="384"/>
                    </a:lnTo>
                    <a:lnTo>
                      <a:pt x="308" y="382"/>
                    </a:lnTo>
                    <a:lnTo>
                      <a:pt x="306" y="382"/>
                    </a:lnTo>
                    <a:lnTo>
                      <a:pt x="306" y="380"/>
                    </a:lnTo>
                    <a:lnTo>
                      <a:pt x="306" y="379"/>
                    </a:lnTo>
                    <a:lnTo>
                      <a:pt x="304" y="379"/>
                    </a:lnTo>
                    <a:lnTo>
                      <a:pt x="304" y="377"/>
                    </a:lnTo>
                    <a:lnTo>
                      <a:pt x="306" y="377"/>
                    </a:lnTo>
                    <a:lnTo>
                      <a:pt x="304" y="377"/>
                    </a:lnTo>
                    <a:lnTo>
                      <a:pt x="304" y="375"/>
                    </a:lnTo>
                    <a:lnTo>
                      <a:pt x="304" y="373"/>
                    </a:lnTo>
                    <a:lnTo>
                      <a:pt x="304" y="371"/>
                    </a:lnTo>
                    <a:lnTo>
                      <a:pt x="304" y="373"/>
                    </a:lnTo>
                    <a:lnTo>
                      <a:pt x="304" y="371"/>
                    </a:lnTo>
                    <a:lnTo>
                      <a:pt x="306" y="371"/>
                    </a:lnTo>
                    <a:lnTo>
                      <a:pt x="306" y="373"/>
                    </a:lnTo>
                    <a:lnTo>
                      <a:pt x="306" y="371"/>
                    </a:lnTo>
                    <a:lnTo>
                      <a:pt x="306" y="369"/>
                    </a:lnTo>
                    <a:lnTo>
                      <a:pt x="306" y="367"/>
                    </a:lnTo>
                    <a:lnTo>
                      <a:pt x="306" y="369"/>
                    </a:lnTo>
                    <a:lnTo>
                      <a:pt x="306" y="367"/>
                    </a:lnTo>
                    <a:lnTo>
                      <a:pt x="306" y="369"/>
                    </a:lnTo>
                    <a:lnTo>
                      <a:pt x="306" y="367"/>
                    </a:lnTo>
                    <a:lnTo>
                      <a:pt x="306" y="365"/>
                    </a:lnTo>
                    <a:lnTo>
                      <a:pt x="306" y="363"/>
                    </a:lnTo>
                    <a:lnTo>
                      <a:pt x="308" y="363"/>
                    </a:lnTo>
                    <a:lnTo>
                      <a:pt x="308" y="365"/>
                    </a:lnTo>
                    <a:lnTo>
                      <a:pt x="308" y="363"/>
                    </a:lnTo>
                    <a:lnTo>
                      <a:pt x="308" y="361"/>
                    </a:lnTo>
                    <a:lnTo>
                      <a:pt x="308" y="363"/>
                    </a:lnTo>
                    <a:lnTo>
                      <a:pt x="308" y="361"/>
                    </a:lnTo>
                    <a:lnTo>
                      <a:pt x="308" y="359"/>
                    </a:lnTo>
                    <a:lnTo>
                      <a:pt x="308" y="357"/>
                    </a:lnTo>
                    <a:lnTo>
                      <a:pt x="308" y="355"/>
                    </a:lnTo>
                    <a:lnTo>
                      <a:pt x="310" y="355"/>
                    </a:lnTo>
                    <a:lnTo>
                      <a:pt x="312" y="354"/>
                    </a:lnTo>
                    <a:lnTo>
                      <a:pt x="312" y="352"/>
                    </a:lnTo>
                    <a:lnTo>
                      <a:pt x="312" y="350"/>
                    </a:lnTo>
                    <a:lnTo>
                      <a:pt x="314" y="350"/>
                    </a:lnTo>
                    <a:lnTo>
                      <a:pt x="312" y="350"/>
                    </a:lnTo>
                    <a:lnTo>
                      <a:pt x="314" y="350"/>
                    </a:lnTo>
                    <a:lnTo>
                      <a:pt x="312" y="350"/>
                    </a:lnTo>
                    <a:lnTo>
                      <a:pt x="314" y="352"/>
                    </a:lnTo>
                    <a:lnTo>
                      <a:pt x="312" y="352"/>
                    </a:lnTo>
                    <a:lnTo>
                      <a:pt x="314" y="350"/>
                    </a:lnTo>
                    <a:lnTo>
                      <a:pt x="314" y="348"/>
                    </a:lnTo>
                    <a:lnTo>
                      <a:pt x="314" y="346"/>
                    </a:lnTo>
                    <a:lnTo>
                      <a:pt x="314" y="344"/>
                    </a:lnTo>
                    <a:lnTo>
                      <a:pt x="314" y="346"/>
                    </a:lnTo>
                    <a:lnTo>
                      <a:pt x="314" y="344"/>
                    </a:lnTo>
                    <a:lnTo>
                      <a:pt x="316" y="344"/>
                    </a:lnTo>
                    <a:lnTo>
                      <a:pt x="314" y="344"/>
                    </a:lnTo>
                    <a:lnTo>
                      <a:pt x="316" y="344"/>
                    </a:lnTo>
                    <a:lnTo>
                      <a:pt x="316" y="342"/>
                    </a:lnTo>
                    <a:lnTo>
                      <a:pt x="317" y="342"/>
                    </a:lnTo>
                    <a:lnTo>
                      <a:pt x="317" y="340"/>
                    </a:lnTo>
                    <a:lnTo>
                      <a:pt x="319" y="340"/>
                    </a:lnTo>
                    <a:lnTo>
                      <a:pt x="319" y="338"/>
                    </a:lnTo>
                    <a:lnTo>
                      <a:pt x="321" y="338"/>
                    </a:lnTo>
                    <a:lnTo>
                      <a:pt x="321" y="336"/>
                    </a:lnTo>
                    <a:lnTo>
                      <a:pt x="323" y="336"/>
                    </a:lnTo>
                    <a:lnTo>
                      <a:pt x="323" y="334"/>
                    </a:lnTo>
                    <a:lnTo>
                      <a:pt x="325" y="334"/>
                    </a:lnTo>
                    <a:lnTo>
                      <a:pt x="329" y="340"/>
                    </a:lnTo>
                    <a:lnTo>
                      <a:pt x="329" y="346"/>
                    </a:lnTo>
                    <a:lnTo>
                      <a:pt x="333" y="352"/>
                    </a:lnTo>
                    <a:lnTo>
                      <a:pt x="337" y="355"/>
                    </a:lnTo>
                    <a:lnTo>
                      <a:pt x="340" y="359"/>
                    </a:lnTo>
                    <a:lnTo>
                      <a:pt x="342" y="361"/>
                    </a:lnTo>
                    <a:lnTo>
                      <a:pt x="344" y="367"/>
                    </a:lnTo>
                    <a:lnTo>
                      <a:pt x="346" y="369"/>
                    </a:lnTo>
                    <a:lnTo>
                      <a:pt x="348" y="371"/>
                    </a:lnTo>
                    <a:lnTo>
                      <a:pt x="348" y="373"/>
                    </a:lnTo>
                    <a:lnTo>
                      <a:pt x="352" y="373"/>
                    </a:lnTo>
                    <a:lnTo>
                      <a:pt x="354" y="375"/>
                    </a:lnTo>
                    <a:lnTo>
                      <a:pt x="354" y="377"/>
                    </a:lnTo>
                    <a:lnTo>
                      <a:pt x="356" y="377"/>
                    </a:lnTo>
                    <a:lnTo>
                      <a:pt x="356" y="379"/>
                    </a:lnTo>
                    <a:lnTo>
                      <a:pt x="358" y="379"/>
                    </a:lnTo>
                    <a:lnTo>
                      <a:pt x="360" y="380"/>
                    </a:lnTo>
                    <a:lnTo>
                      <a:pt x="362" y="382"/>
                    </a:lnTo>
                    <a:lnTo>
                      <a:pt x="364" y="384"/>
                    </a:lnTo>
                    <a:lnTo>
                      <a:pt x="365" y="388"/>
                    </a:lnTo>
                    <a:lnTo>
                      <a:pt x="367" y="392"/>
                    </a:lnTo>
                    <a:lnTo>
                      <a:pt x="371" y="398"/>
                    </a:lnTo>
                    <a:lnTo>
                      <a:pt x="373" y="403"/>
                    </a:lnTo>
                    <a:lnTo>
                      <a:pt x="381" y="407"/>
                    </a:lnTo>
                    <a:lnTo>
                      <a:pt x="387" y="411"/>
                    </a:lnTo>
                    <a:lnTo>
                      <a:pt x="390" y="409"/>
                    </a:lnTo>
                    <a:lnTo>
                      <a:pt x="390" y="405"/>
                    </a:lnTo>
                    <a:lnTo>
                      <a:pt x="394" y="403"/>
                    </a:lnTo>
                    <a:lnTo>
                      <a:pt x="396" y="402"/>
                    </a:lnTo>
                    <a:lnTo>
                      <a:pt x="398" y="402"/>
                    </a:lnTo>
                    <a:lnTo>
                      <a:pt x="400" y="403"/>
                    </a:lnTo>
                    <a:lnTo>
                      <a:pt x="402" y="402"/>
                    </a:lnTo>
                    <a:lnTo>
                      <a:pt x="404" y="398"/>
                    </a:lnTo>
                    <a:lnTo>
                      <a:pt x="410" y="402"/>
                    </a:lnTo>
                    <a:lnTo>
                      <a:pt x="414" y="403"/>
                    </a:lnTo>
                    <a:lnTo>
                      <a:pt x="415" y="403"/>
                    </a:lnTo>
                    <a:lnTo>
                      <a:pt x="419" y="405"/>
                    </a:lnTo>
                    <a:lnTo>
                      <a:pt x="423" y="407"/>
                    </a:lnTo>
                    <a:lnTo>
                      <a:pt x="425" y="409"/>
                    </a:lnTo>
                    <a:lnTo>
                      <a:pt x="423" y="415"/>
                    </a:lnTo>
                    <a:lnTo>
                      <a:pt x="421" y="419"/>
                    </a:lnTo>
                    <a:lnTo>
                      <a:pt x="419" y="423"/>
                    </a:lnTo>
                    <a:lnTo>
                      <a:pt x="417" y="427"/>
                    </a:lnTo>
                    <a:lnTo>
                      <a:pt x="412" y="440"/>
                    </a:lnTo>
                    <a:lnTo>
                      <a:pt x="410" y="444"/>
                    </a:lnTo>
                    <a:lnTo>
                      <a:pt x="402" y="459"/>
                    </a:lnTo>
                    <a:lnTo>
                      <a:pt x="404" y="461"/>
                    </a:lnTo>
                    <a:lnTo>
                      <a:pt x="406" y="461"/>
                    </a:lnTo>
                    <a:lnTo>
                      <a:pt x="414" y="463"/>
                    </a:lnTo>
                    <a:lnTo>
                      <a:pt x="415" y="463"/>
                    </a:lnTo>
                    <a:lnTo>
                      <a:pt x="417" y="463"/>
                    </a:lnTo>
                    <a:lnTo>
                      <a:pt x="417" y="471"/>
                    </a:lnTo>
                    <a:lnTo>
                      <a:pt x="417" y="475"/>
                    </a:lnTo>
                    <a:lnTo>
                      <a:pt x="417" y="477"/>
                    </a:lnTo>
                    <a:lnTo>
                      <a:pt x="417" y="484"/>
                    </a:lnTo>
                    <a:lnTo>
                      <a:pt x="417" y="486"/>
                    </a:lnTo>
                    <a:lnTo>
                      <a:pt x="417" y="490"/>
                    </a:lnTo>
                    <a:lnTo>
                      <a:pt x="419" y="496"/>
                    </a:lnTo>
                    <a:lnTo>
                      <a:pt x="421" y="500"/>
                    </a:lnTo>
                    <a:lnTo>
                      <a:pt x="423" y="502"/>
                    </a:lnTo>
                    <a:lnTo>
                      <a:pt x="421" y="505"/>
                    </a:lnTo>
                    <a:lnTo>
                      <a:pt x="419" y="505"/>
                    </a:lnTo>
                    <a:lnTo>
                      <a:pt x="415" y="513"/>
                    </a:lnTo>
                    <a:lnTo>
                      <a:pt x="414" y="515"/>
                    </a:lnTo>
                    <a:lnTo>
                      <a:pt x="414" y="517"/>
                    </a:lnTo>
                    <a:lnTo>
                      <a:pt x="404" y="509"/>
                    </a:lnTo>
                    <a:lnTo>
                      <a:pt x="402" y="509"/>
                    </a:lnTo>
                    <a:lnTo>
                      <a:pt x="394" y="503"/>
                    </a:lnTo>
                    <a:lnTo>
                      <a:pt x="392" y="505"/>
                    </a:lnTo>
                    <a:lnTo>
                      <a:pt x="392" y="507"/>
                    </a:lnTo>
                    <a:lnTo>
                      <a:pt x="390" y="509"/>
                    </a:lnTo>
                    <a:lnTo>
                      <a:pt x="389" y="511"/>
                    </a:lnTo>
                    <a:lnTo>
                      <a:pt x="387" y="509"/>
                    </a:lnTo>
                    <a:lnTo>
                      <a:pt x="383" y="505"/>
                    </a:lnTo>
                    <a:lnTo>
                      <a:pt x="379" y="502"/>
                    </a:lnTo>
                    <a:lnTo>
                      <a:pt x="377" y="502"/>
                    </a:lnTo>
                    <a:lnTo>
                      <a:pt x="375" y="503"/>
                    </a:lnTo>
                    <a:lnTo>
                      <a:pt x="373" y="507"/>
                    </a:lnTo>
                    <a:lnTo>
                      <a:pt x="371" y="507"/>
                    </a:lnTo>
                    <a:lnTo>
                      <a:pt x="371" y="509"/>
                    </a:lnTo>
                    <a:lnTo>
                      <a:pt x="369" y="507"/>
                    </a:lnTo>
                    <a:lnTo>
                      <a:pt x="367" y="505"/>
                    </a:lnTo>
                    <a:lnTo>
                      <a:pt x="364" y="502"/>
                    </a:lnTo>
                    <a:lnTo>
                      <a:pt x="364" y="503"/>
                    </a:lnTo>
                    <a:lnTo>
                      <a:pt x="362" y="505"/>
                    </a:lnTo>
                    <a:lnTo>
                      <a:pt x="358" y="509"/>
                    </a:lnTo>
                    <a:lnTo>
                      <a:pt x="356" y="509"/>
                    </a:lnTo>
                    <a:lnTo>
                      <a:pt x="354" y="507"/>
                    </a:lnTo>
                    <a:lnTo>
                      <a:pt x="352" y="505"/>
                    </a:lnTo>
                    <a:lnTo>
                      <a:pt x="352" y="503"/>
                    </a:lnTo>
                    <a:lnTo>
                      <a:pt x="352" y="502"/>
                    </a:lnTo>
                    <a:lnTo>
                      <a:pt x="354" y="500"/>
                    </a:lnTo>
                    <a:lnTo>
                      <a:pt x="352" y="498"/>
                    </a:lnTo>
                    <a:lnTo>
                      <a:pt x="348" y="496"/>
                    </a:lnTo>
                    <a:lnTo>
                      <a:pt x="335" y="488"/>
                    </a:lnTo>
                    <a:lnTo>
                      <a:pt x="333" y="486"/>
                    </a:lnTo>
                    <a:lnTo>
                      <a:pt x="321" y="482"/>
                    </a:lnTo>
                    <a:lnTo>
                      <a:pt x="319" y="482"/>
                    </a:lnTo>
                    <a:lnTo>
                      <a:pt x="317" y="480"/>
                    </a:lnTo>
                    <a:lnTo>
                      <a:pt x="316" y="480"/>
                    </a:lnTo>
                    <a:lnTo>
                      <a:pt x="314" y="480"/>
                    </a:lnTo>
                    <a:lnTo>
                      <a:pt x="310" y="480"/>
                    </a:lnTo>
                    <a:lnTo>
                      <a:pt x="308" y="480"/>
                    </a:lnTo>
                    <a:lnTo>
                      <a:pt x="302" y="477"/>
                    </a:lnTo>
                    <a:lnTo>
                      <a:pt x="298" y="473"/>
                    </a:lnTo>
                    <a:lnTo>
                      <a:pt x="296" y="473"/>
                    </a:lnTo>
                    <a:lnTo>
                      <a:pt x="294" y="473"/>
                    </a:lnTo>
                    <a:lnTo>
                      <a:pt x="291" y="473"/>
                    </a:lnTo>
                    <a:lnTo>
                      <a:pt x="289" y="473"/>
                    </a:lnTo>
                    <a:lnTo>
                      <a:pt x="287" y="473"/>
                    </a:lnTo>
                    <a:lnTo>
                      <a:pt x="283" y="473"/>
                    </a:lnTo>
                    <a:lnTo>
                      <a:pt x="283" y="475"/>
                    </a:lnTo>
                    <a:lnTo>
                      <a:pt x="283" y="477"/>
                    </a:lnTo>
                    <a:lnTo>
                      <a:pt x="283" y="478"/>
                    </a:lnTo>
                    <a:lnTo>
                      <a:pt x="285" y="480"/>
                    </a:lnTo>
                    <a:lnTo>
                      <a:pt x="285" y="482"/>
                    </a:lnTo>
                    <a:lnTo>
                      <a:pt x="285" y="484"/>
                    </a:lnTo>
                    <a:lnTo>
                      <a:pt x="287" y="486"/>
                    </a:lnTo>
                    <a:lnTo>
                      <a:pt x="287" y="488"/>
                    </a:lnTo>
                    <a:lnTo>
                      <a:pt x="289" y="492"/>
                    </a:lnTo>
                    <a:lnTo>
                      <a:pt x="291" y="494"/>
                    </a:lnTo>
                    <a:lnTo>
                      <a:pt x="292" y="494"/>
                    </a:lnTo>
                    <a:lnTo>
                      <a:pt x="292" y="496"/>
                    </a:lnTo>
                    <a:lnTo>
                      <a:pt x="294" y="496"/>
                    </a:lnTo>
                    <a:lnTo>
                      <a:pt x="294" y="498"/>
                    </a:lnTo>
                    <a:lnTo>
                      <a:pt x="296" y="500"/>
                    </a:lnTo>
                    <a:lnTo>
                      <a:pt x="298" y="502"/>
                    </a:lnTo>
                    <a:lnTo>
                      <a:pt x="300" y="503"/>
                    </a:lnTo>
                    <a:lnTo>
                      <a:pt x="302" y="507"/>
                    </a:lnTo>
                    <a:lnTo>
                      <a:pt x="302" y="511"/>
                    </a:lnTo>
                    <a:lnTo>
                      <a:pt x="304" y="515"/>
                    </a:lnTo>
                    <a:lnTo>
                      <a:pt x="304" y="519"/>
                    </a:lnTo>
                    <a:lnTo>
                      <a:pt x="304" y="525"/>
                    </a:lnTo>
                    <a:lnTo>
                      <a:pt x="304" y="527"/>
                    </a:lnTo>
                    <a:lnTo>
                      <a:pt x="304" y="528"/>
                    </a:lnTo>
                    <a:lnTo>
                      <a:pt x="302" y="528"/>
                    </a:lnTo>
                    <a:lnTo>
                      <a:pt x="302" y="532"/>
                    </a:lnTo>
                    <a:lnTo>
                      <a:pt x="300" y="532"/>
                    </a:lnTo>
                    <a:lnTo>
                      <a:pt x="298" y="532"/>
                    </a:lnTo>
                    <a:lnTo>
                      <a:pt x="298" y="534"/>
                    </a:lnTo>
                    <a:lnTo>
                      <a:pt x="296" y="540"/>
                    </a:lnTo>
                    <a:lnTo>
                      <a:pt x="294" y="540"/>
                    </a:lnTo>
                    <a:lnTo>
                      <a:pt x="294" y="542"/>
                    </a:lnTo>
                    <a:lnTo>
                      <a:pt x="296" y="542"/>
                    </a:lnTo>
                    <a:lnTo>
                      <a:pt x="294" y="542"/>
                    </a:lnTo>
                    <a:lnTo>
                      <a:pt x="296" y="542"/>
                    </a:lnTo>
                    <a:lnTo>
                      <a:pt x="296" y="544"/>
                    </a:lnTo>
                    <a:lnTo>
                      <a:pt x="296" y="546"/>
                    </a:lnTo>
                    <a:lnTo>
                      <a:pt x="294" y="546"/>
                    </a:lnTo>
                    <a:lnTo>
                      <a:pt x="296" y="548"/>
                    </a:lnTo>
                    <a:lnTo>
                      <a:pt x="298" y="552"/>
                    </a:lnTo>
                    <a:lnTo>
                      <a:pt x="300" y="553"/>
                    </a:lnTo>
                    <a:lnTo>
                      <a:pt x="300" y="557"/>
                    </a:lnTo>
                    <a:lnTo>
                      <a:pt x="304" y="559"/>
                    </a:lnTo>
                    <a:lnTo>
                      <a:pt x="304" y="561"/>
                    </a:lnTo>
                    <a:lnTo>
                      <a:pt x="302" y="561"/>
                    </a:lnTo>
                    <a:lnTo>
                      <a:pt x="302" y="563"/>
                    </a:lnTo>
                    <a:lnTo>
                      <a:pt x="300" y="565"/>
                    </a:lnTo>
                    <a:lnTo>
                      <a:pt x="298" y="565"/>
                    </a:lnTo>
                    <a:lnTo>
                      <a:pt x="294" y="567"/>
                    </a:lnTo>
                    <a:lnTo>
                      <a:pt x="296" y="569"/>
                    </a:lnTo>
                    <a:lnTo>
                      <a:pt x="294" y="569"/>
                    </a:lnTo>
                    <a:lnTo>
                      <a:pt x="291" y="571"/>
                    </a:lnTo>
                    <a:lnTo>
                      <a:pt x="287" y="571"/>
                    </a:lnTo>
                    <a:lnTo>
                      <a:pt x="285" y="571"/>
                    </a:lnTo>
                    <a:lnTo>
                      <a:pt x="283" y="571"/>
                    </a:lnTo>
                    <a:lnTo>
                      <a:pt x="283" y="575"/>
                    </a:lnTo>
                    <a:lnTo>
                      <a:pt x="281" y="578"/>
                    </a:lnTo>
                    <a:lnTo>
                      <a:pt x="281" y="582"/>
                    </a:lnTo>
                    <a:lnTo>
                      <a:pt x="281" y="584"/>
                    </a:lnTo>
                    <a:lnTo>
                      <a:pt x="279" y="588"/>
                    </a:lnTo>
                    <a:lnTo>
                      <a:pt x="279" y="590"/>
                    </a:lnTo>
                    <a:lnTo>
                      <a:pt x="277" y="590"/>
                    </a:lnTo>
                    <a:lnTo>
                      <a:pt x="275" y="596"/>
                    </a:lnTo>
                    <a:lnTo>
                      <a:pt x="271" y="602"/>
                    </a:lnTo>
                    <a:lnTo>
                      <a:pt x="275" y="603"/>
                    </a:lnTo>
                    <a:lnTo>
                      <a:pt x="273" y="609"/>
                    </a:lnTo>
                    <a:lnTo>
                      <a:pt x="271" y="613"/>
                    </a:lnTo>
                    <a:lnTo>
                      <a:pt x="273" y="615"/>
                    </a:lnTo>
                    <a:lnTo>
                      <a:pt x="277" y="617"/>
                    </a:lnTo>
                    <a:lnTo>
                      <a:pt x="283" y="607"/>
                    </a:lnTo>
                    <a:lnTo>
                      <a:pt x="289" y="611"/>
                    </a:lnTo>
                    <a:lnTo>
                      <a:pt x="298" y="617"/>
                    </a:lnTo>
                    <a:lnTo>
                      <a:pt x="298" y="619"/>
                    </a:lnTo>
                    <a:lnTo>
                      <a:pt x="300" y="615"/>
                    </a:lnTo>
                    <a:lnTo>
                      <a:pt x="302" y="611"/>
                    </a:lnTo>
                    <a:lnTo>
                      <a:pt x="300" y="607"/>
                    </a:lnTo>
                    <a:lnTo>
                      <a:pt x="304" y="603"/>
                    </a:lnTo>
                    <a:lnTo>
                      <a:pt x="306" y="602"/>
                    </a:lnTo>
                    <a:lnTo>
                      <a:pt x="306" y="600"/>
                    </a:lnTo>
                    <a:lnTo>
                      <a:pt x="312" y="594"/>
                    </a:lnTo>
                    <a:lnTo>
                      <a:pt x="316" y="598"/>
                    </a:lnTo>
                    <a:lnTo>
                      <a:pt x="319" y="600"/>
                    </a:lnTo>
                    <a:lnTo>
                      <a:pt x="321" y="598"/>
                    </a:lnTo>
                    <a:lnTo>
                      <a:pt x="321" y="596"/>
                    </a:lnTo>
                    <a:lnTo>
                      <a:pt x="323" y="594"/>
                    </a:lnTo>
                    <a:lnTo>
                      <a:pt x="325" y="592"/>
                    </a:lnTo>
                    <a:lnTo>
                      <a:pt x="327" y="594"/>
                    </a:lnTo>
                    <a:lnTo>
                      <a:pt x="331" y="596"/>
                    </a:lnTo>
                    <a:lnTo>
                      <a:pt x="335" y="600"/>
                    </a:lnTo>
                    <a:lnTo>
                      <a:pt x="337" y="602"/>
                    </a:lnTo>
                    <a:lnTo>
                      <a:pt x="344" y="605"/>
                    </a:lnTo>
                    <a:lnTo>
                      <a:pt x="344" y="607"/>
                    </a:lnTo>
                    <a:lnTo>
                      <a:pt x="346" y="607"/>
                    </a:lnTo>
                    <a:lnTo>
                      <a:pt x="344" y="609"/>
                    </a:lnTo>
                    <a:lnTo>
                      <a:pt x="342" y="611"/>
                    </a:lnTo>
                    <a:lnTo>
                      <a:pt x="339" y="615"/>
                    </a:lnTo>
                    <a:lnTo>
                      <a:pt x="339" y="617"/>
                    </a:lnTo>
                    <a:lnTo>
                      <a:pt x="335" y="621"/>
                    </a:lnTo>
                    <a:lnTo>
                      <a:pt x="331" y="627"/>
                    </a:lnTo>
                    <a:lnTo>
                      <a:pt x="329" y="628"/>
                    </a:lnTo>
                    <a:lnTo>
                      <a:pt x="327" y="632"/>
                    </a:lnTo>
                    <a:lnTo>
                      <a:pt x="323" y="636"/>
                    </a:lnTo>
                    <a:lnTo>
                      <a:pt x="319" y="642"/>
                    </a:lnTo>
                    <a:lnTo>
                      <a:pt x="317" y="640"/>
                    </a:lnTo>
                    <a:lnTo>
                      <a:pt x="317" y="642"/>
                    </a:lnTo>
                    <a:lnTo>
                      <a:pt x="316" y="642"/>
                    </a:lnTo>
                    <a:lnTo>
                      <a:pt x="312" y="646"/>
                    </a:lnTo>
                    <a:lnTo>
                      <a:pt x="310" y="650"/>
                    </a:lnTo>
                    <a:lnTo>
                      <a:pt x="300" y="663"/>
                    </a:lnTo>
                    <a:lnTo>
                      <a:pt x="298" y="665"/>
                    </a:lnTo>
                    <a:lnTo>
                      <a:pt x="296" y="665"/>
                    </a:lnTo>
                    <a:lnTo>
                      <a:pt x="298" y="667"/>
                    </a:lnTo>
                    <a:lnTo>
                      <a:pt x="302" y="671"/>
                    </a:lnTo>
                    <a:lnTo>
                      <a:pt x="304" y="671"/>
                    </a:lnTo>
                    <a:lnTo>
                      <a:pt x="308" y="675"/>
                    </a:lnTo>
                    <a:lnTo>
                      <a:pt x="292" y="694"/>
                    </a:lnTo>
                    <a:lnTo>
                      <a:pt x="291" y="698"/>
                    </a:lnTo>
                    <a:lnTo>
                      <a:pt x="285" y="694"/>
                    </a:lnTo>
                    <a:lnTo>
                      <a:pt x="279" y="696"/>
                    </a:lnTo>
                    <a:lnTo>
                      <a:pt x="279" y="694"/>
                    </a:lnTo>
                    <a:lnTo>
                      <a:pt x="277" y="694"/>
                    </a:lnTo>
                    <a:lnTo>
                      <a:pt x="275" y="694"/>
                    </a:lnTo>
                    <a:lnTo>
                      <a:pt x="266" y="694"/>
                    </a:lnTo>
                    <a:lnTo>
                      <a:pt x="264" y="694"/>
                    </a:lnTo>
                    <a:lnTo>
                      <a:pt x="258" y="701"/>
                    </a:lnTo>
                    <a:lnTo>
                      <a:pt x="256" y="705"/>
                    </a:lnTo>
                    <a:lnTo>
                      <a:pt x="252" y="701"/>
                    </a:lnTo>
                    <a:lnTo>
                      <a:pt x="246" y="696"/>
                    </a:lnTo>
                    <a:lnTo>
                      <a:pt x="246" y="694"/>
                    </a:lnTo>
                    <a:lnTo>
                      <a:pt x="248" y="694"/>
                    </a:lnTo>
                    <a:lnTo>
                      <a:pt x="250" y="690"/>
                    </a:lnTo>
                    <a:lnTo>
                      <a:pt x="248" y="688"/>
                    </a:lnTo>
                    <a:lnTo>
                      <a:pt x="246" y="688"/>
                    </a:lnTo>
                    <a:lnTo>
                      <a:pt x="246" y="686"/>
                    </a:lnTo>
                    <a:lnTo>
                      <a:pt x="244" y="684"/>
                    </a:lnTo>
                    <a:lnTo>
                      <a:pt x="243" y="684"/>
                    </a:lnTo>
                    <a:lnTo>
                      <a:pt x="243" y="682"/>
                    </a:lnTo>
                    <a:lnTo>
                      <a:pt x="243" y="680"/>
                    </a:lnTo>
                    <a:lnTo>
                      <a:pt x="239" y="680"/>
                    </a:lnTo>
                    <a:lnTo>
                      <a:pt x="237" y="680"/>
                    </a:lnTo>
                    <a:lnTo>
                      <a:pt x="237" y="678"/>
                    </a:lnTo>
                    <a:lnTo>
                      <a:pt x="231" y="675"/>
                    </a:lnTo>
                    <a:lnTo>
                      <a:pt x="231" y="676"/>
                    </a:lnTo>
                    <a:lnTo>
                      <a:pt x="231" y="678"/>
                    </a:lnTo>
                    <a:lnTo>
                      <a:pt x="229" y="678"/>
                    </a:lnTo>
                    <a:lnTo>
                      <a:pt x="227" y="678"/>
                    </a:lnTo>
                    <a:lnTo>
                      <a:pt x="227" y="680"/>
                    </a:lnTo>
                    <a:lnTo>
                      <a:pt x="225" y="680"/>
                    </a:lnTo>
                    <a:lnTo>
                      <a:pt x="221" y="686"/>
                    </a:lnTo>
                    <a:lnTo>
                      <a:pt x="218" y="684"/>
                    </a:lnTo>
                    <a:lnTo>
                      <a:pt x="218" y="682"/>
                    </a:lnTo>
                    <a:lnTo>
                      <a:pt x="216" y="680"/>
                    </a:lnTo>
                    <a:lnTo>
                      <a:pt x="218" y="676"/>
                    </a:lnTo>
                    <a:lnTo>
                      <a:pt x="218" y="675"/>
                    </a:lnTo>
                    <a:lnTo>
                      <a:pt x="216" y="675"/>
                    </a:lnTo>
                    <a:lnTo>
                      <a:pt x="216" y="673"/>
                    </a:lnTo>
                    <a:lnTo>
                      <a:pt x="214" y="673"/>
                    </a:lnTo>
                    <a:lnTo>
                      <a:pt x="214" y="671"/>
                    </a:lnTo>
                    <a:lnTo>
                      <a:pt x="212" y="671"/>
                    </a:lnTo>
                    <a:lnTo>
                      <a:pt x="212" y="669"/>
                    </a:lnTo>
                    <a:lnTo>
                      <a:pt x="214" y="669"/>
                    </a:lnTo>
                    <a:lnTo>
                      <a:pt x="214" y="667"/>
                    </a:lnTo>
                    <a:lnTo>
                      <a:pt x="212" y="667"/>
                    </a:lnTo>
                    <a:lnTo>
                      <a:pt x="212" y="669"/>
                    </a:lnTo>
                    <a:lnTo>
                      <a:pt x="210" y="669"/>
                    </a:lnTo>
                    <a:lnTo>
                      <a:pt x="210" y="667"/>
                    </a:lnTo>
                    <a:lnTo>
                      <a:pt x="208" y="667"/>
                    </a:lnTo>
                    <a:lnTo>
                      <a:pt x="206" y="667"/>
                    </a:lnTo>
                    <a:lnTo>
                      <a:pt x="206" y="669"/>
                    </a:lnTo>
                    <a:lnTo>
                      <a:pt x="193" y="659"/>
                    </a:lnTo>
                    <a:lnTo>
                      <a:pt x="196" y="655"/>
                    </a:lnTo>
                    <a:lnTo>
                      <a:pt x="198" y="650"/>
                    </a:lnTo>
                    <a:lnTo>
                      <a:pt x="194" y="648"/>
                    </a:lnTo>
                    <a:lnTo>
                      <a:pt x="193" y="646"/>
                    </a:lnTo>
                    <a:lnTo>
                      <a:pt x="191" y="644"/>
                    </a:lnTo>
                    <a:lnTo>
                      <a:pt x="189" y="642"/>
                    </a:lnTo>
                    <a:lnTo>
                      <a:pt x="187" y="642"/>
                    </a:lnTo>
                    <a:lnTo>
                      <a:pt x="175" y="657"/>
                    </a:lnTo>
                    <a:lnTo>
                      <a:pt x="173" y="655"/>
                    </a:lnTo>
                    <a:lnTo>
                      <a:pt x="171" y="653"/>
                    </a:lnTo>
                    <a:lnTo>
                      <a:pt x="164" y="650"/>
                    </a:lnTo>
                    <a:lnTo>
                      <a:pt x="162" y="648"/>
                    </a:lnTo>
                    <a:lnTo>
                      <a:pt x="154" y="640"/>
                    </a:lnTo>
                    <a:lnTo>
                      <a:pt x="150" y="638"/>
                    </a:lnTo>
                    <a:lnTo>
                      <a:pt x="152" y="636"/>
                    </a:lnTo>
                    <a:lnTo>
                      <a:pt x="154" y="632"/>
                    </a:lnTo>
                    <a:lnTo>
                      <a:pt x="152" y="632"/>
                    </a:lnTo>
                    <a:lnTo>
                      <a:pt x="150" y="630"/>
                    </a:lnTo>
                    <a:lnTo>
                      <a:pt x="148" y="630"/>
                    </a:lnTo>
                    <a:lnTo>
                      <a:pt x="146" y="630"/>
                    </a:lnTo>
                    <a:lnTo>
                      <a:pt x="145" y="630"/>
                    </a:lnTo>
                    <a:lnTo>
                      <a:pt x="145" y="628"/>
                    </a:lnTo>
                    <a:lnTo>
                      <a:pt x="143" y="628"/>
                    </a:lnTo>
                    <a:lnTo>
                      <a:pt x="139" y="632"/>
                    </a:lnTo>
                    <a:lnTo>
                      <a:pt x="139" y="634"/>
                    </a:lnTo>
                    <a:lnTo>
                      <a:pt x="137" y="634"/>
                    </a:lnTo>
                    <a:lnTo>
                      <a:pt x="139" y="636"/>
                    </a:lnTo>
                    <a:lnTo>
                      <a:pt x="137" y="636"/>
                    </a:lnTo>
                    <a:lnTo>
                      <a:pt x="135" y="634"/>
                    </a:lnTo>
                    <a:lnTo>
                      <a:pt x="135" y="636"/>
                    </a:lnTo>
                    <a:lnTo>
                      <a:pt x="133" y="636"/>
                    </a:lnTo>
                    <a:lnTo>
                      <a:pt x="131" y="636"/>
                    </a:lnTo>
                    <a:lnTo>
                      <a:pt x="129" y="636"/>
                    </a:lnTo>
                    <a:lnTo>
                      <a:pt x="127" y="640"/>
                    </a:lnTo>
                    <a:lnTo>
                      <a:pt x="125" y="638"/>
                    </a:lnTo>
                    <a:lnTo>
                      <a:pt x="123" y="638"/>
                    </a:lnTo>
                    <a:lnTo>
                      <a:pt x="123" y="636"/>
                    </a:lnTo>
                    <a:lnTo>
                      <a:pt x="121" y="634"/>
                    </a:lnTo>
                    <a:lnTo>
                      <a:pt x="120" y="634"/>
                    </a:lnTo>
                    <a:lnTo>
                      <a:pt x="121" y="634"/>
                    </a:lnTo>
                    <a:lnTo>
                      <a:pt x="121" y="632"/>
                    </a:lnTo>
                    <a:lnTo>
                      <a:pt x="120" y="632"/>
                    </a:lnTo>
                    <a:lnTo>
                      <a:pt x="120" y="634"/>
                    </a:lnTo>
                    <a:lnTo>
                      <a:pt x="120" y="632"/>
                    </a:lnTo>
                    <a:lnTo>
                      <a:pt x="118" y="632"/>
                    </a:lnTo>
                    <a:lnTo>
                      <a:pt x="116" y="634"/>
                    </a:lnTo>
                    <a:lnTo>
                      <a:pt x="114" y="634"/>
                    </a:lnTo>
                    <a:lnTo>
                      <a:pt x="112" y="634"/>
                    </a:lnTo>
                    <a:lnTo>
                      <a:pt x="114" y="632"/>
                    </a:lnTo>
                    <a:lnTo>
                      <a:pt x="114" y="630"/>
                    </a:lnTo>
                    <a:lnTo>
                      <a:pt x="112" y="630"/>
                    </a:lnTo>
                    <a:lnTo>
                      <a:pt x="114" y="628"/>
                    </a:lnTo>
                    <a:lnTo>
                      <a:pt x="114" y="627"/>
                    </a:lnTo>
                    <a:lnTo>
                      <a:pt x="112" y="625"/>
                    </a:lnTo>
                    <a:lnTo>
                      <a:pt x="112" y="623"/>
                    </a:lnTo>
                    <a:lnTo>
                      <a:pt x="110" y="621"/>
                    </a:lnTo>
                    <a:lnTo>
                      <a:pt x="108" y="621"/>
                    </a:lnTo>
                    <a:lnTo>
                      <a:pt x="106" y="621"/>
                    </a:lnTo>
                    <a:lnTo>
                      <a:pt x="106" y="623"/>
                    </a:lnTo>
                    <a:lnTo>
                      <a:pt x="106" y="621"/>
                    </a:lnTo>
                    <a:lnTo>
                      <a:pt x="106" y="623"/>
                    </a:lnTo>
                    <a:lnTo>
                      <a:pt x="106" y="621"/>
                    </a:lnTo>
                    <a:lnTo>
                      <a:pt x="104" y="623"/>
                    </a:lnTo>
                    <a:lnTo>
                      <a:pt x="102" y="625"/>
                    </a:lnTo>
                    <a:lnTo>
                      <a:pt x="104" y="625"/>
                    </a:lnTo>
                    <a:lnTo>
                      <a:pt x="104" y="623"/>
                    </a:lnTo>
                    <a:lnTo>
                      <a:pt x="104" y="625"/>
                    </a:lnTo>
                    <a:lnTo>
                      <a:pt x="102" y="625"/>
                    </a:lnTo>
                    <a:lnTo>
                      <a:pt x="104" y="623"/>
                    </a:lnTo>
                    <a:lnTo>
                      <a:pt x="102" y="623"/>
                    </a:lnTo>
                    <a:lnTo>
                      <a:pt x="102" y="625"/>
                    </a:lnTo>
                    <a:lnTo>
                      <a:pt x="102" y="623"/>
                    </a:lnTo>
                    <a:lnTo>
                      <a:pt x="100" y="623"/>
                    </a:lnTo>
                    <a:lnTo>
                      <a:pt x="100" y="625"/>
                    </a:lnTo>
                    <a:lnTo>
                      <a:pt x="100" y="623"/>
                    </a:lnTo>
                    <a:lnTo>
                      <a:pt x="98" y="623"/>
                    </a:lnTo>
                    <a:lnTo>
                      <a:pt x="97" y="621"/>
                    </a:lnTo>
                    <a:lnTo>
                      <a:pt x="95" y="619"/>
                    </a:lnTo>
                    <a:lnTo>
                      <a:pt x="93" y="619"/>
                    </a:lnTo>
                    <a:lnTo>
                      <a:pt x="95" y="617"/>
                    </a:lnTo>
                    <a:lnTo>
                      <a:pt x="93" y="615"/>
                    </a:lnTo>
                    <a:lnTo>
                      <a:pt x="95" y="615"/>
                    </a:lnTo>
                    <a:lnTo>
                      <a:pt x="93" y="615"/>
                    </a:lnTo>
                    <a:lnTo>
                      <a:pt x="93" y="613"/>
                    </a:lnTo>
                    <a:lnTo>
                      <a:pt x="91" y="613"/>
                    </a:lnTo>
                    <a:lnTo>
                      <a:pt x="91" y="615"/>
                    </a:lnTo>
                    <a:lnTo>
                      <a:pt x="89" y="613"/>
                    </a:lnTo>
                    <a:lnTo>
                      <a:pt x="91" y="613"/>
                    </a:lnTo>
                    <a:lnTo>
                      <a:pt x="89" y="611"/>
                    </a:lnTo>
                    <a:lnTo>
                      <a:pt x="91" y="611"/>
                    </a:lnTo>
                    <a:lnTo>
                      <a:pt x="93" y="609"/>
                    </a:lnTo>
                    <a:lnTo>
                      <a:pt x="93" y="607"/>
                    </a:lnTo>
                    <a:lnTo>
                      <a:pt x="91" y="609"/>
                    </a:lnTo>
                    <a:lnTo>
                      <a:pt x="91" y="607"/>
                    </a:lnTo>
                    <a:lnTo>
                      <a:pt x="89" y="605"/>
                    </a:lnTo>
                    <a:lnTo>
                      <a:pt x="89" y="607"/>
                    </a:lnTo>
                    <a:lnTo>
                      <a:pt x="87" y="607"/>
                    </a:lnTo>
                    <a:lnTo>
                      <a:pt x="85" y="607"/>
                    </a:lnTo>
                    <a:lnTo>
                      <a:pt x="83" y="607"/>
                    </a:lnTo>
                    <a:lnTo>
                      <a:pt x="83" y="605"/>
                    </a:lnTo>
                    <a:lnTo>
                      <a:pt x="85" y="605"/>
                    </a:lnTo>
                    <a:lnTo>
                      <a:pt x="83" y="605"/>
                    </a:lnTo>
                    <a:lnTo>
                      <a:pt x="83" y="603"/>
                    </a:lnTo>
                    <a:lnTo>
                      <a:pt x="81" y="603"/>
                    </a:lnTo>
                    <a:lnTo>
                      <a:pt x="83" y="603"/>
                    </a:lnTo>
                    <a:lnTo>
                      <a:pt x="81" y="602"/>
                    </a:lnTo>
                    <a:lnTo>
                      <a:pt x="77" y="602"/>
                    </a:lnTo>
                    <a:lnTo>
                      <a:pt x="77" y="603"/>
                    </a:lnTo>
                    <a:lnTo>
                      <a:pt x="75" y="603"/>
                    </a:lnTo>
                    <a:lnTo>
                      <a:pt x="75" y="605"/>
                    </a:lnTo>
                    <a:lnTo>
                      <a:pt x="73" y="607"/>
                    </a:lnTo>
                    <a:lnTo>
                      <a:pt x="72" y="609"/>
                    </a:lnTo>
                    <a:lnTo>
                      <a:pt x="70" y="611"/>
                    </a:lnTo>
                    <a:lnTo>
                      <a:pt x="70" y="613"/>
                    </a:lnTo>
                    <a:lnTo>
                      <a:pt x="68" y="615"/>
                    </a:lnTo>
                    <a:lnTo>
                      <a:pt x="68" y="613"/>
                    </a:lnTo>
                    <a:lnTo>
                      <a:pt x="66" y="611"/>
                    </a:lnTo>
                    <a:lnTo>
                      <a:pt x="66" y="613"/>
                    </a:lnTo>
                    <a:lnTo>
                      <a:pt x="66" y="611"/>
                    </a:lnTo>
                    <a:lnTo>
                      <a:pt x="64" y="611"/>
                    </a:lnTo>
                    <a:lnTo>
                      <a:pt x="62" y="607"/>
                    </a:lnTo>
                    <a:lnTo>
                      <a:pt x="58" y="605"/>
                    </a:lnTo>
                    <a:lnTo>
                      <a:pt x="58" y="603"/>
                    </a:lnTo>
                    <a:lnTo>
                      <a:pt x="56" y="603"/>
                    </a:lnTo>
                    <a:lnTo>
                      <a:pt x="56" y="602"/>
                    </a:lnTo>
                    <a:lnTo>
                      <a:pt x="56" y="600"/>
                    </a:lnTo>
                    <a:lnTo>
                      <a:pt x="58" y="598"/>
                    </a:lnTo>
                    <a:lnTo>
                      <a:pt x="56" y="596"/>
                    </a:lnTo>
                    <a:lnTo>
                      <a:pt x="56" y="598"/>
                    </a:lnTo>
                    <a:lnTo>
                      <a:pt x="54" y="598"/>
                    </a:lnTo>
                    <a:lnTo>
                      <a:pt x="52" y="598"/>
                    </a:lnTo>
                    <a:lnTo>
                      <a:pt x="50" y="598"/>
                    </a:lnTo>
                    <a:lnTo>
                      <a:pt x="50" y="596"/>
                    </a:lnTo>
                    <a:lnTo>
                      <a:pt x="50" y="594"/>
                    </a:lnTo>
                    <a:lnTo>
                      <a:pt x="50" y="592"/>
                    </a:lnTo>
                    <a:lnTo>
                      <a:pt x="48" y="592"/>
                    </a:lnTo>
                    <a:lnTo>
                      <a:pt x="47" y="594"/>
                    </a:lnTo>
                    <a:lnTo>
                      <a:pt x="45" y="596"/>
                    </a:lnTo>
                    <a:lnTo>
                      <a:pt x="43" y="596"/>
                    </a:lnTo>
                    <a:lnTo>
                      <a:pt x="41" y="596"/>
                    </a:lnTo>
                    <a:lnTo>
                      <a:pt x="41" y="594"/>
                    </a:lnTo>
                    <a:lnTo>
                      <a:pt x="39" y="594"/>
                    </a:lnTo>
                    <a:lnTo>
                      <a:pt x="37" y="592"/>
                    </a:lnTo>
                    <a:lnTo>
                      <a:pt x="35" y="592"/>
                    </a:lnTo>
                    <a:lnTo>
                      <a:pt x="35" y="594"/>
                    </a:lnTo>
                    <a:lnTo>
                      <a:pt x="31" y="590"/>
                    </a:lnTo>
                    <a:lnTo>
                      <a:pt x="31" y="588"/>
                    </a:lnTo>
                    <a:lnTo>
                      <a:pt x="31" y="586"/>
                    </a:lnTo>
                    <a:lnTo>
                      <a:pt x="31" y="584"/>
                    </a:lnTo>
                    <a:lnTo>
                      <a:pt x="29" y="584"/>
                    </a:lnTo>
                    <a:lnTo>
                      <a:pt x="29" y="582"/>
                    </a:lnTo>
                    <a:lnTo>
                      <a:pt x="27" y="584"/>
                    </a:lnTo>
                    <a:lnTo>
                      <a:pt x="27" y="582"/>
                    </a:lnTo>
                    <a:lnTo>
                      <a:pt x="29" y="582"/>
                    </a:lnTo>
                    <a:lnTo>
                      <a:pt x="25" y="582"/>
                    </a:lnTo>
                    <a:lnTo>
                      <a:pt x="24" y="582"/>
                    </a:lnTo>
                    <a:lnTo>
                      <a:pt x="22" y="582"/>
                    </a:lnTo>
                    <a:lnTo>
                      <a:pt x="22" y="580"/>
                    </a:lnTo>
                    <a:lnTo>
                      <a:pt x="20" y="580"/>
                    </a:lnTo>
                    <a:lnTo>
                      <a:pt x="18" y="580"/>
                    </a:lnTo>
                    <a:lnTo>
                      <a:pt x="18" y="578"/>
                    </a:lnTo>
                    <a:lnTo>
                      <a:pt x="18" y="577"/>
                    </a:lnTo>
                    <a:lnTo>
                      <a:pt x="16" y="577"/>
                    </a:lnTo>
                    <a:lnTo>
                      <a:pt x="18" y="577"/>
                    </a:lnTo>
                    <a:lnTo>
                      <a:pt x="16" y="577"/>
                    </a:lnTo>
                    <a:lnTo>
                      <a:pt x="14" y="577"/>
                    </a:lnTo>
                    <a:lnTo>
                      <a:pt x="14" y="578"/>
                    </a:lnTo>
                    <a:lnTo>
                      <a:pt x="14" y="580"/>
                    </a:lnTo>
                    <a:lnTo>
                      <a:pt x="14" y="578"/>
                    </a:lnTo>
                    <a:lnTo>
                      <a:pt x="14" y="577"/>
                    </a:lnTo>
                    <a:lnTo>
                      <a:pt x="14" y="575"/>
                    </a:lnTo>
                    <a:lnTo>
                      <a:pt x="12" y="575"/>
                    </a:lnTo>
                    <a:lnTo>
                      <a:pt x="12" y="573"/>
                    </a:lnTo>
                    <a:lnTo>
                      <a:pt x="12" y="571"/>
                    </a:lnTo>
                    <a:lnTo>
                      <a:pt x="12" y="569"/>
                    </a:lnTo>
                    <a:lnTo>
                      <a:pt x="10" y="569"/>
                    </a:lnTo>
                    <a:lnTo>
                      <a:pt x="8" y="569"/>
                    </a:lnTo>
                    <a:lnTo>
                      <a:pt x="6" y="571"/>
                    </a:lnTo>
                    <a:lnTo>
                      <a:pt x="4" y="569"/>
                    </a:lnTo>
                    <a:lnTo>
                      <a:pt x="2" y="569"/>
                    </a:lnTo>
                    <a:lnTo>
                      <a:pt x="2" y="567"/>
                    </a:lnTo>
                    <a:lnTo>
                      <a:pt x="2" y="565"/>
                    </a:lnTo>
                    <a:lnTo>
                      <a:pt x="2" y="563"/>
                    </a:lnTo>
                    <a:lnTo>
                      <a:pt x="4" y="563"/>
                    </a:lnTo>
                    <a:lnTo>
                      <a:pt x="4" y="561"/>
                    </a:lnTo>
                    <a:lnTo>
                      <a:pt x="0" y="559"/>
                    </a:lnTo>
                    <a:lnTo>
                      <a:pt x="0" y="557"/>
                    </a:lnTo>
                    <a:lnTo>
                      <a:pt x="0" y="555"/>
                    </a:lnTo>
                    <a:lnTo>
                      <a:pt x="2" y="555"/>
                    </a:lnTo>
                    <a:lnTo>
                      <a:pt x="2" y="553"/>
                    </a:lnTo>
                    <a:lnTo>
                      <a:pt x="2" y="552"/>
                    </a:lnTo>
                    <a:lnTo>
                      <a:pt x="4" y="552"/>
                    </a:lnTo>
                    <a:lnTo>
                      <a:pt x="4" y="550"/>
                    </a:lnTo>
                    <a:lnTo>
                      <a:pt x="2" y="550"/>
                    </a:lnTo>
                    <a:lnTo>
                      <a:pt x="2" y="552"/>
                    </a:lnTo>
                    <a:lnTo>
                      <a:pt x="0" y="552"/>
                    </a:lnTo>
                    <a:lnTo>
                      <a:pt x="2" y="552"/>
                    </a:lnTo>
                    <a:lnTo>
                      <a:pt x="0" y="550"/>
                    </a:lnTo>
                    <a:lnTo>
                      <a:pt x="0" y="548"/>
                    </a:lnTo>
                    <a:lnTo>
                      <a:pt x="0" y="546"/>
                    </a:lnTo>
                    <a:lnTo>
                      <a:pt x="2" y="546"/>
                    </a:lnTo>
                    <a:lnTo>
                      <a:pt x="2" y="544"/>
                    </a:lnTo>
                    <a:lnTo>
                      <a:pt x="2" y="542"/>
                    </a:lnTo>
                    <a:lnTo>
                      <a:pt x="6" y="542"/>
                    </a:lnTo>
                    <a:lnTo>
                      <a:pt x="4" y="542"/>
                    </a:lnTo>
                    <a:lnTo>
                      <a:pt x="4" y="538"/>
                    </a:lnTo>
                    <a:lnTo>
                      <a:pt x="6" y="538"/>
                    </a:lnTo>
                    <a:lnTo>
                      <a:pt x="4" y="534"/>
                    </a:lnTo>
                    <a:lnTo>
                      <a:pt x="2" y="534"/>
                    </a:lnTo>
                    <a:lnTo>
                      <a:pt x="2" y="532"/>
                    </a:lnTo>
                    <a:lnTo>
                      <a:pt x="4" y="530"/>
                    </a:lnTo>
                    <a:lnTo>
                      <a:pt x="4" y="528"/>
                    </a:lnTo>
                    <a:lnTo>
                      <a:pt x="4" y="527"/>
                    </a:lnTo>
                    <a:lnTo>
                      <a:pt x="4" y="525"/>
                    </a:lnTo>
                    <a:lnTo>
                      <a:pt x="4" y="523"/>
                    </a:lnTo>
                    <a:lnTo>
                      <a:pt x="6" y="521"/>
                    </a:lnTo>
                    <a:lnTo>
                      <a:pt x="6" y="519"/>
                    </a:lnTo>
                    <a:lnTo>
                      <a:pt x="6" y="517"/>
                    </a:lnTo>
                    <a:lnTo>
                      <a:pt x="8" y="515"/>
                    </a:lnTo>
                    <a:lnTo>
                      <a:pt x="8" y="513"/>
                    </a:lnTo>
                    <a:lnTo>
                      <a:pt x="10" y="511"/>
                    </a:lnTo>
                    <a:lnTo>
                      <a:pt x="10" y="509"/>
                    </a:lnTo>
                    <a:lnTo>
                      <a:pt x="10" y="507"/>
                    </a:lnTo>
                    <a:lnTo>
                      <a:pt x="12" y="507"/>
                    </a:lnTo>
                    <a:lnTo>
                      <a:pt x="12" y="505"/>
                    </a:lnTo>
                    <a:lnTo>
                      <a:pt x="14" y="503"/>
                    </a:lnTo>
                    <a:lnTo>
                      <a:pt x="14" y="502"/>
                    </a:lnTo>
                    <a:lnTo>
                      <a:pt x="16" y="502"/>
                    </a:lnTo>
                    <a:lnTo>
                      <a:pt x="18" y="500"/>
                    </a:lnTo>
                    <a:lnTo>
                      <a:pt x="18" y="502"/>
                    </a:lnTo>
                    <a:lnTo>
                      <a:pt x="18" y="500"/>
                    </a:lnTo>
                    <a:lnTo>
                      <a:pt x="20" y="500"/>
                    </a:lnTo>
                    <a:lnTo>
                      <a:pt x="22" y="498"/>
                    </a:lnTo>
                    <a:lnTo>
                      <a:pt x="22" y="496"/>
                    </a:lnTo>
                    <a:lnTo>
                      <a:pt x="24" y="496"/>
                    </a:lnTo>
                    <a:lnTo>
                      <a:pt x="24" y="494"/>
                    </a:lnTo>
                    <a:lnTo>
                      <a:pt x="25" y="494"/>
                    </a:lnTo>
                    <a:lnTo>
                      <a:pt x="25" y="492"/>
                    </a:lnTo>
                    <a:lnTo>
                      <a:pt x="27" y="492"/>
                    </a:lnTo>
                    <a:lnTo>
                      <a:pt x="27" y="490"/>
                    </a:lnTo>
                    <a:lnTo>
                      <a:pt x="29" y="490"/>
                    </a:lnTo>
                    <a:lnTo>
                      <a:pt x="29" y="488"/>
                    </a:lnTo>
                    <a:lnTo>
                      <a:pt x="31" y="486"/>
                    </a:lnTo>
                    <a:lnTo>
                      <a:pt x="29" y="486"/>
                    </a:lnTo>
                    <a:lnTo>
                      <a:pt x="27" y="484"/>
                    </a:lnTo>
                    <a:lnTo>
                      <a:pt x="27" y="482"/>
                    </a:lnTo>
                    <a:lnTo>
                      <a:pt x="29" y="482"/>
                    </a:lnTo>
                    <a:lnTo>
                      <a:pt x="29" y="480"/>
                    </a:lnTo>
                    <a:lnTo>
                      <a:pt x="31" y="478"/>
                    </a:lnTo>
                    <a:lnTo>
                      <a:pt x="31" y="477"/>
                    </a:lnTo>
                    <a:lnTo>
                      <a:pt x="31" y="475"/>
                    </a:lnTo>
                    <a:lnTo>
                      <a:pt x="33" y="475"/>
                    </a:lnTo>
                    <a:lnTo>
                      <a:pt x="33" y="473"/>
                    </a:lnTo>
                    <a:lnTo>
                      <a:pt x="33" y="471"/>
                    </a:lnTo>
                    <a:lnTo>
                      <a:pt x="33" y="469"/>
                    </a:lnTo>
                    <a:lnTo>
                      <a:pt x="31" y="469"/>
                    </a:lnTo>
                    <a:lnTo>
                      <a:pt x="31" y="467"/>
                    </a:lnTo>
                    <a:lnTo>
                      <a:pt x="31" y="469"/>
                    </a:lnTo>
                    <a:lnTo>
                      <a:pt x="31" y="467"/>
                    </a:lnTo>
                    <a:lnTo>
                      <a:pt x="29" y="469"/>
                    </a:lnTo>
                    <a:lnTo>
                      <a:pt x="29" y="467"/>
                    </a:lnTo>
                    <a:lnTo>
                      <a:pt x="27" y="467"/>
                    </a:lnTo>
                    <a:lnTo>
                      <a:pt x="27" y="465"/>
                    </a:lnTo>
                    <a:lnTo>
                      <a:pt x="29" y="465"/>
                    </a:lnTo>
                    <a:lnTo>
                      <a:pt x="29" y="463"/>
                    </a:lnTo>
                    <a:lnTo>
                      <a:pt x="31" y="463"/>
                    </a:lnTo>
                    <a:lnTo>
                      <a:pt x="33" y="463"/>
                    </a:lnTo>
                    <a:lnTo>
                      <a:pt x="33" y="461"/>
                    </a:lnTo>
                    <a:lnTo>
                      <a:pt x="35" y="461"/>
                    </a:lnTo>
                    <a:lnTo>
                      <a:pt x="37" y="461"/>
                    </a:lnTo>
                    <a:lnTo>
                      <a:pt x="37" y="459"/>
                    </a:lnTo>
                    <a:lnTo>
                      <a:pt x="37" y="457"/>
                    </a:lnTo>
                    <a:lnTo>
                      <a:pt x="39" y="457"/>
                    </a:lnTo>
                    <a:lnTo>
                      <a:pt x="39" y="455"/>
                    </a:lnTo>
                    <a:lnTo>
                      <a:pt x="41" y="455"/>
                    </a:lnTo>
                    <a:lnTo>
                      <a:pt x="41" y="453"/>
                    </a:lnTo>
                    <a:lnTo>
                      <a:pt x="41" y="452"/>
                    </a:lnTo>
                    <a:lnTo>
                      <a:pt x="43" y="452"/>
                    </a:lnTo>
                    <a:lnTo>
                      <a:pt x="43" y="450"/>
                    </a:lnTo>
                    <a:lnTo>
                      <a:pt x="43" y="448"/>
                    </a:lnTo>
                    <a:lnTo>
                      <a:pt x="43" y="446"/>
                    </a:lnTo>
                    <a:lnTo>
                      <a:pt x="45" y="446"/>
                    </a:lnTo>
                    <a:lnTo>
                      <a:pt x="45" y="444"/>
                    </a:lnTo>
                    <a:lnTo>
                      <a:pt x="45" y="442"/>
                    </a:lnTo>
                    <a:lnTo>
                      <a:pt x="43" y="440"/>
                    </a:lnTo>
                    <a:lnTo>
                      <a:pt x="41" y="438"/>
                    </a:lnTo>
                    <a:lnTo>
                      <a:pt x="39" y="438"/>
                    </a:lnTo>
                    <a:lnTo>
                      <a:pt x="37" y="438"/>
                    </a:lnTo>
                    <a:lnTo>
                      <a:pt x="35" y="436"/>
                    </a:lnTo>
                    <a:lnTo>
                      <a:pt x="33" y="436"/>
                    </a:lnTo>
                    <a:lnTo>
                      <a:pt x="33" y="434"/>
                    </a:lnTo>
                    <a:lnTo>
                      <a:pt x="33" y="432"/>
                    </a:lnTo>
                    <a:lnTo>
                      <a:pt x="31" y="432"/>
                    </a:lnTo>
                    <a:lnTo>
                      <a:pt x="31" y="430"/>
                    </a:lnTo>
                    <a:lnTo>
                      <a:pt x="29" y="430"/>
                    </a:lnTo>
                    <a:lnTo>
                      <a:pt x="27" y="423"/>
                    </a:lnTo>
                    <a:lnTo>
                      <a:pt x="27" y="421"/>
                    </a:lnTo>
                    <a:lnTo>
                      <a:pt x="27" y="417"/>
                    </a:lnTo>
                    <a:lnTo>
                      <a:pt x="27" y="411"/>
                    </a:lnTo>
                    <a:lnTo>
                      <a:pt x="27" y="409"/>
                    </a:lnTo>
                    <a:lnTo>
                      <a:pt x="27" y="405"/>
                    </a:lnTo>
                    <a:lnTo>
                      <a:pt x="27" y="403"/>
                    </a:lnTo>
                    <a:lnTo>
                      <a:pt x="29" y="402"/>
                    </a:lnTo>
                    <a:lnTo>
                      <a:pt x="33" y="400"/>
                    </a:lnTo>
                    <a:lnTo>
                      <a:pt x="35" y="398"/>
                    </a:lnTo>
                    <a:lnTo>
                      <a:pt x="37" y="398"/>
                    </a:lnTo>
                    <a:lnTo>
                      <a:pt x="39" y="396"/>
                    </a:lnTo>
                    <a:lnTo>
                      <a:pt x="39" y="394"/>
                    </a:lnTo>
                    <a:lnTo>
                      <a:pt x="37" y="394"/>
                    </a:lnTo>
                    <a:lnTo>
                      <a:pt x="35" y="394"/>
                    </a:lnTo>
                    <a:lnTo>
                      <a:pt x="37" y="392"/>
                    </a:lnTo>
                    <a:lnTo>
                      <a:pt x="37" y="390"/>
                    </a:lnTo>
                    <a:lnTo>
                      <a:pt x="39" y="390"/>
                    </a:lnTo>
                    <a:lnTo>
                      <a:pt x="39" y="388"/>
                    </a:lnTo>
                    <a:lnTo>
                      <a:pt x="41" y="384"/>
                    </a:lnTo>
                    <a:lnTo>
                      <a:pt x="43" y="380"/>
                    </a:lnTo>
                    <a:lnTo>
                      <a:pt x="41" y="379"/>
                    </a:lnTo>
                    <a:lnTo>
                      <a:pt x="41" y="377"/>
                    </a:lnTo>
                    <a:lnTo>
                      <a:pt x="39" y="377"/>
                    </a:lnTo>
                    <a:lnTo>
                      <a:pt x="41" y="375"/>
                    </a:lnTo>
                    <a:lnTo>
                      <a:pt x="41" y="373"/>
                    </a:lnTo>
                    <a:lnTo>
                      <a:pt x="41" y="371"/>
                    </a:lnTo>
                    <a:lnTo>
                      <a:pt x="41" y="369"/>
                    </a:lnTo>
                    <a:lnTo>
                      <a:pt x="41" y="367"/>
                    </a:lnTo>
                    <a:lnTo>
                      <a:pt x="43" y="367"/>
                    </a:lnTo>
                    <a:lnTo>
                      <a:pt x="45" y="369"/>
                    </a:lnTo>
                    <a:lnTo>
                      <a:pt x="48" y="371"/>
                    </a:lnTo>
                    <a:lnTo>
                      <a:pt x="50" y="371"/>
                    </a:lnTo>
                    <a:lnTo>
                      <a:pt x="50" y="373"/>
                    </a:lnTo>
                    <a:lnTo>
                      <a:pt x="52" y="373"/>
                    </a:lnTo>
                    <a:lnTo>
                      <a:pt x="54" y="375"/>
                    </a:lnTo>
                    <a:lnTo>
                      <a:pt x="56" y="375"/>
                    </a:lnTo>
                    <a:lnTo>
                      <a:pt x="58" y="373"/>
                    </a:lnTo>
                    <a:lnTo>
                      <a:pt x="60" y="371"/>
                    </a:lnTo>
                    <a:lnTo>
                      <a:pt x="62" y="371"/>
                    </a:lnTo>
                    <a:lnTo>
                      <a:pt x="64" y="369"/>
                    </a:lnTo>
                    <a:lnTo>
                      <a:pt x="64" y="367"/>
                    </a:lnTo>
                    <a:lnTo>
                      <a:pt x="64" y="365"/>
                    </a:lnTo>
                    <a:lnTo>
                      <a:pt x="66" y="365"/>
                    </a:lnTo>
                    <a:lnTo>
                      <a:pt x="66" y="363"/>
                    </a:lnTo>
                    <a:lnTo>
                      <a:pt x="68" y="361"/>
                    </a:lnTo>
                    <a:lnTo>
                      <a:pt x="68" y="359"/>
                    </a:lnTo>
                    <a:lnTo>
                      <a:pt x="70" y="359"/>
                    </a:lnTo>
                    <a:lnTo>
                      <a:pt x="70" y="361"/>
                    </a:lnTo>
                    <a:lnTo>
                      <a:pt x="72" y="361"/>
                    </a:lnTo>
                    <a:lnTo>
                      <a:pt x="70" y="361"/>
                    </a:lnTo>
                    <a:lnTo>
                      <a:pt x="70" y="363"/>
                    </a:lnTo>
                    <a:lnTo>
                      <a:pt x="72" y="363"/>
                    </a:lnTo>
                    <a:lnTo>
                      <a:pt x="72" y="365"/>
                    </a:lnTo>
                    <a:lnTo>
                      <a:pt x="73" y="365"/>
                    </a:lnTo>
                    <a:lnTo>
                      <a:pt x="73" y="363"/>
                    </a:lnTo>
                    <a:lnTo>
                      <a:pt x="73" y="365"/>
                    </a:lnTo>
                    <a:lnTo>
                      <a:pt x="73" y="367"/>
                    </a:lnTo>
                    <a:lnTo>
                      <a:pt x="75" y="367"/>
                    </a:lnTo>
                    <a:lnTo>
                      <a:pt x="77" y="367"/>
                    </a:lnTo>
                    <a:lnTo>
                      <a:pt x="75" y="367"/>
                    </a:lnTo>
                    <a:lnTo>
                      <a:pt x="77" y="367"/>
                    </a:lnTo>
                    <a:lnTo>
                      <a:pt x="75" y="367"/>
                    </a:lnTo>
                    <a:lnTo>
                      <a:pt x="77" y="367"/>
                    </a:lnTo>
                    <a:lnTo>
                      <a:pt x="75" y="369"/>
                    </a:lnTo>
                    <a:lnTo>
                      <a:pt x="77" y="369"/>
                    </a:lnTo>
                    <a:lnTo>
                      <a:pt x="79" y="371"/>
                    </a:lnTo>
                    <a:lnTo>
                      <a:pt x="81" y="371"/>
                    </a:lnTo>
                    <a:lnTo>
                      <a:pt x="81" y="373"/>
                    </a:lnTo>
                    <a:lnTo>
                      <a:pt x="81" y="375"/>
                    </a:lnTo>
                    <a:lnTo>
                      <a:pt x="81" y="377"/>
                    </a:lnTo>
                    <a:lnTo>
                      <a:pt x="79" y="375"/>
                    </a:lnTo>
                    <a:lnTo>
                      <a:pt x="79" y="377"/>
                    </a:lnTo>
                    <a:lnTo>
                      <a:pt x="81" y="377"/>
                    </a:lnTo>
                    <a:lnTo>
                      <a:pt x="79" y="377"/>
                    </a:lnTo>
                    <a:lnTo>
                      <a:pt x="81" y="377"/>
                    </a:lnTo>
                    <a:lnTo>
                      <a:pt x="81" y="379"/>
                    </a:lnTo>
                    <a:lnTo>
                      <a:pt x="81" y="380"/>
                    </a:lnTo>
                    <a:lnTo>
                      <a:pt x="83" y="380"/>
                    </a:lnTo>
                    <a:lnTo>
                      <a:pt x="81" y="380"/>
                    </a:lnTo>
                    <a:lnTo>
                      <a:pt x="81" y="382"/>
                    </a:lnTo>
                    <a:lnTo>
                      <a:pt x="83" y="380"/>
                    </a:lnTo>
                    <a:lnTo>
                      <a:pt x="85" y="380"/>
                    </a:lnTo>
                    <a:lnTo>
                      <a:pt x="85" y="382"/>
                    </a:lnTo>
                    <a:lnTo>
                      <a:pt x="87" y="382"/>
                    </a:lnTo>
                    <a:lnTo>
                      <a:pt x="89" y="382"/>
                    </a:lnTo>
                    <a:lnTo>
                      <a:pt x="89" y="380"/>
                    </a:lnTo>
                    <a:lnTo>
                      <a:pt x="91" y="380"/>
                    </a:lnTo>
                    <a:lnTo>
                      <a:pt x="91" y="379"/>
                    </a:lnTo>
                    <a:lnTo>
                      <a:pt x="93" y="379"/>
                    </a:lnTo>
                    <a:lnTo>
                      <a:pt x="95" y="379"/>
                    </a:lnTo>
                    <a:lnTo>
                      <a:pt x="95" y="380"/>
                    </a:lnTo>
                    <a:lnTo>
                      <a:pt x="97" y="380"/>
                    </a:lnTo>
                    <a:lnTo>
                      <a:pt x="97" y="382"/>
                    </a:lnTo>
                    <a:lnTo>
                      <a:pt x="98" y="382"/>
                    </a:lnTo>
                    <a:lnTo>
                      <a:pt x="100" y="382"/>
                    </a:lnTo>
                    <a:lnTo>
                      <a:pt x="102" y="382"/>
                    </a:lnTo>
                    <a:lnTo>
                      <a:pt x="102" y="384"/>
                    </a:lnTo>
                    <a:lnTo>
                      <a:pt x="102" y="386"/>
                    </a:lnTo>
                    <a:lnTo>
                      <a:pt x="104" y="388"/>
                    </a:lnTo>
                    <a:lnTo>
                      <a:pt x="104" y="390"/>
                    </a:lnTo>
                    <a:lnTo>
                      <a:pt x="104" y="392"/>
                    </a:lnTo>
                    <a:lnTo>
                      <a:pt x="104" y="394"/>
                    </a:lnTo>
                    <a:lnTo>
                      <a:pt x="106" y="394"/>
                    </a:lnTo>
                    <a:lnTo>
                      <a:pt x="108" y="394"/>
                    </a:lnTo>
                    <a:lnTo>
                      <a:pt x="108" y="396"/>
                    </a:lnTo>
                    <a:lnTo>
                      <a:pt x="108" y="398"/>
                    </a:lnTo>
                    <a:lnTo>
                      <a:pt x="108" y="400"/>
                    </a:lnTo>
                    <a:lnTo>
                      <a:pt x="108" y="402"/>
                    </a:lnTo>
                    <a:lnTo>
                      <a:pt x="106" y="402"/>
                    </a:lnTo>
                    <a:lnTo>
                      <a:pt x="106" y="403"/>
                    </a:lnTo>
                    <a:lnTo>
                      <a:pt x="106" y="405"/>
                    </a:lnTo>
                    <a:lnTo>
                      <a:pt x="108" y="405"/>
                    </a:lnTo>
                    <a:lnTo>
                      <a:pt x="108" y="407"/>
                    </a:lnTo>
                    <a:lnTo>
                      <a:pt x="108" y="409"/>
                    </a:lnTo>
                    <a:lnTo>
                      <a:pt x="106" y="409"/>
                    </a:lnTo>
                    <a:lnTo>
                      <a:pt x="108" y="409"/>
                    </a:lnTo>
                    <a:lnTo>
                      <a:pt x="108" y="411"/>
                    </a:lnTo>
                    <a:lnTo>
                      <a:pt x="110" y="411"/>
                    </a:lnTo>
                    <a:lnTo>
                      <a:pt x="110" y="413"/>
                    </a:lnTo>
                    <a:lnTo>
                      <a:pt x="110" y="415"/>
                    </a:lnTo>
                    <a:lnTo>
                      <a:pt x="112" y="415"/>
                    </a:lnTo>
                    <a:lnTo>
                      <a:pt x="112" y="417"/>
                    </a:lnTo>
                    <a:lnTo>
                      <a:pt x="110" y="417"/>
                    </a:lnTo>
                    <a:lnTo>
                      <a:pt x="110" y="419"/>
                    </a:lnTo>
                    <a:lnTo>
                      <a:pt x="110" y="421"/>
                    </a:lnTo>
                    <a:lnTo>
                      <a:pt x="110" y="423"/>
                    </a:lnTo>
                    <a:lnTo>
                      <a:pt x="108" y="423"/>
                    </a:lnTo>
                    <a:lnTo>
                      <a:pt x="108" y="425"/>
                    </a:lnTo>
                    <a:lnTo>
                      <a:pt x="108" y="427"/>
                    </a:lnTo>
                    <a:lnTo>
                      <a:pt x="108" y="428"/>
                    </a:lnTo>
                    <a:lnTo>
                      <a:pt x="106" y="428"/>
                    </a:lnTo>
                    <a:lnTo>
                      <a:pt x="106" y="430"/>
                    </a:lnTo>
                    <a:lnTo>
                      <a:pt x="106" y="432"/>
                    </a:lnTo>
                    <a:lnTo>
                      <a:pt x="104" y="432"/>
                    </a:lnTo>
                    <a:lnTo>
                      <a:pt x="104" y="434"/>
                    </a:lnTo>
                    <a:lnTo>
                      <a:pt x="104" y="436"/>
                    </a:lnTo>
                    <a:lnTo>
                      <a:pt x="104" y="438"/>
                    </a:lnTo>
                    <a:lnTo>
                      <a:pt x="104" y="440"/>
                    </a:lnTo>
                    <a:lnTo>
                      <a:pt x="102" y="440"/>
                    </a:lnTo>
                    <a:lnTo>
                      <a:pt x="102" y="442"/>
                    </a:lnTo>
                    <a:lnTo>
                      <a:pt x="102" y="444"/>
                    </a:lnTo>
                    <a:lnTo>
                      <a:pt x="102" y="446"/>
                    </a:lnTo>
                    <a:lnTo>
                      <a:pt x="102" y="448"/>
                    </a:lnTo>
                    <a:lnTo>
                      <a:pt x="100" y="448"/>
                    </a:lnTo>
                    <a:lnTo>
                      <a:pt x="100" y="450"/>
                    </a:lnTo>
                    <a:lnTo>
                      <a:pt x="98" y="450"/>
                    </a:lnTo>
                    <a:lnTo>
                      <a:pt x="98" y="452"/>
                    </a:lnTo>
                    <a:lnTo>
                      <a:pt x="98" y="453"/>
                    </a:lnTo>
                    <a:lnTo>
                      <a:pt x="98" y="455"/>
                    </a:lnTo>
                    <a:lnTo>
                      <a:pt x="100" y="455"/>
                    </a:lnTo>
                    <a:lnTo>
                      <a:pt x="102" y="455"/>
                    </a:lnTo>
                    <a:lnTo>
                      <a:pt x="102" y="457"/>
                    </a:lnTo>
                    <a:lnTo>
                      <a:pt x="102" y="459"/>
                    </a:lnTo>
                    <a:lnTo>
                      <a:pt x="104" y="459"/>
                    </a:lnTo>
                    <a:lnTo>
                      <a:pt x="104" y="461"/>
                    </a:lnTo>
                    <a:lnTo>
                      <a:pt x="102" y="461"/>
                    </a:lnTo>
                    <a:lnTo>
                      <a:pt x="104" y="461"/>
                    </a:lnTo>
                    <a:lnTo>
                      <a:pt x="104" y="463"/>
                    </a:lnTo>
                    <a:lnTo>
                      <a:pt x="104" y="465"/>
                    </a:lnTo>
                    <a:lnTo>
                      <a:pt x="106" y="465"/>
                    </a:lnTo>
                    <a:lnTo>
                      <a:pt x="106" y="467"/>
                    </a:lnTo>
                    <a:lnTo>
                      <a:pt x="104" y="467"/>
                    </a:lnTo>
                    <a:lnTo>
                      <a:pt x="104" y="469"/>
                    </a:lnTo>
                    <a:lnTo>
                      <a:pt x="106" y="469"/>
                    </a:lnTo>
                    <a:lnTo>
                      <a:pt x="106" y="471"/>
                    </a:lnTo>
                    <a:lnTo>
                      <a:pt x="106" y="473"/>
                    </a:lnTo>
                    <a:lnTo>
                      <a:pt x="104" y="473"/>
                    </a:lnTo>
                    <a:lnTo>
                      <a:pt x="104" y="475"/>
                    </a:lnTo>
                    <a:lnTo>
                      <a:pt x="104" y="477"/>
                    </a:lnTo>
                    <a:lnTo>
                      <a:pt x="104" y="478"/>
                    </a:lnTo>
                    <a:lnTo>
                      <a:pt x="102" y="478"/>
                    </a:lnTo>
                    <a:lnTo>
                      <a:pt x="102" y="480"/>
                    </a:lnTo>
                    <a:lnTo>
                      <a:pt x="100" y="480"/>
                    </a:lnTo>
                    <a:lnTo>
                      <a:pt x="100" y="482"/>
                    </a:lnTo>
                    <a:lnTo>
                      <a:pt x="98" y="482"/>
                    </a:lnTo>
                    <a:lnTo>
                      <a:pt x="97" y="482"/>
                    </a:lnTo>
                    <a:lnTo>
                      <a:pt x="97" y="484"/>
                    </a:lnTo>
                    <a:lnTo>
                      <a:pt x="95" y="484"/>
                    </a:lnTo>
                    <a:lnTo>
                      <a:pt x="95" y="486"/>
                    </a:lnTo>
                    <a:lnTo>
                      <a:pt x="93" y="486"/>
                    </a:lnTo>
                    <a:lnTo>
                      <a:pt x="93" y="488"/>
                    </a:lnTo>
                    <a:lnTo>
                      <a:pt x="93" y="490"/>
                    </a:lnTo>
                    <a:lnTo>
                      <a:pt x="91" y="492"/>
                    </a:lnTo>
                    <a:lnTo>
                      <a:pt x="91" y="490"/>
                    </a:lnTo>
                    <a:lnTo>
                      <a:pt x="91" y="492"/>
                    </a:lnTo>
                    <a:lnTo>
                      <a:pt x="91" y="490"/>
                    </a:lnTo>
                    <a:lnTo>
                      <a:pt x="89" y="490"/>
                    </a:lnTo>
                    <a:lnTo>
                      <a:pt x="87" y="490"/>
                    </a:lnTo>
                    <a:lnTo>
                      <a:pt x="87" y="492"/>
                    </a:lnTo>
                    <a:lnTo>
                      <a:pt x="85" y="492"/>
                    </a:lnTo>
                    <a:lnTo>
                      <a:pt x="83" y="492"/>
                    </a:lnTo>
                    <a:lnTo>
                      <a:pt x="81" y="492"/>
                    </a:lnTo>
                    <a:lnTo>
                      <a:pt x="81" y="494"/>
                    </a:lnTo>
                    <a:lnTo>
                      <a:pt x="79" y="494"/>
                    </a:lnTo>
                    <a:lnTo>
                      <a:pt x="77" y="494"/>
                    </a:lnTo>
                    <a:lnTo>
                      <a:pt x="77" y="496"/>
                    </a:lnTo>
                    <a:lnTo>
                      <a:pt x="75" y="496"/>
                    </a:lnTo>
                    <a:lnTo>
                      <a:pt x="73" y="496"/>
                    </a:lnTo>
                    <a:lnTo>
                      <a:pt x="73" y="498"/>
                    </a:lnTo>
                    <a:lnTo>
                      <a:pt x="72" y="498"/>
                    </a:lnTo>
                    <a:lnTo>
                      <a:pt x="72" y="500"/>
                    </a:lnTo>
                    <a:lnTo>
                      <a:pt x="70" y="500"/>
                    </a:lnTo>
                    <a:lnTo>
                      <a:pt x="68" y="500"/>
                    </a:lnTo>
                    <a:lnTo>
                      <a:pt x="66" y="500"/>
                    </a:lnTo>
                    <a:lnTo>
                      <a:pt x="66" y="498"/>
                    </a:lnTo>
                    <a:lnTo>
                      <a:pt x="64" y="498"/>
                    </a:lnTo>
                    <a:lnTo>
                      <a:pt x="64" y="496"/>
                    </a:lnTo>
                    <a:lnTo>
                      <a:pt x="62" y="498"/>
                    </a:lnTo>
                    <a:lnTo>
                      <a:pt x="60" y="496"/>
                    </a:lnTo>
                    <a:lnTo>
                      <a:pt x="62" y="498"/>
                    </a:lnTo>
                    <a:lnTo>
                      <a:pt x="62" y="500"/>
                    </a:lnTo>
                    <a:lnTo>
                      <a:pt x="60" y="500"/>
                    </a:lnTo>
                    <a:lnTo>
                      <a:pt x="60" y="498"/>
                    </a:lnTo>
                    <a:lnTo>
                      <a:pt x="58" y="498"/>
                    </a:lnTo>
                    <a:lnTo>
                      <a:pt x="58" y="500"/>
                    </a:lnTo>
                    <a:lnTo>
                      <a:pt x="56" y="500"/>
                    </a:lnTo>
                    <a:lnTo>
                      <a:pt x="56" y="502"/>
                    </a:lnTo>
                    <a:lnTo>
                      <a:pt x="56" y="503"/>
                    </a:lnTo>
                    <a:lnTo>
                      <a:pt x="56" y="505"/>
                    </a:lnTo>
                    <a:lnTo>
                      <a:pt x="54" y="505"/>
                    </a:lnTo>
                    <a:lnTo>
                      <a:pt x="56" y="505"/>
                    </a:lnTo>
                    <a:lnTo>
                      <a:pt x="56" y="507"/>
                    </a:lnTo>
                    <a:lnTo>
                      <a:pt x="58" y="507"/>
                    </a:lnTo>
                    <a:lnTo>
                      <a:pt x="56" y="509"/>
                    </a:lnTo>
                    <a:lnTo>
                      <a:pt x="56" y="511"/>
                    </a:lnTo>
                    <a:lnTo>
                      <a:pt x="54" y="511"/>
                    </a:lnTo>
                    <a:lnTo>
                      <a:pt x="54" y="513"/>
                    </a:lnTo>
                    <a:lnTo>
                      <a:pt x="54" y="515"/>
                    </a:lnTo>
                    <a:lnTo>
                      <a:pt x="54" y="517"/>
                    </a:lnTo>
                    <a:lnTo>
                      <a:pt x="54" y="519"/>
                    </a:lnTo>
                    <a:lnTo>
                      <a:pt x="52" y="519"/>
                    </a:lnTo>
                    <a:lnTo>
                      <a:pt x="54" y="519"/>
                    </a:lnTo>
                    <a:lnTo>
                      <a:pt x="54" y="521"/>
                    </a:lnTo>
                    <a:lnTo>
                      <a:pt x="52" y="521"/>
                    </a:lnTo>
                    <a:lnTo>
                      <a:pt x="54" y="521"/>
                    </a:lnTo>
                    <a:lnTo>
                      <a:pt x="52" y="521"/>
                    </a:lnTo>
                    <a:lnTo>
                      <a:pt x="52" y="523"/>
                    </a:lnTo>
                    <a:lnTo>
                      <a:pt x="50" y="523"/>
                    </a:lnTo>
                    <a:lnTo>
                      <a:pt x="52" y="523"/>
                    </a:lnTo>
                    <a:lnTo>
                      <a:pt x="52" y="525"/>
                    </a:lnTo>
                    <a:lnTo>
                      <a:pt x="54" y="525"/>
                    </a:lnTo>
                    <a:lnTo>
                      <a:pt x="56" y="525"/>
                    </a:lnTo>
                    <a:lnTo>
                      <a:pt x="56" y="527"/>
                    </a:lnTo>
                    <a:lnTo>
                      <a:pt x="56" y="525"/>
                    </a:lnTo>
                    <a:lnTo>
                      <a:pt x="54" y="525"/>
                    </a:lnTo>
                    <a:lnTo>
                      <a:pt x="52" y="525"/>
                    </a:lnTo>
                    <a:lnTo>
                      <a:pt x="52" y="523"/>
                    </a:lnTo>
                    <a:lnTo>
                      <a:pt x="52" y="521"/>
                    </a:lnTo>
                    <a:lnTo>
                      <a:pt x="54" y="521"/>
                    </a:lnTo>
                    <a:lnTo>
                      <a:pt x="54" y="519"/>
                    </a:lnTo>
                    <a:lnTo>
                      <a:pt x="54" y="517"/>
                    </a:lnTo>
                    <a:lnTo>
                      <a:pt x="54" y="515"/>
                    </a:lnTo>
                    <a:lnTo>
                      <a:pt x="54" y="513"/>
                    </a:lnTo>
                    <a:lnTo>
                      <a:pt x="54" y="511"/>
                    </a:lnTo>
                    <a:lnTo>
                      <a:pt x="56" y="511"/>
                    </a:lnTo>
                    <a:lnTo>
                      <a:pt x="56" y="509"/>
                    </a:lnTo>
                    <a:lnTo>
                      <a:pt x="58" y="507"/>
                    </a:lnTo>
                    <a:lnTo>
                      <a:pt x="56" y="507"/>
                    </a:lnTo>
                    <a:lnTo>
                      <a:pt x="56" y="505"/>
                    </a:lnTo>
                    <a:lnTo>
                      <a:pt x="54" y="505"/>
                    </a:lnTo>
                    <a:lnTo>
                      <a:pt x="56" y="505"/>
                    </a:lnTo>
                    <a:lnTo>
                      <a:pt x="56" y="503"/>
                    </a:lnTo>
                    <a:lnTo>
                      <a:pt x="56" y="502"/>
                    </a:lnTo>
                    <a:lnTo>
                      <a:pt x="56" y="500"/>
                    </a:lnTo>
                    <a:lnTo>
                      <a:pt x="58" y="500"/>
                    </a:lnTo>
                    <a:lnTo>
                      <a:pt x="58" y="498"/>
                    </a:lnTo>
                    <a:lnTo>
                      <a:pt x="60" y="498"/>
                    </a:lnTo>
                    <a:lnTo>
                      <a:pt x="60" y="500"/>
                    </a:lnTo>
                    <a:lnTo>
                      <a:pt x="62" y="500"/>
                    </a:lnTo>
                    <a:lnTo>
                      <a:pt x="62" y="498"/>
                    </a:lnTo>
                    <a:lnTo>
                      <a:pt x="64" y="496"/>
                    </a:lnTo>
                    <a:lnTo>
                      <a:pt x="64" y="498"/>
                    </a:lnTo>
                    <a:lnTo>
                      <a:pt x="66" y="498"/>
                    </a:lnTo>
                    <a:lnTo>
                      <a:pt x="66" y="500"/>
                    </a:lnTo>
                    <a:lnTo>
                      <a:pt x="68" y="500"/>
                    </a:lnTo>
                    <a:lnTo>
                      <a:pt x="70" y="500"/>
                    </a:lnTo>
                    <a:lnTo>
                      <a:pt x="72" y="498"/>
                    </a:lnTo>
                    <a:lnTo>
                      <a:pt x="73" y="498"/>
                    </a:lnTo>
                    <a:lnTo>
                      <a:pt x="73" y="496"/>
                    </a:lnTo>
                    <a:lnTo>
                      <a:pt x="75" y="496"/>
                    </a:lnTo>
                    <a:lnTo>
                      <a:pt x="77" y="496"/>
                    </a:lnTo>
                    <a:lnTo>
                      <a:pt x="77" y="494"/>
                    </a:lnTo>
                    <a:lnTo>
                      <a:pt x="79" y="494"/>
                    </a:lnTo>
                    <a:lnTo>
                      <a:pt x="81" y="494"/>
                    </a:lnTo>
                    <a:lnTo>
                      <a:pt x="81" y="492"/>
                    </a:lnTo>
                    <a:lnTo>
                      <a:pt x="83" y="492"/>
                    </a:lnTo>
                    <a:lnTo>
                      <a:pt x="85" y="492"/>
                    </a:lnTo>
                    <a:lnTo>
                      <a:pt x="87" y="492"/>
                    </a:lnTo>
                    <a:lnTo>
                      <a:pt x="89" y="490"/>
                    </a:lnTo>
                    <a:lnTo>
                      <a:pt x="89" y="492"/>
                    </a:lnTo>
                    <a:lnTo>
                      <a:pt x="89" y="490"/>
                    </a:lnTo>
                    <a:lnTo>
                      <a:pt x="89" y="492"/>
                    </a:lnTo>
                    <a:lnTo>
                      <a:pt x="89" y="490"/>
                    </a:lnTo>
                    <a:lnTo>
                      <a:pt x="91" y="490"/>
                    </a:lnTo>
                    <a:lnTo>
                      <a:pt x="91" y="492"/>
                    </a:lnTo>
                    <a:lnTo>
                      <a:pt x="89" y="492"/>
                    </a:lnTo>
                    <a:lnTo>
                      <a:pt x="91" y="492"/>
                    </a:lnTo>
                    <a:lnTo>
                      <a:pt x="91" y="494"/>
                    </a:lnTo>
                    <a:lnTo>
                      <a:pt x="91" y="496"/>
                    </a:lnTo>
                    <a:lnTo>
                      <a:pt x="93" y="496"/>
                    </a:lnTo>
                    <a:lnTo>
                      <a:pt x="93" y="498"/>
                    </a:lnTo>
                    <a:lnTo>
                      <a:pt x="95" y="500"/>
                    </a:lnTo>
                    <a:lnTo>
                      <a:pt x="97" y="500"/>
                    </a:lnTo>
                    <a:lnTo>
                      <a:pt x="97" y="498"/>
                    </a:lnTo>
                    <a:lnTo>
                      <a:pt x="97" y="500"/>
                    </a:lnTo>
                    <a:lnTo>
                      <a:pt x="95" y="500"/>
                    </a:lnTo>
                    <a:lnTo>
                      <a:pt x="93" y="498"/>
                    </a:lnTo>
                    <a:lnTo>
                      <a:pt x="93" y="496"/>
                    </a:lnTo>
                    <a:lnTo>
                      <a:pt x="91" y="496"/>
                    </a:lnTo>
                    <a:lnTo>
                      <a:pt x="91" y="494"/>
                    </a:lnTo>
                    <a:lnTo>
                      <a:pt x="91" y="492"/>
                    </a:lnTo>
                    <a:lnTo>
                      <a:pt x="91" y="490"/>
                    </a:lnTo>
                    <a:lnTo>
                      <a:pt x="91" y="492"/>
                    </a:lnTo>
                    <a:lnTo>
                      <a:pt x="93" y="492"/>
                    </a:lnTo>
                    <a:lnTo>
                      <a:pt x="93" y="490"/>
                    </a:lnTo>
                    <a:lnTo>
                      <a:pt x="93" y="488"/>
                    </a:lnTo>
                    <a:lnTo>
                      <a:pt x="93" y="486"/>
                    </a:lnTo>
                    <a:lnTo>
                      <a:pt x="95" y="486"/>
                    </a:lnTo>
                    <a:lnTo>
                      <a:pt x="97" y="484"/>
                    </a:lnTo>
                    <a:lnTo>
                      <a:pt x="97" y="482"/>
                    </a:lnTo>
                    <a:lnTo>
                      <a:pt x="98" y="482"/>
                    </a:lnTo>
                    <a:lnTo>
                      <a:pt x="100" y="482"/>
                    </a:lnTo>
                    <a:lnTo>
                      <a:pt x="100" y="480"/>
                    </a:lnTo>
                    <a:lnTo>
                      <a:pt x="102" y="480"/>
                    </a:lnTo>
                    <a:lnTo>
                      <a:pt x="102" y="478"/>
                    </a:lnTo>
                    <a:lnTo>
                      <a:pt x="104" y="478"/>
                    </a:lnTo>
                    <a:lnTo>
                      <a:pt x="104" y="477"/>
                    </a:lnTo>
                    <a:lnTo>
                      <a:pt x="104" y="475"/>
                    </a:lnTo>
                    <a:lnTo>
                      <a:pt x="104" y="473"/>
                    </a:lnTo>
                    <a:lnTo>
                      <a:pt x="106" y="473"/>
                    </a:lnTo>
                    <a:lnTo>
                      <a:pt x="106" y="471"/>
                    </a:lnTo>
                    <a:lnTo>
                      <a:pt x="106" y="469"/>
                    </a:lnTo>
                    <a:lnTo>
                      <a:pt x="104" y="469"/>
                    </a:lnTo>
                    <a:lnTo>
                      <a:pt x="104" y="467"/>
                    </a:lnTo>
                    <a:lnTo>
                      <a:pt x="106" y="467"/>
                    </a:lnTo>
                    <a:lnTo>
                      <a:pt x="106" y="465"/>
                    </a:lnTo>
                    <a:lnTo>
                      <a:pt x="104" y="465"/>
                    </a:lnTo>
                    <a:lnTo>
                      <a:pt x="104" y="463"/>
                    </a:lnTo>
                    <a:lnTo>
                      <a:pt x="104" y="461"/>
                    </a:lnTo>
                    <a:lnTo>
                      <a:pt x="102" y="461"/>
                    </a:lnTo>
                    <a:lnTo>
                      <a:pt x="104" y="461"/>
                    </a:lnTo>
                    <a:lnTo>
                      <a:pt x="104" y="459"/>
                    </a:lnTo>
                    <a:lnTo>
                      <a:pt x="102" y="459"/>
                    </a:lnTo>
                    <a:lnTo>
                      <a:pt x="102" y="457"/>
                    </a:lnTo>
                    <a:lnTo>
                      <a:pt x="102" y="455"/>
                    </a:lnTo>
                    <a:lnTo>
                      <a:pt x="100" y="455"/>
                    </a:lnTo>
                    <a:lnTo>
                      <a:pt x="98" y="455"/>
                    </a:lnTo>
                    <a:lnTo>
                      <a:pt x="98" y="453"/>
                    </a:lnTo>
                    <a:lnTo>
                      <a:pt x="100" y="453"/>
                    </a:lnTo>
                    <a:lnTo>
                      <a:pt x="100" y="452"/>
                    </a:lnTo>
                    <a:lnTo>
                      <a:pt x="100" y="450"/>
                    </a:lnTo>
                    <a:lnTo>
                      <a:pt x="100" y="448"/>
                    </a:lnTo>
                    <a:lnTo>
                      <a:pt x="102" y="448"/>
                    </a:lnTo>
                    <a:lnTo>
                      <a:pt x="102" y="446"/>
                    </a:lnTo>
                    <a:lnTo>
                      <a:pt x="102" y="444"/>
                    </a:lnTo>
                    <a:lnTo>
                      <a:pt x="102" y="442"/>
                    </a:lnTo>
                    <a:lnTo>
                      <a:pt x="102" y="440"/>
                    </a:lnTo>
                    <a:lnTo>
                      <a:pt x="102" y="442"/>
                    </a:lnTo>
                    <a:lnTo>
                      <a:pt x="102" y="440"/>
                    </a:lnTo>
                    <a:lnTo>
                      <a:pt x="104" y="440"/>
                    </a:lnTo>
                    <a:lnTo>
                      <a:pt x="104" y="438"/>
                    </a:lnTo>
                    <a:lnTo>
                      <a:pt x="104" y="436"/>
                    </a:lnTo>
                    <a:lnTo>
                      <a:pt x="104" y="434"/>
                    </a:lnTo>
                    <a:lnTo>
                      <a:pt x="106" y="432"/>
                    </a:lnTo>
                    <a:lnTo>
                      <a:pt x="106" y="430"/>
                    </a:lnTo>
                    <a:lnTo>
                      <a:pt x="106" y="428"/>
                    </a:lnTo>
                    <a:lnTo>
                      <a:pt x="108" y="428"/>
                    </a:lnTo>
                    <a:lnTo>
                      <a:pt x="108" y="427"/>
                    </a:lnTo>
                    <a:lnTo>
                      <a:pt x="108" y="425"/>
                    </a:lnTo>
                    <a:lnTo>
                      <a:pt x="108" y="423"/>
                    </a:lnTo>
                    <a:lnTo>
                      <a:pt x="110" y="423"/>
                    </a:lnTo>
                    <a:lnTo>
                      <a:pt x="110" y="421"/>
                    </a:lnTo>
                    <a:lnTo>
                      <a:pt x="110" y="419"/>
                    </a:lnTo>
                    <a:lnTo>
                      <a:pt x="110" y="417"/>
                    </a:lnTo>
                    <a:lnTo>
                      <a:pt x="112" y="417"/>
                    </a:lnTo>
                    <a:lnTo>
                      <a:pt x="110" y="417"/>
                    </a:lnTo>
                    <a:lnTo>
                      <a:pt x="112" y="417"/>
                    </a:lnTo>
                    <a:lnTo>
                      <a:pt x="112" y="415"/>
                    </a:lnTo>
                    <a:lnTo>
                      <a:pt x="114" y="415"/>
                    </a:lnTo>
                    <a:lnTo>
                      <a:pt x="116" y="413"/>
                    </a:lnTo>
                    <a:lnTo>
                      <a:pt x="114" y="413"/>
                    </a:lnTo>
                    <a:lnTo>
                      <a:pt x="114" y="411"/>
                    </a:lnTo>
                    <a:lnTo>
                      <a:pt x="114" y="409"/>
                    </a:lnTo>
                    <a:lnTo>
                      <a:pt x="114" y="407"/>
                    </a:lnTo>
                    <a:lnTo>
                      <a:pt x="114" y="405"/>
                    </a:lnTo>
                    <a:lnTo>
                      <a:pt x="112" y="405"/>
                    </a:lnTo>
                    <a:lnTo>
                      <a:pt x="110" y="407"/>
                    </a:lnTo>
                    <a:lnTo>
                      <a:pt x="108" y="407"/>
                    </a:lnTo>
                    <a:lnTo>
                      <a:pt x="108" y="405"/>
                    </a:lnTo>
                    <a:lnTo>
                      <a:pt x="106" y="403"/>
                    </a:lnTo>
                    <a:lnTo>
                      <a:pt x="106" y="402"/>
                    </a:lnTo>
                    <a:lnTo>
                      <a:pt x="108" y="402"/>
                    </a:lnTo>
                    <a:lnTo>
                      <a:pt x="108" y="400"/>
                    </a:lnTo>
                    <a:lnTo>
                      <a:pt x="108" y="398"/>
                    </a:lnTo>
                    <a:lnTo>
                      <a:pt x="108" y="396"/>
                    </a:lnTo>
                    <a:lnTo>
                      <a:pt x="110" y="396"/>
                    </a:lnTo>
                    <a:lnTo>
                      <a:pt x="108" y="396"/>
                    </a:lnTo>
                    <a:lnTo>
                      <a:pt x="108" y="394"/>
                    </a:lnTo>
                    <a:lnTo>
                      <a:pt x="106" y="394"/>
                    </a:lnTo>
                    <a:lnTo>
                      <a:pt x="106" y="392"/>
                    </a:lnTo>
                    <a:lnTo>
                      <a:pt x="104" y="392"/>
                    </a:lnTo>
                    <a:lnTo>
                      <a:pt x="106" y="392"/>
                    </a:lnTo>
                    <a:lnTo>
                      <a:pt x="104" y="392"/>
                    </a:lnTo>
                    <a:lnTo>
                      <a:pt x="104" y="390"/>
                    </a:lnTo>
                    <a:lnTo>
                      <a:pt x="104" y="388"/>
                    </a:lnTo>
                    <a:lnTo>
                      <a:pt x="104" y="386"/>
                    </a:lnTo>
                    <a:lnTo>
                      <a:pt x="102" y="384"/>
                    </a:lnTo>
                    <a:lnTo>
                      <a:pt x="102" y="382"/>
                    </a:lnTo>
                    <a:lnTo>
                      <a:pt x="102" y="380"/>
                    </a:lnTo>
                    <a:lnTo>
                      <a:pt x="104" y="380"/>
                    </a:lnTo>
                    <a:lnTo>
                      <a:pt x="104" y="379"/>
                    </a:lnTo>
                    <a:lnTo>
                      <a:pt x="104" y="380"/>
                    </a:lnTo>
                    <a:lnTo>
                      <a:pt x="106" y="379"/>
                    </a:lnTo>
                    <a:lnTo>
                      <a:pt x="106" y="377"/>
                    </a:lnTo>
                    <a:lnTo>
                      <a:pt x="108" y="377"/>
                    </a:lnTo>
                    <a:lnTo>
                      <a:pt x="108" y="375"/>
                    </a:lnTo>
                    <a:lnTo>
                      <a:pt x="108" y="373"/>
                    </a:lnTo>
                    <a:lnTo>
                      <a:pt x="108" y="371"/>
                    </a:lnTo>
                    <a:lnTo>
                      <a:pt x="110" y="371"/>
                    </a:lnTo>
                    <a:lnTo>
                      <a:pt x="108" y="371"/>
                    </a:lnTo>
                    <a:lnTo>
                      <a:pt x="108" y="369"/>
                    </a:lnTo>
                    <a:lnTo>
                      <a:pt x="108" y="367"/>
                    </a:lnTo>
                    <a:lnTo>
                      <a:pt x="108" y="365"/>
                    </a:lnTo>
                    <a:lnTo>
                      <a:pt x="110" y="365"/>
                    </a:lnTo>
                    <a:lnTo>
                      <a:pt x="110" y="363"/>
                    </a:lnTo>
                    <a:lnTo>
                      <a:pt x="112" y="363"/>
                    </a:lnTo>
                    <a:lnTo>
                      <a:pt x="114" y="363"/>
                    </a:lnTo>
                    <a:lnTo>
                      <a:pt x="114" y="361"/>
                    </a:lnTo>
                    <a:lnTo>
                      <a:pt x="112" y="361"/>
                    </a:lnTo>
                    <a:lnTo>
                      <a:pt x="112" y="359"/>
                    </a:lnTo>
                    <a:lnTo>
                      <a:pt x="114" y="359"/>
                    </a:lnTo>
                    <a:lnTo>
                      <a:pt x="114" y="357"/>
                    </a:lnTo>
                    <a:lnTo>
                      <a:pt x="112" y="357"/>
                    </a:lnTo>
                    <a:lnTo>
                      <a:pt x="112" y="355"/>
                    </a:lnTo>
                    <a:lnTo>
                      <a:pt x="112" y="354"/>
                    </a:lnTo>
                    <a:lnTo>
                      <a:pt x="114" y="352"/>
                    </a:lnTo>
                    <a:lnTo>
                      <a:pt x="114" y="350"/>
                    </a:lnTo>
                    <a:lnTo>
                      <a:pt x="112" y="350"/>
                    </a:lnTo>
                    <a:lnTo>
                      <a:pt x="110" y="350"/>
                    </a:lnTo>
                    <a:lnTo>
                      <a:pt x="110" y="352"/>
                    </a:lnTo>
                    <a:lnTo>
                      <a:pt x="108" y="352"/>
                    </a:lnTo>
                    <a:lnTo>
                      <a:pt x="108" y="354"/>
                    </a:lnTo>
                    <a:lnTo>
                      <a:pt x="106" y="352"/>
                    </a:lnTo>
                    <a:lnTo>
                      <a:pt x="108" y="352"/>
                    </a:lnTo>
                    <a:lnTo>
                      <a:pt x="106" y="352"/>
                    </a:lnTo>
                    <a:lnTo>
                      <a:pt x="106" y="350"/>
                    </a:lnTo>
                    <a:lnTo>
                      <a:pt x="104" y="350"/>
                    </a:lnTo>
                    <a:lnTo>
                      <a:pt x="102" y="350"/>
                    </a:lnTo>
                    <a:lnTo>
                      <a:pt x="100" y="350"/>
                    </a:lnTo>
                    <a:lnTo>
                      <a:pt x="100" y="348"/>
                    </a:lnTo>
                    <a:lnTo>
                      <a:pt x="98" y="346"/>
                    </a:lnTo>
                    <a:lnTo>
                      <a:pt x="98" y="344"/>
                    </a:lnTo>
                    <a:lnTo>
                      <a:pt x="98" y="342"/>
                    </a:lnTo>
                    <a:lnTo>
                      <a:pt x="98" y="340"/>
                    </a:lnTo>
                    <a:lnTo>
                      <a:pt x="98" y="338"/>
                    </a:lnTo>
                    <a:lnTo>
                      <a:pt x="98" y="336"/>
                    </a:lnTo>
                    <a:lnTo>
                      <a:pt x="98" y="334"/>
                    </a:lnTo>
                    <a:lnTo>
                      <a:pt x="98" y="332"/>
                    </a:lnTo>
                    <a:lnTo>
                      <a:pt x="98" y="330"/>
                    </a:lnTo>
                    <a:lnTo>
                      <a:pt x="98" y="329"/>
                    </a:lnTo>
                    <a:lnTo>
                      <a:pt x="98" y="327"/>
                    </a:lnTo>
                    <a:lnTo>
                      <a:pt x="98" y="325"/>
                    </a:lnTo>
                    <a:lnTo>
                      <a:pt x="100" y="323"/>
                    </a:lnTo>
                    <a:lnTo>
                      <a:pt x="98" y="323"/>
                    </a:lnTo>
                    <a:lnTo>
                      <a:pt x="98" y="321"/>
                    </a:lnTo>
                    <a:lnTo>
                      <a:pt x="100" y="321"/>
                    </a:lnTo>
                    <a:lnTo>
                      <a:pt x="98" y="321"/>
                    </a:lnTo>
                    <a:lnTo>
                      <a:pt x="98" y="319"/>
                    </a:lnTo>
                    <a:lnTo>
                      <a:pt x="97" y="319"/>
                    </a:lnTo>
                    <a:lnTo>
                      <a:pt x="97" y="317"/>
                    </a:lnTo>
                    <a:lnTo>
                      <a:pt x="97" y="315"/>
                    </a:lnTo>
                    <a:lnTo>
                      <a:pt x="98" y="315"/>
                    </a:lnTo>
                    <a:lnTo>
                      <a:pt x="98" y="313"/>
                    </a:lnTo>
                    <a:lnTo>
                      <a:pt x="98" y="311"/>
                    </a:lnTo>
                    <a:lnTo>
                      <a:pt x="100" y="313"/>
                    </a:lnTo>
                    <a:lnTo>
                      <a:pt x="100" y="311"/>
                    </a:lnTo>
                    <a:lnTo>
                      <a:pt x="100" y="309"/>
                    </a:lnTo>
                    <a:lnTo>
                      <a:pt x="100" y="307"/>
                    </a:lnTo>
                    <a:lnTo>
                      <a:pt x="100" y="305"/>
                    </a:lnTo>
                    <a:lnTo>
                      <a:pt x="102" y="305"/>
                    </a:lnTo>
                    <a:lnTo>
                      <a:pt x="100" y="305"/>
                    </a:lnTo>
                    <a:lnTo>
                      <a:pt x="102" y="305"/>
                    </a:lnTo>
                    <a:lnTo>
                      <a:pt x="104" y="305"/>
                    </a:lnTo>
                    <a:lnTo>
                      <a:pt x="104" y="307"/>
                    </a:lnTo>
                    <a:lnTo>
                      <a:pt x="102" y="307"/>
                    </a:lnTo>
                    <a:lnTo>
                      <a:pt x="104" y="309"/>
                    </a:lnTo>
                    <a:lnTo>
                      <a:pt x="102" y="309"/>
                    </a:lnTo>
                    <a:lnTo>
                      <a:pt x="104" y="309"/>
                    </a:lnTo>
                    <a:lnTo>
                      <a:pt x="106" y="309"/>
                    </a:lnTo>
                    <a:lnTo>
                      <a:pt x="108" y="309"/>
                    </a:lnTo>
                    <a:lnTo>
                      <a:pt x="110" y="309"/>
                    </a:lnTo>
                    <a:lnTo>
                      <a:pt x="112" y="309"/>
                    </a:lnTo>
                    <a:lnTo>
                      <a:pt x="112" y="307"/>
                    </a:lnTo>
                    <a:lnTo>
                      <a:pt x="114" y="307"/>
                    </a:lnTo>
                    <a:lnTo>
                      <a:pt x="114" y="305"/>
                    </a:lnTo>
                    <a:lnTo>
                      <a:pt x="116" y="305"/>
                    </a:lnTo>
                    <a:lnTo>
                      <a:pt x="116" y="304"/>
                    </a:lnTo>
                    <a:lnTo>
                      <a:pt x="118" y="304"/>
                    </a:lnTo>
                    <a:lnTo>
                      <a:pt x="118" y="302"/>
                    </a:lnTo>
                    <a:lnTo>
                      <a:pt x="118" y="300"/>
                    </a:lnTo>
                    <a:lnTo>
                      <a:pt x="120" y="300"/>
                    </a:lnTo>
                    <a:lnTo>
                      <a:pt x="120" y="302"/>
                    </a:lnTo>
                    <a:lnTo>
                      <a:pt x="121" y="302"/>
                    </a:lnTo>
                    <a:lnTo>
                      <a:pt x="123" y="302"/>
                    </a:lnTo>
                    <a:lnTo>
                      <a:pt x="123" y="304"/>
                    </a:lnTo>
                    <a:lnTo>
                      <a:pt x="125" y="304"/>
                    </a:lnTo>
                    <a:lnTo>
                      <a:pt x="125" y="305"/>
                    </a:lnTo>
                    <a:lnTo>
                      <a:pt x="127" y="305"/>
                    </a:lnTo>
                    <a:lnTo>
                      <a:pt x="127" y="307"/>
                    </a:lnTo>
                    <a:lnTo>
                      <a:pt x="127" y="309"/>
                    </a:lnTo>
                    <a:lnTo>
                      <a:pt x="129" y="309"/>
                    </a:lnTo>
                    <a:lnTo>
                      <a:pt x="129" y="311"/>
                    </a:lnTo>
                    <a:lnTo>
                      <a:pt x="129" y="313"/>
                    </a:lnTo>
                    <a:lnTo>
                      <a:pt x="129" y="315"/>
                    </a:lnTo>
                    <a:lnTo>
                      <a:pt x="131" y="315"/>
                    </a:lnTo>
                    <a:lnTo>
                      <a:pt x="131" y="317"/>
                    </a:lnTo>
                    <a:lnTo>
                      <a:pt x="133" y="317"/>
                    </a:lnTo>
                    <a:lnTo>
                      <a:pt x="133" y="319"/>
                    </a:lnTo>
                    <a:lnTo>
                      <a:pt x="133" y="321"/>
                    </a:lnTo>
                    <a:lnTo>
                      <a:pt x="131" y="321"/>
                    </a:lnTo>
                    <a:lnTo>
                      <a:pt x="131" y="323"/>
                    </a:lnTo>
                    <a:lnTo>
                      <a:pt x="131" y="325"/>
                    </a:lnTo>
                    <a:lnTo>
                      <a:pt x="131" y="327"/>
                    </a:lnTo>
                    <a:lnTo>
                      <a:pt x="133" y="329"/>
                    </a:lnTo>
                    <a:lnTo>
                      <a:pt x="133" y="330"/>
                    </a:lnTo>
                    <a:lnTo>
                      <a:pt x="135" y="330"/>
                    </a:lnTo>
                    <a:lnTo>
                      <a:pt x="135" y="332"/>
                    </a:lnTo>
                    <a:lnTo>
                      <a:pt x="135" y="334"/>
                    </a:lnTo>
                    <a:lnTo>
                      <a:pt x="137" y="334"/>
                    </a:lnTo>
                    <a:lnTo>
                      <a:pt x="137" y="336"/>
                    </a:lnTo>
                    <a:lnTo>
                      <a:pt x="139" y="336"/>
                    </a:lnTo>
                    <a:lnTo>
                      <a:pt x="141" y="338"/>
                    </a:lnTo>
                    <a:lnTo>
                      <a:pt x="141" y="340"/>
                    </a:lnTo>
                    <a:lnTo>
                      <a:pt x="139" y="340"/>
                    </a:lnTo>
                    <a:lnTo>
                      <a:pt x="139" y="342"/>
                    </a:lnTo>
                    <a:lnTo>
                      <a:pt x="139" y="340"/>
                    </a:lnTo>
                    <a:lnTo>
                      <a:pt x="137" y="340"/>
                    </a:lnTo>
                    <a:lnTo>
                      <a:pt x="135" y="340"/>
                    </a:lnTo>
                    <a:lnTo>
                      <a:pt x="135" y="338"/>
                    </a:lnTo>
                    <a:lnTo>
                      <a:pt x="133" y="338"/>
                    </a:lnTo>
                    <a:lnTo>
                      <a:pt x="131" y="338"/>
                    </a:lnTo>
                    <a:lnTo>
                      <a:pt x="129" y="338"/>
                    </a:lnTo>
                    <a:lnTo>
                      <a:pt x="129" y="340"/>
                    </a:lnTo>
                    <a:lnTo>
                      <a:pt x="129" y="342"/>
                    </a:lnTo>
                    <a:lnTo>
                      <a:pt x="129" y="340"/>
                    </a:lnTo>
                    <a:lnTo>
                      <a:pt x="131" y="342"/>
                    </a:lnTo>
                    <a:lnTo>
                      <a:pt x="129" y="342"/>
                    </a:lnTo>
                    <a:lnTo>
                      <a:pt x="131" y="342"/>
                    </a:lnTo>
                    <a:lnTo>
                      <a:pt x="129" y="342"/>
                    </a:lnTo>
                    <a:lnTo>
                      <a:pt x="131" y="342"/>
                    </a:lnTo>
                    <a:lnTo>
                      <a:pt x="129" y="342"/>
                    </a:lnTo>
                    <a:lnTo>
                      <a:pt x="131" y="342"/>
                    </a:lnTo>
                    <a:lnTo>
                      <a:pt x="131" y="344"/>
                    </a:lnTo>
                    <a:lnTo>
                      <a:pt x="129" y="344"/>
                    </a:lnTo>
                    <a:lnTo>
                      <a:pt x="127" y="344"/>
                    </a:lnTo>
                    <a:lnTo>
                      <a:pt x="127" y="346"/>
                    </a:lnTo>
                    <a:lnTo>
                      <a:pt x="125" y="346"/>
                    </a:lnTo>
                    <a:lnTo>
                      <a:pt x="123" y="346"/>
                    </a:lnTo>
                    <a:lnTo>
                      <a:pt x="125" y="346"/>
                    </a:lnTo>
                    <a:lnTo>
                      <a:pt x="125" y="348"/>
                    </a:lnTo>
                    <a:lnTo>
                      <a:pt x="125" y="346"/>
                    </a:lnTo>
                    <a:lnTo>
                      <a:pt x="127" y="346"/>
                    </a:lnTo>
                    <a:lnTo>
                      <a:pt x="127" y="344"/>
                    </a:lnTo>
                    <a:lnTo>
                      <a:pt x="129" y="344"/>
                    </a:lnTo>
                    <a:lnTo>
                      <a:pt x="129" y="346"/>
                    </a:lnTo>
                    <a:lnTo>
                      <a:pt x="129" y="344"/>
                    </a:lnTo>
                    <a:lnTo>
                      <a:pt x="129" y="346"/>
                    </a:lnTo>
                    <a:lnTo>
                      <a:pt x="131" y="346"/>
                    </a:lnTo>
                    <a:lnTo>
                      <a:pt x="131" y="344"/>
                    </a:lnTo>
                    <a:lnTo>
                      <a:pt x="131" y="342"/>
                    </a:lnTo>
                    <a:lnTo>
                      <a:pt x="133" y="342"/>
                    </a:lnTo>
                    <a:lnTo>
                      <a:pt x="133" y="344"/>
                    </a:lnTo>
                    <a:lnTo>
                      <a:pt x="135" y="344"/>
                    </a:lnTo>
                    <a:lnTo>
                      <a:pt x="137" y="344"/>
                    </a:lnTo>
                    <a:lnTo>
                      <a:pt x="139" y="344"/>
                    </a:lnTo>
                    <a:lnTo>
                      <a:pt x="139" y="346"/>
                    </a:lnTo>
                    <a:lnTo>
                      <a:pt x="141" y="346"/>
                    </a:lnTo>
                    <a:lnTo>
                      <a:pt x="141" y="344"/>
                    </a:lnTo>
                    <a:lnTo>
                      <a:pt x="141" y="342"/>
                    </a:lnTo>
                    <a:lnTo>
                      <a:pt x="141" y="340"/>
                    </a:lnTo>
                    <a:lnTo>
                      <a:pt x="141" y="342"/>
                    </a:lnTo>
                    <a:lnTo>
                      <a:pt x="143" y="342"/>
                    </a:lnTo>
                    <a:lnTo>
                      <a:pt x="143" y="344"/>
                    </a:lnTo>
                    <a:lnTo>
                      <a:pt x="145" y="346"/>
                    </a:lnTo>
                    <a:lnTo>
                      <a:pt x="146" y="348"/>
                    </a:lnTo>
                    <a:lnTo>
                      <a:pt x="146" y="350"/>
                    </a:lnTo>
                    <a:lnTo>
                      <a:pt x="148" y="350"/>
                    </a:lnTo>
                    <a:lnTo>
                      <a:pt x="148" y="352"/>
                    </a:lnTo>
                    <a:lnTo>
                      <a:pt x="150" y="352"/>
                    </a:lnTo>
                    <a:lnTo>
                      <a:pt x="150" y="354"/>
                    </a:lnTo>
                    <a:lnTo>
                      <a:pt x="152" y="355"/>
                    </a:lnTo>
                    <a:lnTo>
                      <a:pt x="150" y="355"/>
                    </a:lnTo>
                    <a:lnTo>
                      <a:pt x="150" y="354"/>
                    </a:lnTo>
                    <a:lnTo>
                      <a:pt x="150" y="355"/>
                    </a:lnTo>
                    <a:lnTo>
                      <a:pt x="152" y="355"/>
                    </a:lnTo>
                    <a:lnTo>
                      <a:pt x="152" y="357"/>
                    </a:lnTo>
                    <a:lnTo>
                      <a:pt x="152" y="359"/>
                    </a:lnTo>
                    <a:lnTo>
                      <a:pt x="154" y="361"/>
                    </a:lnTo>
                    <a:lnTo>
                      <a:pt x="156" y="363"/>
                    </a:lnTo>
                    <a:lnTo>
                      <a:pt x="156" y="365"/>
                    </a:lnTo>
                    <a:lnTo>
                      <a:pt x="156" y="367"/>
                    </a:lnTo>
                    <a:lnTo>
                      <a:pt x="158" y="369"/>
                    </a:lnTo>
                    <a:lnTo>
                      <a:pt x="158" y="371"/>
                    </a:lnTo>
                    <a:lnTo>
                      <a:pt x="158" y="373"/>
                    </a:lnTo>
                    <a:lnTo>
                      <a:pt x="158" y="371"/>
                    </a:lnTo>
                    <a:lnTo>
                      <a:pt x="158" y="373"/>
                    </a:lnTo>
                    <a:lnTo>
                      <a:pt x="156" y="373"/>
                    </a:lnTo>
                    <a:lnTo>
                      <a:pt x="158" y="373"/>
                    </a:lnTo>
                    <a:lnTo>
                      <a:pt x="158" y="371"/>
                    </a:lnTo>
                    <a:lnTo>
                      <a:pt x="158" y="373"/>
                    </a:lnTo>
                    <a:lnTo>
                      <a:pt x="160" y="373"/>
                    </a:lnTo>
                    <a:lnTo>
                      <a:pt x="158" y="373"/>
                    </a:lnTo>
                    <a:lnTo>
                      <a:pt x="160" y="373"/>
                    </a:lnTo>
                    <a:lnTo>
                      <a:pt x="158" y="373"/>
                    </a:lnTo>
                    <a:lnTo>
                      <a:pt x="160" y="373"/>
                    </a:lnTo>
                    <a:lnTo>
                      <a:pt x="162" y="373"/>
                    </a:lnTo>
                    <a:lnTo>
                      <a:pt x="162" y="375"/>
                    </a:lnTo>
                    <a:lnTo>
                      <a:pt x="162" y="373"/>
                    </a:lnTo>
                    <a:lnTo>
                      <a:pt x="162" y="375"/>
                    </a:lnTo>
                    <a:lnTo>
                      <a:pt x="164" y="375"/>
                    </a:lnTo>
                    <a:lnTo>
                      <a:pt x="162" y="375"/>
                    </a:lnTo>
                    <a:lnTo>
                      <a:pt x="162" y="377"/>
                    </a:lnTo>
                    <a:lnTo>
                      <a:pt x="162" y="375"/>
                    </a:lnTo>
                    <a:lnTo>
                      <a:pt x="164" y="375"/>
                    </a:lnTo>
                    <a:lnTo>
                      <a:pt x="162" y="375"/>
                    </a:lnTo>
                    <a:lnTo>
                      <a:pt x="164" y="375"/>
                    </a:lnTo>
                    <a:lnTo>
                      <a:pt x="164" y="373"/>
                    </a:lnTo>
                    <a:lnTo>
                      <a:pt x="166" y="373"/>
                    </a:lnTo>
                    <a:lnTo>
                      <a:pt x="166" y="375"/>
                    </a:lnTo>
                    <a:lnTo>
                      <a:pt x="166" y="373"/>
                    </a:lnTo>
                    <a:lnTo>
                      <a:pt x="168" y="373"/>
                    </a:lnTo>
                    <a:lnTo>
                      <a:pt x="168" y="375"/>
                    </a:lnTo>
                    <a:lnTo>
                      <a:pt x="170" y="375"/>
                    </a:lnTo>
                    <a:lnTo>
                      <a:pt x="168" y="375"/>
                    </a:lnTo>
                    <a:lnTo>
                      <a:pt x="170" y="375"/>
                    </a:lnTo>
                    <a:lnTo>
                      <a:pt x="168" y="375"/>
                    </a:lnTo>
                    <a:lnTo>
                      <a:pt x="170" y="375"/>
                    </a:lnTo>
                    <a:lnTo>
                      <a:pt x="168" y="375"/>
                    </a:lnTo>
                    <a:lnTo>
                      <a:pt x="170" y="375"/>
                    </a:lnTo>
                    <a:lnTo>
                      <a:pt x="168" y="375"/>
                    </a:lnTo>
                    <a:lnTo>
                      <a:pt x="168" y="373"/>
                    </a:lnTo>
                    <a:lnTo>
                      <a:pt x="170" y="373"/>
                    </a:lnTo>
                    <a:lnTo>
                      <a:pt x="170" y="375"/>
                    </a:lnTo>
                    <a:lnTo>
                      <a:pt x="171" y="375"/>
                    </a:lnTo>
                    <a:lnTo>
                      <a:pt x="173" y="377"/>
                    </a:lnTo>
                    <a:lnTo>
                      <a:pt x="171" y="375"/>
                    </a:lnTo>
                    <a:lnTo>
                      <a:pt x="173" y="377"/>
                    </a:lnTo>
                    <a:lnTo>
                      <a:pt x="171" y="377"/>
                    </a:lnTo>
                    <a:lnTo>
                      <a:pt x="173" y="377"/>
                    </a:lnTo>
                    <a:lnTo>
                      <a:pt x="171" y="377"/>
                    </a:lnTo>
                    <a:lnTo>
                      <a:pt x="173" y="377"/>
                    </a:lnTo>
                    <a:lnTo>
                      <a:pt x="171" y="377"/>
                    </a:lnTo>
                    <a:lnTo>
                      <a:pt x="171" y="379"/>
                    </a:lnTo>
                    <a:lnTo>
                      <a:pt x="171" y="380"/>
                    </a:lnTo>
                    <a:lnTo>
                      <a:pt x="173" y="380"/>
                    </a:lnTo>
                    <a:lnTo>
                      <a:pt x="173" y="382"/>
                    </a:lnTo>
                    <a:lnTo>
                      <a:pt x="175" y="382"/>
                    </a:lnTo>
                    <a:lnTo>
                      <a:pt x="173" y="382"/>
                    </a:lnTo>
                    <a:lnTo>
                      <a:pt x="173" y="384"/>
                    </a:lnTo>
                    <a:lnTo>
                      <a:pt x="171" y="384"/>
                    </a:lnTo>
                    <a:lnTo>
                      <a:pt x="171" y="386"/>
                    </a:lnTo>
                    <a:lnTo>
                      <a:pt x="171" y="384"/>
                    </a:lnTo>
                    <a:lnTo>
                      <a:pt x="173" y="384"/>
                    </a:lnTo>
                    <a:lnTo>
                      <a:pt x="173" y="382"/>
                    </a:lnTo>
                    <a:lnTo>
                      <a:pt x="175" y="382"/>
                    </a:lnTo>
                    <a:lnTo>
                      <a:pt x="177" y="382"/>
                    </a:lnTo>
                    <a:lnTo>
                      <a:pt x="177" y="384"/>
                    </a:lnTo>
                    <a:lnTo>
                      <a:pt x="175" y="384"/>
                    </a:lnTo>
                    <a:lnTo>
                      <a:pt x="177" y="386"/>
                    </a:lnTo>
                    <a:lnTo>
                      <a:pt x="175" y="388"/>
                    </a:lnTo>
                    <a:lnTo>
                      <a:pt x="177" y="388"/>
                    </a:lnTo>
                    <a:lnTo>
                      <a:pt x="177" y="390"/>
                    </a:lnTo>
                    <a:lnTo>
                      <a:pt x="177" y="388"/>
                    </a:lnTo>
                    <a:lnTo>
                      <a:pt x="175" y="388"/>
                    </a:lnTo>
                    <a:lnTo>
                      <a:pt x="177" y="386"/>
                    </a:lnTo>
                    <a:lnTo>
                      <a:pt x="177" y="384"/>
                    </a:lnTo>
                    <a:lnTo>
                      <a:pt x="177" y="386"/>
                    </a:lnTo>
                    <a:lnTo>
                      <a:pt x="179" y="386"/>
                    </a:lnTo>
                    <a:lnTo>
                      <a:pt x="181" y="388"/>
                    </a:lnTo>
                    <a:lnTo>
                      <a:pt x="181" y="390"/>
                    </a:lnTo>
                    <a:lnTo>
                      <a:pt x="181" y="392"/>
                    </a:lnTo>
                    <a:lnTo>
                      <a:pt x="179" y="392"/>
                    </a:lnTo>
                    <a:lnTo>
                      <a:pt x="181" y="392"/>
                    </a:lnTo>
                    <a:lnTo>
                      <a:pt x="183" y="392"/>
                    </a:lnTo>
                    <a:lnTo>
                      <a:pt x="183" y="394"/>
                    </a:lnTo>
                    <a:lnTo>
                      <a:pt x="185" y="396"/>
                    </a:lnTo>
                    <a:lnTo>
                      <a:pt x="183" y="396"/>
                    </a:lnTo>
                    <a:lnTo>
                      <a:pt x="183" y="398"/>
                    </a:lnTo>
                    <a:lnTo>
                      <a:pt x="183" y="400"/>
                    </a:lnTo>
                    <a:lnTo>
                      <a:pt x="183" y="402"/>
                    </a:lnTo>
                    <a:lnTo>
                      <a:pt x="185" y="403"/>
                    </a:lnTo>
                    <a:lnTo>
                      <a:pt x="185" y="402"/>
                    </a:lnTo>
                    <a:lnTo>
                      <a:pt x="185" y="403"/>
                    </a:lnTo>
                    <a:lnTo>
                      <a:pt x="187" y="403"/>
                    </a:lnTo>
                    <a:lnTo>
                      <a:pt x="187" y="405"/>
                    </a:lnTo>
                    <a:lnTo>
                      <a:pt x="189" y="407"/>
                    </a:lnTo>
                    <a:lnTo>
                      <a:pt x="189" y="409"/>
                    </a:lnTo>
                    <a:lnTo>
                      <a:pt x="189" y="407"/>
                    </a:lnTo>
                    <a:lnTo>
                      <a:pt x="191" y="407"/>
                    </a:lnTo>
                    <a:lnTo>
                      <a:pt x="191" y="409"/>
                    </a:lnTo>
                    <a:lnTo>
                      <a:pt x="193" y="409"/>
                    </a:lnTo>
                    <a:lnTo>
                      <a:pt x="193" y="411"/>
                    </a:lnTo>
                    <a:lnTo>
                      <a:pt x="194" y="411"/>
                    </a:lnTo>
                    <a:lnTo>
                      <a:pt x="194" y="413"/>
                    </a:lnTo>
                    <a:lnTo>
                      <a:pt x="194" y="415"/>
                    </a:lnTo>
                    <a:lnTo>
                      <a:pt x="194" y="417"/>
                    </a:lnTo>
                    <a:lnTo>
                      <a:pt x="196" y="419"/>
                    </a:lnTo>
                    <a:lnTo>
                      <a:pt x="196" y="417"/>
                    </a:lnTo>
                    <a:lnTo>
                      <a:pt x="196" y="419"/>
                    </a:lnTo>
                    <a:lnTo>
                      <a:pt x="196" y="421"/>
                    </a:lnTo>
                    <a:lnTo>
                      <a:pt x="194" y="421"/>
                    </a:lnTo>
                    <a:lnTo>
                      <a:pt x="196" y="423"/>
                    </a:lnTo>
                    <a:lnTo>
                      <a:pt x="196" y="421"/>
                    </a:lnTo>
                    <a:lnTo>
                      <a:pt x="194" y="421"/>
                    </a:lnTo>
                    <a:lnTo>
                      <a:pt x="196" y="421"/>
                    </a:lnTo>
                    <a:lnTo>
                      <a:pt x="196" y="423"/>
                    </a:lnTo>
                    <a:lnTo>
                      <a:pt x="198" y="423"/>
                    </a:lnTo>
                    <a:lnTo>
                      <a:pt x="200" y="423"/>
                    </a:lnTo>
                    <a:lnTo>
                      <a:pt x="200" y="425"/>
                    </a:lnTo>
                    <a:lnTo>
                      <a:pt x="200" y="427"/>
                    </a:lnTo>
                    <a:lnTo>
                      <a:pt x="198" y="427"/>
                    </a:lnTo>
                    <a:lnTo>
                      <a:pt x="196" y="427"/>
                    </a:lnTo>
                    <a:lnTo>
                      <a:pt x="196" y="425"/>
                    </a:lnTo>
                    <a:lnTo>
                      <a:pt x="194" y="425"/>
                    </a:lnTo>
                    <a:lnTo>
                      <a:pt x="194" y="427"/>
                    </a:lnTo>
                    <a:lnTo>
                      <a:pt x="193" y="427"/>
                    </a:lnTo>
                    <a:lnTo>
                      <a:pt x="193" y="428"/>
                    </a:lnTo>
                    <a:lnTo>
                      <a:pt x="191" y="430"/>
                    </a:lnTo>
                    <a:lnTo>
                      <a:pt x="193" y="432"/>
                    </a:lnTo>
                    <a:lnTo>
                      <a:pt x="191" y="432"/>
                    </a:lnTo>
                    <a:lnTo>
                      <a:pt x="191" y="434"/>
                    </a:lnTo>
                    <a:lnTo>
                      <a:pt x="189" y="434"/>
                    </a:lnTo>
                    <a:lnTo>
                      <a:pt x="187" y="436"/>
                    </a:lnTo>
                    <a:lnTo>
                      <a:pt x="185" y="436"/>
                    </a:lnTo>
                    <a:lnTo>
                      <a:pt x="185" y="438"/>
                    </a:lnTo>
                    <a:lnTo>
                      <a:pt x="183" y="438"/>
                    </a:lnTo>
                    <a:lnTo>
                      <a:pt x="183" y="440"/>
                    </a:lnTo>
                    <a:lnTo>
                      <a:pt x="181" y="440"/>
                    </a:lnTo>
                    <a:lnTo>
                      <a:pt x="179" y="440"/>
                    </a:lnTo>
                    <a:lnTo>
                      <a:pt x="177" y="440"/>
                    </a:lnTo>
                    <a:lnTo>
                      <a:pt x="175" y="442"/>
                    </a:lnTo>
                    <a:lnTo>
                      <a:pt x="175" y="444"/>
                    </a:lnTo>
                    <a:lnTo>
                      <a:pt x="175" y="446"/>
                    </a:lnTo>
                    <a:lnTo>
                      <a:pt x="173" y="448"/>
                    </a:lnTo>
                    <a:lnTo>
                      <a:pt x="173" y="450"/>
                    </a:lnTo>
                    <a:lnTo>
                      <a:pt x="175" y="450"/>
                    </a:lnTo>
                    <a:lnTo>
                      <a:pt x="175" y="452"/>
                    </a:lnTo>
                    <a:lnTo>
                      <a:pt x="177" y="452"/>
                    </a:lnTo>
                    <a:lnTo>
                      <a:pt x="179" y="452"/>
                    </a:lnTo>
                    <a:lnTo>
                      <a:pt x="179" y="453"/>
                    </a:lnTo>
                    <a:lnTo>
                      <a:pt x="177" y="455"/>
                    </a:lnTo>
                    <a:lnTo>
                      <a:pt x="179" y="455"/>
                    </a:lnTo>
                    <a:lnTo>
                      <a:pt x="179" y="457"/>
                    </a:lnTo>
                    <a:lnTo>
                      <a:pt x="179" y="459"/>
                    </a:lnTo>
                    <a:lnTo>
                      <a:pt x="177" y="459"/>
                    </a:lnTo>
                    <a:lnTo>
                      <a:pt x="177" y="461"/>
                    </a:lnTo>
                    <a:lnTo>
                      <a:pt x="175" y="461"/>
                    </a:lnTo>
                    <a:lnTo>
                      <a:pt x="175" y="463"/>
                    </a:lnTo>
                    <a:lnTo>
                      <a:pt x="173" y="463"/>
                    </a:lnTo>
                    <a:lnTo>
                      <a:pt x="173" y="461"/>
                    </a:lnTo>
                    <a:lnTo>
                      <a:pt x="173" y="463"/>
                    </a:lnTo>
                    <a:lnTo>
                      <a:pt x="173" y="461"/>
                    </a:lnTo>
                    <a:lnTo>
                      <a:pt x="171" y="461"/>
                    </a:lnTo>
                    <a:lnTo>
                      <a:pt x="170" y="461"/>
                    </a:lnTo>
                    <a:lnTo>
                      <a:pt x="171" y="459"/>
                    </a:lnTo>
                    <a:lnTo>
                      <a:pt x="170" y="459"/>
                    </a:lnTo>
                    <a:lnTo>
                      <a:pt x="171" y="459"/>
                    </a:lnTo>
                    <a:lnTo>
                      <a:pt x="170" y="461"/>
                    </a:lnTo>
                    <a:lnTo>
                      <a:pt x="171" y="461"/>
                    </a:lnTo>
                    <a:lnTo>
                      <a:pt x="173" y="461"/>
                    </a:lnTo>
                    <a:lnTo>
                      <a:pt x="173" y="463"/>
                    </a:lnTo>
                    <a:lnTo>
                      <a:pt x="171" y="461"/>
                    </a:lnTo>
                    <a:lnTo>
                      <a:pt x="173" y="463"/>
                    </a:lnTo>
                    <a:lnTo>
                      <a:pt x="171" y="463"/>
                    </a:lnTo>
                    <a:lnTo>
                      <a:pt x="171" y="461"/>
                    </a:lnTo>
                    <a:lnTo>
                      <a:pt x="171" y="463"/>
                    </a:lnTo>
                    <a:lnTo>
                      <a:pt x="173" y="463"/>
                    </a:lnTo>
                    <a:lnTo>
                      <a:pt x="175" y="463"/>
                    </a:lnTo>
                    <a:lnTo>
                      <a:pt x="175" y="461"/>
                    </a:lnTo>
                    <a:lnTo>
                      <a:pt x="177" y="461"/>
                    </a:lnTo>
                    <a:lnTo>
                      <a:pt x="179" y="461"/>
                    </a:lnTo>
                    <a:lnTo>
                      <a:pt x="179" y="459"/>
                    </a:lnTo>
                    <a:lnTo>
                      <a:pt x="179" y="461"/>
                    </a:lnTo>
                    <a:lnTo>
                      <a:pt x="177" y="461"/>
                    </a:lnTo>
                    <a:lnTo>
                      <a:pt x="175" y="463"/>
                    </a:lnTo>
                    <a:lnTo>
                      <a:pt x="175" y="465"/>
                    </a:lnTo>
                    <a:lnTo>
                      <a:pt x="173" y="465"/>
                    </a:lnTo>
                    <a:lnTo>
                      <a:pt x="173" y="467"/>
                    </a:lnTo>
                    <a:lnTo>
                      <a:pt x="173" y="469"/>
                    </a:lnTo>
                    <a:lnTo>
                      <a:pt x="173" y="471"/>
                    </a:lnTo>
                    <a:lnTo>
                      <a:pt x="175" y="471"/>
                    </a:lnTo>
                    <a:lnTo>
                      <a:pt x="173" y="471"/>
                    </a:lnTo>
                    <a:lnTo>
                      <a:pt x="175" y="473"/>
                    </a:lnTo>
                    <a:lnTo>
                      <a:pt x="173" y="473"/>
                    </a:lnTo>
                    <a:lnTo>
                      <a:pt x="175" y="473"/>
                    </a:lnTo>
                    <a:lnTo>
                      <a:pt x="175" y="475"/>
                    </a:lnTo>
                    <a:lnTo>
                      <a:pt x="175" y="473"/>
                    </a:lnTo>
                    <a:lnTo>
                      <a:pt x="175" y="475"/>
                    </a:lnTo>
                    <a:lnTo>
                      <a:pt x="175" y="477"/>
                    </a:lnTo>
                    <a:lnTo>
                      <a:pt x="173" y="477"/>
                    </a:lnTo>
                    <a:lnTo>
                      <a:pt x="173" y="478"/>
                    </a:lnTo>
                    <a:lnTo>
                      <a:pt x="171" y="478"/>
                    </a:lnTo>
                    <a:lnTo>
                      <a:pt x="170" y="480"/>
                    </a:lnTo>
                    <a:lnTo>
                      <a:pt x="170" y="482"/>
                    </a:lnTo>
                    <a:lnTo>
                      <a:pt x="170" y="484"/>
                    </a:lnTo>
                    <a:lnTo>
                      <a:pt x="168" y="484"/>
                    </a:lnTo>
                    <a:lnTo>
                      <a:pt x="168" y="486"/>
                    </a:lnTo>
                    <a:lnTo>
                      <a:pt x="168" y="488"/>
                    </a:lnTo>
                    <a:lnTo>
                      <a:pt x="166" y="488"/>
                    </a:lnTo>
                    <a:lnTo>
                      <a:pt x="168" y="488"/>
                    </a:lnTo>
                    <a:lnTo>
                      <a:pt x="170" y="490"/>
                    </a:lnTo>
                    <a:lnTo>
                      <a:pt x="168" y="490"/>
                    </a:lnTo>
                    <a:lnTo>
                      <a:pt x="170" y="490"/>
                    </a:lnTo>
                    <a:lnTo>
                      <a:pt x="170" y="492"/>
                    </a:lnTo>
                    <a:lnTo>
                      <a:pt x="170" y="490"/>
                    </a:lnTo>
                    <a:lnTo>
                      <a:pt x="170" y="492"/>
                    </a:lnTo>
                    <a:lnTo>
                      <a:pt x="170" y="490"/>
                    </a:lnTo>
                    <a:lnTo>
                      <a:pt x="170" y="492"/>
                    </a:lnTo>
                    <a:lnTo>
                      <a:pt x="171" y="492"/>
                    </a:lnTo>
                    <a:lnTo>
                      <a:pt x="171" y="494"/>
                    </a:lnTo>
                    <a:lnTo>
                      <a:pt x="171" y="496"/>
                    </a:lnTo>
                    <a:lnTo>
                      <a:pt x="171" y="494"/>
                    </a:lnTo>
                    <a:lnTo>
                      <a:pt x="171" y="496"/>
                    </a:lnTo>
                    <a:lnTo>
                      <a:pt x="171" y="494"/>
                    </a:lnTo>
                    <a:lnTo>
                      <a:pt x="171" y="496"/>
                    </a:lnTo>
                    <a:lnTo>
                      <a:pt x="171" y="494"/>
                    </a:lnTo>
                    <a:lnTo>
                      <a:pt x="171" y="496"/>
                    </a:lnTo>
                    <a:lnTo>
                      <a:pt x="171" y="494"/>
                    </a:lnTo>
                    <a:lnTo>
                      <a:pt x="170" y="496"/>
                    </a:lnTo>
                    <a:lnTo>
                      <a:pt x="171" y="496"/>
                    </a:lnTo>
                    <a:lnTo>
                      <a:pt x="171" y="494"/>
                    </a:lnTo>
                    <a:lnTo>
                      <a:pt x="171" y="496"/>
                    </a:lnTo>
                    <a:lnTo>
                      <a:pt x="171" y="494"/>
                    </a:lnTo>
                    <a:lnTo>
                      <a:pt x="173" y="494"/>
                    </a:lnTo>
                    <a:lnTo>
                      <a:pt x="173" y="496"/>
                    </a:lnTo>
                    <a:lnTo>
                      <a:pt x="173" y="494"/>
                    </a:lnTo>
                    <a:lnTo>
                      <a:pt x="175" y="496"/>
                    </a:lnTo>
                    <a:lnTo>
                      <a:pt x="177" y="496"/>
                    </a:lnTo>
                    <a:lnTo>
                      <a:pt x="177" y="498"/>
                    </a:lnTo>
                    <a:lnTo>
                      <a:pt x="177" y="500"/>
                    </a:lnTo>
                    <a:lnTo>
                      <a:pt x="177" y="502"/>
                    </a:lnTo>
                    <a:lnTo>
                      <a:pt x="177" y="503"/>
                    </a:lnTo>
                    <a:lnTo>
                      <a:pt x="175" y="503"/>
                    </a:lnTo>
                    <a:lnTo>
                      <a:pt x="173" y="503"/>
                    </a:lnTo>
                    <a:lnTo>
                      <a:pt x="175" y="503"/>
                    </a:lnTo>
                    <a:lnTo>
                      <a:pt x="175" y="505"/>
                    </a:lnTo>
                    <a:lnTo>
                      <a:pt x="175" y="503"/>
                    </a:lnTo>
                    <a:lnTo>
                      <a:pt x="175" y="505"/>
                    </a:lnTo>
                    <a:lnTo>
                      <a:pt x="173" y="505"/>
                    </a:lnTo>
                    <a:lnTo>
                      <a:pt x="173" y="507"/>
                    </a:lnTo>
                    <a:lnTo>
                      <a:pt x="173" y="509"/>
                    </a:lnTo>
                    <a:lnTo>
                      <a:pt x="173" y="507"/>
                    </a:lnTo>
                    <a:lnTo>
                      <a:pt x="175" y="507"/>
                    </a:lnTo>
                    <a:lnTo>
                      <a:pt x="175" y="505"/>
                    </a:lnTo>
                    <a:lnTo>
                      <a:pt x="175" y="503"/>
                    </a:lnTo>
                    <a:lnTo>
                      <a:pt x="175" y="505"/>
                    </a:lnTo>
                    <a:lnTo>
                      <a:pt x="175" y="507"/>
                    </a:lnTo>
                    <a:lnTo>
                      <a:pt x="175" y="505"/>
                    </a:lnTo>
                    <a:lnTo>
                      <a:pt x="175" y="507"/>
                    </a:lnTo>
                    <a:lnTo>
                      <a:pt x="175" y="509"/>
                    </a:lnTo>
                    <a:lnTo>
                      <a:pt x="177" y="509"/>
                    </a:lnTo>
                    <a:lnTo>
                      <a:pt x="177" y="511"/>
                    </a:lnTo>
                    <a:lnTo>
                      <a:pt x="177" y="513"/>
                    </a:lnTo>
                    <a:lnTo>
                      <a:pt x="177" y="511"/>
                    </a:lnTo>
                    <a:lnTo>
                      <a:pt x="179" y="513"/>
                    </a:lnTo>
                    <a:lnTo>
                      <a:pt x="177" y="513"/>
                    </a:lnTo>
                    <a:lnTo>
                      <a:pt x="179" y="513"/>
                    </a:lnTo>
                    <a:lnTo>
                      <a:pt x="179" y="515"/>
                    </a:lnTo>
                    <a:lnTo>
                      <a:pt x="177" y="515"/>
                    </a:lnTo>
                    <a:lnTo>
                      <a:pt x="175" y="515"/>
                    </a:lnTo>
                    <a:lnTo>
                      <a:pt x="175" y="517"/>
                    </a:lnTo>
                    <a:lnTo>
                      <a:pt x="175" y="515"/>
                    </a:lnTo>
                    <a:lnTo>
                      <a:pt x="175" y="517"/>
                    </a:lnTo>
                    <a:lnTo>
                      <a:pt x="175" y="515"/>
                    </a:lnTo>
                    <a:lnTo>
                      <a:pt x="175" y="517"/>
                    </a:lnTo>
                    <a:lnTo>
                      <a:pt x="175" y="519"/>
                    </a:lnTo>
                    <a:lnTo>
                      <a:pt x="175" y="521"/>
                    </a:lnTo>
                    <a:lnTo>
                      <a:pt x="175" y="523"/>
                    </a:lnTo>
                    <a:lnTo>
                      <a:pt x="173" y="523"/>
                    </a:lnTo>
                    <a:lnTo>
                      <a:pt x="175" y="525"/>
                    </a:lnTo>
                    <a:lnTo>
                      <a:pt x="175" y="527"/>
                    </a:lnTo>
                    <a:lnTo>
                      <a:pt x="173" y="527"/>
                    </a:lnTo>
                    <a:lnTo>
                      <a:pt x="173" y="528"/>
                    </a:lnTo>
                    <a:lnTo>
                      <a:pt x="171" y="528"/>
                    </a:lnTo>
                    <a:lnTo>
                      <a:pt x="171" y="530"/>
                    </a:lnTo>
                    <a:lnTo>
                      <a:pt x="170" y="530"/>
                    </a:lnTo>
                    <a:lnTo>
                      <a:pt x="170" y="528"/>
                    </a:lnTo>
                    <a:lnTo>
                      <a:pt x="168" y="528"/>
                    </a:lnTo>
                    <a:lnTo>
                      <a:pt x="166" y="530"/>
                    </a:lnTo>
                    <a:lnTo>
                      <a:pt x="168" y="532"/>
                    </a:lnTo>
                    <a:lnTo>
                      <a:pt x="168" y="534"/>
                    </a:lnTo>
                    <a:lnTo>
                      <a:pt x="168" y="532"/>
                    </a:lnTo>
                    <a:lnTo>
                      <a:pt x="168" y="534"/>
                    </a:lnTo>
                    <a:lnTo>
                      <a:pt x="170" y="534"/>
                    </a:lnTo>
                    <a:lnTo>
                      <a:pt x="168" y="534"/>
                    </a:lnTo>
                    <a:lnTo>
                      <a:pt x="166" y="534"/>
                    </a:lnTo>
                    <a:lnTo>
                      <a:pt x="166" y="536"/>
                    </a:lnTo>
                    <a:lnTo>
                      <a:pt x="166" y="538"/>
                    </a:lnTo>
                    <a:lnTo>
                      <a:pt x="166" y="540"/>
                    </a:lnTo>
                    <a:lnTo>
                      <a:pt x="168" y="540"/>
                    </a:lnTo>
                    <a:lnTo>
                      <a:pt x="166" y="540"/>
                    </a:lnTo>
                    <a:lnTo>
                      <a:pt x="166" y="542"/>
                    </a:lnTo>
                    <a:lnTo>
                      <a:pt x="166" y="544"/>
                    </a:lnTo>
                    <a:lnTo>
                      <a:pt x="164" y="544"/>
                    </a:lnTo>
                    <a:lnTo>
                      <a:pt x="162" y="544"/>
                    </a:lnTo>
                    <a:lnTo>
                      <a:pt x="164" y="544"/>
                    </a:lnTo>
                    <a:lnTo>
                      <a:pt x="162" y="544"/>
                    </a:lnTo>
                    <a:lnTo>
                      <a:pt x="164" y="544"/>
                    </a:lnTo>
                    <a:lnTo>
                      <a:pt x="164" y="546"/>
                    </a:lnTo>
                    <a:lnTo>
                      <a:pt x="164" y="544"/>
                    </a:lnTo>
                    <a:lnTo>
                      <a:pt x="166" y="544"/>
                    </a:lnTo>
                    <a:lnTo>
                      <a:pt x="166" y="546"/>
                    </a:lnTo>
                    <a:lnTo>
                      <a:pt x="166" y="548"/>
                    </a:lnTo>
                    <a:lnTo>
                      <a:pt x="166" y="550"/>
                    </a:lnTo>
                    <a:lnTo>
                      <a:pt x="166" y="548"/>
                    </a:lnTo>
                    <a:lnTo>
                      <a:pt x="166" y="550"/>
                    </a:lnTo>
                    <a:lnTo>
                      <a:pt x="166" y="548"/>
                    </a:lnTo>
                    <a:lnTo>
                      <a:pt x="166" y="550"/>
                    </a:lnTo>
                    <a:lnTo>
                      <a:pt x="164" y="550"/>
                    </a:lnTo>
                    <a:lnTo>
                      <a:pt x="162" y="550"/>
                    </a:lnTo>
                    <a:lnTo>
                      <a:pt x="162" y="548"/>
                    </a:lnTo>
                    <a:lnTo>
                      <a:pt x="162" y="546"/>
                    </a:lnTo>
                    <a:lnTo>
                      <a:pt x="160" y="546"/>
                    </a:lnTo>
                    <a:lnTo>
                      <a:pt x="160" y="548"/>
                    </a:lnTo>
                    <a:lnTo>
                      <a:pt x="158" y="548"/>
                    </a:lnTo>
                    <a:lnTo>
                      <a:pt x="160" y="548"/>
                    </a:lnTo>
                    <a:lnTo>
                      <a:pt x="158" y="548"/>
                    </a:lnTo>
                    <a:lnTo>
                      <a:pt x="160" y="550"/>
                    </a:lnTo>
                    <a:lnTo>
                      <a:pt x="160" y="552"/>
                    </a:lnTo>
                    <a:lnTo>
                      <a:pt x="160" y="553"/>
                    </a:lnTo>
                    <a:lnTo>
                      <a:pt x="158" y="553"/>
                    </a:lnTo>
                    <a:lnTo>
                      <a:pt x="156" y="553"/>
                    </a:lnTo>
                    <a:lnTo>
                      <a:pt x="156" y="552"/>
                    </a:lnTo>
                    <a:lnTo>
                      <a:pt x="154" y="553"/>
                    </a:lnTo>
                    <a:lnTo>
                      <a:pt x="154" y="552"/>
                    </a:lnTo>
                    <a:lnTo>
                      <a:pt x="154" y="553"/>
                    </a:lnTo>
                    <a:lnTo>
                      <a:pt x="154" y="555"/>
                    </a:lnTo>
                    <a:lnTo>
                      <a:pt x="156" y="555"/>
                    </a:lnTo>
                    <a:lnTo>
                      <a:pt x="154" y="553"/>
                    </a:lnTo>
                    <a:lnTo>
                      <a:pt x="156" y="555"/>
                    </a:lnTo>
                    <a:lnTo>
                      <a:pt x="156" y="553"/>
                    </a:lnTo>
                    <a:lnTo>
                      <a:pt x="156" y="555"/>
                    </a:lnTo>
                    <a:lnTo>
                      <a:pt x="156" y="553"/>
                    </a:lnTo>
                    <a:lnTo>
                      <a:pt x="156" y="555"/>
                    </a:lnTo>
                    <a:lnTo>
                      <a:pt x="154" y="555"/>
                    </a:lnTo>
                    <a:lnTo>
                      <a:pt x="154" y="557"/>
                    </a:lnTo>
                    <a:lnTo>
                      <a:pt x="154" y="555"/>
                    </a:lnTo>
                    <a:lnTo>
                      <a:pt x="152" y="555"/>
                    </a:lnTo>
                    <a:lnTo>
                      <a:pt x="152" y="557"/>
                    </a:lnTo>
                    <a:lnTo>
                      <a:pt x="152" y="555"/>
                    </a:lnTo>
                    <a:lnTo>
                      <a:pt x="152" y="557"/>
                    </a:lnTo>
                    <a:lnTo>
                      <a:pt x="150" y="557"/>
                    </a:lnTo>
                    <a:lnTo>
                      <a:pt x="152" y="557"/>
                    </a:lnTo>
                    <a:lnTo>
                      <a:pt x="150" y="557"/>
                    </a:lnTo>
                    <a:lnTo>
                      <a:pt x="150" y="559"/>
                    </a:lnTo>
                    <a:lnTo>
                      <a:pt x="150" y="557"/>
                    </a:lnTo>
                    <a:lnTo>
                      <a:pt x="148" y="559"/>
                    </a:lnTo>
                    <a:lnTo>
                      <a:pt x="150" y="559"/>
                    </a:lnTo>
                    <a:lnTo>
                      <a:pt x="148" y="559"/>
                    </a:lnTo>
                    <a:lnTo>
                      <a:pt x="146" y="561"/>
                    </a:lnTo>
                    <a:lnTo>
                      <a:pt x="145" y="561"/>
                    </a:lnTo>
                    <a:lnTo>
                      <a:pt x="143" y="563"/>
                    </a:lnTo>
                    <a:lnTo>
                      <a:pt x="141" y="565"/>
                    </a:lnTo>
                    <a:lnTo>
                      <a:pt x="141" y="567"/>
                    </a:lnTo>
                    <a:lnTo>
                      <a:pt x="139" y="567"/>
                    </a:lnTo>
                    <a:lnTo>
                      <a:pt x="139" y="569"/>
                    </a:lnTo>
                    <a:lnTo>
                      <a:pt x="137" y="569"/>
                    </a:lnTo>
                    <a:lnTo>
                      <a:pt x="135" y="569"/>
                    </a:lnTo>
                    <a:lnTo>
                      <a:pt x="135" y="571"/>
                    </a:lnTo>
                    <a:lnTo>
                      <a:pt x="133" y="571"/>
                    </a:lnTo>
                    <a:lnTo>
                      <a:pt x="135" y="571"/>
                    </a:lnTo>
                    <a:lnTo>
                      <a:pt x="133" y="571"/>
                    </a:lnTo>
                    <a:lnTo>
                      <a:pt x="135" y="571"/>
                    </a:lnTo>
                    <a:lnTo>
                      <a:pt x="133" y="571"/>
                    </a:lnTo>
                    <a:lnTo>
                      <a:pt x="135" y="571"/>
                    </a:lnTo>
                    <a:lnTo>
                      <a:pt x="135" y="573"/>
                    </a:lnTo>
                    <a:lnTo>
                      <a:pt x="135" y="575"/>
                    </a:lnTo>
                    <a:lnTo>
                      <a:pt x="133" y="575"/>
                    </a:lnTo>
                    <a:lnTo>
                      <a:pt x="133" y="573"/>
                    </a:lnTo>
                    <a:lnTo>
                      <a:pt x="131" y="573"/>
                    </a:lnTo>
                    <a:lnTo>
                      <a:pt x="131" y="575"/>
                    </a:lnTo>
                    <a:lnTo>
                      <a:pt x="131" y="573"/>
                    </a:lnTo>
                    <a:lnTo>
                      <a:pt x="133" y="573"/>
                    </a:lnTo>
                    <a:lnTo>
                      <a:pt x="131" y="575"/>
                    </a:lnTo>
                    <a:lnTo>
                      <a:pt x="133" y="573"/>
                    </a:lnTo>
                    <a:lnTo>
                      <a:pt x="133" y="575"/>
                    </a:lnTo>
                    <a:lnTo>
                      <a:pt x="131" y="575"/>
                    </a:lnTo>
                    <a:lnTo>
                      <a:pt x="133" y="577"/>
                    </a:lnTo>
                    <a:lnTo>
                      <a:pt x="133" y="578"/>
                    </a:lnTo>
                    <a:lnTo>
                      <a:pt x="133" y="580"/>
                    </a:lnTo>
                    <a:lnTo>
                      <a:pt x="131" y="580"/>
                    </a:lnTo>
                    <a:lnTo>
                      <a:pt x="133" y="580"/>
                    </a:lnTo>
                    <a:lnTo>
                      <a:pt x="131" y="580"/>
                    </a:lnTo>
                    <a:lnTo>
                      <a:pt x="131" y="578"/>
                    </a:lnTo>
                    <a:lnTo>
                      <a:pt x="129" y="578"/>
                    </a:lnTo>
                    <a:lnTo>
                      <a:pt x="129" y="580"/>
                    </a:lnTo>
                    <a:lnTo>
                      <a:pt x="129" y="578"/>
                    </a:lnTo>
                    <a:lnTo>
                      <a:pt x="129" y="580"/>
                    </a:lnTo>
                    <a:lnTo>
                      <a:pt x="131" y="582"/>
                    </a:lnTo>
                    <a:lnTo>
                      <a:pt x="129" y="582"/>
                    </a:lnTo>
                    <a:lnTo>
                      <a:pt x="131" y="582"/>
                    </a:lnTo>
                    <a:lnTo>
                      <a:pt x="129" y="582"/>
                    </a:lnTo>
                    <a:lnTo>
                      <a:pt x="127" y="582"/>
                    </a:lnTo>
                    <a:lnTo>
                      <a:pt x="127" y="584"/>
                    </a:lnTo>
                    <a:lnTo>
                      <a:pt x="125" y="582"/>
                    </a:lnTo>
                    <a:lnTo>
                      <a:pt x="125" y="584"/>
                    </a:lnTo>
                    <a:lnTo>
                      <a:pt x="123" y="584"/>
                    </a:lnTo>
                    <a:lnTo>
                      <a:pt x="121" y="584"/>
                    </a:lnTo>
                    <a:lnTo>
                      <a:pt x="121" y="586"/>
                    </a:lnTo>
                    <a:lnTo>
                      <a:pt x="123" y="586"/>
                    </a:lnTo>
                    <a:lnTo>
                      <a:pt x="123" y="588"/>
                    </a:lnTo>
                    <a:lnTo>
                      <a:pt x="121" y="588"/>
                    </a:lnTo>
                    <a:lnTo>
                      <a:pt x="121" y="590"/>
                    </a:lnTo>
                    <a:lnTo>
                      <a:pt x="123" y="590"/>
                    </a:lnTo>
                    <a:lnTo>
                      <a:pt x="121" y="590"/>
                    </a:lnTo>
                    <a:lnTo>
                      <a:pt x="121" y="592"/>
                    </a:lnTo>
                    <a:lnTo>
                      <a:pt x="121" y="590"/>
                    </a:lnTo>
                    <a:lnTo>
                      <a:pt x="120" y="590"/>
                    </a:lnTo>
                    <a:lnTo>
                      <a:pt x="120" y="592"/>
                    </a:lnTo>
                    <a:lnTo>
                      <a:pt x="118" y="592"/>
                    </a:lnTo>
                    <a:lnTo>
                      <a:pt x="116" y="592"/>
                    </a:lnTo>
                    <a:lnTo>
                      <a:pt x="118" y="592"/>
                    </a:lnTo>
                    <a:lnTo>
                      <a:pt x="118" y="594"/>
                    </a:lnTo>
                    <a:lnTo>
                      <a:pt x="118" y="592"/>
                    </a:lnTo>
                    <a:lnTo>
                      <a:pt x="118" y="594"/>
                    </a:lnTo>
                    <a:lnTo>
                      <a:pt x="116" y="592"/>
                    </a:lnTo>
                    <a:lnTo>
                      <a:pt x="116" y="594"/>
                    </a:lnTo>
                    <a:lnTo>
                      <a:pt x="116" y="596"/>
                    </a:lnTo>
                    <a:lnTo>
                      <a:pt x="116" y="594"/>
                    </a:lnTo>
                    <a:lnTo>
                      <a:pt x="116" y="596"/>
                    </a:lnTo>
                    <a:lnTo>
                      <a:pt x="114" y="596"/>
                    </a:lnTo>
                    <a:lnTo>
                      <a:pt x="114" y="598"/>
                    </a:lnTo>
                    <a:lnTo>
                      <a:pt x="112" y="598"/>
                    </a:lnTo>
                    <a:lnTo>
                      <a:pt x="114" y="598"/>
                    </a:lnTo>
                    <a:lnTo>
                      <a:pt x="112" y="600"/>
                    </a:lnTo>
                    <a:lnTo>
                      <a:pt x="110" y="600"/>
                    </a:lnTo>
                    <a:lnTo>
                      <a:pt x="108" y="600"/>
                    </a:lnTo>
                    <a:lnTo>
                      <a:pt x="108" y="598"/>
                    </a:lnTo>
                    <a:lnTo>
                      <a:pt x="106" y="598"/>
                    </a:lnTo>
                    <a:lnTo>
                      <a:pt x="106" y="600"/>
                    </a:lnTo>
                    <a:lnTo>
                      <a:pt x="104" y="600"/>
                    </a:lnTo>
                    <a:lnTo>
                      <a:pt x="104" y="602"/>
                    </a:lnTo>
                    <a:lnTo>
                      <a:pt x="102" y="602"/>
                    </a:lnTo>
                    <a:lnTo>
                      <a:pt x="102" y="600"/>
                    </a:lnTo>
                    <a:lnTo>
                      <a:pt x="102" y="602"/>
                    </a:lnTo>
                    <a:lnTo>
                      <a:pt x="100" y="602"/>
                    </a:lnTo>
                    <a:lnTo>
                      <a:pt x="100" y="600"/>
                    </a:lnTo>
                    <a:lnTo>
                      <a:pt x="98" y="600"/>
                    </a:lnTo>
                    <a:lnTo>
                      <a:pt x="98" y="598"/>
                    </a:lnTo>
                    <a:lnTo>
                      <a:pt x="100" y="598"/>
                    </a:lnTo>
                    <a:lnTo>
                      <a:pt x="100" y="596"/>
                    </a:lnTo>
                    <a:lnTo>
                      <a:pt x="100" y="598"/>
                    </a:lnTo>
                    <a:lnTo>
                      <a:pt x="98" y="598"/>
                    </a:lnTo>
                    <a:lnTo>
                      <a:pt x="98" y="600"/>
                    </a:lnTo>
                    <a:lnTo>
                      <a:pt x="100" y="600"/>
                    </a:lnTo>
                    <a:lnTo>
                      <a:pt x="100" y="602"/>
                    </a:lnTo>
                    <a:lnTo>
                      <a:pt x="102" y="602"/>
                    </a:lnTo>
                    <a:lnTo>
                      <a:pt x="102" y="603"/>
                    </a:lnTo>
                    <a:lnTo>
                      <a:pt x="102" y="605"/>
                    </a:lnTo>
                    <a:lnTo>
                      <a:pt x="100" y="605"/>
                    </a:lnTo>
                    <a:lnTo>
                      <a:pt x="102" y="605"/>
                    </a:lnTo>
                    <a:lnTo>
                      <a:pt x="102" y="607"/>
                    </a:lnTo>
                    <a:lnTo>
                      <a:pt x="100" y="607"/>
                    </a:lnTo>
                    <a:lnTo>
                      <a:pt x="100" y="609"/>
                    </a:lnTo>
                    <a:lnTo>
                      <a:pt x="98" y="609"/>
                    </a:lnTo>
                    <a:lnTo>
                      <a:pt x="100" y="609"/>
                    </a:lnTo>
                    <a:lnTo>
                      <a:pt x="100" y="607"/>
                    </a:lnTo>
                    <a:lnTo>
                      <a:pt x="102" y="607"/>
                    </a:lnTo>
                    <a:lnTo>
                      <a:pt x="102" y="605"/>
                    </a:lnTo>
                    <a:lnTo>
                      <a:pt x="102" y="603"/>
                    </a:lnTo>
                    <a:lnTo>
                      <a:pt x="102" y="602"/>
                    </a:lnTo>
                    <a:lnTo>
                      <a:pt x="104" y="602"/>
                    </a:lnTo>
                    <a:lnTo>
                      <a:pt x="104" y="600"/>
                    </a:lnTo>
                    <a:lnTo>
                      <a:pt x="104" y="602"/>
                    </a:lnTo>
                    <a:lnTo>
                      <a:pt x="104" y="600"/>
                    </a:lnTo>
                    <a:lnTo>
                      <a:pt x="106" y="600"/>
                    </a:lnTo>
                    <a:lnTo>
                      <a:pt x="108" y="598"/>
                    </a:lnTo>
                    <a:lnTo>
                      <a:pt x="108" y="600"/>
                    </a:lnTo>
                    <a:lnTo>
                      <a:pt x="110" y="600"/>
                    </a:lnTo>
                    <a:lnTo>
                      <a:pt x="112" y="600"/>
                    </a:lnTo>
                    <a:lnTo>
                      <a:pt x="114" y="600"/>
                    </a:lnTo>
                    <a:lnTo>
                      <a:pt x="114" y="598"/>
                    </a:lnTo>
                    <a:lnTo>
                      <a:pt x="112" y="598"/>
                    </a:lnTo>
                    <a:lnTo>
                      <a:pt x="114" y="598"/>
                    </a:lnTo>
                    <a:lnTo>
                      <a:pt x="114" y="596"/>
                    </a:lnTo>
                    <a:lnTo>
                      <a:pt x="116" y="596"/>
                    </a:lnTo>
                    <a:lnTo>
                      <a:pt x="116" y="594"/>
                    </a:lnTo>
                    <a:lnTo>
                      <a:pt x="116" y="596"/>
                    </a:lnTo>
                    <a:lnTo>
                      <a:pt x="116" y="594"/>
                    </a:lnTo>
                    <a:lnTo>
                      <a:pt x="118" y="594"/>
                    </a:lnTo>
                    <a:lnTo>
                      <a:pt x="118" y="592"/>
                    </a:lnTo>
                    <a:lnTo>
                      <a:pt x="120" y="592"/>
                    </a:lnTo>
                    <a:lnTo>
                      <a:pt x="120" y="590"/>
                    </a:lnTo>
                    <a:lnTo>
                      <a:pt x="121" y="590"/>
                    </a:lnTo>
                    <a:lnTo>
                      <a:pt x="121" y="592"/>
                    </a:lnTo>
                    <a:lnTo>
                      <a:pt x="121" y="590"/>
                    </a:lnTo>
                    <a:lnTo>
                      <a:pt x="123" y="590"/>
                    </a:lnTo>
                    <a:lnTo>
                      <a:pt x="121" y="590"/>
                    </a:lnTo>
                    <a:lnTo>
                      <a:pt x="121" y="588"/>
                    </a:lnTo>
                    <a:lnTo>
                      <a:pt x="123" y="588"/>
                    </a:lnTo>
                    <a:lnTo>
                      <a:pt x="123" y="586"/>
                    </a:lnTo>
                    <a:lnTo>
                      <a:pt x="121" y="586"/>
                    </a:lnTo>
                    <a:lnTo>
                      <a:pt x="121" y="584"/>
                    </a:lnTo>
                    <a:lnTo>
                      <a:pt x="123" y="584"/>
                    </a:lnTo>
                    <a:lnTo>
                      <a:pt x="125" y="584"/>
                    </a:lnTo>
                    <a:lnTo>
                      <a:pt x="127" y="584"/>
                    </a:lnTo>
                    <a:lnTo>
                      <a:pt x="127" y="582"/>
                    </a:lnTo>
                    <a:lnTo>
                      <a:pt x="129" y="582"/>
                    </a:lnTo>
                    <a:lnTo>
                      <a:pt x="129" y="584"/>
                    </a:lnTo>
                    <a:lnTo>
                      <a:pt x="129" y="586"/>
                    </a:lnTo>
                    <a:lnTo>
                      <a:pt x="127" y="586"/>
                    </a:lnTo>
                    <a:lnTo>
                      <a:pt x="125" y="586"/>
                    </a:lnTo>
                    <a:lnTo>
                      <a:pt x="125" y="588"/>
                    </a:lnTo>
                    <a:lnTo>
                      <a:pt x="127" y="588"/>
                    </a:lnTo>
                    <a:lnTo>
                      <a:pt x="125" y="588"/>
                    </a:lnTo>
                    <a:lnTo>
                      <a:pt x="127" y="588"/>
                    </a:lnTo>
                    <a:lnTo>
                      <a:pt x="127" y="590"/>
                    </a:lnTo>
                    <a:lnTo>
                      <a:pt x="125" y="590"/>
                    </a:lnTo>
                    <a:lnTo>
                      <a:pt x="125" y="588"/>
                    </a:lnTo>
                    <a:lnTo>
                      <a:pt x="125" y="590"/>
                    </a:lnTo>
                    <a:lnTo>
                      <a:pt x="125" y="588"/>
                    </a:lnTo>
                    <a:lnTo>
                      <a:pt x="123" y="588"/>
                    </a:lnTo>
                    <a:lnTo>
                      <a:pt x="123" y="590"/>
                    </a:lnTo>
                    <a:lnTo>
                      <a:pt x="123" y="592"/>
                    </a:lnTo>
                    <a:lnTo>
                      <a:pt x="121" y="592"/>
                    </a:lnTo>
                    <a:lnTo>
                      <a:pt x="121" y="594"/>
                    </a:lnTo>
                    <a:lnTo>
                      <a:pt x="121" y="596"/>
                    </a:lnTo>
                    <a:lnTo>
                      <a:pt x="121" y="598"/>
                    </a:lnTo>
                    <a:lnTo>
                      <a:pt x="120" y="598"/>
                    </a:lnTo>
                    <a:lnTo>
                      <a:pt x="121" y="598"/>
                    </a:lnTo>
                    <a:lnTo>
                      <a:pt x="120" y="598"/>
                    </a:lnTo>
                    <a:lnTo>
                      <a:pt x="121" y="598"/>
                    </a:lnTo>
                    <a:lnTo>
                      <a:pt x="121" y="596"/>
                    </a:lnTo>
                    <a:lnTo>
                      <a:pt x="121" y="594"/>
                    </a:lnTo>
                    <a:lnTo>
                      <a:pt x="121" y="592"/>
                    </a:lnTo>
                    <a:lnTo>
                      <a:pt x="123" y="592"/>
                    </a:lnTo>
                    <a:lnTo>
                      <a:pt x="123" y="590"/>
                    </a:lnTo>
                    <a:lnTo>
                      <a:pt x="123" y="588"/>
                    </a:lnTo>
                    <a:lnTo>
                      <a:pt x="125" y="588"/>
                    </a:lnTo>
                    <a:lnTo>
                      <a:pt x="125" y="590"/>
                    </a:lnTo>
                    <a:lnTo>
                      <a:pt x="127" y="590"/>
                    </a:lnTo>
                    <a:lnTo>
                      <a:pt x="127" y="588"/>
                    </a:lnTo>
                    <a:lnTo>
                      <a:pt x="127" y="590"/>
                    </a:lnTo>
                    <a:lnTo>
                      <a:pt x="127" y="592"/>
                    </a:lnTo>
                    <a:lnTo>
                      <a:pt x="127" y="594"/>
                    </a:lnTo>
                    <a:lnTo>
                      <a:pt x="127" y="596"/>
                    </a:lnTo>
                    <a:lnTo>
                      <a:pt x="127" y="598"/>
                    </a:lnTo>
                    <a:lnTo>
                      <a:pt x="125" y="598"/>
                    </a:lnTo>
                    <a:lnTo>
                      <a:pt x="127" y="598"/>
                    </a:lnTo>
                    <a:lnTo>
                      <a:pt x="127" y="600"/>
                    </a:lnTo>
                    <a:lnTo>
                      <a:pt x="127" y="602"/>
                    </a:lnTo>
                    <a:lnTo>
                      <a:pt x="125" y="602"/>
                    </a:lnTo>
                    <a:lnTo>
                      <a:pt x="125" y="603"/>
                    </a:lnTo>
                    <a:lnTo>
                      <a:pt x="127" y="603"/>
                    </a:lnTo>
                    <a:lnTo>
                      <a:pt x="127" y="605"/>
                    </a:lnTo>
                    <a:lnTo>
                      <a:pt x="127" y="603"/>
                    </a:lnTo>
                    <a:lnTo>
                      <a:pt x="125" y="603"/>
                    </a:lnTo>
                    <a:lnTo>
                      <a:pt x="127" y="602"/>
                    </a:lnTo>
                    <a:lnTo>
                      <a:pt x="127" y="600"/>
                    </a:lnTo>
                    <a:lnTo>
                      <a:pt x="127" y="598"/>
                    </a:lnTo>
                    <a:lnTo>
                      <a:pt x="125" y="598"/>
                    </a:lnTo>
                    <a:lnTo>
                      <a:pt x="127" y="598"/>
                    </a:lnTo>
                    <a:lnTo>
                      <a:pt x="127" y="596"/>
                    </a:lnTo>
                    <a:lnTo>
                      <a:pt x="127" y="594"/>
                    </a:lnTo>
                    <a:lnTo>
                      <a:pt x="127" y="592"/>
                    </a:lnTo>
                    <a:lnTo>
                      <a:pt x="127" y="590"/>
                    </a:lnTo>
                    <a:lnTo>
                      <a:pt x="127" y="588"/>
                    </a:lnTo>
                    <a:lnTo>
                      <a:pt x="125" y="586"/>
                    </a:lnTo>
                    <a:lnTo>
                      <a:pt x="127" y="586"/>
                    </a:lnTo>
                    <a:lnTo>
                      <a:pt x="129" y="586"/>
                    </a:lnTo>
                    <a:lnTo>
                      <a:pt x="129" y="584"/>
                    </a:lnTo>
                    <a:lnTo>
                      <a:pt x="129" y="582"/>
                    </a:lnTo>
                    <a:lnTo>
                      <a:pt x="131" y="582"/>
                    </a:lnTo>
                    <a:lnTo>
                      <a:pt x="131" y="580"/>
                    </a:lnTo>
                    <a:lnTo>
                      <a:pt x="129" y="580"/>
                    </a:lnTo>
                    <a:lnTo>
                      <a:pt x="131" y="580"/>
                    </a:lnTo>
                    <a:lnTo>
                      <a:pt x="133" y="580"/>
                    </a:lnTo>
                    <a:lnTo>
                      <a:pt x="135" y="580"/>
                    </a:lnTo>
                    <a:lnTo>
                      <a:pt x="133" y="580"/>
                    </a:lnTo>
                    <a:lnTo>
                      <a:pt x="133" y="578"/>
                    </a:lnTo>
                    <a:lnTo>
                      <a:pt x="133" y="577"/>
                    </a:lnTo>
                    <a:lnTo>
                      <a:pt x="133" y="575"/>
                    </a:lnTo>
                    <a:lnTo>
                      <a:pt x="135" y="575"/>
                    </a:lnTo>
                    <a:lnTo>
                      <a:pt x="135" y="573"/>
                    </a:lnTo>
                    <a:lnTo>
                      <a:pt x="135" y="571"/>
                    </a:lnTo>
                    <a:lnTo>
                      <a:pt x="135" y="569"/>
                    </a:lnTo>
                    <a:lnTo>
                      <a:pt x="137" y="569"/>
                    </a:lnTo>
                    <a:lnTo>
                      <a:pt x="139" y="569"/>
                    </a:lnTo>
                    <a:lnTo>
                      <a:pt x="139" y="567"/>
                    </a:lnTo>
                    <a:lnTo>
                      <a:pt x="141" y="567"/>
                    </a:lnTo>
                    <a:lnTo>
                      <a:pt x="139" y="567"/>
                    </a:lnTo>
                    <a:lnTo>
                      <a:pt x="141" y="567"/>
                    </a:lnTo>
                    <a:lnTo>
                      <a:pt x="139" y="567"/>
                    </a:lnTo>
                    <a:lnTo>
                      <a:pt x="141" y="567"/>
                    </a:lnTo>
                    <a:lnTo>
                      <a:pt x="141" y="565"/>
                    </a:lnTo>
                    <a:lnTo>
                      <a:pt x="143" y="563"/>
                    </a:lnTo>
                    <a:lnTo>
                      <a:pt x="145" y="563"/>
                    </a:lnTo>
                    <a:lnTo>
                      <a:pt x="145" y="561"/>
                    </a:lnTo>
                    <a:lnTo>
                      <a:pt x="146" y="561"/>
                    </a:lnTo>
                    <a:lnTo>
                      <a:pt x="148" y="561"/>
                    </a:lnTo>
                    <a:lnTo>
                      <a:pt x="148" y="559"/>
                    </a:lnTo>
                    <a:lnTo>
                      <a:pt x="150" y="559"/>
                    </a:lnTo>
                    <a:lnTo>
                      <a:pt x="150" y="557"/>
                    </a:lnTo>
                    <a:lnTo>
                      <a:pt x="150" y="559"/>
                    </a:lnTo>
                    <a:lnTo>
                      <a:pt x="150" y="557"/>
                    </a:lnTo>
                    <a:lnTo>
                      <a:pt x="152" y="557"/>
                    </a:lnTo>
                    <a:lnTo>
                      <a:pt x="152" y="555"/>
                    </a:lnTo>
                    <a:lnTo>
                      <a:pt x="154" y="557"/>
                    </a:lnTo>
                    <a:lnTo>
                      <a:pt x="152" y="557"/>
                    </a:lnTo>
                    <a:lnTo>
                      <a:pt x="154" y="557"/>
                    </a:lnTo>
                    <a:lnTo>
                      <a:pt x="156" y="557"/>
                    </a:lnTo>
                    <a:lnTo>
                      <a:pt x="154" y="557"/>
                    </a:lnTo>
                    <a:lnTo>
                      <a:pt x="154" y="559"/>
                    </a:lnTo>
                    <a:lnTo>
                      <a:pt x="156" y="559"/>
                    </a:lnTo>
                    <a:lnTo>
                      <a:pt x="156" y="557"/>
                    </a:lnTo>
                    <a:lnTo>
                      <a:pt x="156" y="555"/>
                    </a:lnTo>
                    <a:lnTo>
                      <a:pt x="156" y="553"/>
                    </a:lnTo>
                    <a:lnTo>
                      <a:pt x="158" y="553"/>
                    </a:lnTo>
                    <a:lnTo>
                      <a:pt x="156" y="553"/>
                    </a:lnTo>
                    <a:lnTo>
                      <a:pt x="158" y="553"/>
                    </a:lnTo>
                    <a:lnTo>
                      <a:pt x="158" y="555"/>
                    </a:lnTo>
                    <a:lnTo>
                      <a:pt x="160" y="555"/>
                    </a:lnTo>
                    <a:lnTo>
                      <a:pt x="160" y="553"/>
                    </a:lnTo>
                    <a:lnTo>
                      <a:pt x="162" y="553"/>
                    </a:lnTo>
                    <a:lnTo>
                      <a:pt x="162" y="552"/>
                    </a:lnTo>
                    <a:lnTo>
                      <a:pt x="160" y="552"/>
                    </a:lnTo>
                    <a:lnTo>
                      <a:pt x="160" y="550"/>
                    </a:lnTo>
                    <a:lnTo>
                      <a:pt x="160" y="548"/>
                    </a:lnTo>
                    <a:lnTo>
                      <a:pt x="160" y="546"/>
                    </a:lnTo>
                    <a:lnTo>
                      <a:pt x="162" y="546"/>
                    </a:lnTo>
                    <a:lnTo>
                      <a:pt x="162" y="548"/>
                    </a:lnTo>
                    <a:lnTo>
                      <a:pt x="162" y="546"/>
                    </a:lnTo>
                    <a:lnTo>
                      <a:pt x="162" y="548"/>
                    </a:lnTo>
                    <a:lnTo>
                      <a:pt x="160" y="548"/>
                    </a:lnTo>
                    <a:lnTo>
                      <a:pt x="162" y="548"/>
                    </a:lnTo>
                    <a:lnTo>
                      <a:pt x="162" y="550"/>
                    </a:lnTo>
                    <a:lnTo>
                      <a:pt x="164" y="550"/>
                    </a:lnTo>
                    <a:lnTo>
                      <a:pt x="164" y="552"/>
                    </a:lnTo>
                    <a:lnTo>
                      <a:pt x="166" y="552"/>
                    </a:lnTo>
                    <a:lnTo>
                      <a:pt x="166" y="550"/>
                    </a:lnTo>
                    <a:lnTo>
                      <a:pt x="166" y="548"/>
                    </a:lnTo>
                    <a:lnTo>
                      <a:pt x="166" y="546"/>
                    </a:lnTo>
                    <a:lnTo>
                      <a:pt x="166" y="548"/>
                    </a:lnTo>
                    <a:lnTo>
                      <a:pt x="166" y="546"/>
                    </a:lnTo>
                    <a:lnTo>
                      <a:pt x="166" y="548"/>
                    </a:lnTo>
                    <a:lnTo>
                      <a:pt x="166" y="546"/>
                    </a:lnTo>
                    <a:lnTo>
                      <a:pt x="168" y="546"/>
                    </a:lnTo>
                    <a:lnTo>
                      <a:pt x="168" y="544"/>
                    </a:lnTo>
                    <a:lnTo>
                      <a:pt x="166" y="544"/>
                    </a:lnTo>
                    <a:lnTo>
                      <a:pt x="166" y="542"/>
                    </a:lnTo>
                    <a:lnTo>
                      <a:pt x="166" y="544"/>
                    </a:lnTo>
                    <a:lnTo>
                      <a:pt x="168" y="544"/>
                    </a:lnTo>
                    <a:lnTo>
                      <a:pt x="168" y="542"/>
                    </a:lnTo>
                    <a:lnTo>
                      <a:pt x="166" y="542"/>
                    </a:lnTo>
                    <a:lnTo>
                      <a:pt x="168" y="542"/>
                    </a:lnTo>
                    <a:lnTo>
                      <a:pt x="168" y="544"/>
                    </a:lnTo>
                    <a:lnTo>
                      <a:pt x="168" y="542"/>
                    </a:lnTo>
                    <a:lnTo>
                      <a:pt x="168" y="544"/>
                    </a:lnTo>
                    <a:lnTo>
                      <a:pt x="170" y="544"/>
                    </a:lnTo>
                    <a:lnTo>
                      <a:pt x="170" y="542"/>
                    </a:lnTo>
                    <a:lnTo>
                      <a:pt x="168" y="542"/>
                    </a:lnTo>
                    <a:lnTo>
                      <a:pt x="170" y="542"/>
                    </a:lnTo>
                    <a:lnTo>
                      <a:pt x="168" y="542"/>
                    </a:lnTo>
                    <a:lnTo>
                      <a:pt x="170" y="542"/>
                    </a:lnTo>
                    <a:lnTo>
                      <a:pt x="168" y="542"/>
                    </a:lnTo>
                    <a:lnTo>
                      <a:pt x="170" y="542"/>
                    </a:lnTo>
                    <a:lnTo>
                      <a:pt x="168" y="542"/>
                    </a:lnTo>
                    <a:lnTo>
                      <a:pt x="168" y="540"/>
                    </a:lnTo>
                    <a:lnTo>
                      <a:pt x="170" y="540"/>
                    </a:lnTo>
                    <a:lnTo>
                      <a:pt x="170" y="542"/>
                    </a:lnTo>
                    <a:lnTo>
                      <a:pt x="170" y="540"/>
                    </a:lnTo>
                    <a:lnTo>
                      <a:pt x="170" y="542"/>
                    </a:lnTo>
                    <a:lnTo>
                      <a:pt x="171" y="542"/>
                    </a:lnTo>
                    <a:lnTo>
                      <a:pt x="170" y="542"/>
                    </a:lnTo>
                    <a:lnTo>
                      <a:pt x="170" y="540"/>
                    </a:lnTo>
                    <a:lnTo>
                      <a:pt x="168" y="538"/>
                    </a:lnTo>
                    <a:lnTo>
                      <a:pt x="168" y="540"/>
                    </a:lnTo>
                    <a:lnTo>
                      <a:pt x="166" y="540"/>
                    </a:lnTo>
                    <a:lnTo>
                      <a:pt x="166" y="538"/>
                    </a:lnTo>
                    <a:lnTo>
                      <a:pt x="166" y="540"/>
                    </a:lnTo>
                    <a:lnTo>
                      <a:pt x="166" y="538"/>
                    </a:lnTo>
                    <a:lnTo>
                      <a:pt x="166" y="536"/>
                    </a:lnTo>
                    <a:lnTo>
                      <a:pt x="168" y="536"/>
                    </a:lnTo>
                    <a:lnTo>
                      <a:pt x="166" y="536"/>
                    </a:lnTo>
                    <a:lnTo>
                      <a:pt x="168" y="534"/>
                    </a:lnTo>
                    <a:lnTo>
                      <a:pt x="170" y="534"/>
                    </a:lnTo>
                    <a:lnTo>
                      <a:pt x="168" y="532"/>
                    </a:lnTo>
                    <a:lnTo>
                      <a:pt x="168" y="530"/>
                    </a:lnTo>
                    <a:lnTo>
                      <a:pt x="168" y="528"/>
                    </a:lnTo>
                    <a:lnTo>
                      <a:pt x="170" y="528"/>
                    </a:lnTo>
                    <a:lnTo>
                      <a:pt x="170" y="530"/>
                    </a:lnTo>
                    <a:lnTo>
                      <a:pt x="170" y="532"/>
                    </a:lnTo>
                    <a:lnTo>
                      <a:pt x="171" y="530"/>
                    </a:lnTo>
                    <a:lnTo>
                      <a:pt x="171" y="528"/>
                    </a:lnTo>
                    <a:lnTo>
                      <a:pt x="173" y="528"/>
                    </a:lnTo>
                    <a:lnTo>
                      <a:pt x="173" y="530"/>
                    </a:lnTo>
                    <a:lnTo>
                      <a:pt x="173" y="528"/>
                    </a:lnTo>
                    <a:lnTo>
                      <a:pt x="175" y="528"/>
                    </a:lnTo>
                    <a:lnTo>
                      <a:pt x="175" y="527"/>
                    </a:lnTo>
                    <a:lnTo>
                      <a:pt x="173" y="527"/>
                    </a:lnTo>
                    <a:lnTo>
                      <a:pt x="175" y="527"/>
                    </a:lnTo>
                    <a:lnTo>
                      <a:pt x="173" y="527"/>
                    </a:lnTo>
                    <a:lnTo>
                      <a:pt x="175" y="527"/>
                    </a:lnTo>
                    <a:lnTo>
                      <a:pt x="175" y="525"/>
                    </a:lnTo>
                    <a:lnTo>
                      <a:pt x="175" y="527"/>
                    </a:lnTo>
                    <a:lnTo>
                      <a:pt x="175" y="525"/>
                    </a:lnTo>
                    <a:lnTo>
                      <a:pt x="175" y="523"/>
                    </a:lnTo>
                    <a:lnTo>
                      <a:pt x="175" y="521"/>
                    </a:lnTo>
                    <a:lnTo>
                      <a:pt x="175" y="519"/>
                    </a:lnTo>
                    <a:lnTo>
                      <a:pt x="175" y="517"/>
                    </a:lnTo>
                    <a:lnTo>
                      <a:pt x="177" y="517"/>
                    </a:lnTo>
                    <a:lnTo>
                      <a:pt x="179" y="515"/>
                    </a:lnTo>
                    <a:lnTo>
                      <a:pt x="179" y="517"/>
                    </a:lnTo>
                    <a:lnTo>
                      <a:pt x="179" y="515"/>
                    </a:lnTo>
                    <a:lnTo>
                      <a:pt x="179" y="517"/>
                    </a:lnTo>
                    <a:lnTo>
                      <a:pt x="179" y="515"/>
                    </a:lnTo>
                    <a:lnTo>
                      <a:pt x="179" y="517"/>
                    </a:lnTo>
                    <a:lnTo>
                      <a:pt x="179" y="515"/>
                    </a:lnTo>
                    <a:lnTo>
                      <a:pt x="179" y="517"/>
                    </a:lnTo>
                    <a:lnTo>
                      <a:pt x="181" y="517"/>
                    </a:lnTo>
                    <a:lnTo>
                      <a:pt x="181" y="519"/>
                    </a:lnTo>
                    <a:lnTo>
                      <a:pt x="181" y="521"/>
                    </a:lnTo>
                    <a:lnTo>
                      <a:pt x="181" y="523"/>
                    </a:lnTo>
                    <a:lnTo>
                      <a:pt x="183" y="523"/>
                    </a:lnTo>
                    <a:lnTo>
                      <a:pt x="183" y="525"/>
                    </a:lnTo>
                    <a:lnTo>
                      <a:pt x="185" y="527"/>
                    </a:lnTo>
                    <a:lnTo>
                      <a:pt x="183" y="527"/>
                    </a:lnTo>
                    <a:lnTo>
                      <a:pt x="185" y="527"/>
                    </a:lnTo>
                    <a:lnTo>
                      <a:pt x="183" y="527"/>
                    </a:lnTo>
                    <a:lnTo>
                      <a:pt x="185" y="528"/>
                    </a:lnTo>
                    <a:lnTo>
                      <a:pt x="183" y="528"/>
                    </a:lnTo>
                    <a:lnTo>
                      <a:pt x="185" y="528"/>
                    </a:lnTo>
                    <a:lnTo>
                      <a:pt x="185" y="530"/>
                    </a:lnTo>
                    <a:lnTo>
                      <a:pt x="187" y="530"/>
                    </a:lnTo>
                    <a:lnTo>
                      <a:pt x="187" y="532"/>
                    </a:lnTo>
                    <a:lnTo>
                      <a:pt x="187" y="534"/>
                    </a:lnTo>
                    <a:lnTo>
                      <a:pt x="187" y="536"/>
                    </a:lnTo>
                    <a:lnTo>
                      <a:pt x="187" y="538"/>
                    </a:lnTo>
                    <a:lnTo>
                      <a:pt x="189" y="538"/>
                    </a:lnTo>
                    <a:lnTo>
                      <a:pt x="189" y="540"/>
                    </a:lnTo>
                    <a:lnTo>
                      <a:pt x="189" y="542"/>
                    </a:lnTo>
                    <a:lnTo>
                      <a:pt x="189" y="544"/>
                    </a:lnTo>
                    <a:lnTo>
                      <a:pt x="189" y="542"/>
                    </a:lnTo>
                    <a:lnTo>
                      <a:pt x="187" y="542"/>
                    </a:lnTo>
                    <a:lnTo>
                      <a:pt x="189" y="542"/>
                    </a:lnTo>
                    <a:lnTo>
                      <a:pt x="187" y="542"/>
                    </a:lnTo>
                    <a:lnTo>
                      <a:pt x="187" y="544"/>
                    </a:lnTo>
                    <a:lnTo>
                      <a:pt x="187" y="542"/>
                    </a:lnTo>
                    <a:lnTo>
                      <a:pt x="187" y="544"/>
                    </a:lnTo>
                    <a:lnTo>
                      <a:pt x="189" y="544"/>
                    </a:lnTo>
                    <a:lnTo>
                      <a:pt x="189" y="542"/>
                    </a:lnTo>
                    <a:lnTo>
                      <a:pt x="191" y="544"/>
                    </a:lnTo>
                    <a:lnTo>
                      <a:pt x="191" y="546"/>
                    </a:lnTo>
                    <a:lnTo>
                      <a:pt x="189" y="546"/>
                    </a:lnTo>
                    <a:lnTo>
                      <a:pt x="191" y="546"/>
                    </a:lnTo>
                    <a:lnTo>
                      <a:pt x="189" y="544"/>
                    </a:lnTo>
                    <a:lnTo>
                      <a:pt x="189" y="546"/>
                    </a:lnTo>
                    <a:lnTo>
                      <a:pt x="191" y="546"/>
                    </a:lnTo>
                    <a:lnTo>
                      <a:pt x="191" y="548"/>
                    </a:lnTo>
                    <a:lnTo>
                      <a:pt x="191" y="550"/>
                    </a:lnTo>
                    <a:lnTo>
                      <a:pt x="191" y="552"/>
                    </a:lnTo>
                    <a:lnTo>
                      <a:pt x="191" y="553"/>
                    </a:lnTo>
                    <a:lnTo>
                      <a:pt x="189" y="553"/>
                    </a:lnTo>
                    <a:lnTo>
                      <a:pt x="191" y="553"/>
                    </a:lnTo>
                    <a:lnTo>
                      <a:pt x="191" y="552"/>
                    </a:lnTo>
                    <a:lnTo>
                      <a:pt x="191" y="553"/>
                    </a:lnTo>
                    <a:lnTo>
                      <a:pt x="193" y="555"/>
                    </a:lnTo>
                    <a:lnTo>
                      <a:pt x="191" y="553"/>
                    </a:lnTo>
                    <a:lnTo>
                      <a:pt x="193" y="553"/>
                    </a:lnTo>
                    <a:lnTo>
                      <a:pt x="191" y="553"/>
                    </a:lnTo>
                    <a:lnTo>
                      <a:pt x="193" y="553"/>
                    </a:lnTo>
                    <a:lnTo>
                      <a:pt x="193" y="555"/>
                    </a:lnTo>
                    <a:lnTo>
                      <a:pt x="193" y="553"/>
                    </a:lnTo>
                    <a:lnTo>
                      <a:pt x="193" y="555"/>
                    </a:lnTo>
                    <a:lnTo>
                      <a:pt x="194" y="555"/>
                    </a:lnTo>
                    <a:lnTo>
                      <a:pt x="194" y="557"/>
                    </a:lnTo>
                    <a:lnTo>
                      <a:pt x="194" y="555"/>
                    </a:lnTo>
                    <a:lnTo>
                      <a:pt x="196" y="557"/>
                    </a:lnTo>
                    <a:lnTo>
                      <a:pt x="196" y="559"/>
                    </a:lnTo>
                    <a:lnTo>
                      <a:pt x="198" y="559"/>
                    </a:lnTo>
                    <a:lnTo>
                      <a:pt x="198" y="561"/>
                    </a:lnTo>
                    <a:lnTo>
                      <a:pt x="200" y="563"/>
                    </a:lnTo>
                    <a:lnTo>
                      <a:pt x="202" y="565"/>
                    </a:lnTo>
                    <a:lnTo>
                      <a:pt x="204" y="565"/>
                    </a:lnTo>
                    <a:lnTo>
                      <a:pt x="206" y="565"/>
                    </a:lnTo>
                    <a:lnTo>
                      <a:pt x="204" y="565"/>
                    </a:lnTo>
                    <a:lnTo>
                      <a:pt x="206" y="565"/>
                    </a:lnTo>
                    <a:lnTo>
                      <a:pt x="208" y="567"/>
                    </a:lnTo>
                    <a:lnTo>
                      <a:pt x="208" y="569"/>
                    </a:lnTo>
                    <a:lnTo>
                      <a:pt x="210" y="569"/>
                    </a:lnTo>
                    <a:lnTo>
                      <a:pt x="210" y="571"/>
                    </a:lnTo>
                    <a:lnTo>
                      <a:pt x="208" y="571"/>
                    </a:lnTo>
                    <a:lnTo>
                      <a:pt x="208" y="573"/>
                    </a:lnTo>
                    <a:lnTo>
                      <a:pt x="210" y="571"/>
                    </a:lnTo>
                    <a:lnTo>
                      <a:pt x="210" y="573"/>
                    </a:lnTo>
                    <a:lnTo>
                      <a:pt x="210" y="571"/>
                    </a:lnTo>
                    <a:lnTo>
                      <a:pt x="208" y="571"/>
                    </a:lnTo>
                    <a:lnTo>
                      <a:pt x="210" y="571"/>
                    </a:lnTo>
                    <a:lnTo>
                      <a:pt x="210" y="569"/>
                    </a:lnTo>
                    <a:lnTo>
                      <a:pt x="208" y="569"/>
                    </a:lnTo>
                    <a:lnTo>
                      <a:pt x="210" y="569"/>
                    </a:lnTo>
                    <a:lnTo>
                      <a:pt x="210" y="567"/>
                    </a:lnTo>
                    <a:lnTo>
                      <a:pt x="208" y="567"/>
                    </a:lnTo>
                    <a:lnTo>
                      <a:pt x="208" y="565"/>
                    </a:lnTo>
                    <a:lnTo>
                      <a:pt x="206" y="565"/>
                    </a:lnTo>
                    <a:lnTo>
                      <a:pt x="204" y="563"/>
                    </a:lnTo>
                    <a:lnTo>
                      <a:pt x="202" y="563"/>
                    </a:lnTo>
                    <a:lnTo>
                      <a:pt x="200" y="563"/>
                    </a:lnTo>
                    <a:lnTo>
                      <a:pt x="200" y="561"/>
                    </a:lnTo>
                    <a:lnTo>
                      <a:pt x="198" y="561"/>
                    </a:lnTo>
                    <a:lnTo>
                      <a:pt x="198" y="559"/>
                    </a:lnTo>
                    <a:lnTo>
                      <a:pt x="196" y="559"/>
                    </a:lnTo>
                    <a:lnTo>
                      <a:pt x="196" y="557"/>
                    </a:lnTo>
                    <a:lnTo>
                      <a:pt x="194" y="555"/>
                    </a:lnTo>
                    <a:lnTo>
                      <a:pt x="193" y="553"/>
                    </a:lnTo>
                    <a:lnTo>
                      <a:pt x="193" y="552"/>
                    </a:lnTo>
                    <a:lnTo>
                      <a:pt x="193" y="550"/>
                    </a:lnTo>
                    <a:lnTo>
                      <a:pt x="193" y="548"/>
                    </a:lnTo>
                    <a:lnTo>
                      <a:pt x="191" y="546"/>
                    </a:lnTo>
                    <a:lnTo>
                      <a:pt x="193" y="546"/>
                    </a:lnTo>
                    <a:lnTo>
                      <a:pt x="191" y="546"/>
                    </a:lnTo>
                    <a:lnTo>
                      <a:pt x="193" y="546"/>
                    </a:lnTo>
                    <a:lnTo>
                      <a:pt x="193" y="548"/>
                    </a:lnTo>
                    <a:lnTo>
                      <a:pt x="193" y="550"/>
                    </a:lnTo>
                    <a:lnTo>
                      <a:pt x="193" y="548"/>
                    </a:lnTo>
                    <a:lnTo>
                      <a:pt x="193" y="546"/>
                    </a:lnTo>
                    <a:lnTo>
                      <a:pt x="193" y="548"/>
                    </a:lnTo>
                    <a:lnTo>
                      <a:pt x="193" y="546"/>
                    </a:lnTo>
                    <a:lnTo>
                      <a:pt x="191" y="546"/>
                    </a:lnTo>
                    <a:lnTo>
                      <a:pt x="191" y="544"/>
                    </a:lnTo>
                    <a:lnTo>
                      <a:pt x="191" y="542"/>
                    </a:lnTo>
                    <a:lnTo>
                      <a:pt x="191" y="540"/>
                    </a:lnTo>
                    <a:lnTo>
                      <a:pt x="191" y="538"/>
                    </a:lnTo>
                    <a:lnTo>
                      <a:pt x="189" y="538"/>
                    </a:lnTo>
                    <a:lnTo>
                      <a:pt x="191" y="536"/>
                    </a:lnTo>
                    <a:lnTo>
                      <a:pt x="189" y="536"/>
                    </a:lnTo>
                    <a:lnTo>
                      <a:pt x="191" y="536"/>
                    </a:lnTo>
                    <a:lnTo>
                      <a:pt x="189" y="536"/>
                    </a:lnTo>
                    <a:lnTo>
                      <a:pt x="191" y="536"/>
                    </a:lnTo>
                    <a:lnTo>
                      <a:pt x="189" y="536"/>
                    </a:lnTo>
                    <a:lnTo>
                      <a:pt x="191" y="536"/>
                    </a:lnTo>
                    <a:lnTo>
                      <a:pt x="191" y="534"/>
                    </a:lnTo>
                    <a:lnTo>
                      <a:pt x="189" y="534"/>
                    </a:lnTo>
                    <a:lnTo>
                      <a:pt x="189" y="532"/>
                    </a:lnTo>
                    <a:lnTo>
                      <a:pt x="189" y="534"/>
                    </a:lnTo>
                    <a:lnTo>
                      <a:pt x="189" y="532"/>
                    </a:lnTo>
                    <a:lnTo>
                      <a:pt x="189" y="534"/>
                    </a:lnTo>
                    <a:lnTo>
                      <a:pt x="189" y="532"/>
                    </a:lnTo>
                    <a:lnTo>
                      <a:pt x="187" y="530"/>
                    </a:lnTo>
                    <a:lnTo>
                      <a:pt x="187" y="528"/>
                    </a:lnTo>
                    <a:lnTo>
                      <a:pt x="185" y="528"/>
                    </a:lnTo>
                    <a:lnTo>
                      <a:pt x="185" y="527"/>
                    </a:lnTo>
                    <a:lnTo>
                      <a:pt x="187" y="527"/>
                    </a:lnTo>
                    <a:lnTo>
                      <a:pt x="185" y="527"/>
                    </a:lnTo>
                    <a:lnTo>
                      <a:pt x="185" y="525"/>
                    </a:lnTo>
                    <a:lnTo>
                      <a:pt x="187" y="525"/>
                    </a:lnTo>
                    <a:lnTo>
                      <a:pt x="187" y="523"/>
                    </a:lnTo>
                    <a:lnTo>
                      <a:pt x="187" y="525"/>
                    </a:lnTo>
                    <a:lnTo>
                      <a:pt x="185" y="525"/>
                    </a:lnTo>
                    <a:lnTo>
                      <a:pt x="185" y="523"/>
                    </a:lnTo>
                    <a:lnTo>
                      <a:pt x="185" y="521"/>
                    </a:lnTo>
                    <a:lnTo>
                      <a:pt x="183" y="519"/>
                    </a:lnTo>
                    <a:lnTo>
                      <a:pt x="183" y="517"/>
                    </a:lnTo>
                    <a:lnTo>
                      <a:pt x="181" y="515"/>
                    </a:lnTo>
                    <a:lnTo>
                      <a:pt x="179" y="513"/>
                    </a:lnTo>
                    <a:lnTo>
                      <a:pt x="179" y="511"/>
                    </a:lnTo>
                    <a:lnTo>
                      <a:pt x="177" y="511"/>
                    </a:lnTo>
                    <a:lnTo>
                      <a:pt x="177" y="509"/>
                    </a:lnTo>
                    <a:lnTo>
                      <a:pt x="177" y="507"/>
                    </a:lnTo>
                    <a:lnTo>
                      <a:pt x="175" y="507"/>
                    </a:lnTo>
                    <a:lnTo>
                      <a:pt x="175" y="505"/>
                    </a:lnTo>
                    <a:lnTo>
                      <a:pt x="175" y="507"/>
                    </a:lnTo>
                    <a:lnTo>
                      <a:pt x="177" y="507"/>
                    </a:lnTo>
                    <a:lnTo>
                      <a:pt x="177" y="505"/>
                    </a:lnTo>
                    <a:lnTo>
                      <a:pt x="177" y="503"/>
                    </a:lnTo>
                    <a:lnTo>
                      <a:pt x="179" y="502"/>
                    </a:lnTo>
                    <a:lnTo>
                      <a:pt x="179" y="503"/>
                    </a:lnTo>
                    <a:lnTo>
                      <a:pt x="181" y="503"/>
                    </a:lnTo>
                    <a:lnTo>
                      <a:pt x="183" y="503"/>
                    </a:lnTo>
                    <a:lnTo>
                      <a:pt x="183" y="505"/>
                    </a:lnTo>
                    <a:lnTo>
                      <a:pt x="183" y="507"/>
                    </a:lnTo>
                    <a:lnTo>
                      <a:pt x="183" y="505"/>
                    </a:lnTo>
                    <a:lnTo>
                      <a:pt x="183" y="507"/>
                    </a:lnTo>
                    <a:lnTo>
                      <a:pt x="183" y="509"/>
                    </a:lnTo>
                    <a:lnTo>
                      <a:pt x="185" y="509"/>
                    </a:lnTo>
                    <a:lnTo>
                      <a:pt x="183" y="509"/>
                    </a:lnTo>
                    <a:lnTo>
                      <a:pt x="185" y="509"/>
                    </a:lnTo>
                    <a:lnTo>
                      <a:pt x="185" y="511"/>
                    </a:lnTo>
                    <a:lnTo>
                      <a:pt x="185" y="513"/>
                    </a:lnTo>
                    <a:lnTo>
                      <a:pt x="187" y="511"/>
                    </a:lnTo>
                    <a:lnTo>
                      <a:pt x="187" y="513"/>
                    </a:lnTo>
                    <a:lnTo>
                      <a:pt x="187" y="511"/>
                    </a:lnTo>
                    <a:lnTo>
                      <a:pt x="185" y="513"/>
                    </a:lnTo>
                    <a:lnTo>
                      <a:pt x="185" y="511"/>
                    </a:lnTo>
                    <a:lnTo>
                      <a:pt x="185" y="509"/>
                    </a:lnTo>
                    <a:lnTo>
                      <a:pt x="183" y="509"/>
                    </a:lnTo>
                    <a:lnTo>
                      <a:pt x="185" y="509"/>
                    </a:lnTo>
                    <a:lnTo>
                      <a:pt x="185" y="507"/>
                    </a:lnTo>
                    <a:lnTo>
                      <a:pt x="185" y="509"/>
                    </a:lnTo>
                    <a:lnTo>
                      <a:pt x="183" y="509"/>
                    </a:lnTo>
                    <a:lnTo>
                      <a:pt x="183" y="507"/>
                    </a:lnTo>
                    <a:lnTo>
                      <a:pt x="185" y="507"/>
                    </a:lnTo>
                    <a:lnTo>
                      <a:pt x="183" y="507"/>
                    </a:lnTo>
                    <a:lnTo>
                      <a:pt x="183" y="505"/>
                    </a:lnTo>
                    <a:lnTo>
                      <a:pt x="183" y="503"/>
                    </a:lnTo>
                    <a:lnTo>
                      <a:pt x="181" y="503"/>
                    </a:lnTo>
                    <a:lnTo>
                      <a:pt x="181" y="502"/>
                    </a:lnTo>
                    <a:lnTo>
                      <a:pt x="181" y="503"/>
                    </a:lnTo>
                    <a:lnTo>
                      <a:pt x="179" y="502"/>
                    </a:lnTo>
                    <a:lnTo>
                      <a:pt x="179" y="500"/>
                    </a:lnTo>
                    <a:lnTo>
                      <a:pt x="179" y="498"/>
                    </a:lnTo>
                    <a:lnTo>
                      <a:pt x="177" y="498"/>
                    </a:lnTo>
                    <a:lnTo>
                      <a:pt x="177" y="496"/>
                    </a:lnTo>
                    <a:lnTo>
                      <a:pt x="175" y="496"/>
                    </a:lnTo>
                    <a:lnTo>
                      <a:pt x="175" y="494"/>
                    </a:lnTo>
                    <a:lnTo>
                      <a:pt x="173" y="494"/>
                    </a:lnTo>
                    <a:lnTo>
                      <a:pt x="173" y="492"/>
                    </a:lnTo>
                    <a:lnTo>
                      <a:pt x="171" y="492"/>
                    </a:lnTo>
                    <a:lnTo>
                      <a:pt x="173" y="492"/>
                    </a:lnTo>
                    <a:lnTo>
                      <a:pt x="173" y="490"/>
                    </a:lnTo>
                    <a:lnTo>
                      <a:pt x="173" y="492"/>
                    </a:lnTo>
                    <a:lnTo>
                      <a:pt x="171" y="492"/>
                    </a:lnTo>
                    <a:lnTo>
                      <a:pt x="171" y="490"/>
                    </a:lnTo>
                    <a:lnTo>
                      <a:pt x="170" y="488"/>
                    </a:lnTo>
                    <a:lnTo>
                      <a:pt x="170" y="486"/>
                    </a:lnTo>
                    <a:lnTo>
                      <a:pt x="170" y="484"/>
                    </a:lnTo>
                    <a:lnTo>
                      <a:pt x="171" y="482"/>
                    </a:lnTo>
                    <a:lnTo>
                      <a:pt x="171" y="480"/>
                    </a:lnTo>
                    <a:lnTo>
                      <a:pt x="171" y="478"/>
                    </a:lnTo>
                    <a:lnTo>
                      <a:pt x="173" y="478"/>
                    </a:lnTo>
                    <a:lnTo>
                      <a:pt x="175" y="478"/>
                    </a:lnTo>
                    <a:lnTo>
                      <a:pt x="173" y="478"/>
                    </a:lnTo>
                    <a:lnTo>
                      <a:pt x="175" y="478"/>
                    </a:lnTo>
                    <a:lnTo>
                      <a:pt x="175" y="477"/>
                    </a:lnTo>
                    <a:lnTo>
                      <a:pt x="175" y="475"/>
                    </a:lnTo>
                    <a:lnTo>
                      <a:pt x="175" y="473"/>
                    </a:lnTo>
                    <a:lnTo>
                      <a:pt x="175" y="471"/>
                    </a:lnTo>
                    <a:lnTo>
                      <a:pt x="175" y="469"/>
                    </a:lnTo>
                    <a:lnTo>
                      <a:pt x="175" y="467"/>
                    </a:lnTo>
                    <a:lnTo>
                      <a:pt x="175" y="465"/>
                    </a:lnTo>
                    <a:lnTo>
                      <a:pt x="177" y="463"/>
                    </a:lnTo>
                    <a:lnTo>
                      <a:pt x="177" y="461"/>
                    </a:lnTo>
                    <a:lnTo>
                      <a:pt x="177" y="463"/>
                    </a:lnTo>
                    <a:lnTo>
                      <a:pt x="179" y="461"/>
                    </a:lnTo>
                    <a:lnTo>
                      <a:pt x="181" y="459"/>
                    </a:lnTo>
                    <a:lnTo>
                      <a:pt x="181" y="461"/>
                    </a:lnTo>
                    <a:lnTo>
                      <a:pt x="179" y="461"/>
                    </a:lnTo>
                    <a:lnTo>
                      <a:pt x="179" y="463"/>
                    </a:lnTo>
                    <a:lnTo>
                      <a:pt x="179" y="461"/>
                    </a:lnTo>
                    <a:lnTo>
                      <a:pt x="181" y="461"/>
                    </a:lnTo>
                    <a:lnTo>
                      <a:pt x="181" y="459"/>
                    </a:lnTo>
                    <a:lnTo>
                      <a:pt x="181" y="457"/>
                    </a:lnTo>
                    <a:lnTo>
                      <a:pt x="181" y="455"/>
                    </a:lnTo>
                    <a:lnTo>
                      <a:pt x="179" y="455"/>
                    </a:lnTo>
                    <a:lnTo>
                      <a:pt x="179" y="453"/>
                    </a:lnTo>
                    <a:lnTo>
                      <a:pt x="179" y="452"/>
                    </a:lnTo>
                    <a:lnTo>
                      <a:pt x="177" y="450"/>
                    </a:lnTo>
                    <a:lnTo>
                      <a:pt x="175" y="450"/>
                    </a:lnTo>
                    <a:lnTo>
                      <a:pt x="175" y="448"/>
                    </a:lnTo>
                    <a:lnTo>
                      <a:pt x="175" y="446"/>
                    </a:lnTo>
                    <a:lnTo>
                      <a:pt x="175" y="444"/>
                    </a:lnTo>
                    <a:lnTo>
                      <a:pt x="175" y="442"/>
                    </a:lnTo>
                    <a:lnTo>
                      <a:pt x="177" y="440"/>
                    </a:lnTo>
                    <a:lnTo>
                      <a:pt x="179" y="440"/>
                    </a:lnTo>
                    <a:lnTo>
                      <a:pt x="181" y="440"/>
                    </a:lnTo>
                    <a:lnTo>
                      <a:pt x="183" y="440"/>
                    </a:lnTo>
                    <a:lnTo>
                      <a:pt x="185" y="438"/>
                    </a:lnTo>
                    <a:lnTo>
                      <a:pt x="185" y="436"/>
                    </a:lnTo>
                    <a:lnTo>
                      <a:pt x="187" y="436"/>
                    </a:lnTo>
                    <a:lnTo>
                      <a:pt x="189" y="434"/>
                    </a:lnTo>
                    <a:lnTo>
                      <a:pt x="191" y="434"/>
                    </a:lnTo>
                    <a:lnTo>
                      <a:pt x="193" y="434"/>
                    </a:lnTo>
                    <a:lnTo>
                      <a:pt x="193" y="432"/>
                    </a:lnTo>
                    <a:lnTo>
                      <a:pt x="191" y="430"/>
                    </a:lnTo>
                    <a:lnTo>
                      <a:pt x="193" y="428"/>
                    </a:lnTo>
                    <a:lnTo>
                      <a:pt x="194" y="427"/>
                    </a:lnTo>
                    <a:lnTo>
                      <a:pt x="196" y="427"/>
                    </a:lnTo>
                    <a:lnTo>
                      <a:pt x="198" y="427"/>
                    </a:lnTo>
                    <a:lnTo>
                      <a:pt x="198" y="428"/>
                    </a:lnTo>
                    <a:lnTo>
                      <a:pt x="200" y="428"/>
                    </a:lnTo>
                    <a:lnTo>
                      <a:pt x="202" y="428"/>
                    </a:lnTo>
                    <a:lnTo>
                      <a:pt x="202" y="430"/>
                    </a:lnTo>
                    <a:lnTo>
                      <a:pt x="204" y="430"/>
                    </a:lnTo>
                    <a:lnTo>
                      <a:pt x="204" y="432"/>
                    </a:lnTo>
                    <a:lnTo>
                      <a:pt x="206" y="432"/>
                    </a:lnTo>
                    <a:lnTo>
                      <a:pt x="208" y="432"/>
                    </a:lnTo>
                    <a:lnTo>
                      <a:pt x="210" y="432"/>
                    </a:lnTo>
                    <a:lnTo>
                      <a:pt x="210" y="430"/>
                    </a:lnTo>
                    <a:lnTo>
                      <a:pt x="212" y="430"/>
                    </a:lnTo>
                    <a:lnTo>
                      <a:pt x="214" y="430"/>
                    </a:lnTo>
                    <a:lnTo>
                      <a:pt x="214" y="432"/>
                    </a:lnTo>
                    <a:lnTo>
                      <a:pt x="216" y="432"/>
                    </a:lnTo>
                    <a:lnTo>
                      <a:pt x="218" y="432"/>
                    </a:lnTo>
                    <a:lnTo>
                      <a:pt x="219" y="432"/>
                    </a:lnTo>
                    <a:lnTo>
                      <a:pt x="221" y="434"/>
                    </a:lnTo>
                    <a:lnTo>
                      <a:pt x="223" y="434"/>
                    </a:lnTo>
                    <a:lnTo>
                      <a:pt x="225" y="434"/>
                    </a:lnTo>
                    <a:lnTo>
                      <a:pt x="227" y="434"/>
                    </a:lnTo>
                    <a:lnTo>
                      <a:pt x="229" y="434"/>
                    </a:lnTo>
                    <a:lnTo>
                      <a:pt x="231" y="434"/>
                    </a:lnTo>
                    <a:lnTo>
                      <a:pt x="233" y="434"/>
                    </a:lnTo>
                    <a:lnTo>
                      <a:pt x="233" y="432"/>
                    </a:lnTo>
                    <a:lnTo>
                      <a:pt x="235" y="432"/>
                    </a:lnTo>
                    <a:lnTo>
                      <a:pt x="237" y="432"/>
                    </a:lnTo>
                    <a:lnTo>
                      <a:pt x="239" y="430"/>
                    </a:lnTo>
                    <a:lnTo>
                      <a:pt x="239" y="428"/>
                    </a:lnTo>
                    <a:lnTo>
                      <a:pt x="241" y="428"/>
                    </a:lnTo>
                    <a:lnTo>
                      <a:pt x="243" y="427"/>
                    </a:lnTo>
                    <a:lnTo>
                      <a:pt x="243" y="425"/>
                    </a:lnTo>
                    <a:lnTo>
                      <a:pt x="244" y="425"/>
                    </a:lnTo>
                    <a:lnTo>
                      <a:pt x="243" y="425"/>
                    </a:lnTo>
                    <a:lnTo>
                      <a:pt x="244" y="425"/>
                    </a:lnTo>
                    <a:lnTo>
                      <a:pt x="244" y="423"/>
                    </a:lnTo>
                    <a:lnTo>
                      <a:pt x="246" y="423"/>
                    </a:lnTo>
                    <a:lnTo>
                      <a:pt x="248" y="423"/>
                    </a:lnTo>
                    <a:lnTo>
                      <a:pt x="250" y="421"/>
                    </a:lnTo>
                    <a:lnTo>
                      <a:pt x="252" y="421"/>
                    </a:lnTo>
                    <a:lnTo>
                      <a:pt x="252" y="419"/>
                    </a:lnTo>
                    <a:lnTo>
                      <a:pt x="254" y="417"/>
                    </a:lnTo>
                    <a:lnTo>
                      <a:pt x="256" y="419"/>
                    </a:lnTo>
                    <a:lnTo>
                      <a:pt x="258" y="419"/>
                    </a:lnTo>
                    <a:lnTo>
                      <a:pt x="258" y="421"/>
                    </a:lnTo>
                    <a:lnTo>
                      <a:pt x="258" y="419"/>
                    </a:lnTo>
                    <a:lnTo>
                      <a:pt x="258" y="421"/>
                    </a:lnTo>
                    <a:lnTo>
                      <a:pt x="260" y="421"/>
                    </a:lnTo>
                    <a:lnTo>
                      <a:pt x="262" y="423"/>
                    </a:lnTo>
                    <a:lnTo>
                      <a:pt x="262" y="425"/>
                    </a:lnTo>
                    <a:lnTo>
                      <a:pt x="262" y="427"/>
                    </a:lnTo>
                    <a:lnTo>
                      <a:pt x="262" y="428"/>
                    </a:lnTo>
                    <a:lnTo>
                      <a:pt x="262" y="430"/>
                    </a:lnTo>
                    <a:lnTo>
                      <a:pt x="260" y="432"/>
                    </a:lnTo>
                    <a:lnTo>
                      <a:pt x="260" y="434"/>
                    </a:lnTo>
                    <a:lnTo>
                      <a:pt x="260" y="432"/>
                    </a:lnTo>
                    <a:lnTo>
                      <a:pt x="262" y="434"/>
                    </a:lnTo>
                    <a:lnTo>
                      <a:pt x="264" y="434"/>
                    </a:lnTo>
                    <a:lnTo>
                      <a:pt x="264" y="436"/>
                    </a:lnTo>
                    <a:lnTo>
                      <a:pt x="262" y="436"/>
                    </a:lnTo>
                    <a:lnTo>
                      <a:pt x="264" y="436"/>
                    </a:lnTo>
                    <a:lnTo>
                      <a:pt x="262" y="438"/>
                    </a:lnTo>
                    <a:lnTo>
                      <a:pt x="264" y="440"/>
                    </a:lnTo>
                    <a:lnTo>
                      <a:pt x="264" y="438"/>
                    </a:lnTo>
                    <a:lnTo>
                      <a:pt x="262" y="438"/>
                    </a:lnTo>
                    <a:lnTo>
                      <a:pt x="264" y="436"/>
                    </a:lnTo>
                    <a:lnTo>
                      <a:pt x="264" y="434"/>
                    </a:lnTo>
                    <a:lnTo>
                      <a:pt x="262" y="434"/>
                    </a:lnTo>
                    <a:lnTo>
                      <a:pt x="260" y="432"/>
                    </a:lnTo>
                    <a:lnTo>
                      <a:pt x="262" y="430"/>
                    </a:lnTo>
                    <a:lnTo>
                      <a:pt x="262" y="432"/>
                    </a:lnTo>
                    <a:lnTo>
                      <a:pt x="262" y="430"/>
                    </a:lnTo>
                    <a:lnTo>
                      <a:pt x="262" y="428"/>
                    </a:lnTo>
                    <a:lnTo>
                      <a:pt x="262" y="427"/>
                    </a:lnTo>
                    <a:lnTo>
                      <a:pt x="262" y="425"/>
                    </a:lnTo>
                    <a:lnTo>
                      <a:pt x="264" y="425"/>
                    </a:lnTo>
                    <a:lnTo>
                      <a:pt x="262" y="425"/>
                    </a:lnTo>
                    <a:lnTo>
                      <a:pt x="264" y="425"/>
                    </a:lnTo>
                    <a:lnTo>
                      <a:pt x="262" y="425"/>
                    </a:lnTo>
                    <a:lnTo>
                      <a:pt x="262" y="423"/>
                    </a:lnTo>
                    <a:lnTo>
                      <a:pt x="260" y="421"/>
                    </a:lnTo>
                    <a:lnTo>
                      <a:pt x="262" y="421"/>
                    </a:lnTo>
                    <a:lnTo>
                      <a:pt x="262" y="423"/>
                    </a:lnTo>
                    <a:lnTo>
                      <a:pt x="260" y="421"/>
                    </a:lnTo>
                    <a:lnTo>
                      <a:pt x="258" y="421"/>
                    </a:lnTo>
                    <a:lnTo>
                      <a:pt x="260" y="421"/>
                    </a:lnTo>
                    <a:lnTo>
                      <a:pt x="258" y="421"/>
                    </a:lnTo>
                    <a:lnTo>
                      <a:pt x="258" y="419"/>
                    </a:lnTo>
                    <a:lnTo>
                      <a:pt x="256" y="419"/>
                    </a:lnTo>
                    <a:lnTo>
                      <a:pt x="256" y="417"/>
                    </a:lnTo>
                    <a:lnTo>
                      <a:pt x="254" y="417"/>
                    </a:lnTo>
                    <a:lnTo>
                      <a:pt x="252" y="417"/>
                    </a:lnTo>
                    <a:lnTo>
                      <a:pt x="252" y="419"/>
                    </a:lnTo>
                    <a:lnTo>
                      <a:pt x="250" y="419"/>
                    </a:lnTo>
                    <a:lnTo>
                      <a:pt x="250" y="421"/>
                    </a:lnTo>
                    <a:lnTo>
                      <a:pt x="248" y="421"/>
                    </a:lnTo>
                    <a:lnTo>
                      <a:pt x="248" y="423"/>
                    </a:lnTo>
                    <a:lnTo>
                      <a:pt x="246" y="423"/>
                    </a:lnTo>
                    <a:lnTo>
                      <a:pt x="244" y="423"/>
                    </a:lnTo>
                    <a:lnTo>
                      <a:pt x="243" y="425"/>
                    </a:lnTo>
                    <a:lnTo>
                      <a:pt x="243" y="427"/>
                    </a:lnTo>
                    <a:lnTo>
                      <a:pt x="241" y="427"/>
                    </a:lnTo>
                    <a:lnTo>
                      <a:pt x="241" y="428"/>
                    </a:lnTo>
                    <a:lnTo>
                      <a:pt x="239" y="428"/>
                    </a:lnTo>
                    <a:lnTo>
                      <a:pt x="237" y="430"/>
                    </a:lnTo>
                    <a:lnTo>
                      <a:pt x="239" y="430"/>
                    </a:lnTo>
                    <a:lnTo>
                      <a:pt x="237" y="430"/>
                    </a:lnTo>
                    <a:lnTo>
                      <a:pt x="237" y="432"/>
                    </a:lnTo>
                    <a:lnTo>
                      <a:pt x="235" y="432"/>
                    </a:lnTo>
                    <a:lnTo>
                      <a:pt x="233" y="432"/>
                    </a:lnTo>
                    <a:lnTo>
                      <a:pt x="231" y="434"/>
                    </a:lnTo>
                    <a:lnTo>
                      <a:pt x="229" y="434"/>
                    </a:lnTo>
                    <a:lnTo>
                      <a:pt x="227" y="434"/>
                    </a:lnTo>
                    <a:lnTo>
                      <a:pt x="225" y="434"/>
                    </a:lnTo>
                    <a:lnTo>
                      <a:pt x="223" y="434"/>
                    </a:lnTo>
                    <a:lnTo>
                      <a:pt x="221" y="434"/>
                    </a:lnTo>
                    <a:lnTo>
                      <a:pt x="221" y="432"/>
                    </a:lnTo>
                    <a:lnTo>
                      <a:pt x="221" y="434"/>
                    </a:lnTo>
                    <a:lnTo>
                      <a:pt x="221" y="432"/>
                    </a:lnTo>
                    <a:lnTo>
                      <a:pt x="219" y="432"/>
                    </a:lnTo>
                    <a:lnTo>
                      <a:pt x="218" y="432"/>
                    </a:lnTo>
                    <a:lnTo>
                      <a:pt x="219" y="432"/>
                    </a:lnTo>
                    <a:lnTo>
                      <a:pt x="218" y="432"/>
                    </a:lnTo>
                    <a:lnTo>
                      <a:pt x="216" y="432"/>
                    </a:lnTo>
                    <a:lnTo>
                      <a:pt x="216" y="430"/>
                    </a:lnTo>
                    <a:lnTo>
                      <a:pt x="214" y="430"/>
                    </a:lnTo>
                    <a:lnTo>
                      <a:pt x="214" y="432"/>
                    </a:lnTo>
                    <a:lnTo>
                      <a:pt x="214" y="430"/>
                    </a:lnTo>
                    <a:lnTo>
                      <a:pt x="212" y="430"/>
                    </a:lnTo>
                    <a:lnTo>
                      <a:pt x="210" y="430"/>
                    </a:lnTo>
                    <a:lnTo>
                      <a:pt x="210" y="432"/>
                    </a:lnTo>
                    <a:lnTo>
                      <a:pt x="208" y="432"/>
                    </a:lnTo>
                    <a:lnTo>
                      <a:pt x="206" y="432"/>
                    </a:lnTo>
                    <a:lnTo>
                      <a:pt x="204" y="432"/>
                    </a:lnTo>
                    <a:lnTo>
                      <a:pt x="204" y="430"/>
                    </a:lnTo>
                    <a:lnTo>
                      <a:pt x="202" y="430"/>
                    </a:lnTo>
                    <a:lnTo>
                      <a:pt x="202" y="428"/>
                    </a:lnTo>
                    <a:lnTo>
                      <a:pt x="200" y="428"/>
                    </a:lnTo>
                    <a:lnTo>
                      <a:pt x="198" y="428"/>
                    </a:lnTo>
                    <a:lnTo>
                      <a:pt x="198" y="427"/>
                    </a:lnTo>
                    <a:lnTo>
                      <a:pt x="200" y="427"/>
                    </a:lnTo>
                    <a:lnTo>
                      <a:pt x="200" y="425"/>
                    </a:lnTo>
                    <a:lnTo>
                      <a:pt x="202" y="425"/>
                    </a:lnTo>
                    <a:lnTo>
                      <a:pt x="202" y="423"/>
                    </a:lnTo>
                    <a:lnTo>
                      <a:pt x="202" y="421"/>
                    </a:lnTo>
                    <a:lnTo>
                      <a:pt x="202" y="419"/>
                    </a:lnTo>
                    <a:lnTo>
                      <a:pt x="202" y="417"/>
                    </a:lnTo>
                    <a:lnTo>
                      <a:pt x="202" y="415"/>
                    </a:lnTo>
                    <a:lnTo>
                      <a:pt x="200" y="415"/>
                    </a:lnTo>
                    <a:lnTo>
                      <a:pt x="198" y="415"/>
                    </a:lnTo>
                    <a:lnTo>
                      <a:pt x="198" y="413"/>
                    </a:lnTo>
                    <a:lnTo>
                      <a:pt x="196" y="411"/>
                    </a:lnTo>
                    <a:lnTo>
                      <a:pt x="194" y="411"/>
                    </a:lnTo>
                    <a:lnTo>
                      <a:pt x="194" y="409"/>
                    </a:lnTo>
                    <a:lnTo>
                      <a:pt x="193" y="409"/>
                    </a:lnTo>
                    <a:lnTo>
                      <a:pt x="193" y="407"/>
                    </a:lnTo>
                    <a:lnTo>
                      <a:pt x="191" y="407"/>
                    </a:lnTo>
                    <a:lnTo>
                      <a:pt x="191" y="405"/>
                    </a:lnTo>
                    <a:lnTo>
                      <a:pt x="189" y="405"/>
                    </a:lnTo>
                    <a:lnTo>
                      <a:pt x="187" y="403"/>
                    </a:lnTo>
                    <a:lnTo>
                      <a:pt x="187" y="402"/>
                    </a:lnTo>
                    <a:lnTo>
                      <a:pt x="187" y="400"/>
                    </a:lnTo>
                    <a:lnTo>
                      <a:pt x="187" y="398"/>
                    </a:lnTo>
                    <a:lnTo>
                      <a:pt x="185" y="396"/>
                    </a:lnTo>
                    <a:lnTo>
                      <a:pt x="185" y="394"/>
                    </a:lnTo>
                    <a:lnTo>
                      <a:pt x="187" y="396"/>
                    </a:lnTo>
                    <a:lnTo>
                      <a:pt x="187" y="394"/>
                    </a:lnTo>
                    <a:lnTo>
                      <a:pt x="185" y="394"/>
                    </a:lnTo>
                    <a:lnTo>
                      <a:pt x="185" y="392"/>
                    </a:lnTo>
                    <a:lnTo>
                      <a:pt x="183" y="392"/>
                    </a:lnTo>
                    <a:lnTo>
                      <a:pt x="183" y="390"/>
                    </a:lnTo>
                    <a:lnTo>
                      <a:pt x="183" y="388"/>
                    </a:lnTo>
                    <a:lnTo>
                      <a:pt x="181" y="388"/>
                    </a:lnTo>
                    <a:lnTo>
                      <a:pt x="181" y="386"/>
                    </a:lnTo>
                    <a:lnTo>
                      <a:pt x="179" y="386"/>
                    </a:lnTo>
                    <a:lnTo>
                      <a:pt x="181" y="386"/>
                    </a:lnTo>
                    <a:lnTo>
                      <a:pt x="181" y="384"/>
                    </a:lnTo>
                    <a:lnTo>
                      <a:pt x="183" y="384"/>
                    </a:lnTo>
                    <a:lnTo>
                      <a:pt x="185" y="384"/>
                    </a:lnTo>
                    <a:lnTo>
                      <a:pt x="185" y="386"/>
                    </a:lnTo>
                    <a:lnTo>
                      <a:pt x="185" y="384"/>
                    </a:lnTo>
                    <a:lnTo>
                      <a:pt x="185" y="382"/>
                    </a:lnTo>
                    <a:lnTo>
                      <a:pt x="187" y="382"/>
                    </a:lnTo>
                    <a:lnTo>
                      <a:pt x="189" y="380"/>
                    </a:lnTo>
                    <a:lnTo>
                      <a:pt x="191" y="380"/>
                    </a:lnTo>
                    <a:lnTo>
                      <a:pt x="191" y="382"/>
                    </a:lnTo>
                    <a:lnTo>
                      <a:pt x="191" y="384"/>
                    </a:lnTo>
                    <a:lnTo>
                      <a:pt x="191" y="382"/>
                    </a:lnTo>
                    <a:lnTo>
                      <a:pt x="191" y="384"/>
                    </a:lnTo>
                    <a:lnTo>
                      <a:pt x="191" y="386"/>
                    </a:lnTo>
                    <a:lnTo>
                      <a:pt x="193" y="386"/>
                    </a:lnTo>
                    <a:lnTo>
                      <a:pt x="191" y="386"/>
                    </a:lnTo>
                    <a:lnTo>
                      <a:pt x="193" y="386"/>
                    </a:lnTo>
                    <a:lnTo>
                      <a:pt x="191" y="386"/>
                    </a:lnTo>
                    <a:lnTo>
                      <a:pt x="191" y="384"/>
                    </a:lnTo>
                    <a:lnTo>
                      <a:pt x="191" y="382"/>
                    </a:lnTo>
                    <a:lnTo>
                      <a:pt x="191" y="380"/>
                    </a:lnTo>
                    <a:lnTo>
                      <a:pt x="189" y="380"/>
                    </a:lnTo>
                    <a:lnTo>
                      <a:pt x="191" y="380"/>
                    </a:lnTo>
                    <a:lnTo>
                      <a:pt x="189" y="380"/>
                    </a:lnTo>
                    <a:lnTo>
                      <a:pt x="189" y="379"/>
                    </a:lnTo>
                    <a:lnTo>
                      <a:pt x="187" y="379"/>
                    </a:lnTo>
                    <a:lnTo>
                      <a:pt x="187" y="377"/>
                    </a:lnTo>
                    <a:lnTo>
                      <a:pt x="187" y="375"/>
                    </a:lnTo>
                    <a:lnTo>
                      <a:pt x="187" y="377"/>
                    </a:lnTo>
                    <a:lnTo>
                      <a:pt x="187" y="375"/>
                    </a:lnTo>
                    <a:lnTo>
                      <a:pt x="187" y="373"/>
                    </a:lnTo>
                    <a:lnTo>
                      <a:pt x="189" y="373"/>
                    </a:lnTo>
                    <a:lnTo>
                      <a:pt x="187" y="373"/>
                    </a:lnTo>
                    <a:lnTo>
                      <a:pt x="187" y="371"/>
                    </a:lnTo>
                    <a:lnTo>
                      <a:pt x="187" y="373"/>
                    </a:lnTo>
                    <a:lnTo>
                      <a:pt x="187" y="371"/>
                    </a:lnTo>
                    <a:lnTo>
                      <a:pt x="187" y="369"/>
                    </a:lnTo>
                    <a:lnTo>
                      <a:pt x="185" y="369"/>
                    </a:lnTo>
                    <a:lnTo>
                      <a:pt x="187" y="369"/>
                    </a:lnTo>
                    <a:lnTo>
                      <a:pt x="189" y="369"/>
                    </a:lnTo>
                    <a:lnTo>
                      <a:pt x="189" y="367"/>
                    </a:lnTo>
                    <a:lnTo>
                      <a:pt x="189" y="365"/>
                    </a:lnTo>
                    <a:lnTo>
                      <a:pt x="191" y="365"/>
                    </a:lnTo>
                    <a:lnTo>
                      <a:pt x="189" y="365"/>
                    </a:lnTo>
                    <a:lnTo>
                      <a:pt x="191" y="365"/>
                    </a:lnTo>
                    <a:lnTo>
                      <a:pt x="191" y="363"/>
                    </a:lnTo>
                    <a:lnTo>
                      <a:pt x="189" y="363"/>
                    </a:lnTo>
                    <a:lnTo>
                      <a:pt x="189" y="361"/>
                    </a:lnTo>
                    <a:lnTo>
                      <a:pt x="189" y="363"/>
                    </a:lnTo>
                    <a:lnTo>
                      <a:pt x="189" y="361"/>
                    </a:lnTo>
                    <a:lnTo>
                      <a:pt x="189" y="359"/>
                    </a:lnTo>
                    <a:lnTo>
                      <a:pt x="191" y="359"/>
                    </a:lnTo>
                    <a:lnTo>
                      <a:pt x="191" y="357"/>
                    </a:lnTo>
                    <a:lnTo>
                      <a:pt x="191" y="355"/>
                    </a:lnTo>
                    <a:lnTo>
                      <a:pt x="191" y="354"/>
                    </a:lnTo>
                    <a:lnTo>
                      <a:pt x="189" y="354"/>
                    </a:lnTo>
                    <a:lnTo>
                      <a:pt x="189" y="355"/>
                    </a:lnTo>
                    <a:lnTo>
                      <a:pt x="189" y="354"/>
                    </a:lnTo>
                    <a:lnTo>
                      <a:pt x="189" y="355"/>
                    </a:lnTo>
                    <a:lnTo>
                      <a:pt x="189" y="354"/>
                    </a:lnTo>
                    <a:lnTo>
                      <a:pt x="189" y="352"/>
                    </a:lnTo>
                    <a:lnTo>
                      <a:pt x="189" y="350"/>
                    </a:lnTo>
                    <a:lnTo>
                      <a:pt x="189" y="348"/>
                    </a:lnTo>
                    <a:lnTo>
                      <a:pt x="189" y="346"/>
                    </a:lnTo>
                    <a:lnTo>
                      <a:pt x="191" y="344"/>
                    </a:lnTo>
                    <a:lnTo>
                      <a:pt x="189" y="344"/>
                    </a:lnTo>
                    <a:lnTo>
                      <a:pt x="189" y="342"/>
                    </a:lnTo>
                    <a:lnTo>
                      <a:pt x="189" y="340"/>
                    </a:lnTo>
                    <a:lnTo>
                      <a:pt x="189" y="338"/>
                    </a:lnTo>
                    <a:lnTo>
                      <a:pt x="189" y="336"/>
                    </a:lnTo>
                    <a:lnTo>
                      <a:pt x="189" y="334"/>
                    </a:lnTo>
                    <a:lnTo>
                      <a:pt x="189" y="332"/>
                    </a:lnTo>
                    <a:lnTo>
                      <a:pt x="191" y="330"/>
                    </a:lnTo>
                    <a:lnTo>
                      <a:pt x="191" y="329"/>
                    </a:lnTo>
                    <a:lnTo>
                      <a:pt x="191" y="327"/>
                    </a:lnTo>
                    <a:lnTo>
                      <a:pt x="193" y="327"/>
                    </a:lnTo>
                    <a:lnTo>
                      <a:pt x="193" y="325"/>
                    </a:lnTo>
                    <a:lnTo>
                      <a:pt x="194" y="323"/>
                    </a:lnTo>
                    <a:lnTo>
                      <a:pt x="196" y="321"/>
                    </a:lnTo>
                    <a:lnTo>
                      <a:pt x="198" y="321"/>
                    </a:lnTo>
                    <a:lnTo>
                      <a:pt x="198" y="319"/>
                    </a:lnTo>
                    <a:lnTo>
                      <a:pt x="200" y="319"/>
                    </a:lnTo>
                    <a:lnTo>
                      <a:pt x="202" y="319"/>
                    </a:lnTo>
                    <a:lnTo>
                      <a:pt x="204" y="319"/>
                    </a:lnTo>
                    <a:lnTo>
                      <a:pt x="206" y="319"/>
                    </a:lnTo>
                    <a:lnTo>
                      <a:pt x="208" y="319"/>
                    </a:lnTo>
                    <a:lnTo>
                      <a:pt x="210" y="319"/>
                    </a:lnTo>
                    <a:lnTo>
                      <a:pt x="212" y="319"/>
                    </a:lnTo>
                    <a:lnTo>
                      <a:pt x="212" y="321"/>
                    </a:lnTo>
                    <a:lnTo>
                      <a:pt x="212" y="319"/>
                    </a:lnTo>
                    <a:lnTo>
                      <a:pt x="212" y="321"/>
                    </a:lnTo>
                    <a:lnTo>
                      <a:pt x="212" y="319"/>
                    </a:lnTo>
                    <a:lnTo>
                      <a:pt x="212" y="321"/>
                    </a:lnTo>
                    <a:lnTo>
                      <a:pt x="214" y="321"/>
                    </a:lnTo>
                    <a:lnTo>
                      <a:pt x="214" y="323"/>
                    </a:lnTo>
                    <a:lnTo>
                      <a:pt x="216" y="323"/>
                    </a:lnTo>
                    <a:lnTo>
                      <a:pt x="214" y="323"/>
                    </a:lnTo>
                    <a:lnTo>
                      <a:pt x="214" y="321"/>
                    </a:lnTo>
                    <a:lnTo>
                      <a:pt x="212" y="321"/>
                    </a:lnTo>
                    <a:lnTo>
                      <a:pt x="212" y="319"/>
                    </a:lnTo>
                    <a:lnTo>
                      <a:pt x="214" y="319"/>
                    </a:lnTo>
                    <a:lnTo>
                      <a:pt x="214" y="317"/>
                    </a:lnTo>
                    <a:lnTo>
                      <a:pt x="216" y="317"/>
                    </a:lnTo>
                    <a:lnTo>
                      <a:pt x="218" y="317"/>
                    </a:lnTo>
                    <a:lnTo>
                      <a:pt x="219" y="317"/>
                    </a:lnTo>
                    <a:lnTo>
                      <a:pt x="221" y="317"/>
                    </a:lnTo>
                    <a:lnTo>
                      <a:pt x="223" y="317"/>
                    </a:lnTo>
                    <a:lnTo>
                      <a:pt x="225" y="315"/>
                    </a:lnTo>
                    <a:lnTo>
                      <a:pt x="227" y="315"/>
                    </a:lnTo>
                    <a:lnTo>
                      <a:pt x="227" y="313"/>
                    </a:lnTo>
                    <a:lnTo>
                      <a:pt x="229" y="313"/>
                    </a:lnTo>
                    <a:lnTo>
                      <a:pt x="231" y="313"/>
                    </a:lnTo>
                    <a:lnTo>
                      <a:pt x="231" y="311"/>
                    </a:lnTo>
                    <a:lnTo>
                      <a:pt x="233" y="311"/>
                    </a:lnTo>
                    <a:lnTo>
                      <a:pt x="235" y="311"/>
                    </a:lnTo>
                    <a:lnTo>
                      <a:pt x="237" y="311"/>
                    </a:lnTo>
                    <a:lnTo>
                      <a:pt x="237" y="313"/>
                    </a:lnTo>
                    <a:lnTo>
                      <a:pt x="239" y="313"/>
                    </a:lnTo>
                    <a:lnTo>
                      <a:pt x="241" y="313"/>
                    </a:lnTo>
                    <a:lnTo>
                      <a:pt x="244" y="315"/>
                    </a:lnTo>
                    <a:lnTo>
                      <a:pt x="246" y="315"/>
                    </a:lnTo>
                    <a:lnTo>
                      <a:pt x="244" y="315"/>
                    </a:lnTo>
                    <a:lnTo>
                      <a:pt x="246" y="315"/>
                    </a:lnTo>
                    <a:lnTo>
                      <a:pt x="248" y="315"/>
                    </a:lnTo>
                    <a:lnTo>
                      <a:pt x="250" y="315"/>
                    </a:lnTo>
                    <a:lnTo>
                      <a:pt x="252" y="315"/>
                    </a:lnTo>
                    <a:lnTo>
                      <a:pt x="254" y="315"/>
                    </a:lnTo>
                    <a:lnTo>
                      <a:pt x="256" y="315"/>
                    </a:lnTo>
                    <a:lnTo>
                      <a:pt x="256" y="313"/>
                    </a:lnTo>
                    <a:lnTo>
                      <a:pt x="258" y="313"/>
                    </a:lnTo>
                    <a:lnTo>
                      <a:pt x="258" y="315"/>
                    </a:lnTo>
                    <a:lnTo>
                      <a:pt x="258" y="317"/>
                    </a:lnTo>
                    <a:lnTo>
                      <a:pt x="260" y="317"/>
                    </a:lnTo>
                    <a:lnTo>
                      <a:pt x="260" y="319"/>
                    </a:lnTo>
                    <a:lnTo>
                      <a:pt x="258" y="319"/>
                    </a:lnTo>
                    <a:lnTo>
                      <a:pt x="260" y="319"/>
                    </a:lnTo>
                    <a:lnTo>
                      <a:pt x="258" y="319"/>
                    </a:lnTo>
                    <a:lnTo>
                      <a:pt x="260" y="319"/>
                    </a:lnTo>
                    <a:lnTo>
                      <a:pt x="260" y="317"/>
                    </a:lnTo>
                    <a:lnTo>
                      <a:pt x="258" y="317"/>
                    </a:lnTo>
                    <a:lnTo>
                      <a:pt x="258" y="315"/>
                    </a:lnTo>
                    <a:lnTo>
                      <a:pt x="260" y="315"/>
                    </a:lnTo>
                    <a:lnTo>
                      <a:pt x="258" y="313"/>
                    </a:lnTo>
                    <a:lnTo>
                      <a:pt x="260" y="313"/>
                    </a:lnTo>
                    <a:lnTo>
                      <a:pt x="262" y="313"/>
                    </a:lnTo>
                    <a:lnTo>
                      <a:pt x="264" y="311"/>
                    </a:lnTo>
                    <a:lnTo>
                      <a:pt x="266" y="311"/>
                    </a:lnTo>
                    <a:lnTo>
                      <a:pt x="267" y="309"/>
                    </a:lnTo>
                    <a:lnTo>
                      <a:pt x="269" y="309"/>
                    </a:lnTo>
                    <a:lnTo>
                      <a:pt x="271" y="309"/>
                    </a:lnTo>
                    <a:lnTo>
                      <a:pt x="271" y="311"/>
                    </a:lnTo>
                    <a:lnTo>
                      <a:pt x="271" y="309"/>
                    </a:lnTo>
                    <a:lnTo>
                      <a:pt x="269" y="309"/>
                    </a:lnTo>
                    <a:lnTo>
                      <a:pt x="271" y="309"/>
                    </a:lnTo>
                    <a:lnTo>
                      <a:pt x="273" y="307"/>
                    </a:lnTo>
                    <a:lnTo>
                      <a:pt x="275" y="307"/>
                    </a:lnTo>
                    <a:lnTo>
                      <a:pt x="275" y="305"/>
                    </a:lnTo>
                    <a:lnTo>
                      <a:pt x="277" y="305"/>
                    </a:lnTo>
                    <a:lnTo>
                      <a:pt x="277" y="304"/>
                    </a:lnTo>
                    <a:lnTo>
                      <a:pt x="279" y="304"/>
                    </a:lnTo>
                    <a:lnTo>
                      <a:pt x="281" y="304"/>
                    </a:lnTo>
                    <a:lnTo>
                      <a:pt x="283" y="304"/>
                    </a:lnTo>
                    <a:lnTo>
                      <a:pt x="285" y="304"/>
                    </a:lnTo>
                    <a:lnTo>
                      <a:pt x="285" y="305"/>
                    </a:lnTo>
                    <a:lnTo>
                      <a:pt x="287" y="307"/>
                    </a:lnTo>
                    <a:lnTo>
                      <a:pt x="287" y="309"/>
                    </a:lnTo>
                    <a:lnTo>
                      <a:pt x="289" y="311"/>
                    </a:lnTo>
                    <a:lnTo>
                      <a:pt x="289" y="313"/>
                    </a:lnTo>
                    <a:lnTo>
                      <a:pt x="289" y="315"/>
                    </a:lnTo>
                    <a:lnTo>
                      <a:pt x="289" y="313"/>
                    </a:lnTo>
                    <a:lnTo>
                      <a:pt x="289" y="315"/>
                    </a:lnTo>
                    <a:lnTo>
                      <a:pt x="289" y="313"/>
                    </a:lnTo>
                    <a:lnTo>
                      <a:pt x="287" y="313"/>
                    </a:lnTo>
                    <a:lnTo>
                      <a:pt x="287" y="315"/>
                    </a:lnTo>
                    <a:lnTo>
                      <a:pt x="285" y="315"/>
                    </a:lnTo>
                    <a:lnTo>
                      <a:pt x="283" y="315"/>
                    </a:lnTo>
                    <a:lnTo>
                      <a:pt x="285" y="315"/>
                    </a:lnTo>
                    <a:lnTo>
                      <a:pt x="287" y="315"/>
                    </a:lnTo>
                    <a:lnTo>
                      <a:pt x="289" y="315"/>
                    </a:lnTo>
                    <a:lnTo>
                      <a:pt x="287" y="315"/>
                    </a:lnTo>
                    <a:lnTo>
                      <a:pt x="289" y="315"/>
                    </a:lnTo>
                    <a:lnTo>
                      <a:pt x="291" y="315"/>
                    </a:lnTo>
                    <a:lnTo>
                      <a:pt x="291" y="317"/>
                    </a:lnTo>
                    <a:lnTo>
                      <a:pt x="292" y="317"/>
                    </a:lnTo>
                    <a:lnTo>
                      <a:pt x="294" y="319"/>
                    </a:lnTo>
                    <a:lnTo>
                      <a:pt x="296" y="319"/>
                    </a:lnTo>
                    <a:lnTo>
                      <a:pt x="298" y="319"/>
                    </a:lnTo>
                    <a:lnTo>
                      <a:pt x="298" y="321"/>
                    </a:lnTo>
                    <a:lnTo>
                      <a:pt x="300" y="321"/>
                    </a:lnTo>
                    <a:lnTo>
                      <a:pt x="302" y="321"/>
                    </a:lnTo>
                    <a:lnTo>
                      <a:pt x="300" y="321"/>
                    </a:lnTo>
                    <a:lnTo>
                      <a:pt x="302" y="321"/>
                    </a:lnTo>
                    <a:lnTo>
                      <a:pt x="302" y="323"/>
                    </a:lnTo>
                    <a:lnTo>
                      <a:pt x="304" y="323"/>
                    </a:lnTo>
                    <a:lnTo>
                      <a:pt x="304" y="325"/>
                    </a:lnTo>
                    <a:lnTo>
                      <a:pt x="304" y="327"/>
                    </a:lnTo>
                    <a:lnTo>
                      <a:pt x="302" y="327"/>
                    </a:lnTo>
                    <a:lnTo>
                      <a:pt x="304" y="327"/>
                    </a:lnTo>
                    <a:lnTo>
                      <a:pt x="302" y="327"/>
                    </a:lnTo>
                    <a:lnTo>
                      <a:pt x="302" y="329"/>
                    </a:lnTo>
                    <a:lnTo>
                      <a:pt x="304" y="329"/>
                    </a:lnTo>
                    <a:lnTo>
                      <a:pt x="304" y="330"/>
                    </a:lnTo>
                    <a:lnTo>
                      <a:pt x="306" y="330"/>
                    </a:lnTo>
                    <a:lnTo>
                      <a:pt x="306" y="332"/>
                    </a:lnTo>
                    <a:lnTo>
                      <a:pt x="308" y="332"/>
                    </a:lnTo>
                    <a:lnTo>
                      <a:pt x="308" y="334"/>
                    </a:lnTo>
                    <a:lnTo>
                      <a:pt x="308" y="336"/>
                    </a:lnTo>
                    <a:lnTo>
                      <a:pt x="308" y="338"/>
                    </a:lnTo>
                    <a:lnTo>
                      <a:pt x="306" y="338"/>
                    </a:lnTo>
                    <a:lnTo>
                      <a:pt x="304" y="338"/>
                    </a:lnTo>
                    <a:lnTo>
                      <a:pt x="302" y="338"/>
                    </a:lnTo>
                    <a:lnTo>
                      <a:pt x="300" y="338"/>
                    </a:lnTo>
                    <a:lnTo>
                      <a:pt x="298" y="338"/>
                    </a:lnTo>
                    <a:lnTo>
                      <a:pt x="296" y="340"/>
                    </a:lnTo>
                    <a:lnTo>
                      <a:pt x="294" y="340"/>
                    </a:lnTo>
                    <a:close/>
                    <a:moveTo>
                      <a:pt x="189" y="503"/>
                    </a:moveTo>
                    <a:lnTo>
                      <a:pt x="189" y="505"/>
                    </a:lnTo>
                    <a:lnTo>
                      <a:pt x="187" y="505"/>
                    </a:lnTo>
                    <a:lnTo>
                      <a:pt x="189" y="505"/>
                    </a:lnTo>
                    <a:lnTo>
                      <a:pt x="189" y="503"/>
                    </a:lnTo>
                    <a:close/>
                    <a:moveTo>
                      <a:pt x="187" y="503"/>
                    </a:moveTo>
                    <a:lnTo>
                      <a:pt x="189" y="503"/>
                    </a:lnTo>
                    <a:lnTo>
                      <a:pt x="187" y="503"/>
                    </a:lnTo>
                    <a:close/>
                    <a:moveTo>
                      <a:pt x="187" y="509"/>
                    </a:moveTo>
                    <a:lnTo>
                      <a:pt x="187" y="507"/>
                    </a:lnTo>
                    <a:lnTo>
                      <a:pt x="187" y="505"/>
                    </a:lnTo>
                    <a:lnTo>
                      <a:pt x="187" y="507"/>
                    </a:lnTo>
                    <a:lnTo>
                      <a:pt x="187" y="509"/>
                    </a:lnTo>
                    <a:close/>
                    <a:moveTo>
                      <a:pt x="187" y="509"/>
                    </a:moveTo>
                    <a:lnTo>
                      <a:pt x="187" y="511"/>
                    </a:lnTo>
                    <a:lnTo>
                      <a:pt x="187" y="509"/>
                    </a:lnTo>
                    <a:lnTo>
                      <a:pt x="189" y="511"/>
                    </a:lnTo>
                    <a:lnTo>
                      <a:pt x="189" y="509"/>
                    </a:lnTo>
                    <a:lnTo>
                      <a:pt x="187" y="509"/>
                    </a:lnTo>
                    <a:close/>
                    <a:moveTo>
                      <a:pt x="189" y="511"/>
                    </a:moveTo>
                    <a:lnTo>
                      <a:pt x="187" y="511"/>
                    </a:lnTo>
                    <a:lnTo>
                      <a:pt x="187" y="513"/>
                    </a:lnTo>
                    <a:lnTo>
                      <a:pt x="187" y="511"/>
                    </a:lnTo>
                    <a:lnTo>
                      <a:pt x="189" y="511"/>
                    </a:lnTo>
                    <a:lnTo>
                      <a:pt x="187" y="511"/>
                    </a:lnTo>
                    <a:lnTo>
                      <a:pt x="189" y="511"/>
                    </a:lnTo>
                    <a:close/>
                    <a:moveTo>
                      <a:pt x="170" y="463"/>
                    </a:moveTo>
                    <a:lnTo>
                      <a:pt x="170" y="461"/>
                    </a:lnTo>
                    <a:lnTo>
                      <a:pt x="171" y="461"/>
                    </a:lnTo>
                    <a:lnTo>
                      <a:pt x="170" y="461"/>
                    </a:lnTo>
                    <a:lnTo>
                      <a:pt x="170" y="463"/>
                    </a:lnTo>
                    <a:close/>
                    <a:moveTo>
                      <a:pt x="114" y="363"/>
                    </a:moveTo>
                    <a:lnTo>
                      <a:pt x="116" y="363"/>
                    </a:lnTo>
                    <a:lnTo>
                      <a:pt x="114" y="363"/>
                    </a:lnTo>
                    <a:close/>
                    <a:moveTo>
                      <a:pt x="677" y="223"/>
                    </a:moveTo>
                    <a:lnTo>
                      <a:pt x="677" y="221"/>
                    </a:lnTo>
                    <a:lnTo>
                      <a:pt x="677" y="223"/>
                    </a:lnTo>
                    <a:close/>
                    <a:moveTo>
                      <a:pt x="679" y="223"/>
                    </a:moveTo>
                    <a:lnTo>
                      <a:pt x="679" y="221"/>
                    </a:lnTo>
                    <a:lnTo>
                      <a:pt x="679" y="223"/>
                    </a:lnTo>
                    <a:lnTo>
                      <a:pt x="679" y="221"/>
                    </a:lnTo>
                    <a:lnTo>
                      <a:pt x="679" y="223"/>
                    </a:lnTo>
                    <a:lnTo>
                      <a:pt x="677" y="223"/>
                    </a:lnTo>
                    <a:lnTo>
                      <a:pt x="679" y="221"/>
                    </a:lnTo>
                    <a:lnTo>
                      <a:pt x="679" y="223"/>
                    </a:lnTo>
                    <a:close/>
                    <a:moveTo>
                      <a:pt x="652" y="173"/>
                    </a:moveTo>
                    <a:lnTo>
                      <a:pt x="652" y="175"/>
                    </a:lnTo>
                    <a:lnTo>
                      <a:pt x="654" y="175"/>
                    </a:lnTo>
                    <a:lnTo>
                      <a:pt x="652" y="173"/>
                    </a:lnTo>
                    <a:lnTo>
                      <a:pt x="654" y="173"/>
                    </a:lnTo>
                    <a:lnTo>
                      <a:pt x="654" y="175"/>
                    </a:lnTo>
                    <a:lnTo>
                      <a:pt x="654" y="173"/>
                    </a:lnTo>
                    <a:lnTo>
                      <a:pt x="654" y="175"/>
                    </a:lnTo>
                    <a:lnTo>
                      <a:pt x="654" y="177"/>
                    </a:lnTo>
                    <a:lnTo>
                      <a:pt x="654" y="179"/>
                    </a:lnTo>
                    <a:lnTo>
                      <a:pt x="652" y="179"/>
                    </a:lnTo>
                    <a:lnTo>
                      <a:pt x="652" y="177"/>
                    </a:lnTo>
                    <a:lnTo>
                      <a:pt x="654" y="177"/>
                    </a:lnTo>
                    <a:lnTo>
                      <a:pt x="652" y="177"/>
                    </a:lnTo>
                    <a:lnTo>
                      <a:pt x="652" y="175"/>
                    </a:lnTo>
                    <a:lnTo>
                      <a:pt x="652" y="173"/>
                    </a:lnTo>
                    <a:close/>
                    <a:moveTo>
                      <a:pt x="654" y="169"/>
                    </a:moveTo>
                    <a:lnTo>
                      <a:pt x="656" y="169"/>
                    </a:lnTo>
                    <a:lnTo>
                      <a:pt x="654" y="169"/>
                    </a:lnTo>
                    <a:lnTo>
                      <a:pt x="656" y="169"/>
                    </a:lnTo>
                    <a:lnTo>
                      <a:pt x="656" y="171"/>
                    </a:lnTo>
                    <a:lnTo>
                      <a:pt x="654" y="171"/>
                    </a:lnTo>
                    <a:lnTo>
                      <a:pt x="656" y="171"/>
                    </a:lnTo>
                    <a:lnTo>
                      <a:pt x="654" y="171"/>
                    </a:lnTo>
                    <a:lnTo>
                      <a:pt x="654" y="169"/>
                    </a:lnTo>
                    <a:close/>
                    <a:moveTo>
                      <a:pt x="738" y="125"/>
                    </a:moveTo>
                    <a:lnTo>
                      <a:pt x="740" y="125"/>
                    </a:lnTo>
                    <a:lnTo>
                      <a:pt x="738" y="125"/>
                    </a:lnTo>
                    <a:lnTo>
                      <a:pt x="736" y="125"/>
                    </a:lnTo>
                    <a:lnTo>
                      <a:pt x="734" y="125"/>
                    </a:lnTo>
                    <a:lnTo>
                      <a:pt x="734" y="123"/>
                    </a:lnTo>
                    <a:lnTo>
                      <a:pt x="732" y="123"/>
                    </a:lnTo>
                    <a:lnTo>
                      <a:pt x="732" y="121"/>
                    </a:lnTo>
                    <a:lnTo>
                      <a:pt x="732" y="123"/>
                    </a:lnTo>
                    <a:lnTo>
                      <a:pt x="730" y="123"/>
                    </a:lnTo>
                    <a:lnTo>
                      <a:pt x="732" y="125"/>
                    </a:lnTo>
                    <a:lnTo>
                      <a:pt x="734" y="127"/>
                    </a:lnTo>
                    <a:lnTo>
                      <a:pt x="736" y="127"/>
                    </a:lnTo>
                    <a:lnTo>
                      <a:pt x="736" y="129"/>
                    </a:lnTo>
                    <a:lnTo>
                      <a:pt x="738" y="129"/>
                    </a:lnTo>
                    <a:lnTo>
                      <a:pt x="736" y="129"/>
                    </a:lnTo>
                    <a:lnTo>
                      <a:pt x="738" y="131"/>
                    </a:lnTo>
                    <a:lnTo>
                      <a:pt x="736" y="131"/>
                    </a:lnTo>
                    <a:lnTo>
                      <a:pt x="736" y="132"/>
                    </a:lnTo>
                    <a:lnTo>
                      <a:pt x="734" y="132"/>
                    </a:lnTo>
                    <a:lnTo>
                      <a:pt x="734" y="131"/>
                    </a:lnTo>
                    <a:lnTo>
                      <a:pt x="732" y="131"/>
                    </a:lnTo>
                    <a:lnTo>
                      <a:pt x="730" y="131"/>
                    </a:lnTo>
                    <a:lnTo>
                      <a:pt x="732" y="131"/>
                    </a:lnTo>
                    <a:lnTo>
                      <a:pt x="730" y="131"/>
                    </a:lnTo>
                    <a:lnTo>
                      <a:pt x="732" y="131"/>
                    </a:lnTo>
                    <a:lnTo>
                      <a:pt x="732" y="132"/>
                    </a:lnTo>
                    <a:lnTo>
                      <a:pt x="730" y="132"/>
                    </a:lnTo>
                    <a:lnTo>
                      <a:pt x="729" y="132"/>
                    </a:lnTo>
                    <a:lnTo>
                      <a:pt x="729" y="134"/>
                    </a:lnTo>
                    <a:lnTo>
                      <a:pt x="729" y="136"/>
                    </a:lnTo>
                    <a:lnTo>
                      <a:pt x="729" y="134"/>
                    </a:lnTo>
                    <a:lnTo>
                      <a:pt x="729" y="136"/>
                    </a:lnTo>
                    <a:lnTo>
                      <a:pt x="727" y="136"/>
                    </a:lnTo>
                    <a:lnTo>
                      <a:pt x="727" y="134"/>
                    </a:lnTo>
                    <a:lnTo>
                      <a:pt x="727" y="136"/>
                    </a:lnTo>
                    <a:lnTo>
                      <a:pt x="727" y="134"/>
                    </a:lnTo>
                    <a:lnTo>
                      <a:pt x="727" y="132"/>
                    </a:lnTo>
                    <a:lnTo>
                      <a:pt x="725" y="132"/>
                    </a:lnTo>
                    <a:lnTo>
                      <a:pt x="723" y="132"/>
                    </a:lnTo>
                    <a:lnTo>
                      <a:pt x="723" y="131"/>
                    </a:lnTo>
                    <a:lnTo>
                      <a:pt x="721" y="131"/>
                    </a:lnTo>
                    <a:lnTo>
                      <a:pt x="721" y="129"/>
                    </a:lnTo>
                    <a:lnTo>
                      <a:pt x="721" y="131"/>
                    </a:lnTo>
                    <a:lnTo>
                      <a:pt x="721" y="129"/>
                    </a:lnTo>
                    <a:lnTo>
                      <a:pt x="721" y="131"/>
                    </a:lnTo>
                    <a:lnTo>
                      <a:pt x="723" y="131"/>
                    </a:lnTo>
                    <a:lnTo>
                      <a:pt x="723" y="132"/>
                    </a:lnTo>
                    <a:lnTo>
                      <a:pt x="723" y="131"/>
                    </a:lnTo>
                    <a:lnTo>
                      <a:pt x="723" y="132"/>
                    </a:lnTo>
                    <a:lnTo>
                      <a:pt x="725" y="132"/>
                    </a:lnTo>
                    <a:lnTo>
                      <a:pt x="725" y="134"/>
                    </a:lnTo>
                    <a:lnTo>
                      <a:pt x="725" y="132"/>
                    </a:lnTo>
                    <a:lnTo>
                      <a:pt x="725" y="134"/>
                    </a:lnTo>
                    <a:lnTo>
                      <a:pt x="727" y="136"/>
                    </a:lnTo>
                    <a:lnTo>
                      <a:pt x="727" y="138"/>
                    </a:lnTo>
                    <a:lnTo>
                      <a:pt x="725" y="138"/>
                    </a:lnTo>
                    <a:lnTo>
                      <a:pt x="727" y="138"/>
                    </a:lnTo>
                    <a:lnTo>
                      <a:pt x="725" y="138"/>
                    </a:lnTo>
                    <a:lnTo>
                      <a:pt x="723" y="138"/>
                    </a:lnTo>
                    <a:lnTo>
                      <a:pt x="721" y="138"/>
                    </a:lnTo>
                    <a:lnTo>
                      <a:pt x="721" y="136"/>
                    </a:lnTo>
                    <a:lnTo>
                      <a:pt x="721" y="138"/>
                    </a:lnTo>
                    <a:lnTo>
                      <a:pt x="721" y="136"/>
                    </a:lnTo>
                    <a:lnTo>
                      <a:pt x="721" y="138"/>
                    </a:lnTo>
                    <a:lnTo>
                      <a:pt x="719" y="138"/>
                    </a:lnTo>
                    <a:lnTo>
                      <a:pt x="721" y="138"/>
                    </a:lnTo>
                    <a:lnTo>
                      <a:pt x="719" y="138"/>
                    </a:lnTo>
                    <a:lnTo>
                      <a:pt x="719" y="136"/>
                    </a:lnTo>
                    <a:lnTo>
                      <a:pt x="717" y="136"/>
                    </a:lnTo>
                    <a:lnTo>
                      <a:pt x="717" y="134"/>
                    </a:lnTo>
                    <a:lnTo>
                      <a:pt x="715" y="134"/>
                    </a:lnTo>
                    <a:lnTo>
                      <a:pt x="713" y="134"/>
                    </a:lnTo>
                    <a:lnTo>
                      <a:pt x="715" y="134"/>
                    </a:lnTo>
                    <a:lnTo>
                      <a:pt x="717" y="136"/>
                    </a:lnTo>
                    <a:lnTo>
                      <a:pt x="719" y="136"/>
                    </a:lnTo>
                    <a:lnTo>
                      <a:pt x="719" y="138"/>
                    </a:lnTo>
                    <a:lnTo>
                      <a:pt x="721" y="138"/>
                    </a:lnTo>
                    <a:lnTo>
                      <a:pt x="721" y="140"/>
                    </a:lnTo>
                    <a:lnTo>
                      <a:pt x="723" y="140"/>
                    </a:lnTo>
                    <a:lnTo>
                      <a:pt x="723" y="138"/>
                    </a:lnTo>
                    <a:lnTo>
                      <a:pt x="723" y="140"/>
                    </a:lnTo>
                    <a:lnTo>
                      <a:pt x="723" y="142"/>
                    </a:lnTo>
                    <a:lnTo>
                      <a:pt x="723" y="144"/>
                    </a:lnTo>
                    <a:lnTo>
                      <a:pt x="721" y="144"/>
                    </a:lnTo>
                    <a:lnTo>
                      <a:pt x="719" y="144"/>
                    </a:lnTo>
                    <a:lnTo>
                      <a:pt x="719" y="146"/>
                    </a:lnTo>
                    <a:lnTo>
                      <a:pt x="717" y="146"/>
                    </a:lnTo>
                    <a:lnTo>
                      <a:pt x="719" y="146"/>
                    </a:lnTo>
                    <a:lnTo>
                      <a:pt x="719" y="148"/>
                    </a:lnTo>
                    <a:lnTo>
                      <a:pt x="717" y="146"/>
                    </a:lnTo>
                    <a:lnTo>
                      <a:pt x="717" y="148"/>
                    </a:lnTo>
                    <a:lnTo>
                      <a:pt x="719" y="148"/>
                    </a:lnTo>
                    <a:lnTo>
                      <a:pt x="719" y="150"/>
                    </a:lnTo>
                    <a:lnTo>
                      <a:pt x="721" y="150"/>
                    </a:lnTo>
                    <a:lnTo>
                      <a:pt x="719" y="150"/>
                    </a:lnTo>
                    <a:lnTo>
                      <a:pt x="719" y="152"/>
                    </a:lnTo>
                    <a:lnTo>
                      <a:pt x="719" y="154"/>
                    </a:lnTo>
                    <a:lnTo>
                      <a:pt x="717" y="154"/>
                    </a:lnTo>
                    <a:lnTo>
                      <a:pt x="717" y="155"/>
                    </a:lnTo>
                    <a:lnTo>
                      <a:pt x="717" y="154"/>
                    </a:lnTo>
                    <a:lnTo>
                      <a:pt x="717" y="155"/>
                    </a:lnTo>
                    <a:lnTo>
                      <a:pt x="715" y="155"/>
                    </a:lnTo>
                    <a:lnTo>
                      <a:pt x="715" y="157"/>
                    </a:lnTo>
                    <a:lnTo>
                      <a:pt x="713" y="159"/>
                    </a:lnTo>
                    <a:lnTo>
                      <a:pt x="711" y="161"/>
                    </a:lnTo>
                    <a:lnTo>
                      <a:pt x="711" y="163"/>
                    </a:lnTo>
                    <a:lnTo>
                      <a:pt x="711" y="165"/>
                    </a:lnTo>
                    <a:lnTo>
                      <a:pt x="711" y="163"/>
                    </a:lnTo>
                    <a:lnTo>
                      <a:pt x="709" y="163"/>
                    </a:lnTo>
                    <a:lnTo>
                      <a:pt x="709" y="161"/>
                    </a:lnTo>
                    <a:lnTo>
                      <a:pt x="709" y="163"/>
                    </a:lnTo>
                    <a:lnTo>
                      <a:pt x="707" y="163"/>
                    </a:lnTo>
                    <a:lnTo>
                      <a:pt x="706" y="163"/>
                    </a:lnTo>
                    <a:lnTo>
                      <a:pt x="704" y="161"/>
                    </a:lnTo>
                    <a:lnTo>
                      <a:pt x="704" y="163"/>
                    </a:lnTo>
                    <a:lnTo>
                      <a:pt x="706" y="163"/>
                    </a:lnTo>
                    <a:lnTo>
                      <a:pt x="707" y="163"/>
                    </a:lnTo>
                    <a:lnTo>
                      <a:pt x="709" y="163"/>
                    </a:lnTo>
                    <a:lnTo>
                      <a:pt x="709" y="165"/>
                    </a:lnTo>
                    <a:lnTo>
                      <a:pt x="711" y="165"/>
                    </a:lnTo>
                    <a:lnTo>
                      <a:pt x="713" y="167"/>
                    </a:lnTo>
                    <a:lnTo>
                      <a:pt x="711" y="167"/>
                    </a:lnTo>
                    <a:lnTo>
                      <a:pt x="711" y="165"/>
                    </a:lnTo>
                    <a:lnTo>
                      <a:pt x="711" y="167"/>
                    </a:lnTo>
                    <a:lnTo>
                      <a:pt x="711" y="169"/>
                    </a:lnTo>
                    <a:lnTo>
                      <a:pt x="711" y="171"/>
                    </a:lnTo>
                    <a:lnTo>
                      <a:pt x="711" y="173"/>
                    </a:lnTo>
                    <a:lnTo>
                      <a:pt x="711" y="175"/>
                    </a:lnTo>
                    <a:lnTo>
                      <a:pt x="709" y="175"/>
                    </a:lnTo>
                    <a:lnTo>
                      <a:pt x="711" y="175"/>
                    </a:lnTo>
                    <a:lnTo>
                      <a:pt x="709" y="175"/>
                    </a:lnTo>
                    <a:lnTo>
                      <a:pt x="711" y="175"/>
                    </a:lnTo>
                    <a:lnTo>
                      <a:pt x="711" y="177"/>
                    </a:lnTo>
                    <a:lnTo>
                      <a:pt x="709" y="177"/>
                    </a:lnTo>
                    <a:lnTo>
                      <a:pt x="709" y="179"/>
                    </a:lnTo>
                    <a:lnTo>
                      <a:pt x="711" y="179"/>
                    </a:lnTo>
                    <a:lnTo>
                      <a:pt x="709" y="179"/>
                    </a:lnTo>
                    <a:lnTo>
                      <a:pt x="709" y="180"/>
                    </a:lnTo>
                    <a:lnTo>
                      <a:pt x="709" y="179"/>
                    </a:lnTo>
                    <a:lnTo>
                      <a:pt x="709" y="180"/>
                    </a:lnTo>
                    <a:lnTo>
                      <a:pt x="709" y="182"/>
                    </a:lnTo>
                    <a:lnTo>
                      <a:pt x="709" y="184"/>
                    </a:lnTo>
                    <a:lnTo>
                      <a:pt x="709" y="186"/>
                    </a:lnTo>
                    <a:lnTo>
                      <a:pt x="709" y="188"/>
                    </a:lnTo>
                    <a:lnTo>
                      <a:pt x="711" y="188"/>
                    </a:lnTo>
                    <a:lnTo>
                      <a:pt x="711" y="190"/>
                    </a:lnTo>
                    <a:lnTo>
                      <a:pt x="709" y="190"/>
                    </a:lnTo>
                    <a:lnTo>
                      <a:pt x="709" y="192"/>
                    </a:lnTo>
                    <a:lnTo>
                      <a:pt x="711" y="192"/>
                    </a:lnTo>
                    <a:lnTo>
                      <a:pt x="709" y="192"/>
                    </a:lnTo>
                    <a:lnTo>
                      <a:pt x="709" y="194"/>
                    </a:lnTo>
                    <a:lnTo>
                      <a:pt x="711" y="194"/>
                    </a:lnTo>
                    <a:lnTo>
                      <a:pt x="709" y="194"/>
                    </a:lnTo>
                    <a:lnTo>
                      <a:pt x="711" y="194"/>
                    </a:lnTo>
                    <a:lnTo>
                      <a:pt x="711" y="196"/>
                    </a:lnTo>
                    <a:lnTo>
                      <a:pt x="711" y="198"/>
                    </a:lnTo>
                    <a:lnTo>
                      <a:pt x="711" y="200"/>
                    </a:lnTo>
                    <a:lnTo>
                      <a:pt x="711" y="202"/>
                    </a:lnTo>
                    <a:lnTo>
                      <a:pt x="711" y="204"/>
                    </a:lnTo>
                    <a:lnTo>
                      <a:pt x="711" y="205"/>
                    </a:lnTo>
                    <a:lnTo>
                      <a:pt x="711" y="207"/>
                    </a:lnTo>
                    <a:lnTo>
                      <a:pt x="711" y="205"/>
                    </a:lnTo>
                    <a:lnTo>
                      <a:pt x="711" y="207"/>
                    </a:lnTo>
                    <a:lnTo>
                      <a:pt x="711" y="209"/>
                    </a:lnTo>
                    <a:lnTo>
                      <a:pt x="713" y="211"/>
                    </a:lnTo>
                    <a:lnTo>
                      <a:pt x="713" y="213"/>
                    </a:lnTo>
                    <a:lnTo>
                      <a:pt x="715" y="213"/>
                    </a:lnTo>
                    <a:lnTo>
                      <a:pt x="715" y="215"/>
                    </a:lnTo>
                    <a:lnTo>
                      <a:pt x="715" y="217"/>
                    </a:lnTo>
                    <a:lnTo>
                      <a:pt x="715" y="219"/>
                    </a:lnTo>
                    <a:lnTo>
                      <a:pt x="717" y="219"/>
                    </a:lnTo>
                    <a:lnTo>
                      <a:pt x="717" y="221"/>
                    </a:lnTo>
                    <a:lnTo>
                      <a:pt x="717" y="223"/>
                    </a:lnTo>
                    <a:lnTo>
                      <a:pt x="719" y="225"/>
                    </a:lnTo>
                    <a:lnTo>
                      <a:pt x="719" y="227"/>
                    </a:lnTo>
                    <a:lnTo>
                      <a:pt x="721" y="229"/>
                    </a:lnTo>
                    <a:lnTo>
                      <a:pt x="721" y="230"/>
                    </a:lnTo>
                    <a:lnTo>
                      <a:pt x="723" y="234"/>
                    </a:lnTo>
                    <a:lnTo>
                      <a:pt x="725" y="236"/>
                    </a:lnTo>
                    <a:lnTo>
                      <a:pt x="725" y="238"/>
                    </a:lnTo>
                    <a:lnTo>
                      <a:pt x="725" y="236"/>
                    </a:lnTo>
                    <a:lnTo>
                      <a:pt x="727" y="238"/>
                    </a:lnTo>
                    <a:lnTo>
                      <a:pt x="727" y="240"/>
                    </a:lnTo>
                    <a:lnTo>
                      <a:pt x="729" y="240"/>
                    </a:lnTo>
                    <a:lnTo>
                      <a:pt x="730" y="240"/>
                    </a:lnTo>
                    <a:lnTo>
                      <a:pt x="730" y="242"/>
                    </a:lnTo>
                    <a:lnTo>
                      <a:pt x="730" y="244"/>
                    </a:lnTo>
                    <a:lnTo>
                      <a:pt x="730" y="246"/>
                    </a:lnTo>
                    <a:lnTo>
                      <a:pt x="732" y="246"/>
                    </a:lnTo>
                    <a:lnTo>
                      <a:pt x="730" y="248"/>
                    </a:lnTo>
                    <a:lnTo>
                      <a:pt x="730" y="246"/>
                    </a:lnTo>
                    <a:lnTo>
                      <a:pt x="729" y="246"/>
                    </a:lnTo>
                    <a:lnTo>
                      <a:pt x="729" y="244"/>
                    </a:lnTo>
                    <a:lnTo>
                      <a:pt x="729" y="246"/>
                    </a:lnTo>
                    <a:lnTo>
                      <a:pt x="729" y="244"/>
                    </a:lnTo>
                    <a:lnTo>
                      <a:pt x="729" y="246"/>
                    </a:lnTo>
                    <a:lnTo>
                      <a:pt x="729" y="248"/>
                    </a:lnTo>
                    <a:lnTo>
                      <a:pt x="727" y="248"/>
                    </a:lnTo>
                    <a:lnTo>
                      <a:pt x="727" y="250"/>
                    </a:lnTo>
                    <a:lnTo>
                      <a:pt x="727" y="252"/>
                    </a:lnTo>
                    <a:lnTo>
                      <a:pt x="725" y="252"/>
                    </a:lnTo>
                    <a:lnTo>
                      <a:pt x="727" y="252"/>
                    </a:lnTo>
                    <a:lnTo>
                      <a:pt x="725" y="252"/>
                    </a:lnTo>
                    <a:lnTo>
                      <a:pt x="725" y="250"/>
                    </a:lnTo>
                    <a:lnTo>
                      <a:pt x="725" y="252"/>
                    </a:lnTo>
                    <a:lnTo>
                      <a:pt x="723" y="250"/>
                    </a:lnTo>
                    <a:lnTo>
                      <a:pt x="721" y="248"/>
                    </a:lnTo>
                    <a:lnTo>
                      <a:pt x="721" y="246"/>
                    </a:lnTo>
                    <a:lnTo>
                      <a:pt x="719" y="246"/>
                    </a:lnTo>
                    <a:lnTo>
                      <a:pt x="719" y="244"/>
                    </a:lnTo>
                    <a:lnTo>
                      <a:pt x="717" y="244"/>
                    </a:lnTo>
                    <a:lnTo>
                      <a:pt x="717" y="246"/>
                    </a:lnTo>
                    <a:lnTo>
                      <a:pt x="717" y="244"/>
                    </a:lnTo>
                    <a:lnTo>
                      <a:pt x="715" y="244"/>
                    </a:lnTo>
                    <a:lnTo>
                      <a:pt x="717" y="244"/>
                    </a:lnTo>
                    <a:lnTo>
                      <a:pt x="717" y="246"/>
                    </a:lnTo>
                    <a:lnTo>
                      <a:pt x="715" y="244"/>
                    </a:lnTo>
                    <a:lnTo>
                      <a:pt x="713" y="244"/>
                    </a:lnTo>
                    <a:lnTo>
                      <a:pt x="713" y="242"/>
                    </a:lnTo>
                    <a:lnTo>
                      <a:pt x="713" y="240"/>
                    </a:lnTo>
                    <a:lnTo>
                      <a:pt x="711" y="240"/>
                    </a:lnTo>
                    <a:lnTo>
                      <a:pt x="713" y="242"/>
                    </a:lnTo>
                    <a:lnTo>
                      <a:pt x="713" y="244"/>
                    </a:lnTo>
                    <a:lnTo>
                      <a:pt x="715" y="246"/>
                    </a:lnTo>
                    <a:lnTo>
                      <a:pt x="717" y="248"/>
                    </a:lnTo>
                    <a:lnTo>
                      <a:pt x="719" y="248"/>
                    </a:lnTo>
                    <a:lnTo>
                      <a:pt x="719" y="246"/>
                    </a:lnTo>
                    <a:lnTo>
                      <a:pt x="719" y="248"/>
                    </a:lnTo>
                    <a:lnTo>
                      <a:pt x="721" y="248"/>
                    </a:lnTo>
                    <a:lnTo>
                      <a:pt x="719" y="248"/>
                    </a:lnTo>
                    <a:lnTo>
                      <a:pt x="719" y="250"/>
                    </a:lnTo>
                    <a:lnTo>
                      <a:pt x="721" y="250"/>
                    </a:lnTo>
                    <a:lnTo>
                      <a:pt x="721" y="252"/>
                    </a:lnTo>
                    <a:lnTo>
                      <a:pt x="723" y="252"/>
                    </a:lnTo>
                    <a:lnTo>
                      <a:pt x="721" y="252"/>
                    </a:lnTo>
                    <a:lnTo>
                      <a:pt x="723" y="252"/>
                    </a:lnTo>
                    <a:lnTo>
                      <a:pt x="721" y="252"/>
                    </a:lnTo>
                    <a:lnTo>
                      <a:pt x="721" y="254"/>
                    </a:lnTo>
                    <a:lnTo>
                      <a:pt x="721" y="252"/>
                    </a:lnTo>
                    <a:lnTo>
                      <a:pt x="719" y="252"/>
                    </a:lnTo>
                    <a:lnTo>
                      <a:pt x="717" y="252"/>
                    </a:lnTo>
                    <a:lnTo>
                      <a:pt x="717" y="250"/>
                    </a:lnTo>
                    <a:lnTo>
                      <a:pt x="717" y="252"/>
                    </a:lnTo>
                    <a:lnTo>
                      <a:pt x="719" y="252"/>
                    </a:lnTo>
                    <a:lnTo>
                      <a:pt x="719" y="250"/>
                    </a:lnTo>
                    <a:lnTo>
                      <a:pt x="717" y="250"/>
                    </a:lnTo>
                    <a:lnTo>
                      <a:pt x="715" y="250"/>
                    </a:lnTo>
                    <a:lnTo>
                      <a:pt x="715" y="248"/>
                    </a:lnTo>
                    <a:lnTo>
                      <a:pt x="715" y="250"/>
                    </a:lnTo>
                    <a:lnTo>
                      <a:pt x="715" y="248"/>
                    </a:lnTo>
                    <a:lnTo>
                      <a:pt x="715" y="250"/>
                    </a:lnTo>
                    <a:lnTo>
                      <a:pt x="715" y="248"/>
                    </a:lnTo>
                    <a:lnTo>
                      <a:pt x="713" y="248"/>
                    </a:lnTo>
                    <a:lnTo>
                      <a:pt x="715" y="248"/>
                    </a:lnTo>
                    <a:lnTo>
                      <a:pt x="713" y="248"/>
                    </a:lnTo>
                    <a:lnTo>
                      <a:pt x="715" y="250"/>
                    </a:lnTo>
                    <a:lnTo>
                      <a:pt x="715" y="252"/>
                    </a:lnTo>
                    <a:lnTo>
                      <a:pt x="717" y="252"/>
                    </a:lnTo>
                    <a:lnTo>
                      <a:pt x="715" y="252"/>
                    </a:lnTo>
                    <a:lnTo>
                      <a:pt x="717" y="252"/>
                    </a:lnTo>
                    <a:lnTo>
                      <a:pt x="719" y="254"/>
                    </a:lnTo>
                    <a:lnTo>
                      <a:pt x="717" y="254"/>
                    </a:lnTo>
                    <a:lnTo>
                      <a:pt x="719" y="255"/>
                    </a:lnTo>
                    <a:lnTo>
                      <a:pt x="717" y="255"/>
                    </a:lnTo>
                    <a:lnTo>
                      <a:pt x="717" y="254"/>
                    </a:lnTo>
                    <a:lnTo>
                      <a:pt x="715" y="254"/>
                    </a:lnTo>
                    <a:lnTo>
                      <a:pt x="715" y="252"/>
                    </a:lnTo>
                    <a:lnTo>
                      <a:pt x="715" y="254"/>
                    </a:lnTo>
                    <a:lnTo>
                      <a:pt x="717" y="255"/>
                    </a:lnTo>
                    <a:lnTo>
                      <a:pt x="715" y="255"/>
                    </a:lnTo>
                    <a:lnTo>
                      <a:pt x="715" y="254"/>
                    </a:lnTo>
                    <a:lnTo>
                      <a:pt x="715" y="255"/>
                    </a:lnTo>
                    <a:lnTo>
                      <a:pt x="715" y="254"/>
                    </a:lnTo>
                    <a:lnTo>
                      <a:pt x="713" y="254"/>
                    </a:lnTo>
                    <a:lnTo>
                      <a:pt x="713" y="252"/>
                    </a:lnTo>
                    <a:lnTo>
                      <a:pt x="711" y="252"/>
                    </a:lnTo>
                    <a:lnTo>
                      <a:pt x="711" y="250"/>
                    </a:lnTo>
                    <a:lnTo>
                      <a:pt x="713" y="250"/>
                    </a:lnTo>
                    <a:lnTo>
                      <a:pt x="711" y="250"/>
                    </a:lnTo>
                    <a:lnTo>
                      <a:pt x="713" y="250"/>
                    </a:lnTo>
                    <a:lnTo>
                      <a:pt x="713" y="248"/>
                    </a:lnTo>
                    <a:lnTo>
                      <a:pt x="713" y="250"/>
                    </a:lnTo>
                    <a:lnTo>
                      <a:pt x="713" y="248"/>
                    </a:lnTo>
                    <a:lnTo>
                      <a:pt x="711" y="248"/>
                    </a:lnTo>
                    <a:lnTo>
                      <a:pt x="711" y="246"/>
                    </a:lnTo>
                    <a:lnTo>
                      <a:pt x="713" y="248"/>
                    </a:lnTo>
                    <a:lnTo>
                      <a:pt x="713" y="246"/>
                    </a:lnTo>
                    <a:lnTo>
                      <a:pt x="711" y="246"/>
                    </a:lnTo>
                    <a:lnTo>
                      <a:pt x="711" y="244"/>
                    </a:lnTo>
                    <a:lnTo>
                      <a:pt x="709" y="244"/>
                    </a:lnTo>
                    <a:lnTo>
                      <a:pt x="709" y="242"/>
                    </a:lnTo>
                    <a:lnTo>
                      <a:pt x="709" y="240"/>
                    </a:lnTo>
                    <a:lnTo>
                      <a:pt x="707" y="240"/>
                    </a:lnTo>
                    <a:lnTo>
                      <a:pt x="707" y="242"/>
                    </a:lnTo>
                    <a:lnTo>
                      <a:pt x="709" y="242"/>
                    </a:lnTo>
                    <a:lnTo>
                      <a:pt x="707" y="242"/>
                    </a:lnTo>
                    <a:lnTo>
                      <a:pt x="709" y="242"/>
                    </a:lnTo>
                    <a:lnTo>
                      <a:pt x="709" y="244"/>
                    </a:lnTo>
                    <a:lnTo>
                      <a:pt x="709" y="242"/>
                    </a:lnTo>
                    <a:lnTo>
                      <a:pt x="709" y="244"/>
                    </a:lnTo>
                    <a:lnTo>
                      <a:pt x="707" y="244"/>
                    </a:lnTo>
                    <a:lnTo>
                      <a:pt x="707" y="242"/>
                    </a:lnTo>
                    <a:lnTo>
                      <a:pt x="707" y="240"/>
                    </a:lnTo>
                    <a:lnTo>
                      <a:pt x="707" y="238"/>
                    </a:lnTo>
                    <a:lnTo>
                      <a:pt x="707" y="236"/>
                    </a:lnTo>
                    <a:lnTo>
                      <a:pt x="709" y="236"/>
                    </a:lnTo>
                    <a:lnTo>
                      <a:pt x="707" y="236"/>
                    </a:lnTo>
                    <a:lnTo>
                      <a:pt x="709" y="238"/>
                    </a:lnTo>
                    <a:lnTo>
                      <a:pt x="711" y="238"/>
                    </a:lnTo>
                    <a:lnTo>
                      <a:pt x="709" y="238"/>
                    </a:lnTo>
                    <a:lnTo>
                      <a:pt x="709" y="236"/>
                    </a:lnTo>
                    <a:lnTo>
                      <a:pt x="707" y="236"/>
                    </a:lnTo>
                    <a:lnTo>
                      <a:pt x="706" y="236"/>
                    </a:lnTo>
                    <a:lnTo>
                      <a:pt x="704" y="236"/>
                    </a:lnTo>
                    <a:lnTo>
                      <a:pt x="704" y="234"/>
                    </a:lnTo>
                    <a:lnTo>
                      <a:pt x="704" y="232"/>
                    </a:lnTo>
                    <a:lnTo>
                      <a:pt x="702" y="232"/>
                    </a:lnTo>
                    <a:lnTo>
                      <a:pt x="702" y="234"/>
                    </a:lnTo>
                    <a:lnTo>
                      <a:pt x="704" y="236"/>
                    </a:lnTo>
                    <a:lnTo>
                      <a:pt x="702" y="236"/>
                    </a:lnTo>
                    <a:lnTo>
                      <a:pt x="702" y="234"/>
                    </a:lnTo>
                    <a:lnTo>
                      <a:pt x="700" y="234"/>
                    </a:lnTo>
                    <a:lnTo>
                      <a:pt x="700" y="236"/>
                    </a:lnTo>
                    <a:lnTo>
                      <a:pt x="702" y="236"/>
                    </a:lnTo>
                    <a:lnTo>
                      <a:pt x="702" y="238"/>
                    </a:lnTo>
                    <a:lnTo>
                      <a:pt x="700" y="238"/>
                    </a:lnTo>
                    <a:lnTo>
                      <a:pt x="702" y="240"/>
                    </a:lnTo>
                    <a:lnTo>
                      <a:pt x="704" y="240"/>
                    </a:lnTo>
                    <a:lnTo>
                      <a:pt x="706" y="240"/>
                    </a:lnTo>
                    <a:lnTo>
                      <a:pt x="704" y="240"/>
                    </a:lnTo>
                    <a:lnTo>
                      <a:pt x="704" y="238"/>
                    </a:lnTo>
                    <a:lnTo>
                      <a:pt x="704" y="240"/>
                    </a:lnTo>
                    <a:lnTo>
                      <a:pt x="704" y="238"/>
                    </a:lnTo>
                    <a:lnTo>
                      <a:pt x="706" y="238"/>
                    </a:lnTo>
                    <a:lnTo>
                      <a:pt x="706" y="240"/>
                    </a:lnTo>
                    <a:lnTo>
                      <a:pt x="706" y="242"/>
                    </a:lnTo>
                    <a:lnTo>
                      <a:pt x="704" y="242"/>
                    </a:lnTo>
                    <a:lnTo>
                      <a:pt x="706" y="242"/>
                    </a:lnTo>
                    <a:lnTo>
                      <a:pt x="704" y="242"/>
                    </a:lnTo>
                    <a:lnTo>
                      <a:pt x="706" y="242"/>
                    </a:lnTo>
                    <a:lnTo>
                      <a:pt x="706" y="244"/>
                    </a:lnTo>
                    <a:lnTo>
                      <a:pt x="706" y="242"/>
                    </a:lnTo>
                    <a:lnTo>
                      <a:pt x="706" y="244"/>
                    </a:lnTo>
                    <a:lnTo>
                      <a:pt x="707" y="244"/>
                    </a:lnTo>
                    <a:lnTo>
                      <a:pt x="707" y="246"/>
                    </a:lnTo>
                    <a:lnTo>
                      <a:pt x="706" y="246"/>
                    </a:lnTo>
                    <a:lnTo>
                      <a:pt x="706" y="244"/>
                    </a:lnTo>
                    <a:lnTo>
                      <a:pt x="704" y="244"/>
                    </a:lnTo>
                    <a:lnTo>
                      <a:pt x="702" y="244"/>
                    </a:lnTo>
                    <a:lnTo>
                      <a:pt x="702" y="242"/>
                    </a:lnTo>
                    <a:lnTo>
                      <a:pt x="702" y="244"/>
                    </a:lnTo>
                    <a:lnTo>
                      <a:pt x="702" y="242"/>
                    </a:lnTo>
                    <a:lnTo>
                      <a:pt x="700" y="242"/>
                    </a:lnTo>
                    <a:lnTo>
                      <a:pt x="700" y="240"/>
                    </a:lnTo>
                    <a:lnTo>
                      <a:pt x="700" y="238"/>
                    </a:lnTo>
                    <a:lnTo>
                      <a:pt x="698" y="238"/>
                    </a:lnTo>
                    <a:lnTo>
                      <a:pt x="700" y="238"/>
                    </a:lnTo>
                    <a:lnTo>
                      <a:pt x="698" y="238"/>
                    </a:lnTo>
                    <a:lnTo>
                      <a:pt x="698" y="236"/>
                    </a:lnTo>
                    <a:lnTo>
                      <a:pt x="696" y="236"/>
                    </a:lnTo>
                    <a:lnTo>
                      <a:pt x="696" y="234"/>
                    </a:lnTo>
                    <a:lnTo>
                      <a:pt x="696" y="236"/>
                    </a:lnTo>
                    <a:lnTo>
                      <a:pt x="696" y="238"/>
                    </a:lnTo>
                    <a:lnTo>
                      <a:pt x="698" y="238"/>
                    </a:lnTo>
                    <a:lnTo>
                      <a:pt x="698" y="240"/>
                    </a:lnTo>
                    <a:lnTo>
                      <a:pt x="696" y="240"/>
                    </a:lnTo>
                    <a:lnTo>
                      <a:pt x="696" y="238"/>
                    </a:lnTo>
                    <a:lnTo>
                      <a:pt x="696" y="236"/>
                    </a:lnTo>
                    <a:lnTo>
                      <a:pt x="694" y="236"/>
                    </a:lnTo>
                    <a:lnTo>
                      <a:pt x="694" y="234"/>
                    </a:lnTo>
                    <a:lnTo>
                      <a:pt x="692" y="234"/>
                    </a:lnTo>
                    <a:lnTo>
                      <a:pt x="692" y="232"/>
                    </a:lnTo>
                    <a:lnTo>
                      <a:pt x="692" y="234"/>
                    </a:lnTo>
                    <a:lnTo>
                      <a:pt x="692" y="236"/>
                    </a:lnTo>
                    <a:lnTo>
                      <a:pt x="694" y="238"/>
                    </a:lnTo>
                    <a:lnTo>
                      <a:pt x="694" y="240"/>
                    </a:lnTo>
                    <a:lnTo>
                      <a:pt x="694" y="238"/>
                    </a:lnTo>
                    <a:lnTo>
                      <a:pt x="694" y="240"/>
                    </a:lnTo>
                    <a:lnTo>
                      <a:pt x="692" y="240"/>
                    </a:lnTo>
                    <a:lnTo>
                      <a:pt x="692" y="238"/>
                    </a:lnTo>
                    <a:lnTo>
                      <a:pt x="690" y="238"/>
                    </a:lnTo>
                    <a:lnTo>
                      <a:pt x="690" y="236"/>
                    </a:lnTo>
                    <a:lnTo>
                      <a:pt x="688" y="236"/>
                    </a:lnTo>
                    <a:lnTo>
                      <a:pt x="688" y="234"/>
                    </a:lnTo>
                    <a:lnTo>
                      <a:pt x="686" y="234"/>
                    </a:lnTo>
                    <a:lnTo>
                      <a:pt x="686" y="232"/>
                    </a:lnTo>
                    <a:lnTo>
                      <a:pt x="688" y="232"/>
                    </a:lnTo>
                    <a:lnTo>
                      <a:pt x="686" y="232"/>
                    </a:lnTo>
                    <a:lnTo>
                      <a:pt x="688" y="234"/>
                    </a:lnTo>
                    <a:lnTo>
                      <a:pt x="688" y="236"/>
                    </a:lnTo>
                    <a:lnTo>
                      <a:pt x="688" y="234"/>
                    </a:lnTo>
                    <a:lnTo>
                      <a:pt x="688" y="232"/>
                    </a:lnTo>
                    <a:lnTo>
                      <a:pt x="686" y="230"/>
                    </a:lnTo>
                    <a:lnTo>
                      <a:pt x="686" y="229"/>
                    </a:lnTo>
                    <a:lnTo>
                      <a:pt x="684" y="229"/>
                    </a:lnTo>
                    <a:lnTo>
                      <a:pt x="686" y="229"/>
                    </a:lnTo>
                    <a:lnTo>
                      <a:pt x="686" y="227"/>
                    </a:lnTo>
                    <a:lnTo>
                      <a:pt x="684" y="227"/>
                    </a:lnTo>
                    <a:lnTo>
                      <a:pt x="684" y="225"/>
                    </a:lnTo>
                    <a:lnTo>
                      <a:pt x="684" y="227"/>
                    </a:lnTo>
                    <a:lnTo>
                      <a:pt x="682" y="227"/>
                    </a:lnTo>
                    <a:lnTo>
                      <a:pt x="682" y="229"/>
                    </a:lnTo>
                    <a:lnTo>
                      <a:pt x="682" y="227"/>
                    </a:lnTo>
                    <a:lnTo>
                      <a:pt x="681" y="227"/>
                    </a:lnTo>
                    <a:lnTo>
                      <a:pt x="681" y="225"/>
                    </a:lnTo>
                    <a:lnTo>
                      <a:pt x="679" y="223"/>
                    </a:lnTo>
                    <a:lnTo>
                      <a:pt x="679" y="221"/>
                    </a:lnTo>
                    <a:lnTo>
                      <a:pt x="681" y="221"/>
                    </a:lnTo>
                    <a:lnTo>
                      <a:pt x="679" y="221"/>
                    </a:lnTo>
                    <a:lnTo>
                      <a:pt x="681" y="221"/>
                    </a:lnTo>
                    <a:lnTo>
                      <a:pt x="679" y="221"/>
                    </a:lnTo>
                    <a:lnTo>
                      <a:pt x="681" y="221"/>
                    </a:lnTo>
                    <a:lnTo>
                      <a:pt x="679" y="221"/>
                    </a:lnTo>
                    <a:lnTo>
                      <a:pt x="677" y="221"/>
                    </a:lnTo>
                    <a:lnTo>
                      <a:pt x="675" y="221"/>
                    </a:lnTo>
                    <a:lnTo>
                      <a:pt x="675" y="219"/>
                    </a:lnTo>
                    <a:lnTo>
                      <a:pt x="675" y="221"/>
                    </a:lnTo>
                    <a:lnTo>
                      <a:pt x="677" y="221"/>
                    </a:lnTo>
                    <a:lnTo>
                      <a:pt x="677" y="223"/>
                    </a:lnTo>
                    <a:lnTo>
                      <a:pt x="679" y="223"/>
                    </a:lnTo>
                    <a:lnTo>
                      <a:pt x="679" y="225"/>
                    </a:lnTo>
                    <a:lnTo>
                      <a:pt x="681" y="225"/>
                    </a:lnTo>
                    <a:lnTo>
                      <a:pt x="679" y="227"/>
                    </a:lnTo>
                    <a:lnTo>
                      <a:pt x="679" y="225"/>
                    </a:lnTo>
                    <a:lnTo>
                      <a:pt x="679" y="227"/>
                    </a:lnTo>
                    <a:lnTo>
                      <a:pt x="681" y="227"/>
                    </a:lnTo>
                    <a:lnTo>
                      <a:pt x="681" y="225"/>
                    </a:lnTo>
                    <a:lnTo>
                      <a:pt x="681" y="227"/>
                    </a:lnTo>
                    <a:lnTo>
                      <a:pt x="682" y="227"/>
                    </a:lnTo>
                    <a:lnTo>
                      <a:pt x="682" y="229"/>
                    </a:lnTo>
                    <a:lnTo>
                      <a:pt x="684" y="229"/>
                    </a:lnTo>
                    <a:lnTo>
                      <a:pt x="684" y="230"/>
                    </a:lnTo>
                    <a:lnTo>
                      <a:pt x="684" y="232"/>
                    </a:lnTo>
                    <a:lnTo>
                      <a:pt x="684" y="230"/>
                    </a:lnTo>
                    <a:lnTo>
                      <a:pt x="682" y="230"/>
                    </a:lnTo>
                    <a:lnTo>
                      <a:pt x="684" y="230"/>
                    </a:lnTo>
                    <a:lnTo>
                      <a:pt x="682" y="230"/>
                    </a:lnTo>
                    <a:lnTo>
                      <a:pt x="682" y="229"/>
                    </a:lnTo>
                    <a:lnTo>
                      <a:pt x="682" y="230"/>
                    </a:lnTo>
                    <a:lnTo>
                      <a:pt x="682" y="229"/>
                    </a:lnTo>
                    <a:lnTo>
                      <a:pt x="682" y="230"/>
                    </a:lnTo>
                    <a:lnTo>
                      <a:pt x="684" y="232"/>
                    </a:lnTo>
                    <a:lnTo>
                      <a:pt x="682" y="232"/>
                    </a:lnTo>
                    <a:lnTo>
                      <a:pt x="682" y="230"/>
                    </a:lnTo>
                    <a:lnTo>
                      <a:pt x="682" y="229"/>
                    </a:lnTo>
                    <a:lnTo>
                      <a:pt x="681" y="229"/>
                    </a:lnTo>
                    <a:lnTo>
                      <a:pt x="682" y="229"/>
                    </a:lnTo>
                    <a:lnTo>
                      <a:pt x="681" y="227"/>
                    </a:lnTo>
                    <a:lnTo>
                      <a:pt x="681" y="229"/>
                    </a:lnTo>
                    <a:lnTo>
                      <a:pt x="679" y="229"/>
                    </a:lnTo>
                    <a:lnTo>
                      <a:pt x="679" y="230"/>
                    </a:lnTo>
                    <a:lnTo>
                      <a:pt x="681" y="232"/>
                    </a:lnTo>
                    <a:lnTo>
                      <a:pt x="679" y="232"/>
                    </a:lnTo>
                    <a:lnTo>
                      <a:pt x="679" y="234"/>
                    </a:lnTo>
                    <a:lnTo>
                      <a:pt x="679" y="232"/>
                    </a:lnTo>
                    <a:lnTo>
                      <a:pt x="677" y="232"/>
                    </a:lnTo>
                    <a:lnTo>
                      <a:pt x="677" y="234"/>
                    </a:lnTo>
                    <a:lnTo>
                      <a:pt x="675" y="234"/>
                    </a:lnTo>
                    <a:lnTo>
                      <a:pt x="675" y="232"/>
                    </a:lnTo>
                    <a:lnTo>
                      <a:pt x="675" y="230"/>
                    </a:lnTo>
                    <a:lnTo>
                      <a:pt x="673" y="230"/>
                    </a:lnTo>
                    <a:lnTo>
                      <a:pt x="673" y="229"/>
                    </a:lnTo>
                    <a:lnTo>
                      <a:pt x="673" y="227"/>
                    </a:lnTo>
                    <a:lnTo>
                      <a:pt x="671" y="227"/>
                    </a:lnTo>
                    <a:lnTo>
                      <a:pt x="671" y="225"/>
                    </a:lnTo>
                    <a:lnTo>
                      <a:pt x="669" y="225"/>
                    </a:lnTo>
                    <a:lnTo>
                      <a:pt x="669" y="223"/>
                    </a:lnTo>
                    <a:lnTo>
                      <a:pt x="669" y="221"/>
                    </a:lnTo>
                    <a:lnTo>
                      <a:pt x="669" y="219"/>
                    </a:lnTo>
                    <a:lnTo>
                      <a:pt x="669" y="221"/>
                    </a:lnTo>
                    <a:lnTo>
                      <a:pt x="669" y="219"/>
                    </a:lnTo>
                    <a:lnTo>
                      <a:pt x="669" y="221"/>
                    </a:lnTo>
                    <a:lnTo>
                      <a:pt x="671" y="221"/>
                    </a:lnTo>
                    <a:lnTo>
                      <a:pt x="671" y="219"/>
                    </a:lnTo>
                    <a:lnTo>
                      <a:pt x="669" y="219"/>
                    </a:lnTo>
                    <a:lnTo>
                      <a:pt x="669" y="217"/>
                    </a:lnTo>
                    <a:lnTo>
                      <a:pt x="667" y="217"/>
                    </a:lnTo>
                    <a:lnTo>
                      <a:pt x="667" y="215"/>
                    </a:lnTo>
                    <a:lnTo>
                      <a:pt x="667" y="213"/>
                    </a:lnTo>
                    <a:lnTo>
                      <a:pt x="669" y="213"/>
                    </a:lnTo>
                    <a:lnTo>
                      <a:pt x="667" y="213"/>
                    </a:lnTo>
                    <a:lnTo>
                      <a:pt x="669" y="213"/>
                    </a:lnTo>
                    <a:lnTo>
                      <a:pt x="667" y="213"/>
                    </a:lnTo>
                    <a:lnTo>
                      <a:pt x="667" y="215"/>
                    </a:lnTo>
                    <a:lnTo>
                      <a:pt x="667" y="217"/>
                    </a:lnTo>
                    <a:lnTo>
                      <a:pt x="667" y="215"/>
                    </a:lnTo>
                    <a:lnTo>
                      <a:pt x="665" y="215"/>
                    </a:lnTo>
                    <a:lnTo>
                      <a:pt x="665" y="217"/>
                    </a:lnTo>
                    <a:lnTo>
                      <a:pt x="663" y="217"/>
                    </a:lnTo>
                    <a:lnTo>
                      <a:pt x="665" y="217"/>
                    </a:lnTo>
                    <a:lnTo>
                      <a:pt x="663" y="217"/>
                    </a:lnTo>
                    <a:lnTo>
                      <a:pt x="663" y="219"/>
                    </a:lnTo>
                    <a:lnTo>
                      <a:pt x="665" y="219"/>
                    </a:lnTo>
                    <a:lnTo>
                      <a:pt x="665" y="217"/>
                    </a:lnTo>
                    <a:lnTo>
                      <a:pt x="665" y="219"/>
                    </a:lnTo>
                    <a:lnTo>
                      <a:pt x="665" y="221"/>
                    </a:lnTo>
                    <a:lnTo>
                      <a:pt x="667" y="221"/>
                    </a:lnTo>
                    <a:lnTo>
                      <a:pt x="667" y="223"/>
                    </a:lnTo>
                    <a:lnTo>
                      <a:pt x="667" y="221"/>
                    </a:lnTo>
                    <a:lnTo>
                      <a:pt x="665" y="221"/>
                    </a:lnTo>
                    <a:lnTo>
                      <a:pt x="665" y="219"/>
                    </a:lnTo>
                    <a:lnTo>
                      <a:pt x="663" y="219"/>
                    </a:lnTo>
                    <a:lnTo>
                      <a:pt x="663" y="217"/>
                    </a:lnTo>
                    <a:lnTo>
                      <a:pt x="661" y="215"/>
                    </a:lnTo>
                    <a:lnTo>
                      <a:pt x="663" y="215"/>
                    </a:lnTo>
                    <a:lnTo>
                      <a:pt x="661" y="215"/>
                    </a:lnTo>
                    <a:lnTo>
                      <a:pt x="661" y="213"/>
                    </a:lnTo>
                    <a:lnTo>
                      <a:pt x="659" y="213"/>
                    </a:lnTo>
                    <a:lnTo>
                      <a:pt x="661" y="213"/>
                    </a:lnTo>
                    <a:lnTo>
                      <a:pt x="661" y="215"/>
                    </a:lnTo>
                    <a:lnTo>
                      <a:pt x="661" y="217"/>
                    </a:lnTo>
                    <a:lnTo>
                      <a:pt x="661" y="215"/>
                    </a:lnTo>
                    <a:lnTo>
                      <a:pt x="659" y="215"/>
                    </a:lnTo>
                    <a:lnTo>
                      <a:pt x="657" y="215"/>
                    </a:lnTo>
                    <a:lnTo>
                      <a:pt x="657" y="213"/>
                    </a:lnTo>
                    <a:lnTo>
                      <a:pt x="656" y="213"/>
                    </a:lnTo>
                    <a:lnTo>
                      <a:pt x="657" y="213"/>
                    </a:lnTo>
                    <a:lnTo>
                      <a:pt x="657" y="215"/>
                    </a:lnTo>
                    <a:lnTo>
                      <a:pt x="656" y="213"/>
                    </a:lnTo>
                    <a:lnTo>
                      <a:pt x="654" y="213"/>
                    </a:lnTo>
                    <a:lnTo>
                      <a:pt x="656" y="213"/>
                    </a:lnTo>
                    <a:lnTo>
                      <a:pt x="656" y="211"/>
                    </a:lnTo>
                    <a:lnTo>
                      <a:pt x="654" y="211"/>
                    </a:lnTo>
                    <a:lnTo>
                      <a:pt x="654" y="209"/>
                    </a:lnTo>
                    <a:lnTo>
                      <a:pt x="654" y="207"/>
                    </a:lnTo>
                    <a:lnTo>
                      <a:pt x="654" y="209"/>
                    </a:lnTo>
                    <a:lnTo>
                      <a:pt x="654" y="211"/>
                    </a:lnTo>
                    <a:lnTo>
                      <a:pt x="654" y="209"/>
                    </a:lnTo>
                    <a:lnTo>
                      <a:pt x="652" y="209"/>
                    </a:lnTo>
                    <a:lnTo>
                      <a:pt x="654" y="209"/>
                    </a:lnTo>
                    <a:lnTo>
                      <a:pt x="652" y="209"/>
                    </a:lnTo>
                    <a:lnTo>
                      <a:pt x="652" y="207"/>
                    </a:lnTo>
                    <a:lnTo>
                      <a:pt x="652" y="209"/>
                    </a:lnTo>
                    <a:lnTo>
                      <a:pt x="650" y="207"/>
                    </a:lnTo>
                    <a:lnTo>
                      <a:pt x="652" y="209"/>
                    </a:lnTo>
                    <a:lnTo>
                      <a:pt x="652" y="207"/>
                    </a:lnTo>
                    <a:lnTo>
                      <a:pt x="650" y="207"/>
                    </a:lnTo>
                    <a:lnTo>
                      <a:pt x="650" y="205"/>
                    </a:lnTo>
                    <a:lnTo>
                      <a:pt x="650" y="204"/>
                    </a:lnTo>
                    <a:lnTo>
                      <a:pt x="648" y="204"/>
                    </a:lnTo>
                    <a:lnTo>
                      <a:pt x="648" y="202"/>
                    </a:lnTo>
                    <a:lnTo>
                      <a:pt x="650" y="202"/>
                    </a:lnTo>
                    <a:lnTo>
                      <a:pt x="650" y="204"/>
                    </a:lnTo>
                    <a:lnTo>
                      <a:pt x="650" y="202"/>
                    </a:lnTo>
                    <a:lnTo>
                      <a:pt x="650" y="204"/>
                    </a:lnTo>
                    <a:lnTo>
                      <a:pt x="650" y="205"/>
                    </a:lnTo>
                    <a:lnTo>
                      <a:pt x="652" y="205"/>
                    </a:lnTo>
                    <a:lnTo>
                      <a:pt x="652" y="207"/>
                    </a:lnTo>
                    <a:lnTo>
                      <a:pt x="652" y="205"/>
                    </a:lnTo>
                    <a:lnTo>
                      <a:pt x="652" y="204"/>
                    </a:lnTo>
                    <a:lnTo>
                      <a:pt x="652" y="202"/>
                    </a:lnTo>
                    <a:lnTo>
                      <a:pt x="654" y="202"/>
                    </a:lnTo>
                    <a:lnTo>
                      <a:pt x="654" y="200"/>
                    </a:lnTo>
                    <a:lnTo>
                      <a:pt x="654" y="198"/>
                    </a:lnTo>
                    <a:lnTo>
                      <a:pt x="654" y="196"/>
                    </a:lnTo>
                    <a:lnTo>
                      <a:pt x="654" y="194"/>
                    </a:lnTo>
                    <a:lnTo>
                      <a:pt x="652" y="194"/>
                    </a:lnTo>
                    <a:lnTo>
                      <a:pt x="652" y="192"/>
                    </a:lnTo>
                    <a:lnTo>
                      <a:pt x="654" y="192"/>
                    </a:lnTo>
                    <a:lnTo>
                      <a:pt x="652" y="192"/>
                    </a:lnTo>
                    <a:lnTo>
                      <a:pt x="654" y="192"/>
                    </a:lnTo>
                    <a:lnTo>
                      <a:pt x="654" y="190"/>
                    </a:lnTo>
                    <a:lnTo>
                      <a:pt x="654" y="192"/>
                    </a:lnTo>
                    <a:lnTo>
                      <a:pt x="654" y="194"/>
                    </a:lnTo>
                    <a:lnTo>
                      <a:pt x="654" y="192"/>
                    </a:lnTo>
                    <a:lnTo>
                      <a:pt x="656" y="192"/>
                    </a:lnTo>
                    <a:lnTo>
                      <a:pt x="656" y="194"/>
                    </a:lnTo>
                    <a:lnTo>
                      <a:pt x="657" y="194"/>
                    </a:lnTo>
                    <a:lnTo>
                      <a:pt x="656" y="192"/>
                    </a:lnTo>
                    <a:lnTo>
                      <a:pt x="657" y="192"/>
                    </a:lnTo>
                    <a:lnTo>
                      <a:pt x="657" y="194"/>
                    </a:lnTo>
                    <a:lnTo>
                      <a:pt x="657" y="192"/>
                    </a:lnTo>
                    <a:lnTo>
                      <a:pt x="657" y="194"/>
                    </a:lnTo>
                    <a:lnTo>
                      <a:pt x="659" y="196"/>
                    </a:lnTo>
                    <a:lnTo>
                      <a:pt x="659" y="198"/>
                    </a:lnTo>
                    <a:lnTo>
                      <a:pt x="661" y="198"/>
                    </a:lnTo>
                    <a:lnTo>
                      <a:pt x="659" y="198"/>
                    </a:lnTo>
                    <a:lnTo>
                      <a:pt x="661" y="198"/>
                    </a:lnTo>
                    <a:lnTo>
                      <a:pt x="661" y="196"/>
                    </a:lnTo>
                    <a:lnTo>
                      <a:pt x="659" y="196"/>
                    </a:lnTo>
                    <a:lnTo>
                      <a:pt x="661" y="194"/>
                    </a:lnTo>
                    <a:lnTo>
                      <a:pt x="661" y="196"/>
                    </a:lnTo>
                    <a:lnTo>
                      <a:pt x="661" y="194"/>
                    </a:lnTo>
                    <a:lnTo>
                      <a:pt x="661" y="196"/>
                    </a:lnTo>
                    <a:lnTo>
                      <a:pt x="663" y="196"/>
                    </a:lnTo>
                    <a:lnTo>
                      <a:pt x="665" y="196"/>
                    </a:lnTo>
                    <a:lnTo>
                      <a:pt x="665" y="198"/>
                    </a:lnTo>
                    <a:lnTo>
                      <a:pt x="667" y="198"/>
                    </a:lnTo>
                    <a:lnTo>
                      <a:pt x="667" y="196"/>
                    </a:lnTo>
                    <a:lnTo>
                      <a:pt x="669" y="196"/>
                    </a:lnTo>
                    <a:lnTo>
                      <a:pt x="669" y="198"/>
                    </a:lnTo>
                    <a:lnTo>
                      <a:pt x="669" y="196"/>
                    </a:lnTo>
                    <a:lnTo>
                      <a:pt x="667" y="196"/>
                    </a:lnTo>
                    <a:lnTo>
                      <a:pt x="665" y="196"/>
                    </a:lnTo>
                    <a:lnTo>
                      <a:pt x="665" y="194"/>
                    </a:lnTo>
                    <a:lnTo>
                      <a:pt x="665" y="192"/>
                    </a:lnTo>
                    <a:lnTo>
                      <a:pt x="663" y="192"/>
                    </a:lnTo>
                    <a:lnTo>
                      <a:pt x="665" y="192"/>
                    </a:lnTo>
                    <a:lnTo>
                      <a:pt x="667" y="190"/>
                    </a:lnTo>
                    <a:lnTo>
                      <a:pt x="667" y="192"/>
                    </a:lnTo>
                    <a:lnTo>
                      <a:pt x="669" y="194"/>
                    </a:lnTo>
                    <a:lnTo>
                      <a:pt x="669" y="196"/>
                    </a:lnTo>
                    <a:lnTo>
                      <a:pt x="671" y="196"/>
                    </a:lnTo>
                    <a:lnTo>
                      <a:pt x="669" y="196"/>
                    </a:lnTo>
                    <a:lnTo>
                      <a:pt x="671" y="196"/>
                    </a:lnTo>
                    <a:lnTo>
                      <a:pt x="671" y="198"/>
                    </a:lnTo>
                    <a:lnTo>
                      <a:pt x="671" y="196"/>
                    </a:lnTo>
                    <a:lnTo>
                      <a:pt x="671" y="198"/>
                    </a:lnTo>
                    <a:lnTo>
                      <a:pt x="673" y="198"/>
                    </a:lnTo>
                    <a:lnTo>
                      <a:pt x="673" y="200"/>
                    </a:lnTo>
                    <a:lnTo>
                      <a:pt x="673" y="198"/>
                    </a:lnTo>
                    <a:lnTo>
                      <a:pt x="671" y="198"/>
                    </a:lnTo>
                    <a:lnTo>
                      <a:pt x="671" y="196"/>
                    </a:lnTo>
                    <a:lnTo>
                      <a:pt x="673" y="196"/>
                    </a:lnTo>
                    <a:lnTo>
                      <a:pt x="671" y="196"/>
                    </a:lnTo>
                    <a:lnTo>
                      <a:pt x="669" y="196"/>
                    </a:lnTo>
                    <a:lnTo>
                      <a:pt x="669" y="194"/>
                    </a:lnTo>
                    <a:lnTo>
                      <a:pt x="669" y="192"/>
                    </a:lnTo>
                    <a:lnTo>
                      <a:pt x="667" y="192"/>
                    </a:lnTo>
                    <a:lnTo>
                      <a:pt x="667" y="190"/>
                    </a:lnTo>
                    <a:lnTo>
                      <a:pt x="669" y="190"/>
                    </a:lnTo>
                    <a:lnTo>
                      <a:pt x="669" y="192"/>
                    </a:lnTo>
                    <a:lnTo>
                      <a:pt x="669" y="190"/>
                    </a:lnTo>
                    <a:lnTo>
                      <a:pt x="667" y="190"/>
                    </a:lnTo>
                    <a:lnTo>
                      <a:pt x="669" y="190"/>
                    </a:lnTo>
                    <a:lnTo>
                      <a:pt x="667" y="190"/>
                    </a:lnTo>
                    <a:lnTo>
                      <a:pt x="667" y="188"/>
                    </a:lnTo>
                    <a:lnTo>
                      <a:pt x="667" y="190"/>
                    </a:lnTo>
                    <a:lnTo>
                      <a:pt x="665" y="190"/>
                    </a:lnTo>
                    <a:lnTo>
                      <a:pt x="663" y="190"/>
                    </a:lnTo>
                    <a:lnTo>
                      <a:pt x="661" y="188"/>
                    </a:lnTo>
                    <a:lnTo>
                      <a:pt x="663" y="188"/>
                    </a:lnTo>
                    <a:lnTo>
                      <a:pt x="661" y="188"/>
                    </a:lnTo>
                    <a:lnTo>
                      <a:pt x="661" y="186"/>
                    </a:lnTo>
                    <a:lnTo>
                      <a:pt x="661" y="188"/>
                    </a:lnTo>
                    <a:lnTo>
                      <a:pt x="661" y="190"/>
                    </a:lnTo>
                    <a:lnTo>
                      <a:pt x="659" y="190"/>
                    </a:lnTo>
                    <a:lnTo>
                      <a:pt x="659" y="188"/>
                    </a:lnTo>
                    <a:lnTo>
                      <a:pt x="659" y="186"/>
                    </a:lnTo>
                    <a:lnTo>
                      <a:pt x="657" y="186"/>
                    </a:lnTo>
                    <a:lnTo>
                      <a:pt x="657" y="184"/>
                    </a:lnTo>
                    <a:lnTo>
                      <a:pt x="657" y="186"/>
                    </a:lnTo>
                    <a:lnTo>
                      <a:pt x="657" y="184"/>
                    </a:lnTo>
                    <a:lnTo>
                      <a:pt x="657" y="186"/>
                    </a:lnTo>
                    <a:lnTo>
                      <a:pt x="656" y="186"/>
                    </a:lnTo>
                    <a:lnTo>
                      <a:pt x="656" y="184"/>
                    </a:lnTo>
                    <a:lnTo>
                      <a:pt x="656" y="182"/>
                    </a:lnTo>
                    <a:lnTo>
                      <a:pt x="656" y="184"/>
                    </a:lnTo>
                    <a:lnTo>
                      <a:pt x="656" y="182"/>
                    </a:lnTo>
                    <a:lnTo>
                      <a:pt x="656" y="180"/>
                    </a:lnTo>
                    <a:lnTo>
                      <a:pt x="657" y="180"/>
                    </a:lnTo>
                    <a:lnTo>
                      <a:pt x="657" y="182"/>
                    </a:lnTo>
                    <a:lnTo>
                      <a:pt x="657" y="180"/>
                    </a:lnTo>
                    <a:lnTo>
                      <a:pt x="656" y="180"/>
                    </a:lnTo>
                    <a:lnTo>
                      <a:pt x="656" y="179"/>
                    </a:lnTo>
                    <a:lnTo>
                      <a:pt x="656" y="180"/>
                    </a:lnTo>
                    <a:lnTo>
                      <a:pt x="656" y="179"/>
                    </a:lnTo>
                    <a:lnTo>
                      <a:pt x="656" y="180"/>
                    </a:lnTo>
                    <a:lnTo>
                      <a:pt x="656" y="179"/>
                    </a:lnTo>
                    <a:lnTo>
                      <a:pt x="656" y="177"/>
                    </a:lnTo>
                    <a:lnTo>
                      <a:pt x="654" y="177"/>
                    </a:lnTo>
                    <a:lnTo>
                      <a:pt x="654" y="175"/>
                    </a:lnTo>
                    <a:lnTo>
                      <a:pt x="656" y="177"/>
                    </a:lnTo>
                    <a:lnTo>
                      <a:pt x="656" y="175"/>
                    </a:lnTo>
                    <a:lnTo>
                      <a:pt x="656" y="173"/>
                    </a:lnTo>
                    <a:lnTo>
                      <a:pt x="656" y="171"/>
                    </a:lnTo>
                    <a:lnTo>
                      <a:pt x="656" y="173"/>
                    </a:lnTo>
                    <a:lnTo>
                      <a:pt x="656" y="171"/>
                    </a:lnTo>
                    <a:lnTo>
                      <a:pt x="657" y="171"/>
                    </a:lnTo>
                    <a:lnTo>
                      <a:pt x="657" y="169"/>
                    </a:lnTo>
                    <a:lnTo>
                      <a:pt x="657" y="171"/>
                    </a:lnTo>
                    <a:lnTo>
                      <a:pt x="657" y="169"/>
                    </a:lnTo>
                    <a:lnTo>
                      <a:pt x="657" y="171"/>
                    </a:lnTo>
                    <a:lnTo>
                      <a:pt x="657" y="169"/>
                    </a:lnTo>
                    <a:lnTo>
                      <a:pt x="657" y="171"/>
                    </a:lnTo>
                    <a:lnTo>
                      <a:pt x="657" y="169"/>
                    </a:lnTo>
                    <a:lnTo>
                      <a:pt x="657" y="171"/>
                    </a:lnTo>
                    <a:lnTo>
                      <a:pt x="657" y="169"/>
                    </a:lnTo>
                    <a:lnTo>
                      <a:pt x="659" y="169"/>
                    </a:lnTo>
                    <a:lnTo>
                      <a:pt x="659" y="167"/>
                    </a:lnTo>
                    <a:lnTo>
                      <a:pt x="659" y="169"/>
                    </a:lnTo>
                    <a:lnTo>
                      <a:pt x="659" y="167"/>
                    </a:lnTo>
                    <a:lnTo>
                      <a:pt x="659" y="169"/>
                    </a:lnTo>
                    <a:lnTo>
                      <a:pt x="659" y="167"/>
                    </a:lnTo>
                    <a:lnTo>
                      <a:pt x="659" y="169"/>
                    </a:lnTo>
                    <a:lnTo>
                      <a:pt x="659" y="167"/>
                    </a:lnTo>
                    <a:lnTo>
                      <a:pt x="661" y="167"/>
                    </a:lnTo>
                    <a:lnTo>
                      <a:pt x="663" y="167"/>
                    </a:lnTo>
                    <a:lnTo>
                      <a:pt x="661" y="167"/>
                    </a:lnTo>
                    <a:lnTo>
                      <a:pt x="661" y="165"/>
                    </a:lnTo>
                    <a:lnTo>
                      <a:pt x="661" y="167"/>
                    </a:lnTo>
                    <a:lnTo>
                      <a:pt x="661" y="165"/>
                    </a:lnTo>
                    <a:lnTo>
                      <a:pt x="661" y="167"/>
                    </a:lnTo>
                    <a:lnTo>
                      <a:pt x="661" y="165"/>
                    </a:lnTo>
                    <a:lnTo>
                      <a:pt x="663" y="165"/>
                    </a:lnTo>
                    <a:lnTo>
                      <a:pt x="661" y="165"/>
                    </a:lnTo>
                    <a:lnTo>
                      <a:pt x="659" y="165"/>
                    </a:lnTo>
                    <a:lnTo>
                      <a:pt x="657" y="165"/>
                    </a:lnTo>
                    <a:lnTo>
                      <a:pt x="657" y="167"/>
                    </a:lnTo>
                    <a:lnTo>
                      <a:pt x="656" y="167"/>
                    </a:lnTo>
                    <a:lnTo>
                      <a:pt x="656" y="165"/>
                    </a:lnTo>
                    <a:lnTo>
                      <a:pt x="656" y="167"/>
                    </a:lnTo>
                    <a:lnTo>
                      <a:pt x="656" y="169"/>
                    </a:lnTo>
                    <a:lnTo>
                      <a:pt x="656" y="167"/>
                    </a:lnTo>
                    <a:lnTo>
                      <a:pt x="656" y="169"/>
                    </a:lnTo>
                    <a:lnTo>
                      <a:pt x="656" y="167"/>
                    </a:lnTo>
                    <a:lnTo>
                      <a:pt x="654" y="167"/>
                    </a:lnTo>
                    <a:lnTo>
                      <a:pt x="654" y="169"/>
                    </a:lnTo>
                    <a:lnTo>
                      <a:pt x="652" y="169"/>
                    </a:lnTo>
                    <a:lnTo>
                      <a:pt x="654" y="171"/>
                    </a:lnTo>
                    <a:lnTo>
                      <a:pt x="652" y="171"/>
                    </a:lnTo>
                    <a:lnTo>
                      <a:pt x="652" y="169"/>
                    </a:lnTo>
                    <a:lnTo>
                      <a:pt x="652" y="167"/>
                    </a:lnTo>
                    <a:lnTo>
                      <a:pt x="654" y="167"/>
                    </a:lnTo>
                    <a:lnTo>
                      <a:pt x="652" y="167"/>
                    </a:lnTo>
                    <a:lnTo>
                      <a:pt x="652" y="165"/>
                    </a:lnTo>
                    <a:lnTo>
                      <a:pt x="654" y="165"/>
                    </a:lnTo>
                    <a:lnTo>
                      <a:pt x="652" y="165"/>
                    </a:lnTo>
                    <a:lnTo>
                      <a:pt x="652" y="163"/>
                    </a:lnTo>
                    <a:lnTo>
                      <a:pt x="652" y="165"/>
                    </a:lnTo>
                    <a:lnTo>
                      <a:pt x="652" y="163"/>
                    </a:lnTo>
                    <a:lnTo>
                      <a:pt x="652" y="165"/>
                    </a:lnTo>
                    <a:lnTo>
                      <a:pt x="652" y="163"/>
                    </a:lnTo>
                    <a:lnTo>
                      <a:pt x="652" y="165"/>
                    </a:lnTo>
                    <a:lnTo>
                      <a:pt x="652" y="167"/>
                    </a:lnTo>
                    <a:lnTo>
                      <a:pt x="652" y="165"/>
                    </a:lnTo>
                    <a:lnTo>
                      <a:pt x="650" y="167"/>
                    </a:lnTo>
                    <a:lnTo>
                      <a:pt x="650" y="165"/>
                    </a:lnTo>
                    <a:lnTo>
                      <a:pt x="650" y="167"/>
                    </a:lnTo>
                    <a:lnTo>
                      <a:pt x="650" y="165"/>
                    </a:lnTo>
                    <a:lnTo>
                      <a:pt x="648" y="165"/>
                    </a:lnTo>
                    <a:lnTo>
                      <a:pt x="650" y="167"/>
                    </a:lnTo>
                    <a:lnTo>
                      <a:pt x="648" y="167"/>
                    </a:lnTo>
                    <a:lnTo>
                      <a:pt x="650" y="167"/>
                    </a:lnTo>
                    <a:lnTo>
                      <a:pt x="648" y="167"/>
                    </a:lnTo>
                    <a:lnTo>
                      <a:pt x="650" y="167"/>
                    </a:lnTo>
                    <a:lnTo>
                      <a:pt x="650" y="169"/>
                    </a:lnTo>
                    <a:lnTo>
                      <a:pt x="648" y="169"/>
                    </a:lnTo>
                    <a:lnTo>
                      <a:pt x="648" y="167"/>
                    </a:lnTo>
                    <a:lnTo>
                      <a:pt x="648" y="169"/>
                    </a:lnTo>
                    <a:lnTo>
                      <a:pt x="648" y="171"/>
                    </a:lnTo>
                    <a:lnTo>
                      <a:pt x="648" y="169"/>
                    </a:lnTo>
                    <a:lnTo>
                      <a:pt x="648" y="167"/>
                    </a:lnTo>
                    <a:lnTo>
                      <a:pt x="648" y="165"/>
                    </a:lnTo>
                    <a:lnTo>
                      <a:pt x="648" y="163"/>
                    </a:lnTo>
                    <a:lnTo>
                      <a:pt x="648" y="165"/>
                    </a:lnTo>
                    <a:lnTo>
                      <a:pt x="646" y="165"/>
                    </a:lnTo>
                    <a:lnTo>
                      <a:pt x="648" y="163"/>
                    </a:lnTo>
                    <a:lnTo>
                      <a:pt x="646" y="165"/>
                    </a:lnTo>
                    <a:lnTo>
                      <a:pt x="648" y="165"/>
                    </a:lnTo>
                    <a:lnTo>
                      <a:pt x="646" y="165"/>
                    </a:lnTo>
                    <a:lnTo>
                      <a:pt x="646" y="163"/>
                    </a:lnTo>
                    <a:lnTo>
                      <a:pt x="646" y="165"/>
                    </a:lnTo>
                    <a:lnTo>
                      <a:pt x="646" y="167"/>
                    </a:lnTo>
                    <a:lnTo>
                      <a:pt x="646" y="165"/>
                    </a:lnTo>
                    <a:lnTo>
                      <a:pt x="644" y="165"/>
                    </a:lnTo>
                    <a:lnTo>
                      <a:pt x="646" y="165"/>
                    </a:lnTo>
                    <a:lnTo>
                      <a:pt x="646" y="163"/>
                    </a:lnTo>
                    <a:lnTo>
                      <a:pt x="644" y="163"/>
                    </a:lnTo>
                    <a:lnTo>
                      <a:pt x="644" y="161"/>
                    </a:lnTo>
                    <a:lnTo>
                      <a:pt x="646" y="161"/>
                    </a:lnTo>
                    <a:lnTo>
                      <a:pt x="646" y="159"/>
                    </a:lnTo>
                    <a:lnTo>
                      <a:pt x="646" y="161"/>
                    </a:lnTo>
                    <a:lnTo>
                      <a:pt x="646" y="159"/>
                    </a:lnTo>
                    <a:lnTo>
                      <a:pt x="646" y="157"/>
                    </a:lnTo>
                    <a:lnTo>
                      <a:pt x="646" y="159"/>
                    </a:lnTo>
                    <a:lnTo>
                      <a:pt x="646" y="157"/>
                    </a:lnTo>
                    <a:lnTo>
                      <a:pt x="644" y="157"/>
                    </a:lnTo>
                    <a:lnTo>
                      <a:pt x="646" y="157"/>
                    </a:lnTo>
                    <a:lnTo>
                      <a:pt x="644" y="157"/>
                    </a:lnTo>
                    <a:lnTo>
                      <a:pt x="646" y="157"/>
                    </a:lnTo>
                    <a:lnTo>
                      <a:pt x="644" y="157"/>
                    </a:lnTo>
                    <a:lnTo>
                      <a:pt x="644" y="155"/>
                    </a:lnTo>
                    <a:lnTo>
                      <a:pt x="646" y="155"/>
                    </a:lnTo>
                    <a:lnTo>
                      <a:pt x="646" y="154"/>
                    </a:lnTo>
                    <a:lnTo>
                      <a:pt x="646" y="152"/>
                    </a:lnTo>
                    <a:lnTo>
                      <a:pt x="646" y="150"/>
                    </a:lnTo>
                    <a:lnTo>
                      <a:pt x="648" y="150"/>
                    </a:lnTo>
                    <a:lnTo>
                      <a:pt x="646" y="150"/>
                    </a:lnTo>
                    <a:lnTo>
                      <a:pt x="648" y="150"/>
                    </a:lnTo>
                    <a:lnTo>
                      <a:pt x="648" y="148"/>
                    </a:lnTo>
                    <a:lnTo>
                      <a:pt x="648" y="146"/>
                    </a:lnTo>
                    <a:lnTo>
                      <a:pt x="648" y="148"/>
                    </a:lnTo>
                    <a:lnTo>
                      <a:pt x="646" y="148"/>
                    </a:lnTo>
                    <a:lnTo>
                      <a:pt x="646" y="150"/>
                    </a:lnTo>
                    <a:lnTo>
                      <a:pt x="646" y="152"/>
                    </a:lnTo>
                    <a:lnTo>
                      <a:pt x="644" y="152"/>
                    </a:lnTo>
                    <a:lnTo>
                      <a:pt x="644" y="154"/>
                    </a:lnTo>
                    <a:lnTo>
                      <a:pt x="644" y="155"/>
                    </a:lnTo>
                    <a:lnTo>
                      <a:pt x="644" y="154"/>
                    </a:lnTo>
                    <a:lnTo>
                      <a:pt x="644" y="155"/>
                    </a:lnTo>
                    <a:lnTo>
                      <a:pt x="642" y="157"/>
                    </a:lnTo>
                    <a:lnTo>
                      <a:pt x="642" y="155"/>
                    </a:lnTo>
                    <a:lnTo>
                      <a:pt x="642" y="157"/>
                    </a:lnTo>
                    <a:lnTo>
                      <a:pt x="640" y="157"/>
                    </a:lnTo>
                    <a:lnTo>
                      <a:pt x="640" y="155"/>
                    </a:lnTo>
                    <a:lnTo>
                      <a:pt x="642" y="155"/>
                    </a:lnTo>
                    <a:lnTo>
                      <a:pt x="640" y="155"/>
                    </a:lnTo>
                    <a:lnTo>
                      <a:pt x="640" y="157"/>
                    </a:lnTo>
                    <a:lnTo>
                      <a:pt x="638" y="157"/>
                    </a:lnTo>
                    <a:lnTo>
                      <a:pt x="638" y="155"/>
                    </a:lnTo>
                    <a:lnTo>
                      <a:pt x="638" y="154"/>
                    </a:lnTo>
                    <a:lnTo>
                      <a:pt x="638" y="152"/>
                    </a:lnTo>
                    <a:lnTo>
                      <a:pt x="638" y="150"/>
                    </a:lnTo>
                    <a:lnTo>
                      <a:pt x="638" y="152"/>
                    </a:lnTo>
                    <a:lnTo>
                      <a:pt x="638" y="154"/>
                    </a:lnTo>
                    <a:lnTo>
                      <a:pt x="636" y="154"/>
                    </a:lnTo>
                    <a:lnTo>
                      <a:pt x="636" y="152"/>
                    </a:lnTo>
                    <a:lnTo>
                      <a:pt x="636" y="154"/>
                    </a:lnTo>
                    <a:lnTo>
                      <a:pt x="638" y="154"/>
                    </a:lnTo>
                    <a:lnTo>
                      <a:pt x="636" y="154"/>
                    </a:lnTo>
                    <a:lnTo>
                      <a:pt x="636" y="155"/>
                    </a:lnTo>
                    <a:lnTo>
                      <a:pt x="634" y="155"/>
                    </a:lnTo>
                    <a:lnTo>
                      <a:pt x="636" y="155"/>
                    </a:lnTo>
                    <a:lnTo>
                      <a:pt x="636" y="157"/>
                    </a:lnTo>
                    <a:lnTo>
                      <a:pt x="636" y="159"/>
                    </a:lnTo>
                    <a:lnTo>
                      <a:pt x="634" y="159"/>
                    </a:lnTo>
                    <a:lnTo>
                      <a:pt x="634" y="157"/>
                    </a:lnTo>
                    <a:lnTo>
                      <a:pt x="633" y="157"/>
                    </a:lnTo>
                    <a:lnTo>
                      <a:pt x="631" y="157"/>
                    </a:lnTo>
                    <a:lnTo>
                      <a:pt x="631" y="155"/>
                    </a:lnTo>
                    <a:lnTo>
                      <a:pt x="629" y="155"/>
                    </a:lnTo>
                    <a:lnTo>
                      <a:pt x="627" y="155"/>
                    </a:lnTo>
                    <a:lnTo>
                      <a:pt x="627" y="154"/>
                    </a:lnTo>
                    <a:lnTo>
                      <a:pt x="627" y="152"/>
                    </a:lnTo>
                    <a:lnTo>
                      <a:pt x="625" y="152"/>
                    </a:lnTo>
                    <a:lnTo>
                      <a:pt x="625" y="150"/>
                    </a:lnTo>
                    <a:lnTo>
                      <a:pt x="623" y="150"/>
                    </a:lnTo>
                    <a:lnTo>
                      <a:pt x="625" y="148"/>
                    </a:lnTo>
                    <a:lnTo>
                      <a:pt x="623" y="148"/>
                    </a:lnTo>
                    <a:lnTo>
                      <a:pt x="625" y="148"/>
                    </a:lnTo>
                    <a:lnTo>
                      <a:pt x="623" y="148"/>
                    </a:lnTo>
                    <a:lnTo>
                      <a:pt x="623" y="146"/>
                    </a:lnTo>
                    <a:lnTo>
                      <a:pt x="625" y="146"/>
                    </a:lnTo>
                    <a:lnTo>
                      <a:pt x="625" y="144"/>
                    </a:lnTo>
                    <a:lnTo>
                      <a:pt x="625" y="142"/>
                    </a:lnTo>
                    <a:lnTo>
                      <a:pt x="625" y="140"/>
                    </a:lnTo>
                    <a:lnTo>
                      <a:pt x="627" y="140"/>
                    </a:lnTo>
                    <a:lnTo>
                      <a:pt x="627" y="138"/>
                    </a:lnTo>
                    <a:lnTo>
                      <a:pt x="625" y="138"/>
                    </a:lnTo>
                    <a:lnTo>
                      <a:pt x="625" y="136"/>
                    </a:lnTo>
                    <a:lnTo>
                      <a:pt x="627" y="136"/>
                    </a:lnTo>
                    <a:lnTo>
                      <a:pt x="625" y="134"/>
                    </a:lnTo>
                    <a:lnTo>
                      <a:pt x="627" y="134"/>
                    </a:lnTo>
                    <a:lnTo>
                      <a:pt x="627" y="132"/>
                    </a:lnTo>
                    <a:lnTo>
                      <a:pt x="627" y="131"/>
                    </a:lnTo>
                    <a:lnTo>
                      <a:pt x="629" y="131"/>
                    </a:lnTo>
                    <a:lnTo>
                      <a:pt x="631" y="129"/>
                    </a:lnTo>
                    <a:lnTo>
                      <a:pt x="631" y="127"/>
                    </a:lnTo>
                    <a:lnTo>
                      <a:pt x="633" y="127"/>
                    </a:lnTo>
                    <a:lnTo>
                      <a:pt x="633" y="125"/>
                    </a:lnTo>
                    <a:lnTo>
                      <a:pt x="634" y="125"/>
                    </a:lnTo>
                    <a:lnTo>
                      <a:pt x="634" y="123"/>
                    </a:lnTo>
                    <a:lnTo>
                      <a:pt x="636" y="123"/>
                    </a:lnTo>
                    <a:lnTo>
                      <a:pt x="636" y="121"/>
                    </a:lnTo>
                    <a:lnTo>
                      <a:pt x="638" y="121"/>
                    </a:lnTo>
                    <a:lnTo>
                      <a:pt x="640" y="121"/>
                    </a:lnTo>
                    <a:lnTo>
                      <a:pt x="642" y="121"/>
                    </a:lnTo>
                    <a:lnTo>
                      <a:pt x="644" y="121"/>
                    </a:lnTo>
                    <a:lnTo>
                      <a:pt x="644" y="123"/>
                    </a:lnTo>
                    <a:lnTo>
                      <a:pt x="642" y="123"/>
                    </a:lnTo>
                    <a:lnTo>
                      <a:pt x="644" y="123"/>
                    </a:lnTo>
                    <a:lnTo>
                      <a:pt x="644" y="125"/>
                    </a:lnTo>
                    <a:lnTo>
                      <a:pt x="642" y="125"/>
                    </a:lnTo>
                    <a:lnTo>
                      <a:pt x="644" y="125"/>
                    </a:lnTo>
                    <a:lnTo>
                      <a:pt x="644" y="123"/>
                    </a:lnTo>
                    <a:lnTo>
                      <a:pt x="644" y="125"/>
                    </a:lnTo>
                    <a:lnTo>
                      <a:pt x="646" y="125"/>
                    </a:lnTo>
                    <a:lnTo>
                      <a:pt x="644" y="125"/>
                    </a:lnTo>
                    <a:lnTo>
                      <a:pt x="644" y="127"/>
                    </a:lnTo>
                    <a:lnTo>
                      <a:pt x="646" y="127"/>
                    </a:lnTo>
                    <a:lnTo>
                      <a:pt x="644" y="127"/>
                    </a:lnTo>
                    <a:lnTo>
                      <a:pt x="646" y="127"/>
                    </a:lnTo>
                    <a:lnTo>
                      <a:pt x="648" y="127"/>
                    </a:lnTo>
                    <a:lnTo>
                      <a:pt x="648" y="125"/>
                    </a:lnTo>
                    <a:lnTo>
                      <a:pt x="650" y="125"/>
                    </a:lnTo>
                    <a:lnTo>
                      <a:pt x="650" y="127"/>
                    </a:lnTo>
                    <a:lnTo>
                      <a:pt x="648" y="127"/>
                    </a:lnTo>
                    <a:lnTo>
                      <a:pt x="648" y="129"/>
                    </a:lnTo>
                    <a:lnTo>
                      <a:pt x="648" y="127"/>
                    </a:lnTo>
                    <a:lnTo>
                      <a:pt x="650" y="127"/>
                    </a:lnTo>
                    <a:lnTo>
                      <a:pt x="650" y="129"/>
                    </a:lnTo>
                    <a:lnTo>
                      <a:pt x="650" y="127"/>
                    </a:lnTo>
                    <a:lnTo>
                      <a:pt x="650" y="129"/>
                    </a:lnTo>
                    <a:lnTo>
                      <a:pt x="650" y="131"/>
                    </a:lnTo>
                    <a:lnTo>
                      <a:pt x="652" y="131"/>
                    </a:lnTo>
                    <a:lnTo>
                      <a:pt x="650" y="131"/>
                    </a:lnTo>
                    <a:lnTo>
                      <a:pt x="652" y="131"/>
                    </a:lnTo>
                    <a:lnTo>
                      <a:pt x="654" y="131"/>
                    </a:lnTo>
                    <a:lnTo>
                      <a:pt x="652" y="131"/>
                    </a:lnTo>
                    <a:lnTo>
                      <a:pt x="654" y="131"/>
                    </a:lnTo>
                    <a:lnTo>
                      <a:pt x="652" y="131"/>
                    </a:lnTo>
                    <a:lnTo>
                      <a:pt x="654" y="131"/>
                    </a:lnTo>
                    <a:lnTo>
                      <a:pt x="654" y="132"/>
                    </a:lnTo>
                    <a:lnTo>
                      <a:pt x="652" y="132"/>
                    </a:lnTo>
                    <a:lnTo>
                      <a:pt x="654" y="132"/>
                    </a:lnTo>
                    <a:lnTo>
                      <a:pt x="654" y="131"/>
                    </a:lnTo>
                    <a:lnTo>
                      <a:pt x="654" y="129"/>
                    </a:lnTo>
                    <a:lnTo>
                      <a:pt x="654" y="127"/>
                    </a:lnTo>
                    <a:lnTo>
                      <a:pt x="656" y="127"/>
                    </a:lnTo>
                    <a:lnTo>
                      <a:pt x="656" y="125"/>
                    </a:lnTo>
                    <a:lnTo>
                      <a:pt x="656" y="127"/>
                    </a:lnTo>
                    <a:lnTo>
                      <a:pt x="656" y="125"/>
                    </a:lnTo>
                    <a:lnTo>
                      <a:pt x="656" y="127"/>
                    </a:lnTo>
                    <a:lnTo>
                      <a:pt x="656" y="129"/>
                    </a:lnTo>
                    <a:lnTo>
                      <a:pt x="656" y="127"/>
                    </a:lnTo>
                    <a:lnTo>
                      <a:pt x="656" y="129"/>
                    </a:lnTo>
                    <a:lnTo>
                      <a:pt x="656" y="127"/>
                    </a:lnTo>
                    <a:lnTo>
                      <a:pt x="656" y="129"/>
                    </a:lnTo>
                    <a:lnTo>
                      <a:pt x="656" y="127"/>
                    </a:lnTo>
                    <a:lnTo>
                      <a:pt x="657" y="127"/>
                    </a:lnTo>
                    <a:lnTo>
                      <a:pt x="657" y="129"/>
                    </a:lnTo>
                    <a:lnTo>
                      <a:pt x="656" y="129"/>
                    </a:lnTo>
                    <a:lnTo>
                      <a:pt x="657" y="129"/>
                    </a:lnTo>
                    <a:lnTo>
                      <a:pt x="656" y="129"/>
                    </a:lnTo>
                    <a:lnTo>
                      <a:pt x="657" y="129"/>
                    </a:lnTo>
                    <a:lnTo>
                      <a:pt x="657" y="127"/>
                    </a:lnTo>
                    <a:lnTo>
                      <a:pt x="656" y="127"/>
                    </a:lnTo>
                    <a:lnTo>
                      <a:pt x="657" y="127"/>
                    </a:lnTo>
                    <a:lnTo>
                      <a:pt x="656" y="127"/>
                    </a:lnTo>
                    <a:lnTo>
                      <a:pt x="657" y="127"/>
                    </a:lnTo>
                    <a:lnTo>
                      <a:pt x="657" y="125"/>
                    </a:lnTo>
                    <a:lnTo>
                      <a:pt x="656" y="125"/>
                    </a:lnTo>
                    <a:lnTo>
                      <a:pt x="656" y="123"/>
                    </a:lnTo>
                    <a:lnTo>
                      <a:pt x="657" y="123"/>
                    </a:lnTo>
                    <a:lnTo>
                      <a:pt x="657" y="125"/>
                    </a:lnTo>
                    <a:lnTo>
                      <a:pt x="657" y="123"/>
                    </a:lnTo>
                    <a:lnTo>
                      <a:pt x="657" y="125"/>
                    </a:lnTo>
                    <a:lnTo>
                      <a:pt x="657" y="123"/>
                    </a:lnTo>
                    <a:lnTo>
                      <a:pt x="659" y="123"/>
                    </a:lnTo>
                    <a:lnTo>
                      <a:pt x="657" y="123"/>
                    </a:lnTo>
                    <a:lnTo>
                      <a:pt x="659" y="123"/>
                    </a:lnTo>
                    <a:lnTo>
                      <a:pt x="657" y="123"/>
                    </a:lnTo>
                    <a:lnTo>
                      <a:pt x="659" y="123"/>
                    </a:lnTo>
                    <a:lnTo>
                      <a:pt x="659" y="121"/>
                    </a:lnTo>
                    <a:lnTo>
                      <a:pt x="659" y="123"/>
                    </a:lnTo>
                    <a:lnTo>
                      <a:pt x="659" y="121"/>
                    </a:lnTo>
                    <a:lnTo>
                      <a:pt x="657" y="121"/>
                    </a:lnTo>
                    <a:lnTo>
                      <a:pt x="657" y="119"/>
                    </a:lnTo>
                    <a:lnTo>
                      <a:pt x="659" y="121"/>
                    </a:lnTo>
                    <a:lnTo>
                      <a:pt x="657" y="121"/>
                    </a:lnTo>
                    <a:lnTo>
                      <a:pt x="659" y="121"/>
                    </a:lnTo>
                    <a:lnTo>
                      <a:pt x="659" y="123"/>
                    </a:lnTo>
                    <a:lnTo>
                      <a:pt x="661" y="123"/>
                    </a:lnTo>
                    <a:lnTo>
                      <a:pt x="661" y="121"/>
                    </a:lnTo>
                    <a:lnTo>
                      <a:pt x="663" y="121"/>
                    </a:lnTo>
                    <a:lnTo>
                      <a:pt x="665" y="121"/>
                    </a:lnTo>
                    <a:lnTo>
                      <a:pt x="665" y="119"/>
                    </a:lnTo>
                    <a:lnTo>
                      <a:pt x="663" y="119"/>
                    </a:lnTo>
                    <a:lnTo>
                      <a:pt x="663" y="117"/>
                    </a:lnTo>
                    <a:lnTo>
                      <a:pt x="663" y="119"/>
                    </a:lnTo>
                    <a:lnTo>
                      <a:pt x="663" y="117"/>
                    </a:lnTo>
                    <a:lnTo>
                      <a:pt x="663" y="119"/>
                    </a:lnTo>
                    <a:lnTo>
                      <a:pt x="663" y="117"/>
                    </a:lnTo>
                    <a:lnTo>
                      <a:pt x="665" y="117"/>
                    </a:lnTo>
                    <a:lnTo>
                      <a:pt x="663" y="119"/>
                    </a:lnTo>
                    <a:lnTo>
                      <a:pt x="665" y="119"/>
                    </a:lnTo>
                    <a:lnTo>
                      <a:pt x="665" y="121"/>
                    </a:lnTo>
                    <a:lnTo>
                      <a:pt x="665" y="119"/>
                    </a:lnTo>
                    <a:lnTo>
                      <a:pt x="665" y="121"/>
                    </a:lnTo>
                    <a:lnTo>
                      <a:pt x="665" y="119"/>
                    </a:lnTo>
                    <a:lnTo>
                      <a:pt x="665" y="121"/>
                    </a:lnTo>
                    <a:lnTo>
                      <a:pt x="667" y="121"/>
                    </a:lnTo>
                    <a:lnTo>
                      <a:pt x="669" y="121"/>
                    </a:lnTo>
                    <a:lnTo>
                      <a:pt x="667" y="121"/>
                    </a:lnTo>
                    <a:lnTo>
                      <a:pt x="667" y="119"/>
                    </a:lnTo>
                    <a:lnTo>
                      <a:pt x="665" y="121"/>
                    </a:lnTo>
                    <a:lnTo>
                      <a:pt x="665" y="119"/>
                    </a:lnTo>
                    <a:lnTo>
                      <a:pt x="665" y="117"/>
                    </a:lnTo>
                    <a:lnTo>
                      <a:pt x="667" y="117"/>
                    </a:lnTo>
                    <a:lnTo>
                      <a:pt x="667" y="115"/>
                    </a:lnTo>
                    <a:lnTo>
                      <a:pt x="669" y="115"/>
                    </a:lnTo>
                    <a:lnTo>
                      <a:pt x="667" y="115"/>
                    </a:lnTo>
                    <a:lnTo>
                      <a:pt x="669" y="115"/>
                    </a:lnTo>
                    <a:lnTo>
                      <a:pt x="669" y="113"/>
                    </a:lnTo>
                    <a:lnTo>
                      <a:pt x="667" y="115"/>
                    </a:lnTo>
                    <a:lnTo>
                      <a:pt x="667" y="113"/>
                    </a:lnTo>
                    <a:lnTo>
                      <a:pt x="669" y="113"/>
                    </a:lnTo>
                    <a:lnTo>
                      <a:pt x="667" y="113"/>
                    </a:lnTo>
                    <a:lnTo>
                      <a:pt x="669" y="113"/>
                    </a:lnTo>
                    <a:lnTo>
                      <a:pt x="669" y="111"/>
                    </a:lnTo>
                    <a:lnTo>
                      <a:pt x="669" y="113"/>
                    </a:lnTo>
                    <a:lnTo>
                      <a:pt x="671" y="113"/>
                    </a:lnTo>
                    <a:lnTo>
                      <a:pt x="669" y="113"/>
                    </a:lnTo>
                    <a:lnTo>
                      <a:pt x="671" y="113"/>
                    </a:lnTo>
                    <a:lnTo>
                      <a:pt x="673" y="113"/>
                    </a:lnTo>
                    <a:lnTo>
                      <a:pt x="671" y="113"/>
                    </a:lnTo>
                    <a:lnTo>
                      <a:pt x="671" y="111"/>
                    </a:lnTo>
                    <a:lnTo>
                      <a:pt x="673" y="111"/>
                    </a:lnTo>
                    <a:lnTo>
                      <a:pt x="675" y="111"/>
                    </a:lnTo>
                    <a:lnTo>
                      <a:pt x="673" y="109"/>
                    </a:lnTo>
                    <a:lnTo>
                      <a:pt x="675" y="109"/>
                    </a:lnTo>
                    <a:lnTo>
                      <a:pt x="675" y="111"/>
                    </a:lnTo>
                    <a:lnTo>
                      <a:pt x="675" y="109"/>
                    </a:lnTo>
                    <a:lnTo>
                      <a:pt x="675" y="111"/>
                    </a:lnTo>
                    <a:lnTo>
                      <a:pt x="675" y="109"/>
                    </a:lnTo>
                    <a:lnTo>
                      <a:pt x="675" y="111"/>
                    </a:lnTo>
                    <a:lnTo>
                      <a:pt x="675" y="109"/>
                    </a:lnTo>
                    <a:lnTo>
                      <a:pt x="677" y="109"/>
                    </a:lnTo>
                    <a:lnTo>
                      <a:pt x="677" y="111"/>
                    </a:lnTo>
                    <a:lnTo>
                      <a:pt x="679" y="111"/>
                    </a:lnTo>
                    <a:lnTo>
                      <a:pt x="679" y="113"/>
                    </a:lnTo>
                    <a:lnTo>
                      <a:pt x="681" y="113"/>
                    </a:lnTo>
                    <a:lnTo>
                      <a:pt x="682" y="115"/>
                    </a:lnTo>
                    <a:lnTo>
                      <a:pt x="682" y="113"/>
                    </a:lnTo>
                    <a:lnTo>
                      <a:pt x="682" y="115"/>
                    </a:lnTo>
                    <a:lnTo>
                      <a:pt x="682" y="113"/>
                    </a:lnTo>
                    <a:lnTo>
                      <a:pt x="681" y="113"/>
                    </a:lnTo>
                    <a:lnTo>
                      <a:pt x="681" y="111"/>
                    </a:lnTo>
                    <a:lnTo>
                      <a:pt x="679" y="111"/>
                    </a:lnTo>
                    <a:lnTo>
                      <a:pt x="679" y="109"/>
                    </a:lnTo>
                    <a:lnTo>
                      <a:pt x="677" y="109"/>
                    </a:lnTo>
                    <a:lnTo>
                      <a:pt x="675" y="109"/>
                    </a:lnTo>
                    <a:lnTo>
                      <a:pt x="673" y="109"/>
                    </a:lnTo>
                    <a:lnTo>
                      <a:pt x="671" y="109"/>
                    </a:lnTo>
                    <a:lnTo>
                      <a:pt x="669" y="109"/>
                    </a:lnTo>
                    <a:lnTo>
                      <a:pt x="671" y="109"/>
                    </a:lnTo>
                    <a:lnTo>
                      <a:pt x="671" y="107"/>
                    </a:lnTo>
                    <a:lnTo>
                      <a:pt x="673" y="107"/>
                    </a:lnTo>
                    <a:lnTo>
                      <a:pt x="673" y="106"/>
                    </a:lnTo>
                    <a:lnTo>
                      <a:pt x="673" y="107"/>
                    </a:lnTo>
                    <a:lnTo>
                      <a:pt x="673" y="106"/>
                    </a:lnTo>
                    <a:lnTo>
                      <a:pt x="671" y="106"/>
                    </a:lnTo>
                    <a:lnTo>
                      <a:pt x="671" y="107"/>
                    </a:lnTo>
                    <a:lnTo>
                      <a:pt x="671" y="106"/>
                    </a:lnTo>
                    <a:lnTo>
                      <a:pt x="673" y="106"/>
                    </a:lnTo>
                    <a:lnTo>
                      <a:pt x="675" y="106"/>
                    </a:lnTo>
                    <a:lnTo>
                      <a:pt x="677" y="106"/>
                    </a:lnTo>
                    <a:lnTo>
                      <a:pt x="679" y="106"/>
                    </a:lnTo>
                    <a:lnTo>
                      <a:pt x="679" y="107"/>
                    </a:lnTo>
                    <a:lnTo>
                      <a:pt x="679" y="106"/>
                    </a:lnTo>
                    <a:lnTo>
                      <a:pt x="679" y="107"/>
                    </a:lnTo>
                    <a:lnTo>
                      <a:pt x="681" y="107"/>
                    </a:lnTo>
                    <a:lnTo>
                      <a:pt x="681" y="109"/>
                    </a:lnTo>
                    <a:lnTo>
                      <a:pt x="682" y="109"/>
                    </a:lnTo>
                    <a:lnTo>
                      <a:pt x="681" y="109"/>
                    </a:lnTo>
                    <a:lnTo>
                      <a:pt x="682" y="109"/>
                    </a:lnTo>
                    <a:lnTo>
                      <a:pt x="681" y="107"/>
                    </a:lnTo>
                    <a:lnTo>
                      <a:pt x="681" y="106"/>
                    </a:lnTo>
                    <a:lnTo>
                      <a:pt x="679" y="106"/>
                    </a:lnTo>
                    <a:lnTo>
                      <a:pt x="677" y="106"/>
                    </a:lnTo>
                    <a:lnTo>
                      <a:pt x="675" y="106"/>
                    </a:lnTo>
                    <a:lnTo>
                      <a:pt x="675" y="104"/>
                    </a:lnTo>
                    <a:lnTo>
                      <a:pt x="675" y="106"/>
                    </a:lnTo>
                    <a:lnTo>
                      <a:pt x="673" y="106"/>
                    </a:lnTo>
                    <a:lnTo>
                      <a:pt x="673" y="104"/>
                    </a:lnTo>
                    <a:lnTo>
                      <a:pt x="671" y="104"/>
                    </a:lnTo>
                    <a:lnTo>
                      <a:pt x="671" y="102"/>
                    </a:lnTo>
                    <a:lnTo>
                      <a:pt x="671" y="104"/>
                    </a:lnTo>
                    <a:lnTo>
                      <a:pt x="671" y="102"/>
                    </a:lnTo>
                    <a:lnTo>
                      <a:pt x="669" y="102"/>
                    </a:lnTo>
                    <a:lnTo>
                      <a:pt x="669" y="100"/>
                    </a:lnTo>
                    <a:lnTo>
                      <a:pt x="669" y="98"/>
                    </a:lnTo>
                    <a:lnTo>
                      <a:pt x="667" y="98"/>
                    </a:lnTo>
                    <a:lnTo>
                      <a:pt x="669" y="98"/>
                    </a:lnTo>
                    <a:lnTo>
                      <a:pt x="667" y="98"/>
                    </a:lnTo>
                    <a:lnTo>
                      <a:pt x="669" y="98"/>
                    </a:lnTo>
                    <a:lnTo>
                      <a:pt x="669" y="96"/>
                    </a:lnTo>
                    <a:lnTo>
                      <a:pt x="671" y="96"/>
                    </a:lnTo>
                    <a:lnTo>
                      <a:pt x="671" y="94"/>
                    </a:lnTo>
                    <a:lnTo>
                      <a:pt x="673" y="94"/>
                    </a:lnTo>
                    <a:lnTo>
                      <a:pt x="675" y="94"/>
                    </a:lnTo>
                    <a:lnTo>
                      <a:pt x="677" y="94"/>
                    </a:lnTo>
                    <a:lnTo>
                      <a:pt x="677" y="92"/>
                    </a:lnTo>
                    <a:lnTo>
                      <a:pt x="677" y="94"/>
                    </a:lnTo>
                    <a:lnTo>
                      <a:pt x="679" y="94"/>
                    </a:lnTo>
                    <a:lnTo>
                      <a:pt x="681" y="94"/>
                    </a:lnTo>
                    <a:lnTo>
                      <a:pt x="682" y="94"/>
                    </a:lnTo>
                    <a:lnTo>
                      <a:pt x="684" y="94"/>
                    </a:lnTo>
                    <a:lnTo>
                      <a:pt x="684" y="96"/>
                    </a:lnTo>
                    <a:lnTo>
                      <a:pt x="686" y="96"/>
                    </a:lnTo>
                    <a:lnTo>
                      <a:pt x="686" y="98"/>
                    </a:lnTo>
                    <a:lnTo>
                      <a:pt x="688" y="98"/>
                    </a:lnTo>
                    <a:lnTo>
                      <a:pt x="690" y="100"/>
                    </a:lnTo>
                    <a:lnTo>
                      <a:pt x="692" y="100"/>
                    </a:lnTo>
                    <a:lnTo>
                      <a:pt x="692" y="102"/>
                    </a:lnTo>
                    <a:lnTo>
                      <a:pt x="692" y="100"/>
                    </a:lnTo>
                    <a:lnTo>
                      <a:pt x="692" y="102"/>
                    </a:lnTo>
                    <a:lnTo>
                      <a:pt x="692" y="100"/>
                    </a:lnTo>
                    <a:lnTo>
                      <a:pt x="694" y="100"/>
                    </a:lnTo>
                    <a:lnTo>
                      <a:pt x="696" y="100"/>
                    </a:lnTo>
                    <a:lnTo>
                      <a:pt x="694" y="100"/>
                    </a:lnTo>
                    <a:lnTo>
                      <a:pt x="692" y="100"/>
                    </a:lnTo>
                    <a:lnTo>
                      <a:pt x="690" y="98"/>
                    </a:lnTo>
                    <a:lnTo>
                      <a:pt x="692" y="98"/>
                    </a:lnTo>
                    <a:lnTo>
                      <a:pt x="692" y="96"/>
                    </a:lnTo>
                    <a:lnTo>
                      <a:pt x="690" y="96"/>
                    </a:lnTo>
                    <a:lnTo>
                      <a:pt x="688" y="96"/>
                    </a:lnTo>
                    <a:lnTo>
                      <a:pt x="686" y="96"/>
                    </a:lnTo>
                    <a:lnTo>
                      <a:pt x="686" y="94"/>
                    </a:lnTo>
                    <a:lnTo>
                      <a:pt x="686" y="92"/>
                    </a:lnTo>
                    <a:lnTo>
                      <a:pt x="688" y="90"/>
                    </a:lnTo>
                    <a:lnTo>
                      <a:pt x="688" y="92"/>
                    </a:lnTo>
                    <a:lnTo>
                      <a:pt x="688" y="90"/>
                    </a:lnTo>
                    <a:lnTo>
                      <a:pt x="690" y="92"/>
                    </a:lnTo>
                    <a:lnTo>
                      <a:pt x="690" y="90"/>
                    </a:lnTo>
                    <a:lnTo>
                      <a:pt x="690" y="92"/>
                    </a:lnTo>
                    <a:lnTo>
                      <a:pt x="692" y="92"/>
                    </a:lnTo>
                    <a:lnTo>
                      <a:pt x="692" y="94"/>
                    </a:lnTo>
                    <a:lnTo>
                      <a:pt x="694" y="94"/>
                    </a:lnTo>
                    <a:lnTo>
                      <a:pt x="694" y="92"/>
                    </a:lnTo>
                    <a:lnTo>
                      <a:pt x="694" y="94"/>
                    </a:lnTo>
                    <a:lnTo>
                      <a:pt x="694" y="92"/>
                    </a:lnTo>
                    <a:lnTo>
                      <a:pt x="692" y="92"/>
                    </a:lnTo>
                    <a:lnTo>
                      <a:pt x="692" y="90"/>
                    </a:lnTo>
                    <a:lnTo>
                      <a:pt x="692" y="88"/>
                    </a:lnTo>
                    <a:lnTo>
                      <a:pt x="690" y="88"/>
                    </a:lnTo>
                    <a:lnTo>
                      <a:pt x="692" y="86"/>
                    </a:lnTo>
                    <a:lnTo>
                      <a:pt x="690" y="86"/>
                    </a:lnTo>
                    <a:lnTo>
                      <a:pt x="692" y="86"/>
                    </a:lnTo>
                    <a:lnTo>
                      <a:pt x="692" y="84"/>
                    </a:lnTo>
                    <a:lnTo>
                      <a:pt x="694" y="84"/>
                    </a:lnTo>
                    <a:lnTo>
                      <a:pt x="696" y="84"/>
                    </a:lnTo>
                    <a:lnTo>
                      <a:pt x="696" y="82"/>
                    </a:lnTo>
                    <a:lnTo>
                      <a:pt x="696" y="84"/>
                    </a:lnTo>
                    <a:lnTo>
                      <a:pt x="696" y="82"/>
                    </a:lnTo>
                    <a:lnTo>
                      <a:pt x="696" y="84"/>
                    </a:lnTo>
                    <a:lnTo>
                      <a:pt x="696" y="82"/>
                    </a:lnTo>
                    <a:lnTo>
                      <a:pt x="696" y="84"/>
                    </a:lnTo>
                    <a:lnTo>
                      <a:pt x="696" y="82"/>
                    </a:lnTo>
                    <a:lnTo>
                      <a:pt x="698" y="82"/>
                    </a:lnTo>
                    <a:lnTo>
                      <a:pt x="700" y="82"/>
                    </a:lnTo>
                    <a:lnTo>
                      <a:pt x="702" y="82"/>
                    </a:lnTo>
                    <a:lnTo>
                      <a:pt x="700" y="82"/>
                    </a:lnTo>
                    <a:lnTo>
                      <a:pt x="702" y="82"/>
                    </a:lnTo>
                    <a:lnTo>
                      <a:pt x="702" y="84"/>
                    </a:lnTo>
                    <a:lnTo>
                      <a:pt x="704" y="84"/>
                    </a:lnTo>
                    <a:lnTo>
                      <a:pt x="706" y="82"/>
                    </a:lnTo>
                    <a:lnTo>
                      <a:pt x="707" y="82"/>
                    </a:lnTo>
                    <a:lnTo>
                      <a:pt x="709" y="82"/>
                    </a:lnTo>
                    <a:lnTo>
                      <a:pt x="709" y="84"/>
                    </a:lnTo>
                    <a:lnTo>
                      <a:pt x="711" y="84"/>
                    </a:lnTo>
                    <a:lnTo>
                      <a:pt x="709" y="84"/>
                    </a:lnTo>
                    <a:lnTo>
                      <a:pt x="711" y="84"/>
                    </a:lnTo>
                    <a:lnTo>
                      <a:pt x="713" y="84"/>
                    </a:lnTo>
                    <a:lnTo>
                      <a:pt x="711" y="84"/>
                    </a:lnTo>
                    <a:lnTo>
                      <a:pt x="711" y="86"/>
                    </a:lnTo>
                    <a:lnTo>
                      <a:pt x="713" y="86"/>
                    </a:lnTo>
                    <a:lnTo>
                      <a:pt x="715" y="86"/>
                    </a:lnTo>
                    <a:lnTo>
                      <a:pt x="715" y="88"/>
                    </a:lnTo>
                    <a:lnTo>
                      <a:pt x="717" y="88"/>
                    </a:lnTo>
                    <a:lnTo>
                      <a:pt x="719" y="88"/>
                    </a:lnTo>
                    <a:lnTo>
                      <a:pt x="719" y="86"/>
                    </a:lnTo>
                    <a:lnTo>
                      <a:pt x="719" y="88"/>
                    </a:lnTo>
                    <a:lnTo>
                      <a:pt x="721" y="88"/>
                    </a:lnTo>
                    <a:lnTo>
                      <a:pt x="719" y="88"/>
                    </a:lnTo>
                    <a:lnTo>
                      <a:pt x="721" y="88"/>
                    </a:lnTo>
                    <a:lnTo>
                      <a:pt x="721" y="90"/>
                    </a:lnTo>
                    <a:lnTo>
                      <a:pt x="721" y="88"/>
                    </a:lnTo>
                    <a:lnTo>
                      <a:pt x="721" y="90"/>
                    </a:lnTo>
                    <a:lnTo>
                      <a:pt x="723" y="90"/>
                    </a:lnTo>
                    <a:lnTo>
                      <a:pt x="721" y="90"/>
                    </a:lnTo>
                    <a:lnTo>
                      <a:pt x="721" y="88"/>
                    </a:lnTo>
                    <a:lnTo>
                      <a:pt x="721" y="86"/>
                    </a:lnTo>
                    <a:lnTo>
                      <a:pt x="721" y="88"/>
                    </a:lnTo>
                    <a:lnTo>
                      <a:pt x="721" y="86"/>
                    </a:lnTo>
                    <a:lnTo>
                      <a:pt x="723" y="86"/>
                    </a:lnTo>
                    <a:lnTo>
                      <a:pt x="725" y="86"/>
                    </a:lnTo>
                    <a:lnTo>
                      <a:pt x="727" y="86"/>
                    </a:lnTo>
                    <a:lnTo>
                      <a:pt x="729" y="86"/>
                    </a:lnTo>
                    <a:lnTo>
                      <a:pt x="729" y="88"/>
                    </a:lnTo>
                    <a:lnTo>
                      <a:pt x="729" y="86"/>
                    </a:lnTo>
                    <a:lnTo>
                      <a:pt x="727" y="86"/>
                    </a:lnTo>
                    <a:lnTo>
                      <a:pt x="729" y="86"/>
                    </a:lnTo>
                    <a:lnTo>
                      <a:pt x="730" y="86"/>
                    </a:lnTo>
                    <a:lnTo>
                      <a:pt x="732" y="86"/>
                    </a:lnTo>
                    <a:lnTo>
                      <a:pt x="734" y="86"/>
                    </a:lnTo>
                    <a:lnTo>
                      <a:pt x="734" y="88"/>
                    </a:lnTo>
                    <a:lnTo>
                      <a:pt x="736" y="88"/>
                    </a:lnTo>
                    <a:lnTo>
                      <a:pt x="736" y="90"/>
                    </a:lnTo>
                    <a:lnTo>
                      <a:pt x="738" y="90"/>
                    </a:lnTo>
                    <a:lnTo>
                      <a:pt x="738" y="92"/>
                    </a:lnTo>
                    <a:lnTo>
                      <a:pt x="738" y="94"/>
                    </a:lnTo>
                    <a:lnTo>
                      <a:pt x="740" y="94"/>
                    </a:lnTo>
                    <a:lnTo>
                      <a:pt x="740" y="96"/>
                    </a:lnTo>
                    <a:lnTo>
                      <a:pt x="742" y="96"/>
                    </a:lnTo>
                    <a:lnTo>
                      <a:pt x="744" y="96"/>
                    </a:lnTo>
                    <a:lnTo>
                      <a:pt x="744" y="98"/>
                    </a:lnTo>
                    <a:lnTo>
                      <a:pt x="746" y="98"/>
                    </a:lnTo>
                    <a:lnTo>
                      <a:pt x="748" y="98"/>
                    </a:lnTo>
                    <a:lnTo>
                      <a:pt x="748" y="100"/>
                    </a:lnTo>
                    <a:lnTo>
                      <a:pt x="748" y="102"/>
                    </a:lnTo>
                    <a:lnTo>
                      <a:pt x="750" y="102"/>
                    </a:lnTo>
                    <a:lnTo>
                      <a:pt x="752" y="102"/>
                    </a:lnTo>
                    <a:lnTo>
                      <a:pt x="750" y="102"/>
                    </a:lnTo>
                    <a:lnTo>
                      <a:pt x="752" y="102"/>
                    </a:lnTo>
                    <a:lnTo>
                      <a:pt x="752" y="104"/>
                    </a:lnTo>
                    <a:lnTo>
                      <a:pt x="750" y="104"/>
                    </a:lnTo>
                    <a:lnTo>
                      <a:pt x="752" y="104"/>
                    </a:lnTo>
                    <a:lnTo>
                      <a:pt x="754" y="106"/>
                    </a:lnTo>
                    <a:lnTo>
                      <a:pt x="755" y="106"/>
                    </a:lnTo>
                    <a:lnTo>
                      <a:pt x="755" y="107"/>
                    </a:lnTo>
                    <a:lnTo>
                      <a:pt x="757" y="107"/>
                    </a:lnTo>
                    <a:lnTo>
                      <a:pt x="759" y="109"/>
                    </a:lnTo>
                    <a:lnTo>
                      <a:pt x="759" y="111"/>
                    </a:lnTo>
                    <a:lnTo>
                      <a:pt x="759" y="113"/>
                    </a:lnTo>
                    <a:lnTo>
                      <a:pt x="759" y="115"/>
                    </a:lnTo>
                    <a:lnTo>
                      <a:pt x="757" y="115"/>
                    </a:lnTo>
                    <a:lnTo>
                      <a:pt x="755" y="115"/>
                    </a:lnTo>
                    <a:lnTo>
                      <a:pt x="755" y="113"/>
                    </a:lnTo>
                    <a:lnTo>
                      <a:pt x="755" y="115"/>
                    </a:lnTo>
                    <a:lnTo>
                      <a:pt x="755" y="113"/>
                    </a:lnTo>
                    <a:lnTo>
                      <a:pt x="755" y="115"/>
                    </a:lnTo>
                    <a:lnTo>
                      <a:pt x="755" y="113"/>
                    </a:lnTo>
                    <a:lnTo>
                      <a:pt x="754" y="115"/>
                    </a:lnTo>
                    <a:lnTo>
                      <a:pt x="754" y="113"/>
                    </a:lnTo>
                    <a:lnTo>
                      <a:pt x="754" y="115"/>
                    </a:lnTo>
                    <a:lnTo>
                      <a:pt x="754" y="113"/>
                    </a:lnTo>
                    <a:lnTo>
                      <a:pt x="754" y="115"/>
                    </a:lnTo>
                    <a:lnTo>
                      <a:pt x="754" y="113"/>
                    </a:lnTo>
                    <a:lnTo>
                      <a:pt x="752" y="113"/>
                    </a:lnTo>
                    <a:lnTo>
                      <a:pt x="750" y="113"/>
                    </a:lnTo>
                    <a:lnTo>
                      <a:pt x="752" y="113"/>
                    </a:lnTo>
                    <a:lnTo>
                      <a:pt x="750" y="113"/>
                    </a:lnTo>
                    <a:lnTo>
                      <a:pt x="752" y="113"/>
                    </a:lnTo>
                    <a:lnTo>
                      <a:pt x="750" y="113"/>
                    </a:lnTo>
                    <a:lnTo>
                      <a:pt x="748" y="113"/>
                    </a:lnTo>
                    <a:lnTo>
                      <a:pt x="746" y="113"/>
                    </a:lnTo>
                    <a:lnTo>
                      <a:pt x="746" y="111"/>
                    </a:lnTo>
                    <a:lnTo>
                      <a:pt x="746" y="113"/>
                    </a:lnTo>
                    <a:lnTo>
                      <a:pt x="746" y="111"/>
                    </a:lnTo>
                    <a:lnTo>
                      <a:pt x="746" y="113"/>
                    </a:lnTo>
                    <a:lnTo>
                      <a:pt x="746" y="111"/>
                    </a:lnTo>
                    <a:lnTo>
                      <a:pt x="746" y="113"/>
                    </a:lnTo>
                    <a:lnTo>
                      <a:pt x="746" y="111"/>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4" y="111"/>
                    </a:lnTo>
                    <a:lnTo>
                      <a:pt x="744" y="113"/>
                    </a:lnTo>
                    <a:lnTo>
                      <a:pt x="746" y="113"/>
                    </a:lnTo>
                    <a:lnTo>
                      <a:pt x="748" y="113"/>
                    </a:lnTo>
                    <a:lnTo>
                      <a:pt x="750" y="115"/>
                    </a:lnTo>
                    <a:lnTo>
                      <a:pt x="752" y="115"/>
                    </a:lnTo>
                    <a:lnTo>
                      <a:pt x="754" y="115"/>
                    </a:lnTo>
                    <a:lnTo>
                      <a:pt x="754" y="117"/>
                    </a:lnTo>
                    <a:lnTo>
                      <a:pt x="755" y="117"/>
                    </a:lnTo>
                    <a:lnTo>
                      <a:pt x="755" y="119"/>
                    </a:lnTo>
                    <a:lnTo>
                      <a:pt x="754" y="119"/>
                    </a:lnTo>
                    <a:lnTo>
                      <a:pt x="752" y="119"/>
                    </a:lnTo>
                    <a:lnTo>
                      <a:pt x="750" y="119"/>
                    </a:lnTo>
                    <a:lnTo>
                      <a:pt x="750" y="117"/>
                    </a:lnTo>
                    <a:lnTo>
                      <a:pt x="750" y="119"/>
                    </a:lnTo>
                    <a:lnTo>
                      <a:pt x="750" y="117"/>
                    </a:lnTo>
                    <a:lnTo>
                      <a:pt x="748" y="117"/>
                    </a:lnTo>
                    <a:lnTo>
                      <a:pt x="746" y="117"/>
                    </a:lnTo>
                    <a:lnTo>
                      <a:pt x="744" y="117"/>
                    </a:lnTo>
                    <a:lnTo>
                      <a:pt x="742" y="117"/>
                    </a:lnTo>
                    <a:lnTo>
                      <a:pt x="740" y="115"/>
                    </a:lnTo>
                    <a:lnTo>
                      <a:pt x="740" y="117"/>
                    </a:lnTo>
                    <a:lnTo>
                      <a:pt x="740" y="115"/>
                    </a:lnTo>
                    <a:lnTo>
                      <a:pt x="738" y="115"/>
                    </a:lnTo>
                    <a:lnTo>
                      <a:pt x="736" y="115"/>
                    </a:lnTo>
                    <a:lnTo>
                      <a:pt x="738" y="115"/>
                    </a:lnTo>
                    <a:lnTo>
                      <a:pt x="736" y="115"/>
                    </a:lnTo>
                    <a:lnTo>
                      <a:pt x="738" y="115"/>
                    </a:lnTo>
                    <a:lnTo>
                      <a:pt x="736" y="115"/>
                    </a:lnTo>
                    <a:lnTo>
                      <a:pt x="738" y="115"/>
                    </a:lnTo>
                    <a:lnTo>
                      <a:pt x="736" y="115"/>
                    </a:lnTo>
                    <a:lnTo>
                      <a:pt x="738" y="115"/>
                    </a:lnTo>
                    <a:lnTo>
                      <a:pt x="738" y="117"/>
                    </a:lnTo>
                    <a:lnTo>
                      <a:pt x="738" y="115"/>
                    </a:lnTo>
                    <a:lnTo>
                      <a:pt x="738" y="117"/>
                    </a:lnTo>
                    <a:lnTo>
                      <a:pt x="740" y="117"/>
                    </a:lnTo>
                    <a:lnTo>
                      <a:pt x="742" y="117"/>
                    </a:lnTo>
                    <a:lnTo>
                      <a:pt x="742" y="119"/>
                    </a:lnTo>
                    <a:lnTo>
                      <a:pt x="742" y="117"/>
                    </a:lnTo>
                    <a:lnTo>
                      <a:pt x="742" y="119"/>
                    </a:lnTo>
                    <a:lnTo>
                      <a:pt x="744" y="119"/>
                    </a:lnTo>
                    <a:lnTo>
                      <a:pt x="746" y="119"/>
                    </a:lnTo>
                    <a:lnTo>
                      <a:pt x="748" y="119"/>
                    </a:lnTo>
                    <a:lnTo>
                      <a:pt x="750" y="119"/>
                    </a:lnTo>
                    <a:lnTo>
                      <a:pt x="750" y="121"/>
                    </a:lnTo>
                    <a:lnTo>
                      <a:pt x="750" y="123"/>
                    </a:lnTo>
                    <a:lnTo>
                      <a:pt x="748" y="123"/>
                    </a:lnTo>
                    <a:lnTo>
                      <a:pt x="748" y="125"/>
                    </a:lnTo>
                    <a:lnTo>
                      <a:pt x="746" y="127"/>
                    </a:lnTo>
                    <a:lnTo>
                      <a:pt x="744" y="127"/>
                    </a:lnTo>
                    <a:lnTo>
                      <a:pt x="744" y="129"/>
                    </a:lnTo>
                    <a:lnTo>
                      <a:pt x="744" y="127"/>
                    </a:lnTo>
                    <a:lnTo>
                      <a:pt x="742" y="127"/>
                    </a:lnTo>
                    <a:lnTo>
                      <a:pt x="740" y="127"/>
                    </a:lnTo>
                    <a:lnTo>
                      <a:pt x="738" y="125"/>
                    </a:lnTo>
                    <a:close/>
                    <a:moveTo>
                      <a:pt x="775" y="88"/>
                    </a:moveTo>
                    <a:lnTo>
                      <a:pt x="773" y="88"/>
                    </a:lnTo>
                    <a:lnTo>
                      <a:pt x="775" y="88"/>
                    </a:lnTo>
                    <a:lnTo>
                      <a:pt x="773" y="88"/>
                    </a:lnTo>
                    <a:lnTo>
                      <a:pt x="775" y="88"/>
                    </a:lnTo>
                    <a:close/>
                    <a:moveTo>
                      <a:pt x="825" y="69"/>
                    </a:moveTo>
                    <a:lnTo>
                      <a:pt x="827" y="69"/>
                    </a:lnTo>
                    <a:lnTo>
                      <a:pt x="825" y="69"/>
                    </a:lnTo>
                    <a:close/>
                    <a:moveTo>
                      <a:pt x="1065" y="27"/>
                    </a:moveTo>
                    <a:lnTo>
                      <a:pt x="1063" y="27"/>
                    </a:lnTo>
                    <a:lnTo>
                      <a:pt x="1063" y="29"/>
                    </a:lnTo>
                    <a:lnTo>
                      <a:pt x="1063" y="31"/>
                    </a:lnTo>
                    <a:lnTo>
                      <a:pt x="1065" y="31"/>
                    </a:lnTo>
                    <a:lnTo>
                      <a:pt x="1063" y="31"/>
                    </a:lnTo>
                    <a:lnTo>
                      <a:pt x="1063" y="32"/>
                    </a:lnTo>
                    <a:lnTo>
                      <a:pt x="1061" y="32"/>
                    </a:lnTo>
                    <a:lnTo>
                      <a:pt x="1059" y="32"/>
                    </a:lnTo>
                    <a:lnTo>
                      <a:pt x="1059" y="34"/>
                    </a:lnTo>
                    <a:lnTo>
                      <a:pt x="1059" y="32"/>
                    </a:lnTo>
                    <a:lnTo>
                      <a:pt x="1059" y="34"/>
                    </a:lnTo>
                    <a:lnTo>
                      <a:pt x="1059" y="32"/>
                    </a:lnTo>
                    <a:lnTo>
                      <a:pt x="1059" y="34"/>
                    </a:lnTo>
                    <a:lnTo>
                      <a:pt x="1059" y="36"/>
                    </a:lnTo>
                    <a:lnTo>
                      <a:pt x="1057" y="36"/>
                    </a:lnTo>
                    <a:lnTo>
                      <a:pt x="1059" y="36"/>
                    </a:lnTo>
                    <a:lnTo>
                      <a:pt x="1061" y="36"/>
                    </a:lnTo>
                    <a:lnTo>
                      <a:pt x="1059" y="36"/>
                    </a:lnTo>
                    <a:lnTo>
                      <a:pt x="1061" y="36"/>
                    </a:lnTo>
                    <a:lnTo>
                      <a:pt x="1061" y="38"/>
                    </a:lnTo>
                    <a:lnTo>
                      <a:pt x="1059" y="38"/>
                    </a:lnTo>
                    <a:lnTo>
                      <a:pt x="1057" y="38"/>
                    </a:lnTo>
                    <a:lnTo>
                      <a:pt x="1055" y="38"/>
                    </a:lnTo>
                    <a:lnTo>
                      <a:pt x="1055" y="40"/>
                    </a:lnTo>
                    <a:lnTo>
                      <a:pt x="1053" y="40"/>
                    </a:lnTo>
                    <a:lnTo>
                      <a:pt x="1055" y="40"/>
                    </a:lnTo>
                    <a:lnTo>
                      <a:pt x="1053" y="40"/>
                    </a:lnTo>
                    <a:lnTo>
                      <a:pt x="1053" y="42"/>
                    </a:lnTo>
                    <a:lnTo>
                      <a:pt x="1051" y="40"/>
                    </a:lnTo>
                    <a:lnTo>
                      <a:pt x="1049" y="40"/>
                    </a:lnTo>
                    <a:lnTo>
                      <a:pt x="1049" y="42"/>
                    </a:lnTo>
                    <a:lnTo>
                      <a:pt x="1049" y="40"/>
                    </a:lnTo>
                    <a:lnTo>
                      <a:pt x="1049" y="42"/>
                    </a:lnTo>
                    <a:lnTo>
                      <a:pt x="1049" y="44"/>
                    </a:lnTo>
                    <a:lnTo>
                      <a:pt x="1047" y="44"/>
                    </a:lnTo>
                    <a:lnTo>
                      <a:pt x="1047" y="42"/>
                    </a:lnTo>
                    <a:lnTo>
                      <a:pt x="1047" y="44"/>
                    </a:lnTo>
                    <a:lnTo>
                      <a:pt x="1046" y="42"/>
                    </a:lnTo>
                    <a:lnTo>
                      <a:pt x="1046" y="44"/>
                    </a:lnTo>
                    <a:lnTo>
                      <a:pt x="1047" y="44"/>
                    </a:lnTo>
                    <a:lnTo>
                      <a:pt x="1046" y="44"/>
                    </a:lnTo>
                    <a:lnTo>
                      <a:pt x="1044" y="44"/>
                    </a:lnTo>
                    <a:lnTo>
                      <a:pt x="1044" y="46"/>
                    </a:lnTo>
                    <a:lnTo>
                      <a:pt x="1046" y="46"/>
                    </a:lnTo>
                    <a:lnTo>
                      <a:pt x="1044" y="46"/>
                    </a:lnTo>
                    <a:lnTo>
                      <a:pt x="1042" y="46"/>
                    </a:lnTo>
                    <a:lnTo>
                      <a:pt x="1040" y="46"/>
                    </a:lnTo>
                    <a:lnTo>
                      <a:pt x="1038" y="46"/>
                    </a:lnTo>
                    <a:lnTo>
                      <a:pt x="1036" y="46"/>
                    </a:lnTo>
                    <a:lnTo>
                      <a:pt x="1034" y="46"/>
                    </a:lnTo>
                    <a:lnTo>
                      <a:pt x="1032" y="46"/>
                    </a:lnTo>
                    <a:lnTo>
                      <a:pt x="1030" y="46"/>
                    </a:lnTo>
                    <a:lnTo>
                      <a:pt x="1028" y="46"/>
                    </a:lnTo>
                    <a:lnTo>
                      <a:pt x="1026" y="46"/>
                    </a:lnTo>
                    <a:lnTo>
                      <a:pt x="1024" y="46"/>
                    </a:lnTo>
                    <a:lnTo>
                      <a:pt x="1024" y="48"/>
                    </a:lnTo>
                    <a:lnTo>
                      <a:pt x="1023" y="48"/>
                    </a:lnTo>
                    <a:lnTo>
                      <a:pt x="1021" y="48"/>
                    </a:lnTo>
                    <a:lnTo>
                      <a:pt x="1019" y="48"/>
                    </a:lnTo>
                    <a:lnTo>
                      <a:pt x="1017" y="48"/>
                    </a:lnTo>
                    <a:lnTo>
                      <a:pt x="1015" y="48"/>
                    </a:lnTo>
                    <a:lnTo>
                      <a:pt x="1013" y="48"/>
                    </a:lnTo>
                    <a:lnTo>
                      <a:pt x="1011" y="48"/>
                    </a:lnTo>
                    <a:lnTo>
                      <a:pt x="1009" y="48"/>
                    </a:lnTo>
                    <a:lnTo>
                      <a:pt x="1007" y="48"/>
                    </a:lnTo>
                    <a:lnTo>
                      <a:pt x="1005" y="48"/>
                    </a:lnTo>
                    <a:lnTo>
                      <a:pt x="1003" y="48"/>
                    </a:lnTo>
                    <a:lnTo>
                      <a:pt x="1001" y="46"/>
                    </a:lnTo>
                    <a:lnTo>
                      <a:pt x="1001" y="48"/>
                    </a:lnTo>
                    <a:lnTo>
                      <a:pt x="999" y="48"/>
                    </a:lnTo>
                    <a:lnTo>
                      <a:pt x="998" y="48"/>
                    </a:lnTo>
                    <a:lnTo>
                      <a:pt x="996" y="48"/>
                    </a:lnTo>
                    <a:lnTo>
                      <a:pt x="994" y="48"/>
                    </a:lnTo>
                    <a:lnTo>
                      <a:pt x="992" y="48"/>
                    </a:lnTo>
                    <a:lnTo>
                      <a:pt x="990" y="48"/>
                    </a:lnTo>
                    <a:lnTo>
                      <a:pt x="988" y="48"/>
                    </a:lnTo>
                    <a:lnTo>
                      <a:pt x="986" y="48"/>
                    </a:lnTo>
                    <a:lnTo>
                      <a:pt x="984" y="48"/>
                    </a:lnTo>
                    <a:lnTo>
                      <a:pt x="982" y="48"/>
                    </a:lnTo>
                    <a:lnTo>
                      <a:pt x="980" y="48"/>
                    </a:lnTo>
                    <a:lnTo>
                      <a:pt x="978" y="48"/>
                    </a:lnTo>
                    <a:lnTo>
                      <a:pt x="976" y="48"/>
                    </a:lnTo>
                    <a:lnTo>
                      <a:pt x="976" y="50"/>
                    </a:lnTo>
                    <a:lnTo>
                      <a:pt x="976" y="48"/>
                    </a:lnTo>
                    <a:lnTo>
                      <a:pt x="974" y="50"/>
                    </a:lnTo>
                    <a:lnTo>
                      <a:pt x="973" y="50"/>
                    </a:lnTo>
                    <a:lnTo>
                      <a:pt x="971" y="48"/>
                    </a:lnTo>
                    <a:lnTo>
                      <a:pt x="969" y="48"/>
                    </a:lnTo>
                    <a:lnTo>
                      <a:pt x="967" y="48"/>
                    </a:lnTo>
                    <a:lnTo>
                      <a:pt x="965" y="48"/>
                    </a:lnTo>
                    <a:lnTo>
                      <a:pt x="963" y="48"/>
                    </a:lnTo>
                    <a:lnTo>
                      <a:pt x="961" y="48"/>
                    </a:lnTo>
                    <a:lnTo>
                      <a:pt x="959" y="48"/>
                    </a:lnTo>
                    <a:lnTo>
                      <a:pt x="957" y="48"/>
                    </a:lnTo>
                    <a:lnTo>
                      <a:pt x="955" y="48"/>
                    </a:lnTo>
                    <a:lnTo>
                      <a:pt x="953" y="48"/>
                    </a:lnTo>
                    <a:lnTo>
                      <a:pt x="951" y="48"/>
                    </a:lnTo>
                    <a:lnTo>
                      <a:pt x="953" y="48"/>
                    </a:lnTo>
                    <a:lnTo>
                      <a:pt x="951" y="48"/>
                    </a:lnTo>
                    <a:lnTo>
                      <a:pt x="950" y="48"/>
                    </a:lnTo>
                    <a:lnTo>
                      <a:pt x="948" y="50"/>
                    </a:lnTo>
                    <a:lnTo>
                      <a:pt x="948" y="48"/>
                    </a:lnTo>
                    <a:lnTo>
                      <a:pt x="950" y="48"/>
                    </a:lnTo>
                    <a:lnTo>
                      <a:pt x="948" y="48"/>
                    </a:lnTo>
                    <a:lnTo>
                      <a:pt x="948" y="46"/>
                    </a:lnTo>
                    <a:lnTo>
                      <a:pt x="948" y="44"/>
                    </a:lnTo>
                    <a:lnTo>
                      <a:pt x="946" y="44"/>
                    </a:lnTo>
                    <a:lnTo>
                      <a:pt x="948" y="44"/>
                    </a:lnTo>
                    <a:lnTo>
                      <a:pt x="946" y="46"/>
                    </a:lnTo>
                    <a:lnTo>
                      <a:pt x="944" y="46"/>
                    </a:lnTo>
                    <a:lnTo>
                      <a:pt x="946" y="46"/>
                    </a:lnTo>
                    <a:lnTo>
                      <a:pt x="944" y="46"/>
                    </a:lnTo>
                    <a:lnTo>
                      <a:pt x="942" y="46"/>
                    </a:lnTo>
                    <a:lnTo>
                      <a:pt x="942" y="48"/>
                    </a:lnTo>
                    <a:lnTo>
                      <a:pt x="940" y="48"/>
                    </a:lnTo>
                    <a:lnTo>
                      <a:pt x="938" y="48"/>
                    </a:lnTo>
                    <a:lnTo>
                      <a:pt x="936" y="48"/>
                    </a:lnTo>
                    <a:lnTo>
                      <a:pt x="934" y="48"/>
                    </a:lnTo>
                    <a:lnTo>
                      <a:pt x="934" y="46"/>
                    </a:lnTo>
                    <a:lnTo>
                      <a:pt x="932" y="46"/>
                    </a:lnTo>
                    <a:lnTo>
                      <a:pt x="930" y="46"/>
                    </a:lnTo>
                    <a:lnTo>
                      <a:pt x="928" y="46"/>
                    </a:lnTo>
                    <a:lnTo>
                      <a:pt x="928" y="48"/>
                    </a:lnTo>
                    <a:lnTo>
                      <a:pt x="926" y="48"/>
                    </a:lnTo>
                    <a:lnTo>
                      <a:pt x="925" y="48"/>
                    </a:lnTo>
                    <a:lnTo>
                      <a:pt x="923" y="48"/>
                    </a:lnTo>
                    <a:lnTo>
                      <a:pt x="925" y="48"/>
                    </a:lnTo>
                    <a:lnTo>
                      <a:pt x="923" y="48"/>
                    </a:lnTo>
                    <a:lnTo>
                      <a:pt x="921" y="48"/>
                    </a:lnTo>
                    <a:lnTo>
                      <a:pt x="919" y="48"/>
                    </a:lnTo>
                    <a:lnTo>
                      <a:pt x="917" y="48"/>
                    </a:lnTo>
                    <a:lnTo>
                      <a:pt x="915" y="48"/>
                    </a:lnTo>
                    <a:lnTo>
                      <a:pt x="913" y="46"/>
                    </a:lnTo>
                    <a:lnTo>
                      <a:pt x="911" y="46"/>
                    </a:lnTo>
                    <a:lnTo>
                      <a:pt x="909" y="46"/>
                    </a:lnTo>
                    <a:lnTo>
                      <a:pt x="907" y="46"/>
                    </a:lnTo>
                    <a:lnTo>
                      <a:pt x="907" y="48"/>
                    </a:lnTo>
                    <a:lnTo>
                      <a:pt x="905" y="48"/>
                    </a:lnTo>
                    <a:lnTo>
                      <a:pt x="903" y="48"/>
                    </a:lnTo>
                    <a:lnTo>
                      <a:pt x="905" y="48"/>
                    </a:lnTo>
                    <a:lnTo>
                      <a:pt x="903" y="48"/>
                    </a:lnTo>
                    <a:lnTo>
                      <a:pt x="903" y="46"/>
                    </a:lnTo>
                    <a:lnTo>
                      <a:pt x="903" y="48"/>
                    </a:lnTo>
                    <a:lnTo>
                      <a:pt x="901" y="48"/>
                    </a:lnTo>
                    <a:lnTo>
                      <a:pt x="901" y="50"/>
                    </a:lnTo>
                    <a:lnTo>
                      <a:pt x="900" y="50"/>
                    </a:lnTo>
                    <a:lnTo>
                      <a:pt x="900" y="52"/>
                    </a:lnTo>
                    <a:lnTo>
                      <a:pt x="898" y="52"/>
                    </a:lnTo>
                    <a:lnTo>
                      <a:pt x="896" y="52"/>
                    </a:lnTo>
                    <a:lnTo>
                      <a:pt x="894" y="52"/>
                    </a:lnTo>
                    <a:lnTo>
                      <a:pt x="894" y="50"/>
                    </a:lnTo>
                    <a:lnTo>
                      <a:pt x="894" y="52"/>
                    </a:lnTo>
                    <a:lnTo>
                      <a:pt x="894" y="50"/>
                    </a:lnTo>
                    <a:lnTo>
                      <a:pt x="896" y="50"/>
                    </a:lnTo>
                    <a:lnTo>
                      <a:pt x="896" y="48"/>
                    </a:lnTo>
                    <a:lnTo>
                      <a:pt x="896" y="46"/>
                    </a:lnTo>
                    <a:lnTo>
                      <a:pt x="896" y="48"/>
                    </a:lnTo>
                    <a:lnTo>
                      <a:pt x="896" y="46"/>
                    </a:lnTo>
                    <a:lnTo>
                      <a:pt x="894" y="46"/>
                    </a:lnTo>
                    <a:lnTo>
                      <a:pt x="894" y="48"/>
                    </a:lnTo>
                    <a:lnTo>
                      <a:pt x="892" y="48"/>
                    </a:lnTo>
                    <a:lnTo>
                      <a:pt x="890" y="48"/>
                    </a:lnTo>
                    <a:lnTo>
                      <a:pt x="892" y="48"/>
                    </a:lnTo>
                    <a:lnTo>
                      <a:pt x="892" y="50"/>
                    </a:lnTo>
                    <a:lnTo>
                      <a:pt x="890" y="50"/>
                    </a:lnTo>
                    <a:lnTo>
                      <a:pt x="888" y="50"/>
                    </a:lnTo>
                    <a:lnTo>
                      <a:pt x="888" y="52"/>
                    </a:lnTo>
                    <a:lnTo>
                      <a:pt x="886" y="52"/>
                    </a:lnTo>
                    <a:lnTo>
                      <a:pt x="886" y="50"/>
                    </a:lnTo>
                    <a:lnTo>
                      <a:pt x="884" y="52"/>
                    </a:lnTo>
                    <a:lnTo>
                      <a:pt x="882" y="50"/>
                    </a:lnTo>
                    <a:lnTo>
                      <a:pt x="880" y="52"/>
                    </a:lnTo>
                    <a:lnTo>
                      <a:pt x="880" y="54"/>
                    </a:lnTo>
                    <a:lnTo>
                      <a:pt x="880" y="52"/>
                    </a:lnTo>
                    <a:lnTo>
                      <a:pt x="880" y="54"/>
                    </a:lnTo>
                    <a:lnTo>
                      <a:pt x="880" y="56"/>
                    </a:lnTo>
                    <a:lnTo>
                      <a:pt x="878" y="56"/>
                    </a:lnTo>
                    <a:lnTo>
                      <a:pt x="877" y="56"/>
                    </a:lnTo>
                    <a:lnTo>
                      <a:pt x="877" y="54"/>
                    </a:lnTo>
                    <a:lnTo>
                      <a:pt x="875" y="54"/>
                    </a:lnTo>
                    <a:lnTo>
                      <a:pt x="877" y="54"/>
                    </a:lnTo>
                    <a:lnTo>
                      <a:pt x="877" y="52"/>
                    </a:lnTo>
                    <a:lnTo>
                      <a:pt x="878" y="52"/>
                    </a:lnTo>
                    <a:lnTo>
                      <a:pt x="877" y="52"/>
                    </a:lnTo>
                    <a:lnTo>
                      <a:pt x="878" y="52"/>
                    </a:lnTo>
                    <a:lnTo>
                      <a:pt x="877" y="52"/>
                    </a:lnTo>
                    <a:lnTo>
                      <a:pt x="875" y="50"/>
                    </a:lnTo>
                    <a:lnTo>
                      <a:pt x="875" y="52"/>
                    </a:lnTo>
                    <a:lnTo>
                      <a:pt x="873" y="52"/>
                    </a:lnTo>
                    <a:lnTo>
                      <a:pt x="871" y="50"/>
                    </a:lnTo>
                    <a:lnTo>
                      <a:pt x="871" y="52"/>
                    </a:lnTo>
                    <a:lnTo>
                      <a:pt x="873" y="52"/>
                    </a:lnTo>
                    <a:lnTo>
                      <a:pt x="875" y="52"/>
                    </a:lnTo>
                    <a:lnTo>
                      <a:pt x="875" y="54"/>
                    </a:lnTo>
                    <a:lnTo>
                      <a:pt x="873" y="52"/>
                    </a:lnTo>
                    <a:lnTo>
                      <a:pt x="871" y="52"/>
                    </a:lnTo>
                    <a:lnTo>
                      <a:pt x="873" y="54"/>
                    </a:lnTo>
                    <a:lnTo>
                      <a:pt x="871" y="54"/>
                    </a:lnTo>
                    <a:lnTo>
                      <a:pt x="869" y="54"/>
                    </a:lnTo>
                    <a:lnTo>
                      <a:pt x="867" y="54"/>
                    </a:lnTo>
                    <a:lnTo>
                      <a:pt x="867" y="52"/>
                    </a:lnTo>
                    <a:lnTo>
                      <a:pt x="867" y="54"/>
                    </a:lnTo>
                    <a:lnTo>
                      <a:pt x="865" y="54"/>
                    </a:lnTo>
                    <a:lnTo>
                      <a:pt x="863" y="52"/>
                    </a:lnTo>
                    <a:lnTo>
                      <a:pt x="863" y="54"/>
                    </a:lnTo>
                    <a:lnTo>
                      <a:pt x="865" y="54"/>
                    </a:lnTo>
                    <a:lnTo>
                      <a:pt x="865" y="56"/>
                    </a:lnTo>
                    <a:lnTo>
                      <a:pt x="867" y="56"/>
                    </a:lnTo>
                    <a:lnTo>
                      <a:pt x="869" y="56"/>
                    </a:lnTo>
                    <a:lnTo>
                      <a:pt x="867" y="56"/>
                    </a:lnTo>
                    <a:lnTo>
                      <a:pt x="869" y="56"/>
                    </a:lnTo>
                    <a:lnTo>
                      <a:pt x="871" y="57"/>
                    </a:lnTo>
                    <a:lnTo>
                      <a:pt x="873" y="57"/>
                    </a:lnTo>
                    <a:lnTo>
                      <a:pt x="875" y="59"/>
                    </a:lnTo>
                    <a:lnTo>
                      <a:pt x="875" y="61"/>
                    </a:lnTo>
                    <a:lnTo>
                      <a:pt x="873" y="61"/>
                    </a:lnTo>
                    <a:lnTo>
                      <a:pt x="873" y="63"/>
                    </a:lnTo>
                    <a:lnTo>
                      <a:pt x="871" y="63"/>
                    </a:lnTo>
                    <a:lnTo>
                      <a:pt x="871" y="61"/>
                    </a:lnTo>
                    <a:lnTo>
                      <a:pt x="869" y="61"/>
                    </a:lnTo>
                    <a:lnTo>
                      <a:pt x="867" y="61"/>
                    </a:lnTo>
                    <a:lnTo>
                      <a:pt x="865" y="61"/>
                    </a:lnTo>
                    <a:lnTo>
                      <a:pt x="865" y="59"/>
                    </a:lnTo>
                    <a:lnTo>
                      <a:pt x="863" y="59"/>
                    </a:lnTo>
                    <a:lnTo>
                      <a:pt x="865" y="61"/>
                    </a:lnTo>
                    <a:lnTo>
                      <a:pt x="863" y="61"/>
                    </a:lnTo>
                    <a:lnTo>
                      <a:pt x="863" y="63"/>
                    </a:lnTo>
                    <a:lnTo>
                      <a:pt x="865" y="63"/>
                    </a:lnTo>
                    <a:lnTo>
                      <a:pt x="865" y="65"/>
                    </a:lnTo>
                    <a:lnTo>
                      <a:pt x="863" y="65"/>
                    </a:lnTo>
                    <a:lnTo>
                      <a:pt x="861" y="65"/>
                    </a:lnTo>
                    <a:lnTo>
                      <a:pt x="859" y="65"/>
                    </a:lnTo>
                    <a:lnTo>
                      <a:pt x="857" y="65"/>
                    </a:lnTo>
                    <a:lnTo>
                      <a:pt x="855" y="63"/>
                    </a:lnTo>
                    <a:lnTo>
                      <a:pt x="853" y="63"/>
                    </a:lnTo>
                    <a:lnTo>
                      <a:pt x="853" y="61"/>
                    </a:lnTo>
                    <a:lnTo>
                      <a:pt x="855" y="61"/>
                    </a:lnTo>
                    <a:lnTo>
                      <a:pt x="853" y="61"/>
                    </a:lnTo>
                    <a:lnTo>
                      <a:pt x="853" y="63"/>
                    </a:lnTo>
                    <a:lnTo>
                      <a:pt x="853" y="61"/>
                    </a:lnTo>
                    <a:lnTo>
                      <a:pt x="853" y="63"/>
                    </a:lnTo>
                    <a:lnTo>
                      <a:pt x="853" y="61"/>
                    </a:lnTo>
                    <a:lnTo>
                      <a:pt x="852" y="61"/>
                    </a:lnTo>
                    <a:lnTo>
                      <a:pt x="852" y="59"/>
                    </a:lnTo>
                    <a:lnTo>
                      <a:pt x="850" y="59"/>
                    </a:lnTo>
                    <a:lnTo>
                      <a:pt x="850" y="57"/>
                    </a:lnTo>
                    <a:lnTo>
                      <a:pt x="848" y="56"/>
                    </a:lnTo>
                    <a:lnTo>
                      <a:pt x="848" y="57"/>
                    </a:lnTo>
                    <a:lnTo>
                      <a:pt x="850" y="57"/>
                    </a:lnTo>
                    <a:lnTo>
                      <a:pt x="850" y="59"/>
                    </a:lnTo>
                    <a:lnTo>
                      <a:pt x="852" y="59"/>
                    </a:lnTo>
                    <a:lnTo>
                      <a:pt x="852" y="61"/>
                    </a:lnTo>
                    <a:lnTo>
                      <a:pt x="850" y="61"/>
                    </a:lnTo>
                    <a:lnTo>
                      <a:pt x="852" y="61"/>
                    </a:lnTo>
                    <a:lnTo>
                      <a:pt x="850" y="61"/>
                    </a:lnTo>
                    <a:lnTo>
                      <a:pt x="852" y="61"/>
                    </a:lnTo>
                    <a:lnTo>
                      <a:pt x="850" y="61"/>
                    </a:lnTo>
                    <a:lnTo>
                      <a:pt x="848" y="59"/>
                    </a:lnTo>
                    <a:lnTo>
                      <a:pt x="848" y="61"/>
                    </a:lnTo>
                    <a:lnTo>
                      <a:pt x="850" y="61"/>
                    </a:lnTo>
                    <a:lnTo>
                      <a:pt x="852" y="61"/>
                    </a:lnTo>
                    <a:lnTo>
                      <a:pt x="852" y="63"/>
                    </a:lnTo>
                    <a:lnTo>
                      <a:pt x="853" y="63"/>
                    </a:lnTo>
                    <a:lnTo>
                      <a:pt x="853" y="65"/>
                    </a:lnTo>
                    <a:lnTo>
                      <a:pt x="853" y="67"/>
                    </a:lnTo>
                    <a:lnTo>
                      <a:pt x="853" y="69"/>
                    </a:lnTo>
                    <a:lnTo>
                      <a:pt x="852" y="69"/>
                    </a:lnTo>
                    <a:lnTo>
                      <a:pt x="850" y="69"/>
                    </a:lnTo>
                    <a:lnTo>
                      <a:pt x="848" y="69"/>
                    </a:lnTo>
                    <a:lnTo>
                      <a:pt x="848" y="67"/>
                    </a:lnTo>
                    <a:lnTo>
                      <a:pt x="846" y="67"/>
                    </a:lnTo>
                    <a:lnTo>
                      <a:pt x="846" y="65"/>
                    </a:lnTo>
                    <a:lnTo>
                      <a:pt x="846" y="63"/>
                    </a:lnTo>
                    <a:lnTo>
                      <a:pt x="844" y="63"/>
                    </a:lnTo>
                    <a:lnTo>
                      <a:pt x="844" y="61"/>
                    </a:lnTo>
                    <a:lnTo>
                      <a:pt x="842" y="61"/>
                    </a:lnTo>
                    <a:lnTo>
                      <a:pt x="842" y="59"/>
                    </a:lnTo>
                    <a:lnTo>
                      <a:pt x="842" y="57"/>
                    </a:lnTo>
                    <a:lnTo>
                      <a:pt x="840" y="57"/>
                    </a:lnTo>
                    <a:lnTo>
                      <a:pt x="840" y="59"/>
                    </a:lnTo>
                    <a:lnTo>
                      <a:pt x="840" y="61"/>
                    </a:lnTo>
                    <a:lnTo>
                      <a:pt x="842" y="61"/>
                    </a:lnTo>
                    <a:lnTo>
                      <a:pt x="842" y="63"/>
                    </a:lnTo>
                    <a:lnTo>
                      <a:pt x="840" y="63"/>
                    </a:lnTo>
                    <a:lnTo>
                      <a:pt x="840" y="61"/>
                    </a:lnTo>
                    <a:lnTo>
                      <a:pt x="840" y="63"/>
                    </a:lnTo>
                    <a:lnTo>
                      <a:pt x="840" y="61"/>
                    </a:lnTo>
                    <a:lnTo>
                      <a:pt x="838" y="61"/>
                    </a:lnTo>
                    <a:lnTo>
                      <a:pt x="838" y="59"/>
                    </a:lnTo>
                    <a:lnTo>
                      <a:pt x="836" y="59"/>
                    </a:lnTo>
                    <a:lnTo>
                      <a:pt x="836" y="61"/>
                    </a:lnTo>
                    <a:lnTo>
                      <a:pt x="838" y="61"/>
                    </a:lnTo>
                    <a:lnTo>
                      <a:pt x="838" y="63"/>
                    </a:lnTo>
                    <a:lnTo>
                      <a:pt x="840" y="63"/>
                    </a:lnTo>
                    <a:lnTo>
                      <a:pt x="840" y="65"/>
                    </a:lnTo>
                    <a:lnTo>
                      <a:pt x="838" y="65"/>
                    </a:lnTo>
                    <a:lnTo>
                      <a:pt x="838" y="67"/>
                    </a:lnTo>
                    <a:lnTo>
                      <a:pt x="838" y="69"/>
                    </a:lnTo>
                    <a:lnTo>
                      <a:pt x="836" y="69"/>
                    </a:lnTo>
                    <a:lnTo>
                      <a:pt x="836" y="71"/>
                    </a:lnTo>
                    <a:lnTo>
                      <a:pt x="836" y="73"/>
                    </a:lnTo>
                    <a:lnTo>
                      <a:pt x="836" y="71"/>
                    </a:lnTo>
                    <a:lnTo>
                      <a:pt x="834" y="71"/>
                    </a:lnTo>
                    <a:lnTo>
                      <a:pt x="832" y="71"/>
                    </a:lnTo>
                    <a:lnTo>
                      <a:pt x="832" y="69"/>
                    </a:lnTo>
                    <a:lnTo>
                      <a:pt x="830" y="69"/>
                    </a:lnTo>
                    <a:lnTo>
                      <a:pt x="830" y="67"/>
                    </a:lnTo>
                    <a:lnTo>
                      <a:pt x="828" y="67"/>
                    </a:lnTo>
                    <a:lnTo>
                      <a:pt x="828" y="65"/>
                    </a:lnTo>
                    <a:lnTo>
                      <a:pt x="827" y="65"/>
                    </a:lnTo>
                    <a:lnTo>
                      <a:pt x="827" y="63"/>
                    </a:lnTo>
                    <a:lnTo>
                      <a:pt x="825" y="63"/>
                    </a:lnTo>
                    <a:lnTo>
                      <a:pt x="825" y="61"/>
                    </a:lnTo>
                    <a:lnTo>
                      <a:pt x="823" y="61"/>
                    </a:lnTo>
                    <a:lnTo>
                      <a:pt x="823" y="59"/>
                    </a:lnTo>
                    <a:lnTo>
                      <a:pt x="821" y="59"/>
                    </a:lnTo>
                    <a:lnTo>
                      <a:pt x="819" y="59"/>
                    </a:lnTo>
                    <a:lnTo>
                      <a:pt x="821" y="59"/>
                    </a:lnTo>
                    <a:lnTo>
                      <a:pt x="819" y="59"/>
                    </a:lnTo>
                    <a:lnTo>
                      <a:pt x="821" y="59"/>
                    </a:lnTo>
                    <a:lnTo>
                      <a:pt x="819" y="59"/>
                    </a:lnTo>
                    <a:lnTo>
                      <a:pt x="821" y="59"/>
                    </a:lnTo>
                    <a:lnTo>
                      <a:pt x="821" y="61"/>
                    </a:lnTo>
                    <a:lnTo>
                      <a:pt x="823" y="61"/>
                    </a:lnTo>
                    <a:lnTo>
                      <a:pt x="823" y="63"/>
                    </a:lnTo>
                    <a:lnTo>
                      <a:pt x="825" y="63"/>
                    </a:lnTo>
                    <a:lnTo>
                      <a:pt x="825" y="65"/>
                    </a:lnTo>
                    <a:lnTo>
                      <a:pt x="825" y="67"/>
                    </a:lnTo>
                    <a:lnTo>
                      <a:pt x="825" y="65"/>
                    </a:lnTo>
                    <a:lnTo>
                      <a:pt x="827" y="67"/>
                    </a:lnTo>
                    <a:lnTo>
                      <a:pt x="825" y="67"/>
                    </a:lnTo>
                    <a:lnTo>
                      <a:pt x="825" y="69"/>
                    </a:lnTo>
                    <a:lnTo>
                      <a:pt x="825" y="67"/>
                    </a:lnTo>
                    <a:lnTo>
                      <a:pt x="823" y="67"/>
                    </a:lnTo>
                    <a:lnTo>
                      <a:pt x="825" y="67"/>
                    </a:lnTo>
                    <a:lnTo>
                      <a:pt x="823" y="67"/>
                    </a:lnTo>
                    <a:lnTo>
                      <a:pt x="823" y="65"/>
                    </a:lnTo>
                    <a:lnTo>
                      <a:pt x="821" y="65"/>
                    </a:lnTo>
                    <a:lnTo>
                      <a:pt x="823" y="65"/>
                    </a:lnTo>
                    <a:lnTo>
                      <a:pt x="823" y="67"/>
                    </a:lnTo>
                    <a:lnTo>
                      <a:pt x="823" y="69"/>
                    </a:lnTo>
                    <a:lnTo>
                      <a:pt x="825" y="69"/>
                    </a:lnTo>
                    <a:lnTo>
                      <a:pt x="825" y="71"/>
                    </a:lnTo>
                    <a:lnTo>
                      <a:pt x="825" y="73"/>
                    </a:lnTo>
                    <a:lnTo>
                      <a:pt x="825" y="75"/>
                    </a:lnTo>
                    <a:lnTo>
                      <a:pt x="825" y="77"/>
                    </a:lnTo>
                    <a:lnTo>
                      <a:pt x="823" y="77"/>
                    </a:lnTo>
                    <a:lnTo>
                      <a:pt x="823" y="79"/>
                    </a:lnTo>
                    <a:lnTo>
                      <a:pt x="825" y="79"/>
                    </a:lnTo>
                    <a:lnTo>
                      <a:pt x="823" y="79"/>
                    </a:lnTo>
                    <a:lnTo>
                      <a:pt x="821" y="79"/>
                    </a:lnTo>
                    <a:lnTo>
                      <a:pt x="821" y="77"/>
                    </a:lnTo>
                    <a:lnTo>
                      <a:pt x="821" y="79"/>
                    </a:lnTo>
                    <a:lnTo>
                      <a:pt x="821" y="77"/>
                    </a:lnTo>
                    <a:lnTo>
                      <a:pt x="821" y="79"/>
                    </a:lnTo>
                    <a:lnTo>
                      <a:pt x="823" y="79"/>
                    </a:lnTo>
                    <a:lnTo>
                      <a:pt x="821" y="79"/>
                    </a:lnTo>
                    <a:lnTo>
                      <a:pt x="823" y="79"/>
                    </a:lnTo>
                    <a:lnTo>
                      <a:pt x="821" y="79"/>
                    </a:lnTo>
                    <a:lnTo>
                      <a:pt x="819" y="79"/>
                    </a:lnTo>
                    <a:lnTo>
                      <a:pt x="819" y="77"/>
                    </a:lnTo>
                    <a:lnTo>
                      <a:pt x="819" y="79"/>
                    </a:lnTo>
                    <a:lnTo>
                      <a:pt x="819" y="81"/>
                    </a:lnTo>
                    <a:lnTo>
                      <a:pt x="817" y="79"/>
                    </a:lnTo>
                    <a:lnTo>
                      <a:pt x="817" y="77"/>
                    </a:lnTo>
                    <a:lnTo>
                      <a:pt x="817" y="79"/>
                    </a:lnTo>
                    <a:lnTo>
                      <a:pt x="815" y="79"/>
                    </a:lnTo>
                    <a:lnTo>
                      <a:pt x="815" y="77"/>
                    </a:lnTo>
                    <a:lnTo>
                      <a:pt x="815" y="79"/>
                    </a:lnTo>
                    <a:lnTo>
                      <a:pt x="815" y="77"/>
                    </a:lnTo>
                    <a:lnTo>
                      <a:pt x="815" y="79"/>
                    </a:lnTo>
                    <a:lnTo>
                      <a:pt x="817" y="77"/>
                    </a:lnTo>
                    <a:lnTo>
                      <a:pt x="815" y="77"/>
                    </a:lnTo>
                    <a:lnTo>
                      <a:pt x="813" y="79"/>
                    </a:lnTo>
                    <a:lnTo>
                      <a:pt x="815" y="79"/>
                    </a:lnTo>
                    <a:lnTo>
                      <a:pt x="815" y="81"/>
                    </a:lnTo>
                    <a:lnTo>
                      <a:pt x="817" y="81"/>
                    </a:lnTo>
                    <a:lnTo>
                      <a:pt x="819" y="81"/>
                    </a:lnTo>
                    <a:lnTo>
                      <a:pt x="819" y="82"/>
                    </a:lnTo>
                    <a:lnTo>
                      <a:pt x="817" y="82"/>
                    </a:lnTo>
                    <a:lnTo>
                      <a:pt x="819" y="82"/>
                    </a:lnTo>
                    <a:lnTo>
                      <a:pt x="817" y="82"/>
                    </a:lnTo>
                    <a:lnTo>
                      <a:pt x="817" y="81"/>
                    </a:lnTo>
                    <a:lnTo>
                      <a:pt x="815" y="81"/>
                    </a:lnTo>
                    <a:lnTo>
                      <a:pt x="813" y="81"/>
                    </a:lnTo>
                    <a:lnTo>
                      <a:pt x="815" y="81"/>
                    </a:lnTo>
                    <a:lnTo>
                      <a:pt x="813" y="82"/>
                    </a:lnTo>
                    <a:lnTo>
                      <a:pt x="813" y="81"/>
                    </a:lnTo>
                    <a:lnTo>
                      <a:pt x="813" y="79"/>
                    </a:lnTo>
                    <a:lnTo>
                      <a:pt x="811" y="79"/>
                    </a:lnTo>
                    <a:lnTo>
                      <a:pt x="811" y="81"/>
                    </a:lnTo>
                    <a:lnTo>
                      <a:pt x="811" y="79"/>
                    </a:lnTo>
                    <a:lnTo>
                      <a:pt x="811" y="81"/>
                    </a:lnTo>
                    <a:lnTo>
                      <a:pt x="811" y="82"/>
                    </a:lnTo>
                    <a:lnTo>
                      <a:pt x="811" y="81"/>
                    </a:lnTo>
                    <a:lnTo>
                      <a:pt x="811" y="82"/>
                    </a:lnTo>
                    <a:lnTo>
                      <a:pt x="809" y="82"/>
                    </a:lnTo>
                    <a:lnTo>
                      <a:pt x="807" y="82"/>
                    </a:lnTo>
                    <a:lnTo>
                      <a:pt x="809" y="82"/>
                    </a:lnTo>
                    <a:lnTo>
                      <a:pt x="811" y="84"/>
                    </a:lnTo>
                    <a:lnTo>
                      <a:pt x="811" y="86"/>
                    </a:lnTo>
                    <a:lnTo>
                      <a:pt x="809" y="86"/>
                    </a:lnTo>
                    <a:lnTo>
                      <a:pt x="811" y="86"/>
                    </a:lnTo>
                    <a:lnTo>
                      <a:pt x="809" y="86"/>
                    </a:lnTo>
                    <a:lnTo>
                      <a:pt x="809" y="84"/>
                    </a:lnTo>
                    <a:lnTo>
                      <a:pt x="809" y="86"/>
                    </a:lnTo>
                    <a:lnTo>
                      <a:pt x="807" y="86"/>
                    </a:lnTo>
                    <a:lnTo>
                      <a:pt x="807" y="84"/>
                    </a:lnTo>
                    <a:lnTo>
                      <a:pt x="805" y="84"/>
                    </a:lnTo>
                    <a:lnTo>
                      <a:pt x="805" y="82"/>
                    </a:lnTo>
                    <a:lnTo>
                      <a:pt x="804" y="82"/>
                    </a:lnTo>
                    <a:lnTo>
                      <a:pt x="804" y="81"/>
                    </a:lnTo>
                    <a:lnTo>
                      <a:pt x="802" y="81"/>
                    </a:lnTo>
                    <a:lnTo>
                      <a:pt x="802" y="79"/>
                    </a:lnTo>
                    <a:lnTo>
                      <a:pt x="802" y="77"/>
                    </a:lnTo>
                    <a:lnTo>
                      <a:pt x="802" y="75"/>
                    </a:lnTo>
                    <a:lnTo>
                      <a:pt x="800" y="73"/>
                    </a:lnTo>
                    <a:lnTo>
                      <a:pt x="800" y="71"/>
                    </a:lnTo>
                    <a:lnTo>
                      <a:pt x="800" y="69"/>
                    </a:lnTo>
                    <a:lnTo>
                      <a:pt x="798" y="69"/>
                    </a:lnTo>
                    <a:lnTo>
                      <a:pt x="798" y="71"/>
                    </a:lnTo>
                    <a:lnTo>
                      <a:pt x="798" y="73"/>
                    </a:lnTo>
                    <a:lnTo>
                      <a:pt x="798" y="75"/>
                    </a:lnTo>
                    <a:lnTo>
                      <a:pt x="798" y="77"/>
                    </a:lnTo>
                    <a:lnTo>
                      <a:pt x="796" y="77"/>
                    </a:lnTo>
                    <a:lnTo>
                      <a:pt x="796" y="75"/>
                    </a:lnTo>
                    <a:lnTo>
                      <a:pt x="794" y="75"/>
                    </a:lnTo>
                    <a:lnTo>
                      <a:pt x="792" y="75"/>
                    </a:lnTo>
                    <a:lnTo>
                      <a:pt x="792" y="73"/>
                    </a:lnTo>
                    <a:lnTo>
                      <a:pt x="790" y="73"/>
                    </a:lnTo>
                    <a:lnTo>
                      <a:pt x="792" y="73"/>
                    </a:lnTo>
                    <a:lnTo>
                      <a:pt x="792" y="75"/>
                    </a:lnTo>
                    <a:lnTo>
                      <a:pt x="794" y="75"/>
                    </a:lnTo>
                    <a:lnTo>
                      <a:pt x="796" y="75"/>
                    </a:lnTo>
                    <a:lnTo>
                      <a:pt x="794" y="75"/>
                    </a:lnTo>
                    <a:lnTo>
                      <a:pt x="796" y="75"/>
                    </a:lnTo>
                    <a:lnTo>
                      <a:pt x="796" y="77"/>
                    </a:lnTo>
                    <a:lnTo>
                      <a:pt x="798" y="77"/>
                    </a:lnTo>
                    <a:lnTo>
                      <a:pt x="798" y="79"/>
                    </a:lnTo>
                    <a:lnTo>
                      <a:pt x="798" y="81"/>
                    </a:lnTo>
                    <a:lnTo>
                      <a:pt x="800" y="81"/>
                    </a:lnTo>
                    <a:lnTo>
                      <a:pt x="800" y="82"/>
                    </a:lnTo>
                    <a:lnTo>
                      <a:pt x="800" y="84"/>
                    </a:lnTo>
                    <a:lnTo>
                      <a:pt x="802" y="84"/>
                    </a:lnTo>
                    <a:lnTo>
                      <a:pt x="800" y="84"/>
                    </a:lnTo>
                    <a:lnTo>
                      <a:pt x="802" y="84"/>
                    </a:lnTo>
                    <a:lnTo>
                      <a:pt x="800" y="84"/>
                    </a:lnTo>
                    <a:lnTo>
                      <a:pt x="802" y="84"/>
                    </a:lnTo>
                    <a:lnTo>
                      <a:pt x="802" y="86"/>
                    </a:lnTo>
                    <a:lnTo>
                      <a:pt x="802" y="88"/>
                    </a:lnTo>
                    <a:lnTo>
                      <a:pt x="800" y="88"/>
                    </a:lnTo>
                    <a:lnTo>
                      <a:pt x="800" y="86"/>
                    </a:lnTo>
                    <a:lnTo>
                      <a:pt x="798" y="88"/>
                    </a:lnTo>
                    <a:lnTo>
                      <a:pt x="800" y="88"/>
                    </a:lnTo>
                    <a:lnTo>
                      <a:pt x="800" y="90"/>
                    </a:lnTo>
                    <a:lnTo>
                      <a:pt x="800" y="92"/>
                    </a:lnTo>
                    <a:lnTo>
                      <a:pt x="800" y="94"/>
                    </a:lnTo>
                    <a:lnTo>
                      <a:pt x="798" y="94"/>
                    </a:lnTo>
                    <a:lnTo>
                      <a:pt x="796" y="94"/>
                    </a:lnTo>
                    <a:lnTo>
                      <a:pt x="794" y="94"/>
                    </a:lnTo>
                    <a:lnTo>
                      <a:pt x="794" y="92"/>
                    </a:lnTo>
                    <a:lnTo>
                      <a:pt x="792" y="92"/>
                    </a:lnTo>
                    <a:lnTo>
                      <a:pt x="794" y="92"/>
                    </a:lnTo>
                    <a:lnTo>
                      <a:pt x="794" y="90"/>
                    </a:lnTo>
                    <a:lnTo>
                      <a:pt x="792" y="90"/>
                    </a:lnTo>
                    <a:lnTo>
                      <a:pt x="792" y="88"/>
                    </a:lnTo>
                    <a:lnTo>
                      <a:pt x="790" y="86"/>
                    </a:lnTo>
                    <a:lnTo>
                      <a:pt x="788" y="86"/>
                    </a:lnTo>
                    <a:lnTo>
                      <a:pt x="788" y="84"/>
                    </a:lnTo>
                    <a:lnTo>
                      <a:pt x="786" y="84"/>
                    </a:lnTo>
                    <a:lnTo>
                      <a:pt x="784" y="84"/>
                    </a:lnTo>
                    <a:lnTo>
                      <a:pt x="784" y="82"/>
                    </a:lnTo>
                    <a:lnTo>
                      <a:pt x="782" y="82"/>
                    </a:lnTo>
                    <a:lnTo>
                      <a:pt x="780" y="82"/>
                    </a:lnTo>
                    <a:lnTo>
                      <a:pt x="780" y="81"/>
                    </a:lnTo>
                    <a:lnTo>
                      <a:pt x="779" y="81"/>
                    </a:lnTo>
                    <a:lnTo>
                      <a:pt x="779" y="79"/>
                    </a:lnTo>
                    <a:lnTo>
                      <a:pt x="777" y="79"/>
                    </a:lnTo>
                    <a:lnTo>
                      <a:pt x="775" y="79"/>
                    </a:lnTo>
                    <a:lnTo>
                      <a:pt x="777" y="79"/>
                    </a:lnTo>
                    <a:lnTo>
                      <a:pt x="777" y="81"/>
                    </a:lnTo>
                    <a:lnTo>
                      <a:pt x="779" y="81"/>
                    </a:lnTo>
                    <a:lnTo>
                      <a:pt x="779" y="82"/>
                    </a:lnTo>
                    <a:lnTo>
                      <a:pt x="780" y="82"/>
                    </a:lnTo>
                    <a:lnTo>
                      <a:pt x="782" y="82"/>
                    </a:lnTo>
                    <a:lnTo>
                      <a:pt x="780" y="82"/>
                    </a:lnTo>
                    <a:lnTo>
                      <a:pt x="782" y="82"/>
                    </a:lnTo>
                    <a:lnTo>
                      <a:pt x="782" y="84"/>
                    </a:lnTo>
                    <a:lnTo>
                      <a:pt x="784" y="84"/>
                    </a:lnTo>
                    <a:lnTo>
                      <a:pt x="786" y="84"/>
                    </a:lnTo>
                    <a:lnTo>
                      <a:pt x="786" y="86"/>
                    </a:lnTo>
                    <a:lnTo>
                      <a:pt x="784" y="86"/>
                    </a:lnTo>
                    <a:lnTo>
                      <a:pt x="786" y="86"/>
                    </a:lnTo>
                    <a:lnTo>
                      <a:pt x="788" y="86"/>
                    </a:lnTo>
                    <a:lnTo>
                      <a:pt x="788" y="88"/>
                    </a:lnTo>
                    <a:lnTo>
                      <a:pt x="790" y="88"/>
                    </a:lnTo>
                    <a:lnTo>
                      <a:pt x="790" y="90"/>
                    </a:lnTo>
                    <a:lnTo>
                      <a:pt x="790" y="92"/>
                    </a:lnTo>
                    <a:lnTo>
                      <a:pt x="790" y="94"/>
                    </a:lnTo>
                    <a:lnTo>
                      <a:pt x="790" y="96"/>
                    </a:lnTo>
                    <a:lnTo>
                      <a:pt x="790" y="98"/>
                    </a:lnTo>
                    <a:lnTo>
                      <a:pt x="792" y="98"/>
                    </a:lnTo>
                    <a:lnTo>
                      <a:pt x="790" y="98"/>
                    </a:lnTo>
                    <a:lnTo>
                      <a:pt x="790" y="100"/>
                    </a:lnTo>
                    <a:lnTo>
                      <a:pt x="788" y="100"/>
                    </a:lnTo>
                    <a:lnTo>
                      <a:pt x="786" y="100"/>
                    </a:lnTo>
                    <a:lnTo>
                      <a:pt x="784" y="100"/>
                    </a:lnTo>
                    <a:lnTo>
                      <a:pt x="782" y="100"/>
                    </a:lnTo>
                    <a:lnTo>
                      <a:pt x="780" y="98"/>
                    </a:lnTo>
                    <a:lnTo>
                      <a:pt x="779" y="96"/>
                    </a:lnTo>
                    <a:lnTo>
                      <a:pt x="777" y="96"/>
                    </a:lnTo>
                    <a:lnTo>
                      <a:pt x="777" y="94"/>
                    </a:lnTo>
                    <a:lnTo>
                      <a:pt x="777" y="92"/>
                    </a:lnTo>
                    <a:lnTo>
                      <a:pt x="777" y="90"/>
                    </a:lnTo>
                    <a:lnTo>
                      <a:pt x="775" y="90"/>
                    </a:lnTo>
                    <a:lnTo>
                      <a:pt x="775" y="88"/>
                    </a:lnTo>
                    <a:lnTo>
                      <a:pt x="773" y="86"/>
                    </a:lnTo>
                    <a:lnTo>
                      <a:pt x="773" y="88"/>
                    </a:lnTo>
                    <a:lnTo>
                      <a:pt x="775" y="88"/>
                    </a:lnTo>
                    <a:lnTo>
                      <a:pt x="775" y="90"/>
                    </a:lnTo>
                    <a:lnTo>
                      <a:pt x="773" y="90"/>
                    </a:lnTo>
                    <a:lnTo>
                      <a:pt x="775" y="92"/>
                    </a:lnTo>
                    <a:lnTo>
                      <a:pt x="775" y="94"/>
                    </a:lnTo>
                    <a:lnTo>
                      <a:pt x="777" y="94"/>
                    </a:lnTo>
                    <a:lnTo>
                      <a:pt x="775" y="94"/>
                    </a:lnTo>
                    <a:lnTo>
                      <a:pt x="773" y="94"/>
                    </a:lnTo>
                    <a:lnTo>
                      <a:pt x="771" y="94"/>
                    </a:lnTo>
                    <a:lnTo>
                      <a:pt x="773" y="94"/>
                    </a:lnTo>
                    <a:lnTo>
                      <a:pt x="775" y="94"/>
                    </a:lnTo>
                    <a:lnTo>
                      <a:pt x="777" y="96"/>
                    </a:lnTo>
                    <a:lnTo>
                      <a:pt x="777" y="98"/>
                    </a:lnTo>
                    <a:lnTo>
                      <a:pt x="779" y="98"/>
                    </a:lnTo>
                    <a:lnTo>
                      <a:pt x="779" y="100"/>
                    </a:lnTo>
                    <a:lnTo>
                      <a:pt x="780" y="102"/>
                    </a:lnTo>
                    <a:lnTo>
                      <a:pt x="779" y="102"/>
                    </a:lnTo>
                    <a:lnTo>
                      <a:pt x="780" y="102"/>
                    </a:lnTo>
                    <a:lnTo>
                      <a:pt x="780" y="104"/>
                    </a:lnTo>
                    <a:lnTo>
                      <a:pt x="779" y="104"/>
                    </a:lnTo>
                    <a:lnTo>
                      <a:pt x="777" y="104"/>
                    </a:lnTo>
                    <a:lnTo>
                      <a:pt x="777" y="106"/>
                    </a:lnTo>
                    <a:lnTo>
                      <a:pt x="775" y="106"/>
                    </a:lnTo>
                    <a:lnTo>
                      <a:pt x="775" y="107"/>
                    </a:lnTo>
                    <a:lnTo>
                      <a:pt x="773" y="107"/>
                    </a:lnTo>
                    <a:lnTo>
                      <a:pt x="771" y="107"/>
                    </a:lnTo>
                    <a:lnTo>
                      <a:pt x="771" y="109"/>
                    </a:lnTo>
                    <a:lnTo>
                      <a:pt x="769" y="109"/>
                    </a:lnTo>
                    <a:lnTo>
                      <a:pt x="769" y="107"/>
                    </a:lnTo>
                    <a:lnTo>
                      <a:pt x="771" y="107"/>
                    </a:lnTo>
                    <a:lnTo>
                      <a:pt x="769" y="107"/>
                    </a:lnTo>
                    <a:lnTo>
                      <a:pt x="769" y="106"/>
                    </a:lnTo>
                    <a:lnTo>
                      <a:pt x="769" y="104"/>
                    </a:lnTo>
                    <a:lnTo>
                      <a:pt x="769" y="106"/>
                    </a:lnTo>
                    <a:lnTo>
                      <a:pt x="767" y="106"/>
                    </a:lnTo>
                    <a:lnTo>
                      <a:pt x="767" y="107"/>
                    </a:lnTo>
                    <a:lnTo>
                      <a:pt x="769" y="107"/>
                    </a:lnTo>
                    <a:lnTo>
                      <a:pt x="767" y="107"/>
                    </a:lnTo>
                    <a:lnTo>
                      <a:pt x="767" y="109"/>
                    </a:lnTo>
                    <a:lnTo>
                      <a:pt x="765" y="109"/>
                    </a:lnTo>
                    <a:lnTo>
                      <a:pt x="765" y="111"/>
                    </a:lnTo>
                    <a:lnTo>
                      <a:pt x="765" y="109"/>
                    </a:lnTo>
                    <a:lnTo>
                      <a:pt x="763" y="109"/>
                    </a:lnTo>
                    <a:lnTo>
                      <a:pt x="761" y="107"/>
                    </a:lnTo>
                    <a:lnTo>
                      <a:pt x="759" y="106"/>
                    </a:lnTo>
                    <a:lnTo>
                      <a:pt x="757" y="106"/>
                    </a:lnTo>
                    <a:lnTo>
                      <a:pt x="755" y="106"/>
                    </a:lnTo>
                    <a:lnTo>
                      <a:pt x="755" y="104"/>
                    </a:lnTo>
                    <a:lnTo>
                      <a:pt x="755" y="106"/>
                    </a:lnTo>
                    <a:lnTo>
                      <a:pt x="755" y="104"/>
                    </a:lnTo>
                    <a:lnTo>
                      <a:pt x="754" y="104"/>
                    </a:lnTo>
                    <a:lnTo>
                      <a:pt x="754" y="102"/>
                    </a:lnTo>
                    <a:lnTo>
                      <a:pt x="754" y="100"/>
                    </a:lnTo>
                    <a:lnTo>
                      <a:pt x="754" y="98"/>
                    </a:lnTo>
                    <a:lnTo>
                      <a:pt x="754" y="96"/>
                    </a:lnTo>
                    <a:lnTo>
                      <a:pt x="754" y="94"/>
                    </a:lnTo>
                    <a:lnTo>
                      <a:pt x="754" y="96"/>
                    </a:lnTo>
                    <a:lnTo>
                      <a:pt x="754" y="94"/>
                    </a:lnTo>
                    <a:lnTo>
                      <a:pt x="754" y="92"/>
                    </a:lnTo>
                    <a:lnTo>
                      <a:pt x="752" y="92"/>
                    </a:lnTo>
                    <a:lnTo>
                      <a:pt x="754" y="92"/>
                    </a:lnTo>
                    <a:lnTo>
                      <a:pt x="752" y="92"/>
                    </a:lnTo>
                    <a:lnTo>
                      <a:pt x="754" y="92"/>
                    </a:lnTo>
                    <a:lnTo>
                      <a:pt x="752" y="92"/>
                    </a:lnTo>
                    <a:lnTo>
                      <a:pt x="752" y="90"/>
                    </a:lnTo>
                    <a:lnTo>
                      <a:pt x="752" y="92"/>
                    </a:lnTo>
                    <a:lnTo>
                      <a:pt x="754" y="94"/>
                    </a:lnTo>
                    <a:lnTo>
                      <a:pt x="752" y="94"/>
                    </a:lnTo>
                    <a:lnTo>
                      <a:pt x="754" y="94"/>
                    </a:lnTo>
                    <a:lnTo>
                      <a:pt x="752" y="94"/>
                    </a:lnTo>
                    <a:lnTo>
                      <a:pt x="754" y="96"/>
                    </a:lnTo>
                    <a:lnTo>
                      <a:pt x="754" y="98"/>
                    </a:lnTo>
                    <a:lnTo>
                      <a:pt x="752" y="98"/>
                    </a:lnTo>
                    <a:lnTo>
                      <a:pt x="752" y="100"/>
                    </a:lnTo>
                    <a:lnTo>
                      <a:pt x="752" y="98"/>
                    </a:lnTo>
                    <a:lnTo>
                      <a:pt x="752" y="100"/>
                    </a:lnTo>
                    <a:lnTo>
                      <a:pt x="752" y="102"/>
                    </a:lnTo>
                    <a:lnTo>
                      <a:pt x="752" y="100"/>
                    </a:lnTo>
                    <a:lnTo>
                      <a:pt x="752" y="102"/>
                    </a:lnTo>
                    <a:lnTo>
                      <a:pt x="750" y="102"/>
                    </a:lnTo>
                    <a:lnTo>
                      <a:pt x="750" y="100"/>
                    </a:lnTo>
                    <a:lnTo>
                      <a:pt x="750" y="98"/>
                    </a:lnTo>
                    <a:lnTo>
                      <a:pt x="748" y="98"/>
                    </a:lnTo>
                    <a:lnTo>
                      <a:pt x="748" y="96"/>
                    </a:lnTo>
                    <a:lnTo>
                      <a:pt x="748" y="98"/>
                    </a:lnTo>
                    <a:lnTo>
                      <a:pt x="746" y="96"/>
                    </a:lnTo>
                    <a:lnTo>
                      <a:pt x="744" y="96"/>
                    </a:lnTo>
                    <a:lnTo>
                      <a:pt x="742" y="96"/>
                    </a:lnTo>
                    <a:lnTo>
                      <a:pt x="740" y="96"/>
                    </a:lnTo>
                    <a:lnTo>
                      <a:pt x="740" y="94"/>
                    </a:lnTo>
                    <a:lnTo>
                      <a:pt x="738" y="92"/>
                    </a:lnTo>
                    <a:lnTo>
                      <a:pt x="740" y="92"/>
                    </a:lnTo>
                    <a:lnTo>
                      <a:pt x="738" y="92"/>
                    </a:lnTo>
                    <a:lnTo>
                      <a:pt x="738" y="90"/>
                    </a:lnTo>
                    <a:lnTo>
                      <a:pt x="738" y="88"/>
                    </a:lnTo>
                    <a:lnTo>
                      <a:pt x="736" y="88"/>
                    </a:lnTo>
                    <a:lnTo>
                      <a:pt x="736" y="86"/>
                    </a:lnTo>
                    <a:lnTo>
                      <a:pt x="734" y="86"/>
                    </a:lnTo>
                    <a:lnTo>
                      <a:pt x="734" y="84"/>
                    </a:lnTo>
                    <a:lnTo>
                      <a:pt x="732" y="84"/>
                    </a:lnTo>
                    <a:lnTo>
                      <a:pt x="730" y="84"/>
                    </a:lnTo>
                    <a:lnTo>
                      <a:pt x="729" y="84"/>
                    </a:lnTo>
                    <a:lnTo>
                      <a:pt x="727" y="84"/>
                    </a:lnTo>
                    <a:lnTo>
                      <a:pt x="725" y="84"/>
                    </a:lnTo>
                    <a:lnTo>
                      <a:pt x="723" y="84"/>
                    </a:lnTo>
                    <a:lnTo>
                      <a:pt x="721" y="84"/>
                    </a:lnTo>
                    <a:lnTo>
                      <a:pt x="721" y="86"/>
                    </a:lnTo>
                    <a:lnTo>
                      <a:pt x="719" y="86"/>
                    </a:lnTo>
                    <a:lnTo>
                      <a:pt x="717" y="86"/>
                    </a:lnTo>
                    <a:lnTo>
                      <a:pt x="717" y="84"/>
                    </a:lnTo>
                    <a:lnTo>
                      <a:pt x="717" y="86"/>
                    </a:lnTo>
                    <a:lnTo>
                      <a:pt x="717" y="84"/>
                    </a:lnTo>
                    <a:lnTo>
                      <a:pt x="715" y="82"/>
                    </a:lnTo>
                    <a:lnTo>
                      <a:pt x="715" y="81"/>
                    </a:lnTo>
                    <a:lnTo>
                      <a:pt x="717" y="81"/>
                    </a:lnTo>
                    <a:lnTo>
                      <a:pt x="719" y="81"/>
                    </a:lnTo>
                    <a:lnTo>
                      <a:pt x="719" y="82"/>
                    </a:lnTo>
                    <a:lnTo>
                      <a:pt x="719" y="81"/>
                    </a:lnTo>
                    <a:lnTo>
                      <a:pt x="719" y="82"/>
                    </a:lnTo>
                    <a:lnTo>
                      <a:pt x="719" y="81"/>
                    </a:lnTo>
                    <a:lnTo>
                      <a:pt x="719" y="82"/>
                    </a:lnTo>
                    <a:lnTo>
                      <a:pt x="719" y="81"/>
                    </a:lnTo>
                    <a:lnTo>
                      <a:pt x="719" y="82"/>
                    </a:lnTo>
                    <a:lnTo>
                      <a:pt x="721" y="82"/>
                    </a:lnTo>
                    <a:lnTo>
                      <a:pt x="721" y="81"/>
                    </a:lnTo>
                    <a:lnTo>
                      <a:pt x="723" y="81"/>
                    </a:lnTo>
                    <a:lnTo>
                      <a:pt x="721" y="81"/>
                    </a:lnTo>
                    <a:lnTo>
                      <a:pt x="723" y="81"/>
                    </a:lnTo>
                    <a:lnTo>
                      <a:pt x="725" y="81"/>
                    </a:lnTo>
                    <a:lnTo>
                      <a:pt x="725" y="79"/>
                    </a:lnTo>
                    <a:lnTo>
                      <a:pt x="723" y="79"/>
                    </a:lnTo>
                    <a:lnTo>
                      <a:pt x="721" y="79"/>
                    </a:lnTo>
                    <a:lnTo>
                      <a:pt x="721" y="77"/>
                    </a:lnTo>
                    <a:lnTo>
                      <a:pt x="723" y="77"/>
                    </a:lnTo>
                    <a:lnTo>
                      <a:pt x="723" y="75"/>
                    </a:lnTo>
                    <a:lnTo>
                      <a:pt x="725" y="75"/>
                    </a:lnTo>
                    <a:lnTo>
                      <a:pt x="727" y="75"/>
                    </a:lnTo>
                    <a:lnTo>
                      <a:pt x="725" y="75"/>
                    </a:lnTo>
                    <a:lnTo>
                      <a:pt x="727" y="75"/>
                    </a:lnTo>
                    <a:lnTo>
                      <a:pt x="729" y="75"/>
                    </a:lnTo>
                    <a:lnTo>
                      <a:pt x="730" y="75"/>
                    </a:lnTo>
                    <a:lnTo>
                      <a:pt x="732" y="75"/>
                    </a:lnTo>
                    <a:lnTo>
                      <a:pt x="734" y="75"/>
                    </a:lnTo>
                    <a:lnTo>
                      <a:pt x="734" y="73"/>
                    </a:lnTo>
                    <a:lnTo>
                      <a:pt x="734" y="75"/>
                    </a:lnTo>
                    <a:lnTo>
                      <a:pt x="736" y="75"/>
                    </a:lnTo>
                    <a:lnTo>
                      <a:pt x="738" y="75"/>
                    </a:lnTo>
                    <a:lnTo>
                      <a:pt x="740" y="75"/>
                    </a:lnTo>
                    <a:lnTo>
                      <a:pt x="742" y="75"/>
                    </a:lnTo>
                    <a:lnTo>
                      <a:pt x="744" y="75"/>
                    </a:lnTo>
                    <a:lnTo>
                      <a:pt x="744" y="77"/>
                    </a:lnTo>
                    <a:lnTo>
                      <a:pt x="746" y="75"/>
                    </a:lnTo>
                    <a:lnTo>
                      <a:pt x="748" y="77"/>
                    </a:lnTo>
                    <a:lnTo>
                      <a:pt x="748" y="79"/>
                    </a:lnTo>
                    <a:lnTo>
                      <a:pt x="750" y="79"/>
                    </a:lnTo>
                    <a:lnTo>
                      <a:pt x="748" y="79"/>
                    </a:lnTo>
                    <a:lnTo>
                      <a:pt x="750" y="79"/>
                    </a:lnTo>
                    <a:lnTo>
                      <a:pt x="748" y="79"/>
                    </a:lnTo>
                    <a:lnTo>
                      <a:pt x="750" y="79"/>
                    </a:lnTo>
                    <a:lnTo>
                      <a:pt x="750" y="81"/>
                    </a:lnTo>
                    <a:lnTo>
                      <a:pt x="752" y="81"/>
                    </a:lnTo>
                    <a:lnTo>
                      <a:pt x="752" y="82"/>
                    </a:lnTo>
                    <a:lnTo>
                      <a:pt x="752" y="81"/>
                    </a:lnTo>
                    <a:lnTo>
                      <a:pt x="752" y="82"/>
                    </a:lnTo>
                    <a:lnTo>
                      <a:pt x="754" y="82"/>
                    </a:lnTo>
                    <a:lnTo>
                      <a:pt x="752" y="82"/>
                    </a:lnTo>
                    <a:lnTo>
                      <a:pt x="754" y="82"/>
                    </a:lnTo>
                    <a:lnTo>
                      <a:pt x="754" y="81"/>
                    </a:lnTo>
                    <a:lnTo>
                      <a:pt x="752" y="81"/>
                    </a:lnTo>
                    <a:lnTo>
                      <a:pt x="752" y="79"/>
                    </a:lnTo>
                    <a:lnTo>
                      <a:pt x="750" y="79"/>
                    </a:lnTo>
                    <a:lnTo>
                      <a:pt x="748" y="77"/>
                    </a:lnTo>
                    <a:lnTo>
                      <a:pt x="748" y="75"/>
                    </a:lnTo>
                    <a:lnTo>
                      <a:pt x="746" y="75"/>
                    </a:lnTo>
                    <a:lnTo>
                      <a:pt x="744" y="75"/>
                    </a:lnTo>
                    <a:lnTo>
                      <a:pt x="742" y="75"/>
                    </a:lnTo>
                    <a:lnTo>
                      <a:pt x="742" y="73"/>
                    </a:lnTo>
                    <a:lnTo>
                      <a:pt x="744" y="73"/>
                    </a:lnTo>
                    <a:lnTo>
                      <a:pt x="746" y="73"/>
                    </a:lnTo>
                    <a:lnTo>
                      <a:pt x="746" y="75"/>
                    </a:lnTo>
                    <a:lnTo>
                      <a:pt x="746" y="73"/>
                    </a:lnTo>
                    <a:lnTo>
                      <a:pt x="748" y="73"/>
                    </a:lnTo>
                    <a:lnTo>
                      <a:pt x="746" y="73"/>
                    </a:lnTo>
                    <a:lnTo>
                      <a:pt x="748" y="73"/>
                    </a:lnTo>
                    <a:lnTo>
                      <a:pt x="746" y="73"/>
                    </a:lnTo>
                    <a:lnTo>
                      <a:pt x="744" y="73"/>
                    </a:lnTo>
                    <a:lnTo>
                      <a:pt x="742" y="73"/>
                    </a:lnTo>
                    <a:lnTo>
                      <a:pt x="744" y="73"/>
                    </a:lnTo>
                    <a:lnTo>
                      <a:pt x="742" y="73"/>
                    </a:lnTo>
                    <a:lnTo>
                      <a:pt x="744" y="73"/>
                    </a:lnTo>
                    <a:lnTo>
                      <a:pt x="742" y="73"/>
                    </a:lnTo>
                    <a:lnTo>
                      <a:pt x="742" y="75"/>
                    </a:lnTo>
                    <a:lnTo>
                      <a:pt x="742" y="73"/>
                    </a:lnTo>
                    <a:lnTo>
                      <a:pt x="740" y="73"/>
                    </a:lnTo>
                    <a:lnTo>
                      <a:pt x="738" y="73"/>
                    </a:lnTo>
                    <a:lnTo>
                      <a:pt x="736" y="73"/>
                    </a:lnTo>
                    <a:lnTo>
                      <a:pt x="738" y="73"/>
                    </a:lnTo>
                    <a:lnTo>
                      <a:pt x="738" y="71"/>
                    </a:lnTo>
                    <a:lnTo>
                      <a:pt x="738" y="73"/>
                    </a:lnTo>
                    <a:lnTo>
                      <a:pt x="738" y="71"/>
                    </a:lnTo>
                    <a:lnTo>
                      <a:pt x="736" y="71"/>
                    </a:lnTo>
                    <a:lnTo>
                      <a:pt x="734" y="71"/>
                    </a:lnTo>
                    <a:lnTo>
                      <a:pt x="732" y="71"/>
                    </a:lnTo>
                    <a:lnTo>
                      <a:pt x="730" y="69"/>
                    </a:lnTo>
                    <a:lnTo>
                      <a:pt x="730" y="71"/>
                    </a:lnTo>
                    <a:lnTo>
                      <a:pt x="730" y="69"/>
                    </a:lnTo>
                    <a:lnTo>
                      <a:pt x="729" y="71"/>
                    </a:lnTo>
                    <a:lnTo>
                      <a:pt x="727" y="71"/>
                    </a:lnTo>
                    <a:lnTo>
                      <a:pt x="725" y="71"/>
                    </a:lnTo>
                    <a:lnTo>
                      <a:pt x="723" y="71"/>
                    </a:lnTo>
                    <a:lnTo>
                      <a:pt x="721" y="71"/>
                    </a:lnTo>
                    <a:lnTo>
                      <a:pt x="721" y="69"/>
                    </a:lnTo>
                    <a:lnTo>
                      <a:pt x="721" y="71"/>
                    </a:lnTo>
                    <a:lnTo>
                      <a:pt x="721" y="69"/>
                    </a:lnTo>
                    <a:lnTo>
                      <a:pt x="719" y="69"/>
                    </a:lnTo>
                    <a:lnTo>
                      <a:pt x="721" y="69"/>
                    </a:lnTo>
                    <a:lnTo>
                      <a:pt x="719" y="69"/>
                    </a:lnTo>
                    <a:lnTo>
                      <a:pt x="719" y="67"/>
                    </a:lnTo>
                    <a:lnTo>
                      <a:pt x="719" y="65"/>
                    </a:lnTo>
                    <a:lnTo>
                      <a:pt x="717" y="65"/>
                    </a:lnTo>
                    <a:lnTo>
                      <a:pt x="719" y="65"/>
                    </a:lnTo>
                    <a:lnTo>
                      <a:pt x="717" y="65"/>
                    </a:lnTo>
                    <a:lnTo>
                      <a:pt x="717" y="63"/>
                    </a:lnTo>
                    <a:lnTo>
                      <a:pt x="717" y="61"/>
                    </a:lnTo>
                    <a:lnTo>
                      <a:pt x="715" y="61"/>
                    </a:lnTo>
                    <a:lnTo>
                      <a:pt x="715" y="59"/>
                    </a:lnTo>
                    <a:lnTo>
                      <a:pt x="717" y="57"/>
                    </a:lnTo>
                    <a:lnTo>
                      <a:pt x="717" y="59"/>
                    </a:lnTo>
                    <a:lnTo>
                      <a:pt x="719" y="59"/>
                    </a:lnTo>
                    <a:lnTo>
                      <a:pt x="719" y="61"/>
                    </a:lnTo>
                    <a:lnTo>
                      <a:pt x="721" y="61"/>
                    </a:lnTo>
                    <a:lnTo>
                      <a:pt x="723" y="61"/>
                    </a:lnTo>
                    <a:lnTo>
                      <a:pt x="723" y="59"/>
                    </a:lnTo>
                    <a:lnTo>
                      <a:pt x="725" y="59"/>
                    </a:lnTo>
                    <a:lnTo>
                      <a:pt x="725" y="57"/>
                    </a:lnTo>
                    <a:lnTo>
                      <a:pt x="725" y="59"/>
                    </a:lnTo>
                    <a:lnTo>
                      <a:pt x="727" y="59"/>
                    </a:lnTo>
                    <a:lnTo>
                      <a:pt x="727" y="57"/>
                    </a:lnTo>
                    <a:lnTo>
                      <a:pt x="729" y="57"/>
                    </a:lnTo>
                    <a:lnTo>
                      <a:pt x="730" y="57"/>
                    </a:lnTo>
                    <a:lnTo>
                      <a:pt x="732" y="57"/>
                    </a:lnTo>
                    <a:lnTo>
                      <a:pt x="734" y="57"/>
                    </a:lnTo>
                    <a:lnTo>
                      <a:pt x="736" y="57"/>
                    </a:lnTo>
                    <a:lnTo>
                      <a:pt x="736" y="59"/>
                    </a:lnTo>
                    <a:lnTo>
                      <a:pt x="736" y="57"/>
                    </a:lnTo>
                    <a:lnTo>
                      <a:pt x="736" y="59"/>
                    </a:lnTo>
                    <a:lnTo>
                      <a:pt x="738" y="59"/>
                    </a:lnTo>
                    <a:lnTo>
                      <a:pt x="738" y="57"/>
                    </a:lnTo>
                    <a:lnTo>
                      <a:pt x="740" y="57"/>
                    </a:lnTo>
                    <a:lnTo>
                      <a:pt x="740" y="59"/>
                    </a:lnTo>
                    <a:lnTo>
                      <a:pt x="742" y="59"/>
                    </a:lnTo>
                    <a:lnTo>
                      <a:pt x="742" y="61"/>
                    </a:lnTo>
                    <a:lnTo>
                      <a:pt x="742" y="63"/>
                    </a:lnTo>
                    <a:lnTo>
                      <a:pt x="744" y="63"/>
                    </a:lnTo>
                    <a:lnTo>
                      <a:pt x="742" y="61"/>
                    </a:lnTo>
                    <a:lnTo>
                      <a:pt x="742" y="59"/>
                    </a:lnTo>
                    <a:lnTo>
                      <a:pt x="740" y="59"/>
                    </a:lnTo>
                    <a:lnTo>
                      <a:pt x="742" y="59"/>
                    </a:lnTo>
                    <a:lnTo>
                      <a:pt x="742" y="57"/>
                    </a:lnTo>
                    <a:lnTo>
                      <a:pt x="740" y="57"/>
                    </a:lnTo>
                    <a:lnTo>
                      <a:pt x="738" y="57"/>
                    </a:lnTo>
                    <a:lnTo>
                      <a:pt x="738" y="56"/>
                    </a:lnTo>
                    <a:lnTo>
                      <a:pt x="738" y="54"/>
                    </a:lnTo>
                    <a:lnTo>
                      <a:pt x="740" y="54"/>
                    </a:lnTo>
                    <a:lnTo>
                      <a:pt x="742" y="54"/>
                    </a:lnTo>
                    <a:lnTo>
                      <a:pt x="744" y="54"/>
                    </a:lnTo>
                    <a:lnTo>
                      <a:pt x="746" y="54"/>
                    </a:lnTo>
                    <a:lnTo>
                      <a:pt x="746" y="52"/>
                    </a:lnTo>
                    <a:lnTo>
                      <a:pt x="746" y="54"/>
                    </a:lnTo>
                    <a:lnTo>
                      <a:pt x="746" y="52"/>
                    </a:lnTo>
                    <a:lnTo>
                      <a:pt x="748" y="52"/>
                    </a:lnTo>
                    <a:lnTo>
                      <a:pt x="750" y="52"/>
                    </a:lnTo>
                    <a:lnTo>
                      <a:pt x="752" y="54"/>
                    </a:lnTo>
                    <a:lnTo>
                      <a:pt x="752" y="52"/>
                    </a:lnTo>
                    <a:lnTo>
                      <a:pt x="752" y="54"/>
                    </a:lnTo>
                    <a:lnTo>
                      <a:pt x="752" y="52"/>
                    </a:lnTo>
                    <a:lnTo>
                      <a:pt x="752" y="54"/>
                    </a:lnTo>
                    <a:lnTo>
                      <a:pt x="752" y="52"/>
                    </a:lnTo>
                    <a:lnTo>
                      <a:pt x="752" y="54"/>
                    </a:lnTo>
                    <a:lnTo>
                      <a:pt x="754" y="52"/>
                    </a:lnTo>
                    <a:lnTo>
                      <a:pt x="754" y="54"/>
                    </a:lnTo>
                    <a:lnTo>
                      <a:pt x="754" y="56"/>
                    </a:lnTo>
                    <a:lnTo>
                      <a:pt x="755" y="56"/>
                    </a:lnTo>
                    <a:lnTo>
                      <a:pt x="755" y="57"/>
                    </a:lnTo>
                    <a:lnTo>
                      <a:pt x="757" y="57"/>
                    </a:lnTo>
                    <a:lnTo>
                      <a:pt x="759" y="57"/>
                    </a:lnTo>
                    <a:lnTo>
                      <a:pt x="759" y="59"/>
                    </a:lnTo>
                    <a:lnTo>
                      <a:pt x="761" y="59"/>
                    </a:lnTo>
                    <a:lnTo>
                      <a:pt x="759" y="59"/>
                    </a:lnTo>
                    <a:lnTo>
                      <a:pt x="761" y="59"/>
                    </a:lnTo>
                    <a:lnTo>
                      <a:pt x="763" y="59"/>
                    </a:lnTo>
                    <a:lnTo>
                      <a:pt x="763" y="61"/>
                    </a:lnTo>
                    <a:lnTo>
                      <a:pt x="763" y="63"/>
                    </a:lnTo>
                    <a:lnTo>
                      <a:pt x="765" y="63"/>
                    </a:lnTo>
                    <a:lnTo>
                      <a:pt x="765" y="65"/>
                    </a:lnTo>
                    <a:lnTo>
                      <a:pt x="767" y="65"/>
                    </a:lnTo>
                    <a:lnTo>
                      <a:pt x="767" y="67"/>
                    </a:lnTo>
                    <a:lnTo>
                      <a:pt x="769" y="67"/>
                    </a:lnTo>
                    <a:lnTo>
                      <a:pt x="771" y="67"/>
                    </a:lnTo>
                    <a:lnTo>
                      <a:pt x="773" y="67"/>
                    </a:lnTo>
                    <a:lnTo>
                      <a:pt x="773" y="69"/>
                    </a:lnTo>
                    <a:lnTo>
                      <a:pt x="773" y="67"/>
                    </a:lnTo>
                    <a:lnTo>
                      <a:pt x="771" y="67"/>
                    </a:lnTo>
                    <a:lnTo>
                      <a:pt x="773" y="67"/>
                    </a:lnTo>
                    <a:lnTo>
                      <a:pt x="771" y="67"/>
                    </a:lnTo>
                    <a:lnTo>
                      <a:pt x="769" y="67"/>
                    </a:lnTo>
                    <a:lnTo>
                      <a:pt x="769" y="65"/>
                    </a:lnTo>
                    <a:lnTo>
                      <a:pt x="769" y="67"/>
                    </a:lnTo>
                    <a:lnTo>
                      <a:pt x="769" y="65"/>
                    </a:lnTo>
                    <a:lnTo>
                      <a:pt x="769" y="67"/>
                    </a:lnTo>
                    <a:lnTo>
                      <a:pt x="769" y="65"/>
                    </a:lnTo>
                    <a:lnTo>
                      <a:pt x="767" y="65"/>
                    </a:lnTo>
                    <a:lnTo>
                      <a:pt x="769" y="65"/>
                    </a:lnTo>
                    <a:lnTo>
                      <a:pt x="767" y="65"/>
                    </a:lnTo>
                    <a:lnTo>
                      <a:pt x="765" y="65"/>
                    </a:lnTo>
                    <a:lnTo>
                      <a:pt x="767" y="65"/>
                    </a:lnTo>
                    <a:lnTo>
                      <a:pt x="765" y="63"/>
                    </a:lnTo>
                    <a:lnTo>
                      <a:pt x="765" y="61"/>
                    </a:lnTo>
                    <a:lnTo>
                      <a:pt x="767" y="61"/>
                    </a:lnTo>
                    <a:lnTo>
                      <a:pt x="765" y="61"/>
                    </a:lnTo>
                    <a:lnTo>
                      <a:pt x="765" y="59"/>
                    </a:lnTo>
                    <a:lnTo>
                      <a:pt x="763" y="59"/>
                    </a:lnTo>
                    <a:lnTo>
                      <a:pt x="761" y="57"/>
                    </a:lnTo>
                    <a:lnTo>
                      <a:pt x="761" y="56"/>
                    </a:lnTo>
                    <a:lnTo>
                      <a:pt x="761" y="54"/>
                    </a:lnTo>
                    <a:lnTo>
                      <a:pt x="759" y="54"/>
                    </a:lnTo>
                    <a:lnTo>
                      <a:pt x="759" y="52"/>
                    </a:lnTo>
                    <a:lnTo>
                      <a:pt x="757" y="52"/>
                    </a:lnTo>
                    <a:lnTo>
                      <a:pt x="755" y="52"/>
                    </a:lnTo>
                    <a:lnTo>
                      <a:pt x="755" y="50"/>
                    </a:lnTo>
                    <a:lnTo>
                      <a:pt x="754" y="50"/>
                    </a:lnTo>
                    <a:lnTo>
                      <a:pt x="754" y="48"/>
                    </a:lnTo>
                    <a:lnTo>
                      <a:pt x="755" y="48"/>
                    </a:lnTo>
                    <a:lnTo>
                      <a:pt x="757" y="48"/>
                    </a:lnTo>
                    <a:lnTo>
                      <a:pt x="755" y="48"/>
                    </a:lnTo>
                    <a:lnTo>
                      <a:pt x="757" y="50"/>
                    </a:lnTo>
                    <a:lnTo>
                      <a:pt x="759" y="50"/>
                    </a:lnTo>
                    <a:lnTo>
                      <a:pt x="761" y="50"/>
                    </a:lnTo>
                    <a:lnTo>
                      <a:pt x="763" y="52"/>
                    </a:lnTo>
                    <a:lnTo>
                      <a:pt x="765" y="52"/>
                    </a:lnTo>
                    <a:lnTo>
                      <a:pt x="763" y="52"/>
                    </a:lnTo>
                    <a:lnTo>
                      <a:pt x="765" y="54"/>
                    </a:lnTo>
                    <a:lnTo>
                      <a:pt x="765" y="52"/>
                    </a:lnTo>
                    <a:lnTo>
                      <a:pt x="765" y="54"/>
                    </a:lnTo>
                    <a:lnTo>
                      <a:pt x="767" y="52"/>
                    </a:lnTo>
                    <a:lnTo>
                      <a:pt x="767" y="50"/>
                    </a:lnTo>
                    <a:lnTo>
                      <a:pt x="765" y="50"/>
                    </a:lnTo>
                    <a:lnTo>
                      <a:pt x="763" y="48"/>
                    </a:lnTo>
                    <a:lnTo>
                      <a:pt x="763" y="46"/>
                    </a:lnTo>
                    <a:lnTo>
                      <a:pt x="761" y="46"/>
                    </a:lnTo>
                    <a:lnTo>
                      <a:pt x="759" y="46"/>
                    </a:lnTo>
                    <a:lnTo>
                      <a:pt x="759" y="44"/>
                    </a:lnTo>
                    <a:lnTo>
                      <a:pt x="761" y="44"/>
                    </a:lnTo>
                    <a:lnTo>
                      <a:pt x="761" y="42"/>
                    </a:lnTo>
                    <a:lnTo>
                      <a:pt x="763" y="44"/>
                    </a:lnTo>
                    <a:lnTo>
                      <a:pt x="765" y="44"/>
                    </a:lnTo>
                    <a:lnTo>
                      <a:pt x="767" y="44"/>
                    </a:lnTo>
                    <a:lnTo>
                      <a:pt x="769" y="44"/>
                    </a:lnTo>
                    <a:lnTo>
                      <a:pt x="769" y="46"/>
                    </a:lnTo>
                    <a:lnTo>
                      <a:pt x="769" y="44"/>
                    </a:lnTo>
                    <a:lnTo>
                      <a:pt x="769" y="46"/>
                    </a:lnTo>
                    <a:lnTo>
                      <a:pt x="771" y="46"/>
                    </a:lnTo>
                    <a:lnTo>
                      <a:pt x="773" y="46"/>
                    </a:lnTo>
                    <a:lnTo>
                      <a:pt x="775" y="46"/>
                    </a:lnTo>
                    <a:lnTo>
                      <a:pt x="775" y="48"/>
                    </a:lnTo>
                    <a:lnTo>
                      <a:pt x="777" y="48"/>
                    </a:lnTo>
                    <a:lnTo>
                      <a:pt x="779" y="48"/>
                    </a:lnTo>
                    <a:lnTo>
                      <a:pt x="780" y="48"/>
                    </a:lnTo>
                    <a:lnTo>
                      <a:pt x="782" y="48"/>
                    </a:lnTo>
                    <a:lnTo>
                      <a:pt x="782" y="50"/>
                    </a:lnTo>
                    <a:lnTo>
                      <a:pt x="784" y="50"/>
                    </a:lnTo>
                    <a:lnTo>
                      <a:pt x="784" y="52"/>
                    </a:lnTo>
                    <a:lnTo>
                      <a:pt x="786" y="52"/>
                    </a:lnTo>
                    <a:lnTo>
                      <a:pt x="786" y="54"/>
                    </a:lnTo>
                    <a:lnTo>
                      <a:pt x="788" y="54"/>
                    </a:lnTo>
                    <a:lnTo>
                      <a:pt x="790" y="54"/>
                    </a:lnTo>
                    <a:lnTo>
                      <a:pt x="790" y="56"/>
                    </a:lnTo>
                    <a:lnTo>
                      <a:pt x="792" y="57"/>
                    </a:lnTo>
                    <a:lnTo>
                      <a:pt x="792" y="59"/>
                    </a:lnTo>
                    <a:lnTo>
                      <a:pt x="794" y="59"/>
                    </a:lnTo>
                    <a:lnTo>
                      <a:pt x="794" y="57"/>
                    </a:lnTo>
                    <a:lnTo>
                      <a:pt x="792" y="57"/>
                    </a:lnTo>
                    <a:lnTo>
                      <a:pt x="792" y="56"/>
                    </a:lnTo>
                    <a:lnTo>
                      <a:pt x="790" y="56"/>
                    </a:lnTo>
                    <a:lnTo>
                      <a:pt x="792" y="56"/>
                    </a:lnTo>
                    <a:lnTo>
                      <a:pt x="792" y="54"/>
                    </a:lnTo>
                    <a:lnTo>
                      <a:pt x="790" y="54"/>
                    </a:lnTo>
                    <a:lnTo>
                      <a:pt x="788" y="54"/>
                    </a:lnTo>
                    <a:lnTo>
                      <a:pt x="788" y="52"/>
                    </a:lnTo>
                    <a:lnTo>
                      <a:pt x="786" y="50"/>
                    </a:lnTo>
                    <a:lnTo>
                      <a:pt x="784" y="50"/>
                    </a:lnTo>
                    <a:lnTo>
                      <a:pt x="784" y="48"/>
                    </a:lnTo>
                    <a:lnTo>
                      <a:pt x="782" y="48"/>
                    </a:lnTo>
                    <a:lnTo>
                      <a:pt x="784" y="48"/>
                    </a:lnTo>
                    <a:lnTo>
                      <a:pt x="782" y="48"/>
                    </a:lnTo>
                    <a:lnTo>
                      <a:pt x="782" y="46"/>
                    </a:lnTo>
                    <a:lnTo>
                      <a:pt x="780" y="46"/>
                    </a:lnTo>
                    <a:lnTo>
                      <a:pt x="780" y="48"/>
                    </a:lnTo>
                    <a:lnTo>
                      <a:pt x="779" y="48"/>
                    </a:lnTo>
                    <a:lnTo>
                      <a:pt x="779" y="46"/>
                    </a:lnTo>
                    <a:lnTo>
                      <a:pt x="777" y="46"/>
                    </a:lnTo>
                    <a:lnTo>
                      <a:pt x="779" y="46"/>
                    </a:lnTo>
                    <a:lnTo>
                      <a:pt x="777" y="46"/>
                    </a:lnTo>
                    <a:lnTo>
                      <a:pt x="777" y="44"/>
                    </a:lnTo>
                    <a:lnTo>
                      <a:pt x="777" y="46"/>
                    </a:lnTo>
                    <a:lnTo>
                      <a:pt x="777" y="44"/>
                    </a:lnTo>
                    <a:lnTo>
                      <a:pt x="775" y="42"/>
                    </a:lnTo>
                    <a:lnTo>
                      <a:pt x="773" y="42"/>
                    </a:lnTo>
                    <a:lnTo>
                      <a:pt x="771" y="42"/>
                    </a:lnTo>
                    <a:lnTo>
                      <a:pt x="769" y="42"/>
                    </a:lnTo>
                    <a:lnTo>
                      <a:pt x="771" y="42"/>
                    </a:lnTo>
                    <a:lnTo>
                      <a:pt x="771" y="40"/>
                    </a:lnTo>
                    <a:lnTo>
                      <a:pt x="771" y="42"/>
                    </a:lnTo>
                    <a:lnTo>
                      <a:pt x="771" y="40"/>
                    </a:lnTo>
                    <a:lnTo>
                      <a:pt x="769" y="38"/>
                    </a:lnTo>
                    <a:lnTo>
                      <a:pt x="769" y="36"/>
                    </a:lnTo>
                    <a:lnTo>
                      <a:pt x="771" y="36"/>
                    </a:lnTo>
                    <a:lnTo>
                      <a:pt x="771" y="34"/>
                    </a:lnTo>
                    <a:lnTo>
                      <a:pt x="771" y="36"/>
                    </a:lnTo>
                    <a:lnTo>
                      <a:pt x="771" y="34"/>
                    </a:lnTo>
                    <a:lnTo>
                      <a:pt x="771" y="36"/>
                    </a:lnTo>
                    <a:lnTo>
                      <a:pt x="771" y="34"/>
                    </a:lnTo>
                    <a:lnTo>
                      <a:pt x="773" y="34"/>
                    </a:lnTo>
                    <a:lnTo>
                      <a:pt x="775" y="34"/>
                    </a:lnTo>
                    <a:lnTo>
                      <a:pt x="777" y="34"/>
                    </a:lnTo>
                    <a:lnTo>
                      <a:pt x="777" y="36"/>
                    </a:lnTo>
                    <a:lnTo>
                      <a:pt x="777" y="38"/>
                    </a:lnTo>
                    <a:lnTo>
                      <a:pt x="777" y="36"/>
                    </a:lnTo>
                    <a:lnTo>
                      <a:pt x="779" y="38"/>
                    </a:lnTo>
                    <a:lnTo>
                      <a:pt x="779" y="36"/>
                    </a:lnTo>
                    <a:lnTo>
                      <a:pt x="779" y="38"/>
                    </a:lnTo>
                    <a:lnTo>
                      <a:pt x="780" y="36"/>
                    </a:lnTo>
                    <a:lnTo>
                      <a:pt x="780" y="38"/>
                    </a:lnTo>
                    <a:lnTo>
                      <a:pt x="780" y="36"/>
                    </a:lnTo>
                    <a:lnTo>
                      <a:pt x="780" y="38"/>
                    </a:lnTo>
                    <a:lnTo>
                      <a:pt x="780" y="36"/>
                    </a:lnTo>
                    <a:lnTo>
                      <a:pt x="780" y="38"/>
                    </a:lnTo>
                    <a:lnTo>
                      <a:pt x="782" y="38"/>
                    </a:lnTo>
                    <a:lnTo>
                      <a:pt x="784" y="38"/>
                    </a:lnTo>
                    <a:lnTo>
                      <a:pt x="786" y="38"/>
                    </a:lnTo>
                    <a:lnTo>
                      <a:pt x="788" y="38"/>
                    </a:lnTo>
                    <a:lnTo>
                      <a:pt x="788" y="40"/>
                    </a:lnTo>
                    <a:lnTo>
                      <a:pt x="790" y="40"/>
                    </a:lnTo>
                    <a:lnTo>
                      <a:pt x="788" y="40"/>
                    </a:lnTo>
                    <a:lnTo>
                      <a:pt x="790" y="40"/>
                    </a:lnTo>
                    <a:lnTo>
                      <a:pt x="790" y="42"/>
                    </a:lnTo>
                    <a:lnTo>
                      <a:pt x="792" y="42"/>
                    </a:lnTo>
                    <a:lnTo>
                      <a:pt x="792" y="40"/>
                    </a:lnTo>
                    <a:lnTo>
                      <a:pt x="792" y="42"/>
                    </a:lnTo>
                    <a:lnTo>
                      <a:pt x="794" y="42"/>
                    </a:lnTo>
                    <a:lnTo>
                      <a:pt x="796" y="42"/>
                    </a:lnTo>
                    <a:lnTo>
                      <a:pt x="796" y="44"/>
                    </a:lnTo>
                    <a:lnTo>
                      <a:pt x="798" y="44"/>
                    </a:lnTo>
                    <a:lnTo>
                      <a:pt x="798" y="42"/>
                    </a:lnTo>
                    <a:lnTo>
                      <a:pt x="798" y="44"/>
                    </a:lnTo>
                    <a:lnTo>
                      <a:pt x="798" y="42"/>
                    </a:lnTo>
                    <a:lnTo>
                      <a:pt x="796" y="42"/>
                    </a:lnTo>
                    <a:lnTo>
                      <a:pt x="794" y="42"/>
                    </a:lnTo>
                    <a:lnTo>
                      <a:pt x="792" y="42"/>
                    </a:lnTo>
                    <a:lnTo>
                      <a:pt x="792" y="40"/>
                    </a:lnTo>
                    <a:lnTo>
                      <a:pt x="790" y="40"/>
                    </a:lnTo>
                    <a:lnTo>
                      <a:pt x="790" y="38"/>
                    </a:lnTo>
                    <a:lnTo>
                      <a:pt x="790" y="36"/>
                    </a:lnTo>
                    <a:lnTo>
                      <a:pt x="788" y="36"/>
                    </a:lnTo>
                    <a:lnTo>
                      <a:pt x="790" y="36"/>
                    </a:lnTo>
                    <a:lnTo>
                      <a:pt x="792" y="36"/>
                    </a:lnTo>
                    <a:lnTo>
                      <a:pt x="790" y="36"/>
                    </a:lnTo>
                    <a:lnTo>
                      <a:pt x="790" y="34"/>
                    </a:lnTo>
                    <a:lnTo>
                      <a:pt x="790" y="36"/>
                    </a:lnTo>
                    <a:lnTo>
                      <a:pt x="790" y="34"/>
                    </a:lnTo>
                    <a:lnTo>
                      <a:pt x="788" y="34"/>
                    </a:lnTo>
                    <a:lnTo>
                      <a:pt x="788" y="32"/>
                    </a:lnTo>
                    <a:lnTo>
                      <a:pt x="786" y="32"/>
                    </a:lnTo>
                    <a:lnTo>
                      <a:pt x="784" y="32"/>
                    </a:lnTo>
                    <a:lnTo>
                      <a:pt x="782" y="32"/>
                    </a:lnTo>
                    <a:lnTo>
                      <a:pt x="780" y="32"/>
                    </a:lnTo>
                    <a:lnTo>
                      <a:pt x="780" y="31"/>
                    </a:lnTo>
                    <a:lnTo>
                      <a:pt x="779" y="31"/>
                    </a:lnTo>
                    <a:lnTo>
                      <a:pt x="780" y="31"/>
                    </a:lnTo>
                    <a:lnTo>
                      <a:pt x="779" y="31"/>
                    </a:lnTo>
                    <a:lnTo>
                      <a:pt x="779" y="29"/>
                    </a:lnTo>
                    <a:lnTo>
                      <a:pt x="780" y="29"/>
                    </a:lnTo>
                    <a:lnTo>
                      <a:pt x="782" y="29"/>
                    </a:lnTo>
                    <a:lnTo>
                      <a:pt x="784" y="29"/>
                    </a:lnTo>
                    <a:lnTo>
                      <a:pt x="786" y="29"/>
                    </a:lnTo>
                    <a:lnTo>
                      <a:pt x="788" y="29"/>
                    </a:lnTo>
                    <a:lnTo>
                      <a:pt x="790" y="29"/>
                    </a:lnTo>
                    <a:lnTo>
                      <a:pt x="792" y="31"/>
                    </a:lnTo>
                    <a:lnTo>
                      <a:pt x="792" y="29"/>
                    </a:lnTo>
                    <a:lnTo>
                      <a:pt x="792" y="31"/>
                    </a:lnTo>
                    <a:lnTo>
                      <a:pt x="792" y="29"/>
                    </a:lnTo>
                    <a:lnTo>
                      <a:pt x="794" y="29"/>
                    </a:lnTo>
                    <a:lnTo>
                      <a:pt x="794" y="31"/>
                    </a:lnTo>
                    <a:lnTo>
                      <a:pt x="792" y="31"/>
                    </a:lnTo>
                    <a:lnTo>
                      <a:pt x="794" y="29"/>
                    </a:lnTo>
                    <a:lnTo>
                      <a:pt x="796" y="29"/>
                    </a:lnTo>
                    <a:lnTo>
                      <a:pt x="796" y="31"/>
                    </a:lnTo>
                    <a:lnTo>
                      <a:pt x="796" y="29"/>
                    </a:lnTo>
                    <a:lnTo>
                      <a:pt x="794" y="29"/>
                    </a:lnTo>
                    <a:lnTo>
                      <a:pt x="796" y="29"/>
                    </a:lnTo>
                    <a:lnTo>
                      <a:pt x="798" y="29"/>
                    </a:lnTo>
                    <a:lnTo>
                      <a:pt x="796" y="29"/>
                    </a:lnTo>
                    <a:lnTo>
                      <a:pt x="794" y="29"/>
                    </a:lnTo>
                    <a:lnTo>
                      <a:pt x="794" y="27"/>
                    </a:lnTo>
                    <a:lnTo>
                      <a:pt x="792" y="27"/>
                    </a:lnTo>
                    <a:lnTo>
                      <a:pt x="792" y="29"/>
                    </a:lnTo>
                    <a:lnTo>
                      <a:pt x="792" y="27"/>
                    </a:lnTo>
                    <a:lnTo>
                      <a:pt x="790" y="27"/>
                    </a:lnTo>
                    <a:lnTo>
                      <a:pt x="790" y="29"/>
                    </a:lnTo>
                    <a:lnTo>
                      <a:pt x="790" y="27"/>
                    </a:lnTo>
                    <a:lnTo>
                      <a:pt x="792" y="27"/>
                    </a:lnTo>
                    <a:lnTo>
                      <a:pt x="790" y="27"/>
                    </a:lnTo>
                    <a:lnTo>
                      <a:pt x="790" y="25"/>
                    </a:lnTo>
                    <a:lnTo>
                      <a:pt x="790" y="27"/>
                    </a:lnTo>
                    <a:lnTo>
                      <a:pt x="790" y="25"/>
                    </a:lnTo>
                    <a:lnTo>
                      <a:pt x="792" y="25"/>
                    </a:lnTo>
                    <a:lnTo>
                      <a:pt x="794" y="25"/>
                    </a:lnTo>
                    <a:lnTo>
                      <a:pt x="792" y="25"/>
                    </a:lnTo>
                    <a:lnTo>
                      <a:pt x="792" y="23"/>
                    </a:lnTo>
                    <a:lnTo>
                      <a:pt x="790" y="23"/>
                    </a:lnTo>
                    <a:lnTo>
                      <a:pt x="788" y="23"/>
                    </a:lnTo>
                    <a:lnTo>
                      <a:pt x="788" y="21"/>
                    </a:lnTo>
                    <a:lnTo>
                      <a:pt x="786" y="21"/>
                    </a:lnTo>
                    <a:lnTo>
                      <a:pt x="786" y="23"/>
                    </a:lnTo>
                    <a:lnTo>
                      <a:pt x="784" y="23"/>
                    </a:lnTo>
                    <a:lnTo>
                      <a:pt x="784" y="21"/>
                    </a:lnTo>
                    <a:lnTo>
                      <a:pt x="782" y="21"/>
                    </a:lnTo>
                    <a:lnTo>
                      <a:pt x="782" y="19"/>
                    </a:lnTo>
                    <a:lnTo>
                      <a:pt x="784" y="19"/>
                    </a:lnTo>
                    <a:lnTo>
                      <a:pt x="784" y="17"/>
                    </a:lnTo>
                    <a:lnTo>
                      <a:pt x="782" y="15"/>
                    </a:lnTo>
                    <a:lnTo>
                      <a:pt x="782" y="17"/>
                    </a:lnTo>
                    <a:lnTo>
                      <a:pt x="782" y="15"/>
                    </a:lnTo>
                    <a:lnTo>
                      <a:pt x="784" y="15"/>
                    </a:lnTo>
                    <a:lnTo>
                      <a:pt x="784" y="13"/>
                    </a:lnTo>
                    <a:lnTo>
                      <a:pt x="786" y="13"/>
                    </a:lnTo>
                    <a:lnTo>
                      <a:pt x="786" y="11"/>
                    </a:lnTo>
                    <a:lnTo>
                      <a:pt x="788" y="11"/>
                    </a:lnTo>
                    <a:lnTo>
                      <a:pt x="788" y="13"/>
                    </a:lnTo>
                    <a:lnTo>
                      <a:pt x="790" y="13"/>
                    </a:lnTo>
                    <a:lnTo>
                      <a:pt x="788" y="13"/>
                    </a:lnTo>
                    <a:lnTo>
                      <a:pt x="790" y="13"/>
                    </a:lnTo>
                    <a:lnTo>
                      <a:pt x="792" y="13"/>
                    </a:lnTo>
                    <a:lnTo>
                      <a:pt x="790" y="15"/>
                    </a:lnTo>
                    <a:lnTo>
                      <a:pt x="792" y="15"/>
                    </a:lnTo>
                    <a:lnTo>
                      <a:pt x="794" y="15"/>
                    </a:lnTo>
                    <a:lnTo>
                      <a:pt x="794" y="17"/>
                    </a:lnTo>
                    <a:lnTo>
                      <a:pt x="794" y="19"/>
                    </a:lnTo>
                    <a:lnTo>
                      <a:pt x="794" y="21"/>
                    </a:lnTo>
                    <a:lnTo>
                      <a:pt x="794" y="19"/>
                    </a:lnTo>
                    <a:lnTo>
                      <a:pt x="794" y="21"/>
                    </a:lnTo>
                    <a:lnTo>
                      <a:pt x="794" y="23"/>
                    </a:lnTo>
                    <a:lnTo>
                      <a:pt x="796" y="23"/>
                    </a:lnTo>
                    <a:lnTo>
                      <a:pt x="796" y="21"/>
                    </a:lnTo>
                    <a:lnTo>
                      <a:pt x="794" y="21"/>
                    </a:lnTo>
                    <a:lnTo>
                      <a:pt x="796" y="21"/>
                    </a:lnTo>
                    <a:lnTo>
                      <a:pt x="798" y="23"/>
                    </a:lnTo>
                    <a:lnTo>
                      <a:pt x="800" y="23"/>
                    </a:lnTo>
                    <a:lnTo>
                      <a:pt x="800" y="21"/>
                    </a:lnTo>
                    <a:lnTo>
                      <a:pt x="798" y="21"/>
                    </a:lnTo>
                    <a:lnTo>
                      <a:pt x="800" y="21"/>
                    </a:lnTo>
                    <a:lnTo>
                      <a:pt x="800" y="19"/>
                    </a:lnTo>
                    <a:lnTo>
                      <a:pt x="802" y="19"/>
                    </a:lnTo>
                    <a:lnTo>
                      <a:pt x="804" y="19"/>
                    </a:lnTo>
                    <a:lnTo>
                      <a:pt x="804" y="17"/>
                    </a:lnTo>
                    <a:lnTo>
                      <a:pt x="804" y="19"/>
                    </a:lnTo>
                    <a:lnTo>
                      <a:pt x="804" y="17"/>
                    </a:lnTo>
                    <a:lnTo>
                      <a:pt x="804" y="19"/>
                    </a:lnTo>
                    <a:lnTo>
                      <a:pt x="805" y="19"/>
                    </a:lnTo>
                    <a:lnTo>
                      <a:pt x="805" y="17"/>
                    </a:lnTo>
                    <a:lnTo>
                      <a:pt x="805" y="19"/>
                    </a:lnTo>
                    <a:lnTo>
                      <a:pt x="805" y="17"/>
                    </a:lnTo>
                    <a:lnTo>
                      <a:pt x="807" y="17"/>
                    </a:lnTo>
                    <a:lnTo>
                      <a:pt x="807" y="19"/>
                    </a:lnTo>
                    <a:lnTo>
                      <a:pt x="807" y="17"/>
                    </a:lnTo>
                    <a:lnTo>
                      <a:pt x="809" y="17"/>
                    </a:lnTo>
                    <a:lnTo>
                      <a:pt x="807" y="17"/>
                    </a:lnTo>
                    <a:lnTo>
                      <a:pt x="807" y="15"/>
                    </a:lnTo>
                    <a:lnTo>
                      <a:pt x="809" y="15"/>
                    </a:lnTo>
                    <a:lnTo>
                      <a:pt x="807" y="15"/>
                    </a:lnTo>
                    <a:lnTo>
                      <a:pt x="805" y="13"/>
                    </a:lnTo>
                    <a:lnTo>
                      <a:pt x="807" y="11"/>
                    </a:lnTo>
                    <a:lnTo>
                      <a:pt x="809" y="11"/>
                    </a:lnTo>
                    <a:lnTo>
                      <a:pt x="811" y="11"/>
                    </a:lnTo>
                    <a:lnTo>
                      <a:pt x="813" y="11"/>
                    </a:lnTo>
                    <a:lnTo>
                      <a:pt x="813" y="13"/>
                    </a:lnTo>
                    <a:lnTo>
                      <a:pt x="815" y="13"/>
                    </a:lnTo>
                    <a:lnTo>
                      <a:pt x="813" y="13"/>
                    </a:lnTo>
                    <a:lnTo>
                      <a:pt x="815" y="13"/>
                    </a:lnTo>
                    <a:lnTo>
                      <a:pt x="817" y="15"/>
                    </a:lnTo>
                    <a:lnTo>
                      <a:pt x="819" y="15"/>
                    </a:lnTo>
                    <a:lnTo>
                      <a:pt x="819" y="17"/>
                    </a:lnTo>
                    <a:lnTo>
                      <a:pt x="821" y="17"/>
                    </a:lnTo>
                    <a:lnTo>
                      <a:pt x="821" y="19"/>
                    </a:lnTo>
                    <a:lnTo>
                      <a:pt x="823" y="19"/>
                    </a:lnTo>
                    <a:lnTo>
                      <a:pt x="823" y="21"/>
                    </a:lnTo>
                    <a:lnTo>
                      <a:pt x="823" y="19"/>
                    </a:lnTo>
                    <a:lnTo>
                      <a:pt x="823" y="21"/>
                    </a:lnTo>
                    <a:lnTo>
                      <a:pt x="823" y="19"/>
                    </a:lnTo>
                    <a:lnTo>
                      <a:pt x="825" y="19"/>
                    </a:lnTo>
                    <a:lnTo>
                      <a:pt x="825" y="21"/>
                    </a:lnTo>
                    <a:lnTo>
                      <a:pt x="825" y="19"/>
                    </a:lnTo>
                    <a:lnTo>
                      <a:pt x="825" y="21"/>
                    </a:lnTo>
                    <a:lnTo>
                      <a:pt x="827" y="21"/>
                    </a:lnTo>
                    <a:lnTo>
                      <a:pt x="828" y="21"/>
                    </a:lnTo>
                    <a:lnTo>
                      <a:pt x="828" y="19"/>
                    </a:lnTo>
                    <a:lnTo>
                      <a:pt x="827" y="19"/>
                    </a:lnTo>
                    <a:lnTo>
                      <a:pt x="825" y="19"/>
                    </a:lnTo>
                    <a:lnTo>
                      <a:pt x="825" y="17"/>
                    </a:lnTo>
                    <a:lnTo>
                      <a:pt x="827" y="17"/>
                    </a:lnTo>
                    <a:lnTo>
                      <a:pt x="827" y="15"/>
                    </a:lnTo>
                    <a:lnTo>
                      <a:pt x="828" y="15"/>
                    </a:lnTo>
                    <a:lnTo>
                      <a:pt x="827" y="15"/>
                    </a:lnTo>
                    <a:lnTo>
                      <a:pt x="827" y="13"/>
                    </a:lnTo>
                    <a:lnTo>
                      <a:pt x="825" y="13"/>
                    </a:lnTo>
                    <a:lnTo>
                      <a:pt x="825" y="11"/>
                    </a:lnTo>
                    <a:lnTo>
                      <a:pt x="827" y="11"/>
                    </a:lnTo>
                    <a:lnTo>
                      <a:pt x="827" y="9"/>
                    </a:lnTo>
                    <a:lnTo>
                      <a:pt x="827" y="11"/>
                    </a:lnTo>
                    <a:lnTo>
                      <a:pt x="827" y="9"/>
                    </a:lnTo>
                    <a:lnTo>
                      <a:pt x="827" y="11"/>
                    </a:lnTo>
                    <a:lnTo>
                      <a:pt x="828" y="11"/>
                    </a:lnTo>
                    <a:lnTo>
                      <a:pt x="830" y="11"/>
                    </a:lnTo>
                    <a:lnTo>
                      <a:pt x="832" y="11"/>
                    </a:lnTo>
                    <a:lnTo>
                      <a:pt x="834" y="11"/>
                    </a:lnTo>
                    <a:lnTo>
                      <a:pt x="836" y="11"/>
                    </a:lnTo>
                    <a:lnTo>
                      <a:pt x="834" y="11"/>
                    </a:lnTo>
                    <a:lnTo>
                      <a:pt x="836" y="11"/>
                    </a:lnTo>
                    <a:lnTo>
                      <a:pt x="836" y="13"/>
                    </a:lnTo>
                    <a:lnTo>
                      <a:pt x="836" y="11"/>
                    </a:lnTo>
                    <a:lnTo>
                      <a:pt x="836" y="13"/>
                    </a:lnTo>
                    <a:lnTo>
                      <a:pt x="836" y="11"/>
                    </a:lnTo>
                    <a:lnTo>
                      <a:pt x="836" y="13"/>
                    </a:lnTo>
                    <a:lnTo>
                      <a:pt x="836" y="11"/>
                    </a:lnTo>
                    <a:lnTo>
                      <a:pt x="838" y="11"/>
                    </a:lnTo>
                    <a:lnTo>
                      <a:pt x="840" y="13"/>
                    </a:lnTo>
                    <a:lnTo>
                      <a:pt x="840" y="11"/>
                    </a:lnTo>
                    <a:lnTo>
                      <a:pt x="840" y="13"/>
                    </a:lnTo>
                    <a:lnTo>
                      <a:pt x="840" y="11"/>
                    </a:lnTo>
                    <a:lnTo>
                      <a:pt x="840" y="13"/>
                    </a:lnTo>
                    <a:lnTo>
                      <a:pt x="842" y="13"/>
                    </a:lnTo>
                    <a:lnTo>
                      <a:pt x="842" y="11"/>
                    </a:lnTo>
                    <a:lnTo>
                      <a:pt x="842" y="9"/>
                    </a:lnTo>
                    <a:lnTo>
                      <a:pt x="840" y="9"/>
                    </a:lnTo>
                    <a:lnTo>
                      <a:pt x="838" y="9"/>
                    </a:lnTo>
                    <a:lnTo>
                      <a:pt x="836" y="9"/>
                    </a:lnTo>
                    <a:lnTo>
                      <a:pt x="836" y="7"/>
                    </a:lnTo>
                    <a:lnTo>
                      <a:pt x="838" y="7"/>
                    </a:lnTo>
                    <a:lnTo>
                      <a:pt x="840" y="7"/>
                    </a:lnTo>
                    <a:lnTo>
                      <a:pt x="842" y="7"/>
                    </a:lnTo>
                    <a:lnTo>
                      <a:pt x="844" y="7"/>
                    </a:lnTo>
                    <a:lnTo>
                      <a:pt x="846" y="7"/>
                    </a:lnTo>
                    <a:lnTo>
                      <a:pt x="848" y="7"/>
                    </a:lnTo>
                    <a:lnTo>
                      <a:pt x="848" y="9"/>
                    </a:lnTo>
                    <a:lnTo>
                      <a:pt x="850" y="9"/>
                    </a:lnTo>
                    <a:lnTo>
                      <a:pt x="852" y="9"/>
                    </a:lnTo>
                    <a:lnTo>
                      <a:pt x="852" y="7"/>
                    </a:lnTo>
                    <a:lnTo>
                      <a:pt x="853" y="7"/>
                    </a:lnTo>
                    <a:lnTo>
                      <a:pt x="853" y="6"/>
                    </a:lnTo>
                    <a:lnTo>
                      <a:pt x="855" y="6"/>
                    </a:lnTo>
                    <a:lnTo>
                      <a:pt x="855" y="4"/>
                    </a:lnTo>
                    <a:lnTo>
                      <a:pt x="857" y="4"/>
                    </a:lnTo>
                    <a:lnTo>
                      <a:pt x="857" y="6"/>
                    </a:lnTo>
                    <a:lnTo>
                      <a:pt x="857" y="4"/>
                    </a:lnTo>
                    <a:lnTo>
                      <a:pt x="857" y="6"/>
                    </a:lnTo>
                    <a:lnTo>
                      <a:pt x="859" y="6"/>
                    </a:lnTo>
                    <a:lnTo>
                      <a:pt x="861" y="7"/>
                    </a:lnTo>
                    <a:lnTo>
                      <a:pt x="863" y="7"/>
                    </a:lnTo>
                    <a:lnTo>
                      <a:pt x="863" y="6"/>
                    </a:lnTo>
                    <a:lnTo>
                      <a:pt x="865" y="6"/>
                    </a:lnTo>
                    <a:lnTo>
                      <a:pt x="865" y="7"/>
                    </a:lnTo>
                    <a:lnTo>
                      <a:pt x="867" y="7"/>
                    </a:lnTo>
                    <a:lnTo>
                      <a:pt x="867" y="6"/>
                    </a:lnTo>
                    <a:lnTo>
                      <a:pt x="869" y="6"/>
                    </a:lnTo>
                    <a:lnTo>
                      <a:pt x="871" y="6"/>
                    </a:lnTo>
                    <a:lnTo>
                      <a:pt x="871" y="7"/>
                    </a:lnTo>
                    <a:lnTo>
                      <a:pt x="873" y="7"/>
                    </a:lnTo>
                    <a:lnTo>
                      <a:pt x="873" y="9"/>
                    </a:lnTo>
                    <a:lnTo>
                      <a:pt x="873" y="7"/>
                    </a:lnTo>
                    <a:lnTo>
                      <a:pt x="873" y="9"/>
                    </a:lnTo>
                    <a:lnTo>
                      <a:pt x="873" y="7"/>
                    </a:lnTo>
                    <a:lnTo>
                      <a:pt x="873" y="9"/>
                    </a:lnTo>
                    <a:lnTo>
                      <a:pt x="875" y="9"/>
                    </a:lnTo>
                    <a:lnTo>
                      <a:pt x="875" y="7"/>
                    </a:lnTo>
                    <a:lnTo>
                      <a:pt x="877" y="7"/>
                    </a:lnTo>
                    <a:lnTo>
                      <a:pt x="877" y="9"/>
                    </a:lnTo>
                    <a:lnTo>
                      <a:pt x="878" y="9"/>
                    </a:lnTo>
                    <a:lnTo>
                      <a:pt x="878" y="7"/>
                    </a:lnTo>
                    <a:lnTo>
                      <a:pt x="880" y="7"/>
                    </a:lnTo>
                    <a:lnTo>
                      <a:pt x="882" y="7"/>
                    </a:lnTo>
                    <a:lnTo>
                      <a:pt x="882" y="9"/>
                    </a:lnTo>
                    <a:lnTo>
                      <a:pt x="884" y="9"/>
                    </a:lnTo>
                    <a:lnTo>
                      <a:pt x="886" y="9"/>
                    </a:lnTo>
                    <a:lnTo>
                      <a:pt x="888" y="11"/>
                    </a:lnTo>
                    <a:lnTo>
                      <a:pt x="888" y="9"/>
                    </a:lnTo>
                    <a:lnTo>
                      <a:pt x="886" y="9"/>
                    </a:lnTo>
                    <a:lnTo>
                      <a:pt x="888" y="9"/>
                    </a:lnTo>
                    <a:lnTo>
                      <a:pt x="886" y="7"/>
                    </a:lnTo>
                    <a:lnTo>
                      <a:pt x="880" y="6"/>
                    </a:lnTo>
                    <a:lnTo>
                      <a:pt x="886" y="7"/>
                    </a:lnTo>
                    <a:lnTo>
                      <a:pt x="884" y="7"/>
                    </a:lnTo>
                    <a:lnTo>
                      <a:pt x="886" y="7"/>
                    </a:lnTo>
                    <a:lnTo>
                      <a:pt x="884" y="7"/>
                    </a:lnTo>
                    <a:lnTo>
                      <a:pt x="884" y="6"/>
                    </a:lnTo>
                    <a:lnTo>
                      <a:pt x="882" y="6"/>
                    </a:lnTo>
                    <a:lnTo>
                      <a:pt x="884" y="6"/>
                    </a:lnTo>
                    <a:lnTo>
                      <a:pt x="882" y="6"/>
                    </a:lnTo>
                    <a:lnTo>
                      <a:pt x="882" y="4"/>
                    </a:lnTo>
                    <a:lnTo>
                      <a:pt x="884" y="4"/>
                    </a:lnTo>
                    <a:lnTo>
                      <a:pt x="886" y="4"/>
                    </a:lnTo>
                    <a:lnTo>
                      <a:pt x="888" y="4"/>
                    </a:lnTo>
                    <a:lnTo>
                      <a:pt x="890" y="4"/>
                    </a:lnTo>
                    <a:lnTo>
                      <a:pt x="892" y="4"/>
                    </a:lnTo>
                    <a:lnTo>
                      <a:pt x="894" y="6"/>
                    </a:lnTo>
                    <a:lnTo>
                      <a:pt x="896" y="6"/>
                    </a:lnTo>
                    <a:lnTo>
                      <a:pt x="896" y="7"/>
                    </a:lnTo>
                    <a:lnTo>
                      <a:pt x="898" y="7"/>
                    </a:lnTo>
                    <a:lnTo>
                      <a:pt x="896" y="7"/>
                    </a:lnTo>
                    <a:lnTo>
                      <a:pt x="894" y="7"/>
                    </a:lnTo>
                    <a:lnTo>
                      <a:pt x="892" y="7"/>
                    </a:lnTo>
                    <a:lnTo>
                      <a:pt x="890" y="9"/>
                    </a:lnTo>
                    <a:lnTo>
                      <a:pt x="890" y="11"/>
                    </a:lnTo>
                    <a:lnTo>
                      <a:pt x="890" y="9"/>
                    </a:lnTo>
                    <a:lnTo>
                      <a:pt x="892" y="11"/>
                    </a:lnTo>
                    <a:lnTo>
                      <a:pt x="892" y="9"/>
                    </a:lnTo>
                    <a:lnTo>
                      <a:pt x="892" y="11"/>
                    </a:lnTo>
                    <a:lnTo>
                      <a:pt x="894" y="11"/>
                    </a:lnTo>
                    <a:lnTo>
                      <a:pt x="896" y="11"/>
                    </a:lnTo>
                    <a:lnTo>
                      <a:pt x="894" y="11"/>
                    </a:lnTo>
                    <a:lnTo>
                      <a:pt x="896" y="11"/>
                    </a:lnTo>
                    <a:lnTo>
                      <a:pt x="898" y="11"/>
                    </a:lnTo>
                    <a:lnTo>
                      <a:pt x="896" y="9"/>
                    </a:lnTo>
                    <a:lnTo>
                      <a:pt x="898" y="9"/>
                    </a:lnTo>
                    <a:lnTo>
                      <a:pt x="896" y="9"/>
                    </a:lnTo>
                    <a:lnTo>
                      <a:pt x="898" y="9"/>
                    </a:lnTo>
                    <a:lnTo>
                      <a:pt x="898" y="11"/>
                    </a:lnTo>
                    <a:lnTo>
                      <a:pt x="900" y="11"/>
                    </a:lnTo>
                    <a:lnTo>
                      <a:pt x="901" y="11"/>
                    </a:lnTo>
                    <a:lnTo>
                      <a:pt x="903" y="11"/>
                    </a:lnTo>
                    <a:lnTo>
                      <a:pt x="903" y="9"/>
                    </a:lnTo>
                    <a:lnTo>
                      <a:pt x="903" y="11"/>
                    </a:lnTo>
                    <a:lnTo>
                      <a:pt x="903" y="9"/>
                    </a:lnTo>
                    <a:lnTo>
                      <a:pt x="901" y="9"/>
                    </a:lnTo>
                    <a:lnTo>
                      <a:pt x="903" y="9"/>
                    </a:lnTo>
                    <a:lnTo>
                      <a:pt x="905" y="9"/>
                    </a:lnTo>
                    <a:lnTo>
                      <a:pt x="905" y="7"/>
                    </a:lnTo>
                    <a:lnTo>
                      <a:pt x="903" y="7"/>
                    </a:lnTo>
                    <a:lnTo>
                      <a:pt x="901" y="7"/>
                    </a:lnTo>
                    <a:lnTo>
                      <a:pt x="900" y="6"/>
                    </a:lnTo>
                    <a:lnTo>
                      <a:pt x="901" y="6"/>
                    </a:lnTo>
                    <a:lnTo>
                      <a:pt x="900" y="6"/>
                    </a:lnTo>
                    <a:lnTo>
                      <a:pt x="901" y="6"/>
                    </a:lnTo>
                    <a:lnTo>
                      <a:pt x="901" y="4"/>
                    </a:lnTo>
                    <a:lnTo>
                      <a:pt x="903" y="4"/>
                    </a:lnTo>
                    <a:lnTo>
                      <a:pt x="901" y="4"/>
                    </a:lnTo>
                    <a:lnTo>
                      <a:pt x="903" y="4"/>
                    </a:lnTo>
                    <a:lnTo>
                      <a:pt x="903" y="2"/>
                    </a:lnTo>
                    <a:lnTo>
                      <a:pt x="905" y="2"/>
                    </a:lnTo>
                    <a:lnTo>
                      <a:pt x="907" y="2"/>
                    </a:lnTo>
                    <a:lnTo>
                      <a:pt x="905" y="2"/>
                    </a:lnTo>
                    <a:lnTo>
                      <a:pt x="903" y="2"/>
                    </a:lnTo>
                    <a:lnTo>
                      <a:pt x="903" y="0"/>
                    </a:lnTo>
                    <a:lnTo>
                      <a:pt x="903" y="2"/>
                    </a:lnTo>
                    <a:lnTo>
                      <a:pt x="905" y="2"/>
                    </a:lnTo>
                    <a:lnTo>
                      <a:pt x="907" y="2"/>
                    </a:lnTo>
                    <a:lnTo>
                      <a:pt x="909" y="2"/>
                    </a:lnTo>
                    <a:lnTo>
                      <a:pt x="911" y="2"/>
                    </a:lnTo>
                    <a:lnTo>
                      <a:pt x="911" y="4"/>
                    </a:lnTo>
                    <a:lnTo>
                      <a:pt x="913" y="4"/>
                    </a:lnTo>
                    <a:lnTo>
                      <a:pt x="915" y="4"/>
                    </a:lnTo>
                    <a:lnTo>
                      <a:pt x="917" y="4"/>
                    </a:lnTo>
                    <a:lnTo>
                      <a:pt x="919" y="6"/>
                    </a:lnTo>
                    <a:lnTo>
                      <a:pt x="921" y="6"/>
                    </a:lnTo>
                    <a:lnTo>
                      <a:pt x="921" y="7"/>
                    </a:lnTo>
                    <a:lnTo>
                      <a:pt x="923" y="7"/>
                    </a:lnTo>
                    <a:lnTo>
                      <a:pt x="923" y="9"/>
                    </a:lnTo>
                    <a:lnTo>
                      <a:pt x="925" y="9"/>
                    </a:lnTo>
                    <a:lnTo>
                      <a:pt x="926" y="9"/>
                    </a:lnTo>
                    <a:lnTo>
                      <a:pt x="928" y="9"/>
                    </a:lnTo>
                    <a:lnTo>
                      <a:pt x="930" y="9"/>
                    </a:lnTo>
                    <a:lnTo>
                      <a:pt x="930" y="11"/>
                    </a:lnTo>
                    <a:lnTo>
                      <a:pt x="930" y="13"/>
                    </a:lnTo>
                    <a:lnTo>
                      <a:pt x="928" y="13"/>
                    </a:lnTo>
                    <a:lnTo>
                      <a:pt x="928" y="15"/>
                    </a:lnTo>
                    <a:lnTo>
                      <a:pt x="930" y="15"/>
                    </a:lnTo>
                    <a:lnTo>
                      <a:pt x="928" y="15"/>
                    </a:lnTo>
                    <a:lnTo>
                      <a:pt x="930" y="15"/>
                    </a:lnTo>
                    <a:lnTo>
                      <a:pt x="932" y="15"/>
                    </a:lnTo>
                    <a:lnTo>
                      <a:pt x="930" y="15"/>
                    </a:lnTo>
                    <a:lnTo>
                      <a:pt x="932" y="15"/>
                    </a:lnTo>
                    <a:lnTo>
                      <a:pt x="932" y="17"/>
                    </a:lnTo>
                    <a:lnTo>
                      <a:pt x="932" y="15"/>
                    </a:lnTo>
                    <a:lnTo>
                      <a:pt x="932" y="17"/>
                    </a:lnTo>
                    <a:lnTo>
                      <a:pt x="932" y="15"/>
                    </a:lnTo>
                    <a:lnTo>
                      <a:pt x="934" y="15"/>
                    </a:lnTo>
                    <a:lnTo>
                      <a:pt x="932" y="15"/>
                    </a:lnTo>
                    <a:lnTo>
                      <a:pt x="932" y="13"/>
                    </a:lnTo>
                    <a:lnTo>
                      <a:pt x="934" y="13"/>
                    </a:lnTo>
                    <a:lnTo>
                      <a:pt x="934" y="15"/>
                    </a:lnTo>
                    <a:lnTo>
                      <a:pt x="936" y="15"/>
                    </a:lnTo>
                    <a:lnTo>
                      <a:pt x="936" y="13"/>
                    </a:lnTo>
                    <a:lnTo>
                      <a:pt x="938" y="13"/>
                    </a:lnTo>
                    <a:lnTo>
                      <a:pt x="940" y="13"/>
                    </a:lnTo>
                    <a:lnTo>
                      <a:pt x="938" y="13"/>
                    </a:lnTo>
                    <a:lnTo>
                      <a:pt x="938" y="15"/>
                    </a:lnTo>
                    <a:lnTo>
                      <a:pt x="940" y="15"/>
                    </a:lnTo>
                    <a:lnTo>
                      <a:pt x="940" y="17"/>
                    </a:lnTo>
                    <a:lnTo>
                      <a:pt x="940" y="15"/>
                    </a:lnTo>
                    <a:lnTo>
                      <a:pt x="940" y="17"/>
                    </a:lnTo>
                    <a:lnTo>
                      <a:pt x="940" y="15"/>
                    </a:lnTo>
                    <a:lnTo>
                      <a:pt x="940" y="17"/>
                    </a:lnTo>
                    <a:lnTo>
                      <a:pt x="940" y="15"/>
                    </a:lnTo>
                    <a:lnTo>
                      <a:pt x="940" y="17"/>
                    </a:lnTo>
                    <a:lnTo>
                      <a:pt x="940" y="15"/>
                    </a:lnTo>
                    <a:lnTo>
                      <a:pt x="940" y="17"/>
                    </a:lnTo>
                    <a:lnTo>
                      <a:pt x="942" y="17"/>
                    </a:lnTo>
                    <a:lnTo>
                      <a:pt x="944" y="17"/>
                    </a:lnTo>
                    <a:lnTo>
                      <a:pt x="946" y="17"/>
                    </a:lnTo>
                    <a:lnTo>
                      <a:pt x="948" y="17"/>
                    </a:lnTo>
                    <a:lnTo>
                      <a:pt x="950" y="17"/>
                    </a:lnTo>
                    <a:lnTo>
                      <a:pt x="951" y="17"/>
                    </a:lnTo>
                    <a:lnTo>
                      <a:pt x="953" y="17"/>
                    </a:lnTo>
                    <a:lnTo>
                      <a:pt x="955" y="17"/>
                    </a:lnTo>
                    <a:lnTo>
                      <a:pt x="953" y="17"/>
                    </a:lnTo>
                    <a:lnTo>
                      <a:pt x="955" y="17"/>
                    </a:lnTo>
                    <a:lnTo>
                      <a:pt x="953" y="17"/>
                    </a:lnTo>
                    <a:lnTo>
                      <a:pt x="955" y="17"/>
                    </a:lnTo>
                    <a:lnTo>
                      <a:pt x="953" y="17"/>
                    </a:lnTo>
                    <a:lnTo>
                      <a:pt x="955" y="17"/>
                    </a:lnTo>
                    <a:lnTo>
                      <a:pt x="957" y="17"/>
                    </a:lnTo>
                    <a:lnTo>
                      <a:pt x="957" y="15"/>
                    </a:lnTo>
                    <a:lnTo>
                      <a:pt x="957" y="17"/>
                    </a:lnTo>
                    <a:lnTo>
                      <a:pt x="959" y="17"/>
                    </a:lnTo>
                    <a:lnTo>
                      <a:pt x="961" y="17"/>
                    </a:lnTo>
                    <a:lnTo>
                      <a:pt x="963" y="17"/>
                    </a:lnTo>
                    <a:lnTo>
                      <a:pt x="963" y="19"/>
                    </a:lnTo>
                    <a:lnTo>
                      <a:pt x="963" y="21"/>
                    </a:lnTo>
                    <a:lnTo>
                      <a:pt x="965" y="21"/>
                    </a:lnTo>
                    <a:lnTo>
                      <a:pt x="967" y="21"/>
                    </a:lnTo>
                    <a:lnTo>
                      <a:pt x="967" y="23"/>
                    </a:lnTo>
                    <a:lnTo>
                      <a:pt x="969" y="23"/>
                    </a:lnTo>
                    <a:lnTo>
                      <a:pt x="967" y="21"/>
                    </a:lnTo>
                    <a:lnTo>
                      <a:pt x="967" y="19"/>
                    </a:lnTo>
                    <a:lnTo>
                      <a:pt x="969" y="19"/>
                    </a:lnTo>
                    <a:lnTo>
                      <a:pt x="971" y="19"/>
                    </a:lnTo>
                    <a:lnTo>
                      <a:pt x="969" y="19"/>
                    </a:lnTo>
                    <a:lnTo>
                      <a:pt x="971" y="19"/>
                    </a:lnTo>
                    <a:lnTo>
                      <a:pt x="971" y="21"/>
                    </a:lnTo>
                    <a:lnTo>
                      <a:pt x="973" y="21"/>
                    </a:lnTo>
                    <a:lnTo>
                      <a:pt x="973" y="19"/>
                    </a:lnTo>
                    <a:lnTo>
                      <a:pt x="974" y="19"/>
                    </a:lnTo>
                    <a:lnTo>
                      <a:pt x="974" y="21"/>
                    </a:lnTo>
                    <a:lnTo>
                      <a:pt x="974" y="19"/>
                    </a:lnTo>
                    <a:lnTo>
                      <a:pt x="974" y="21"/>
                    </a:lnTo>
                    <a:lnTo>
                      <a:pt x="974" y="19"/>
                    </a:lnTo>
                    <a:lnTo>
                      <a:pt x="974" y="21"/>
                    </a:lnTo>
                    <a:lnTo>
                      <a:pt x="976" y="21"/>
                    </a:lnTo>
                    <a:lnTo>
                      <a:pt x="978" y="21"/>
                    </a:lnTo>
                    <a:lnTo>
                      <a:pt x="978" y="23"/>
                    </a:lnTo>
                    <a:lnTo>
                      <a:pt x="980" y="23"/>
                    </a:lnTo>
                    <a:lnTo>
                      <a:pt x="980" y="21"/>
                    </a:lnTo>
                    <a:lnTo>
                      <a:pt x="978" y="21"/>
                    </a:lnTo>
                    <a:lnTo>
                      <a:pt x="976" y="19"/>
                    </a:lnTo>
                    <a:lnTo>
                      <a:pt x="978" y="19"/>
                    </a:lnTo>
                    <a:lnTo>
                      <a:pt x="980" y="19"/>
                    </a:lnTo>
                    <a:lnTo>
                      <a:pt x="982" y="19"/>
                    </a:lnTo>
                    <a:lnTo>
                      <a:pt x="980" y="19"/>
                    </a:lnTo>
                    <a:lnTo>
                      <a:pt x="982" y="17"/>
                    </a:lnTo>
                    <a:lnTo>
                      <a:pt x="984" y="17"/>
                    </a:lnTo>
                    <a:lnTo>
                      <a:pt x="986" y="17"/>
                    </a:lnTo>
                    <a:lnTo>
                      <a:pt x="986" y="19"/>
                    </a:lnTo>
                    <a:lnTo>
                      <a:pt x="988" y="19"/>
                    </a:lnTo>
                    <a:lnTo>
                      <a:pt x="990" y="19"/>
                    </a:lnTo>
                    <a:lnTo>
                      <a:pt x="992" y="19"/>
                    </a:lnTo>
                    <a:lnTo>
                      <a:pt x="994" y="19"/>
                    </a:lnTo>
                    <a:lnTo>
                      <a:pt x="994" y="17"/>
                    </a:lnTo>
                    <a:lnTo>
                      <a:pt x="996" y="17"/>
                    </a:lnTo>
                    <a:lnTo>
                      <a:pt x="998" y="19"/>
                    </a:lnTo>
                    <a:lnTo>
                      <a:pt x="999" y="19"/>
                    </a:lnTo>
                    <a:lnTo>
                      <a:pt x="999" y="21"/>
                    </a:lnTo>
                    <a:lnTo>
                      <a:pt x="1001" y="21"/>
                    </a:lnTo>
                    <a:lnTo>
                      <a:pt x="1003" y="23"/>
                    </a:lnTo>
                    <a:lnTo>
                      <a:pt x="1005" y="23"/>
                    </a:lnTo>
                    <a:lnTo>
                      <a:pt x="1007" y="23"/>
                    </a:lnTo>
                    <a:lnTo>
                      <a:pt x="1005" y="23"/>
                    </a:lnTo>
                    <a:lnTo>
                      <a:pt x="1007" y="23"/>
                    </a:lnTo>
                    <a:lnTo>
                      <a:pt x="1007" y="21"/>
                    </a:lnTo>
                    <a:lnTo>
                      <a:pt x="1007" y="23"/>
                    </a:lnTo>
                    <a:lnTo>
                      <a:pt x="1007" y="21"/>
                    </a:lnTo>
                    <a:lnTo>
                      <a:pt x="1007" y="23"/>
                    </a:lnTo>
                    <a:lnTo>
                      <a:pt x="1009" y="21"/>
                    </a:lnTo>
                    <a:lnTo>
                      <a:pt x="1011" y="23"/>
                    </a:lnTo>
                    <a:lnTo>
                      <a:pt x="1011" y="21"/>
                    </a:lnTo>
                    <a:lnTo>
                      <a:pt x="1009" y="21"/>
                    </a:lnTo>
                    <a:lnTo>
                      <a:pt x="1007" y="21"/>
                    </a:lnTo>
                    <a:lnTo>
                      <a:pt x="1005" y="21"/>
                    </a:lnTo>
                    <a:lnTo>
                      <a:pt x="1005" y="19"/>
                    </a:lnTo>
                    <a:lnTo>
                      <a:pt x="1005" y="17"/>
                    </a:lnTo>
                    <a:lnTo>
                      <a:pt x="1003" y="17"/>
                    </a:lnTo>
                    <a:lnTo>
                      <a:pt x="1003" y="15"/>
                    </a:lnTo>
                    <a:lnTo>
                      <a:pt x="1001" y="15"/>
                    </a:lnTo>
                    <a:lnTo>
                      <a:pt x="1003" y="15"/>
                    </a:lnTo>
                    <a:lnTo>
                      <a:pt x="1003" y="13"/>
                    </a:lnTo>
                    <a:lnTo>
                      <a:pt x="1005" y="13"/>
                    </a:lnTo>
                    <a:lnTo>
                      <a:pt x="1007" y="13"/>
                    </a:lnTo>
                    <a:lnTo>
                      <a:pt x="1007" y="11"/>
                    </a:lnTo>
                    <a:lnTo>
                      <a:pt x="1007" y="13"/>
                    </a:lnTo>
                    <a:lnTo>
                      <a:pt x="1009" y="13"/>
                    </a:lnTo>
                    <a:lnTo>
                      <a:pt x="1011" y="13"/>
                    </a:lnTo>
                    <a:lnTo>
                      <a:pt x="1011" y="11"/>
                    </a:lnTo>
                    <a:lnTo>
                      <a:pt x="1013" y="11"/>
                    </a:lnTo>
                    <a:lnTo>
                      <a:pt x="1015" y="11"/>
                    </a:lnTo>
                    <a:lnTo>
                      <a:pt x="1015" y="13"/>
                    </a:lnTo>
                    <a:lnTo>
                      <a:pt x="1015" y="11"/>
                    </a:lnTo>
                    <a:lnTo>
                      <a:pt x="1015" y="13"/>
                    </a:lnTo>
                    <a:lnTo>
                      <a:pt x="1017" y="13"/>
                    </a:lnTo>
                    <a:lnTo>
                      <a:pt x="1017" y="11"/>
                    </a:lnTo>
                    <a:lnTo>
                      <a:pt x="1019" y="11"/>
                    </a:lnTo>
                    <a:lnTo>
                      <a:pt x="1021" y="11"/>
                    </a:lnTo>
                    <a:lnTo>
                      <a:pt x="1021" y="13"/>
                    </a:lnTo>
                    <a:lnTo>
                      <a:pt x="1021" y="11"/>
                    </a:lnTo>
                    <a:lnTo>
                      <a:pt x="1023" y="11"/>
                    </a:lnTo>
                    <a:lnTo>
                      <a:pt x="1023" y="9"/>
                    </a:lnTo>
                    <a:lnTo>
                      <a:pt x="1024" y="9"/>
                    </a:lnTo>
                    <a:lnTo>
                      <a:pt x="1024" y="11"/>
                    </a:lnTo>
                    <a:lnTo>
                      <a:pt x="1024" y="9"/>
                    </a:lnTo>
                    <a:lnTo>
                      <a:pt x="1024" y="11"/>
                    </a:lnTo>
                    <a:lnTo>
                      <a:pt x="1024" y="9"/>
                    </a:lnTo>
                    <a:lnTo>
                      <a:pt x="1024" y="11"/>
                    </a:lnTo>
                    <a:lnTo>
                      <a:pt x="1026" y="11"/>
                    </a:lnTo>
                    <a:lnTo>
                      <a:pt x="1024" y="11"/>
                    </a:lnTo>
                    <a:lnTo>
                      <a:pt x="1024" y="9"/>
                    </a:lnTo>
                    <a:lnTo>
                      <a:pt x="1026" y="9"/>
                    </a:lnTo>
                    <a:lnTo>
                      <a:pt x="1026" y="11"/>
                    </a:lnTo>
                    <a:lnTo>
                      <a:pt x="1028" y="11"/>
                    </a:lnTo>
                    <a:lnTo>
                      <a:pt x="1028" y="9"/>
                    </a:lnTo>
                    <a:lnTo>
                      <a:pt x="1026" y="9"/>
                    </a:lnTo>
                    <a:lnTo>
                      <a:pt x="1028" y="9"/>
                    </a:lnTo>
                    <a:lnTo>
                      <a:pt x="1030" y="9"/>
                    </a:lnTo>
                    <a:lnTo>
                      <a:pt x="1028" y="9"/>
                    </a:lnTo>
                    <a:lnTo>
                      <a:pt x="1030" y="9"/>
                    </a:lnTo>
                    <a:lnTo>
                      <a:pt x="1032" y="9"/>
                    </a:lnTo>
                    <a:lnTo>
                      <a:pt x="1032" y="11"/>
                    </a:lnTo>
                    <a:lnTo>
                      <a:pt x="1034" y="11"/>
                    </a:lnTo>
                    <a:lnTo>
                      <a:pt x="1036" y="11"/>
                    </a:lnTo>
                    <a:lnTo>
                      <a:pt x="1036" y="9"/>
                    </a:lnTo>
                    <a:lnTo>
                      <a:pt x="1038" y="9"/>
                    </a:lnTo>
                    <a:lnTo>
                      <a:pt x="1040" y="9"/>
                    </a:lnTo>
                    <a:lnTo>
                      <a:pt x="1042" y="9"/>
                    </a:lnTo>
                    <a:lnTo>
                      <a:pt x="1042" y="11"/>
                    </a:lnTo>
                    <a:lnTo>
                      <a:pt x="1044" y="9"/>
                    </a:lnTo>
                    <a:lnTo>
                      <a:pt x="1044" y="11"/>
                    </a:lnTo>
                    <a:lnTo>
                      <a:pt x="1046" y="11"/>
                    </a:lnTo>
                    <a:lnTo>
                      <a:pt x="1047" y="11"/>
                    </a:lnTo>
                    <a:lnTo>
                      <a:pt x="1047" y="13"/>
                    </a:lnTo>
                    <a:lnTo>
                      <a:pt x="1049" y="13"/>
                    </a:lnTo>
                    <a:lnTo>
                      <a:pt x="1051" y="13"/>
                    </a:lnTo>
                    <a:lnTo>
                      <a:pt x="1049" y="13"/>
                    </a:lnTo>
                    <a:lnTo>
                      <a:pt x="1051" y="15"/>
                    </a:lnTo>
                    <a:lnTo>
                      <a:pt x="1053" y="15"/>
                    </a:lnTo>
                    <a:lnTo>
                      <a:pt x="1055" y="17"/>
                    </a:lnTo>
                    <a:lnTo>
                      <a:pt x="1057" y="17"/>
                    </a:lnTo>
                    <a:lnTo>
                      <a:pt x="1059" y="17"/>
                    </a:lnTo>
                    <a:lnTo>
                      <a:pt x="1057" y="17"/>
                    </a:lnTo>
                    <a:lnTo>
                      <a:pt x="1057" y="19"/>
                    </a:lnTo>
                    <a:lnTo>
                      <a:pt x="1059" y="19"/>
                    </a:lnTo>
                    <a:lnTo>
                      <a:pt x="1061" y="21"/>
                    </a:lnTo>
                    <a:lnTo>
                      <a:pt x="1063" y="23"/>
                    </a:lnTo>
                    <a:lnTo>
                      <a:pt x="1061" y="23"/>
                    </a:lnTo>
                    <a:lnTo>
                      <a:pt x="1061" y="25"/>
                    </a:lnTo>
                    <a:lnTo>
                      <a:pt x="1063" y="25"/>
                    </a:lnTo>
                    <a:lnTo>
                      <a:pt x="1063" y="27"/>
                    </a:lnTo>
                    <a:lnTo>
                      <a:pt x="1065" y="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8" name="Freeform 12"/>
              <p:cNvSpPr>
                <a:spLocks noEditPoints="1"/>
              </p:cNvSpPr>
              <p:nvPr/>
            </p:nvSpPr>
            <p:spPr bwMode="auto">
              <a:xfrm>
                <a:off x="1377504" y="1259405"/>
                <a:ext cx="886122" cy="759533"/>
              </a:xfrm>
              <a:custGeom>
                <a:avLst/>
                <a:gdLst>
                  <a:gd name="T0" fmla="*/ 93 w 938"/>
                  <a:gd name="T1" fmla="*/ 783 h 804"/>
                  <a:gd name="T2" fmla="*/ 118 w 938"/>
                  <a:gd name="T3" fmla="*/ 791 h 804"/>
                  <a:gd name="T4" fmla="*/ 114 w 938"/>
                  <a:gd name="T5" fmla="*/ 777 h 804"/>
                  <a:gd name="T6" fmla="*/ 100 w 938"/>
                  <a:gd name="T7" fmla="*/ 708 h 804"/>
                  <a:gd name="T8" fmla="*/ 104 w 938"/>
                  <a:gd name="T9" fmla="*/ 698 h 804"/>
                  <a:gd name="T10" fmla="*/ 41 w 938"/>
                  <a:gd name="T11" fmla="*/ 652 h 804"/>
                  <a:gd name="T12" fmla="*/ 119 w 938"/>
                  <a:gd name="T13" fmla="*/ 664 h 804"/>
                  <a:gd name="T14" fmla="*/ 121 w 938"/>
                  <a:gd name="T15" fmla="*/ 658 h 804"/>
                  <a:gd name="T16" fmla="*/ 121 w 938"/>
                  <a:gd name="T17" fmla="*/ 654 h 804"/>
                  <a:gd name="T18" fmla="*/ 110 w 938"/>
                  <a:gd name="T19" fmla="*/ 641 h 804"/>
                  <a:gd name="T20" fmla="*/ 108 w 938"/>
                  <a:gd name="T21" fmla="*/ 635 h 804"/>
                  <a:gd name="T22" fmla="*/ 98 w 938"/>
                  <a:gd name="T23" fmla="*/ 619 h 804"/>
                  <a:gd name="T24" fmla="*/ 102 w 938"/>
                  <a:gd name="T25" fmla="*/ 618 h 804"/>
                  <a:gd name="T26" fmla="*/ 96 w 938"/>
                  <a:gd name="T27" fmla="*/ 612 h 804"/>
                  <a:gd name="T28" fmla="*/ 104 w 938"/>
                  <a:gd name="T29" fmla="*/ 618 h 804"/>
                  <a:gd name="T30" fmla="*/ 95 w 938"/>
                  <a:gd name="T31" fmla="*/ 612 h 804"/>
                  <a:gd name="T32" fmla="*/ 104 w 938"/>
                  <a:gd name="T33" fmla="*/ 614 h 804"/>
                  <a:gd name="T34" fmla="*/ 102 w 938"/>
                  <a:gd name="T35" fmla="*/ 612 h 804"/>
                  <a:gd name="T36" fmla="*/ 177 w 938"/>
                  <a:gd name="T37" fmla="*/ 660 h 804"/>
                  <a:gd name="T38" fmla="*/ 100 w 938"/>
                  <a:gd name="T39" fmla="*/ 606 h 804"/>
                  <a:gd name="T40" fmla="*/ 112 w 938"/>
                  <a:gd name="T41" fmla="*/ 598 h 804"/>
                  <a:gd name="T42" fmla="*/ 18 w 938"/>
                  <a:gd name="T43" fmla="*/ 529 h 804"/>
                  <a:gd name="T44" fmla="*/ 16 w 938"/>
                  <a:gd name="T45" fmla="*/ 533 h 804"/>
                  <a:gd name="T46" fmla="*/ 16 w 938"/>
                  <a:gd name="T47" fmla="*/ 519 h 804"/>
                  <a:gd name="T48" fmla="*/ 23 w 938"/>
                  <a:gd name="T49" fmla="*/ 527 h 804"/>
                  <a:gd name="T50" fmla="*/ 239 w 938"/>
                  <a:gd name="T51" fmla="*/ 635 h 804"/>
                  <a:gd name="T52" fmla="*/ 229 w 938"/>
                  <a:gd name="T53" fmla="*/ 614 h 804"/>
                  <a:gd name="T54" fmla="*/ 219 w 938"/>
                  <a:gd name="T55" fmla="*/ 535 h 804"/>
                  <a:gd name="T56" fmla="*/ 634 w 938"/>
                  <a:gd name="T57" fmla="*/ 487 h 804"/>
                  <a:gd name="T58" fmla="*/ 625 w 938"/>
                  <a:gd name="T59" fmla="*/ 481 h 804"/>
                  <a:gd name="T60" fmla="*/ 613 w 938"/>
                  <a:gd name="T61" fmla="*/ 475 h 804"/>
                  <a:gd name="T62" fmla="*/ 621 w 938"/>
                  <a:gd name="T63" fmla="*/ 479 h 804"/>
                  <a:gd name="T64" fmla="*/ 590 w 938"/>
                  <a:gd name="T65" fmla="*/ 462 h 804"/>
                  <a:gd name="T66" fmla="*/ 573 w 938"/>
                  <a:gd name="T67" fmla="*/ 437 h 804"/>
                  <a:gd name="T68" fmla="*/ 565 w 938"/>
                  <a:gd name="T69" fmla="*/ 431 h 804"/>
                  <a:gd name="T70" fmla="*/ 581 w 938"/>
                  <a:gd name="T71" fmla="*/ 429 h 804"/>
                  <a:gd name="T72" fmla="*/ 579 w 938"/>
                  <a:gd name="T73" fmla="*/ 419 h 804"/>
                  <a:gd name="T74" fmla="*/ 577 w 938"/>
                  <a:gd name="T75" fmla="*/ 410 h 804"/>
                  <a:gd name="T76" fmla="*/ 577 w 938"/>
                  <a:gd name="T77" fmla="*/ 406 h 804"/>
                  <a:gd name="T78" fmla="*/ 569 w 938"/>
                  <a:gd name="T79" fmla="*/ 398 h 804"/>
                  <a:gd name="T80" fmla="*/ 650 w 938"/>
                  <a:gd name="T81" fmla="*/ 379 h 804"/>
                  <a:gd name="T82" fmla="*/ 679 w 938"/>
                  <a:gd name="T83" fmla="*/ 341 h 804"/>
                  <a:gd name="T84" fmla="*/ 738 w 938"/>
                  <a:gd name="T85" fmla="*/ 323 h 804"/>
                  <a:gd name="T86" fmla="*/ 759 w 938"/>
                  <a:gd name="T87" fmla="*/ 314 h 804"/>
                  <a:gd name="T88" fmla="*/ 765 w 938"/>
                  <a:gd name="T89" fmla="*/ 314 h 804"/>
                  <a:gd name="T90" fmla="*/ 775 w 938"/>
                  <a:gd name="T91" fmla="*/ 246 h 804"/>
                  <a:gd name="T92" fmla="*/ 786 w 938"/>
                  <a:gd name="T93" fmla="*/ 241 h 804"/>
                  <a:gd name="T94" fmla="*/ 811 w 938"/>
                  <a:gd name="T95" fmla="*/ 243 h 804"/>
                  <a:gd name="T96" fmla="*/ 842 w 938"/>
                  <a:gd name="T97" fmla="*/ 79 h 804"/>
                  <a:gd name="T98" fmla="*/ 682 w 938"/>
                  <a:gd name="T99" fmla="*/ 6 h 804"/>
                  <a:gd name="T100" fmla="*/ 684 w 938"/>
                  <a:gd name="T101" fmla="*/ 2 h 804"/>
                  <a:gd name="T102" fmla="*/ 767 w 938"/>
                  <a:gd name="T103" fmla="*/ 33 h 804"/>
                  <a:gd name="T104" fmla="*/ 782 w 938"/>
                  <a:gd name="T105" fmla="*/ 41 h 804"/>
                  <a:gd name="T106" fmla="*/ 736 w 938"/>
                  <a:gd name="T107" fmla="*/ 18 h 804"/>
                  <a:gd name="T108" fmla="*/ 800 w 938"/>
                  <a:gd name="T109" fmla="*/ 45 h 804"/>
                  <a:gd name="T110" fmla="*/ 777 w 938"/>
                  <a:gd name="T111" fmla="*/ 35 h 804"/>
                  <a:gd name="T112" fmla="*/ 909 w 938"/>
                  <a:gd name="T113" fmla="*/ 79 h 804"/>
                  <a:gd name="T114" fmla="*/ 757 w 938"/>
                  <a:gd name="T115" fmla="*/ 14 h 804"/>
                  <a:gd name="T116" fmla="*/ 857 w 938"/>
                  <a:gd name="T117" fmla="*/ 41 h 804"/>
                  <a:gd name="T118" fmla="*/ 873 w 938"/>
                  <a:gd name="T119" fmla="*/ 43 h 804"/>
                  <a:gd name="T120" fmla="*/ 784 w 938"/>
                  <a:gd name="T121" fmla="*/ 0 h 804"/>
                  <a:gd name="T122" fmla="*/ 863 w 938"/>
                  <a:gd name="T123" fmla="*/ 23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8" h="804">
                    <a:moveTo>
                      <a:pt x="81" y="796"/>
                    </a:moveTo>
                    <a:lnTo>
                      <a:pt x="79" y="796"/>
                    </a:lnTo>
                    <a:lnTo>
                      <a:pt x="81" y="796"/>
                    </a:lnTo>
                    <a:lnTo>
                      <a:pt x="81" y="798"/>
                    </a:lnTo>
                    <a:lnTo>
                      <a:pt x="79" y="796"/>
                    </a:lnTo>
                    <a:lnTo>
                      <a:pt x="81" y="796"/>
                    </a:lnTo>
                    <a:close/>
                    <a:moveTo>
                      <a:pt x="81" y="794"/>
                    </a:moveTo>
                    <a:lnTo>
                      <a:pt x="81" y="796"/>
                    </a:lnTo>
                    <a:lnTo>
                      <a:pt x="81" y="794"/>
                    </a:lnTo>
                    <a:close/>
                    <a:moveTo>
                      <a:pt x="83" y="792"/>
                    </a:moveTo>
                    <a:lnTo>
                      <a:pt x="83" y="794"/>
                    </a:lnTo>
                    <a:lnTo>
                      <a:pt x="83" y="792"/>
                    </a:lnTo>
                    <a:lnTo>
                      <a:pt x="85" y="792"/>
                    </a:lnTo>
                    <a:lnTo>
                      <a:pt x="83" y="792"/>
                    </a:lnTo>
                    <a:close/>
                    <a:moveTo>
                      <a:pt x="83" y="792"/>
                    </a:moveTo>
                    <a:lnTo>
                      <a:pt x="85" y="792"/>
                    </a:lnTo>
                    <a:lnTo>
                      <a:pt x="83" y="792"/>
                    </a:lnTo>
                    <a:close/>
                    <a:moveTo>
                      <a:pt x="85" y="792"/>
                    </a:moveTo>
                    <a:lnTo>
                      <a:pt x="85" y="791"/>
                    </a:lnTo>
                    <a:lnTo>
                      <a:pt x="85" y="792"/>
                    </a:lnTo>
                    <a:close/>
                    <a:moveTo>
                      <a:pt x="85" y="787"/>
                    </a:moveTo>
                    <a:lnTo>
                      <a:pt x="85" y="789"/>
                    </a:lnTo>
                    <a:lnTo>
                      <a:pt x="85" y="787"/>
                    </a:lnTo>
                    <a:close/>
                    <a:moveTo>
                      <a:pt x="91" y="785"/>
                    </a:moveTo>
                    <a:lnTo>
                      <a:pt x="91" y="787"/>
                    </a:lnTo>
                    <a:lnTo>
                      <a:pt x="91" y="785"/>
                    </a:lnTo>
                    <a:close/>
                    <a:moveTo>
                      <a:pt x="93" y="783"/>
                    </a:moveTo>
                    <a:lnTo>
                      <a:pt x="91" y="785"/>
                    </a:lnTo>
                    <a:lnTo>
                      <a:pt x="93" y="783"/>
                    </a:lnTo>
                    <a:close/>
                    <a:moveTo>
                      <a:pt x="127" y="802"/>
                    </a:moveTo>
                    <a:lnTo>
                      <a:pt x="127" y="804"/>
                    </a:lnTo>
                    <a:lnTo>
                      <a:pt x="125" y="802"/>
                    </a:lnTo>
                    <a:lnTo>
                      <a:pt x="127" y="802"/>
                    </a:lnTo>
                    <a:close/>
                    <a:moveTo>
                      <a:pt x="127" y="804"/>
                    </a:moveTo>
                    <a:lnTo>
                      <a:pt x="127" y="802"/>
                    </a:lnTo>
                    <a:lnTo>
                      <a:pt x="127" y="804"/>
                    </a:lnTo>
                    <a:lnTo>
                      <a:pt x="129" y="804"/>
                    </a:lnTo>
                    <a:lnTo>
                      <a:pt x="127" y="804"/>
                    </a:lnTo>
                    <a:close/>
                    <a:moveTo>
                      <a:pt x="91" y="781"/>
                    </a:moveTo>
                    <a:lnTo>
                      <a:pt x="93" y="779"/>
                    </a:lnTo>
                    <a:lnTo>
                      <a:pt x="91" y="781"/>
                    </a:lnTo>
                    <a:close/>
                    <a:moveTo>
                      <a:pt x="118" y="792"/>
                    </a:moveTo>
                    <a:lnTo>
                      <a:pt x="116" y="792"/>
                    </a:lnTo>
                    <a:lnTo>
                      <a:pt x="118" y="792"/>
                    </a:lnTo>
                    <a:close/>
                    <a:moveTo>
                      <a:pt x="95" y="779"/>
                    </a:moveTo>
                    <a:lnTo>
                      <a:pt x="93" y="779"/>
                    </a:lnTo>
                    <a:lnTo>
                      <a:pt x="95" y="779"/>
                    </a:lnTo>
                    <a:close/>
                    <a:moveTo>
                      <a:pt x="116" y="791"/>
                    </a:moveTo>
                    <a:lnTo>
                      <a:pt x="116" y="792"/>
                    </a:lnTo>
                    <a:lnTo>
                      <a:pt x="116" y="791"/>
                    </a:lnTo>
                    <a:lnTo>
                      <a:pt x="118" y="791"/>
                    </a:lnTo>
                    <a:lnTo>
                      <a:pt x="116" y="792"/>
                    </a:lnTo>
                    <a:lnTo>
                      <a:pt x="116" y="791"/>
                    </a:lnTo>
                    <a:lnTo>
                      <a:pt x="118" y="792"/>
                    </a:lnTo>
                    <a:lnTo>
                      <a:pt x="116" y="792"/>
                    </a:lnTo>
                    <a:lnTo>
                      <a:pt x="116" y="791"/>
                    </a:lnTo>
                    <a:close/>
                    <a:moveTo>
                      <a:pt x="118" y="789"/>
                    </a:moveTo>
                    <a:lnTo>
                      <a:pt x="118" y="791"/>
                    </a:lnTo>
                    <a:lnTo>
                      <a:pt x="118" y="789"/>
                    </a:lnTo>
                    <a:lnTo>
                      <a:pt x="118" y="791"/>
                    </a:lnTo>
                    <a:lnTo>
                      <a:pt x="116" y="791"/>
                    </a:lnTo>
                    <a:lnTo>
                      <a:pt x="116" y="789"/>
                    </a:lnTo>
                    <a:lnTo>
                      <a:pt x="116" y="791"/>
                    </a:lnTo>
                    <a:lnTo>
                      <a:pt x="116" y="789"/>
                    </a:lnTo>
                    <a:lnTo>
                      <a:pt x="116" y="791"/>
                    </a:lnTo>
                    <a:lnTo>
                      <a:pt x="116" y="789"/>
                    </a:lnTo>
                    <a:lnTo>
                      <a:pt x="118" y="789"/>
                    </a:lnTo>
                    <a:close/>
                    <a:moveTo>
                      <a:pt x="116" y="783"/>
                    </a:moveTo>
                    <a:lnTo>
                      <a:pt x="116" y="785"/>
                    </a:lnTo>
                    <a:lnTo>
                      <a:pt x="116" y="783"/>
                    </a:lnTo>
                    <a:close/>
                    <a:moveTo>
                      <a:pt x="116" y="781"/>
                    </a:moveTo>
                    <a:lnTo>
                      <a:pt x="116" y="783"/>
                    </a:lnTo>
                    <a:lnTo>
                      <a:pt x="116" y="781"/>
                    </a:lnTo>
                    <a:close/>
                    <a:moveTo>
                      <a:pt x="116" y="779"/>
                    </a:moveTo>
                    <a:lnTo>
                      <a:pt x="114" y="779"/>
                    </a:lnTo>
                    <a:lnTo>
                      <a:pt x="116" y="779"/>
                    </a:lnTo>
                    <a:close/>
                    <a:moveTo>
                      <a:pt x="114" y="777"/>
                    </a:moveTo>
                    <a:lnTo>
                      <a:pt x="114" y="779"/>
                    </a:lnTo>
                    <a:lnTo>
                      <a:pt x="116" y="779"/>
                    </a:lnTo>
                    <a:lnTo>
                      <a:pt x="116" y="781"/>
                    </a:lnTo>
                    <a:lnTo>
                      <a:pt x="114" y="781"/>
                    </a:lnTo>
                    <a:lnTo>
                      <a:pt x="114" y="779"/>
                    </a:lnTo>
                    <a:lnTo>
                      <a:pt x="114" y="777"/>
                    </a:lnTo>
                    <a:lnTo>
                      <a:pt x="114" y="779"/>
                    </a:lnTo>
                    <a:lnTo>
                      <a:pt x="114" y="777"/>
                    </a:lnTo>
                    <a:lnTo>
                      <a:pt x="114" y="779"/>
                    </a:lnTo>
                    <a:lnTo>
                      <a:pt x="114" y="777"/>
                    </a:lnTo>
                    <a:close/>
                    <a:moveTo>
                      <a:pt x="114" y="775"/>
                    </a:moveTo>
                    <a:lnTo>
                      <a:pt x="114" y="777"/>
                    </a:lnTo>
                    <a:lnTo>
                      <a:pt x="114" y="775"/>
                    </a:lnTo>
                    <a:close/>
                    <a:moveTo>
                      <a:pt x="108" y="760"/>
                    </a:moveTo>
                    <a:lnTo>
                      <a:pt x="108" y="762"/>
                    </a:lnTo>
                    <a:lnTo>
                      <a:pt x="106" y="762"/>
                    </a:lnTo>
                    <a:lnTo>
                      <a:pt x="108" y="762"/>
                    </a:lnTo>
                    <a:lnTo>
                      <a:pt x="106" y="762"/>
                    </a:lnTo>
                    <a:lnTo>
                      <a:pt x="106" y="760"/>
                    </a:lnTo>
                    <a:lnTo>
                      <a:pt x="108" y="760"/>
                    </a:lnTo>
                    <a:close/>
                    <a:moveTo>
                      <a:pt x="104" y="754"/>
                    </a:moveTo>
                    <a:lnTo>
                      <a:pt x="104" y="756"/>
                    </a:lnTo>
                    <a:lnTo>
                      <a:pt x="104" y="754"/>
                    </a:lnTo>
                    <a:close/>
                    <a:moveTo>
                      <a:pt x="102" y="748"/>
                    </a:moveTo>
                    <a:lnTo>
                      <a:pt x="102" y="750"/>
                    </a:lnTo>
                    <a:lnTo>
                      <a:pt x="104" y="750"/>
                    </a:lnTo>
                    <a:lnTo>
                      <a:pt x="104" y="752"/>
                    </a:lnTo>
                    <a:lnTo>
                      <a:pt x="102" y="750"/>
                    </a:lnTo>
                    <a:lnTo>
                      <a:pt x="102" y="748"/>
                    </a:lnTo>
                    <a:close/>
                    <a:moveTo>
                      <a:pt x="102" y="748"/>
                    </a:moveTo>
                    <a:lnTo>
                      <a:pt x="100" y="748"/>
                    </a:lnTo>
                    <a:lnTo>
                      <a:pt x="102" y="748"/>
                    </a:lnTo>
                    <a:close/>
                    <a:moveTo>
                      <a:pt x="100" y="742"/>
                    </a:moveTo>
                    <a:lnTo>
                      <a:pt x="102" y="742"/>
                    </a:lnTo>
                    <a:lnTo>
                      <a:pt x="100" y="742"/>
                    </a:lnTo>
                    <a:close/>
                    <a:moveTo>
                      <a:pt x="102" y="737"/>
                    </a:moveTo>
                    <a:lnTo>
                      <a:pt x="104" y="737"/>
                    </a:lnTo>
                    <a:lnTo>
                      <a:pt x="102" y="737"/>
                    </a:lnTo>
                    <a:close/>
                    <a:moveTo>
                      <a:pt x="100" y="708"/>
                    </a:moveTo>
                    <a:lnTo>
                      <a:pt x="100" y="710"/>
                    </a:lnTo>
                    <a:lnTo>
                      <a:pt x="100" y="712"/>
                    </a:lnTo>
                    <a:lnTo>
                      <a:pt x="100" y="710"/>
                    </a:lnTo>
                    <a:lnTo>
                      <a:pt x="100" y="712"/>
                    </a:lnTo>
                    <a:lnTo>
                      <a:pt x="100" y="710"/>
                    </a:lnTo>
                    <a:lnTo>
                      <a:pt x="100" y="708"/>
                    </a:lnTo>
                    <a:close/>
                    <a:moveTo>
                      <a:pt x="100" y="706"/>
                    </a:moveTo>
                    <a:lnTo>
                      <a:pt x="100" y="708"/>
                    </a:lnTo>
                    <a:lnTo>
                      <a:pt x="100" y="706"/>
                    </a:lnTo>
                    <a:close/>
                    <a:moveTo>
                      <a:pt x="96" y="700"/>
                    </a:moveTo>
                    <a:lnTo>
                      <a:pt x="98" y="700"/>
                    </a:lnTo>
                    <a:lnTo>
                      <a:pt x="96" y="700"/>
                    </a:lnTo>
                    <a:close/>
                    <a:moveTo>
                      <a:pt x="102" y="702"/>
                    </a:moveTo>
                    <a:lnTo>
                      <a:pt x="100" y="704"/>
                    </a:lnTo>
                    <a:lnTo>
                      <a:pt x="100" y="702"/>
                    </a:lnTo>
                    <a:lnTo>
                      <a:pt x="102" y="702"/>
                    </a:lnTo>
                    <a:close/>
                    <a:moveTo>
                      <a:pt x="106" y="700"/>
                    </a:moveTo>
                    <a:lnTo>
                      <a:pt x="104" y="700"/>
                    </a:lnTo>
                    <a:lnTo>
                      <a:pt x="106" y="700"/>
                    </a:lnTo>
                    <a:close/>
                    <a:moveTo>
                      <a:pt x="106" y="696"/>
                    </a:moveTo>
                    <a:lnTo>
                      <a:pt x="106" y="698"/>
                    </a:lnTo>
                    <a:lnTo>
                      <a:pt x="106" y="696"/>
                    </a:lnTo>
                    <a:close/>
                    <a:moveTo>
                      <a:pt x="106" y="698"/>
                    </a:moveTo>
                    <a:lnTo>
                      <a:pt x="104" y="700"/>
                    </a:lnTo>
                    <a:lnTo>
                      <a:pt x="104" y="698"/>
                    </a:lnTo>
                    <a:lnTo>
                      <a:pt x="106" y="698"/>
                    </a:lnTo>
                    <a:lnTo>
                      <a:pt x="104" y="698"/>
                    </a:lnTo>
                    <a:lnTo>
                      <a:pt x="106" y="698"/>
                    </a:lnTo>
                    <a:lnTo>
                      <a:pt x="104" y="698"/>
                    </a:lnTo>
                    <a:lnTo>
                      <a:pt x="106" y="698"/>
                    </a:lnTo>
                    <a:lnTo>
                      <a:pt x="106" y="696"/>
                    </a:lnTo>
                    <a:lnTo>
                      <a:pt x="106" y="698"/>
                    </a:lnTo>
                    <a:close/>
                    <a:moveTo>
                      <a:pt x="100" y="689"/>
                    </a:moveTo>
                    <a:lnTo>
                      <a:pt x="100" y="691"/>
                    </a:lnTo>
                    <a:lnTo>
                      <a:pt x="100" y="689"/>
                    </a:lnTo>
                    <a:close/>
                    <a:moveTo>
                      <a:pt x="33" y="644"/>
                    </a:moveTo>
                    <a:lnTo>
                      <a:pt x="31" y="644"/>
                    </a:lnTo>
                    <a:lnTo>
                      <a:pt x="31" y="642"/>
                    </a:lnTo>
                    <a:lnTo>
                      <a:pt x="31" y="644"/>
                    </a:lnTo>
                    <a:lnTo>
                      <a:pt x="33" y="644"/>
                    </a:lnTo>
                    <a:close/>
                    <a:moveTo>
                      <a:pt x="39" y="654"/>
                    </a:moveTo>
                    <a:lnTo>
                      <a:pt x="39" y="652"/>
                    </a:lnTo>
                    <a:lnTo>
                      <a:pt x="39" y="654"/>
                    </a:lnTo>
                    <a:lnTo>
                      <a:pt x="37" y="654"/>
                    </a:lnTo>
                    <a:lnTo>
                      <a:pt x="35" y="654"/>
                    </a:lnTo>
                    <a:lnTo>
                      <a:pt x="35" y="652"/>
                    </a:lnTo>
                    <a:lnTo>
                      <a:pt x="35" y="650"/>
                    </a:lnTo>
                    <a:lnTo>
                      <a:pt x="33" y="650"/>
                    </a:lnTo>
                    <a:lnTo>
                      <a:pt x="33" y="648"/>
                    </a:lnTo>
                    <a:lnTo>
                      <a:pt x="33" y="646"/>
                    </a:lnTo>
                    <a:lnTo>
                      <a:pt x="35" y="646"/>
                    </a:lnTo>
                    <a:lnTo>
                      <a:pt x="37" y="644"/>
                    </a:lnTo>
                    <a:lnTo>
                      <a:pt x="39" y="644"/>
                    </a:lnTo>
                    <a:lnTo>
                      <a:pt x="39" y="646"/>
                    </a:lnTo>
                    <a:lnTo>
                      <a:pt x="39" y="648"/>
                    </a:lnTo>
                    <a:lnTo>
                      <a:pt x="39" y="650"/>
                    </a:lnTo>
                    <a:lnTo>
                      <a:pt x="39" y="652"/>
                    </a:lnTo>
                    <a:lnTo>
                      <a:pt x="41" y="652"/>
                    </a:lnTo>
                    <a:lnTo>
                      <a:pt x="39" y="654"/>
                    </a:lnTo>
                    <a:close/>
                    <a:moveTo>
                      <a:pt x="110" y="677"/>
                    </a:moveTo>
                    <a:lnTo>
                      <a:pt x="108" y="677"/>
                    </a:lnTo>
                    <a:lnTo>
                      <a:pt x="110" y="677"/>
                    </a:lnTo>
                    <a:close/>
                    <a:moveTo>
                      <a:pt x="25" y="616"/>
                    </a:moveTo>
                    <a:lnTo>
                      <a:pt x="27" y="616"/>
                    </a:lnTo>
                    <a:lnTo>
                      <a:pt x="25" y="616"/>
                    </a:lnTo>
                    <a:lnTo>
                      <a:pt x="25" y="614"/>
                    </a:lnTo>
                    <a:lnTo>
                      <a:pt x="25" y="616"/>
                    </a:lnTo>
                    <a:lnTo>
                      <a:pt x="25" y="614"/>
                    </a:lnTo>
                    <a:lnTo>
                      <a:pt x="25" y="616"/>
                    </a:lnTo>
                    <a:close/>
                    <a:moveTo>
                      <a:pt x="2" y="598"/>
                    </a:moveTo>
                    <a:lnTo>
                      <a:pt x="0" y="598"/>
                    </a:lnTo>
                    <a:lnTo>
                      <a:pt x="0" y="596"/>
                    </a:lnTo>
                    <a:lnTo>
                      <a:pt x="2" y="596"/>
                    </a:lnTo>
                    <a:lnTo>
                      <a:pt x="2" y="594"/>
                    </a:lnTo>
                    <a:lnTo>
                      <a:pt x="2" y="596"/>
                    </a:lnTo>
                    <a:lnTo>
                      <a:pt x="2" y="598"/>
                    </a:lnTo>
                    <a:close/>
                    <a:moveTo>
                      <a:pt x="18" y="602"/>
                    </a:moveTo>
                    <a:lnTo>
                      <a:pt x="20" y="602"/>
                    </a:lnTo>
                    <a:lnTo>
                      <a:pt x="18" y="602"/>
                    </a:lnTo>
                    <a:lnTo>
                      <a:pt x="20" y="602"/>
                    </a:lnTo>
                    <a:lnTo>
                      <a:pt x="18" y="602"/>
                    </a:lnTo>
                    <a:lnTo>
                      <a:pt x="20" y="602"/>
                    </a:lnTo>
                    <a:lnTo>
                      <a:pt x="20" y="604"/>
                    </a:lnTo>
                    <a:lnTo>
                      <a:pt x="18" y="604"/>
                    </a:lnTo>
                    <a:lnTo>
                      <a:pt x="18" y="602"/>
                    </a:lnTo>
                    <a:close/>
                    <a:moveTo>
                      <a:pt x="119" y="666"/>
                    </a:moveTo>
                    <a:lnTo>
                      <a:pt x="119" y="664"/>
                    </a:lnTo>
                    <a:lnTo>
                      <a:pt x="121" y="664"/>
                    </a:lnTo>
                    <a:lnTo>
                      <a:pt x="121" y="666"/>
                    </a:lnTo>
                    <a:lnTo>
                      <a:pt x="119" y="666"/>
                    </a:lnTo>
                    <a:close/>
                    <a:moveTo>
                      <a:pt x="14" y="596"/>
                    </a:moveTo>
                    <a:lnTo>
                      <a:pt x="16" y="596"/>
                    </a:lnTo>
                    <a:lnTo>
                      <a:pt x="14" y="596"/>
                    </a:lnTo>
                    <a:close/>
                    <a:moveTo>
                      <a:pt x="121" y="662"/>
                    </a:moveTo>
                    <a:lnTo>
                      <a:pt x="123" y="662"/>
                    </a:lnTo>
                    <a:lnTo>
                      <a:pt x="121" y="662"/>
                    </a:lnTo>
                    <a:close/>
                    <a:moveTo>
                      <a:pt x="123" y="656"/>
                    </a:moveTo>
                    <a:lnTo>
                      <a:pt x="123" y="654"/>
                    </a:lnTo>
                    <a:lnTo>
                      <a:pt x="123" y="656"/>
                    </a:lnTo>
                    <a:close/>
                    <a:moveTo>
                      <a:pt x="121" y="654"/>
                    </a:moveTo>
                    <a:lnTo>
                      <a:pt x="123" y="656"/>
                    </a:lnTo>
                    <a:lnTo>
                      <a:pt x="121" y="656"/>
                    </a:lnTo>
                    <a:lnTo>
                      <a:pt x="121" y="654"/>
                    </a:lnTo>
                    <a:close/>
                    <a:moveTo>
                      <a:pt x="121" y="654"/>
                    </a:moveTo>
                    <a:lnTo>
                      <a:pt x="121" y="656"/>
                    </a:lnTo>
                    <a:lnTo>
                      <a:pt x="121" y="654"/>
                    </a:lnTo>
                    <a:lnTo>
                      <a:pt x="121" y="656"/>
                    </a:lnTo>
                    <a:lnTo>
                      <a:pt x="123" y="656"/>
                    </a:lnTo>
                    <a:lnTo>
                      <a:pt x="123" y="658"/>
                    </a:lnTo>
                    <a:lnTo>
                      <a:pt x="125" y="658"/>
                    </a:lnTo>
                    <a:lnTo>
                      <a:pt x="127" y="660"/>
                    </a:lnTo>
                    <a:lnTo>
                      <a:pt x="127" y="662"/>
                    </a:lnTo>
                    <a:lnTo>
                      <a:pt x="125" y="662"/>
                    </a:lnTo>
                    <a:lnTo>
                      <a:pt x="123" y="662"/>
                    </a:lnTo>
                    <a:lnTo>
                      <a:pt x="121" y="660"/>
                    </a:lnTo>
                    <a:lnTo>
                      <a:pt x="121" y="658"/>
                    </a:lnTo>
                    <a:lnTo>
                      <a:pt x="123" y="658"/>
                    </a:lnTo>
                    <a:lnTo>
                      <a:pt x="121" y="658"/>
                    </a:lnTo>
                    <a:lnTo>
                      <a:pt x="121" y="656"/>
                    </a:lnTo>
                    <a:lnTo>
                      <a:pt x="119" y="654"/>
                    </a:lnTo>
                    <a:lnTo>
                      <a:pt x="119" y="652"/>
                    </a:lnTo>
                    <a:lnTo>
                      <a:pt x="121" y="654"/>
                    </a:lnTo>
                    <a:close/>
                    <a:moveTo>
                      <a:pt x="119" y="654"/>
                    </a:moveTo>
                    <a:lnTo>
                      <a:pt x="119" y="652"/>
                    </a:lnTo>
                    <a:lnTo>
                      <a:pt x="119" y="654"/>
                    </a:lnTo>
                    <a:close/>
                    <a:moveTo>
                      <a:pt x="121" y="652"/>
                    </a:moveTo>
                    <a:lnTo>
                      <a:pt x="121" y="654"/>
                    </a:lnTo>
                    <a:lnTo>
                      <a:pt x="121" y="652"/>
                    </a:lnTo>
                    <a:close/>
                    <a:moveTo>
                      <a:pt x="119" y="650"/>
                    </a:moveTo>
                    <a:lnTo>
                      <a:pt x="119" y="652"/>
                    </a:lnTo>
                    <a:lnTo>
                      <a:pt x="121" y="652"/>
                    </a:lnTo>
                    <a:lnTo>
                      <a:pt x="119" y="652"/>
                    </a:lnTo>
                    <a:lnTo>
                      <a:pt x="119" y="650"/>
                    </a:lnTo>
                    <a:close/>
                    <a:moveTo>
                      <a:pt x="121" y="652"/>
                    </a:moveTo>
                    <a:lnTo>
                      <a:pt x="123" y="654"/>
                    </a:lnTo>
                    <a:lnTo>
                      <a:pt x="123" y="652"/>
                    </a:lnTo>
                    <a:lnTo>
                      <a:pt x="123" y="654"/>
                    </a:lnTo>
                    <a:lnTo>
                      <a:pt x="125" y="654"/>
                    </a:lnTo>
                    <a:lnTo>
                      <a:pt x="125" y="656"/>
                    </a:lnTo>
                    <a:lnTo>
                      <a:pt x="125" y="654"/>
                    </a:lnTo>
                    <a:lnTo>
                      <a:pt x="127" y="656"/>
                    </a:lnTo>
                    <a:lnTo>
                      <a:pt x="127" y="658"/>
                    </a:lnTo>
                    <a:lnTo>
                      <a:pt x="125" y="658"/>
                    </a:lnTo>
                    <a:lnTo>
                      <a:pt x="123" y="656"/>
                    </a:lnTo>
                    <a:lnTo>
                      <a:pt x="121" y="654"/>
                    </a:lnTo>
                    <a:lnTo>
                      <a:pt x="121" y="652"/>
                    </a:lnTo>
                    <a:close/>
                    <a:moveTo>
                      <a:pt x="121" y="652"/>
                    </a:moveTo>
                    <a:lnTo>
                      <a:pt x="119" y="650"/>
                    </a:lnTo>
                    <a:lnTo>
                      <a:pt x="121" y="650"/>
                    </a:lnTo>
                    <a:lnTo>
                      <a:pt x="121" y="652"/>
                    </a:lnTo>
                    <a:lnTo>
                      <a:pt x="121" y="650"/>
                    </a:lnTo>
                    <a:lnTo>
                      <a:pt x="119" y="650"/>
                    </a:lnTo>
                    <a:lnTo>
                      <a:pt x="121" y="650"/>
                    </a:lnTo>
                    <a:lnTo>
                      <a:pt x="121" y="652"/>
                    </a:lnTo>
                    <a:close/>
                    <a:moveTo>
                      <a:pt x="121" y="650"/>
                    </a:moveTo>
                    <a:lnTo>
                      <a:pt x="121" y="652"/>
                    </a:lnTo>
                    <a:lnTo>
                      <a:pt x="123" y="652"/>
                    </a:lnTo>
                    <a:lnTo>
                      <a:pt x="121" y="652"/>
                    </a:lnTo>
                    <a:lnTo>
                      <a:pt x="123" y="652"/>
                    </a:lnTo>
                    <a:lnTo>
                      <a:pt x="121" y="652"/>
                    </a:lnTo>
                    <a:lnTo>
                      <a:pt x="123" y="652"/>
                    </a:lnTo>
                    <a:lnTo>
                      <a:pt x="121" y="652"/>
                    </a:lnTo>
                    <a:lnTo>
                      <a:pt x="121" y="650"/>
                    </a:lnTo>
                    <a:close/>
                    <a:moveTo>
                      <a:pt x="118" y="646"/>
                    </a:moveTo>
                    <a:lnTo>
                      <a:pt x="118" y="648"/>
                    </a:lnTo>
                    <a:lnTo>
                      <a:pt x="116" y="646"/>
                    </a:lnTo>
                    <a:lnTo>
                      <a:pt x="118" y="646"/>
                    </a:lnTo>
                    <a:close/>
                    <a:moveTo>
                      <a:pt x="116" y="644"/>
                    </a:moveTo>
                    <a:lnTo>
                      <a:pt x="114" y="646"/>
                    </a:lnTo>
                    <a:lnTo>
                      <a:pt x="114" y="644"/>
                    </a:lnTo>
                    <a:lnTo>
                      <a:pt x="112" y="644"/>
                    </a:lnTo>
                    <a:lnTo>
                      <a:pt x="114" y="644"/>
                    </a:lnTo>
                    <a:lnTo>
                      <a:pt x="116" y="644"/>
                    </a:lnTo>
                    <a:close/>
                    <a:moveTo>
                      <a:pt x="110" y="641"/>
                    </a:moveTo>
                    <a:lnTo>
                      <a:pt x="108" y="641"/>
                    </a:lnTo>
                    <a:lnTo>
                      <a:pt x="110" y="641"/>
                    </a:lnTo>
                    <a:close/>
                    <a:moveTo>
                      <a:pt x="110" y="641"/>
                    </a:moveTo>
                    <a:lnTo>
                      <a:pt x="108" y="641"/>
                    </a:lnTo>
                    <a:lnTo>
                      <a:pt x="108" y="639"/>
                    </a:lnTo>
                    <a:lnTo>
                      <a:pt x="108" y="641"/>
                    </a:lnTo>
                    <a:lnTo>
                      <a:pt x="108" y="639"/>
                    </a:lnTo>
                    <a:lnTo>
                      <a:pt x="110" y="639"/>
                    </a:lnTo>
                    <a:lnTo>
                      <a:pt x="110" y="641"/>
                    </a:lnTo>
                    <a:lnTo>
                      <a:pt x="110" y="639"/>
                    </a:lnTo>
                    <a:lnTo>
                      <a:pt x="110" y="641"/>
                    </a:lnTo>
                    <a:close/>
                    <a:moveTo>
                      <a:pt x="108" y="639"/>
                    </a:moveTo>
                    <a:lnTo>
                      <a:pt x="108" y="637"/>
                    </a:lnTo>
                    <a:lnTo>
                      <a:pt x="108" y="639"/>
                    </a:lnTo>
                    <a:close/>
                    <a:moveTo>
                      <a:pt x="112" y="637"/>
                    </a:moveTo>
                    <a:lnTo>
                      <a:pt x="112" y="639"/>
                    </a:lnTo>
                    <a:lnTo>
                      <a:pt x="110" y="641"/>
                    </a:lnTo>
                    <a:lnTo>
                      <a:pt x="110" y="639"/>
                    </a:lnTo>
                    <a:lnTo>
                      <a:pt x="110" y="637"/>
                    </a:lnTo>
                    <a:lnTo>
                      <a:pt x="112" y="637"/>
                    </a:lnTo>
                    <a:close/>
                    <a:moveTo>
                      <a:pt x="110" y="637"/>
                    </a:moveTo>
                    <a:lnTo>
                      <a:pt x="110" y="635"/>
                    </a:lnTo>
                    <a:lnTo>
                      <a:pt x="110" y="637"/>
                    </a:lnTo>
                    <a:lnTo>
                      <a:pt x="110" y="635"/>
                    </a:lnTo>
                    <a:lnTo>
                      <a:pt x="110" y="637"/>
                    </a:lnTo>
                    <a:lnTo>
                      <a:pt x="110" y="639"/>
                    </a:lnTo>
                    <a:lnTo>
                      <a:pt x="108" y="639"/>
                    </a:lnTo>
                    <a:lnTo>
                      <a:pt x="108" y="637"/>
                    </a:lnTo>
                    <a:lnTo>
                      <a:pt x="108" y="635"/>
                    </a:lnTo>
                    <a:lnTo>
                      <a:pt x="110" y="635"/>
                    </a:lnTo>
                    <a:lnTo>
                      <a:pt x="110" y="637"/>
                    </a:lnTo>
                    <a:close/>
                    <a:moveTo>
                      <a:pt x="108" y="633"/>
                    </a:moveTo>
                    <a:lnTo>
                      <a:pt x="108" y="631"/>
                    </a:lnTo>
                    <a:lnTo>
                      <a:pt x="108" y="633"/>
                    </a:lnTo>
                    <a:close/>
                    <a:moveTo>
                      <a:pt x="106" y="629"/>
                    </a:moveTo>
                    <a:lnTo>
                      <a:pt x="106" y="631"/>
                    </a:lnTo>
                    <a:lnTo>
                      <a:pt x="106" y="629"/>
                    </a:lnTo>
                    <a:close/>
                    <a:moveTo>
                      <a:pt x="166" y="666"/>
                    </a:moveTo>
                    <a:lnTo>
                      <a:pt x="168" y="666"/>
                    </a:lnTo>
                    <a:lnTo>
                      <a:pt x="166" y="666"/>
                    </a:lnTo>
                    <a:close/>
                    <a:moveTo>
                      <a:pt x="106" y="629"/>
                    </a:moveTo>
                    <a:lnTo>
                      <a:pt x="106" y="627"/>
                    </a:lnTo>
                    <a:lnTo>
                      <a:pt x="106" y="629"/>
                    </a:lnTo>
                    <a:lnTo>
                      <a:pt x="106" y="627"/>
                    </a:lnTo>
                    <a:lnTo>
                      <a:pt x="106" y="629"/>
                    </a:lnTo>
                    <a:close/>
                    <a:moveTo>
                      <a:pt x="104" y="625"/>
                    </a:moveTo>
                    <a:lnTo>
                      <a:pt x="102" y="625"/>
                    </a:lnTo>
                    <a:lnTo>
                      <a:pt x="102" y="623"/>
                    </a:lnTo>
                    <a:lnTo>
                      <a:pt x="102" y="625"/>
                    </a:lnTo>
                    <a:lnTo>
                      <a:pt x="104" y="625"/>
                    </a:lnTo>
                    <a:close/>
                    <a:moveTo>
                      <a:pt x="104" y="621"/>
                    </a:moveTo>
                    <a:lnTo>
                      <a:pt x="104" y="623"/>
                    </a:lnTo>
                    <a:lnTo>
                      <a:pt x="104" y="625"/>
                    </a:lnTo>
                    <a:lnTo>
                      <a:pt x="102" y="623"/>
                    </a:lnTo>
                    <a:lnTo>
                      <a:pt x="102" y="621"/>
                    </a:lnTo>
                    <a:lnTo>
                      <a:pt x="104" y="621"/>
                    </a:lnTo>
                    <a:close/>
                    <a:moveTo>
                      <a:pt x="100" y="619"/>
                    </a:moveTo>
                    <a:lnTo>
                      <a:pt x="98" y="619"/>
                    </a:lnTo>
                    <a:lnTo>
                      <a:pt x="100" y="619"/>
                    </a:lnTo>
                    <a:lnTo>
                      <a:pt x="98" y="619"/>
                    </a:lnTo>
                    <a:lnTo>
                      <a:pt x="100" y="619"/>
                    </a:lnTo>
                    <a:close/>
                    <a:moveTo>
                      <a:pt x="104" y="621"/>
                    </a:moveTo>
                    <a:lnTo>
                      <a:pt x="104" y="623"/>
                    </a:lnTo>
                    <a:lnTo>
                      <a:pt x="104" y="621"/>
                    </a:lnTo>
                    <a:close/>
                    <a:moveTo>
                      <a:pt x="102" y="619"/>
                    </a:moveTo>
                    <a:lnTo>
                      <a:pt x="102" y="621"/>
                    </a:lnTo>
                    <a:lnTo>
                      <a:pt x="100" y="621"/>
                    </a:lnTo>
                    <a:lnTo>
                      <a:pt x="102" y="621"/>
                    </a:lnTo>
                    <a:lnTo>
                      <a:pt x="100" y="619"/>
                    </a:lnTo>
                    <a:lnTo>
                      <a:pt x="102" y="619"/>
                    </a:lnTo>
                    <a:close/>
                    <a:moveTo>
                      <a:pt x="106" y="621"/>
                    </a:moveTo>
                    <a:lnTo>
                      <a:pt x="106" y="623"/>
                    </a:lnTo>
                    <a:lnTo>
                      <a:pt x="106" y="621"/>
                    </a:lnTo>
                    <a:close/>
                    <a:moveTo>
                      <a:pt x="104" y="619"/>
                    </a:moveTo>
                    <a:lnTo>
                      <a:pt x="104" y="621"/>
                    </a:lnTo>
                    <a:lnTo>
                      <a:pt x="104" y="619"/>
                    </a:lnTo>
                    <a:close/>
                    <a:moveTo>
                      <a:pt x="106" y="621"/>
                    </a:moveTo>
                    <a:lnTo>
                      <a:pt x="106" y="619"/>
                    </a:lnTo>
                    <a:lnTo>
                      <a:pt x="106" y="621"/>
                    </a:lnTo>
                    <a:close/>
                    <a:moveTo>
                      <a:pt x="102" y="619"/>
                    </a:moveTo>
                    <a:lnTo>
                      <a:pt x="104" y="619"/>
                    </a:lnTo>
                    <a:lnTo>
                      <a:pt x="104" y="621"/>
                    </a:lnTo>
                    <a:lnTo>
                      <a:pt x="102" y="621"/>
                    </a:lnTo>
                    <a:lnTo>
                      <a:pt x="102" y="619"/>
                    </a:lnTo>
                    <a:lnTo>
                      <a:pt x="100" y="619"/>
                    </a:lnTo>
                    <a:lnTo>
                      <a:pt x="102" y="619"/>
                    </a:lnTo>
                    <a:lnTo>
                      <a:pt x="102" y="618"/>
                    </a:lnTo>
                    <a:lnTo>
                      <a:pt x="102" y="619"/>
                    </a:lnTo>
                    <a:lnTo>
                      <a:pt x="102" y="618"/>
                    </a:lnTo>
                    <a:lnTo>
                      <a:pt x="104" y="618"/>
                    </a:lnTo>
                    <a:lnTo>
                      <a:pt x="102" y="619"/>
                    </a:lnTo>
                    <a:close/>
                    <a:moveTo>
                      <a:pt x="106" y="619"/>
                    </a:moveTo>
                    <a:lnTo>
                      <a:pt x="106" y="621"/>
                    </a:lnTo>
                    <a:lnTo>
                      <a:pt x="104" y="621"/>
                    </a:lnTo>
                    <a:lnTo>
                      <a:pt x="106" y="621"/>
                    </a:lnTo>
                    <a:lnTo>
                      <a:pt x="104" y="623"/>
                    </a:lnTo>
                    <a:lnTo>
                      <a:pt x="104" y="621"/>
                    </a:lnTo>
                    <a:lnTo>
                      <a:pt x="106" y="619"/>
                    </a:lnTo>
                    <a:lnTo>
                      <a:pt x="104" y="619"/>
                    </a:lnTo>
                    <a:lnTo>
                      <a:pt x="106" y="619"/>
                    </a:lnTo>
                    <a:close/>
                    <a:moveTo>
                      <a:pt x="98" y="616"/>
                    </a:moveTo>
                    <a:lnTo>
                      <a:pt x="98" y="614"/>
                    </a:lnTo>
                    <a:lnTo>
                      <a:pt x="98" y="616"/>
                    </a:lnTo>
                    <a:lnTo>
                      <a:pt x="98" y="614"/>
                    </a:lnTo>
                    <a:lnTo>
                      <a:pt x="98" y="616"/>
                    </a:lnTo>
                    <a:close/>
                    <a:moveTo>
                      <a:pt x="104" y="619"/>
                    </a:moveTo>
                    <a:lnTo>
                      <a:pt x="106" y="619"/>
                    </a:lnTo>
                    <a:lnTo>
                      <a:pt x="104" y="618"/>
                    </a:lnTo>
                    <a:lnTo>
                      <a:pt x="106" y="619"/>
                    </a:lnTo>
                    <a:lnTo>
                      <a:pt x="104" y="619"/>
                    </a:lnTo>
                    <a:lnTo>
                      <a:pt x="104" y="618"/>
                    </a:lnTo>
                    <a:lnTo>
                      <a:pt x="104" y="619"/>
                    </a:lnTo>
                    <a:close/>
                    <a:moveTo>
                      <a:pt x="96" y="614"/>
                    </a:moveTo>
                    <a:lnTo>
                      <a:pt x="96" y="612"/>
                    </a:lnTo>
                    <a:lnTo>
                      <a:pt x="96" y="614"/>
                    </a:lnTo>
                    <a:lnTo>
                      <a:pt x="96" y="612"/>
                    </a:lnTo>
                    <a:lnTo>
                      <a:pt x="96" y="614"/>
                    </a:lnTo>
                    <a:close/>
                    <a:moveTo>
                      <a:pt x="102" y="616"/>
                    </a:moveTo>
                    <a:lnTo>
                      <a:pt x="102" y="618"/>
                    </a:lnTo>
                    <a:lnTo>
                      <a:pt x="100" y="619"/>
                    </a:lnTo>
                    <a:lnTo>
                      <a:pt x="98" y="619"/>
                    </a:lnTo>
                    <a:lnTo>
                      <a:pt x="98" y="618"/>
                    </a:lnTo>
                    <a:lnTo>
                      <a:pt x="100" y="618"/>
                    </a:lnTo>
                    <a:lnTo>
                      <a:pt x="98" y="618"/>
                    </a:lnTo>
                    <a:lnTo>
                      <a:pt x="100" y="618"/>
                    </a:lnTo>
                    <a:lnTo>
                      <a:pt x="98" y="618"/>
                    </a:lnTo>
                    <a:lnTo>
                      <a:pt x="100" y="618"/>
                    </a:lnTo>
                    <a:lnTo>
                      <a:pt x="98" y="618"/>
                    </a:lnTo>
                    <a:lnTo>
                      <a:pt x="100" y="616"/>
                    </a:lnTo>
                    <a:lnTo>
                      <a:pt x="102" y="616"/>
                    </a:lnTo>
                    <a:close/>
                    <a:moveTo>
                      <a:pt x="96" y="612"/>
                    </a:moveTo>
                    <a:lnTo>
                      <a:pt x="96" y="614"/>
                    </a:lnTo>
                    <a:lnTo>
                      <a:pt x="98" y="614"/>
                    </a:lnTo>
                    <a:lnTo>
                      <a:pt x="96" y="614"/>
                    </a:lnTo>
                    <a:lnTo>
                      <a:pt x="96" y="612"/>
                    </a:lnTo>
                    <a:lnTo>
                      <a:pt x="96" y="614"/>
                    </a:lnTo>
                    <a:lnTo>
                      <a:pt x="96" y="612"/>
                    </a:lnTo>
                    <a:close/>
                    <a:moveTo>
                      <a:pt x="104" y="616"/>
                    </a:moveTo>
                    <a:lnTo>
                      <a:pt x="102" y="616"/>
                    </a:lnTo>
                    <a:lnTo>
                      <a:pt x="104" y="618"/>
                    </a:lnTo>
                    <a:lnTo>
                      <a:pt x="102" y="616"/>
                    </a:lnTo>
                    <a:lnTo>
                      <a:pt x="104" y="616"/>
                    </a:lnTo>
                    <a:lnTo>
                      <a:pt x="104" y="618"/>
                    </a:lnTo>
                    <a:lnTo>
                      <a:pt x="104" y="616"/>
                    </a:lnTo>
                    <a:lnTo>
                      <a:pt x="104" y="618"/>
                    </a:lnTo>
                    <a:lnTo>
                      <a:pt x="104" y="619"/>
                    </a:lnTo>
                    <a:lnTo>
                      <a:pt x="104" y="621"/>
                    </a:lnTo>
                    <a:lnTo>
                      <a:pt x="104" y="619"/>
                    </a:lnTo>
                    <a:lnTo>
                      <a:pt x="102" y="619"/>
                    </a:lnTo>
                    <a:lnTo>
                      <a:pt x="104" y="619"/>
                    </a:lnTo>
                    <a:lnTo>
                      <a:pt x="104" y="618"/>
                    </a:lnTo>
                    <a:lnTo>
                      <a:pt x="102" y="618"/>
                    </a:lnTo>
                    <a:lnTo>
                      <a:pt x="104" y="618"/>
                    </a:lnTo>
                    <a:lnTo>
                      <a:pt x="102" y="618"/>
                    </a:lnTo>
                    <a:lnTo>
                      <a:pt x="102" y="616"/>
                    </a:lnTo>
                    <a:lnTo>
                      <a:pt x="104" y="616"/>
                    </a:lnTo>
                    <a:close/>
                    <a:moveTo>
                      <a:pt x="102" y="616"/>
                    </a:moveTo>
                    <a:lnTo>
                      <a:pt x="102" y="618"/>
                    </a:lnTo>
                    <a:lnTo>
                      <a:pt x="102" y="616"/>
                    </a:lnTo>
                    <a:lnTo>
                      <a:pt x="100" y="616"/>
                    </a:lnTo>
                    <a:lnTo>
                      <a:pt x="102" y="616"/>
                    </a:lnTo>
                    <a:close/>
                    <a:moveTo>
                      <a:pt x="112" y="621"/>
                    </a:moveTo>
                    <a:lnTo>
                      <a:pt x="112" y="619"/>
                    </a:lnTo>
                    <a:lnTo>
                      <a:pt x="112" y="621"/>
                    </a:lnTo>
                    <a:close/>
                    <a:moveTo>
                      <a:pt x="93" y="610"/>
                    </a:moveTo>
                    <a:lnTo>
                      <a:pt x="95" y="610"/>
                    </a:lnTo>
                    <a:lnTo>
                      <a:pt x="95" y="612"/>
                    </a:lnTo>
                    <a:lnTo>
                      <a:pt x="95" y="614"/>
                    </a:lnTo>
                    <a:lnTo>
                      <a:pt x="96" y="612"/>
                    </a:lnTo>
                    <a:lnTo>
                      <a:pt x="96" y="614"/>
                    </a:lnTo>
                    <a:lnTo>
                      <a:pt x="95" y="614"/>
                    </a:lnTo>
                    <a:lnTo>
                      <a:pt x="95" y="612"/>
                    </a:lnTo>
                    <a:lnTo>
                      <a:pt x="93" y="612"/>
                    </a:lnTo>
                    <a:lnTo>
                      <a:pt x="95" y="612"/>
                    </a:lnTo>
                    <a:lnTo>
                      <a:pt x="93" y="612"/>
                    </a:lnTo>
                    <a:lnTo>
                      <a:pt x="93" y="610"/>
                    </a:lnTo>
                    <a:lnTo>
                      <a:pt x="93" y="612"/>
                    </a:lnTo>
                    <a:lnTo>
                      <a:pt x="91" y="612"/>
                    </a:lnTo>
                    <a:lnTo>
                      <a:pt x="89" y="612"/>
                    </a:lnTo>
                    <a:lnTo>
                      <a:pt x="91" y="612"/>
                    </a:lnTo>
                    <a:lnTo>
                      <a:pt x="91" y="610"/>
                    </a:lnTo>
                    <a:lnTo>
                      <a:pt x="93" y="610"/>
                    </a:lnTo>
                    <a:lnTo>
                      <a:pt x="93" y="608"/>
                    </a:lnTo>
                    <a:lnTo>
                      <a:pt x="95" y="608"/>
                    </a:lnTo>
                    <a:lnTo>
                      <a:pt x="93" y="610"/>
                    </a:lnTo>
                    <a:lnTo>
                      <a:pt x="95" y="610"/>
                    </a:lnTo>
                    <a:lnTo>
                      <a:pt x="93" y="610"/>
                    </a:lnTo>
                    <a:close/>
                    <a:moveTo>
                      <a:pt x="93" y="610"/>
                    </a:moveTo>
                    <a:lnTo>
                      <a:pt x="93" y="608"/>
                    </a:lnTo>
                    <a:lnTo>
                      <a:pt x="93" y="610"/>
                    </a:lnTo>
                    <a:close/>
                    <a:moveTo>
                      <a:pt x="104" y="616"/>
                    </a:moveTo>
                    <a:lnTo>
                      <a:pt x="104" y="614"/>
                    </a:lnTo>
                    <a:lnTo>
                      <a:pt x="104" y="616"/>
                    </a:lnTo>
                    <a:close/>
                    <a:moveTo>
                      <a:pt x="104" y="616"/>
                    </a:moveTo>
                    <a:lnTo>
                      <a:pt x="104" y="614"/>
                    </a:lnTo>
                    <a:lnTo>
                      <a:pt x="104" y="616"/>
                    </a:lnTo>
                    <a:close/>
                    <a:moveTo>
                      <a:pt x="104" y="614"/>
                    </a:moveTo>
                    <a:lnTo>
                      <a:pt x="102" y="614"/>
                    </a:lnTo>
                    <a:lnTo>
                      <a:pt x="104" y="612"/>
                    </a:lnTo>
                    <a:lnTo>
                      <a:pt x="104" y="614"/>
                    </a:lnTo>
                    <a:close/>
                    <a:moveTo>
                      <a:pt x="104" y="614"/>
                    </a:moveTo>
                    <a:lnTo>
                      <a:pt x="102" y="614"/>
                    </a:lnTo>
                    <a:lnTo>
                      <a:pt x="104" y="614"/>
                    </a:lnTo>
                    <a:close/>
                    <a:moveTo>
                      <a:pt x="102" y="612"/>
                    </a:moveTo>
                    <a:lnTo>
                      <a:pt x="102" y="614"/>
                    </a:lnTo>
                    <a:lnTo>
                      <a:pt x="102" y="612"/>
                    </a:lnTo>
                    <a:close/>
                    <a:moveTo>
                      <a:pt x="102" y="612"/>
                    </a:moveTo>
                    <a:lnTo>
                      <a:pt x="102" y="614"/>
                    </a:lnTo>
                    <a:lnTo>
                      <a:pt x="102" y="616"/>
                    </a:lnTo>
                    <a:lnTo>
                      <a:pt x="100" y="614"/>
                    </a:lnTo>
                    <a:lnTo>
                      <a:pt x="100" y="616"/>
                    </a:lnTo>
                    <a:lnTo>
                      <a:pt x="100" y="614"/>
                    </a:lnTo>
                    <a:lnTo>
                      <a:pt x="100" y="616"/>
                    </a:lnTo>
                    <a:lnTo>
                      <a:pt x="98" y="616"/>
                    </a:lnTo>
                    <a:lnTo>
                      <a:pt x="98" y="618"/>
                    </a:lnTo>
                    <a:lnTo>
                      <a:pt x="98" y="616"/>
                    </a:lnTo>
                    <a:lnTo>
                      <a:pt x="98" y="614"/>
                    </a:lnTo>
                    <a:lnTo>
                      <a:pt x="98" y="612"/>
                    </a:lnTo>
                    <a:lnTo>
                      <a:pt x="98" y="610"/>
                    </a:lnTo>
                    <a:lnTo>
                      <a:pt x="96" y="610"/>
                    </a:lnTo>
                    <a:lnTo>
                      <a:pt x="96" y="608"/>
                    </a:lnTo>
                    <a:lnTo>
                      <a:pt x="96" y="610"/>
                    </a:lnTo>
                    <a:lnTo>
                      <a:pt x="98" y="610"/>
                    </a:lnTo>
                    <a:lnTo>
                      <a:pt x="100" y="610"/>
                    </a:lnTo>
                    <a:lnTo>
                      <a:pt x="100" y="612"/>
                    </a:lnTo>
                    <a:lnTo>
                      <a:pt x="100" y="614"/>
                    </a:lnTo>
                    <a:lnTo>
                      <a:pt x="100" y="612"/>
                    </a:lnTo>
                    <a:lnTo>
                      <a:pt x="102" y="612"/>
                    </a:lnTo>
                    <a:lnTo>
                      <a:pt x="102" y="614"/>
                    </a:lnTo>
                    <a:lnTo>
                      <a:pt x="102" y="612"/>
                    </a:lnTo>
                    <a:lnTo>
                      <a:pt x="100" y="612"/>
                    </a:lnTo>
                    <a:lnTo>
                      <a:pt x="102" y="612"/>
                    </a:lnTo>
                    <a:lnTo>
                      <a:pt x="102" y="610"/>
                    </a:lnTo>
                    <a:lnTo>
                      <a:pt x="102" y="612"/>
                    </a:lnTo>
                    <a:close/>
                    <a:moveTo>
                      <a:pt x="104" y="612"/>
                    </a:moveTo>
                    <a:lnTo>
                      <a:pt x="104" y="614"/>
                    </a:lnTo>
                    <a:lnTo>
                      <a:pt x="104" y="612"/>
                    </a:lnTo>
                    <a:lnTo>
                      <a:pt x="104" y="614"/>
                    </a:lnTo>
                    <a:lnTo>
                      <a:pt x="102" y="612"/>
                    </a:lnTo>
                    <a:lnTo>
                      <a:pt x="104" y="612"/>
                    </a:lnTo>
                    <a:close/>
                    <a:moveTo>
                      <a:pt x="102" y="612"/>
                    </a:moveTo>
                    <a:lnTo>
                      <a:pt x="102" y="610"/>
                    </a:lnTo>
                    <a:lnTo>
                      <a:pt x="102" y="612"/>
                    </a:lnTo>
                    <a:lnTo>
                      <a:pt x="102" y="610"/>
                    </a:lnTo>
                    <a:lnTo>
                      <a:pt x="102" y="612"/>
                    </a:lnTo>
                    <a:close/>
                    <a:moveTo>
                      <a:pt x="96" y="606"/>
                    </a:moveTo>
                    <a:lnTo>
                      <a:pt x="96" y="608"/>
                    </a:lnTo>
                    <a:lnTo>
                      <a:pt x="98" y="608"/>
                    </a:lnTo>
                    <a:lnTo>
                      <a:pt x="96" y="608"/>
                    </a:lnTo>
                    <a:lnTo>
                      <a:pt x="95" y="608"/>
                    </a:lnTo>
                    <a:lnTo>
                      <a:pt x="95" y="606"/>
                    </a:lnTo>
                    <a:lnTo>
                      <a:pt x="96" y="606"/>
                    </a:lnTo>
                    <a:close/>
                    <a:moveTo>
                      <a:pt x="98" y="608"/>
                    </a:moveTo>
                    <a:lnTo>
                      <a:pt x="96" y="608"/>
                    </a:lnTo>
                    <a:lnTo>
                      <a:pt x="98" y="608"/>
                    </a:lnTo>
                    <a:close/>
                    <a:moveTo>
                      <a:pt x="179" y="656"/>
                    </a:moveTo>
                    <a:lnTo>
                      <a:pt x="177" y="656"/>
                    </a:lnTo>
                    <a:lnTo>
                      <a:pt x="179" y="656"/>
                    </a:lnTo>
                    <a:lnTo>
                      <a:pt x="179" y="658"/>
                    </a:lnTo>
                    <a:lnTo>
                      <a:pt x="177" y="658"/>
                    </a:lnTo>
                    <a:lnTo>
                      <a:pt x="177" y="660"/>
                    </a:lnTo>
                    <a:lnTo>
                      <a:pt x="175" y="660"/>
                    </a:lnTo>
                    <a:lnTo>
                      <a:pt x="177" y="660"/>
                    </a:lnTo>
                    <a:lnTo>
                      <a:pt x="175" y="660"/>
                    </a:lnTo>
                    <a:lnTo>
                      <a:pt x="175" y="658"/>
                    </a:lnTo>
                    <a:lnTo>
                      <a:pt x="177" y="658"/>
                    </a:lnTo>
                    <a:lnTo>
                      <a:pt x="177" y="656"/>
                    </a:lnTo>
                    <a:lnTo>
                      <a:pt x="177" y="658"/>
                    </a:lnTo>
                    <a:lnTo>
                      <a:pt x="177" y="656"/>
                    </a:lnTo>
                    <a:lnTo>
                      <a:pt x="179" y="656"/>
                    </a:lnTo>
                    <a:close/>
                    <a:moveTo>
                      <a:pt x="98" y="608"/>
                    </a:moveTo>
                    <a:lnTo>
                      <a:pt x="100" y="608"/>
                    </a:lnTo>
                    <a:lnTo>
                      <a:pt x="100" y="610"/>
                    </a:lnTo>
                    <a:lnTo>
                      <a:pt x="98" y="610"/>
                    </a:lnTo>
                    <a:lnTo>
                      <a:pt x="98" y="608"/>
                    </a:lnTo>
                    <a:close/>
                    <a:moveTo>
                      <a:pt x="108" y="612"/>
                    </a:moveTo>
                    <a:lnTo>
                      <a:pt x="108" y="614"/>
                    </a:lnTo>
                    <a:lnTo>
                      <a:pt x="108" y="612"/>
                    </a:lnTo>
                    <a:lnTo>
                      <a:pt x="108" y="614"/>
                    </a:lnTo>
                    <a:lnTo>
                      <a:pt x="108" y="616"/>
                    </a:lnTo>
                    <a:lnTo>
                      <a:pt x="108" y="614"/>
                    </a:lnTo>
                    <a:lnTo>
                      <a:pt x="108" y="612"/>
                    </a:lnTo>
                    <a:close/>
                    <a:moveTo>
                      <a:pt x="110" y="612"/>
                    </a:moveTo>
                    <a:lnTo>
                      <a:pt x="110" y="614"/>
                    </a:lnTo>
                    <a:lnTo>
                      <a:pt x="110" y="612"/>
                    </a:lnTo>
                    <a:close/>
                    <a:moveTo>
                      <a:pt x="100" y="606"/>
                    </a:moveTo>
                    <a:lnTo>
                      <a:pt x="100" y="608"/>
                    </a:lnTo>
                    <a:lnTo>
                      <a:pt x="100" y="606"/>
                    </a:lnTo>
                    <a:lnTo>
                      <a:pt x="100" y="608"/>
                    </a:lnTo>
                    <a:lnTo>
                      <a:pt x="100" y="606"/>
                    </a:lnTo>
                    <a:lnTo>
                      <a:pt x="100" y="608"/>
                    </a:lnTo>
                    <a:lnTo>
                      <a:pt x="98" y="608"/>
                    </a:lnTo>
                    <a:lnTo>
                      <a:pt x="98" y="606"/>
                    </a:lnTo>
                    <a:lnTo>
                      <a:pt x="98" y="608"/>
                    </a:lnTo>
                    <a:lnTo>
                      <a:pt x="98" y="606"/>
                    </a:lnTo>
                    <a:lnTo>
                      <a:pt x="100" y="606"/>
                    </a:lnTo>
                    <a:lnTo>
                      <a:pt x="98" y="606"/>
                    </a:lnTo>
                    <a:lnTo>
                      <a:pt x="100" y="604"/>
                    </a:lnTo>
                    <a:lnTo>
                      <a:pt x="100" y="606"/>
                    </a:lnTo>
                    <a:close/>
                    <a:moveTo>
                      <a:pt x="108" y="610"/>
                    </a:moveTo>
                    <a:lnTo>
                      <a:pt x="108" y="612"/>
                    </a:lnTo>
                    <a:lnTo>
                      <a:pt x="110" y="612"/>
                    </a:lnTo>
                    <a:lnTo>
                      <a:pt x="108" y="612"/>
                    </a:lnTo>
                    <a:lnTo>
                      <a:pt x="108" y="610"/>
                    </a:lnTo>
                    <a:close/>
                    <a:moveTo>
                      <a:pt x="112" y="612"/>
                    </a:moveTo>
                    <a:lnTo>
                      <a:pt x="112" y="614"/>
                    </a:lnTo>
                    <a:lnTo>
                      <a:pt x="112" y="612"/>
                    </a:lnTo>
                    <a:close/>
                    <a:moveTo>
                      <a:pt x="106" y="606"/>
                    </a:moveTo>
                    <a:lnTo>
                      <a:pt x="104" y="606"/>
                    </a:lnTo>
                    <a:lnTo>
                      <a:pt x="106" y="608"/>
                    </a:lnTo>
                    <a:lnTo>
                      <a:pt x="104" y="608"/>
                    </a:lnTo>
                    <a:lnTo>
                      <a:pt x="104" y="606"/>
                    </a:lnTo>
                    <a:lnTo>
                      <a:pt x="102" y="606"/>
                    </a:lnTo>
                    <a:lnTo>
                      <a:pt x="104" y="606"/>
                    </a:lnTo>
                    <a:lnTo>
                      <a:pt x="106" y="606"/>
                    </a:lnTo>
                    <a:close/>
                    <a:moveTo>
                      <a:pt x="12" y="531"/>
                    </a:moveTo>
                    <a:lnTo>
                      <a:pt x="10" y="531"/>
                    </a:lnTo>
                    <a:lnTo>
                      <a:pt x="12" y="531"/>
                    </a:lnTo>
                    <a:close/>
                    <a:moveTo>
                      <a:pt x="112" y="598"/>
                    </a:moveTo>
                    <a:lnTo>
                      <a:pt x="112" y="600"/>
                    </a:lnTo>
                    <a:lnTo>
                      <a:pt x="114" y="600"/>
                    </a:lnTo>
                    <a:lnTo>
                      <a:pt x="112" y="600"/>
                    </a:lnTo>
                    <a:lnTo>
                      <a:pt x="112" y="602"/>
                    </a:lnTo>
                    <a:lnTo>
                      <a:pt x="112" y="604"/>
                    </a:lnTo>
                    <a:lnTo>
                      <a:pt x="110" y="604"/>
                    </a:lnTo>
                    <a:lnTo>
                      <a:pt x="110" y="602"/>
                    </a:lnTo>
                    <a:lnTo>
                      <a:pt x="110" y="600"/>
                    </a:lnTo>
                    <a:lnTo>
                      <a:pt x="110" y="602"/>
                    </a:lnTo>
                    <a:lnTo>
                      <a:pt x="110" y="600"/>
                    </a:lnTo>
                    <a:lnTo>
                      <a:pt x="112" y="600"/>
                    </a:lnTo>
                    <a:lnTo>
                      <a:pt x="112" y="598"/>
                    </a:lnTo>
                    <a:lnTo>
                      <a:pt x="112" y="596"/>
                    </a:lnTo>
                    <a:lnTo>
                      <a:pt x="114" y="596"/>
                    </a:lnTo>
                    <a:lnTo>
                      <a:pt x="112" y="596"/>
                    </a:lnTo>
                    <a:lnTo>
                      <a:pt x="114" y="596"/>
                    </a:lnTo>
                    <a:lnTo>
                      <a:pt x="112" y="598"/>
                    </a:lnTo>
                    <a:lnTo>
                      <a:pt x="114" y="598"/>
                    </a:lnTo>
                    <a:lnTo>
                      <a:pt x="112" y="598"/>
                    </a:lnTo>
                    <a:close/>
                    <a:moveTo>
                      <a:pt x="112" y="596"/>
                    </a:moveTo>
                    <a:lnTo>
                      <a:pt x="114" y="594"/>
                    </a:lnTo>
                    <a:lnTo>
                      <a:pt x="112" y="594"/>
                    </a:lnTo>
                    <a:lnTo>
                      <a:pt x="112" y="596"/>
                    </a:lnTo>
                    <a:close/>
                    <a:moveTo>
                      <a:pt x="22" y="531"/>
                    </a:moveTo>
                    <a:lnTo>
                      <a:pt x="22" y="533"/>
                    </a:lnTo>
                    <a:lnTo>
                      <a:pt x="20" y="533"/>
                    </a:lnTo>
                    <a:lnTo>
                      <a:pt x="20" y="531"/>
                    </a:lnTo>
                    <a:lnTo>
                      <a:pt x="18" y="531"/>
                    </a:lnTo>
                    <a:lnTo>
                      <a:pt x="18" y="529"/>
                    </a:lnTo>
                    <a:lnTo>
                      <a:pt x="18" y="531"/>
                    </a:lnTo>
                    <a:lnTo>
                      <a:pt x="18" y="529"/>
                    </a:lnTo>
                    <a:lnTo>
                      <a:pt x="18" y="531"/>
                    </a:lnTo>
                    <a:lnTo>
                      <a:pt x="20" y="531"/>
                    </a:lnTo>
                    <a:lnTo>
                      <a:pt x="22" y="531"/>
                    </a:lnTo>
                    <a:close/>
                    <a:moveTo>
                      <a:pt x="16" y="519"/>
                    </a:moveTo>
                    <a:lnTo>
                      <a:pt x="16" y="521"/>
                    </a:lnTo>
                    <a:lnTo>
                      <a:pt x="16" y="519"/>
                    </a:lnTo>
                    <a:close/>
                    <a:moveTo>
                      <a:pt x="20" y="521"/>
                    </a:moveTo>
                    <a:lnTo>
                      <a:pt x="20" y="523"/>
                    </a:lnTo>
                    <a:lnTo>
                      <a:pt x="22" y="523"/>
                    </a:lnTo>
                    <a:lnTo>
                      <a:pt x="22" y="525"/>
                    </a:lnTo>
                    <a:lnTo>
                      <a:pt x="20" y="525"/>
                    </a:lnTo>
                    <a:lnTo>
                      <a:pt x="20" y="527"/>
                    </a:lnTo>
                    <a:lnTo>
                      <a:pt x="20" y="525"/>
                    </a:lnTo>
                    <a:lnTo>
                      <a:pt x="20" y="527"/>
                    </a:lnTo>
                    <a:lnTo>
                      <a:pt x="18" y="527"/>
                    </a:lnTo>
                    <a:lnTo>
                      <a:pt x="18" y="529"/>
                    </a:lnTo>
                    <a:lnTo>
                      <a:pt x="18" y="527"/>
                    </a:lnTo>
                    <a:lnTo>
                      <a:pt x="18" y="525"/>
                    </a:lnTo>
                    <a:lnTo>
                      <a:pt x="18" y="527"/>
                    </a:lnTo>
                    <a:lnTo>
                      <a:pt x="16" y="527"/>
                    </a:lnTo>
                    <a:lnTo>
                      <a:pt x="16" y="529"/>
                    </a:lnTo>
                    <a:lnTo>
                      <a:pt x="18" y="529"/>
                    </a:lnTo>
                    <a:lnTo>
                      <a:pt x="16" y="529"/>
                    </a:lnTo>
                    <a:lnTo>
                      <a:pt x="18" y="529"/>
                    </a:lnTo>
                    <a:lnTo>
                      <a:pt x="18" y="531"/>
                    </a:lnTo>
                    <a:lnTo>
                      <a:pt x="16" y="531"/>
                    </a:lnTo>
                    <a:lnTo>
                      <a:pt x="16" y="533"/>
                    </a:lnTo>
                    <a:lnTo>
                      <a:pt x="16" y="531"/>
                    </a:lnTo>
                    <a:lnTo>
                      <a:pt x="16" y="533"/>
                    </a:lnTo>
                    <a:lnTo>
                      <a:pt x="16" y="531"/>
                    </a:lnTo>
                    <a:lnTo>
                      <a:pt x="16" y="533"/>
                    </a:lnTo>
                    <a:lnTo>
                      <a:pt x="14" y="533"/>
                    </a:lnTo>
                    <a:lnTo>
                      <a:pt x="14" y="531"/>
                    </a:lnTo>
                    <a:lnTo>
                      <a:pt x="14" y="533"/>
                    </a:lnTo>
                    <a:lnTo>
                      <a:pt x="12" y="533"/>
                    </a:lnTo>
                    <a:lnTo>
                      <a:pt x="12" y="531"/>
                    </a:lnTo>
                    <a:lnTo>
                      <a:pt x="12" y="529"/>
                    </a:lnTo>
                    <a:lnTo>
                      <a:pt x="14" y="529"/>
                    </a:lnTo>
                    <a:lnTo>
                      <a:pt x="14" y="527"/>
                    </a:lnTo>
                    <a:lnTo>
                      <a:pt x="14" y="529"/>
                    </a:lnTo>
                    <a:lnTo>
                      <a:pt x="14" y="527"/>
                    </a:lnTo>
                    <a:lnTo>
                      <a:pt x="14" y="529"/>
                    </a:lnTo>
                    <a:lnTo>
                      <a:pt x="14" y="527"/>
                    </a:lnTo>
                    <a:lnTo>
                      <a:pt x="12" y="527"/>
                    </a:lnTo>
                    <a:lnTo>
                      <a:pt x="12" y="525"/>
                    </a:lnTo>
                    <a:lnTo>
                      <a:pt x="12" y="527"/>
                    </a:lnTo>
                    <a:lnTo>
                      <a:pt x="12" y="525"/>
                    </a:lnTo>
                    <a:lnTo>
                      <a:pt x="12" y="523"/>
                    </a:lnTo>
                    <a:lnTo>
                      <a:pt x="12" y="521"/>
                    </a:lnTo>
                    <a:lnTo>
                      <a:pt x="12" y="519"/>
                    </a:lnTo>
                    <a:lnTo>
                      <a:pt x="14" y="519"/>
                    </a:lnTo>
                    <a:lnTo>
                      <a:pt x="16" y="519"/>
                    </a:lnTo>
                    <a:lnTo>
                      <a:pt x="14" y="519"/>
                    </a:lnTo>
                    <a:lnTo>
                      <a:pt x="16" y="519"/>
                    </a:lnTo>
                    <a:lnTo>
                      <a:pt x="14" y="521"/>
                    </a:lnTo>
                    <a:lnTo>
                      <a:pt x="16" y="519"/>
                    </a:lnTo>
                    <a:lnTo>
                      <a:pt x="16" y="521"/>
                    </a:lnTo>
                    <a:lnTo>
                      <a:pt x="14" y="521"/>
                    </a:lnTo>
                    <a:lnTo>
                      <a:pt x="16" y="521"/>
                    </a:lnTo>
                    <a:lnTo>
                      <a:pt x="18" y="521"/>
                    </a:lnTo>
                    <a:lnTo>
                      <a:pt x="18" y="519"/>
                    </a:lnTo>
                    <a:lnTo>
                      <a:pt x="18" y="521"/>
                    </a:lnTo>
                    <a:lnTo>
                      <a:pt x="18" y="519"/>
                    </a:lnTo>
                    <a:lnTo>
                      <a:pt x="18" y="521"/>
                    </a:lnTo>
                    <a:lnTo>
                      <a:pt x="20" y="521"/>
                    </a:lnTo>
                    <a:close/>
                    <a:moveTo>
                      <a:pt x="25" y="523"/>
                    </a:moveTo>
                    <a:lnTo>
                      <a:pt x="25" y="525"/>
                    </a:lnTo>
                    <a:lnTo>
                      <a:pt x="25" y="523"/>
                    </a:lnTo>
                    <a:lnTo>
                      <a:pt x="25" y="525"/>
                    </a:lnTo>
                    <a:lnTo>
                      <a:pt x="27" y="525"/>
                    </a:lnTo>
                    <a:lnTo>
                      <a:pt x="27" y="527"/>
                    </a:lnTo>
                    <a:lnTo>
                      <a:pt x="25" y="527"/>
                    </a:lnTo>
                    <a:lnTo>
                      <a:pt x="27" y="527"/>
                    </a:lnTo>
                    <a:lnTo>
                      <a:pt x="29" y="527"/>
                    </a:lnTo>
                    <a:lnTo>
                      <a:pt x="29" y="529"/>
                    </a:lnTo>
                    <a:lnTo>
                      <a:pt x="31" y="529"/>
                    </a:lnTo>
                    <a:lnTo>
                      <a:pt x="29" y="529"/>
                    </a:lnTo>
                    <a:lnTo>
                      <a:pt x="27" y="529"/>
                    </a:lnTo>
                    <a:lnTo>
                      <a:pt x="25" y="529"/>
                    </a:lnTo>
                    <a:lnTo>
                      <a:pt x="25" y="527"/>
                    </a:lnTo>
                    <a:lnTo>
                      <a:pt x="25" y="529"/>
                    </a:lnTo>
                    <a:lnTo>
                      <a:pt x="25" y="527"/>
                    </a:lnTo>
                    <a:lnTo>
                      <a:pt x="23" y="527"/>
                    </a:lnTo>
                    <a:lnTo>
                      <a:pt x="25" y="527"/>
                    </a:lnTo>
                    <a:lnTo>
                      <a:pt x="23" y="527"/>
                    </a:lnTo>
                    <a:lnTo>
                      <a:pt x="23" y="525"/>
                    </a:lnTo>
                    <a:lnTo>
                      <a:pt x="23" y="523"/>
                    </a:lnTo>
                    <a:lnTo>
                      <a:pt x="25" y="523"/>
                    </a:lnTo>
                    <a:close/>
                    <a:moveTo>
                      <a:pt x="241" y="656"/>
                    </a:moveTo>
                    <a:lnTo>
                      <a:pt x="239" y="656"/>
                    </a:lnTo>
                    <a:lnTo>
                      <a:pt x="239" y="654"/>
                    </a:lnTo>
                    <a:lnTo>
                      <a:pt x="241" y="654"/>
                    </a:lnTo>
                    <a:lnTo>
                      <a:pt x="241" y="656"/>
                    </a:lnTo>
                    <a:close/>
                    <a:moveTo>
                      <a:pt x="45" y="535"/>
                    </a:moveTo>
                    <a:lnTo>
                      <a:pt x="45" y="537"/>
                    </a:lnTo>
                    <a:lnTo>
                      <a:pt x="45" y="535"/>
                    </a:lnTo>
                    <a:lnTo>
                      <a:pt x="45" y="537"/>
                    </a:lnTo>
                    <a:lnTo>
                      <a:pt x="43" y="535"/>
                    </a:lnTo>
                    <a:lnTo>
                      <a:pt x="45" y="535"/>
                    </a:lnTo>
                    <a:close/>
                    <a:moveTo>
                      <a:pt x="239" y="646"/>
                    </a:moveTo>
                    <a:lnTo>
                      <a:pt x="237" y="646"/>
                    </a:lnTo>
                    <a:lnTo>
                      <a:pt x="239" y="646"/>
                    </a:lnTo>
                    <a:close/>
                    <a:moveTo>
                      <a:pt x="239" y="641"/>
                    </a:moveTo>
                    <a:lnTo>
                      <a:pt x="237" y="641"/>
                    </a:lnTo>
                    <a:lnTo>
                      <a:pt x="239" y="639"/>
                    </a:lnTo>
                    <a:lnTo>
                      <a:pt x="239" y="641"/>
                    </a:lnTo>
                    <a:close/>
                    <a:moveTo>
                      <a:pt x="239" y="639"/>
                    </a:moveTo>
                    <a:lnTo>
                      <a:pt x="237" y="641"/>
                    </a:lnTo>
                    <a:lnTo>
                      <a:pt x="237" y="639"/>
                    </a:lnTo>
                    <a:lnTo>
                      <a:pt x="239" y="639"/>
                    </a:lnTo>
                    <a:lnTo>
                      <a:pt x="239" y="637"/>
                    </a:lnTo>
                    <a:lnTo>
                      <a:pt x="239" y="639"/>
                    </a:lnTo>
                    <a:close/>
                    <a:moveTo>
                      <a:pt x="239" y="633"/>
                    </a:moveTo>
                    <a:lnTo>
                      <a:pt x="239" y="635"/>
                    </a:lnTo>
                    <a:lnTo>
                      <a:pt x="239" y="637"/>
                    </a:lnTo>
                    <a:lnTo>
                      <a:pt x="239" y="635"/>
                    </a:lnTo>
                    <a:lnTo>
                      <a:pt x="239" y="637"/>
                    </a:lnTo>
                    <a:lnTo>
                      <a:pt x="237" y="635"/>
                    </a:lnTo>
                    <a:lnTo>
                      <a:pt x="239" y="635"/>
                    </a:lnTo>
                    <a:lnTo>
                      <a:pt x="237" y="633"/>
                    </a:lnTo>
                    <a:lnTo>
                      <a:pt x="239" y="633"/>
                    </a:lnTo>
                    <a:close/>
                    <a:moveTo>
                      <a:pt x="233" y="629"/>
                    </a:moveTo>
                    <a:lnTo>
                      <a:pt x="235" y="629"/>
                    </a:lnTo>
                    <a:lnTo>
                      <a:pt x="233" y="629"/>
                    </a:lnTo>
                    <a:close/>
                    <a:moveTo>
                      <a:pt x="233" y="627"/>
                    </a:moveTo>
                    <a:lnTo>
                      <a:pt x="235" y="627"/>
                    </a:lnTo>
                    <a:lnTo>
                      <a:pt x="235" y="629"/>
                    </a:lnTo>
                    <a:lnTo>
                      <a:pt x="233" y="627"/>
                    </a:lnTo>
                    <a:close/>
                    <a:moveTo>
                      <a:pt x="231" y="621"/>
                    </a:moveTo>
                    <a:lnTo>
                      <a:pt x="233" y="621"/>
                    </a:lnTo>
                    <a:lnTo>
                      <a:pt x="231" y="621"/>
                    </a:lnTo>
                    <a:close/>
                    <a:moveTo>
                      <a:pt x="233" y="621"/>
                    </a:moveTo>
                    <a:lnTo>
                      <a:pt x="231" y="621"/>
                    </a:lnTo>
                    <a:lnTo>
                      <a:pt x="233" y="621"/>
                    </a:lnTo>
                    <a:close/>
                    <a:moveTo>
                      <a:pt x="229" y="618"/>
                    </a:moveTo>
                    <a:lnTo>
                      <a:pt x="231" y="618"/>
                    </a:lnTo>
                    <a:lnTo>
                      <a:pt x="231" y="619"/>
                    </a:lnTo>
                    <a:lnTo>
                      <a:pt x="229" y="619"/>
                    </a:lnTo>
                    <a:lnTo>
                      <a:pt x="229" y="618"/>
                    </a:lnTo>
                    <a:close/>
                    <a:moveTo>
                      <a:pt x="229" y="618"/>
                    </a:moveTo>
                    <a:lnTo>
                      <a:pt x="229" y="616"/>
                    </a:lnTo>
                    <a:lnTo>
                      <a:pt x="229" y="618"/>
                    </a:lnTo>
                    <a:close/>
                    <a:moveTo>
                      <a:pt x="229" y="614"/>
                    </a:moveTo>
                    <a:lnTo>
                      <a:pt x="229" y="616"/>
                    </a:lnTo>
                    <a:lnTo>
                      <a:pt x="229" y="614"/>
                    </a:lnTo>
                    <a:close/>
                    <a:moveTo>
                      <a:pt x="229" y="610"/>
                    </a:moveTo>
                    <a:lnTo>
                      <a:pt x="229" y="612"/>
                    </a:lnTo>
                    <a:lnTo>
                      <a:pt x="229" y="610"/>
                    </a:lnTo>
                    <a:lnTo>
                      <a:pt x="231" y="610"/>
                    </a:lnTo>
                    <a:lnTo>
                      <a:pt x="231" y="608"/>
                    </a:lnTo>
                    <a:lnTo>
                      <a:pt x="231" y="610"/>
                    </a:lnTo>
                    <a:lnTo>
                      <a:pt x="229" y="610"/>
                    </a:lnTo>
                    <a:close/>
                    <a:moveTo>
                      <a:pt x="231" y="604"/>
                    </a:moveTo>
                    <a:lnTo>
                      <a:pt x="231" y="606"/>
                    </a:lnTo>
                    <a:lnTo>
                      <a:pt x="231" y="604"/>
                    </a:lnTo>
                    <a:close/>
                    <a:moveTo>
                      <a:pt x="233" y="602"/>
                    </a:moveTo>
                    <a:lnTo>
                      <a:pt x="231" y="602"/>
                    </a:lnTo>
                    <a:lnTo>
                      <a:pt x="233" y="602"/>
                    </a:lnTo>
                    <a:close/>
                    <a:moveTo>
                      <a:pt x="233" y="598"/>
                    </a:moveTo>
                    <a:lnTo>
                      <a:pt x="233" y="600"/>
                    </a:lnTo>
                    <a:lnTo>
                      <a:pt x="233" y="598"/>
                    </a:lnTo>
                    <a:lnTo>
                      <a:pt x="233" y="600"/>
                    </a:lnTo>
                    <a:lnTo>
                      <a:pt x="233" y="598"/>
                    </a:lnTo>
                    <a:close/>
                    <a:moveTo>
                      <a:pt x="233" y="568"/>
                    </a:moveTo>
                    <a:lnTo>
                      <a:pt x="233" y="569"/>
                    </a:lnTo>
                    <a:lnTo>
                      <a:pt x="231" y="569"/>
                    </a:lnTo>
                    <a:lnTo>
                      <a:pt x="231" y="568"/>
                    </a:lnTo>
                    <a:lnTo>
                      <a:pt x="233" y="568"/>
                    </a:lnTo>
                    <a:close/>
                    <a:moveTo>
                      <a:pt x="223" y="541"/>
                    </a:moveTo>
                    <a:lnTo>
                      <a:pt x="221" y="539"/>
                    </a:lnTo>
                    <a:lnTo>
                      <a:pt x="221" y="537"/>
                    </a:lnTo>
                    <a:lnTo>
                      <a:pt x="219" y="535"/>
                    </a:lnTo>
                    <a:lnTo>
                      <a:pt x="219" y="533"/>
                    </a:lnTo>
                    <a:lnTo>
                      <a:pt x="221" y="533"/>
                    </a:lnTo>
                    <a:lnTo>
                      <a:pt x="221" y="531"/>
                    </a:lnTo>
                    <a:lnTo>
                      <a:pt x="223" y="531"/>
                    </a:lnTo>
                    <a:lnTo>
                      <a:pt x="223" y="533"/>
                    </a:lnTo>
                    <a:lnTo>
                      <a:pt x="223" y="535"/>
                    </a:lnTo>
                    <a:lnTo>
                      <a:pt x="225" y="535"/>
                    </a:lnTo>
                    <a:lnTo>
                      <a:pt x="225" y="537"/>
                    </a:lnTo>
                    <a:lnTo>
                      <a:pt x="223" y="539"/>
                    </a:lnTo>
                    <a:lnTo>
                      <a:pt x="223" y="541"/>
                    </a:lnTo>
                    <a:close/>
                    <a:moveTo>
                      <a:pt x="640" y="493"/>
                    </a:moveTo>
                    <a:lnTo>
                      <a:pt x="638" y="493"/>
                    </a:lnTo>
                    <a:lnTo>
                      <a:pt x="640" y="493"/>
                    </a:lnTo>
                    <a:close/>
                    <a:moveTo>
                      <a:pt x="644" y="494"/>
                    </a:moveTo>
                    <a:lnTo>
                      <a:pt x="646" y="494"/>
                    </a:lnTo>
                    <a:lnTo>
                      <a:pt x="646" y="496"/>
                    </a:lnTo>
                    <a:lnTo>
                      <a:pt x="646" y="494"/>
                    </a:lnTo>
                    <a:lnTo>
                      <a:pt x="644" y="494"/>
                    </a:lnTo>
                    <a:close/>
                    <a:moveTo>
                      <a:pt x="634" y="491"/>
                    </a:moveTo>
                    <a:lnTo>
                      <a:pt x="634" y="489"/>
                    </a:lnTo>
                    <a:lnTo>
                      <a:pt x="634" y="491"/>
                    </a:lnTo>
                    <a:close/>
                    <a:moveTo>
                      <a:pt x="627" y="485"/>
                    </a:moveTo>
                    <a:lnTo>
                      <a:pt x="627" y="487"/>
                    </a:lnTo>
                    <a:lnTo>
                      <a:pt x="627" y="485"/>
                    </a:lnTo>
                    <a:close/>
                    <a:moveTo>
                      <a:pt x="629" y="485"/>
                    </a:moveTo>
                    <a:lnTo>
                      <a:pt x="629" y="487"/>
                    </a:lnTo>
                    <a:lnTo>
                      <a:pt x="627" y="485"/>
                    </a:lnTo>
                    <a:lnTo>
                      <a:pt x="629" y="485"/>
                    </a:lnTo>
                    <a:close/>
                    <a:moveTo>
                      <a:pt x="634" y="487"/>
                    </a:moveTo>
                    <a:lnTo>
                      <a:pt x="632" y="487"/>
                    </a:lnTo>
                    <a:lnTo>
                      <a:pt x="634" y="489"/>
                    </a:lnTo>
                    <a:lnTo>
                      <a:pt x="632" y="487"/>
                    </a:lnTo>
                    <a:lnTo>
                      <a:pt x="631" y="487"/>
                    </a:lnTo>
                    <a:lnTo>
                      <a:pt x="632" y="487"/>
                    </a:lnTo>
                    <a:lnTo>
                      <a:pt x="632" y="489"/>
                    </a:lnTo>
                    <a:lnTo>
                      <a:pt x="631" y="489"/>
                    </a:lnTo>
                    <a:lnTo>
                      <a:pt x="632" y="489"/>
                    </a:lnTo>
                    <a:lnTo>
                      <a:pt x="631" y="489"/>
                    </a:lnTo>
                    <a:lnTo>
                      <a:pt x="631" y="487"/>
                    </a:lnTo>
                    <a:lnTo>
                      <a:pt x="632" y="487"/>
                    </a:lnTo>
                    <a:lnTo>
                      <a:pt x="634" y="487"/>
                    </a:lnTo>
                    <a:close/>
                    <a:moveTo>
                      <a:pt x="648" y="493"/>
                    </a:moveTo>
                    <a:lnTo>
                      <a:pt x="648" y="494"/>
                    </a:lnTo>
                    <a:lnTo>
                      <a:pt x="650" y="494"/>
                    </a:lnTo>
                    <a:lnTo>
                      <a:pt x="648" y="494"/>
                    </a:lnTo>
                    <a:lnTo>
                      <a:pt x="646" y="493"/>
                    </a:lnTo>
                    <a:lnTo>
                      <a:pt x="648" y="493"/>
                    </a:lnTo>
                    <a:lnTo>
                      <a:pt x="646" y="493"/>
                    </a:lnTo>
                    <a:lnTo>
                      <a:pt x="648" y="493"/>
                    </a:lnTo>
                    <a:lnTo>
                      <a:pt x="646" y="493"/>
                    </a:lnTo>
                    <a:lnTo>
                      <a:pt x="648" y="493"/>
                    </a:lnTo>
                    <a:close/>
                    <a:moveTo>
                      <a:pt x="644" y="491"/>
                    </a:moveTo>
                    <a:lnTo>
                      <a:pt x="646" y="493"/>
                    </a:lnTo>
                    <a:lnTo>
                      <a:pt x="644" y="493"/>
                    </a:lnTo>
                    <a:lnTo>
                      <a:pt x="646" y="493"/>
                    </a:lnTo>
                    <a:lnTo>
                      <a:pt x="644" y="493"/>
                    </a:lnTo>
                    <a:lnTo>
                      <a:pt x="644" y="491"/>
                    </a:lnTo>
                    <a:close/>
                    <a:moveTo>
                      <a:pt x="625" y="481"/>
                    </a:moveTo>
                    <a:lnTo>
                      <a:pt x="625" y="483"/>
                    </a:lnTo>
                    <a:lnTo>
                      <a:pt x="625" y="481"/>
                    </a:lnTo>
                    <a:close/>
                    <a:moveTo>
                      <a:pt x="640" y="489"/>
                    </a:moveTo>
                    <a:lnTo>
                      <a:pt x="642" y="489"/>
                    </a:lnTo>
                    <a:lnTo>
                      <a:pt x="640" y="489"/>
                    </a:lnTo>
                    <a:close/>
                    <a:moveTo>
                      <a:pt x="629" y="483"/>
                    </a:moveTo>
                    <a:lnTo>
                      <a:pt x="631" y="485"/>
                    </a:lnTo>
                    <a:lnTo>
                      <a:pt x="632" y="485"/>
                    </a:lnTo>
                    <a:lnTo>
                      <a:pt x="631" y="485"/>
                    </a:lnTo>
                    <a:lnTo>
                      <a:pt x="632" y="485"/>
                    </a:lnTo>
                    <a:lnTo>
                      <a:pt x="631" y="485"/>
                    </a:lnTo>
                    <a:lnTo>
                      <a:pt x="631" y="487"/>
                    </a:lnTo>
                    <a:lnTo>
                      <a:pt x="631" y="485"/>
                    </a:lnTo>
                    <a:lnTo>
                      <a:pt x="631" y="487"/>
                    </a:lnTo>
                    <a:lnTo>
                      <a:pt x="629" y="485"/>
                    </a:lnTo>
                    <a:lnTo>
                      <a:pt x="629" y="487"/>
                    </a:lnTo>
                    <a:lnTo>
                      <a:pt x="629" y="485"/>
                    </a:lnTo>
                    <a:lnTo>
                      <a:pt x="627" y="485"/>
                    </a:lnTo>
                    <a:lnTo>
                      <a:pt x="627" y="483"/>
                    </a:lnTo>
                    <a:lnTo>
                      <a:pt x="629" y="483"/>
                    </a:lnTo>
                    <a:lnTo>
                      <a:pt x="629" y="485"/>
                    </a:lnTo>
                    <a:lnTo>
                      <a:pt x="631" y="485"/>
                    </a:lnTo>
                    <a:lnTo>
                      <a:pt x="629" y="485"/>
                    </a:lnTo>
                    <a:lnTo>
                      <a:pt x="629" y="483"/>
                    </a:lnTo>
                    <a:close/>
                    <a:moveTo>
                      <a:pt x="611" y="477"/>
                    </a:moveTo>
                    <a:lnTo>
                      <a:pt x="611" y="475"/>
                    </a:lnTo>
                    <a:lnTo>
                      <a:pt x="611" y="477"/>
                    </a:lnTo>
                    <a:close/>
                    <a:moveTo>
                      <a:pt x="611" y="475"/>
                    </a:moveTo>
                    <a:lnTo>
                      <a:pt x="613" y="475"/>
                    </a:lnTo>
                    <a:lnTo>
                      <a:pt x="611" y="475"/>
                    </a:lnTo>
                    <a:close/>
                    <a:moveTo>
                      <a:pt x="634" y="483"/>
                    </a:moveTo>
                    <a:lnTo>
                      <a:pt x="634" y="485"/>
                    </a:lnTo>
                    <a:lnTo>
                      <a:pt x="632" y="485"/>
                    </a:lnTo>
                    <a:lnTo>
                      <a:pt x="632" y="483"/>
                    </a:lnTo>
                    <a:lnTo>
                      <a:pt x="634" y="483"/>
                    </a:lnTo>
                    <a:close/>
                    <a:moveTo>
                      <a:pt x="648" y="489"/>
                    </a:moveTo>
                    <a:lnTo>
                      <a:pt x="648" y="491"/>
                    </a:lnTo>
                    <a:lnTo>
                      <a:pt x="648" y="489"/>
                    </a:lnTo>
                    <a:lnTo>
                      <a:pt x="648" y="491"/>
                    </a:lnTo>
                    <a:lnTo>
                      <a:pt x="648" y="489"/>
                    </a:lnTo>
                    <a:lnTo>
                      <a:pt x="646" y="489"/>
                    </a:lnTo>
                    <a:lnTo>
                      <a:pt x="648" y="489"/>
                    </a:lnTo>
                    <a:close/>
                    <a:moveTo>
                      <a:pt x="650" y="491"/>
                    </a:moveTo>
                    <a:lnTo>
                      <a:pt x="650" y="489"/>
                    </a:lnTo>
                    <a:lnTo>
                      <a:pt x="650" y="491"/>
                    </a:lnTo>
                    <a:close/>
                    <a:moveTo>
                      <a:pt x="634" y="483"/>
                    </a:moveTo>
                    <a:lnTo>
                      <a:pt x="634" y="485"/>
                    </a:lnTo>
                    <a:lnTo>
                      <a:pt x="634" y="483"/>
                    </a:lnTo>
                    <a:lnTo>
                      <a:pt x="634" y="485"/>
                    </a:lnTo>
                    <a:lnTo>
                      <a:pt x="634" y="483"/>
                    </a:lnTo>
                    <a:lnTo>
                      <a:pt x="632" y="483"/>
                    </a:lnTo>
                    <a:lnTo>
                      <a:pt x="634" y="483"/>
                    </a:lnTo>
                    <a:lnTo>
                      <a:pt x="632" y="483"/>
                    </a:lnTo>
                    <a:lnTo>
                      <a:pt x="634" y="483"/>
                    </a:lnTo>
                    <a:close/>
                    <a:moveTo>
                      <a:pt x="619" y="475"/>
                    </a:moveTo>
                    <a:lnTo>
                      <a:pt x="619" y="477"/>
                    </a:lnTo>
                    <a:lnTo>
                      <a:pt x="621" y="477"/>
                    </a:lnTo>
                    <a:lnTo>
                      <a:pt x="621" y="479"/>
                    </a:lnTo>
                    <a:lnTo>
                      <a:pt x="621" y="477"/>
                    </a:lnTo>
                    <a:lnTo>
                      <a:pt x="619" y="477"/>
                    </a:lnTo>
                    <a:lnTo>
                      <a:pt x="619" y="475"/>
                    </a:lnTo>
                    <a:close/>
                    <a:moveTo>
                      <a:pt x="644" y="485"/>
                    </a:moveTo>
                    <a:lnTo>
                      <a:pt x="642" y="485"/>
                    </a:lnTo>
                    <a:lnTo>
                      <a:pt x="644" y="485"/>
                    </a:lnTo>
                    <a:close/>
                    <a:moveTo>
                      <a:pt x="617" y="473"/>
                    </a:moveTo>
                    <a:lnTo>
                      <a:pt x="619" y="475"/>
                    </a:lnTo>
                    <a:lnTo>
                      <a:pt x="617" y="475"/>
                    </a:lnTo>
                    <a:lnTo>
                      <a:pt x="617" y="473"/>
                    </a:lnTo>
                    <a:close/>
                    <a:moveTo>
                      <a:pt x="611" y="471"/>
                    </a:moveTo>
                    <a:lnTo>
                      <a:pt x="611" y="469"/>
                    </a:lnTo>
                    <a:lnTo>
                      <a:pt x="611" y="471"/>
                    </a:lnTo>
                    <a:close/>
                    <a:moveTo>
                      <a:pt x="632" y="479"/>
                    </a:moveTo>
                    <a:lnTo>
                      <a:pt x="631" y="479"/>
                    </a:lnTo>
                    <a:lnTo>
                      <a:pt x="631" y="477"/>
                    </a:lnTo>
                    <a:lnTo>
                      <a:pt x="632" y="477"/>
                    </a:lnTo>
                    <a:lnTo>
                      <a:pt x="632" y="479"/>
                    </a:lnTo>
                    <a:close/>
                    <a:moveTo>
                      <a:pt x="590" y="460"/>
                    </a:moveTo>
                    <a:lnTo>
                      <a:pt x="592" y="462"/>
                    </a:lnTo>
                    <a:lnTo>
                      <a:pt x="592" y="460"/>
                    </a:lnTo>
                    <a:lnTo>
                      <a:pt x="592" y="462"/>
                    </a:lnTo>
                    <a:lnTo>
                      <a:pt x="594" y="462"/>
                    </a:lnTo>
                    <a:lnTo>
                      <a:pt x="594" y="464"/>
                    </a:lnTo>
                    <a:lnTo>
                      <a:pt x="592" y="464"/>
                    </a:lnTo>
                    <a:lnTo>
                      <a:pt x="592" y="462"/>
                    </a:lnTo>
                    <a:lnTo>
                      <a:pt x="592" y="464"/>
                    </a:lnTo>
                    <a:lnTo>
                      <a:pt x="592" y="462"/>
                    </a:lnTo>
                    <a:lnTo>
                      <a:pt x="590" y="462"/>
                    </a:lnTo>
                    <a:lnTo>
                      <a:pt x="590" y="460"/>
                    </a:lnTo>
                    <a:close/>
                    <a:moveTo>
                      <a:pt x="604" y="462"/>
                    </a:moveTo>
                    <a:lnTo>
                      <a:pt x="602" y="462"/>
                    </a:lnTo>
                    <a:lnTo>
                      <a:pt x="604" y="462"/>
                    </a:lnTo>
                    <a:close/>
                    <a:moveTo>
                      <a:pt x="573" y="443"/>
                    </a:moveTo>
                    <a:lnTo>
                      <a:pt x="575" y="444"/>
                    </a:lnTo>
                    <a:lnTo>
                      <a:pt x="573" y="444"/>
                    </a:lnTo>
                    <a:lnTo>
                      <a:pt x="573" y="443"/>
                    </a:lnTo>
                    <a:close/>
                    <a:moveTo>
                      <a:pt x="573" y="443"/>
                    </a:moveTo>
                    <a:lnTo>
                      <a:pt x="571" y="443"/>
                    </a:lnTo>
                    <a:lnTo>
                      <a:pt x="571" y="444"/>
                    </a:lnTo>
                    <a:lnTo>
                      <a:pt x="573" y="444"/>
                    </a:lnTo>
                    <a:lnTo>
                      <a:pt x="571" y="444"/>
                    </a:lnTo>
                    <a:lnTo>
                      <a:pt x="573" y="444"/>
                    </a:lnTo>
                    <a:lnTo>
                      <a:pt x="571" y="444"/>
                    </a:lnTo>
                    <a:lnTo>
                      <a:pt x="571" y="443"/>
                    </a:lnTo>
                    <a:lnTo>
                      <a:pt x="571" y="441"/>
                    </a:lnTo>
                    <a:lnTo>
                      <a:pt x="569" y="441"/>
                    </a:lnTo>
                    <a:lnTo>
                      <a:pt x="569" y="439"/>
                    </a:lnTo>
                    <a:lnTo>
                      <a:pt x="569" y="441"/>
                    </a:lnTo>
                    <a:lnTo>
                      <a:pt x="571" y="441"/>
                    </a:lnTo>
                    <a:lnTo>
                      <a:pt x="571" y="439"/>
                    </a:lnTo>
                    <a:lnTo>
                      <a:pt x="571" y="441"/>
                    </a:lnTo>
                    <a:lnTo>
                      <a:pt x="573" y="441"/>
                    </a:lnTo>
                    <a:lnTo>
                      <a:pt x="573" y="443"/>
                    </a:lnTo>
                    <a:close/>
                    <a:moveTo>
                      <a:pt x="575" y="441"/>
                    </a:moveTo>
                    <a:lnTo>
                      <a:pt x="573" y="441"/>
                    </a:lnTo>
                    <a:lnTo>
                      <a:pt x="573" y="439"/>
                    </a:lnTo>
                    <a:lnTo>
                      <a:pt x="573" y="437"/>
                    </a:lnTo>
                    <a:lnTo>
                      <a:pt x="573" y="439"/>
                    </a:lnTo>
                    <a:lnTo>
                      <a:pt x="575" y="439"/>
                    </a:lnTo>
                    <a:lnTo>
                      <a:pt x="573" y="441"/>
                    </a:lnTo>
                    <a:lnTo>
                      <a:pt x="575" y="441"/>
                    </a:lnTo>
                    <a:close/>
                    <a:moveTo>
                      <a:pt x="567" y="429"/>
                    </a:moveTo>
                    <a:lnTo>
                      <a:pt x="565" y="429"/>
                    </a:lnTo>
                    <a:lnTo>
                      <a:pt x="565" y="427"/>
                    </a:lnTo>
                    <a:lnTo>
                      <a:pt x="567" y="427"/>
                    </a:lnTo>
                    <a:lnTo>
                      <a:pt x="567" y="429"/>
                    </a:lnTo>
                    <a:close/>
                    <a:moveTo>
                      <a:pt x="565" y="427"/>
                    </a:moveTo>
                    <a:lnTo>
                      <a:pt x="565" y="429"/>
                    </a:lnTo>
                    <a:lnTo>
                      <a:pt x="567" y="429"/>
                    </a:lnTo>
                    <a:lnTo>
                      <a:pt x="565" y="429"/>
                    </a:lnTo>
                    <a:lnTo>
                      <a:pt x="567" y="429"/>
                    </a:lnTo>
                    <a:lnTo>
                      <a:pt x="567" y="431"/>
                    </a:lnTo>
                    <a:lnTo>
                      <a:pt x="565" y="431"/>
                    </a:lnTo>
                    <a:lnTo>
                      <a:pt x="567" y="431"/>
                    </a:lnTo>
                    <a:lnTo>
                      <a:pt x="565" y="431"/>
                    </a:lnTo>
                    <a:lnTo>
                      <a:pt x="567" y="431"/>
                    </a:lnTo>
                    <a:lnTo>
                      <a:pt x="567" y="433"/>
                    </a:lnTo>
                    <a:lnTo>
                      <a:pt x="565" y="433"/>
                    </a:lnTo>
                    <a:lnTo>
                      <a:pt x="565" y="431"/>
                    </a:lnTo>
                    <a:lnTo>
                      <a:pt x="565" y="433"/>
                    </a:lnTo>
                    <a:lnTo>
                      <a:pt x="565" y="431"/>
                    </a:lnTo>
                    <a:lnTo>
                      <a:pt x="565" y="433"/>
                    </a:lnTo>
                    <a:lnTo>
                      <a:pt x="565" y="431"/>
                    </a:lnTo>
                    <a:lnTo>
                      <a:pt x="565" y="433"/>
                    </a:lnTo>
                    <a:lnTo>
                      <a:pt x="563" y="431"/>
                    </a:lnTo>
                    <a:lnTo>
                      <a:pt x="565" y="431"/>
                    </a:lnTo>
                    <a:lnTo>
                      <a:pt x="565" y="429"/>
                    </a:lnTo>
                    <a:lnTo>
                      <a:pt x="565" y="427"/>
                    </a:lnTo>
                    <a:close/>
                    <a:moveTo>
                      <a:pt x="577" y="429"/>
                    </a:moveTo>
                    <a:lnTo>
                      <a:pt x="579" y="429"/>
                    </a:lnTo>
                    <a:lnTo>
                      <a:pt x="577" y="429"/>
                    </a:lnTo>
                    <a:close/>
                    <a:moveTo>
                      <a:pt x="588" y="433"/>
                    </a:moveTo>
                    <a:lnTo>
                      <a:pt x="588" y="435"/>
                    </a:lnTo>
                    <a:lnTo>
                      <a:pt x="588" y="433"/>
                    </a:lnTo>
                    <a:lnTo>
                      <a:pt x="586" y="433"/>
                    </a:lnTo>
                    <a:lnTo>
                      <a:pt x="588" y="433"/>
                    </a:lnTo>
                    <a:close/>
                    <a:moveTo>
                      <a:pt x="586" y="431"/>
                    </a:moveTo>
                    <a:lnTo>
                      <a:pt x="588" y="431"/>
                    </a:lnTo>
                    <a:lnTo>
                      <a:pt x="588" y="433"/>
                    </a:lnTo>
                    <a:lnTo>
                      <a:pt x="590" y="433"/>
                    </a:lnTo>
                    <a:lnTo>
                      <a:pt x="590" y="435"/>
                    </a:lnTo>
                    <a:lnTo>
                      <a:pt x="590" y="433"/>
                    </a:lnTo>
                    <a:lnTo>
                      <a:pt x="588" y="433"/>
                    </a:lnTo>
                    <a:lnTo>
                      <a:pt x="586" y="433"/>
                    </a:lnTo>
                    <a:lnTo>
                      <a:pt x="586" y="431"/>
                    </a:lnTo>
                    <a:lnTo>
                      <a:pt x="586" y="433"/>
                    </a:lnTo>
                    <a:lnTo>
                      <a:pt x="584" y="433"/>
                    </a:lnTo>
                    <a:lnTo>
                      <a:pt x="584" y="431"/>
                    </a:lnTo>
                    <a:lnTo>
                      <a:pt x="586" y="431"/>
                    </a:lnTo>
                    <a:close/>
                    <a:moveTo>
                      <a:pt x="579" y="427"/>
                    </a:moveTo>
                    <a:lnTo>
                      <a:pt x="579" y="425"/>
                    </a:lnTo>
                    <a:lnTo>
                      <a:pt x="579" y="427"/>
                    </a:lnTo>
                    <a:close/>
                    <a:moveTo>
                      <a:pt x="581" y="425"/>
                    </a:moveTo>
                    <a:lnTo>
                      <a:pt x="581" y="427"/>
                    </a:lnTo>
                    <a:lnTo>
                      <a:pt x="581" y="429"/>
                    </a:lnTo>
                    <a:lnTo>
                      <a:pt x="581" y="431"/>
                    </a:lnTo>
                    <a:lnTo>
                      <a:pt x="581" y="429"/>
                    </a:lnTo>
                    <a:lnTo>
                      <a:pt x="579" y="429"/>
                    </a:lnTo>
                    <a:lnTo>
                      <a:pt x="579" y="427"/>
                    </a:lnTo>
                    <a:lnTo>
                      <a:pt x="579" y="429"/>
                    </a:lnTo>
                    <a:lnTo>
                      <a:pt x="579" y="427"/>
                    </a:lnTo>
                    <a:lnTo>
                      <a:pt x="579" y="429"/>
                    </a:lnTo>
                    <a:lnTo>
                      <a:pt x="577" y="427"/>
                    </a:lnTo>
                    <a:lnTo>
                      <a:pt x="579" y="427"/>
                    </a:lnTo>
                    <a:lnTo>
                      <a:pt x="579" y="429"/>
                    </a:lnTo>
                    <a:lnTo>
                      <a:pt x="581" y="429"/>
                    </a:lnTo>
                    <a:lnTo>
                      <a:pt x="581" y="427"/>
                    </a:lnTo>
                    <a:lnTo>
                      <a:pt x="579" y="427"/>
                    </a:lnTo>
                    <a:lnTo>
                      <a:pt x="581" y="427"/>
                    </a:lnTo>
                    <a:lnTo>
                      <a:pt x="579" y="427"/>
                    </a:lnTo>
                    <a:lnTo>
                      <a:pt x="579" y="425"/>
                    </a:lnTo>
                    <a:lnTo>
                      <a:pt x="581" y="425"/>
                    </a:lnTo>
                    <a:close/>
                    <a:moveTo>
                      <a:pt x="582" y="427"/>
                    </a:moveTo>
                    <a:lnTo>
                      <a:pt x="582" y="425"/>
                    </a:lnTo>
                    <a:lnTo>
                      <a:pt x="582" y="427"/>
                    </a:lnTo>
                    <a:close/>
                    <a:moveTo>
                      <a:pt x="575" y="421"/>
                    </a:moveTo>
                    <a:lnTo>
                      <a:pt x="575" y="423"/>
                    </a:lnTo>
                    <a:lnTo>
                      <a:pt x="575" y="421"/>
                    </a:lnTo>
                    <a:close/>
                    <a:moveTo>
                      <a:pt x="573" y="416"/>
                    </a:moveTo>
                    <a:lnTo>
                      <a:pt x="571" y="416"/>
                    </a:lnTo>
                    <a:lnTo>
                      <a:pt x="573" y="416"/>
                    </a:lnTo>
                    <a:close/>
                    <a:moveTo>
                      <a:pt x="579" y="419"/>
                    </a:moveTo>
                    <a:lnTo>
                      <a:pt x="579" y="421"/>
                    </a:lnTo>
                    <a:lnTo>
                      <a:pt x="579" y="419"/>
                    </a:lnTo>
                    <a:close/>
                    <a:moveTo>
                      <a:pt x="575" y="414"/>
                    </a:moveTo>
                    <a:lnTo>
                      <a:pt x="575" y="416"/>
                    </a:lnTo>
                    <a:lnTo>
                      <a:pt x="573" y="416"/>
                    </a:lnTo>
                    <a:lnTo>
                      <a:pt x="573" y="414"/>
                    </a:lnTo>
                    <a:lnTo>
                      <a:pt x="575" y="414"/>
                    </a:lnTo>
                    <a:close/>
                    <a:moveTo>
                      <a:pt x="575" y="414"/>
                    </a:moveTo>
                    <a:lnTo>
                      <a:pt x="577" y="414"/>
                    </a:lnTo>
                    <a:lnTo>
                      <a:pt x="577" y="416"/>
                    </a:lnTo>
                    <a:lnTo>
                      <a:pt x="577" y="418"/>
                    </a:lnTo>
                    <a:lnTo>
                      <a:pt x="575" y="416"/>
                    </a:lnTo>
                    <a:lnTo>
                      <a:pt x="575" y="414"/>
                    </a:lnTo>
                    <a:close/>
                    <a:moveTo>
                      <a:pt x="571" y="412"/>
                    </a:moveTo>
                    <a:lnTo>
                      <a:pt x="571" y="414"/>
                    </a:lnTo>
                    <a:lnTo>
                      <a:pt x="571" y="412"/>
                    </a:lnTo>
                    <a:lnTo>
                      <a:pt x="569" y="412"/>
                    </a:lnTo>
                    <a:lnTo>
                      <a:pt x="571" y="412"/>
                    </a:lnTo>
                    <a:lnTo>
                      <a:pt x="569" y="412"/>
                    </a:lnTo>
                    <a:lnTo>
                      <a:pt x="571" y="412"/>
                    </a:lnTo>
                    <a:close/>
                    <a:moveTo>
                      <a:pt x="581" y="412"/>
                    </a:moveTo>
                    <a:lnTo>
                      <a:pt x="579" y="412"/>
                    </a:lnTo>
                    <a:lnTo>
                      <a:pt x="581" y="412"/>
                    </a:lnTo>
                    <a:lnTo>
                      <a:pt x="579" y="412"/>
                    </a:lnTo>
                    <a:lnTo>
                      <a:pt x="581" y="412"/>
                    </a:lnTo>
                    <a:close/>
                    <a:moveTo>
                      <a:pt x="575" y="410"/>
                    </a:moveTo>
                    <a:lnTo>
                      <a:pt x="573" y="410"/>
                    </a:lnTo>
                    <a:lnTo>
                      <a:pt x="575" y="410"/>
                    </a:lnTo>
                    <a:lnTo>
                      <a:pt x="573" y="410"/>
                    </a:lnTo>
                    <a:lnTo>
                      <a:pt x="575" y="410"/>
                    </a:lnTo>
                    <a:close/>
                    <a:moveTo>
                      <a:pt x="577" y="410"/>
                    </a:moveTo>
                    <a:lnTo>
                      <a:pt x="577" y="412"/>
                    </a:lnTo>
                    <a:lnTo>
                      <a:pt x="577" y="410"/>
                    </a:lnTo>
                    <a:close/>
                    <a:moveTo>
                      <a:pt x="579" y="410"/>
                    </a:moveTo>
                    <a:lnTo>
                      <a:pt x="579" y="412"/>
                    </a:lnTo>
                    <a:lnTo>
                      <a:pt x="579" y="414"/>
                    </a:lnTo>
                    <a:lnTo>
                      <a:pt x="579" y="412"/>
                    </a:lnTo>
                    <a:lnTo>
                      <a:pt x="579" y="414"/>
                    </a:lnTo>
                    <a:lnTo>
                      <a:pt x="579" y="412"/>
                    </a:lnTo>
                    <a:lnTo>
                      <a:pt x="577" y="412"/>
                    </a:lnTo>
                    <a:lnTo>
                      <a:pt x="577" y="410"/>
                    </a:lnTo>
                    <a:lnTo>
                      <a:pt x="579" y="410"/>
                    </a:lnTo>
                    <a:close/>
                    <a:moveTo>
                      <a:pt x="575" y="408"/>
                    </a:moveTo>
                    <a:lnTo>
                      <a:pt x="577" y="410"/>
                    </a:lnTo>
                    <a:lnTo>
                      <a:pt x="575" y="410"/>
                    </a:lnTo>
                    <a:lnTo>
                      <a:pt x="575" y="408"/>
                    </a:lnTo>
                    <a:close/>
                    <a:moveTo>
                      <a:pt x="567" y="404"/>
                    </a:moveTo>
                    <a:lnTo>
                      <a:pt x="567" y="406"/>
                    </a:lnTo>
                    <a:lnTo>
                      <a:pt x="567" y="404"/>
                    </a:lnTo>
                    <a:close/>
                    <a:moveTo>
                      <a:pt x="565" y="402"/>
                    </a:moveTo>
                    <a:lnTo>
                      <a:pt x="565" y="404"/>
                    </a:lnTo>
                    <a:lnTo>
                      <a:pt x="565" y="402"/>
                    </a:lnTo>
                    <a:close/>
                    <a:moveTo>
                      <a:pt x="573" y="406"/>
                    </a:moveTo>
                    <a:lnTo>
                      <a:pt x="573" y="404"/>
                    </a:lnTo>
                    <a:lnTo>
                      <a:pt x="573" y="406"/>
                    </a:lnTo>
                    <a:close/>
                    <a:moveTo>
                      <a:pt x="577" y="406"/>
                    </a:moveTo>
                    <a:lnTo>
                      <a:pt x="577" y="408"/>
                    </a:lnTo>
                    <a:lnTo>
                      <a:pt x="577" y="406"/>
                    </a:lnTo>
                    <a:lnTo>
                      <a:pt x="577" y="408"/>
                    </a:lnTo>
                    <a:lnTo>
                      <a:pt x="577" y="406"/>
                    </a:lnTo>
                    <a:lnTo>
                      <a:pt x="577" y="408"/>
                    </a:lnTo>
                    <a:lnTo>
                      <a:pt x="575" y="408"/>
                    </a:lnTo>
                    <a:lnTo>
                      <a:pt x="575" y="406"/>
                    </a:lnTo>
                    <a:lnTo>
                      <a:pt x="577" y="406"/>
                    </a:lnTo>
                    <a:close/>
                    <a:moveTo>
                      <a:pt x="577" y="404"/>
                    </a:moveTo>
                    <a:lnTo>
                      <a:pt x="577" y="406"/>
                    </a:lnTo>
                    <a:lnTo>
                      <a:pt x="577" y="404"/>
                    </a:lnTo>
                    <a:close/>
                    <a:moveTo>
                      <a:pt x="569" y="402"/>
                    </a:moveTo>
                    <a:lnTo>
                      <a:pt x="567" y="402"/>
                    </a:lnTo>
                    <a:lnTo>
                      <a:pt x="567" y="400"/>
                    </a:lnTo>
                    <a:lnTo>
                      <a:pt x="567" y="402"/>
                    </a:lnTo>
                    <a:lnTo>
                      <a:pt x="569" y="402"/>
                    </a:lnTo>
                    <a:lnTo>
                      <a:pt x="569" y="400"/>
                    </a:lnTo>
                    <a:lnTo>
                      <a:pt x="569" y="402"/>
                    </a:lnTo>
                    <a:lnTo>
                      <a:pt x="569" y="400"/>
                    </a:lnTo>
                    <a:lnTo>
                      <a:pt x="569" y="402"/>
                    </a:lnTo>
                    <a:close/>
                    <a:moveTo>
                      <a:pt x="565" y="398"/>
                    </a:moveTo>
                    <a:lnTo>
                      <a:pt x="565" y="400"/>
                    </a:lnTo>
                    <a:lnTo>
                      <a:pt x="563" y="400"/>
                    </a:lnTo>
                    <a:lnTo>
                      <a:pt x="563" y="398"/>
                    </a:lnTo>
                    <a:lnTo>
                      <a:pt x="565" y="398"/>
                    </a:lnTo>
                    <a:close/>
                    <a:moveTo>
                      <a:pt x="563" y="396"/>
                    </a:moveTo>
                    <a:lnTo>
                      <a:pt x="563" y="398"/>
                    </a:lnTo>
                    <a:lnTo>
                      <a:pt x="565" y="398"/>
                    </a:lnTo>
                    <a:lnTo>
                      <a:pt x="563" y="398"/>
                    </a:lnTo>
                    <a:lnTo>
                      <a:pt x="563" y="396"/>
                    </a:lnTo>
                    <a:close/>
                    <a:moveTo>
                      <a:pt x="569" y="398"/>
                    </a:moveTo>
                    <a:lnTo>
                      <a:pt x="569" y="400"/>
                    </a:lnTo>
                    <a:lnTo>
                      <a:pt x="569" y="398"/>
                    </a:lnTo>
                    <a:close/>
                    <a:moveTo>
                      <a:pt x="579" y="370"/>
                    </a:moveTo>
                    <a:lnTo>
                      <a:pt x="577" y="370"/>
                    </a:lnTo>
                    <a:lnTo>
                      <a:pt x="579" y="370"/>
                    </a:lnTo>
                    <a:close/>
                    <a:moveTo>
                      <a:pt x="579" y="368"/>
                    </a:moveTo>
                    <a:lnTo>
                      <a:pt x="577" y="368"/>
                    </a:lnTo>
                    <a:lnTo>
                      <a:pt x="579" y="368"/>
                    </a:lnTo>
                    <a:close/>
                    <a:moveTo>
                      <a:pt x="579" y="364"/>
                    </a:moveTo>
                    <a:lnTo>
                      <a:pt x="581" y="364"/>
                    </a:lnTo>
                    <a:lnTo>
                      <a:pt x="579" y="364"/>
                    </a:lnTo>
                    <a:close/>
                    <a:moveTo>
                      <a:pt x="579" y="364"/>
                    </a:moveTo>
                    <a:lnTo>
                      <a:pt x="581" y="364"/>
                    </a:lnTo>
                    <a:lnTo>
                      <a:pt x="579" y="364"/>
                    </a:lnTo>
                    <a:close/>
                    <a:moveTo>
                      <a:pt x="582" y="362"/>
                    </a:moveTo>
                    <a:lnTo>
                      <a:pt x="582" y="360"/>
                    </a:lnTo>
                    <a:lnTo>
                      <a:pt x="582" y="362"/>
                    </a:lnTo>
                    <a:close/>
                    <a:moveTo>
                      <a:pt x="586" y="356"/>
                    </a:moveTo>
                    <a:lnTo>
                      <a:pt x="586" y="358"/>
                    </a:lnTo>
                    <a:lnTo>
                      <a:pt x="586" y="356"/>
                    </a:lnTo>
                    <a:close/>
                    <a:moveTo>
                      <a:pt x="590" y="354"/>
                    </a:moveTo>
                    <a:lnTo>
                      <a:pt x="590" y="356"/>
                    </a:lnTo>
                    <a:lnTo>
                      <a:pt x="588" y="356"/>
                    </a:lnTo>
                    <a:lnTo>
                      <a:pt x="590" y="356"/>
                    </a:lnTo>
                    <a:lnTo>
                      <a:pt x="588" y="356"/>
                    </a:lnTo>
                    <a:lnTo>
                      <a:pt x="588" y="354"/>
                    </a:lnTo>
                    <a:lnTo>
                      <a:pt x="588" y="356"/>
                    </a:lnTo>
                    <a:lnTo>
                      <a:pt x="590" y="356"/>
                    </a:lnTo>
                    <a:lnTo>
                      <a:pt x="590" y="354"/>
                    </a:lnTo>
                    <a:close/>
                    <a:moveTo>
                      <a:pt x="652" y="379"/>
                    </a:moveTo>
                    <a:lnTo>
                      <a:pt x="650" y="379"/>
                    </a:lnTo>
                    <a:lnTo>
                      <a:pt x="652" y="379"/>
                    </a:lnTo>
                    <a:close/>
                    <a:moveTo>
                      <a:pt x="598" y="350"/>
                    </a:moveTo>
                    <a:lnTo>
                      <a:pt x="598" y="348"/>
                    </a:lnTo>
                    <a:lnTo>
                      <a:pt x="598" y="350"/>
                    </a:lnTo>
                    <a:close/>
                    <a:moveTo>
                      <a:pt x="598" y="350"/>
                    </a:moveTo>
                    <a:lnTo>
                      <a:pt x="598" y="348"/>
                    </a:lnTo>
                    <a:lnTo>
                      <a:pt x="598" y="350"/>
                    </a:lnTo>
                    <a:close/>
                    <a:moveTo>
                      <a:pt x="596" y="345"/>
                    </a:moveTo>
                    <a:lnTo>
                      <a:pt x="594" y="345"/>
                    </a:lnTo>
                    <a:lnTo>
                      <a:pt x="594" y="343"/>
                    </a:lnTo>
                    <a:lnTo>
                      <a:pt x="596" y="343"/>
                    </a:lnTo>
                    <a:lnTo>
                      <a:pt x="596" y="345"/>
                    </a:lnTo>
                    <a:close/>
                    <a:moveTo>
                      <a:pt x="613" y="337"/>
                    </a:moveTo>
                    <a:lnTo>
                      <a:pt x="615" y="337"/>
                    </a:lnTo>
                    <a:lnTo>
                      <a:pt x="613" y="337"/>
                    </a:lnTo>
                    <a:lnTo>
                      <a:pt x="613" y="335"/>
                    </a:lnTo>
                    <a:lnTo>
                      <a:pt x="613" y="337"/>
                    </a:lnTo>
                    <a:lnTo>
                      <a:pt x="613" y="335"/>
                    </a:lnTo>
                    <a:lnTo>
                      <a:pt x="613" y="337"/>
                    </a:lnTo>
                    <a:close/>
                    <a:moveTo>
                      <a:pt x="615" y="327"/>
                    </a:moveTo>
                    <a:lnTo>
                      <a:pt x="613" y="327"/>
                    </a:lnTo>
                    <a:lnTo>
                      <a:pt x="613" y="325"/>
                    </a:lnTo>
                    <a:lnTo>
                      <a:pt x="613" y="327"/>
                    </a:lnTo>
                    <a:lnTo>
                      <a:pt x="613" y="325"/>
                    </a:lnTo>
                    <a:lnTo>
                      <a:pt x="613" y="327"/>
                    </a:lnTo>
                    <a:lnTo>
                      <a:pt x="615" y="327"/>
                    </a:lnTo>
                    <a:lnTo>
                      <a:pt x="615" y="325"/>
                    </a:lnTo>
                    <a:lnTo>
                      <a:pt x="615" y="327"/>
                    </a:lnTo>
                    <a:close/>
                    <a:moveTo>
                      <a:pt x="679" y="341"/>
                    </a:moveTo>
                    <a:lnTo>
                      <a:pt x="677" y="341"/>
                    </a:lnTo>
                    <a:lnTo>
                      <a:pt x="679" y="341"/>
                    </a:lnTo>
                    <a:close/>
                    <a:moveTo>
                      <a:pt x="644" y="325"/>
                    </a:moveTo>
                    <a:lnTo>
                      <a:pt x="644" y="327"/>
                    </a:lnTo>
                    <a:lnTo>
                      <a:pt x="644" y="325"/>
                    </a:lnTo>
                    <a:lnTo>
                      <a:pt x="646" y="325"/>
                    </a:lnTo>
                    <a:lnTo>
                      <a:pt x="644" y="325"/>
                    </a:lnTo>
                    <a:close/>
                    <a:moveTo>
                      <a:pt x="642" y="318"/>
                    </a:moveTo>
                    <a:lnTo>
                      <a:pt x="644" y="318"/>
                    </a:lnTo>
                    <a:lnTo>
                      <a:pt x="642" y="318"/>
                    </a:lnTo>
                    <a:lnTo>
                      <a:pt x="640" y="318"/>
                    </a:lnTo>
                    <a:lnTo>
                      <a:pt x="640" y="316"/>
                    </a:lnTo>
                    <a:lnTo>
                      <a:pt x="640" y="318"/>
                    </a:lnTo>
                    <a:lnTo>
                      <a:pt x="640" y="316"/>
                    </a:lnTo>
                    <a:lnTo>
                      <a:pt x="642" y="316"/>
                    </a:lnTo>
                    <a:lnTo>
                      <a:pt x="642" y="318"/>
                    </a:lnTo>
                    <a:close/>
                    <a:moveTo>
                      <a:pt x="657" y="312"/>
                    </a:moveTo>
                    <a:lnTo>
                      <a:pt x="655" y="312"/>
                    </a:lnTo>
                    <a:lnTo>
                      <a:pt x="655" y="310"/>
                    </a:lnTo>
                    <a:lnTo>
                      <a:pt x="655" y="312"/>
                    </a:lnTo>
                    <a:lnTo>
                      <a:pt x="657" y="312"/>
                    </a:lnTo>
                    <a:close/>
                    <a:moveTo>
                      <a:pt x="675" y="318"/>
                    </a:moveTo>
                    <a:lnTo>
                      <a:pt x="673" y="318"/>
                    </a:lnTo>
                    <a:lnTo>
                      <a:pt x="675" y="318"/>
                    </a:lnTo>
                    <a:close/>
                    <a:moveTo>
                      <a:pt x="707" y="323"/>
                    </a:moveTo>
                    <a:lnTo>
                      <a:pt x="707" y="321"/>
                    </a:lnTo>
                    <a:lnTo>
                      <a:pt x="707" y="323"/>
                    </a:lnTo>
                    <a:close/>
                    <a:moveTo>
                      <a:pt x="738" y="321"/>
                    </a:moveTo>
                    <a:lnTo>
                      <a:pt x="738" y="323"/>
                    </a:lnTo>
                    <a:lnTo>
                      <a:pt x="738" y="321"/>
                    </a:lnTo>
                    <a:lnTo>
                      <a:pt x="738" y="323"/>
                    </a:lnTo>
                    <a:lnTo>
                      <a:pt x="738" y="321"/>
                    </a:lnTo>
                    <a:close/>
                    <a:moveTo>
                      <a:pt x="746" y="320"/>
                    </a:moveTo>
                    <a:lnTo>
                      <a:pt x="744" y="320"/>
                    </a:lnTo>
                    <a:lnTo>
                      <a:pt x="746" y="320"/>
                    </a:lnTo>
                    <a:close/>
                    <a:moveTo>
                      <a:pt x="680" y="293"/>
                    </a:moveTo>
                    <a:lnTo>
                      <a:pt x="680" y="295"/>
                    </a:lnTo>
                    <a:lnTo>
                      <a:pt x="680" y="293"/>
                    </a:lnTo>
                    <a:close/>
                    <a:moveTo>
                      <a:pt x="753" y="314"/>
                    </a:moveTo>
                    <a:lnTo>
                      <a:pt x="752" y="314"/>
                    </a:lnTo>
                    <a:lnTo>
                      <a:pt x="752" y="312"/>
                    </a:lnTo>
                    <a:lnTo>
                      <a:pt x="753" y="312"/>
                    </a:lnTo>
                    <a:lnTo>
                      <a:pt x="753" y="314"/>
                    </a:lnTo>
                    <a:close/>
                    <a:moveTo>
                      <a:pt x="759" y="312"/>
                    </a:moveTo>
                    <a:lnTo>
                      <a:pt x="757" y="314"/>
                    </a:lnTo>
                    <a:lnTo>
                      <a:pt x="757" y="312"/>
                    </a:lnTo>
                    <a:lnTo>
                      <a:pt x="757" y="314"/>
                    </a:lnTo>
                    <a:lnTo>
                      <a:pt x="757" y="312"/>
                    </a:lnTo>
                    <a:lnTo>
                      <a:pt x="759" y="312"/>
                    </a:lnTo>
                    <a:close/>
                    <a:moveTo>
                      <a:pt x="752" y="308"/>
                    </a:moveTo>
                    <a:lnTo>
                      <a:pt x="750" y="310"/>
                    </a:lnTo>
                    <a:lnTo>
                      <a:pt x="750" y="308"/>
                    </a:lnTo>
                    <a:lnTo>
                      <a:pt x="752" y="308"/>
                    </a:lnTo>
                    <a:close/>
                    <a:moveTo>
                      <a:pt x="761" y="312"/>
                    </a:moveTo>
                    <a:lnTo>
                      <a:pt x="759" y="312"/>
                    </a:lnTo>
                    <a:lnTo>
                      <a:pt x="759" y="314"/>
                    </a:lnTo>
                    <a:lnTo>
                      <a:pt x="757" y="314"/>
                    </a:lnTo>
                    <a:lnTo>
                      <a:pt x="759" y="314"/>
                    </a:lnTo>
                    <a:lnTo>
                      <a:pt x="759" y="316"/>
                    </a:lnTo>
                    <a:lnTo>
                      <a:pt x="759" y="314"/>
                    </a:lnTo>
                    <a:lnTo>
                      <a:pt x="759" y="316"/>
                    </a:lnTo>
                    <a:lnTo>
                      <a:pt x="759" y="314"/>
                    </a:lnTo>
                    <a:lnTo>
                      <a:pt x="759" y="316"/>
                    </a:lnTo>
                    <a:lnTo>
                      <a:pt x="757" y="316"/>
                    </a:lnTo>
                    <a:lnTo>
                      <a:pt x="757" y="314"/>
                    </a:lnTo>
                    <a:lnTo>
                      <a:pt x="757" y="316"/>
                    </a:lnTo>
                    <a:lnTo>
                      <a:pt x="757" y="314"/>
                    </a:lnTo>
                    <a:lnTo>
                      <a:pt x="755" y="314"/>
                    </a:lnTo>
                    <a:lnTo>
                      <a:pt x="757" y="314"/>
                    </a:lnTo>
                    <a:lnTo>
                      <a:pt x="755" y="314"/>
                    </a:lnTo>
                    <a:lnTo>
                      <a:pt x="757" y="314"/>
                    </a:lnTo>
                    <a:lnTo>
                      <a:pt x="759" y="314"/>
                    </a:lnTo>
                    <a:lnTo>
                      <a:pt x="759" y="312"/>
                    </a:lnTo>
                    <a:lnTo>
                      <a:pt x="761" y="312"/>
                    </a:lnTo>
                    <a:close/>
                    <a:moveTo>
                      <a:pt x="753" y="310"/>
                    </a:moveTo>
                    <a:lnTo>
                      <a:pt x="752" y="308"/>
                    </a:lnTo>
                    <a:lnTo>
                      <a:pt x="753" y="308"/>
                    </a:lnTo>
                    <a:lnTo>
                      <a:pt x="753" y="310"/>
                    </a:lnTo>
                    <a:close/>
                    <a:moveTo>
                      <a:pt x="759" y="312"/>
                    </a:moveTo>
                    <a:lnTo>
                      <a:pt x="761" y="312"/>
                    </a:lnTo>
                    <a:lnTo>
                      <a:pt x="759" y="312"/>
                    </a:lnTo>
                    <a:close/>
                    <a:moveTo>
                      <a:pt x="753" y="308"/>
                    </a:moveTo>
                    <a:lnTo>
                      <a:pt x="752" y="308"/>
                    </a:lnTo>
                    <a:lnTo>
                      <a:pt x="753" y="308"/>
                    </a:lnTo>
                    <a:close/>
                    <a:moveTo>
                      <a:pt x="763" y="312"/>
                    </a:moveTo>
                    <a:lnTo>
                      <a:pt x="765" y="312"/>
                    </a:lnTo>
                    <a:lnTo>
                      <a:pt x="765" y="314"/>
                    </a:lnTo>
                    <a:lnTo>
                      <a:pt x="763" y="314"/>
                    </a:lnTo>
                    <a:lnTo>
                      <a:pt x="763" y="312"/>
                    </a:lnTo>
                    <a:close/>
                    <a:moveTo>
                      <a:pt x="765" y="308"/>
                    </a:moveTo>
                    <a:lnTo>
                      <a:pt x="765" y="310"/>
                    </a:lnTo>
                    <a:lnTo>
                      <a:pt x="763" y="310"/>
                    </a:lnTo>
                    <a:lnTo>
                      <a:pt x="763" y="308"/>
                    </a:lnTo>
                    <a:lnTo>
                      <a:pt x="765" y="308"/>
                    </a:lnTo>
                    <a:close/>
                    <a:moveTo>
                      <a:pt x="765" y="308"/>
                    </a:moveTo>
                    <a:lnTo>
                      <a:pt x="765" y="306"/>
                    </a:lnTo>
                    <a:lnTo>
                      <a:pt x="767" y="306"/>
                    </a:lnTo>
                    <a:lnTo>
                      <a:pt x="765" y="306"/>
                    </a:lnTo>
                    <a:lnTo>
                      <a:pt x="765" y="308"/>
                    </a:lnTo>
                    <a:close/>
                    <a:moveTo>
                      <a:pt x="819" y="287"/>
                    </a:moveTo>
                    <a:lnTo>
                      <a:pt x="819" y="285"/>
                    </a:lnTo>
                    <a:lnTo>
                      <a:pt x="819" y="287"/>
                    </a:lnTo>
                    <a:close/>
                    <a:moveTo>
                      <a:pt x="819" y="285"/>
                    </a:moveTo>
                    <a:lnTo>
                      <a:pt x="821" y="285"/>
                    </a:lnTo>
                    <a:lnTo>
                      <a:pt x="819" y="285"/>
                    </a:lnTo>
                    <a:close/>
                    <a:moveTo>
                      <a:pt x="828" y="289"/>
                    </a:moveTo>
                    <a:lnTo>
                      <a:pt x="830" y="289"/>
                    </a:lnTo>
                    <a:lnTo>
                      <a:pt x="830" y="287"/>
                    </a:lnTo>
                    <a:lnTo>
                      <a:pt x="830" y="289"/>
                    </a:lnTo>
                    <a:lnTo>
                      <a:pt x="828" y="289"/>
                    </a:lnTo>
                    <a:close/>
                    <a:moveTo>
                      <a:pt x="763" y="250"/>
                    </a:moveTo>
                    <a:lnTo>
                      <a:pt x="763" y="252"/>
                    </a:lnTo>
                    <a:lnTo>
                      <a:pt x="765" y="252"/>
                    </a:lnTo>
                    <a:lnTo>
                      <a:pt x="763" y="252"/>
                    </a:lnTo>
                    <a:lnTo>
                      <a:pt x="763" y="250"/>
                    </a:lnTo>
                    <a:close/>
                    <a:moveTo>
                      <a:pt x="775" y="246"/>
                    </a:moveTo>
                    <a:lnTo>
                      <a:pt x="775" y="245"/>
                    </a:lnTo>
                    <a:lnTo>
                      <a:pt x="777" y="245"/>
                    </a:lnTo>
                    <a:lnTo>
                      <a:pt x="777" y="246"/>
                    </a:lnTo>
                    <a:lnTo>
                      <a:pt x="778" y="246"/>
                    </a:lnTo>
                    <a:lnTo>
                      <a:pt x="777" y="246"/>
                    </a:lnTo>
                    <a:lnTo>
                      <a:pt x="775" y="246"/>
                    </a:lnTo>
                    <a:close/>
                    <a:moveTo>
                      <a:pt x="792" y="245"/>
                    </a:moveTo>
                    <a:lnTo>
                      <a:pt x="790" y="245"/>
                    </a:lnTo>
                    <a:lnTo>
                      <a:pt x="792" y="245"/>
                    </a:lnTo>
                    <a:close/>
                    <a:moveTo>
                      <a:pt x="788" y="243"/>
                    </a:moveTo>
                    <a:lnTo>
                      <a:pt x="788" y="245"/>
                    </a:lnTo>
                    <a:lnTo>
                      <a:pt x="790" y="245"/>
                    </a:lnTo>
                    <a:lnTo>
                      <a:pt x="788" y="245"/>
                    </a:lnTo>
                    <a:lnTo>
                      <a:pt x="786" y="245"/>
                    </a:lnTo>
                    <a:lnTo>
                      <a:pt x="786" y="243"/>
                    </a:lnTo>
                    <a:lnTo>
                      <a:pt x="784" y="243"/>
                    </a:lnTo>
                    <a:lnTo>
                      <a:pt x="786" y="243"/>
                    </a:lnTo>
                    <a:lnTo>
                      <a:pt x="788" y="243"/>
                    </a:lnTo>
                    <a:close/>
                    <a:moveTo>
                      <a:pt x="790" y="241"/>
                    </a:moveTo>
                    <a:lnTo>
                      <a:pt x="790" y="243"/>
                    </a:lnTo>
                    <a:lnTo>
                      <a:pt x="788" y="243"/>
                    </a:lnTo>
                    <a:lnTo>
                      <a:pt x="786" y="243"/>
                    </a:lnTo>
                    <a:lnTo>
                      <a:pt x="784" y="243"/>
                    </a:lnTo>
                    <a:lnTo>
                      <a:pt x="782" y="243"/>
                    </a:lnTo>
                    <a:lnTo>
                      <a:pt x="782" y="241"/>
                    </a:lnTo>
                    <a:lnTo>
                      <a:pt x="780" y="241"/>
                    </a:lnTo>
                    <a:lnTo>
                      <a:pt x="782" y="241"/>
                    </a:lnTo>
                    <a:lnTo>
                      <a:pt x="784" y="241"/>
                    </a:lnTo>
                    <a:lnTo>
                      <a:pt x="786" y="241"/>
                    </a:lnTo>
                    <a:lnTo>
                      <a:pt x="788" y="241"/>
                    </a:lnTo>
                    <a:lnTo>
                      <a:pt x="786" y="241"/>
                    </a:lnTo>
                    <a:lnTo>
                      <a:pt x="788" y="241"/>
                    </a:lnTo>
                    <a:lnTo>
                      <a:pt x="790" y="241"/>
                    </a:lnTo>
                    <a:close/>
                    <a:moveTo>
                      <a:pt x="807" y="246"/>
                    </a:moveTo>
                    <a:lnTo>
                      <a:pt x="807" y="248"/>
                    </a:lnTo>
                    <a:lnTo>
                      <a:pt x="809" y="248"/>
                    </a:lnTo>
                    <a:lnTo>
                      <a:pt x="807" y="248"/>
                    </a:lnTo>
                    <a:lnTo>
                      <a:pt x="807" y="246"/>
                    </a:lnTo>
                    <a:close/>
                    <a:moveTo>
                      <a:pt x="800" y="241"/>
                    </a:moveTo>
                    <a:lnTo>
                      <a:pt x="802" y="241"/>
                    </a:lnTo>
                    <a:lnTo>
                      <a:pt x="800" y="241"/>
                    </a:lnTo>
                    <a:lnTo>
                      <a:pt x="798" y="241"/>
                    </a:lnTo>
                    <a:lnTo>
                      <a:pt x="796" y="241"/>
                    </a:lnTo>
                    <a:lnTo>
                      <a:pt x="798" y="241"/>
                    </a:lnTo>
                    <a:lnTo>
                      <a:pt x="800" y="241"/>
                    </a:lnTo>
                    <a:close/>
                    <a:moveTo>
                      <a:pt x="796" y="241"/>
                    </a:moveTo>
                    <a:lnTo>
                      <a:pt x="794" y="241"/>
                    </a:lnTo>
                    <a:lnTo>
                      <a:pt x="794" y="239"/>
                    </a:lnTo>
                    <a:lnTo>
                      <a:pt x="796" y="239"/>
                    </a:lnTo>
                    <a:lnTo>
                      <a:pt x="796" y="241"/>
                    </a:lnTo>
                    <a:close/>
                    <a:moveTo>
                      <a:pt x="788" y="235"/>
                    </a:moveTo>
                    <a:lnTo>
                      <a:pt x="790" y="235"/>
                    </a:lnTo>
                    <a:lnTo>
                      <a:pt x="788" y="235"/>
                    </a:lnTo>
                    <a:close/>
                    <a:moveTo>
                      <a:pt x="817" y="241"/>
                    </a:moveTo>
                    <a:lnTo>
                      <a:pt x="815" y="241"/>
                    </a:lnTo>
                    <a:lnTo>
                      <a:pt x="813" y="241"/>
                    </a:lnTo>
                    <a:lnTo>
                      <a:pt x="813" y="243"/>
                    </a:lnTo>
                    <a:lnTo>
                      <a:pt x="811" y="243"/>
                    </a:lnTo>
                    <a:lnTo>
                      <a:pt x="809" y="243"/>
                    </a:lnTo>
                    <a:lnTo>
                      <a:pt x="809" y="241"/>
                    </a:lnTo>
                    <a:lnTo>
                      <a:pt x="807" y="241"/>
                    </a:lnTo>
                    <a:lnTo>
                      <a:pt x="809" y="241"/>
                    </a:lnTo>
                    <a:lnTo>
                      <a:pt x="807" y="241"/>
                    </a:lnTo>
                    <a:lnTo>
                      <a:pt x="805" y="241"/>
                    </a:lnTo>
                    <a:lnTo>
                      <a:pt x="807" y="239"/>
                    </a:lnTo>
                    <a:lnTo>
                      <a:pt x="809" y="239"/>
                    </a:lnTo>
                    <a:lnTo>
                      <a:pt x="811" y="239"/>
                    </a:lnTo>
                    <a:lnTo>
                      <a:pt x="813" y="239"/>
                    </a:lnTo>
                    <a:lnTo>
                      <a:pt x="815" y="241"/>
                    </a:lnTo>
                    <a:lnTo>
                      <a:pt x="817" y="241"/>
                    </a:lnTo>
                    <a:close/>
                    <a:moveTo>
                      <a:pt x="859" y="252"/>
                    </a:moveTo>
                    <a:lnTo>
                      <a:pt x="857" y="252"/>
                    </a:lnTo>
                    <a:lnTo>
                      <a:pt x="859" y="252"/>
                    </a:lnTo>
                    <a:close/>
                    <a:moveTo>
                      <a:pt x="867" y="254"/>
                    </a:moveTo>
                    <a:lnTo>
                      <a:pt x="867" y="256"/>
                    </a:lnTo>
                    <a:lnTo>
                      <a:pt x="865" y="256"/>
                    </a:lnTo>
                    <a:lnTo>
                      <a:pt x="865" y="254"/>
                    </a:lnTo>
                    <a:lnTo>
                      <a:pt x="867" y="254"/>
                    </a:lnTo>
                    <a:close/>
                    <a:moveTo>
                      <a:pt x="861" y="87"/>
                    </a:moveTo>
                    <a:lnTo>
                      <a:pt x="863" y="87"/>
                    </a:lnTo>
                    <a:lnTo>
                      <a:pt x="863" y="89"/>
                    </a:lnTo>
                    <a:lnTo>
                      <a:pt x="861" y="89"/>
                    </a:lnTo>
                    <a:lnTo>
                      <a:pt x="861" y="87"/>
                    </a:lnTo>
                    <a:lnTo>
                      <a:pt x="859" y="87"/>
                    </a:lnTo>
                    <a:lnTo>
                      <a:pt x="861" y="87"/>
                    </a:lnTo>
                    <a:close/>
                    <a:moveTo>
                      <a:pt x="842" y="77"/>
                    </a:moveTo>
                    <a:lnTo>
                      <a:pt x="842" y="79"/>
                    </a:lnTo>
                    <a:lnTo>
                      <a:pt x="844" y="79"/>
                    </a:lnTo>
                    <a:lnTo>
                      <a:pt x="844" y="81"/>
                    </a:lnTo>
                    <a:lnTo>
                      <a:pt x="846" y="81"/>
                    </a:lnTo>
                    <a:lnTo>
                      <a:pt x="844" y="81"/>
                    </a:lnTo>
                    <a:lnTo>
                      <a:pt x="842" y="81"/>
                    </a:lnTo>
                    <a:lnTo>
                      <a:pt x="840" y="79"/>
                    </a:lnTo>
                    <a:lnTo>
                      <a:pt x="840" y="77"/>
                    </a:lnTo>
                    <a:lnTo>
                      <a:pt x="838" y="77"/>
                    </a:lnTo>
                    <a:lnTo>
                      <a:pt x="836" y="77"/>
                    </a:lnTo>
                    <a:lnTo>
                      <a:pt x="836" y="75"/>
                    </a:lnTo>
                    <a:lnTo>
                      <a:pt x="834" y="75"/>
                    </a:lnTo>
                    <a:lnTo>
                      <a:pt x="836" y="75"/>
                    </a:lnTo>
                    <a:lnTo>
                      <a:pt x="838" y="75"/>
                    </a:lnTo>
                    <a:lnTo>
                      <a:pt x="840" y="75"/>
                    </a:lnTo>
                    <a:lnTo>
                      <a:pt x="840" y="77"/>
                    </a:lnTo>
                    <a:lnTo>
                      <a:pt x="840" y="75"/>
                    </a:lnTo>
                    <a:lnTo>
                      <a:pt x="842" y="77"/>
                    </a:lnTo>
                    <a:close/>
                    <a:moveTo>
                      <a:pt x="698" y="14"/>
                    </a:moveTo>
                    <a:lnTo>
                      <a:pt x="696" y="16"/>
                    </a:lnTo>
                    <a:lnTo>
                      <a:pt x="696" y="14"/>
                    </a:lnTo>
                    <a:lnTo>
                      <a:pt x="694" y="14"/>
                    </a:lnTo>
                    <a:lnTo>
                      <a:pt x="694" y="12"/>
                    </a:lnTo>
                    <a:lnTo>
                      <a:pt x="696" y="12"/>
                    </a:lnTo>
                    <a:lnTo>
                      <a:pt x="696" y="14"/>
                    </a:lnTo>
                    <a:lnTo>
                      <a:pt x="698" y="14"/>
                    </a:lnTo>
                    <a:lnTo>
                      <a:pt x="698" y="16"/>
                    </a:lnTo>
                    <a:lnTo>
                      <a:pt x="698" y="14"/>
                    </a:lnTo>
                    <a:close/>
                    <a:moveTo>
                      <a:pt x="682" y="4"/>
                    </a:moveTo>
                    <a:lnTo>
                      <a:pt x="682" y="6"/>
                    </a:lnTo>
                    <a:lnTo>
                      <a:pt x="680" y="4"/>
                    </a:lnTo>
                    <a:lnTo>
                      <a:pt x="679" y="4"/>
                    </a:lnTo>
                    <a:lnTo>
                      <a:pt x="679" y="2"/>
                    </a:lnTo>
                    <a:lnTo>
                      <a:pt x="680" y="4"/>
                    </a:lnTo>
                    <a:lnTo>
                      <a:pt x="682" y="4"/>
                    </a:lnTo>
                    <a:close/>
                    <a:moveTo>
                      <a:pt x="750" y="37"/>
                    </a:moveTo>
                    <a:lnTo>
                      <a:pt x="750" y="35"/>
                    </a:lnTo>
                    <a:lnTo>
                      <a:pt x="750" y="37"/>
                    </a:lnTo>
                    <a:close/>
                    <a:moveTo>
                      <a:pt x="680" y="2"/>
                    </a:moveTo>
                    <a:lnTo>
                      <a:pt x="680" y="4"/>
                    </a:lnTo>
                    <a:lnTo>
                      <a:pt x="682" y="4"/>
                    </a:lnTo>
                    <a:lnTo>
                      <a:pt x="680" y="4"/>
                    </a:lnTo>
                    <a:lnTo>
                      <a:pt x="680" y="2"/>
                    </a:lnTo>
                    <a:lnTo>
                      <a:pt x="679" y="2"/>
                    </a:lnTo>
                    <a:lnTo>
                      <a:pt x="680" y="2"/>
                    </a:lnTo>
                    <a:close/>
                    <a:moveTo>
                      <a:pt x="807" y="60"/>
                    </a:moveTo>
                    <a:lnTo>
                      <a:pt x="805" y="60"/>
                    </a:lnTo>
                    <a:lnTo>
                      <a:pt x="807" y="60"/>
                    </a:lnTo>
                    <a:close/>
                    <a:moveTo>
                      <a:pt x="700" y="10"/>
                    </a:moveTo>
                    <a:lnTo>
                      <a:pt x="698" y="10"/>
                    </a:lnTo>
                    <a:lnTo>
                      <a:pt x="700" y="10"/>
                    </a:lnTo>
                    <a:close/>
                    <a:moveTo>
                      <a:pt x="736" y="27"/>
                    </a:moveTo>
                    <a:lnTo>
                      <a:pt x="734" y="27"/>
                    </a:lnTo>
                    <a:lnTo>
                      <a:pt x="736" y="27"/>
                    </a:lnTo>
                    <a:close/>
                    <a:moveTo>
                      <a:pt x="684" y="6"/>
                    </a:moveTo>
                    <a:lnTo>
                      <a:pt x="682" y="4"/>
                    </a:lnTo>
                    <a:lnTo>
                      <a:pt x="682" y="2"/>
                    </a:lnTo>
                    <a:lnTo>
                      <a:pt x="684" y="4"/>
                    </a:lnTo>
                    <a:lnTo>
                      <a:pt x="684" y="2"/>
                    </a:lnTo>
                    <a:lnTo>
                      <a:pt x="686" y="2"/>
                    </a:lnTo>
                    <a:lnTo>
                      <a:pt x="686" y="4"/>
                    </a:lnTo>
                    <a:lnTo>
                      <a:pt x="688" y="4"/>
                    </a:lnTo>
                    <a:lnTo>
                      <a:pt x="688" y="6"/>
                    </a:lnTo>
                    <a:lnTo>
                      <a:pt x="686" y="6"/>
                    </a:lnTo>
                    <a:lnTo>
                      <a:pt x="684" y="6"/>
                    </a:lnTo>
                    <a:close/>
                    <a:moveTo>
                      <a:pt x="853" y="75"/>
                    </a:moveTo>
                    <a:lnTo>
                      <a:pt x="851" y="75"/>
                    </a:lnTo>
                    <a:lnTo>
                      <a:pt x="850" y="75"/>
                    </a:lnTo>
                    <a:lnTo>
                      <a:pt x="851" y="75"/>
                    </a:lnTo>
                    <a:lnTo>
                      <a:pt x="851" y="73"/>
                    </a:lnTo>
                    <a:lnTo>
                      <a:pt x="853" y="75"/>
                    </a:lnTo>
                    <a:close/>
                    <a:moveTo>
                      <a:pt x="869" y="79"/>
                    </a:moveTo>
                    <a:lnTo>
                      <a:pt x="871" y="81"/>
                    </a:lnTo>
                    <a:lnTo>
                      <a:pt x="869" y="81"/>
                    </a:lnTo>
                    <a:lnTo>
                      <a:pt x="867" y="81"/>
                    </a:lnTo>
                    <a:lnTo>
                      <a:pt x="867" y="79"/>
                    </a:lnTo>
                    <a:lnTo>
                      <a:pt x="865" y="79"/>
                    </a:lnTo>
                    <a:lnTo>
                      <a:pt x="865" y="77"/>
                    </a:lnTo>
                    <a:lnTo>
                      <a:pt x="867" y="77"/>
                    </a:lnTo>
                    <a:lnTo>
                      <a:pt x="867" y="79"/>
                    </a:lnTo>
                    <a:lnTo>
                      <a:pt x="869" y="79"/>
                    </a:lnTo>
                    <a:close/>
                    <a:moveTo>
                      <a:pt x="865" y="77"/>
                    </a:moveTo>
                    <a:lnTo>
                      <a:pt x="865" y="75"/>
                    </a:lnTo>
                    <a:lnTo>
                      <a:pt x="865" y="77"/>
                    </a:lnTo>
                    <a:close/>
                    <a:moveTo>
                      <a:pt x="850" y="68"/>
                    </a:moveTo>
                    <a:lnTo>
                      <a:pt x="848" y="68"/>
                    </a:lnTo>
                    <a:lnTo>
                      <a:pt x="850" y="68"/>
                    </a:lnTo>
                    <a:close/>
                    <a:moveTo>
                      <a:pt x="767" y="33"/>
                    </a:moveTo>
                    <a:lnTo>
                      <a:pt x="765" y="33"/>
                    </a:lnTo>
                    <a:lnTo>
                      <a:pt x="765" y="31"/>
                    </a:lnTo>
                    <a:lnTo>
                      <a:pt x="765" y="33"/>
                    </a:lnTo>
                    <a:lnTo>
                      <a:pt x="767" y="33"/>
                    </a:lnTo>
                    <a:close/>
                    <a:moveTo>
                      <a:pt x="771" y="33"/>
                    </a:moveTo>
                    <a:lnTo>
                      <a:pt x="771" y="35"/>
                    </a:lnTo>
                    <a:lnTo>
                      <a:pt x="773" y="35"/>
                    </a:lnTo>
                    <a:lnTo>
                      <a:pt x="773" y="37"/>
                    </a:lnTo>
                    <a:lnTo>
                      <a:pt x="771" y="37"/>
                    </a:lnTo>
                    <a:lnTo>
                      <a:pt x="773" y="37"/>
                    </a:lnTo>
                    <a:lnTo>
                      <a:pt x="771" y="39"/>
                    </a:lnTo>
                    <a:lnTo>
                      <a:pt x="769" y="39"/>
                    </a:lnTo>
                    <a:lnTo>
                      <a:pt x="769" y="37"/>
                    </a:lnTo>
                    <a:lnTo>
                      <a:pt x="767" y="37"/>
                    </a:lnTo>
                    <a:lnTo>
                      <a:pt x="767" y="35"/>
                    </a:lnTo>
                    <a:lnTo>
                      <a:pt x="767" y="33"/>
                    </a:lnTo>
                    <a:lnTo>
                      <a:pt x="769" y="33"/>
                    </a:lnTo>
                    <a:lnTo>
                      <a:pt x="771" y="33"/>
                    </a:lnTo>
                    <a:close/>
                    <a:moveTo>
                      <a:pt x="790" y="43"/>
                    </a:moveTo>
                    <a:lnTo>
                      <a:pt x="792" y="43"/>
                    </a:lnTo>
                    <a:lnTo>
                      <a:pt x="792" y="45"/>
                    </a:lnTo>
                    <a:lnTo>
                      <a:pt x="790" y="45"/>
                    </a:lnTo>
                    <a:lnTo>
                      <a:pt x="788" y="45"/>
                    </a:lnTo>
                    <a:lnTo>
                      <a:pt x="786" y="45"/>
                    </a:lnTo>
                    <a:lnTo>
                      <a:pt x="784" y="45"/>
                    </a:lnTo>
                    <a:lnTo>
                      <a:pt x="782" y="43"/>
                    </a:lnTo>
                    <a:lnTo>
                      <a:pt x="782" y="41"/>
                    </a:lnTo>
                    <a:lnTo>
                      <a:pt x="780" y="41"/>
                    </a:lnTo>
                    <a:lnTo>
                      <a:pt x="782" y="41"/>
                    </a:lnTo>
                    <a:lnTo>
                      <a:pt x="784" y="43"/>
                    </a:lnTo>
                    <a:lnTo>
                      <a:pt x="784" y="41"/>
                    </a:lnTo>
                    <a:lnTo>
                      <a:pt x="786" y="43"/>
                    </a:lnTo>
                    <a:lnTo>
                      <a:pt x="784" y="41"/>
                    </a:lnTo>
                    <a:lnTo>
                      <a:pt x="786" y="41"/>
                    </a:lnTo>
                    <a:lnTo>
                      <a:pt x="788" y="41"/>
                    </a:lnTo>
                    <a:lnTo>
                      <a:pt x="790" y="41"/>
                    </a:lnTo>
                    <a:lnTo>
                      <a:pt x="790" y="43"/>
                    </a:lnTo>
                    <a:close/>
                    <a:moveTo>
                      <a:pt x="767" y="31"/>
                    </a:moveTo>
                    <a:lnTo>
                      <a:pt x="765" y="31"/>
                    </a:lnTo>
                    <a:lnTo>
                      <a:pt x="767" y="31"/>
                    </a:lnTo>
                    <a:close/>
                    <a:moveTo>
                      <a:pt x="725" y="14"/>
                    </a:moveTo>
                    <a:lnTo>
                      <a:pt x="725" y="12"/>
                    </a:lnTo>
                    <a:lnTo>
                      <a:pt x="725" y="14"/>
                    </a:lnTo>
                    <a:close/>
                    <a:moveTo>
                      <a:pt x="890" y="81"/>
                    </a:moveTo>
                    <a:lnTo>
                      <a:pt x="888" y="79"/>
                    </a:lnTo>
                    <a:lnTo>
                      <a:pt x="888" y="81"/>
                    </a:lnTo>
                    <a:lnTo>
                      <a:pt x="890" y="79"/>
                    </a:lnTo>
                    <a:lnTo>
                      <a:pt x="890" y="81"/>
                    </a:lnTo>
                    <a:close/>
                    <a:moveTo>
                      <a:pt x="738" y="18"/>
                    </a:moveTo>
                    <a:lnTo>
                      <a:pt x="740" y="18"/>
                    </a:lnTo>
                    <a:lnTo>
                      <a:pt x="740" y="20"/>
                    </a:lnTo>
                    <a:lnTo>
                      <a:pt x="742" y="20"/>
                    </a:lnTo>
                    <a:lnTo>
                      <a:pt x="742" y="22"/>
                    </a:lnTo>
                    <a:lnTo>
                      <a:pt x="744" y="22"/>
                    </a:lnTo>
                    <a:lnTo>
                      <a:pt x="742" y="22"/>
                    </a:lnTo>
                    <a:lnTo>
                      <a:pt x="738" y="20"/>
                    </a:lnTo>
                    <a:lnTo>
                      <a:pt x="738" y="18"/>
                    </a:lnTo>
                    <a:lnTo>
                      <a:pt x="736" y="18"/>
                    </a:lnTo>
                    <a:lnTo>
                      <a:pt x="738" y="18"/>
                    </a:lnTo>
                    <a:close/>
                    <a:moveTo>
                      <a:pt x="875" y="75"/>
                    </a:moveTo>
                    <a:lnTo>
                      <a:pt x="873" y="73"/>
                    </a:lnTo>
                    <a:lnTo>
                      <a:pt x="871" y="73"/>
                    </a:lnTo>
                    <a:lnTo>
                      <a:pt x="873" y="73"/>
                    </a:lnTo>
                    <a:lnTo>
                      <a:pt x="875" y="73"/>
                    </a:lnTo>
                    <a:lnTo>
                      <a:pt x="875" y="75"/>
                    </a:lnTo>
                    <a:close/>
                    <a:moveTo>
                      <a:pt x="894" y="81"/>
                    </a:moveTo>
                    <a:lnTo>
                      <a:pt x="892" y="81"/>
                    </a:lnTo>
                    <a:lnTo>
                      <a:pt x="894" y="81"/>
                    </a:lnTo>
                    <a:close/>
                    <a:moveTo>
                      <a:pt x="894" y="81"/>
                    </a:moveTo>
                    <a:lnTo>
                      <a:pt x="896" y="81"/>
                    </a:lnTo>
                    <a:lnTo>
                      <a:pt x="894" y="81"/>
                    </a:lnTo>
                    <a:close/>
                    <a:moveTo>
                      <a:pt x="778" y="37"/>
                    </a:moveTo>
                    <a:lnTo>
                      <a:pt x="778" y="35"/>
                    </a:lnTo>
                    <a:lnTo>
                      <a:pt x="777" y="35"/>
                    </a:lnTo>
                    <a:lnTo>
                      <a:pt x="778" y="35"/>
                    </a:lnTo>
                    <a:lnTo>
                      <a:pt x="780" y="35"/>
                    </a:lnTo>
                    <a:lnTo>
                      <a:pt x="782" y="37"/>
                    </a:lnTo>
                    <a:lnTo>
                      <a:pt x="780" y="37"/>
                    </a:lnTo>
                    <a:lnTo>
                      <a:pt x="778" y="37"/>
                    </a:lnTo>
                    <a:close/>
                    <a:moveTo>
                      <a:pt x="802" y="45"/>
                    </a:moveTo>
                    <a:lnTo>
                      <a:pt x="803" y="45"/>
                    </a:lnTo>
                    <a:lnTo>
                      <a:pt x="805" y="45"/>
                    </a:lnTo>
                    <a:lnTo>
                      <a:pt x="805" y="47"/>
                    </a:lnTo>
                    <a:lnTo>
                      <a:pt x="803" y="47"/>
                    </a:lnTo>
                    <a:lnTo>
                      <a:pt x="802" y="47"/>
                    </a:lnTo>
                    <a:lnTo>
                      <a:pt x="802" y="45"/>
                    </a:lnTo>
                    <a:lnTo>
                      <a:pt x="800" y="45"/>
                    </a:lnTo>
                    <a:lnTo>
                      <a:pt x="798" y="43"/>
                    </a:lnTo>
                    <a:lnTo>
                      <a:pt x="796" y="43"/>
                    </a:lnTo>
                    <a:lnTo>
                      <a:pt x="798" y="43"/>
                    </a:lnTo>
                    <a:lnTo>
                      <a:pt x="800" y="43"/>
                    </a:lnTo>
                    <a:lnTo>
                      <a:pt x="802" y="45"/>
                    </a:lnTo>
                    <a:close/>
                    <a:moveTo>
                      <a:pt x="790" y="39"/>
                    </a:moveTo>
                    <a:lnTo>
                      <a:pt x="788" y="39"/>
                    </a:lnTo>
                    <a:lnTo>
                      <a:pt x="790" y="39"/>
                    </a:lnTo>
                    <a:lnTo>
                      <a:pt x="788" y="39"/>
                    </a:lnTo>
                    <a:lnTo>
                      <a:pt x="786" y="39"/>
                    </a:lnTo>
                    <a:lnTo>
                      <a:pt x="786" y="37"/>
                    </a:lnTo>
                    <a:lnTo>
                      <a:pt x="784" y="37"/>
                    </a:lnTo>
                    <a:lnTo>
                      <a:pt x="786" y="37"/>
                    </a:lnTo>
                    <a:lnTo>
                      <a:pt x="788" y="37"/>
                    </a:lnTo>
                    <a:lnTo>
                      <a:pt x="790" y="37"/>
                    </a:lnTo>
                    <a:lnTo>
                      <a:pt x="790" y="39"/>
                    </a:lnTo>
                    <a:close/>
                    <a:moveTo>
                      <a:pt x="777" y="35"/>
                    </a:moveTo>
                    <a:lnTo>
                      <a:pt x="777" y="33"/>
                    </a:lnTo>
                    <a:lnTo>
                      <a:pt x="775" y="33"/>
                    </a:lnTo>
                    <a:lnTo>
                      <a:pt x="777" y="33"/>
                    </a:lnTo>
                    <a:lnTo>
                      <a:pt x="777" y="31"/>
                    </a:lnTo>
                    <a:lnTo>
                      <a:pt x="778" y="31"/>
                    </a:lnTo>
                    <a:lnTo>
                      <a:pt x="780" y="31"/>
                    </a:lnTo>
                    <a:lnTo>
                      <a:pt x="780" y="33"/>
                    </a:lnTo>
                    <a:lnTo>
                      <a:pt x="782" y="33"/>
                    </a:lnTo>
                    <a:lnTo>
                      <a:pt x="782" y="35"/>
                    </a:lnTo>
                    <a:lnTo>
                      <a:pt x="780" y="35"/>
                    </a:lnTo>
                    <a:lnTo>
                      <a:pt x="778" y="35"/>
                    </a:lnTo>
                    <a:lnTo>
                      <a:pt x="777" y="35"/>
                    </a:lnTo>
                    <a:close/>
                    <a:moveTo>
                      <a:pt x="815" y="47"/>
                    </a:moveTo>
                    <a:lnTo>
                      <a:pt x="813" y="47"/>
                    </a:lnTo>
                    <a:lnTo>
                      <a:pt x="811" y="45"/>
                    </a:lnTo>
                    <a:lnTo>
                      <a:pt x="813" y="45"/>
                    </a:lnTo>
                    <a:lnTo>
                      <a:pt x="815" y="47"/>
                    </a:lnTo>
                    <a:close/>
                    <a:moveTo>
                      <a:pt x="784" y="31"/>
                    </a:moveTo>
                    <a:lnTo>
                      <a:pt x="786" y="33"/>
                    </a:lnTo>
                    <a:lnTo>
                      <a:pt x="784" y="33"/>
                    </a:lnTo>
                    <a:lnTo>
                      <a:pt x="786" y="33"/>
                    </a:lnTo>
                    <a:lnTo>
                      <a:pt x="788" y="35"/>
                    </a:lnTo>
                    <a:lnTo>
                      <a:pt x="786" y="35"/>
                    </a:lnTo>
                    <a:lnTo>
                      <a:pt x="788" y="35"/>
                    </a:lnTo>
                    <a:lnTo>
                      <a:pt x="786" y="35"/>
                    </a:lnTo>
                    <a:lnTo>
                      <a:pt x="784" y="35"/>
                    </a:lnTo>
                    <a:lnTo>
                      <a:pt x="782" y="35"/>
                    </a:lnTo>
                    <a:lnTo>
                      <a:pt x="782" y="33"/>
                    </a:lnTo>
                    <a:lnTo>
                      <a:pt x="780" y="31"/>
                    </a:lnTo>
                    <a:lnTo>
                      <a:pt x="778" y="31"/>
                    </a:lnTo>
                    <a:lnTo>
                      <a:pt x="780" y="31"/>
                    </a:lnTo>
                    <a:lnTo>
                      <a:pt x="778" y="29"/>
                    </a:lnTo>
                    <a:lnTo>
                      <a:pt x="780" y="29"/>
                    </a:lnTo>
                    <a:lnTo>
                      <a:pt x="780" y="31"/>
                    </a:lnTo>
                    <a:lnTo>
                      <a:pt x="780" y="29"/>
                    </a:lnTo>
                    <a:lnTo>
                      <a:pt x="780" y="31"/>
                    </a:lnTo>
                    <a:lnTo>
                      <a:pt x="782" y="31"/>
                    </a:lnTo>
                    <a:lnTo>
                      <a:pt x="784" y="31"/>
                    </a:lnTo>
                    <a:close/>
                    <a:moveTo>
                      <a:pt x="909" y="79"/>
                    </a:moveTo>
                    <a:lnTo>
                      <a:pt x="909" y="77"/>
                    </a:lnTo>
                    <a:lnTo>
                      <a:pt x="909" y="79"/>
                    </a:lnTo>
                    <a:close/>
                    <a:moveTo>
                      <a:pt x="777" y="27"/>
                    </a:moveTo>
                    <a:lnTo>
                      <a:pt x="775" y="25"/>
                    </a:lnTo>
                    <a:lnTo>
                      <a:pt x="777" y="25"/>
                    </a:lnTo>
                    <a:lnTo>
                      <a:pt x="777" y="27"/>
                    </a:lnTo>
                    <a:close/>
                    <a:moveTo>
                      <a:pt x="851" y="58"/>
                    </a:moveTo>
                    <a:lnTo>
                      <a:pt x="850" y="58"/>
                    </a:lnTo>
                    <a:lnTo>
                      <a:pt x="850" y="56"/>
                    </a:lnTo>
                    <a:lnTo>
                      <a:pt x="848" y="56"/>
                    </a:lnTo>
                    <a:lnTo>
                      <a:pt x="850" y="56"/>
                    </a:lnTo>
                    <a:lnTo>
                      <a:pt x="851" y="56"/>
                    </a:lnTo>
                    <a:lnTo>
                      <a:pt x="853" y="56"/>
                    </a:lnTo>
                    <a:lnTo>
                      <a:pt x="851" y="56"/>
                    </a:lnTo>
                    <a:lnTo>
                      <a:pt x="851" y="58"/>
                    </a:lnTo>
                    <a:close/>
                    <a:moveTo>
                      <a:pt x="853" y="56"/>
                    </a:moveTo>
                    <a:lnTo>
                      <a:pt x="855" y="56"/>
                    </a:lnTo>
                    <a:lnTo>
                      <a:pt x="853" y="56"/>
                    </a:lnTo>
                    <a:close/>
                    <a:moveTo>
                      <a:pt x="759" y="22"/>
                    </a:moveTo>
                    <a:lnTo>
                      <a:pt x="759" y="23"/>
                    </a:lnTo>
                    <a:lnTo>
                      <a:pt x="759" y="22"/>
                    </a:lnTo>
                    <a:lnTo>
                      <a:pt x="757" y="22"/>
                    </a:lnTo>
                    <a:lnTo>
                      <a:pt x="755" y="20"/>
                    </a:lnTo>
                    <a:lnTo>
                      <a:pt x="755" y="18"/>
                    </a:lnTo>
                    <a:lnTo>
                      <a:pt x="757" y="18"/>
                    </a:lnTo>
                    <a:lnTo>
                      <a:pt x="759" y="18"/>
                    </a:lnTo>
                    <a:lnTo>
                      <a:pt x="757" y="18"/>
                    </a:lnTo>
                    <a:lnTo>
                      <a:pt x="757" y="16"/>
                    </a:lnTo>
                    <a:lnTo>
                      <a:pt x="755" y="16"/>
                    </a:lnTo>
                    <a:lnTo>
                      <a:pt x="757" y="16"/>
                    </a:lnTo>
                    <a:lnTo>
                      <a:pt x="757" y="14"/>
                    </a:lnTo>
                    <a:lnTo>
                      <a:pt x="757" y="16"/>
                    </a:lnTo>
                    <a:lnTo>
                      <a:pt x="759" y="16"/>
                    </a:lnTo>
                    <a:lnTo>
                      <a:pt x="759" y="18"/>
                    </a:lnTo>
                    <a:lnTo>
                      <a:pt x="759" y="20"/>
                    </a:lnTo>
                    <a:lnTo>
                      <a:pt x="761" y="22"/>
                    </a:lnTo>
                    <a:lnTo>
                      <a:pt x="759" y="22"/>
                    </a:lnTo>
                    <a:close/>
                    <a:moveTo>
                      <a:pt x="938" y="85"/>
                    </a:moveTo>
                    <a:lnTo>
                      <a:pt x="936" y="85"/>
                    </a:lnTo>
                    <a:lnTo>
                      <a:pt x="936" y="83"/>
                    </a:lnTo>
                    <a:lnTo>
                      <a:pt x="936" y="85"/>
                    </a:lnTo>
                    <a:lnTo>
                      <a:pt x="938" y="85"/>
                    </a:lnTo>
                    <a:close/>
                    <a:moveTo>
                      <a:pt x="878" y="56"/>
                    </a:moveTo>
                    <a:lnTo>
                      <a:pt x="876" y="56"/>
                    </a:lnTo>
                    <a:lnTo>
                      <a:pt x="878" y="56"/>
                    </a:lnTo>
                    <a:close/>
                    <a:moveTo>
                      <a:pt x="932" y="72"/>
                    </a:moveTo>
                    <a:lnTo>
                      <a:pt x="930" y="72"/>
                    </a:lnTo>
                    <a:lnTo>
                      <a:pt x="932" y="72"/>
                    </a:lnTo>
                    <a:close/>
                    <a:moveTo>
                      <a:pt x="844" y="41"/>
                    </a:moveTo>
                    <a:lnTo>
                      <a:pt x="842" y="39"/>
                    </a:lnTo>
                    <a:lnTo>
                      <a:pt x="844" y="39"/>
                    </a:lnTo>
                    <a:lnTo>
                      <a:pt x="846" y="41"/>
                    </a:lnTo>
                    <a:lnTo>
                      <a:pt x="844" y="41"/>
                    </a:lnTo>
                    <a:close/>
                    <a:moveTo>
                      <a:pt x="855" y="41"/>
                    </a:moveTo>
                    <a:lnTo>
                      <a:pt x="853" y="41"/>
                    </a:lnTo>
                    <a:lnTo>
                      <a:pt x="853" y="39"/>
                    </a:lnTo>
                    <a:lnTo>
                      <a:pt x="851" y="39"/>
                    </a:lnTo>
                    <a:lnTo>
                      <a:pt x="853" y="39"/>
                    </a:lnTo>
                    <a:lnTo>
                      <a:pt x="855" y="39"/>
                    </a:lnTo>
                    <a:lnTo>
                      <a:pt x="857" y="41"/>
                    </a:lnTo>
                    <a:lnTo>
                      <a:pt x="855" y="41"/>
                    </a:lnTo>
                    <a:close/>
                    <a:moveTo>
                      <a:pt x="782" y="10"/>
                    </a:moveTo>
                    <a:lnTo>
                      <a:pt x="780" y="10"/>
                    </a:lnTo>
                    <a:lnTo>
                      <a:pt x="780" y="8"/>
                    </a:lnTo>
                    <a:lnTo>
                      <a:pt x="782" y="8"/>
                    </a:lnTo>
                    <a:lnTo>
                      <a:pt x="782" y="10"/>
                    </a:lnTo>
                    <a:close/>
                    <a:moveTo>
                      <a:pt x="855" y="39"/>
                    </a:moveTo>
                    <a:lnTo>
                      <a:pt x="853" y="37"/>
                    </a:lnTo>
                    <a:lnTo>
                      <a:pt x="851" y="37"/>
                    </a:lnTo>
                    <a:lnTo>
                      <a:pt x="850" y="37"/>
                    </a:lnTo>
                    <a:lnTo>
                      <a:pt x="848" y="37"/>
                    </a:lnTo>
                    <a:lnTo>
                      <a:pt x="848" y="35"/>
                    </a:lnTo>
                    <a:lnTo>
                      <a:pt x="850" y="35"/>
                    </a:lnTo>
                    <a:lnTo>
                      <a:pt x="851" y="37"/>
                    </a:lnTo>
                    <a:lnTo>
                      <a:pt x="853" y="37"/>
                    </a:lnTo>
                    <a:lnTo>
                      <a:pt x="855" y="39"/>
                    </a:lnTo>
                    <a:close/>
                    <a:moveTo>
                      <a:pt x="850" y="35"/>
                    </a:moveTo>
                    <a:lnTo>
                      <a:pt x="850" y="33"/>
                    </a:lnTo>
                    <a:lnTo>
                      <a:pt x="851" y="33"/>
                    </a:lnTo>
                    <a:lnTo>
                      <a:pt x="851" y="35"/>
                    </a:lnTo>
                    <a:lnTo>
                      <a:pt x="850" y="35"/>
                    </a:lnTo>
                    <a:close/>
                    <a:moveTo>
                      <a:pt x="867" y="39"/>
                    </a:moveTo>
                    <a:lnTo>
                      <a:pt x="867" y="41"/>
                    </a:lnTo>
                    <a:lnTo>
                      <a:pt x="871" y="41"/>
                    </a:lnTo>
                    <a:lnTo>
                      <a:pt x="873" y="43"/>
                    </a:lnTo>
                    <a:lnTo>
                      <a:pt x="875" y="43"/>
                    </a:lnTo>
                    <a:lnTo>
                      <a:pt x="875" y="45"/>
                    </a:lnTo>
                    <a:lnTo>
                      <a:pt x="873" y="45"/>
                    </a:lnTo>
                    <a:lnTo>
                      <a:pt x="873" y="43"/>
                    </a:lnTo>
                    <a:lnTo>
                      <a:pt x="871" y="43"/>
                    </a:lnTo>
                    <a:lnTo>
                      <a:pt x="869" y="41"/>
                    </a:lnTo>
                    <a:lnTo>
                      <a:pt x="865" y="41"/>
                    </a:lnTo>
                    <a:lnTo>
                      <a:pt x="865" y="39"/>
                    </a:lnTo>
                    <a:lnTo>
                      <a:pt x="863" y="39"/>
                    </a:lnTo>
                    <a:lnTo>
                      <a:pt x="865" y="39"/>
                    </a:lnTo>
                    <a:lnTo>
                      <a:pt x="867" y="39"/>
                    </a:lnTo>
                    <a:close/>
                    <a:moveTo>
                      <a:pt x="838" y="27"/>
                    </a:moveTo>
                    <a:lnTo>
                      <a:pt x="836" y="27"/>
                    </a:lnTo>
                    <a:lnTo>
                      <a:pt x="838" y="27"/>
                    </a:lnTo>
                    <a:close/>
                    <a:moveTo>
                      <a:pt x="890" y="47"/>
                    </a:moveTo>
                    <a:lnTo>
                      <a:pt x="888" y="47"/>
                    </a:lnTo>
                    <a:lnTo>
                      <a:pt x="886" y="47"/>
                    </a:lnTo>
                    <a:lnTo>
                      <a:pt x="882" y="43"/>
                    </a:lnTo>
                    <a:lnTo>
                      <a:pt x="880" y="43"/>
                    </a:lnTo>
                    <a:lnTo>
                      <a:pt x="878" y="41"/>
                    </a:lnTo>
                    <a:lnTo>
                      <a:pt x="880" y="41"/>
                    </a:lnTo>
                    <a:lnTo>
                      <a:pt x="882" y="41"/>
                    </a:lnTo>
                    <a:lnTo>
                      <a:pt x="882" y="43"/>
                    </a:lnTo>
                    <a:lnTo>
                      <a:pt x="884" y="43"/>
                    </a:lnTo>
                    <a:lnTo>
                      <a:pt x="886" y="43"/>
                    </a:lnTo>
                    <a:lnTo>
                      <a:pt x="886" y="45"/>
                    </a:lnTo>
                    <a:lnTo>
                      <a:pt x="890" y="45"/>
                    </a:lnTo>
                    <a:lnTo>
                      <a:pt x="890" y="47"/>
                    </a:lnTo>
                    <a:close/>
                    <a:moveTo>
                      <a:pt x="788" y="4"/>
                    </a:moveTo>
                    <a:lnTo>
                      <a:pt x="786" y="4"/>
                    </a:lnTo>
                    <a:lnTo>
                      <a:pt x="786" y="2"/>
                    </a:lnTo>
                    <a:lnTo>
                      <a:pt x="784" y="2"/>
                    </a:lnTo>
                    <a:lnTo>
                      <a:pt x="784" y="0"/>
                    </a:lnTo>
                    <a:lnTo>
                      <a:pt x="784" y="2"/>
                    </a:lnTo>
                    <a:lnTo>
                      <a:pt x="786" y="2"/>
                    </a:lnTo>
                    <a:lnTo>
                      <a:pt x="786" y="4"/>
                    </a:lnTo>
                    <a:lnTo>
                      <a:pt x="788" y="4"/>
                    </a:lnTo>
                    <a:lnTo>
                      <a:pt x="788" y="6"/>
                    </a:lnTo>
                    <a:lnTo>
                      <a:pt x="788" y="4"/>
                    </a:lnTo>
                    <a:close/>
                    <a:moveTo>
                      <a:pt x="796" y="4"/>
                    </a:moveTo>
                    <a:lnTo>
                      <a:pt x="794" y="4"/>
                    </a:lnTo>
                    <a:lnTo>
                      <a:pt x="796" y="4"/>
                    </a:lnTo>
                    <a:close/>
                    <a:moveTo>
                      <a:pt x="853" y="23"/>
                    </a:moveTo>
                    <a:lnTo>
                      <a:pt x="855" y="23"/>
                    </a:lnTo>
                    <a:lnTo>
                      <a:pt x="855" y="25"/>
                    </a:lnTo>
                    <a:lnTo>
                      <a:pt x="855" y="23"/>
                    </a:lnTo>
                    <a:lnTo>
                      <a:pt x="853" y="23"/>
                    </a:lnTo>
                    <a:close/>
                    <a:moveTo>
                      <a:pt x="853" y="23"/>
                    </a:moveTo>
                    <a:lnTo>
                      <a:pt x="855" y="23"/>
                    </a:lnTo>
                    <a:lnTo>
                      <a:pt x="853" y="23"/>
                    </a:lnTo>
                    <a:close/>
                    <a:moveTo>
                      <a:pt x="919" y="48"/>
                    </a:moveTo>
                    <a:lnTo>
                      <a:pt x="919" y="47"/>
                    </a:lnTo>
                    <a:lnTo>
                      <a:pt x="917" y="47"/>
                    </a:lnTo>
                    <a:lnTo>
                      <a:pt x="915" y="45"/>
                    </a:lnTo>
                    <a:lnTo>
                      <a:pt x="917" y="45"/>
                    </a:lnTo>
                    <a:lnTo>
                      <a:pt x="919" y="45"/>
                    </a:lnTo>
                    <a:lnTo>
                      <a:pt x="921" y="47"/>
                    </a:lnTo>
                    <a:lnTo>
                      <a:pt x="923" y="47"/>
                    </a:lnTo>
                    <a:lnTo>
                      <a:pt x="923" y="48"/>
                    </a:lnTo>
                    <a:lnTo>
                      <a:pt x="919" y="48"/>
                    </a:lnTo>
                    <a:close/>
                    <a:moveTo>
                      <a:pt x="861" y="23"/>
                    </a:moveTo>
                    <a:lnTo>
                      <a:pt x="863" y="23"/>
                    </a:lnTo>
                    <a:lnTo>
                      <a:pt x="861" y="23"/>
                    </a:lnTo>
                    <a:lnTo>
                      <a:pt x="859" y="23"/>
                    </a:lnTo>
                    <a:lnTo>
                      <a:pt x="857" y="23"/>
                    </a:lnTo>
                    <a:lnTo>
                      <a:pt x="855" y="22"/>
                    </a:lnTo>
                    <a:lnTo>
                      <a:pt x="857" y="22"/>
                    </a:lnTo>
                    <a:lnTo>
                      <a:pt x="859" y="22"/>
                    </a:lnTo>
                    <a:lnTo>
                      <a:pt x="861" y="23"/>
                    </a:lnTo>
                    <a:close/>
                    <a:moveTo>
                      <a:pt x="865" y="23"/>
                    </a:moveTo>
                    <a:lnTo>
                      <a:pt x="863" y="23"/>
                    </a:lnTo>
                    <a:lnTo>
                      <a:pt x="865" y="23"/>
                    </a:lnTo>
                    <a:close/>
                    <a:moveTo>
                      <a:pt x="917" y="43"/>
                    </a:moveTo>
                    <a:lnTo>
                      <a:pt x="919" y="43"/>
                    </a:lnTo>
                    <a:lnTo>
                      <a:pt x="919" y="45"/>
                    </a:lnTo>
                    <a:lnTo>
                      <a:pt x="917" y="43"/>
                    </a:lnTo>
                    <a:close/>
                    <a:moveTo>
                      <a:pt x="863" y="23"/>
                    </a:moveTo>
                    <a:lnTo>
                      <a:pt x="865" y="23"/>
                    </a:lnTo>
                    <a:lnTo>
                      <a:pt x="863"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39" name="Freeform 14"/>
              <p:cNvSpPr>
                <a:spLocks/>
              </p:cNvSpPr>
              <p:nvPr/>
            </p:nvSpPr>
            <p:spPr bwMode="auto">
              <a:xfrm>
                <a:off x="777006" y="3438454"/>
                <a:ext cx="197872" cy="442202"/>
              </a:xfrm>
              <a:custGeom>
                <a:avLst/>
                <a:gdLst>
                  <a:gd name="T0" fmla="*/ 94 w 115"/>
                  <a:gd name="T1" fmla="*/ 225 h 257"/>
                  <a:gd name="T2" fmla="*/ 90 w 115"/>
                  <a:gd name="T3" fmla="*/ 223 h 257"/>
                  <a:gd name="T4" fmla="*/ 88 w 115"/>
                  <a:gd name="T5" fmla="*/ 227 h 257"/>
                  <a:gd name="T6" fmla="*/ 88 w 115"/>
                  <a:gd name="T7" fmla="*/ 230 h 257"/>
                  <a:gd name="T8" fmla="*/ 88 w 115"/>
                  <a:gd name="T9" fmla="*/ 225 h 257"/>
                  <a:gd name="T10" fmla="*/ 82 w 115"/>
                  <a:gd name="T11" fmla="*/ 227 h 257"/>
                  <a:gd name="T12" fmla="*/ 86 w 115"/>
                  <a:gd name="T13" fmla="*/ 232 h 257"/>
                  <a:gd name="T14" fmla="*/ 80 w 115"/>
                  <a:gd name="T15" fmla="*/ 234 h 257"/>
                  <a:gd name="T16" fmla="*/ 77 w 115"/>
                  <a:gd name="T17" fmla="*/ 242 h 257"/>
                  <a:gd name="T18" fmla="*/ 77 w 115"/>
                  <a:gd name="T19" fmla="*/ 230 h 257"/>
                  <a:gd name="T20" fmla="*/ 71 w 115"/>
                  <a:gd name="T21" fmla="*/ 242 h 257"/>
                  <a:gd name="T22" fmla="*/ 71 w 115"/>
                  <a:gd name="T23" fmla="*/ 246 h 257"/>
                  <a:gd name="T24" fmla="*/ 75 w 115"/>
                  <a:gd name="T25" fmla="*/ 244 h 257"/>
                  <a:gd name="T26" fmla="*/ 73 w 115"/>
                  <a:gd name="T27" fmla="*/ 246 h 257"/>
                  <a:gd name="T28" fmla="*/ 63 w 115"/>
                  <a:gd name="T29" fmla="*/ 246 h 257"/>
                  <a:gd name="T30" fmla="*/ 57 w 115"/>
                  <a:gd name="T31" fmla="*/ 246 h 257"/>
                  <a:gd name="T32" fmla="*/ 52 w 115"/>
                  <a:gd name="T33" fmla="*/ 242 h 257"/>
                  <a:gd name="T34" fmla="*/ 52 w 115"/>
                  <a:gd name="T35" fmla="*/ 234 h 257"/>
                  <a:gd name="T36" fmla="*/ 48 w 115"/>
                  <a:gd name="T37" fmla="*/ 234 h 257"/>
                  <a:gd name="T38" fmla="*/ 44 w 115"/>
                  <a:gd name="T39" fmla="*/ 240 h 257"/>
                  <a:gd name="T40" fmla="*/ 42 w 115"/>
                  <a:gd name="T41" fmla="*/ 248 h 257"/>
                  <a:gd name="T42" fmla="*/ 44 w 115"/>
                  <a:gd name="T43" fmla="*/ 248 h 257"/>
                  <a:gd name="T44" fmla="*/ 40 w 115"/>
                  <a:gd name="T45" fmla="*/ 252 h 257"/>
                  <a:gd name="T46" fmla="*/ 42 w 115"/>
                  <a:gd name="T47" fmla="*/ 254 h 257"/>
                  <a:gd name="T48" fmla="*/ 38 w 115"/>
                  <a:gd name="T49" fmla="*/ 255 h 257"/>
                  <a:gd name="T50" fmla="*/ 40 w 115"/>
                  <a:gd name="T51" fmla="*/ 248 h 257"/>
                  <a:gd name="T52" fmla="*/ 40 w 115"/>
                  <a:gd name="T53" fmla="*/ 244 h 257"/>
                  <a:gd name="T54" fmla="*/ 42 w 115"/>
                  <a:gd name="T55" fmla="*/ 236 h 257"/>
                  <a:gd name="T56" fmla="*/ 42 w 115"/>
                  <a:gd name="T57" fmla="*/ 234 h 257"/>
                  <a:gd name="T58" fmla="*/ 40 w 115"/>
                  <a:gd name="T59" fmla="*/ 234 h 257"/>
                  <a:gd name="T60" fmla="*/ 32 w 115"/>
                  <a:gd name="T61" fmla="*/ 250 h 257"/>
                  <a:gd name="T62" fmla="*/ 29 w 115"/>
                  <a:gd name="T63" fmla="*/ 252 h 257"/>
                  <a:gd name="T64" fmla="*/ 29 w 115"/>
                  <a:gd name="T65" fmla="*/ 242 h 257"/>
                  <a:gd name="T66" fmla="*/ 30 w 115"/>
                  <a:gd name="T67" fmla="*/ 234 h 257"/>
                  <a:gd name="T68" fmla="*/ 29 w 115"/>
                  <a:gd name="T69" fmla="*/ 236 h 257"/>
                  <a:gd name="T70" fmla="*/ 32 w 115"/>
                  <a:gd name="T71" fmla="*/ 219 h 257"/>
                  <a:gd name="T72" fmla="*/ 34 w 115"/>
                  <a:gd name="T73" fmla="*/ 211 h 257"/>
                  <a:gd name="T74" fmla="*/ 42 w 115"/>
                  <a:gd name="T75" fmla="*/ 205 h 257"/>
                  <a:gd name="T76" fmla="*/ 30 w 115"/>
                  <a:gd name="T77" fmla="*/ 215 h 257"/>
                  <a:gd name="T78" fmla="*/ 27 w 115"/>
                  <a:gd name="T79" fmla="*/ 240 h 257"/>
                  <a:gd name="T80" fmla="*/ 27 w 115"/>
                  <a:gd name="T81" fmla="*/ 236 h 257"/>
                  <a:gd name="T82" fmla="*/ 27 w 115"/>
                  <a:gd name="T83" fmla="*/ 227 h 257"/>
                  <a:gd name="T84" fmla="*/ 23 w 115"/>
                  <a:gd name="T85" fmla="*/ 238 h 257"/>
                  <a:gd name="T86" fmla="*/ 21 w 115"/>
                  <a:gd name="T87" fmla="*/ 234 h 257"/>
                  <a:gd name="T88" fmla="*/ 17 w 115"/>
                  <a:gd name="T89" fmla="*/ 221 h 257"/>
                  <a:gd name="T90" fmla="*/ 25 w 115"/>
                  <a:gd name="T91" fmla="*/ 190 h 257"/>
                  <a:gd name="T92" fmla="*/ 46 w 115"/>
                  <a:gd name="T93" fmla="*/ 152 h 257"/>
                  <a:gd name="T94" fmla="*/ 61 w 115"/>
                  <a:gd name="T95" fmla="*/ 92 h 257"/>
                  <a:gd name="T96" fmla="*/ 38 w 115"/>
                  <a:gd name="T97" fmla="*/ 50 h 257"/>
                  <a:gd name="T98" fmla="*/ 29 w 115"/>
                  <a:gd name="T99" fmla="*/ 11 h 257"/>
                  <a:gd name="T100" fmla="*/ 44 w 115"/>
                  <a:gd name="T101" fmla="*/ 11 h 257"/>
                  <a:gd name="T102" fmla="*/ 46 w 115"/>
                  <a:gd name="T103" fmla="*/ 5 h 257"/>
                  <a:gd name="T104" fmla="*/ 69 w 115"/>
                  <a:gd name="T105" fmla="*/ 5 h 257"/>
                  <a:gd name="T106" fmla="*/ 80 w 115"/>
                  <a:gd name="T107" fmla="*/ 38 h 257"/>
                  <a:gd name="T108" fmla="*/ 88 w 115"/>
                  <a:gd name="T109" fmla="*/ 71 h 257"/>
                  <a:gd name="T110" fmla="*/ 107 w 115"/>
                  <a:gd name="T111" fmla="*/ 104 h 257"/>
                  <a:gd name="T112" fmla="*/ 100 w 115"/>
                  <a:gd name="T113" fmla="*/ 182 h 257"/>
                  <a:gd name="T114" fmla="*/ 90 w 115"/>
                  <a:gd name="T115" fmla="*/ 188 h 257"/>
                  <a:gd name="T116" fmla="*/ 103 w 115"/>
                  <a:gd name="T117" fmla="*/ 209 h 257"/>
                  <a:gd name="T118" fmla="*/ 105 w 115"/>
                  <a:gd name="T119" fmla="*/ 227 h 257"/>
                  <a:gd name="T120" fmla="*/ 100 w 115"/>
                  <a:gd name="T121" fmla="*/ 229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5" h="257">
                    <a:moveTo>
                      <a:pt x="94" y="232"/>
                    </a:moveTo>
                    <a:lnTo>
                      <a:pt x="94" y="230"/>
                    </a:lnTo>
                    <a:lnTo>
                      <a:pt x="94" y="232"/>
                    </a:lnTo>
                    <a:lnTo>
                      <a:pt x="94" y="230"/>
                    </a:lnTo>
                    <a:lnTo>
                      <a:pt x="94" y="229"/>
                    </a:lnTo>
                    <a:lnTo>
                      <a:pt x="94" y="227"/>
                    </a:lnTo>
                    <a:lnTo>
                      <a:pt x="94" y="229"/>
                    </a:lnTo>
                    <a:lnTo>
                      <a:pt x="94" y="227"/>
                    </a:lnTo>
                    <a:lnTo>
                      <a:pt x="94" y="225"/>
                    </a:lnTo>
                    <a:lnTo>
                      <a:pt x="94" y="227"/>
                    </a:lnTo>
                    <a:lnTo>
                      <a:pt x="94" y="225"/>
                    </a:lnTo>
                    <a:lnTo>
                      <a:pt x="94" y="227"/>
                    </a:lnTo>
                    <a:lnTo>
                      <a:pt x="94" y="225"/>
                    </a:lnTo>
                    <a:lnTo>
                      <a:pt x="94" y="223"/>
                    </a:lnTo>
                    <a:lnTo>
                      <a:pt x="94" y="225"/>
                    </a:lnTo>
                    <a:lnTo>
                      <a:pt x="94" y="223"/>
                    </a:lnTo>
                    <a:lnTo>
                      <a:pt x="94" y="225"/>
                    </a:lnTo>
                    <a:lnTo>
                      <a:pt x="94" y="223"/>
                    </a:lnTo>
                    <a:lnTo>
                      <a:pt x="94" y="225"/>
                    </a:lnTo>
                    <a:lnTo>
                      <a:pt x="94" y="223"/>
                    </a:lnTo>
                    <a:lnTo>
                      <a:pt x="94" y="221"/>
                    </a:lnTo>
                    <a:lnTo>
                      <a:pt x="94" y="223"/>
                    </a:lnTo>
                    <a:lnTo>
                      <a:pt x="92" y="223"/>
                    </a:lnTo>
                    <a:lnTo>
                      <a:pt x="94" y="223"/>
                    </a:lnTo>
                    <a:lnTo>
                      <a:pt x="92" y="223"/>
                    </a:lnTo>
                    <a:lnTo>
                      <a:pt x="94" y="223"/>
                    </a:lnTo>
                    <a:lnTo>
                      <a:pt x="92" y="223"/>
                    </a:lnTo>
                    <a:lnTo>
                      <a:pt x="92" y="225"/>
                    </a:lnTo>
                    <a:lnTo>
                      <a:pt x="90" y="225"/>
                    </a:lnTo>
                    <a:lnTo>
                      <a:pt x="90" y="227"/>
                    </a:lnTo>
                    <a:lnTo>
                      <a:pt x="90" y="225"/>
                    </a:lnTo>
                    <a:lnTo>
                      <a:pt x="92" y="225"/>
                    </a:lnTo>
                    <a:lnTo>
                      <a:pt x="92" y="223"/>
                    </a:lnTo>
                    <a:lnTo>
                      <a:pt x="90" y="223"/>
                    </a:lnTo>
                    <a:lnTo>
                      <a:pt x="90" y="225"/>
                    </a:lnTo>
                    <a:lnTo>
                      <a:pt x="90" y="223"/>
                    </a:lnTo>
                    <a:lnTo>
                      <a:pt x="90" y="221"/>
                    </a:lnTo>
                    <a:lnTo>
                      <a:pt x="90" y="223"/>
                    </a:lnTo>
                    <a:lnTo>
                      <a:pt x="88" y="223"/>
                    </a:lnTo>
                    <a:lnTo>
                      <a:pt x="90" y="223"/>
                    </a:lnTo>
                    <a:lnTo>
                      <a:pt x="88" y="223"/>
                    </a:lnTo>
                    <a:lnTo>
                      <a:pt x="88" y="225"/>
                    </a:lnTo>
                    <a:lnTo>
                      <a:pt x="88" y="223"/>
                    </a:lnTo>
                    <a:lnTo>
                      <a:pt x="88" y="221"/>
                    </a:lnTo>
                    <a:lnTo>
                      <a:pt x="88" y="223"/>
                    </a:lnTo>
                    <a:lnTo>
                      <a:pt x="88" y="225"/>
                    </a:lnTo>
                    <a:lnTo>
                      <a:pt x="88" y="223"/>
                    </a:lnTo>
                    <a:lnTo>
                      <a:pt x="88" y="225"/>
                    </a:lnTo>
                    <a:lnTo>
                      <a:pt x="86" y="225"/>
                    </a:lnTo>
                    <a:lnTo>
                      <a:pt x="88" y="225"/>
                    </a:lnTo>
                    <a:lnTo>
                      <a:pt x="88" y="227"/>
                    </a:lnTo>
                    <a:lnTo>
                      <a:pt x="88" y="225"/>
                    </a:lnTo>
                    <a:lnTo>
                      <a:pt x="88" y="227"/>
                    </a:lnTo>
                    <a:lnTo>
                      <a:pt x="88" y="229"/>
                    </a:lnTo>
                    <a:lnTo>
                      <a:pt x="88" y="227"/>
                    </a:lnTo>
                    <a:lnTo>
                      <a:pt x="90" y="227"/>
                    </a:lnTo>
                    <a:lnTo>
                      <a:pt x="88" y="227"/>
                    </a:lnTo>
                    <a:lnTo>
                      <a:pt x="90" y="227"/>
                    </a:lnTo>
                    <a:lnTo>
                      <a:pt x="90" y="229"/>
                    </a:lnTo>
                    <a:lnTo>
                      <a:pt x="88" y="229"/>
                    </a:lnTo>
                    <a:lnTo>
                      <a:pt x="90" y="229"/>
                    </a:lnTo>
                    <a:lnTo>
                      <a:pt x="88" y="229"/>
                    </a:lnTo>
                    <a:lnTo>
                      <a:pt x="88" y="230"/>
                    </a:lnTo>
                    <a:lnTo>
                      <a:pt x="88" y="229"/>
                    </a:lnTo>
                    <a:lnTo>
                      <a:pt x="88" y="230"/>
                    </a:lnTo>
                    <a:lnTo>
                      <a:pt x="86" y="232"/>
                    </a:lnTo>
                    <a:lnTo>
                      <a:pt x="88" y="232"/>
                    </a:lnTo>
                    <a:lnTo>
                      <a:pt x="88" y="230"/>
                    </a:lnTo>
                    <a:lnTo>
                      <a:pt x="88" y="232"/>
                    </a:lnTo>
                    <a:lnTo>
                      <a:pt x="86" y="232"/>
                    </a:lnTo>
                    <a:lnTo>
                      <a:pt x="86" y="234"/>
                    </a:lnTo>
                    <a:lnTo>
                      <a:pt x="86" y="236"/>
                    </a:lnTo>
                    <a:lnTo>
                      <a:pt x="86" y="238"/>
                    </a:lnTo>
                    <a:lnTo>
                      <a:pt x="86" y="236"/>
                    </a:lnTo>
                    <a:lnTo>
                      <a:pt x="86" y="234"/>
                    </a:lnTo>
                    <a:lnTo>
                      <a:pt x="86" y="232"/>
                    </a:lnTo>
                    <a:lnTo>
                      <a:pt x="86" y="230"/>
                    </a:lnTo>
                    <a:lnTo>
                      <a:pt x="86" y="232"/>
                    </a:lnTo>
                    <a:lnTo>
                      <a:pt x="86" y="230"/>
                    </a:lnTo>
                    <a:lnTo>
                      <a:pt x="88" y="230"/>
                    </a:lnTo>
                    <a:lnTo>
                      <a:pt x="88" y="229"/>
                    </a:lnTo>
                    <a:lnTo>
                      <a:pt x="88" y="227"/>
                    </a:lnTo>
                    <a:lnTo>
                      <a:pt x="86" y="227"/>
                    </a:lnTo>
                    <a:lnTo>
                      <a:pt x="88" y="227"/>
                    </a:lnTo>
                    <a:lnTo>
                      <a:pt x="88" y="225"/>
                    </a:lnTo>
                    <a:lnTo>
                      <a:pt x="88" y="227"/>
                    </a:lnTo>
                    <a:lnTo>
                      <a:pt x="86" y="225"/>
                    </a:lnTo>
                    <a:lnTo>
                      <a:pt x="88" y="225"/>
                    </a:lnTo>
                    <a:lnTo>
                      <a:pt x="86" y="225"/>
                    </a:lnTo>
                    <a:lnTo>
                      <a:pt x="86" y="227"/>
                    </a:lnTo>
                    <a:lnTo>
                      <a:pt x="86" y="225"/>
                    </a:lnTo>
                    <a:lnTo>
                      <a:pt x="84" y="225"/>
                    </a:lnTo>
                    <a:lnTo>
                      <a:pt x="84" y="227"/>
                    </a:lnTo>
                    <a:lnTo>
                      <a:pt x="84" y="225"/>
                    </a:lnTo>
                    <a:lnTo>
                      <a:pt x="84" y="227"/>
                    </a:lnTo>
                    <a:lnTo>
                      <a:pt x="86" y="227"/>
                    </a:lnTo>
                    <a:lnTo>
                      <a:pt x="84" y="227"/>
                    </a:lnTo>
                    <a:lnTo>
                      <a:pt x="84" y="225"/>
                    </a:lnTo>
                    <a:lnTo>
                      <a:pt x="84" y="227"/>
                    </a:lnTo>
                    <a:lnTo>
                      <a:pt x="84" y="225"/>
                    </a:lnTo>
                    <a:lnTo>
                      <a:pt x="84" y="227"/>
                    </a:lnTo>
                    <a:lnTo>
                      <a:pt x="82" y="227"/>
                    </a:lnTo>
                    <a:lnTo>
                      <a:pt x="82" y="229"/>
                    </a:lnTo>
                    <a:lnTo>
                      <a:pt x="82" y="227"/>
                    </a:lnTo>
                    <a:lnTo>
                      <a:pt x="84" y="227"/>
                    </a:lnTo>
                    <a:lnTo>
                      <a:pt x="84" y="229"/>
                    </a:lnTo>
                    <a:lnTo>
                      <a:pt x="86" y="229"/>
                    </a:lnTo>
                    <a:lnTo>
                      <a:pt x="86" y="230"/>
                    </a:lnTo>
                    <a:lnTo>
                      <a:pt x="86" y="229"/>
                    </a:lnTo>
                    <a:lnTo>
                      <a:pt x="84" y="229"/>
                    </a:lnTo>
                    <a:lnTo>
                      <a:pt x="84" y="227"/>
                    </a:lnTo>
                    <a:lnTo>
                      <a:pt x="84" y="229"/>
                    </a:lnTo>
                    <a:lnTo>
                      <a:pt x="86" y="229"/>
                    </a:lnTo>
                    <a:lnTo>
                      <a:pt x="86" y="230"/>
                    </a:lnTo>
                    <a:lnTo>
                      <a:pt x="86" y="229"/>
                    </a:lnTo>
                    <a:lnTo>
                      <a:pt x="86" y="230"/>
                    </a:lnTo>
                    <a:lnTo>
                      <a:pt x="86" y="232"/>
                    </a:lnTo>
                    <a:lnTo>
                      <a:pt x="86" y="230"/>
                    </a:lnTo>
                    <a:lnTo>
                      <a:pt x="86" y="232"/>
                    </a:lnTo>
                    <a:lnTo>
                      <a:pt x="86" y="230"/>
                    </a:lnTo>
                    <a:lnTo>
                      <a:pt x="84" y="230"/>
                    </a:lnTo>
                    <a:lnTo>
                      <a:pt x="84" y="232"/>
                    </a:lnTo>
                    <a:lnTo>
                      <a:pt x="82" y="232"/>
                    </a:lnTo>
                    <a:lnTo>
                      <a:pt x="82" y="234"/>
                    </a:lnTo>
                    <a:lnTo>
                      <a:pt x="80" y="234"/>
                    </a:lnTo>
                    <a:lnTo>
                      <a:pt x="82" y="232"/>
                    </a:lnTo>
                    <a:lnTo>
                      <a:pt x="80" y="232"/>
                    </a:lnTo>
                    <a:lnTo>
                      <a:pt x="82" y="232"/>
                    </a:lnTo>
                    <a:lnTo>
                      <a:pt x="80" y="232"/>
                    </a:lnTo>
                    <a:lnTo>
                      <a:pt x="82" y="232"/>
                    </a:lnTo>
                    <a:lnTo>
                      <a:pt x="80" y="232"/>
                    </a:lnTo>
                    <a:lnTo>
                      <a:pt x="80" y="234"/>
                    </a:lnTo>
                    <a:lnTo>
                      <a:pt x="80" y="232"/>
                    </a:lnTo>
                    <a:lnTo>
                      <a:pt x="80" y="234"/>
                    </a:lnTo>
                    <a:lnTo>
                      <a:pt x="80" y="232"/>
                    </a:lnTo>
                    <a:lnTo>
                      <a:pt x="80" y="234"/>
                    </a:lnTo>
                    <a:lnTo>
                      <a:pt x="80" y="232"/>
                    </a:lnTo>
                    <a:lnTo>
                      <a:pt x="80" y="234"/>
                    </a:lnTo>
                    <a:lnTo>
                      <a:pt x="80" y="232"/>
                    </a:lnTo>
                    <a:lnTo>
                      <a:pt x="80" y="234"/>
                    </a:lnTo>
                    <a:lnTo>
                      <a:pt x="78" y="234"/>
                    </a:lnTo>
                    <a:lnTo>
                      <a:pt x="78" y="236"/>
                    </a:lnTo>
                    <a:lnTo>
                      <a:pt x="77" y="236"/>
                    </a:lnTo>
                    <a:lnTo>
                      <a:pt x="77" y="238"/>
                    </a:lnTo>
                    <a:lnTo>
                      <a:pt x="77" y="236"/>
                    </a:lnTo>
                    <a:lnTo>
                      <a:pt x="77" y="238"/>
                    </a:lnTo>
                    <a:lnTo>
                      <a:pt x="77" y="236"/>
                    </a:lnTo>
                    <a:lnTo>
                      <a:pt x="77" y="238"/>
                    </a:lnTo>
                    <a:lnTo>
                      <a:pt x="77" y="240"/>
                    </a:lnTo>
                    <a:lnTo>
                      <a:pt x="75" y="242"/>
                    </a:lnTo>
                    <a:lnTo>
                      <a:pt x="77" y="242"/>
                    </a:lnTo>
                    <a:lnTo>
                      <a:pt x="78" y="242"/>
                    </a:lnTo>
                    <a:lnTo>
                      <a:pt x="77" y="242"/>
                    </a:lnTo>
                    <a:lnTo>
                      <a:pt x="77" y="244"/>
                    </a:lnTo>
                    <a:lnTo>
                      <a:pt x="75" y="244"/>
                    </a:lnTo>
                    <a:lnTo>
                      <a:pt x="75" y="246"/>
                    </a:lnTo>
                    <a:lnTo>
                      <a:pt x="75" y="244"/>
                    </a:lnTo>
                    <a:lnTo>
                      <a:pt x="75" y="242"/>
                    </a:lnTo>
                    <a:lnTo>
                      <a:pt x="77" y="240"/>
                    </a:lnTo>
                    <a:lnTo>
                      <a:pt x="75" y="240"/>
                    </a:lnTo>
                    <a:lnTo>
                      <a:pt x="77" y="240"/>
                    </a:lnTo>
                    <a:lnTo>
                      <a:pt x="77" y="238"/>
                    </a:lnTo>
                    <a:lnTo>
                      <a:pt x="77" y="236"/>
                    </a:lnTo>
                    <a:lnTo>
                      <a:pt x="78" y="234"/>
                    </a:lnTo>
                    <a:lnTo>
                      <a:pt x="78" y="232"/>
                    </a:lnTo>
                    <a:lnTo>
                      <a:pt x="77" y="232"/>
                    </a:lnTo>
                    <a:lnTo>
                      <a:pt x="75" y="232"/>
                    </a:lnTo>
                    <a:lnTo>
                      <a:pt x="77" y="230"/>
                    </a:lnTo>
                    <a:lnTo>
                      <a:pt x="77" y="232"/>
                    </a:lnTo>
                    <a:lnTo>
                      <a:pt x="77" y="230"/>
                    </a:lnTo>
                    <a:lnTo>
                      <a:pt x="77" y="232"/>
                    </a:lnTo>
                    <a:lnTo>
                      <a:pt x="77" y="230"/>
                    </a:lnTo>
                    <a:lnTo>
                      <a:pt x="75" y="230"/>
                    </a:lnTo>
                    <a:lnTo>
                      <a:pt x="75" y="232"/>
                    </a:lnTo>
                    <a:lnTo>
                      <a:pt x="75" y="230"/>
                    </a:lnTo>
                    <a:lnTo>
                      <a:pt x="75" y="232"/>
                    </a:lnTo>
                    <a:lnTo>
                      <a:pt x="75" y="234"/>
                    </a:lnTo>
                    <a:lnTo>
                      <a:pt x="75" y="232"/>
                    </a:lnTo>
                    <a:lnTo>
                      <a:pt x="75" y="234"/>
                    </a:lnTo>
                    <a:lnTo>
                      <a:pt x="75" y="236"/>
                    </a:lnTo>
                    <a:lnTo>
                      <a:pt x="73" y="236"/>
                    </a:lnTo>
                    <a:lnTo>
                      <a:pt x="73" y="238"/>
                    </a:lnTo>
                    <a:lnTo>
                      <a:pt x="73" y="236"/>
                    </a:lnTo>
                    <a:lnTo>
                      <a:pt x="73" y="238"/>
                    </a:lnTo>
                    <a:lnTo>
                      <a:pt x="73" y="240"/>
                    </a:lnTo>
                    <a:lnTo>
                      <a:pt x="71" y="240"/>
                    </a:lnTo>
                    <a:lnTo>
                      <a:pt x="71" y="242"/>
                    </a:lnTo>
                    <a:lnTo>
                      <a:pt x="69" y="242"/>
                    </a:lnTo>
                    <a:lnTo>
                      <a:pt x="69" y="244"/>
                    </a:lnTo>
                    <a:lnTo>
                      <a:pt x="67" y="246"/>
                    </a:lnTo>
                    <a:lnTo>
                      <a:pt x="69" y="246"/>
                    </a:lnTo>
                    <a:lnTo>
                      <a:pt x="69" y="244"/>
                    </a:lnTo>
                    <a:lnTo>
                      <a:pt x="69" y="246"/>
                    </a:lnTo>
                    <a:lnTo>
                      <a:pt x="67" y="246"/>
                    </a:lnTo>
                    <a:lnTo>
                      <a:pt x="69" y="246"/>
                    </a:lnTo>
                    <a:lnTo>
                      <a:pt x="67" y="246"/>
                    </a:lnTo>
                    <a:lnTo>
                      <a:pt x="67" y="248"/>
                    </a:lnTo>
                    <a:lnTo>
                      <a:pt x="69" y="248"/>
                    </a:lnTo>
                    <a:lnTo>
                      <a:pt x="69" y="246"/>
                    </a:lnTo>
                    <a:lnTo>
                      <a:pt x="69" y="248"/>
                    </a:lnTo>
                    <a:lnTo>
                      <a:pt x="69" y="246"/>
                    </a:lnTo>
                    <a:lnTo>
                      <a:pt x="71" y="246"/>
                    </a:lnTo>
                    <a:lnTo>
                      <a:pt x="69" y="246"/>
                    </a:lnTo>
                    <a:lnTo>
                      <a:pt x="71" y="246"/>
                    </a:lnTo>
                    <a:lnTo>
                      <a:pt x="69" y="246"/>
                    </a:lnTo>
                    <a:lnTo>
                      <a:pt x="71" y="246"/>
                    </a:lnTo>
                    <a:lnTo>
                      <a:pt x="71" y="244"/>
                    </a:lnTo>
                    <a:lnTo>
                      <a:pt x="69" y="244"/>
                    </a:lnTo>
                    <a:lnTo>
                      <a:pt x="69" y="246"/>
                    </a:lnTo>
                    <a:lnTo>
                      <a:pt x="69" y="244"/>
                    </a:lnTo>
                    <a:lnTo>
                      <a:pt x="71" y="244"/>
                    </a:lnTo>
                    <a:lnTo>
                      <a:pt x="73" y="244"/>
                    </a:lnTo>
                    <a:lnTo>
                      <a:pt x="75" y="244"/>
                    </a:lnTo>
                    <a:lnTo>
                      <a:pt x="75" y="246"/>
                    </a:lnTo>
                    <a:lnTo>
                      <a:pt x="75" y="244"/>
                    </a:lnTo>
                    <a:lnTo>
                      <a:pt x="75" y="246"/>
                    </a:lnTo>
                    <a:lnTo>
                      <a:pt x="73" y="246"/>
                    </a:lnTo>
                    <a:lnTo>
                      <a:pt x="73" y="244"/>
                    </a:lnTo>
                    <a:lnTo>
                      <a:pt x="75" y="244"/>
                    </a:lnTo>
                    <a:lnTo>
                      <a:pt x="73" y="244"/>
                    </a:lnTo>
                    <a:lnTo>
                      <a:pt x="75" y="244"/>
                    </a:lnTo>
                    <a:lnTo>
                      <a:pt x="73" y="244"/>
                    </a:lnTo>
                    <a:lnTo>
                      <a:pt x="75" y="244"/>
                    </a:lnTo>
                    <a:lnTo>
                      <a:pt x="73" y="244"/>
                    </a:lnTo>
                    <a:lnTo>
                      <a:pt x="73" y="246"/>
                    </a:lnTo>
                    <a:lnTo>
                      <a:pt x="73" y="244"/>
                    </a:lnTo>
                    <a:lnTo>
                      <a:pt x="73" y="246"/>
                    </a:lnTo>
                    <a:lnTo>
                      <a:pt x="73" y="244"/>
                    </a:lnTo>
                    <a:lnTo>
                      <a:pt x="73" y="246"/>
                    </a:lnTo>
                    <a:lnTo>
                      <a:pt x="73" y="244"/>
                    </a:lnTo>
                    <a:lnTo>
                      <a:pt x="71" y="244"/>
                    </a:lnTo>
                    <a:lnTo>
                      <a:pt x="71" y="246"/>
                    </a:lnTo>
                    <a:lnTo>
                      <a:pt x="71" y="244"/>
                    </a:lnTo>
                    <a:lnTo>
                      <a:pt x="71" y="246"/>
                    </a:lnTo>
                    <a:lnTo>
                      <a:pt x="71" y="244"/>
                    </a:lnTo>
                    <a:lnTo>
                      <a:pt x="73" y="246"/>
                    </a:lnTo>
                    <a:lnTo>
                      <a:pt x="71" y="246"/>
                    </a:lnTo>
                    <a:lnTo>
                      <a:pt x="73" y="246"/>
                    </a:lnTo>
                    <a:lnTo>
                      <a:pt x="73" y="248"/>
                    </a:lnTo>
                    <a:lnTo>
                      <a:pt x="71" y="248"/>
                    </a:lnTo>
                    <a:lnTo>
                      <a:pt x="69" y="248"/>
                    </a:lnTo>
                    <a:lnTo>
                      <a:pt x="69" y="250"/>
                    </a:lnTo>
                    <a:lnTo>
                      <a:pt x="69" y="248"/>
                    </a:lnTo>
                    <a:lnTo>
                      <a:pt x="67" y="248"/>
                    </a:lnTo>
                    <a:lnTo>
                      <a:pt x="65" y="248"/>
                    </a:lnTo>
                    <a:lnTo>
                      <a:pt x="65" y="250"/>
                    </a:lnTo>
                    <a:lnTo>
                      <a:pt x="65" y="248"/>
                    </a:lnTo>
                    <a:lnTo>
                      <a:pt x="65" y="250"/>
                    </a:lnTo>
                    <a:lnTo>
                      <a:pt x="65" y="248"/>
                    </a:lnTo>
                    <a:lnTo>
                      <a:pt x="65" y="250"/>
                    </a:lnTo>
                    <a:lnTo>
                      <a:pt x="63" y="250"/>
                    </a:lnTo>
                    <a:lnTo>
                      <a:pt x="63" y="248"/>
                    </a:lnTo>
                    <a:lnTo>
                      <a:pt x="65" y="248"/>
                    </a:lnTo>
                    <a:lnTo>
                      <a:pt x="63" y="248"/>
                    </a:lnTo>
                    <a:lnTo>
                      <a:pt x="63" y="246"/>
                    </a:lnTo>
                    <a:lnTo>
                      <a:pt x="63" y="248"/>
                    </a:lnTo>
                    <a:lnTo>
                      <a:pt x="61" y="248"/>
                    </a:lnTo>
                    <a:lnTo>
                      <a:pt x="61" y="246"/>
                    </a:lnTo>
                    <a:lnTo>
                      <a:pt x="63" y="246"/>
                    </a:lnTo>
                    <a:lnTo>
                      <a:pt x="61" y="246"/>
                    </a:lnTo>
                    <a:lnTo>
                      <a:pt x="59" y="246"/>
                    </a:lnTo>
                    <a:lnTo>
                      <a:pt x="61" y="246"/>
                    </a:lnTo>
                    <a:lnTo>
                      <a:pt x="61" y="244"/>
                    </a:lnTo>
                    <a:lnTo>
                      <a:pt x="61" y="242"/>
                    </a:lnTo>
                    <a:lnTo>
                      <a:pt x="61" y="244"/>
                    </a:lnTo>
                    <a:lnTo>
                      <a:pt x="61" y="242"/>
                    </a:lnTo>
                    <a:lnTo>
                      <a:pt x="59" y="242"/>
                    </a:lnTo>
                    <a:lnTo>
                      <a:pt x="59" y="244"/>
                    </a:lnTo>
                    <a:lnTo>
                      <a:pt x="59" y="246"/>
                    </a:lnTo>
                    <a:lnTo>
                      <a:pt x="57" y="246"/>
                    </a:lnTo>
                    <a:lnTo>
                      <a:pt x="57" y="244"/>
                    </a:lnTo>
                    <a:lnTo>
                      <a:pt x="57" y="246"/>
                    </a:lnTo>
                    <a:lnTo>
                      <a:pt x="55" y="246"/>
                    </a:lnTo>
                    <a:lnTo>
                      <a:pt x="55" y="244"/>
                    </a:lnTo>
                    <a:lnTo>
                      <a:pt x="54" y="244"/>
                    </a:lnTo>
                    <a:lnTo>
                      <a:pt x="54" y="246"/>
                    </a:lnTo>
                    <a:lnTo>
                      <a:pt x="54" y="248"/>
                    </a:lnTo>
                    <a:lnTo>
                      <a:pt x="52" y="248"/>
                    </a:lnTo>
                    <a:lnTo>
                      <a:pt x="50" y="248"/>
                    </a:lnTo>
                    <a:lnTo>
                      <a:pt x="50" y="246"/>
                    </a:lnTo>
                    <a:lnTo>
                      <a:pt x="52" y="246"/>
                    </a:lnTo>
                    <a:lnTo>
                      <a:pt x="50" y="246"/>
                    </a:lnTo>
                    <a:lnTo>
                      <a:pt x="52" y="246"/>
                    </a:lnTo>
                    <a:lnTo>
                      <a:pt x="52" y="244"/>
                    </a:lnTo>
                    <a:lnTo>
                      <a:pt x="52" y="242"/>
                    </a:lnTo>
                    <a:lnTo>
                      <a:pt x="52" y="244"/>
                    </a:lnTo>
                    <a:lnTo>
                      <a:pt x="52" y="242"/>
                    </a:lnTo>
                    <a:lnTo>
                      <a:pt x="52" y="244"/>
                    </a:lnTo>
                    <a:lnTo>
                      <a:pt x="52" y="242"/>
                    </a:lnTo>
                    <a:lnTo>
                      <a:pt x="52" y="244"/>
                    </a:lnTo>
                    <a:lnTo>
                      <a:pt x="52" y="242"/>
                    </a:lnTo>
                    <a:lnTo>
                      <a:pt x="52" y="240"/>
                    </a:lnTo>
                    <a:lnTo>
                      <a:pt x="54" y="240"/>
                    </a:lnTo>
                    <a:lnTo>
                      <a:pt x="54" y="238"/>
                    </a:lnTo>
                    <a:lnTo>
                      <a:pt x="54" y="236"/>
                    </a:lnTo>
                    <a:lnTo>
                      <a:pt x="54" y="234"/>
                    </a:lnTo>
                    <a:lnTo>
                      <a:pt x="52" y="236"/>
                    </a:lnTo>
                    <a:lnTo>
                      <a:pt x="52" y="234"/>
                    </a:lnTo>
                    <a:lnTo>
                      <a:pt x="54" y="234"/>
                    </a:lnTo>
                    <a:lnTo>
                      <a:pt x="54" y="232"/>
                    </a:lnTo>
                    <a:lnTo>
                      <a:pt x="52" y="232"/>
                    </a:lnTo>
                    <a:lnTo>
                      <a:pt x="54" y="232"/>
                    </a:lnTo>
                    <a:lnTo>
                      <a:pt x="52" y="232"/>
                    </a:lnTo>
                    <a:lnTo>
                      <a:pt x="52" y="234"/>
                    </a:lnTo>
                    <a:lnTo>
                      <a:pt x="52" y="232"/>
                    </a:lnTo>
                    <a:lnTo>
                      <a:pt x="52" y="234"/>
                    </a:lnTo>
                    <a:lnTo>
                      <a:pt x="52" y="236"/>
                    </a:lnTo>
                    <a:lnTo>
                      <a:pt x="52" y="234"/>
                    </a:lnTo>
                    <a:lnTo>
                      <a:pt x="52" y="236"/>
                    </a:lnTo>
                    <a:lnTo>
                      <a:pt x="52" y="234"/>
                    </a:lnTo>
                    <a:lnTo>
                      <a:pt x="52" y="232"/>
                    </a:lnTo>
                    <a:lnTo>
                      <a:pt x="52" y="234"/>
                    </a:lnTo>
                    <a:lnTo>
                      <a:pt x="50" y="234"/>
                    </a:lnTo>
                    <a:lnTo>
                      <a:pt x="52" y="234"/>
                    </a:lnTo>
                    <a:lnTo>
                      <a:pt x="50" y="236"/>
                    </a:lnTo>
                    <a:lnTo>
                      <a:pt x="52" y="236"/>
                    </a:lnTo>
                    <a:lnTo>
                      <a:pt x="50" y="236"/>
                    </a:lnTo>
                    <a:lnTo>
                      <a:pt x="50" y="234"/>
                    </a:lnTo>
                    <a:lnTo>
                      <a:pt x="48" y="234"/>
                    </a:lnTo>
                    <a:lnTo>
                      <a:pt x="50" y="234"/>
                    </a:lnTo>
                    <a:lnTo>
                      <a:pt x="48" y="234"/>
                    </a:lnTo>
                    <a:lnTo>
                      <a:pt x="48" y="232"/>
                    </a:lnTo>
                    <a:lnTo>
                      <a:pt x="48" y="234"/>
                    </a:lnTo>
                    <a:lnTo>
                      <a:pt x="48" y="236"/>
                    </a:lnTo>
                    <a:lnTo>
                      <a:pt x="48" y="234"/>
                    </a:lnTo>
                    <a:lnTo>
                      <a:pt x="48" y="236"/>
                    </a:lnTo>
                    <a:lnTo>
                      <a:pt x="46" y="236"/>
                    </a:lnTo>
                    <a:lnTo>
                      <a:pt x="46" y="234"/>
                    </a:lnTo>
                    <a:lnTo>
                      <a:pt x="48" y="234"/>
                    </a:lnTo>
                    <a:lnTo>
                      <a:pt x="46" y="234"/>
                    </a:lnTo>
                    <a:lnTo>
                      <a:pt x="46" y="236"/>
                    </a:lnTo>
                    <a:lnTo>
                      <a:pt x="46" y="234"/>
                    </a:lnTo>
                    <a:lnTo>
                      <a:pt x="46" y="236"/>
                    </a:lnTo>
                    <a:lnTo>
                      <a:pt x="46" y="234"/>
                    </a:lnTo>
                    <a:lnTo>
                      <a:pt x="46" y="236"/>
                    </a:lnTo>
                    <a:lnTo>
                      <a:pt x="44" y="236"/>
                    </a:lnTo>
                    <a:lnTo>
                      <a:pt x="44" y="238"/>
                    </a:lnTo>
                    <a:lnTo>
                      <a:pt x="44" y="236"/>
                    </a:lnTo>
                    <a:lnTo>
                      <a:pt x="44" y="238"/>
                    </a:lnTo>
                    <a:lnTo>
                      <a:pt x="44" y="240"/>
                    </a:lnTo>
                    <a:lnTo>
                      <a:pt x="44" y="242"/>
                    </a:lnTo>
                    <a:lnTo>
                      <a:pt x="44" y="240"/>
                    </a:lnTo>
                    <a:lnTo>
                      <a:pt x="42" y="240"/>
                    </a:lnTo>
                    <a:lnTo>
                      <a:pt x="44" y="242"/>
                    </a:lnTo>
                    <a:lnTo>
                      <a:pt x="42" y="242"/>
                    </a:lnTo>
                    <a:lnTo>
                      <a:pt x="44" y="242"/>
                    </a:lnTo>
                    <a:lnTo>
                      <a:pt x="42" y="242"/>
                    </a:lnTo>
                    <a:lnTo>
                      <a:pt x="44" y="242"/>
                    </a:lnTo>
                    <a:lnTo>
                      <a:pt x="42" y="242"/>
                    </a:lnTo>
                    <a:lnTo>
                      <a:pt x="44" y="242"/>
                    </a:lnTo>
                    <a:lnTo>
                      <a:pt x="42" y="244"/>
                    </a:lnTo>
                    <a:lnTo>
                      <a:pt x="42" y="246"/>
                    </a:lnTo>
                    <a:lnTo>
                      <a:pt x="40" y="246"/>
                    </a:lnTo>
                    <a:lnTo>
                      <a:pt x="42" y="246"/>
                    </a:lnTo>
                    <a:lnTo>
                      <a:pt x="40" y="246"/>
                    </a:lnTo>
                    <a:lnTo>
                      <a:pt x="42" y="246"/>
                    </a:lnTo>
                    <a:lnTo>
                      <a:pt x="42" y="248"/>
                    </a:lnTo>
                    <a:lnTo>
                      <a:pt x="42" y="246"/>
                    </a:lnTo>
                    <a:lnTo>
                      <a:pt x="42" y="248"/>
                    </a:lnTo>
                    <a:lnTo>
                      <a:pt x="42" y="246"/>
                    </a:lnTo>
                    <a:lnTo>
                      <a:pt x="42" y="248"/>
                    </a:lnTo>
                    <a:lnTo>
                      <a:pt x="42" y="246"/>
                    </a:lnTo>
                    <a:lnTo>
                      <a:pt x="44" y="246"/>
                    </a:lnTo>
                    <a:lnTo>
                      <a:pt x="42" y="246"/>
                    </a:lnTo>
                    <a:lnTo>
                      <a:pt x="44" y="246"/>
                    </a:lnTo>
                    <a:lnTo>
                      <a:pt x="42" y="246"/>
                    </a:lnTo>
                    <a:lnTo>
                      <a:pt x="44" y="246"/>
                    </a:lnTo>
                    <a:lnTo>
                      <a:pt x="44" y="244"/>
                    </a:lnTo>
                    <a:lnTo>
                      <a:pt x="44" y="246"/>
                    </a:lnTo>
                    <a:lnTo>
                      <a:pt x="46" y="246"/>
                    </a:lnTo>
                    <a:lnTo>
                      <a:pt x="46" y="248"/>
                    </a:lnTo>
                    <a:lnTo>
                      <a:pt x="44" y="248"/>
                    </a:lnTo>
                    <a:lnTo>
                      <a:pt x="46" y="248"/>
                    </a:lnTo>
                    <a:lnTo>
                      <a:pt x="44" y="248"/>
                    </a:lnTo>
                    <a:lnTo>
                      <a:pt x="44" y="250"/>
                    </a:lnTo>
                    <a:lnTo>
                      <a:pt x="44" y="248"/>
                    </a:lnTo>
                    <a:lnTo>
                      <a:pt x="44" y="250"/>
                    </a:lnTo>
                    <a:lnTo>
                      <a:pt x="44" y="248"/>
                    </a:lnTo>
                    <a:lnTo>
                      <a:pt x="44" y="250"/>
                    </a:lnTo>
                    <a:lnTo>
                      <a:pt x="42" y="250"/>
                    </a:lnTo>
                    <a:lnTo>
                      <a:pt x="44" y="250"/>
                    </a:lnTo>
                    <a:lnTo>
                      <a:pt x="42" y="250"/>
                    </a:lnTo>
                    <a:lnTo>
                      <a:pt x="44" y="250"/>
                    </a:lnTo>
                    <a:lnTo>
                      <a:pt x="42" y="250"/>
                    </a:lnTo>
                    <a:lnTo>
                      <a:pt x="42" y="248"/>
                    </a:lnTo>
                    <a:lnTo>
                      <a:pt x="42" y="250"/>
                    </a:lnTo>
                    <a:lnTo>
                      <a:pt x="40" y="252"/>
                    </a:lnTo>
                    <a:lnTo>
                      <a:pt x="40" y="250"/>
                    </a:lnTo>
                    <a:lnTo>
                      <a:pt x="40" y="252"/>
                    </a:lnTo>
                    <a:lnTo>
                      <a:pt x="38" y="252"/>
                    </a:lnTo>
                    <a:lnTo>
                      <a:pt x="40" y="252"/>
                    </a:lnTo>
                    <a:lnTo>
                      <a:pt x="38" y="252"/>
                    </a:lnTo>
                    <a:lnTo>
                      <a:pt x="40" y="252"/>
                    </a:lnTo>
                    <a:lnTo>
                      <a:pt x="40" y="254"/>
                    </a:lnTo>
                    <a:lnTo>
                      <a:pt x="40" y="252"/>
                    </a:lnTo>
                    <a:lnTo>
                      <a:pt x="40" y="254"/>
                    </a:lnTo>
                    <a:lnTo>
                      <a:pt x="40" y="252"/>
                    </a:lnTo>
                    <a:lnTo>
                      <a:pt x="40" y="254"/>
                    </a:lnTo>
                    <a:lnTo>
                      <a:pt x="42" y="254"/>
                    </a:lnTo>
                    <a:lnTo>
                      <a:pt x="42" y="252"/>
                    </a:lnTo>
                    <a:lnTo>
                      <a:pt x="42" y="254"/>
                    </a:lnTo>
                    <a:lnTo>
                      <a:pt x="40" y="252"/>
                    </a:lnTo>
                    <a:lnTo>
                      <a:pt x="42" y="252"/>
                    </a:lnTo>
                    <a:lnTo>
                      <a:pt x="42" y="254"/>
                    </a:lnTo>
                    <a:lnTo>
                      <a:pt x="42" y="252"/>
                    </a:lnTo>
                    <a:lnTo>
                      <a:pt x="42" y="254"/>
                    </a:lnTo>
                    <a:lnTo>
                      <a:pt x="44" y="254"/>
                    </a:lnTo>
                    <a:lnTo>
                      <a:pt x="42" y="254"/>
                    </a:lnTo>
                    <a:lnTo>
                      <a:pt x="44" y="254"/>
                    </a:lnTo>
                    <a:lnTo>
                      <a:pt x="46" y="254"/>
                    </a:lnTo>
                    <a:lnTo>
                      <a:pt x="44" y="254"/>
                    </a:lnTo>
                    <a:lnTo>
                      <a:pt x="44" y="255"/>
                    </a:lnTo>
                    <a:lnTo>
                      <a:pt x="42" y="255"/>
                    </a:lnTo>
                    <a:lnTo>
                      <a:pt x="40" y="255"/>
                    </a:lnTo>
                    <a:lnTo>
                      <a:pt x="42" y="255"/>
                    </a:lnTo>
                    <a:lnTo>
                      <a:pt x="40" y="255"/>
                    </a:lnTo>
                    <a:lnTo>
                      <a:pt x="38" y="255"/>
                    </a:lnTo>
                    <a:lnTo>
                      <a:pt x="40" y="255"/>
                    </a:lnTo>
                    <a:lnTo>
                      <a:pt x="38" y="255"/>
                    </a:lnTo>
                    <a:lnTo>
                      <a:pt x="40" y="255"/>
                    </a:lnTo>
                    <a:lnTo>
                      <a:pt x="38" y="255"/>
                    </a:lnTo>
                    <a:lnTo>
                      <a:pt x="38" y="257"/>
                    </a:lnTo>
                    <a:lnTo>
                      <a:pt x="38" y="255"/>
                    </a:lnTo>
                    <a:lnTo>
                      <a:pt x="38" y="254"/>
                    </a:lnTo>
                    <a:lnTo>
                      <a:pt x="38" y="255"/>
                    </a:lnTo>
                    <a:lnTo>
                      <a:pt x="38" y="254"/>
                    </a:lnTo>
                    <a:lnTo>
                      <a:pt x="38" y="252"/>
                    </a:lnTo>
                    <a:lnTo>
                      <a:pt x="38" y="254"/>
                    </a:lnTo>
                    <a:lnTo>
                      <a:pt x="38" y="252"/>
                    </a:lnTo>
                    <a:lnTo>
                      <a:pt x="36" y="252"/>
                    </a:lnTo>
                    <a:lnTo>
                      <a:pt x="38" y="252"/>
                    </a:lnTo>
                    <a:lnTo>
                      <a:pt x="38" y="250"/>
                    </a:lnTo>
                    <a:lnTo>
                      <a:pt x="38" y="252"/>
                    </a:lnTo>
                    <a:lnTo>
                      <a:pt x="38" y="250"/>
                    </a:lnTo>
                    <a:lnTo>
                      <a:pt x="38" y="252"/>
                    </a:lnTo>
                    <a:lnTo>
                      <a:pt x="38" y="250"/>
                    </a:lnTo>
                    <a:lnTo>
                      <a:pt x="38" y="248"/>
                    </a:lnTo>
                    <a:lnTo>
                      <a:pt x="38" y="250"/>
                    </a:lnTo>
                    <a:lnTo>
                      <a:pt x="38" y="248"/>
                    </a:lnTo>
                    <a:lnTo>
                      <a:pt x="40" y="248"/>
                    </a:lnTo>
                    <a:lnTo>
                      <a:pt x="40" y="246"/>
                    </a:lnTo>
                    <a:lnTo>
                      <a:pt x="40" y="248"/>
                    </a:lnTo>
                    <a:lnTo>
                      <a:pt x="38" y="248"/>
                    </a:lnTo>
                    <a:lnTo>
                      <a:pt x="38" y="246"/>
                    </a:lnTo>
                    <a:lnTo>
                      <a:pt x="38" y="248"/>
                    </a:lnTo>
                    <a:lnTo>
                      <a:pt x="38" y="246"/>
                    </a:lnTo>
                    <a:lnTo>
                      <a:pt x="40" y="246"/>
                    </a:lnTo>
                    <a:lnTo>
                      <a:pt x="38" y="246"/>
                    </a:lnTo>
                    <a:lnTo>
                      <a:pt x="40" y="244"/>
                    </a:lnTo>
                    <a:lnTo>
                      <a:pt x="40" y="246"/>
                    </a:lnTo>
                    <a:lnTo>
                      <a:pt x="40" y="244"/>
                    </a:lnTo>
                    <a:lnTo>
                      <a:pt x="40" y="246"/>
                    </a:lnTo>
                    <a:lnTo>
                      <a:pt x="38" y="246"/>
                    </a:lnTo>
                    <a:lnTo>
                      <a:pt x="40" y="246"/>
                    </a:lnTo>
                    <a:lnTo>
                      <a:pt x="40" y="244"/>
                    </a:lnTo>
                    <a:lnTo>
                      <a:pt x="38" y="244"/>
                    </a:lnTo>
                    <a:lnTo>
                      <a:pt x="40" y="244"/>
                    </a:lnTo>
                    <a:lnTo>
                      <a:pt x="40" y="242"/>
                    </a:lnTo>
                    <a:lnTo>
                      <a:pt x="40" y="244"/>
                    </a:lnTo>
                    <a:lnTo>
                      <a:pt x="42" y="244"/>
                    </a:lnTo>
                    <a:lnTo>
                      <a:pt x="42" y="242"/>
                    </a:lnTo>
                    <a:lnTo>
                      <a:pt x="42" y="240"/>
                    </a:lnTo>
                    <a:lnTo>
                      <a:pt x="42" y="238"/>
                    </a:lnTo>
                    <a:lnTo>
                      <a:pt x="42" y="240"/>
                    </a:lnTo>
                    <a:lnTo>
                      <a:pt x="40" y="240"/>
                    </a:lnTo>
                    <a:lnTo>
                      <a:pt x="40" y="242"/>
                    </a:lnTo>
                    <a:lnTo>
                      <a:pt x="40" y="240"/>
                    </a:lnTo>
                    <a:lnTo>
                      <a:pt x="40" y="238"/>
                    </a:lnTo>
                    <a:lnTo>
                      <a:pt x="40" y="236"/>
                    </a:lnTo>
                    <a:lnTo>
                      <a:pt x="40" y="238"/>
                    </a:lnTo>
                    <a:lnTo>
                      <a:pt x="40" y="236"/>
                    </a:lnTo>
                    <a:lnTo>
                      <a:pt x="42" y="236"/>
                    </a:lnTo>
                    <a:lnTo>
                      <a:pt x="40" y="236"/>
                    </a:lnTo>
                    <a:lnTo>
                      <a:pt x="42" y="236"/>
                    </a:lnTo>
                    <a:lnTo>
                      <a:pt x="42" y="234"/>
                    </a:lnTo>
                    <a:lnTo>
                      <a:pt x="42" y="236"/>
                    </a:lnTo>
                    <a:lnTo>
                      <a:pt x="42" y="238"/>
                    </a:lnTo>
                    <a:lnTo>
                      <a:pt x="40" y="238"/>
                    </a:lnTo>
                    <a:lnTo>
                      <a:pt x="42" y="238"/>
                    </a:lnTo>
                    <a:lnTo>
                      <a:pt x="40" y="238"/>
                    </a:lnTo>
                    <a:lnTo>
                      <a:pt x="42" y="238"/>
                    </a:lnTo>
                    <a:lnTo>
                      <a:pt x="40" y="238"/>
                    </a:lnTo>
                    <a:lnTo>
                      <a:pt x="42" y="238"/>
                    </a:lnTo>
                    <a:lnTo>
                      <a:pt x="40" y="238"/>
                    </a:lnTo>
                    <a:lnTo>
                      <a:pt x="42" y="238"/>
                    </a:lnTo>
                    <a:lnTo>
                      <a:pt x="42" y="236"/>
                    </a:lnTo>
                    <a:lnTo>
                      <a:pt x="42" y="234"/>
                    </a:lnTo>
                    <a:lnTo>
                      <a:pt x="44" y="234"/>
                    </a:lnTo>
                    <a:lnTo>
                      <a:pt x="42" y="234"/>
                    </a:lnTo>
                    <a:lnTo>
                      <a:pt x="44" y="234"/>
                    </a:lnTo>
                    <a:lnTo>
                      <a:pt x="42" y="234"/>
                    </a:lnTo>
                    <a:lnTo>
                      <a:pt x="44" y="234"/>
                    </a:lnTo>
                    <a:lnTo>
                      <a:pt x="42" y="234"/>
                    </a:lnTo>
                    <a:lnTo>
                      <a:pt x="44" y="234"/>
                    </a:lnTo>
                    <a:lnTo>
                      <a:pt x="44" y="232"/>
                    </a:lnTo>
                    <a:lnTo>
                      <a:pt x="42" y="232"/>
                    </a:lnTo>
                    <a:lnTo>
                      <a:pt x="44" y="232"/>
                    </a:lnTo>
                    <a:lnTo>
                      <a:pt x="42" y="232"/>
                    </a:lnTo>
                    <a:lnTo>
                      <a:pt x="44" y="232"/>
                    </a:lnTo>
                    <a:lnTo>
                      <a:pt x="44" y="230"/>
                    </a:lnTo>
                    <a:lnTo>
                      <a:pt x="42" y="230"/>
                    </a:lnTo>
                    <a:lnTo>
                      <a:pt x="44" y="230"/>
                    </a:lnTo>
                    <a:lnTo>
                      <a:pt x="42" y="230"/>
                    </a:lnTo>
                    <a:lnTo>
                      <a:pt x="42" y="232"/>
                    </a:lnTo>
                    <a:lnTo>
                      <a:pt x="40" y="232"/>
                    </a:lnTo>
                    <a:lnTo>
                      <a:pt x="42" y="232"/>
                    </a:lnTo>
                    <a:lnTo>
                      <a:pt x="42" y="234"/>
                    </a:lnTo>
                    <a:lnTo>
                      <a:pt x="40" y="234"/>
                    </a:lnTo>
                    <a:lnTo>
                      <a:pt x="40" y="236"/>
                    </a:lnTo>
                    <a:lnTo>
                      <a:pt x="40" y="234"/>
                    </a:lnTo>
                    <a:lnTo>
                      <a:pt x="38" y="234"/>
                    </a:lnTo>
                    <a:lnTo>
                      <a:pt x="38" y="236"/>
                    </a:lnTo>
                    <a:lnTo>
                      <a:pt x="40" y="236"/>
                    </a:lnTo>
                    <a:lnTo>
                      <a:pt x="40" y="238"/>
                    </a:lnTo>
                    <a:lnTo>
                      <a:pt x="40" y="240"/>
                    </a:lnTo>
                    <a:lnTo>
                      <a:pt x="40" y="238"/>
                    </a:lnTo>
                    <a:lnTo>
                      <a:pt x="38" y="240"/>
                    </a:lnTo>
                    <a:lnTo>
                      <a:pt x="40" y="238"/>
                    </a:lnTo>
                    <a:lnTo>
                      <a:pt x="38" y="238"/>
                    </a:lnTo>
                    <a:lnTo>
                      <a:pt x="38" y="240"/>
                    </a:lnTo>
                    <a:lnTo>
                      <a:pt x="38" y="242"/>
                    </a:lnTo>
                    <a:lnTo>
                      <a:pt x="36" y="242"/>
                    </a:lnTo>
                    <a:lnTo>
                      <a:pt x="36" y="244"/>
                    </a:lnTo>
                    <a:lnTo>
                      <a:pt x="34" y="246"/>
                    </a:lnTo>
                    <a:lnTo>
                      <a:pt x="34" y="248"/>
                    </a:lnTo>
                    <a:lnTo>
                      <a:pt x="32" y="248"/>
                    </a:lnTo>
                    <a:lnTo>
                      <a:pt x="32" y="250"/>
                    </a:lnTo>
                    <a:lnTo>
                      <a:pt x="34" y="250"/>
                    </a:lnTo>
                    <a:lnTo>
                      <a:pt x="32" y="250"/>
                    </a:lnTo>
                    <a:lnTo>
                      <a:pt x="34" y="250"/>
                    </a:lnTo>
                    <a:lnTo>
                      <a:pt x="32" y="250"/>
                    </a:lnTo>
                    <a:lnTo>
                      <a:pt x="32" y="252"/>
                    </a:lnTo>
                    <a:lnTo>
                      <a:pt x="30" y="252"/>
                    </a:lnTo>
                    <a:lnTo>
                      <a:pt x="32" y="252"/>
                    </a:lnTo>
                    <a:lnTo>
                      <a:pt x="30" y="252"/>
                    </a:lnTo>
                    <a:lnTo>
                      <a:pt x="29" y="252"/>
                    </a:lnTo>
                    <a:lnTo>
                      <a:pt x="30" y="252"/>
                    </a:lnTo>
                    <a:lnTo>
                      <a:pt x="29" y="252"/>
                    </a:lnTo>
                    <a:lnTo>
                      <a:pt x="30" y="252"/>
                    </a:lnTo>
                    <a:lnTo>
                      <a:pt x="29" y="252"/>
                    </a:lnTo>
                    <a:lnTo>
                      <a:pt x="30" y="252"/>
                    </a:lnTo>
                    <a:lnTo>
                      <a:pt x="29" y="252"/>
                    </a:lnTo>
                    <a:lnTo>
                      <a:pt x="29" y="250"/>
                    </a:lnTo>
                    <a:lnTo>
                      <a:pt x="29" y="252"/>
                    </a:lnTo>
                    <a:lnTo>
                      <a:pt x="29" y="250"/>
                    </a:lnTo>
                    <a:lnTo>
                      <a:pt x="29" y="252"/>
                    </a:lnTo>
                    <a:lnTo>
                      <a:pt x="27" y="252"/>
                    </a:lnTo>
                    <a:lnTo>
                      <a:pt x="27" y="250"/>
                    </a:lnTo>
                    <a:lnTo>
                      <a:pt x="27" y="252"/>
                    </a:lnTo>
                    <a:lnTo>
                      <a:pt x="27" y="250"/>
                    </a:lnTo>
                    <a:lnTo>
                      <a:pt x="29" y="248"/>
                    </a:lnTo>
                    <a:lnTo>
                      <a:pt x="30" y="246"/>
                    </a:lnTo>
                    <a:lnTo>
                      <a:pt x="30" y="248"/>
                    </a:lnTo>
                    <a:lnTo>
                      <a:pt x="30" y="246"/>
                    </a:lnTo>
                    <a:lnTo>
                      <a:pt x="30" y="244"/>
                    </a:lnTo>
                    <a:lnTo>
                      <a:pt x="30" y="246"/>
                    </a:lnTo>
                    <a:lnTo>
                      <a:pt x="30" y="244"/>
                    </a:lnTo>
                    <a:lnTo>
                      <a:pt x="30" y="242"/>
                    </a:lnTo>
                    <a:lnTo>
                      <a:pt x="30" y="244"/>
                    </a:lnTo>
                    <a:lnTo>
                      <a:pt x="29" y="244"/>
                    </a:lnTo>
                    <a:lnTo>
                      <a:pt x="29" y="242"/>
                    </a:lnTo>
                    <a:lnTo>
                      <a:pt x="29" y="240"/>
                    </a:lnTo>
                    <a:lnTo>
                      <a:pt x="30" y="240"/>
                    </a:lnTo>
                    <a:lnTo>
                      <a:pt x="30" y="242"/>
                    </a:lnTo>
                    <a:lnTo>
                      <a:pt x="29" y="242"/>
                    </a:lnTo>
                    <a:lnTo>
                      <a:pt x="30" y="242"/>
                    </a:lnTo>
                    <a:lnTo>
                      <a:pt x="30" y="240"/>
                    </a:lnTo>
                    <a:lnTo>
                      <a:pt x="30" y="242"/>
                    </a:lnTo>
                    <a:lnTo>
                      <a:pt x="30" y="240"/>
                    </a:lnTo>
                    <a:lnTo>
                      <a:pt x="30" y="238"/>
                    </a:lnTo>
                    <a:lnTo>
                      <a:pt x="30" y="236"/>
                    </a:lnTo>
                    <a:lnTo>
                      <a:pt x="32" y="236"/>
                    </a:lnTo>
                    <a:lnTo>
                      <a:pt x="32" y="234"/>
                    </a:lnTo>
                    <a:lnTo>
                      <a:pt x="30" y="234"/>
                    </a:lnTo>
                    <a:lnTo>
                      <a:pt x="30" y="236"/>
                    </a:lnTo>
                    <a:lnTo>
                      <a:pt x="30" y="234"/>
                    </a:lnTo>
                    <a:lnTo>
                      <a:pt x="30" y="236"/>
                    </a:lnTo>
                    <a:lnTo>
                      <a:pt x="30" y="234"/>
                    </a:lnTo>
                    <a:lnTo>
                      <a:pt x="30" y="232"/>
                    </a:lnTo>
                    <a:lnTo>
                      <a:pt x="32" y="232"/>
                    </a:lnTo>
                    <a:lnTo>
                      <a:pt x="32" y="230"/>
                    </a:lnTo>
                    <a:lnTo>
                      <a:pt x="30" y="232"/>
                    </a:lnTo>
                    <a:lnTo>
                      <a:pt x="30" y="230"/>
                    </a:lnTo>
                    <a:lnTo>
                      <a:pt x="32" y="230"/>
                    </a:lnTo>
                    <a:lnTo>
                      <a:pt x="30" y="230"/>
                    </a:lnTo>
                    <a:lnTo>
                      <a:pt x="30" y="232"/>
                    </a:lnTo>
                    <a:lnTo>
                      <a:pt x="29" y="232"/>
                    </a:lnTo>
                    <a:lnTo>
                      <a:pt x="29" y="234"/>
                    </a:lnTo>
                    <a:lnTo>
                      <a:pt x="29" y="232"/>
                    </a:lnTo>
                    <a:lnTo>
                      <a:pt x="29" y="234"/>
                    </a:lnTo>
                    <a:lnTo>
                      <a:pt x="29" y="236"/>
                    </a:lnTo>
                    <a:lnTo>
                      <a:pt x="29" y="234"/>
                    </a:lnTo>
                    <a:lnTo>
                      <a:pt x="30" y="234"/>
                    </a:lnTo>
                    <a:lnTo>
                      <a:pt x="29" y="234"/>
                    </a:lnTo>
                    <a:lnTo>
                      <a:pt x="29" y="236"/>
                    </a:lnTo>
                    <a:lnTo>
                      <a:pt x="29" y="238"/>
                    </a:lnTo>
                    <a:lnTo>
                      <a:pt x="27" y="238"/>
                    </a:lnTo>
                    <a:lnTo>
                      <a:pt x="27" y="240"/>
                    </a:lnTo>
                    <a:lnTo>
                      <a:pt x="27" y="238"/>
                    </a:lnTo>
                    <a:lnTo>
                      <a:pt x="27" y="240"/>
                    </a:lnTo>
                    <a:lnTo>
                      <a:pt x="27" y="242"/>
                    </a:lnTo>
                    <a:lnTo>
                      <a:pt x="27" y="240"/>
                    </a:lnTo>
                    <a:lnTo>
                      <a:pt x="27" y="238"/>
                    </a:lnTo>
                    <a:lnTo>
                      <a:pt x="29" y="236"/>
                    </a:lnTo>
                    <a:lnTo>
                      <a:pt x="29" y="234"/>
                    </a:lnTo>
                    <a:lnTo>
                      <a:pt x="29" y="232"/>
                    </a:lnTo>
                    <a:lnTo>
                      <a:pt x="30" y="227"/>
                    </a:lnTo>
                    <a:lnTo>
                      <a:pt x="30" y="225"/>
                    </a:lnTo>
                    <a:lnTo>
                      <a:pt x="30" y="223"/>
                    </a:lnTo>
                    <a:lnTo>
                      <a:pt x="30" y="221"/>
                    </a:lnTo>
                    <a:lnTo>
                      <a:pt x="32" y="221"/>
                    </a:lnTo>
                    <a:lnTo>
                      <a:pt x="32" y="219"/>
                    </a:lnTo>
                    <a:lnTo>
                      <a:pt x="34" y="219"/>
                    </a:lnTo>
                    <a:lnTo>
                      <a:pt x="34" y="221"/>
                    </a:lnTo>
                    <a:lnTo>
                      <a:pt x="34" y="223"/>
                    </a:lnTo>
                    <a:lnTo>
                      <a:pt x="34" y="225"/>
                    </a:lnTo>
                    <a:lnTo>
                      <a:pt x="32" y="225"/>
                    </a:lnTo>
                    <a:lnTo>
                      <a:pt x="34" y="225"/>
                    </a:lnTo>
                    <a:lnTo>
                      <a:pt x="34" y="223"/>
                    </a:lnTo>
                    <a:lnTo>
                      <a:pt x="34" y="221"/>
                    </a:lnTo>
                    <a:lnTo>
                      <a:pt x="34" y="219"/>
                    </a:lnTo>
                    <a:lnTo>
                      <a:pt x="34" y="217"/>
                    </a:lnTo>
                    <a:lnTo>
                      <a:pt x="34" y="215"/>
                    </a:lnTo>
                    <a:lnTo>
                      <a:pt x="36" y="215"/>
                    </a:lnTo>
                    <a:lnTo>
                      <a:pt x="38" y="213"/>
                    </a:lnTo>
                    <a:lnTo>
                      <a:pt x="36" y="215"/>
                    </a:lnTo>
                    <a:lnTo>
                      <a:pt x="34" y="215"/>
                    </a:lnTo>
                    <a:lnTo>
                      <a:pt x="34" y="213"/>
                    </a:lnTo>
                    <a:lnTo>
                      <a:pt x="34" y="211"/>
                    </a:lnTo>
                    <a:lnTo>
                      <a:pt x="36" y="211"/>
                    </a:lnTo>
                    <a:lnTo>
                      <a:pt x="38" y="209"/>
                    </a:lnTo>
                    <a:lnTo>
                      <a:pt x="38" y="207"/>
                    </a:lnTo>
                    <a:lnTo>
                      <a:pt x="40" y="207"/>
                    </a:lnTo>
                    <a:lnTo>
                      <a:pt x="42" y="205"/>
                    </a:lnTo>
                    <a:lnTo>
                      <a:pt x="44" y="205"/>
                    </a:lnTo>
                    <a:lnTo>
                      <a:pt x="44" y="204"/>
                    </a:lnTo>
                    <a:lnTo>
                      <a:pt x="46" y="204"/>
                    </a:lnTo>
                    <a:lnTo>
                      <a:pt x="46" y="202"/>
                    </a:lnTo>
                    <a:lnTo>
                      <a:pt x="48" y="202"/>
                    </a:lnTo>
                    <a:lnTo>
                      <a:pt x="50" y="200"/>
                    </a:lnTo>
                    <a:lnTo>
                      <a:pt x="48" y="200"/>
                    </a:lnTo>
                    <a:lnTo>
                      <a:pt x="48" y="202"/>
                    </a:lnTo>
                    <a:lnTo>
                      <a:pt x="46" y="202"/>
                    </a:lnTo>
                    <a:lnTo>
                      <a:pt x="44" y="202"/>
                    </a:lnTo>
                    <a:lnTo>
                      <a:pt x="44" y="204"/>
                    </a:lnTo>
                    <a:lnTo>
                      <a:pt x="42" y="205"/>
                    </a:lnTo>
                    <a:lnTo>
                      <a:pt x="40" y="207"/>
                    </a:lnTo>
                    <a:lnTo>
                      <a:pt x="38" y="207"/>
                    </a:lnTo>
                    <a:lnTo>
                      <a:pt x="38" y="209"/>
                    </a:lnTo>
                    <a:lnTo>
                      <a:pt x="36" y="211"/>
                    </a:lnTo>
                    <a:lnTo>
                      <a:pt x="34" y="211"/>
                    </a:lnTo>
                    <a:lnTo>
                      <a:pt x="36" y="211"/>
                    </a:lnTo>
                    <a:lnTo>
                      <a:pt x="34" y="211"/>
                    </a:lnTo>
                    <a:lnTo>
                      <a:pt x="34" y="213"/>
                    </a:lnTo>
                    <a:lnTo>
                      <a:pt x="32" y="213"/>
                    </a:lnTo>
                    <a:lnTo>
                      <a:pt x="34" y="211"/>
                    </a:lnTo>
                    <a:lnTo>
                      <a:pt x="32" y="213"/>
                    </a:lnTo>
                    <a:lnTo>
                      <a:pt x="30" y="213"/>
                    </a:lnTo>
                    <a:lnTo>
                      <a:pt x="32" y="213"/>
                    </a:lnTo>
                    <a:lnTo>
                      <a:pt x="34" y="213"/>
                    </a:lnTo>
                    <a:lnTo>
                      <a:pt x="34" y="215"/>
                    </a:lnTo>
                    <a:lnTo>
                      <a:pt x="32" y="215"/>
                    </a:lnTo>
                    <a:lnTo>
                      <a:pt x="30" y="215"/>
                    </a:lnTo>
                    <a:lnTo>
                      <a:pt x="30" y="213"/>
                    </a:lnTo>
                    <a:lnTo>
                      <a:pt x="30" y="215"/>
                    </a:lnTo>
                    <a:lnTo>
                      <a:pt x="29" y="215"/>
                    </a:lnTo>
                    <a:lnTo>
                      <a:pt x="29" y="217"/>
                    </a:lnTo>
                    <a:lnTo>
                      <a:pt x="29" y="219"/>
                    </a:lnTo>
                    <a:lnTo>
                      <a:pt x="30" y="219"/>
                    </a:lnTo>
                    <a:lnTo>
                      <a:pt x="30" y="221"/>
                    </a:lnTo>
                    <a:lnTo>
                      <a:pt x="30" y="223"/>
                    </a:lnTo>
                    <a:lnTo>
                      <a:pt x="30" y="225"/>
                    </a:lnTo>
                    <a:lnTo>
                      <a:pt x="30" y="227"/>
                    </a:lnTo>
                    <a:lnTo>
                      <a:pt x="30" y="229"/>
                    </a:lnTo>
                    <a:lnTo>
                      <a:pt x="30" y="230"/>
                    </a:lnTo>
                    <a:lnTo>
                      <a:pt x="29" y="232"/>
                    </a:lnTo>
                    <a:lnTo>
                      <a:pt x="29" y="234"/>
                    </a:lnTo>
                    <a:lnTo>
                      <a:pt x="29" y="236"/>
                    </a:lnTo>
                    <a:lnTo>
                      <a:pt x="27" y="238"/>
                    </a:lnTo>
                    <a:lnTo>
                      <a:pt x="27" y="240"/>
                    </a:lnTo>
                    <a:lnTo>
                      <a:pt x="27" y="242"/>
                    </a:lnTo>
                    <a:lnTo>
                      <a:pt x="25" y="242"/>
                    </a:lnTo>
                    <a:lnTo>
                      <a:pt x="25" y="244"/>
                    </a:lnTo>
                    <a:lnTo>
                      <a:pt x="25" y="246"/>
                    </a:lnTo>
                    <a:lnTo>
                      <a:pt x="23" y="246"/>
                    </a:lnTo>
                    <a:lnTo>
                      <a:pt x="23" y="248"/>
                    </a:lnTo>
                    <a:lnTo>
                      <a:pt x="25" y="246"/>
                    </a:lnTo>
                    <a:lnTo>
                      <a:pt x="25" y="244"/>
                    </a:lnTo>
                    <a:lnTo>
                      <a:pt x="25" y="242"/>
                    </a:lnTo>
                    <a:lnTo>
                      <a:pt x="27" y="242"/>
                    </a:lnTo>
                    <a:lnTo>
                      <a:pt x="25" y="242"/>
                    </a:lnTo>
                    <a:lnTo>
                      <a:pt x="25" y="240"/>
                    </a:lnTo>
                    <a:lnTo>
                      <a:pt x="27" y="240"/>
                    </a:lnTo>
                    <a:lnTo>
                      <a:pt x="25" y="240"/>
                    </a:lnTo>
                    <a:lnTo>
                      <a:pt x="27" y="240"/>
                    </a:lnTo>
                    <a:lnTo>
                      <a:pt x="27" y="238"/>
                    </a:lnTo>
                    <a:lnTo>
                      <a:pt x="27" y="236"/>
                    </a:lnTo>
                    <a:lnTo>
                      <a:pt x="27" y="234"/>
                    </a:lnTo>
                    <a:lnTo>
                      <a:pt x="27" y="236"/>
                    </a:lnTo>
                    <a:lnTo>
                      <a:pt x="27" y="234"/>
                    </a:lnTo>
                    <a:lnTo>
                      <a:pt x="29" y="234"/>
                    </a:lnTo>
                    <a:lnTo>
                      <a:pt x="27" y="234"/>
                    </a:lnTo>
                    <a:lnTo>
                      <a:pt x="29" y="234"/>
                    </a:lnTo>
                    <a:lnTo>
                      <a:pt x="27" y="234"/>
                    </a:lnTo>
                    <a:lnTo>
                      <a:pt x="29" y="234"/>
                    </a:lnTo>
                    <a:lnTo>
                      <a:pt x="27" y="234"/>
                    </a:lnTo>
                    <a:lnTo>
                      <a:pt x="27" y="232"/>
                    </a:lnTo>
                    <a:lnTo>
                      <a:pt x="29" y="232"/>
                    </a:lnTo>
                    <a:lnTo>
                      <a:pt x="29" y="230"/>
                    </a:lnTo>
                    <a:lnTo>
                      <a:pt x="29" y="229"/>
                    </a:lnTo>
                    <a:lnTo>
                      <a:pt x="29" y="227"/>
                    </a:lnTo>
                    <a:lnTo>
                      <a:pt x="27" y="227"/>
                    </a:lnTo>
                    <a:lnTo>
                      <a:pt x="29" y="227"/>
                    </a:lnTo>
                    <a:lnTo>
                      <a:pt x="27" y="227"/>
                    </a:lnTo>
                    <a:lnTo>
                      <a:pt x="29" y="229"/>
                    </a:lnTo>
                    <a:lnTo>
                      <a:pt x="29" y="230"/>
                    </a:lnTo>
                    <a:lnTo>
                      <a:pt x="27" y="230"/>
                    </a:lnTo>
                    <a:lnTo>
                      <a:pt x="27" y="232"/>
                    </a:lnTo>
                    <a:lnTo>
                      <a:pt x="27" y="234"/>
                    </a:lnTo>
                    <a:lnTo>
                      <a:pt x="25" y="234"/>
                    </a:lnTo>
                    <a:lnTo>
                      <a:pt x="25" y="236"/>
                    </a:lnTo>
                    <a:lnTo>
                      <a:pt x="23" y="236"/>
                    </a:lnTo>
                    <a:lnTo>
                      <a:pt x="23" y="238"/>
                    </a:lnTo>
                    <a:lnTo>
                      <a:pt x="21" y="238"/>
                    </a:lnTo>
                    <a:lnTo>
                      <a:pt x="23" y="238"/>
                    </a:lnTo>
                    <a:lnTo>
                      <a:pt x="21" y="238"/>
                    </a:lnTo>
                    <a:lnTo>
                      <a:pt x="23" y="238"/>
                    </a:lnTo>
                    <a:lnTo>
                      <a:pt x="23" y="236"/>
                    </a:lnTo>
                    <a:lnTo>
                      <a:pt x="23" y="238"/>
                    </a:lnTo>
                    <a:lnTo>
                      <a:pt x="23" y="236"/>
                    </a:lnTo>
                    <a:lnTo>
                      <a:pt x="23" y="238"/>
                    </a:lnTo>
                    <a:lnTo>
                      <a:pt x="21" y="238"/>
                    </a:lnTo>
                    <a:lnTo>
                      <a:pt x="21" y="236"/>
                    </a:lnTo>
                    <a:lnTo>
                      <a:pt x="23" y="236"/>
                    </a:lnTo>
                    <a:lnTo>
                      <a:pt x="21" y="236"/>
                    </a:lnTo>
                    <a:lnTo>
                      <a:pt x="21" y="238"/>
                    </a:lnTo>
                    <a:lnTo>
                      <a:pt x="19" y="238"/>
                    </a:lnTo>
                    <a:lnTo>
                      <a:pt x="19" y="240"/>
                    </a:lnTo>
                    <a:lnTo>
                      <a:pt x="19" y="242"/>
                    </a:lnTo>
                    <a:lnTo>
                      <a:pt x="17" y="242"/>
                    </a:lnTo>
                    <a:lnTo>
                      <a:pt x="17" y="240"/>
                    </a:lnTo>
                    <a:lnTo>
                      <a:pt x="19" y="240"/>
                    </a:lnTo>
                    <a:lnTo>
                      <a:pt x="19" y="238"/>
                    </a:lnTo>
                    <a:lnTo>
                      <a:pt x="17" y="240"/>
                    </a:lnTo>
                    <a:lnTo>
                      <a:pt x="17" y="238"/>
                    </a:lnTo>
                    <a:lnTo>
                      <a:pt x="19" y="238"/>
                    </a:lnTo>
                    <a:lnTo>
                      <a:pt x="19" y="236"/>
                    </a:lnTo>
                    <a:lnTo>
                      <a:pt x="21" y="234"/>
                    </a:lnTo>
                    <a:lnTo>
                      <a:pt x="19" y="234"/>
                    </a:lnTo>
                    <a:lnTo>
                      <a:pt x="19" y="232"/>
                    </a:lnTo>
                    <a:lnTo>
                      <a:pt x="19" y="230"/>
                    </a:lnTo>
                    <a:lnTo>
                      <a:pt x="21" y="230"/>
                    </a:lnTo>
                    <a:lnTo>
                      <a:pt x="21" y="229"/>
                    </a:lnTo>
                    <a:lnTo>
                      <a:pt x="21" y="227"/>
                    </a:lnTo>
                    <a:lnTo>
                      <a:pt x="23" y="227"/>
                    </a:lnTo>
                    <a:lnTo>
                      <a:pt x="25" y="227"/>
                    </a:lnTo>
                    <a:lnTo>
                      <a:pt x="25" y="229"/>
                    </a:lnTo>
                    <a:lnTo>
                      <a:pt x="25" y="227"/>
                    </a:lnTo>
                    <a:lnTo>
                      <a:pt x="25" y="225"/>
                    </a:lnTo>
                    <a:lnTo>
                      <a:pt x="23" y="225"/>
                    </a:lnTo>
                    <a:lnTo>
                      <a:pt x="21" y="225"/>
                    </a:lnTo>
                    <a:lnTo>
                      <a:pt x="21" y="223"/>
                    </a:lnTo>
                    <a:lnTo>
                      <a:pt x="19" y="223"/>
                    </a:lnTo>
                    <a:lnTo>
                      <a:pt x="19" y="221"/>
                    </a:lnTo>
                    <a:lnTo>
                      <a:pt x="17" y="221"/>
                    </a:lnTo>
                    <a:lnTo>
                      <a:pt x="17" y="219"/>
                    </a:lnTo>
                    <a:lnTo>
                      <a:pt x="15" y="221"/>
                    </a:lnTo>
                    <a:lnTo>
                      <a:pt x="13" y="221"/>
                    </a:lnTo>
                    <a:lnTo>
                      <a:pt x="11" y="221"/>
                    </a:lnTo>
                    <a:lnTo>
                      <a:pt x="9" y="221"/>
                    </a:lnTo>
                    <a:lnTo>
                      <a:pt x="7" y="219"/>
                    </a:lnTo>
                    <a:lnTo>
                      <a:pt x="5" y="219"/>
                    </a:lnTo>
                    <a:lnTo>
                      <a:pt x="5" y="217"/>
                    </a:lnTo>
                    <a:lnTo>
                      <a:pt x="4" y="217"/>
                    </a:lnTo>
                    <a:lnTo>
                      <a:pt x="2" y="217"/>
                    </a:lnTo>
                    <a:lnTo>
                      <a:pt x="0" y="217"/>
                    </a:lnTo>
                    <a:lnTo>
                      <a:pt x="15" y="200"/>
                    </a:lnTo>
                    <a:lnTo>
                      <a:pt x="17" y="198"/>
                    </a:lnTo>
                    <a:lnTo>
                      <a:pt x="19" y="196"/>
                    </a:lnTo>
                    <a:lnTo>
                      <a:pt x="19" y="194"/>
                    </a:lnTo>
                    <a:lnTo>
                      <a:pt x="21" y="194"/>
                    </a:lnTo>
                    <a:lnTo>
                      <a:pt x="25" y="190"/>
                    </a:lnTo>
                    <a:lnTo>
                      <a:pt x="25" y="188"/>
                    </a:lnTo>
                    <a:lnTo>
                      <a:pt x="27" y="188"/>
                    </a:lnTo>
                    <a:lnTo>
                      <a:pt x="27" y="184"/>
                    </a:lnTo>
                    <a:lnTo>
                      <a:pt x="23" y="184"/>
                    </a:lnTo>
                    <a:lnTo>
                      <a:pt x="21" y="184"/>
                    </a:lnTo>
                    <a:lnTo>
                      <a:pt x="17" y="182"/>
                    </a:lnTo>
                    <a:lnTo>
                      <a:pt x="23" y="175"/>
                    </a:lnTo>
                    <a:lnTo>
                      <a:pt x="11" y="165"/>
                    </a:lnTo>
                    <a:lnTo>
                      <a:pt x="19" y="159"/>
                    </a:lnTo>
                    <a:lnTo>
                      <a:pt x="27" y="163"/>
                    </a:lnTo>
                    <a:lnTo>
                      <a:pt x="30" y="165"/>
                    </a:lnTo>
                    <a:lnTo>
                      <a:pt x="32" y="159"/>
                    </a:lnTo>
                    <a:lnTo>
                      <a:pt x="32" y="157"/>
                    </a:lnTo>
                    <a:lnTo>
                      <a:pt x="40" y="154"/>
                    </a:lnTo>
                    <a:lnTo>
                      <a:pt x="44" y="155"/>
                    </a:lnTo>
                    <a:lnTo>
                      <a:pt x="46" y="155"/>
                    </a:lnTo>
                    <a:lnTo>
                      <a:pt x="46" y="152"/>
                    </a:lnTo>
                    <a:lnTo>
                      <a:pt x="50" y="154"/>
                    </a:lnTo>
                    <a:lnTo>
                      <a:pt x="50" y="142"/>
                    </a:lnTo>
                    <a:lnTo>
                      <a:pt x="44" y="140"/>
                    </a:lnTo>
                    <a:lnTo>
                      <a:pt x="46" y="134"/>
                    </a:lnTo>
                    <a:lnTo>
                      <a:pt x="46" y="132"/>
                    </a:lnTo>
                    <a:lnTo>
                      <a:pt x="42" y="129"/>
                    </a:lnTo>
                    <a:lnTo>
                      <a:pt x="42" y="123"/>
                    </a:lnTo>
                    <a:lnTo>
                      <a:pt x="44" y="117"/>
                    </a:lnTo>
                    <a:lnTo>
                      <a:pt x="44" y="115"/>
                    </a:lnTo>
                    <a:lnTo>
                      <a:pt x="44" y="111"/>
                    </a:lnTo>
                    <a:lnTo>
                      <a:pt x="46" y="107"/>
                    </a:lnTo>
                    <a:lnTo>
                      <a:pt x="46" y="98"/>
                    </a:lnTo>
                    <a:lnTo>
                      <a:pt x="54" y="96"/>
                    </a:lnTo>
                    <a:lnTo>
                      <a:pt x="57" y="96"/>
                    </a:lnTo>
                    <a:lnTo>
                      <a:pt x="63" y="96"/>
                    </a:lnTo>
                    <a:lnTo>
                      <a:pt x="61" y="94"/>
                    </a:lnTo>
                    <a:lnTo>
                      <a:pt x="61" y="92"/>
                    </a:lnTo>
                    <a:lnTo>
                      <a:pt x="61" y="90"/>
                    </a:lnTo>
                    <a:lnTo>
                      <a:pt x="59" y="90"/>
                    </a:lnTo>
                    <a:lnTo>
                      <a:pt x="57" y="90"/>
                    </a:lnTo>
                    <a:lnTo>
                      <a:pt x="42" y="96"/>
                    </a:lnTo>
                    <a:lnTo>
                      <a:pt x="38" y="92"/>
                    </a:lnTo>
                    <a:lnTo>
                      <a:pt x="36" y="86"/>
                    </a:lnTo>
                    <a:lnTo>
                      <a:pt x="34" y="84"/>
                    </a:lnTo>
                    <a:lnTo>
                      <a:pt x="34" y="79"/>
                    </a:lnTo>
                    <a:lnTo>
                      <a:pt x="34" y="73"/>
                    </a:lnTo>
                    <a:lnTo>
                      <a:pt x="34" y="71"/>
                    </a:lnTo>
                    <a:lnTo>
                      <a:pt x="36" y="67"/>
                    </a:lnTo>
                    <a:lnTo>
                      <a:pt x="34" y="67"/>
                    </a:lnTo>
                    <a:lnTo>
                      <a:pt x="34" y="59"/>
                    </a:lnTo>
                    <a:lnTo>
                      <a:pt x="34" y="57"/>
                    </a:lnTo>
                    <a:lnTo>
                      <a:pt x="34" y="54"/>
                    </a:lnTo>
                    <a:lnTo>
                      <a:pt x="36" y="52"/>
                    </a:lnTo>
                    <a:lnTo>
                      <a:pt x="38" y="50"/>
                    </a:lnTo>
                    <a:lnTo>
                      <a:pt x="40" y="48"/>
                    </a:lnTo>
                    <a:lnTo>
                      <a:pt x="38" y="46"/>
                    </a:lnTo>
                    <a:lnTo>
                      <a:pt x="32" y="44"/>
                    </a:lnTo>
                    <a:lnTo>
                      <a:pt x="30" y="36"/>
                    </a:lnTo>
                    <a:lnTo>
                      <a:pt x="30" y="34"/>
                    </a:lnTo>
                    <a:lnTo>
                      <a:pt x="29" y="34"/>
                    </a:lnTo>
                    <a:lnTo>
                      <a:pt x="27" y="32"/>
                    </a:lnTo>
                    <a:lnTo>
                      <a:pt x="29" y="29"/>
                    </a:lnTo>
                    <a:lnTo>
                      <a:pt x="27" y="25"/>
                    </a:lnTo>
                    <a:lnTo>
                      <a:pt x="29" y="23"/>
                    </a:lnTo>
                    <a:lnTo>
                      <a:pt x="25" y="21"/>
                    </a:lnTo>
                    <a:lnTo>
                      <a:pt x="23" y="17"/>
                    </a:lnTo>
                    <a:lnTo>
                      <a:pt x="23" y="15"/>
                    </a:lnTo>
                    <a:lnTo>
                      <a:pt x="27" y="13"/>
                    </a:lnTo>
                    <a:lnTo>
                      <a:pt x="27" y="11"/>
                    </a:lnTo>
                    <a:lnTo>
                      <a:pt x="27" y="13"/>
                    </a:lnTo>
                    <a:lnTo>
                      <a:pt x="29" y="11"/>
                    </a:lnTo>
                    <a:lnTo>
                      <a:pt x="29" y="9"/>
                    </a:lnTo>
                    <a:lnTo>
                      <a:pt x="29" y="7"/>
                    </a:lnTo>
                    <a:lnTo>
                      <a:pt x="30" y="9"/>
                    </a:lnTo>
                    <a:lnTo>
                      <a:pt x="32" y="9"/>
                    </a:lnTo>
                    <a:lnTo>
                      <a:pt x="32" y="7"/>
                    </a:lnTo>
                    <a:lnTo>
                      <a:pt x="34" y="7"/>
                    </a:lnTo>
                    <a:lnTo>
                      <a:pt x="36" y="7"/>
                    </a:lnTo>
                    <a:lnTo>
                      <a:pt x="36" y="9"/>
                    </a:lnTo>
                    <a:lnTo>
                      <a:pt x="38" y="9"/>
                    </a:lnTo>
                    <a:lnTo>
                      <a:pt x="40" y="9"/>
                    </a:lnTo>
                    <a:lnTo>
                      <a:pt x="40" y="11"/>
                    </a:lnTo>
                    <a:lnTo>
                      <a:pt x="40" y="13"/>
                    </a:lnTo>
                    <a:lnTo>
                      <a:pt x="42" y="13"/>
                    </a:lnTo>
                    <a:lnTo>
                      <a:pt x="44" y="13"/>
                    </a:lnTo>
                    <a:lnTo>
                      <a:pt x="44" y="11"/>
                    </a:lnTo>
                    <a:lnTo>
                      <a:pt x="42" y="11"/>
                    </a:lnTo>
                    <a:lnTo>
                      <a:pt x="44" y="11"/>
                    </a:lnTo>
                    <a:lnTo>
                      <a:pt x="42" y="11"/>
                    </a:lnTo>
                    <a:lnTo>
                      <a:pt x="44" y="9"/>
                    </a:lnTo>
                    <a:lnTo>
                      <a:pt x="42" y="9"/>
                    </a:lnTo>
                    <a:lnTo>
                      <a:pt x="42" y="7"/>
                    </a:lnTo>
                    <a:lnTo>
                      <a:pt x="40" y="7"/>
                    </a:lnTo>
                    <a:lnTo>
                      <a:pt x="40" y="5"/>
                    </a:lnTo>
                    <a:lnTo>
                      <a:pt x="40" y="7"/>
                    </a:lnTo>
                    <a:lnTo>
                      <a:pt x="40" y="5"/>
                    </a:lnTo>
                    <a:lnTo>
                      <a:pt x="40" y="4"/>
                    </a:lnTo>
                    <a:lnTo>
                      <a:pt x="42" y="4"/>
                    </a:lnTo>
                    <a:lnTo>
                      <a:pt x="42" y="5"/>
                    </a:lnTo>
                    <a:lnTo>
                      <a:pt x="44" y="5"/>
                    </a:lnTo>
                    <a:lnTo>
                      <a:pt x="44" y="4"/>
                    </a:lnTo>
                    <a:lnTo>
                      <a:pt x="44" y="5"/>
                    </a:lnTo>
                    <a:lnTo>
                      <a:pt x="46" y="5"/>
                    </a:lnTo>
                    <a:lnTo>
                      <a:pt x="46" y="7"/>
                    </a:lnTo>
                    <a:lnTo>
                      <a:pt x="46" y="5"/>
                    </a:lnTo>
                    <a:lnTo>
                      <a:pt x="46" y="7"/>
                    </a:lnTo>
                    <a:lnTo>
                      <a:pt x="46" y="5"/>
                    </a:lnTo>
                    <a:lnTo>
                      <a:pt x="48" y="5"/>
                    </a:lnTo>
                    <a:lnTo>
                      <a:pt x="48" y="7"/>
                    </a:lnTo>
                    <a:lnTo>
                      <a:pt x="48" y="5"/>
                    </a:lnTo>
                    <a:lnTo>
                      <a:pt x="50" y="5"/>
                    </a:lnTo>
                    <a:lnTo>
                      <a:pt x="50" y="7"/>
                    </a:lnTo>
                    <a:lnTo>
                      <a:pt x="52" y="7"/>
                    </a:lnTo>
                    <a:lnTo>
                      <a:pt x="54" y="7"/>
                    </a:lnTo>
                    <a:lnTo>
                      <a:pt x="54" y="9"/>
                    </a:lnTo>
                    <a:lnTo>
                      <a:pt x="54" y="7"/>
                    </a:lnTo>
                    <a:lnTo>
                      <a:pt x="55" y="7"/>
                    </a:lnTo>
                    <a:lnTo>
                      <a:pt x="57" y="7"/>
                    </a:lnTo>
                    <a:lnTo>
                      <a:pt x="59" y="7"/>
                    </a:lnTo>
                    <a:lnTo>
                      <a:pt x="61" y="7"/>
                    </a:lnTo>
                    <a:lnTo>
                      <a:pt x="67" y="5"/>
                    </a:lnTo>
                    <a:lnTo>
                      <a:pt x="69" y="5"/>
                    </a:lnTo>
                    <a:lnTo>
                      <a:pt x="71" y="4"/>
                    </a:lnTo>
                    <a:lnTo>
                      <a:pt x="73" y="4"/>
                    </a:lnTo>
                    <a:lnTo>
                      <a:pt x="73" y="2"/>
                    </a:lnTo>
                    <a:lnTo>
                      <a:pt x="75" y="0"/>
                    </a:lnTo>
                    <a:lnTo>
                      <a:pt x="77" y="0"/>
                    </a:lnTo>
                    <a:lnTo>
                      <a:pt x="78" y="0"/>
                    </a:lnTo>
                    <a:lnTo>
                      <a:pt x="78" y="2"/>
                    </a:lnTo>
                    <a:lnTo>
                      <a:pt x="80" y="4"/>
                    </a:lnTo>
                    <a:lnTo>
                      <a:pt x="80" y="2"/>
                    </a:lnTo>
                    <a:lnTo>
                      <a:pt x="82" y="4"/>
                    </a:lnTo>
                    <a:lnTo>
                      <a:pt x="82" y="5"/>
                    </a:lnTo>
                    <a:lnTo>
                      <a:pt x="86" y="7"/>
                    </a:lnTo>
                    <a:lnTo>
                      <a:pt x="88" y="13"/>
                    </a:lnTo>
                    <a:lnTo>
                      <a:pt x="88" y="15"/>
                    </a:lnTo>
                    <a:lnTo>
                      <a:pt x="90" y="23"/>
                    </a:lnTo>
                    <a:lnTo>
                      <a:pt x="78" y="34"/>
                    </a:lnTo>
                    <a:lnTo>
                      <a:pt x="80" y="38"/>
                    </a:lnTo>
                    <a:lnTo>
                      <a:pt x="82" y="40"/>
                    </a:lnTo>
                    <a:lnTo>
                      <a:pt x="84" y="40"/>
                    </a:lnTo>
                    <a:lnTo>
                      <a:pt x="84" y="44"/>
                    </a:lnTo>
                    <a:lnTo>
                      <a:pt x="86" y="46"/>
                    </a:lnTo>
                    <a:lnTo>
                      <a:pt x="88" y="48"/>
                    </a:lnTo>
                    <a:lnTo>
                      <a:pt x="88" y="50"/>
                    </a:lnTo>
                    <a:lnTo>
                      <a:pt x="90" y="50"/>
                    </a:lnTo>
                    <a:lnTo>
                      <a:pt x="92" y="54"/>
                    </a:lnTo>
                    <a:lnTo>
                      <a:pt x="94" y="57"/>
                    </a:lnTo>
                    <a:lnTo>
                      <a:pt x="92" y="59"/>
                    </a:lnTo>
                    <a:lnTo>
                      <a:pt x="92" y="61"/>
                    </a:lnTo>
                    <a:lnTo>
                      <a:pt x="92" y="63"/>
                    </a:lnTo>
                    <a:lnTo>
                      <a:pt x="88" y="65"/>
                    </a:lnTo>
                    <a:lnTo>
                      <a:pt x="92" y="69"/>
                    </a:lnTo>
                    <a:lnTo>
                      <a:pt x="90" y="71"/>
                    </a:lnTo>
                    <a:lnTo>
                      <a:pt x="90" y="69"/>
                    </a:lnTo>
                    <a:lnTo>
                      <a:pt x="88" y="71"/>
                    </a:lnTo>
                    <a:lnTo>
                      <a:pt x="84" y="71"/>
                    </a:lnTo>
                    <a:lnTo>
                      <a:pt x="82" y="77"/>
                    </a:lnTo>
                    <a:lnTo>
                      <a:pt x="82" y="82"/>
                    </a:lnTo>
                    <a:lnTo>
                      <a:pt x="80" y="82"/>
                    </a:lnTo>
                    <a:lnTo>
                      <a:pt x="80" y="86"/>
                    </a:lnTo>
                    <a:lnTo>
                      <a:pt x="80" y="88"/>
                    </a:lnTo>
                    <a:lnTo>
                      <a:pt x="80" y="90"/>
                    </a:lnTo>
                    <a:lnTo>
                      <a:pt x="84" y="96"/>
                    </a:lnTo>
                    <a:lnTo>
                      <a:pt x="84" y="98"/>
                    </a:lnTo>
                    <a:lnTo>
                      <a:pt x="88" y="94"/>
                    </a:lnTo>
                    <a:lnTo>
                      <a:pt x="88" y="90"/>
                    </a:lnTo>
                    <a:lnTo>
                      <a:pt x="90" y="88"/>
                    </a:lnTo>
                    <a:lnTo>
                      <a:pt x="96" y="96"/>
                    </a:lnTo>
                    <a:lnTo>
                      <a:pt x="96" y="98"/>
                    </a:lnTo>
                    <a:lnTo>
                      <a:pt x="100" y="100"/>
                    </a:lnTo>
                    <a:lnTo>
                      <a:pt x="105" y="104"/>
                    </a:lnTo>
                    <a:lnTo>
                      <a:pt x="107" y="104"/>
                    </a:lnTo>
                    <a:lnTo>
                      <a:pt x="109" y="104"/>
                    </a:lnTo>
                    <a:lnTo>
                      <a:pt x="111" y="107"/>
                    </a:lnTo>
                    <a:lnTo>
                      <a:pt x="113" y="111"/>
                    </a:lnTo>
                    <a:lnTo>
                      <a:pt x="113" y="132"/>
                    </a:lnTo>
                    <a:lnTo>
                      <a:pt x="115" y="134"/>
                    </a:lnTo>
                    <a:lnTo>
                      <a:pt x="113" y="142"/>
                    </a:lnTo>
                    <a:lnTo>
                      <a:pt x="113" y="152"/>
                    </a:lnTo>
                    <a:lnTo>
                      <a:pt x="111" y="157"/>
                    </a:lnTo>
                    <a:lnTo>
                      <a:pt x="111" y="173"/>
                    </a:lnTo>
                    <a:lnTo>
                      <a:pt x="113" y="177"/>
                    </a:lnTo>
                    <a:lnTo>
                      <a:pt x="113" y="179"/>
                    </a:lnTo>
                    <a:lnTo>
                      <a:pt x="113" y="180"/>
                    </a:lnTo>
                    <a:lnTo>
                      <a:pt x="113" y="182"/>
                    </a:lnTo>
                    <a:lnTo>
                      <a:pt x="111" y="182"/>
                    </a:lnTo>
                    <a:lnTo>
                      <a:pt x="111" y="184"/>
                    </a:lnTo>
                    <a:lnTo>
                      <a:pt x="105" y="186"/>
                    </a:lnTo>
                    <a:lnTo>
                      <a:pt x="100" y="182"/>
                    </a:lnTo>
                    <a:lnTo>
                      <a:pt x="100" y="180"/>
                    </a:lnTo>
                    <a:lnTo>
                      <a:pt x="100" y="179"/>
                    </a:lnTo>
                    <a:lnTo>
                      <a:pt x="100" y="177"/>
                    </a:lnTo>
                    <a:lnTo>
                      <a:pt x="98" y="175"/>
                    </a:lnTo>
                    <a:lnTo>
                      <a:pt x="96" y="175"/>
                    </a:lnTo>
                    <a:lnTo>
                      <a:pt x="94" y="175"/>
                    </a:lnTo>
                    <a:lnTo>
                      <a:pt x="94" y="177"/>
                    </a:lnTo>
                    <a:lnTo>
                      <a:pt x="92" y="177"/>
                    </a:lnTo>
                    <a:lnTo>
                      <a:pt x="92" y="179"/>
                    </a:lnTo>
                    <a:lnTo>
                      <a:pt x="90" y="179"/>
                    </a:lnTo>
                    <a:lnTo>
                      <a:pt x="90" y="180"/>
                    </a:lnTo>
                    <a:lnTo>
                      <a:pt x="92" y="182"/>
                    </a:lnTo>
                    <a:lnTo>
                      <a:pt x="92" y="184"/>
                    </a:lnTo>
                    <a:lnTo>
                      <a:pt x="92" y="186"/>
                    </a:lnTo>
                    <a:lnTo>
                      <a:pt x="90" y="186"/>
                    </a:lnTo>
                    <a:lnTo>
                      <a:pt x="88" y="188"/>
                    </a:lnTo>
                    <a:lnTo>
                      <a:pt x="90" y="188"/>
                    </a:lnTo>
                    <a:lnTo>
                      <a:pt x="92" y="188"/>
                    </a:lnTo>
                    <a:lnTo>
                      <a:pt x="92" y="190"/>
                    </a:lnTo>
                    <a:lnTo>
                      <a:pt x="94" y="190"/>
                    </a:lnTo>
                    <a:lnTo>
                      <a:pt x="96" y="190"/>
                    </a:lnTo>
                    <a:lnTo>
                      <a:pt x="96" y="192"/>
                    </a:lnTo>
                    <a:lnTo>
                      <a:pt x="96" y="194"/>
                    </a:lnTo>
                    <a:lnTo>
                      <a:pt x="96" y="196"/>
                    </a:lnTo>
                    <a:lnTo>
                      <a:pt x="96" y="198"/>
                    </a:lnTo>
                    <a:lnTo>
                      <a:pt x="98" y="198"/>
                    </a:lnTo>
                    <a:lnTo>
                      <a:pt x="98" y="200"/>
                    </a:lnTo>
                    <a:lnTo>
                      <a:pt x="100" y="202"/>
                    </a:lnTo>
                    <a:lnTo>
                      <a:pt x="100" y="204"/>
                    </a:lnTo>
                    <a:lnTo>
                      <a:pt x="102" y="204"/>
                    </a:lnTo>
                    <a:lnTo>
                      <a:pt x="102" y="205"/>
                    </a:lnTo>
                    <a:lnTo>
                      <a:pt x="102" y="207"/>
                    </a:lnTo>
                    <a:lnTo>
                      <a:pt x="103" y="207"/>
                    </a:lnTo>
                    <a:lnTo>
                      <a:pt x="103" y="209"/>
                    </a:lnTo>
                    <a:lnTo>
                      <a:pt x="105" y="209"/>
                    </a:lnTo>
                    <a:lnTo>
                      <a:pt x="105" y="211"/>
                    </a:lnTo>
                    <a:lnTo>
                      <a:pt x="105" y="213"/>
                    </a:lnTo>
                    <a:lnTo>
                      <a:pt x="105" y="215"/>
                    </a:lnTo>
                    <a:lnTo>
                      <a:pt x="105" y="217"/>
                    </a:lnTo>
                    <a:lnTo>
                      <a:pt x="103" y="215"/>
                    </a:lnTo>
                    <a:lnTo>
                      <a:pt x="103" y="217"/>
                    </a:lnTo>
                    <a:lnTo>
                      <a:pt x="103" y="219"/>
                    </a:lnTo>
                    <a:lnTo>
                      <a:pt x="103" y="221"/>
                    </a:lnTo>
                    <a:lnTo>
                      <a:pt x="105" y="221"/>
                    </a:lnTo>
                    <a:lnTo>
                      <a:pt x="105" y="223"/>
                    </a:lnTo>
                    <a:lnTo>
                      <a:pt x="105" y="225"/>
                    </a:lnTo>
                    <a:lnTo>
                      <a:pt x="105" y="223"/>
                    </a:lnTo>
                    <a:lnTo>
                      <a:pt x="105" y="225"/>
                    </a:lnTo>
                    <a:lnTo>
                      <a:pt x="105" y="227"/>
                    </a:lnTo>
                    <a:lnTo>
                      <a:pt x="103" y="227"/>
                    </a:lnTo>
                    <a:lnTo>
                      <a:pt x="105" y="227"/>
                    </a:lnTo>
                    <a:lnTo>
                      <a:pt x="103" y="227"/>
                    </a:lnTo>
                    <a:lnTo>
                      <a:pt x="103" y="225"/>
                    </a:lnTo>
                    <a:lnTo>
                      <a:pt x="102" y="225"/>
                    </a:lnTo>
                    <a:lnTo>
                      <a:pt x="102" y="223"/>
                    </a:lnTo>
                    <a:lnTo>
                      <a:pt x="103" y="223"/>
                    </a:lnTo>
                    <a:lnTo>
                      <a:pt x="103" y="225"/>
                    </a:lnTo>
                    <a:lnTo>
                      <a:pt x="103" y="223"/>
                    </a:lnTo>
                    <a:lnTo>
                      <a:pt x="102" y="223"/>
                    </a:lnTo>
                    <a:lnTo>
                      <a:pt x="102" y="225"/>
                    </a:lnTo>
                    <a:lnTo>
                      <a:pt x="102" y="227"/>
                    </a:lnTo>
                    <a:lnTo>
                      <a:pt x="100" y="227"/>
                    </a:lnTo>
                    <a:lnTo>
                      <a:pt x="102" y="225"/>
                    </a:lnTo>
                    <a:lnTo>
                      <a:pt x="100" y="225"/>
                    </a:lnTo>
                    <a:lnTo>
                      <a:pt x="102" y="225"/>
                    </a:lnTo>
                    <a:lnTo>
                      <a:pt x="100" y="225"/>
                    </a:lnTo>
                    <a:lnTo>
                      <a:pt x="100" y="227"/>
                    </a:lnTo>
                    <a:lnTo>
                      <a:pt x="100" y="229"/>
                    </a:lnTo>
                    <a:lnTo>
                      <a:pt x="98" y="229"/>
                    </a:lnTo>
                    <a:lnTo>
                      <a:pt x="98" y="230"/>
                    </a:lnTo>
                    <a:lnTo>
                      <a:pt x="98" y="232"/>
                    </a:lnTo>
                    <a:lnTo>
                      <a:pt x="96" y="232"/>
                    </a:lnTo>
                    <a:lnTo>
                      <a:pt x="96" y="234"/>
                    </a:lnTo>
                    <a:lnTo>
                      <a:pt x="98" y="234"/>
                    </a:lnTo>
                    <a:lnTo>
                      <a:pt x="96" y="234"/>
                    </a:lnTo>
                    <a:lnTo>
                      <a:pt x="94" y="234"/>
                    </a:lnTo>
                    <a:lnTo>
                      <a:pt x="94" y="23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0" name="Freeform 15"/>
              <p:cNvSpPr>
                <a:spLocks noEditPoints="1"/>
              </p:cNvSpPr>
              <p:nvPr/>
            </p:nvSpPr>
            <p:spPr bwMode="auto">
              <a:xfrm>
                <a:off x="799373" y="3808389"/>
                <a:ext cx="161739" cy="108400"/>
              </a:xfrm>
              <a:custGeom>
                <a:avLst/>
                <a:gdLst>
                  <a:gd name="T0" fmla="*/ 0 w 94"/>
                  <a:gd name="T1" fmla="*/ 46 h 63"/>
                  <a:gd name="T2" fmla="*/ 2 w 94"/>
                  <a:gd name="T3" fmla="*/ 44 h 63"/>
                  <a:gd name="T4" fmla="*/ 2 w 94"/>
                  <a:gd name="T5" fmla="*/ 42 h 63"/>
                  <a:gd name="T6" fmla="*/ 14 w 94"/>
                  <a:gd name="T7" fmla="*/ 48 h 63"/>
                  <a:gd name="T8" fmla="*/ 14 w 94"/>
                  <a:gd name="T9" fmla="*/ 44 h 63"/>
                  <a:gd name="T10" fmla="*/ 6 w 94"/>
                  <a:gd name="T11" fmla="*/ 39 h 63"/>
                  <a:gd name="T12" fmla="*/ 19 w 94"/>
                  <a:gd name="T13" fmla="*/ 39 h 63"/>
                  <a:gd name="T14" fmla="*/ 6 w 94"/>
                  <a:gd name="T15" fmla="*/ 37 h 63"/>
                  <a:gd name="T16" fmla="*/ 8 w 94"/>
                  <a:gd name="T17" fmla="*/ 37 h 63"/>
                  <a:gd name="T18" fmla="*/ 21 w 94"/>
                  <a:gd name="T19" fmla="*/ 37 h 63"/>
                  <a:gd name="T20" fmla="*/ 19 w 94"/>
                  <a:gd name="T21" fmla="*/ 39 h 63"/>
                  <a:gd name="T22" fmla="*/ 21 w 94"/>
                  <a:gd name="T23" fmla="*/ 37 h 63"/>
                  <a:gd name="T24" fmla="*/ 6 w 94"/>
                  <a:gd name="T25" fmla="*/ 37 h 63"/>
                  <a:gd name="T26" fmla="*/ 6 w 94"/>
                  <a:gd name="T27" fmla="*/ 39 h 63"/>
                  <a:gd name="T28" fmla="*/ 10 w 94"/>
                  <a:gd name="T29" fmla="*/ 33 h 63"/>
                  <a:gd name="T30" fmla="*/ 16 w 94"/>
                  <a:gd name="T31" fmla="*/ 33 h 63"/>
                  <a:gd name="T32" fmla="*/ 21 w 94"/>
                  <a:gd name="T33" fmla="*/ 35 h 63"/>
                  <a:gd name="T34" fmla="*/ 6 w 94"/>
                  <a:gd name="T35" fmla="*/ 27 h 63"/>
                  <a:gd name="T36" fmla="*/ 27 w 94"/>
                  <a:gd name="T37" fmla="*/ 37 h 63"/>
                  <a:gd name="T38" fmla="*/ 14 w 94"/>
                  <a:gd name="T39" fmla="*/ 31 h 63"/>
                  <a:gd name="T40" fmla="*/ 12 w 94"/>
                  <a:gd name="T41" fmla="*/ 35 h 63"/>
                  <a:gd name="T42" fmla="*/ 10 w 94"/>
                  <a:gd name="T43" fmla="*/ 39 h 63"/>
                  <a:gd name="T44" fmla="*/ 10 w 94"/>
                  <a:gd name="T45" fmla="*/ 33 h 63"/>
                  <a:gd name="T46" fmla="*/ 14 w 94"/>
                  <a:gd name="T47" fmla="*/ 29 h 63"/>
                  <a:gd name="T48" fmla="*/ 14 w 94"/>
                  <a:gd name="T49" fmla="*/ 27 h 63"/>
                  <a:gd name="T50" fmla="*/ 12 w 94"/>
                  <a:gd name="T51" fmla="*/ 25 h 63"/>
                  <a:gd name="T52" fmla="*/ 33 w 94"/>
                  <a:gd name="T53" fmla="*/ 37 h 63"/>
                  <a:gd name="T54" fmla="*/ 25 w 94"/>
                  <a:gd name="T55" fmla="*/ 29 h 63"/>
                  <a:gd name="T56" fmla="*/ 25 w 94"/>
                  <a:gd name="T57" fmla="*/ 29 h 63"/>
                  <a:gd name="T58" fmla="*/ 12 w 94"/>
                  <a:gd name="T59" fmla="*/ 23 h 63"/>
                  <a:gd name="T60" fmla="*/ 35 w 94"/>
                  <a:gd name="T61" fmla="*/ 33 h 63"/>
                  <a:gd name="T62" fmla="*/ 29 w 94"/>
                  <a:gd name="T63" fmla="*/ 29 h 63"/>
                  <a:gd name="T64" fmla="*/ 25 w 94"/>
                  <a:gd name="T65" fmla="*/ 25 h 63"/>
                  <a:gd name="T66" fmla="*/ 31 w 94"/>
                  <a:gd name="T67" fmla="*/ 23 h 63"/>
                  <a:gd name="T68" fmla="*/ 37 w 94"/>
                  <a:gd name="T69" fmla="*/ 23 h 63"/>
                  <a:gd name="T70" fmla="*/ 37 w 94"/>
                  <a:gd name="T71" fmla="*/ 21 h 63"/>
                  <a:gd name="T72" fmla="*/ 35 w 94"/>
                  <a:gd name="T73" fmla="*/ 19 h 63"/>
                  <a:gd name="T74" fmla="*/ 17 w 94"/>
                  <a:gd name="T75" fmla="*/ 6 h 63"/>
                  <a:gd name="T76" fmla="*/ 60 w 94"/>
                  <a:gd name="T77" fmla="*/ 27 h 63"/>
                  <a:gd name="T78" fmla="*/ 21 w 94"/>
                  <a:gd name="T79" fmla="*/ 4 h 63"/>
                  <a:gd name="T80" fmla="*/ 16 w 94"/>
                  <a:gd name="T81" fmla="*/ 2 h 63"/>
                  <a:gd name="T82" fmla="*/ 21 w 94"/>
                  <a:gd name="T83" fmla="*/ 0 h 63"/>
                  <a:gd name="T84" fmla="*/ 73 w 94"/>
                  <a:gd name="T85" fmla="*/ 21 h 63"/>
                  <a:gd name="T86" fmla="*/ 94 w 94"/>
                  <a:gd name="T87" fmla="*/ 29 h 63"/>
                  <a:gd name="T88" fmla="*/ 92 w 94"/>
                  <a:gd name="T89" fmla="*/ 31 h 63"/>
                  <a:gd name="T90" fmla="*/ 89 w 94"/>
                  <a:gd name="T91" fmla="*/ 25 h 63"/>
                  <a:gd name="T92" fmla="*/ 73 w 94"/>
                  <a:gd name="T93" fmla="*/ 12 h 63"/>
                  <a:gd name="T94" fmla="*/ 75 w 94"/>
                  <a:gd name="T95" fmla="*/ 17 h 63"/>
                  <a:gd name="T96" fmla="*/ 79 w 94"/>
                  <a:gd name="T97" fmla="*/ 19 h 63"/>
                  <a:gd name="T98" fmla="*/ 79 w 94"/>
                  <a:gd name="T99" fmla="*/ 19 h 63"/>
                  <a:gd name="T100" fmla="*/ 79 w 94"/>
                  <a:gd name="T101" fmla="*/ 19 h 63"/>
                  <a:gd name="T102" fmla="*/ 75 w 94"/>
                  <a:gd name="T103" fmla="*/ 23 h 63"/>
                  <a:gd name="T104" fmla="*/ 73 w 94"/>
                  <a:gd name="T105" fmla="*/ 17 h 63"/>
                  <a:gd name="T106" fmla="*/ 79 w 94"/>
                  <a:gd name="T107" fmla="*/ 15 h 63"/>
                  <a:gd name="T108" fmla="*/ 75 w 94"/>
                  <a:gd name="T109" fmla="*/ 12 h 63"/>
                  <a:gd name="T110" fmla="*/ 79 w 94"/>
                  <a:gd name="T111" fmla="*/ 10 h 63"/>
                  <a:gd name="T112" fmla="*/ 87 w 94"/>
                  <a:gd name="T113" fmla="*/ 12 h 63"/>
                  <a:gd name="T114" fmla="*/ 94 w 94"/>
                  <a:gd name="T115" fmla="*/ 8 h 63"/>
                  <a:gd name="T116" fmla="*/ 92 w 94"/>
                  <a:gd name="T117" fmla="*/ 6 h 63"/>
                  <a:gd name="T118" fmla="*/ 92 w 94"/>
                  <a:gd name="T119" fmla="*/ 4 h 63"/>
                  <a:gd name="T120" fmla="*/ 90 w 94"/>
                  <a:gd name="T121"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 h="63">
                    <a:moveTo>
                      <a:pt x="19" y="63"/>
                    </a:moveTo>
                    <a:lnTo>
                      <a:pt x="17" y="63"/>
                    </a:lnTo>
                    <a:lnTo>
                      <a:pt x="19" y="63"/>
                    </a:lnTo>
                    <a:lnTo>
                      <a:pt x="19" y="62"/>
                    </a:lnTo>
                    <a:lnTo>
                      <a:pt x="19" y="63"/>
                    </a:lnTo>
                    <a:close/>
                    <a:moveTo>
                      <a:pt x="0" y="46"/>
                    </a:moveTo>
                    <a:lnTo>
                      <a:pt x="0" y="44"/>
                    </a:lnTo>
                    <a:lnTo>
                      <a:pt x="2" y="44"/>
                    </a:lnTo>
                    <a:lnTo>
                      <a:pt x="0" y="44"/>
                    </a:lnTo>
                    <a:lnTo>
                      <a:pt x="0" y="46"/>
                    </a:lnTo>
                    <a:close/>
                    <a:moveTo>
                      <a:pt x="0" y="44"/>
                    </a:moveTo>
                    <a:lnTo>
                      <a:pt x="2" y="44"/>
                    </a:lnTo>
                    <a:lnTo>
                      <a:pt x="2" y="42"/>
                    </a:lnTo>
                    <a:lnTo>
                      <a:pt x="0" y="44"/>
                    </a:lnTo>
                    <a:close/>
                    <a:moveTo>
                      <a:pt x="2" y="42"/>
                    </a:moveTo>
                    <a:lnTo>
                      <a:pt x="2" y="44"/>
                    </a:lnTo>
                    <a:lnTo>
                      <a:pt x="2" y="42"/>
                    </a:lnTo>
                    <a:close/>
                    <a:moveTo>
                      <a:pt x="2" y="42"/>
                    </a:moveTo>
                    <a:lnTo>
                      <a:pt x="2" y="40"/>
                    </a:lnTo>
                    <a:lnTo>
                      <a:pt x="2" y="42"/>
                    </a:lnTo>
                    <a:close/>
                    <a:moveTo>
                      <a:pt x="16" y="44"/>
                    </a:moveTo>
                    <a:lnTo>
                      <a:pt x="16" y="46"/>
                    </a:lnTo>
                    <a:lnTo>
                      <a:pt x="16" y="48"/>
                    </a:lnTo>
                    <a:lnTo>
                      <a:pt x="14" y="48"/>
                    </a:lnTo>
                    <a:lnTo>
                      <a:pt x="12" y="48"/>
                    </a:lnTo>
                    <a:lnTo>
                      <a:pt x="14" y="48"/>
                    </a:lnTo>
                    <a:lnTo>
                      <a:pt x="14" y="46"/>
                    </a:lnTo>
                    <a:lnTo>
                      <a:pt x="14" y="44"/>
                    </a:lnTo>
                    <a:lnTo>
                      <a:pt x="16" y="44"/>
                    </a:lnTo>
                    <a:lnTo>
                      <a:pt x="14" y="44"/>
                    </a:lnTo>
                    <a:lnTo>
                      <a:pt x="16" y="44"/>
                    </a:lnTo>
                    <a:close/>
                    <a:moveTo>
                      <a:pt x="6" y="37"/>
                    </a:moveTo>
                    <a:lnTo>
                      <a:pt x="6" y="39"/>
                    </a:lnTo>
                    <a:lnTo>
                      <a:pt x="4" y="40"/>
                    </a:lnTo>
                    <a:lnTo>
                      <a:pt x="4" y="39"/>
                    </a:lnTo>
                    <a:lnTo>
                      <a:pt x="6" y="39"/>
                    </a:lnTo>
                    <a:lnTo>
                      <a:pt x="6" y="37"/>
                    </a:lnTo>
                    <a:close/>
                    <a:moveTo>
                      <a:pt x="19" y="39"/>
                    </a:moveTo>
                    <a:lnTo>
                      <a:pt x="19" y="40"/>
                    </a:lnTo>
                    <a:lnTo>
                      <a:pt x="19" y="39"/>
                    </a:lnTo>
                    <a:lnTo>
                      <a:pt x="19" y="40"/>
                    </a:lnTo>
                    <a:lnTo>
                      <a:pt x="19" y="39"/>
                    </a:lnTo>
                    <a:close/>
                    <a:moveTo>
                      <a:pt x="16" y="39"/>
                    </a:moveTo>
                    <a:lnTo>
                      <a:pt x="16" y="37"/>
                    </a:lnTo>
                    <a:lnTo>
                      <a:pt x="16" y="39"/>
                    </a:lnTo>
                    <a:lnTo>
                      <a:pt x="16" y="37"/>
                    </a:lnTo>
                    <a:lnTo>
                      <a:pt x="16" y="39"/>
                    </a:lnTo>
                    <a:close/>
                    <a:moveTo>
                      <a:pt x="6" y="37"/>
                    </a:moveTo>
                    <a:lnTo>
                      <a:pt x="8" y="37"/>
                    </a:lnTo>
                    <a:lnTo>
                      <a:pt x="8" y="35"/>
                    </a:lnTo>
                    <a:lnTo>
                      <a:pt x="10" y="33"/>
                    </a:lnTo>
                    <a:lnTo>
                      <a:pt x="10" y="35"/>
                    </a:lnTo>
                    <a:lnTo>
                      <a:pt x="8" y="35"/>
                    </a:lnTo>
                    <a:lnTo>
                      <a:pt x="8" y="37"/>
                    </a:lnTo>
                    <a:lnTo>
                      <a:pt x="6" y="37"/>
                    </a:lnTo>
                    <a:close/>
                    <a:moveTo>
                      <a:pt x="21" y="37"/>
                    </a:moveTo>
                    <a:lnTo>
                      <a:pt x="19" y="37"/>
                    </a:lnTo>
                    <a:lnTo>
                      <a:pt x="21" y="37"/>
                    </a:lnTo>
                    <a:lnTo>
                      <a:pt x="19" y="37"/>
                    </a:lnTo>
                    <a:lnTo>
                      <a:pt x="21" y="37"/>
                    </a:lnTo>
                    <a:lnTo>
                      <a:pt x="19" y="37"/>
                    </a:lnTo>
                    <a:lnTo>
                      <a:pt x="21" y="37"/>
                    </a:lnTo>
                    <a:lnTo>
                      <a:pt x="19" y="37"/>
                    </a:lnTo>
                    <a:lnTo>
                      <a:pt x="19" y="39"/>
                    </a:lnTo>
                    <a:lnTo>
                      <a:pt x="19" y="37"/>
                    </a:lnTo>
                    <a:lnTo>
                      <a:pt x="19" y="39"/>
                    </a:lnTo>
                    <a:lnTo>
                      <a:pt x="19" y="37"/>
                    </a:lnTo>
                    <a:lnTo>
                      <a:pt x="19" y="35"/>
                    </a:lnTo>
                    <a:lnTo>
                      <a:pt x="19" y="37"/>
                    </a:lnTo>
                    <a:lnTo>
                      <a:pt x="19" y="35"/>
                    </a:lnTo>
                    <a:lnTo>
                      <a:pt x="21" y="35"/>
                    </a:lnTo>
                    <a:lnTo>
                      <a:pt x="21" y="37"/>
                    </a:lnTo>
                    <a:close/>
                    <a:moveTo>
                      <a:pt x="10" y="33"/>
                    </a:moveTo>
                    <a:lnTo>
                      <a:pt x="10" y="35"/>
                    </a:lnTo>
                    <a:lnTo>
                      <a:pt x="8" y="35"/>
                    </a:lnTo>
                    <a:lnTo>
                      <a:pt x="8" y="37"/>
                    </a:lnTo>
                    <a:lnTo>
                      <a:pt x="6" y="39"/>
                    </a:lnTo>
                    <a:lnTo>
                      <a:pt x="6" y="37"/>
                    </a:lnTo>
                    <a:lnTo>
                      <a:pt x="6" y="39"/>
                    </a:lnTo>
                    <a:lnTo>
                      <a:pt x="4" y="39"/>
                    </a:lnTo>
                    <a:lnTo>
                      <a:pt x="4" y="40"/>
                    </a:lnTo>
                    <a:lnTo>
                      <a:pt x="4" y="42"/>
                    </a:lnTo>
                    <a:lnTo>
                      <a:pt x="4" y="40"/>
                    </a:lnTo>
                    <a:lnTo>
                      <a:pt x="6" y="39"/>
                    </a:lnTo>
                    <a:lnTo>
                      <a:pt x="6" y="37"/>
                    </a:lnTo>
                    <a:lnTo>
                      <a:pt x="8" y="37"/>
                    </a:lnTo>
                    <a:lnTo>
                      <a:pt x="10" y="33"/>
                    </a:lnTo>
                    <a:lnTo>
                      <a:pt x="12" y="31"/>
                    </a:lnTo>
                    <a:lnTo>
                      <a:pt x="12" y="33"/>
                    </a:lnTo>
                    <a:lnTo>
                      <a:pt x="10" y="33"/>
                    </a:lnTo>
                    <a:close/>
                    <a:moveTo>
                      <a:pt x="16" y="31"/>
                    </a:moveTo>
                    <a:lnTo>
                      <a:pt x="16" y="33"/>
                    </a:lnTo>
                    <a:lnTo>
                      <a:pt x="16" y="31"/>
                    </a:lnTo>
                    <a:lnTo>
                      <a:pt x="16" y="33"/>
                    </a:lnTo>
                    <a:lnTo>
                      <a:pt x="16" y="31"/>
                    </a:lnTo>
                    <a:lnTo>
                      <a:pt x="16" y="33"/>
                    </a:lnTo>
                    <a:lnTo>
                      <a:pt x="16" y="31"/>
                    </a:lnTo>
                    <a:close/>
                    <a:moveTo>
                      <a:pt x="12" y="29"/>
                    </a:moveTo>
                    <a:lnTo>
                      <a:pt x="10" y="31"/>
                    </a:lnTo>
                    <a:lnTo>
                      <a:pt x="10" y="29"/>
                    </a:lnTo>
                    <a:lnTo>
                      <a:pt x="12" y="29"/>
                    </a:lnTo>
                    <a:close/>
                    <a:moveTo>
                      <a:pt x="21" y="35"/>
                    </a:moveTo>
                    <a:lnTo>
                      <a:pt x="21" y="37"/>
                    </a:lnTo>
                    <a:lnTo>
                      <a:pt x="21" y="35"/>
                    </a:lnTo>
                    <a:close/>
                    <a:moveTo>
                      <a:pt x="8" y="27"/>
                    </a:moveTo>
                    <a:lnTo>
                      <a:pt x="6" y="27"/>
                    </a:lnTo>
                    <a:lnTo>
                      <a:pt x="8" y="27"/>
                    </a:lnTo>
                    <a:lnTo>
                      <a:pt x="6" y="27"/>
                    </a:lnTo>
                    <a:lnTo>
                      <a:pt x="6" y="29"/>
                    </a:lnTo>
                    <a:lnTo>
                      <a:pt x="6" y="27"/>
                    </a:lnTo>
                    <a:lnTo>
                      <a:pt x="8" y="27"/>
                    </a:lnTo>
                    <a:close/>
                    <a:moveTo>
                      <a:pt x="27" y="37"/>
                    </a:moveTo>
                    <a:lnTo>
                      <a:pt x="27" y="39"/>
                    </a:lnTo>
                    <a:lnTo>
                      <a:pt x="27" y="37"/>
                    </a:lnTo>
                    <a:close/>
                    <a:moveTo>
                      <a:pt x="14" y="29"/>
                    </a:moveTo>
                    <a:lnTo>
                      <a:pt x="14" y="31"/>
                    </a:lnTo>
                    <a:lnTo>
                      <a:pt x="14" y="33"/>
                    </a:lnTo>
                    <a:lnTo>
                      <a:pt x="12" y="33"/>
                    </a:lnTo>
                    <a:lnTo>
                      <a:pt x="14" y="33"/>
                    </a:lnTo>
                    <a:lnTo>
                      <a:pt x="14" y="31"/>
                    </a:lnTo>
                    <a:lnTo>
                      <a:pt x="16" y="33"/>
                    </a:lnTo>
                    <a:lnTo>
                      <a:pt x="14" y="33"/>
                    </a:lnTo>
                    <a:lnTo>
                      <a:pt x="14" y="35"/>
                    </a:lnTo>
                    <a:lnTo>
                      <a:pt x="12" y="35"/>
                    </a:lnTo>
                    <a:lnTo>
                      <a:pt x="14" y="35"/>
                    </a:lnTo>
                    <a:lnTo>
                      <a:pt x="12" y="35"/>
                    </a:lnTo>
                    <a:lnTo>
                      <a:pt x="14" y="35"/>
                    </a:lnTo>
                    <a:lnTo>
                      <a:pt x="12" y="37"/>
                    </a:lnTo>
                    <a:lnTo>
                      <a:pt x="12" y="35"/>
                    </a:lnTo>
                    <a:lnTo>
                      <a:pt x="12" y="37"/>
                    </a:lnTo>
                    <a:lnTo>
                      <a:pt x="12" y="39"/>
                    </a:lnTo>
                    <a:lnTo>
                      <a:pt x="10" y="39"/>
                    </a:lnTo>
                    <a:lnTo>
                      <a:pt x="10" y="37"/>
                    </a:lnTo>
                    <a:lnTo>
                      <a:pt x="10" y="39"/>
                    </a:lnTo>
                    <a:lnTo>
                      <a:pt x="10" y="37"/>
                    </a:lnTo>
                    <a:lnTo>
                      <a:pt x="8" y="37"/>
                    </a:lnTo>
                    <a:lnTo>
                      <a:pt x="10" y="35"/>
                    </a:lnTo>
                    <a:lnTo>
                      <a:pt x="10" y="33"/>
                    </a:lnTo>
                    <a:lnTo>
                      <a:pt x="12" y="33"/>
                    </a:lnTo>
                    <a:lnTo>
                      <a:pt x="12" y="31"/>
                    </a:lnTo>
                    <a:lnTo>
                      <a:pt x="14" y="31"/>
                    </a:lnTo>
                    <a:lnTo>
                      <a:pt x="12" y="31"/>
                    </a:lnTo>
                    <a:lnTo>
                      <a:pt x="14" y="31"/>
                    </a:lnTo>
                    <a:lnTo>
                      <a:pt x="14" y="29"/>
                    </a:lnTo>
                    <a:close/>
                    <a:moveTo>
                      <a:pt x="31" y="39"/>
                    </a:moveTo>
                    <a:lnTo>
                      <a:pt x="31" y="37"/>
                    </a:lnTo>
                    <a:lnTo>
                      <a:pt x="31" y="39"/>
                    </a:lnTo>
                    <a:close/>
                    <a:moveTo>
                      <a:pt x="14" y="29"/>
                    </a:moveTo>
                    <a:lnTo>
                      <a:pt x="12" y="29"/>
                    </a:lnTo>
                    <a:lnTo>
                      <a:pt x="14" y="27"/>
                    </a:lnTo>
                    <a:lnTo>
                      <a:pt x="14" y="29"/>
                    </a:lnTo>
                    <a:close/>
                    <a:moveTo>
                      <a:pt x="14" y="29"/>
                    </a:moveTo>
                    <a:lnTo>
                      <a:pt x="14" y="27"/>
                    </a:lnTo>
                    <a:lnTo>
                      <a:pt x="14" y="29"/>
                    </a:lnTo>
                    <a:close/>
                    <a:moveTo>
                      <a:pt x="12" y="27"/>
                    </a:moveTo>
                    <a:lnTo>
                      <a:pt x="12" y="25"/>
                    </a:lnTo>
                    <a:lnTo>
                      <a:pt x="12" y="27"/>
                    </a:lnTo>
                    <a:close/>
                    <a:moveTo>
                      <a:pt x="33" y="37"/>
                    </a:moveTo>
                    <a:lnTo>
                      <a:pt x="31" y="37"/>
                    </a:lnTo>
                    <a:lnTo>
                      <a:pt x="31" y="39"/>
                    </a:lnTo>
                    <a:lnTo>
                      <a:pt x="31" y="37"/>
                    </a:lnTo>
                    <a:lnTo>
                      <a:pt x="33" y="37"/>
                    </a:lnTo>
                    <a:lnTo>
                      <a:pt x="33" y="35"/>
                    </a:lnTo>
                    <a:lnTo>
                      <a:pt x="33" y="37"/>
                    </a:lnTo>
                    <a:close/>
                    <a:moveTo>
                      <a:pt x="33" y="35"/>
                    </a:moveTo>
                    <a:lnTo>
                      <a:pt x="33" y="33"/>
                    </a:lnTo>
                    <a:lnTo>
                      <a:pt x="33" y="35"/>
                    </a:lnTo>
                    <a:close/>
                    <a:moveTo>
                      <a:pt x="25" y="29"/>
                    </a:moveTo>
                    <a:lnTo>
                      <a:pt x="25" y="31"/>
                    </a:lnTo>
                    <a:lnTo>
                      <a:pt x="25" y="29"/>
                    </a:lnTo>
                    <a:close/>
                    <a:moveTo>
                      <a:pt x="27" y="29"/>
                    </a:moveTo>
                    <a:lnTo>
                      <a:pt x="25" y="29"/>
                    </a:lnTo>
                    <a:lnTo>
                      <a:pt x="25" y="31"/>
                    </a:lnTo>
                    <a:lnTo>
                      <a:pt x="25" y="29"/>
                    </a:lnTo>
                    <a:lnTo>
                      <a:pt x="27" y="29"/>
                    </a:lnTo>
                    <a:close/>
                    <a:moveTo>
                      <a:pt x="10" y="25"/>
                    </a:moveTo>
                    <a:lnTo>
                      <a:pt x="10" y="23"/>
                    </a:lnTo>
                    <a:lnTo>
                      <a:pt x="12" y="23"/>
                    </a:lnTo>
                    <a:lnTo>
                      <a:pt x="12" y="21"/>
                    </a:lnTo>
                    <a:lnTo>
                      <a:pt x="12" y="23"/>
                    </a:lnTo>
                    <a:lnTo>
                      <a:pt x="12" y="25"/>
                    </a:lnTo>
                    <a:lnTo>
                      <a:pt x="10" y="25"/>
                    </a:lnTo>
                    <a:close/>
                    <a:moveTo>
                      <a:pt x="37" y="33"/>
                    </a:moveTo>
                    <a:lnTo>
                      <a:pt x="37" y="35"/>
                    </a:lnTo>
                    <a:lnTo>
                      <a:pt x="35" y="35"/>
                    </a:lnTo>
                    <a:lnTo>
                      <a:pt x="35" y="33"/>
                    </a:lnTo>
                    <a:lnTo>
                      <a:pt x="37" y="33"/>
                    </a:lnTo>
                    <a:close/>
                    <a:moveTo>
                      <a:pt x="29" y="29"/>
                    </a:moveTo>
                    <a:lnTo>
                      <a:pt x="29" y="31"/>
                    </a:lnTo>
                    <a:lnTo>
                      <a:pt x="29" y="29"/>
                    </a:lnTo>
                    <a:lnTo>
                      <a:pt x="29" y="31"/>
                    </a:lnTo>
                    <a:lnTo>
                      <a:pt x="29" y="29"/>
                    </a:lnTo>
                    <a:close/>
                    <a:moveTo>
                      <a:pt x="25" y="23"/>
                    </a:moveTo>
                    <a:lnTo>
                      <a:pt x="25" y="25"/>
                    </a:lnTo>
                    <a:lnTo>
                      <a:pt x="25" y="27"/>
                    </a:lnTo>
                    <a:lnTo>
                      <a:pt x="25" y="25"/>
                    </a:lnTo>
                    <a:lnTo>
                      <a:pt x="25" y="23"/>
                    </a:lnTo>
                    <a:lnTo>
                      <a:pt x="25" y="25"/>
                    </a:lnTo>
                    <a:lnTo>
                      <a:pt x="25" y="23"/>
                    </a:lnTo>
                    <a:close/>
                    <a:moveTo>
                      <a:pt x="33" y="25"/>
                    </a:moveTo>
                    <a:lnTo>
                      <a:pt x="33" y="27"/>
                    </a:lnTo>
                    <a:lnTo>
                      <a:pt x="33" y="25"/>
                    </a:lnTo>
                    <a:close/>
                    <a:moveTo>
                      <a:pt x="33" y="23"/>
                    </a:moveTo>
                    <a:lnTo>
                      <a:pt x="31" y="23"/>
                    </a:lnTo>
                    <a:lnTo>
                      <a:pt x="33" y="23"/>
                    </a:lnTo>
                    <a:close/>
                    <a:moveTo>
                      <a:pt x="37" y="23"/>
                    </a:moveTo>
                    <a:lnTo>
                      <a:pt x="37" y="25"/>
                    </a:lnTo>
                    <a:lnTo>
                      <a:pt x="37" y="23"/>
                    </a:lnTo>
                    <a:lnTo>
                      <a:pt x="37" y="25"/>
                    </a:lnTo>
                    <a:lnTo>
                      <a:pt x="37" y="23"/>
                    </a:lnTo>
                    <a:close/>
                    <a:moveTo>
                      <a:pt x="29" y="19"/>
                    </a:moveTo>
                    <a:lnTo>
                      <a:pt x="29" y="17"/>
                    </a:lnTo>
                    <a:lnTo>
                      <a:pt x="29" y="19"/>
                    </a:lnTo>
                    <a:lnTo>
                      <a:pt x="29" y="17"/>
                    </a:lnTo>
                    <a:lnTo>
                      <a:pt x="29" y="19"/>
                    </a:lnTo>
                    <a:close/>
                    <a:moveTo>
                      <a:pt x="37" y="21"/>
                    </a:moveTo>
                    <a:lnTo>
                      <a:pt x="37" y="23"/>
                    </a:lnTo>
                    <a:lnTo>
                      <a:pt x="35" y="23"/>
                    </a:lnTo>
                    <a:lnTo>
                      <a:pt x="35" y="21"/>
                    </a:lnTo>
                    <a:lnTo>
                      <a:pt x="35" y="23"/>
                    </a:lnTo>
                    <a:lnTo>
                      <a:pt x="35" y="21"/>
                    </a:lnTo>
                    <a:lnTo>
                      <a:pt x="35" y="19"/>
                    </a:lnTo>
                    <a:lnTo>
                      <a:pt x="35" y="21"/>
                    </a:lnTo>
                    <a:lnTo>
                      <a:pt x="37" y="21"/>
                    </a:lnTo>
                    <a:close/>
                    <a:moveTo>
                      <a:pt x="17" y="8"/>
                    </a:moveTo>
                    <a:lnTo>
                      <a:pt x="17" y="6"/>
                    </a:lnTo>
                    <a:lnTo>
                      <a:pt x="19" y="6"/>
                    </a:lnTo>
                    <a:lnTo>
                      <a:pt x="17" y="6"/>
                    </a:lnTo>
                    <a:lnTo>
                      <a:pt x="17" y="8"/>
                    </a:lnTo>
                    <a:close/>
                    <a:moveTo>
                      <a:pt x="62" y="25"/>
                    </a:moveTo>
                    <a:lnTo>
                      <a:pt x="62" y="27"/>
                    </a:lnTo>
                    <a:lnTo>
                      <a:pt x="62" y="25"/>
                    </a:lnTo>
                    <a:lnTo>
                      <a:pt x="62" y="27"/>
                    </a:lnTo>
                    <a:lnTo>
                      <a:pt x="60" y="27"/>
                    </a:lnTo>
                    <a:lnTo>
                      <a:pt x="60" y="25"/>
                    </a:lnTo>
                    <a:lnTo>
                      <a:pt x="62" y="25"/>
                    </a:lnTo>
                    <a:lnTo>
                      <a:pt x="60" y="25"/>
                    </a:lnTo>
                    <a:lnTo>
                      <a:pt x="62" y="25"/>
                    </a:lnTo>
                    <a:close/>
                    <a:moveTo>
                      <a:pt x="21" y="2"/>
                    </a:moveTo>
                    <a:lnTo>
                      <a:pt x="21" y="4"/>
                    </a:lnTo>
                    <a:lnTo>
                      <a:pt x="19" y="4"/>
                    </a:lnTo>
                    <a:lnTo>
                      <a:pt x="19" y="6"/>
                    </a:lnTo>
                    <a:lnTo>
                      <a:pt x="17" y="6"/>
                    </a:lnTo>
                    <a:lnTo>
                      <a:pt x="17" y="4"/>
                    </a:lnTo>
                    <a:lnTo>
                      <a:pt x="16" y="4"/>
                    </a:lnTo>
                    <a:lnTo>
                      <a:pt x="16" y="2"/>
                    </a:lnTo>
                    <a:lnTo>
                      <a:pt x="16" y="0"/>
                    </a:lnTo>
                    <a:lnTo>
                      <a:pt x="17" y="0"/>
                    </a:lnTo>
                    <a:lnTo>
                      <a:pt x="19" y="0"/>
                    </a:lnTo>
                    <a:lnTo>
                      <a:pt x="21" y="0"/>
                    </a:lnTo>
                    <a:lnTo>
                      <a:pt x="23" y="0"/>
                    </a:lnTo>
                    <a:lnTo>
                      <a:pt x="21" y="0"/>
                    </a:lnTo>
                    <a:lnTo>
                      <a:pt x="21" y="2"/>
                    </a:lnTo>
                    <a:close/>
                    <a:moveTo>
                      <a:pt x="75" y="19"/>
                    </a:moveTo>
                    <a:lnTo>
                      <a:pt x="75" y="21"/>
                    </a:lnTo>
                    <a:lnTo>
                      <a:pt x="75" y="19"/>
                    </a:lnTo>
                    <a:lnTo>
                      <a:pt x="75" y="21"/>
                    </a:lnTo>
                    <a:lnTo>
                      <a:pt x="73" y="21"/>
                    </a:lnTo>
                    <a:lnTo>
                      <a:pt x="73" y="19"/>
                    </a:lnTo>
                    <a:lnTo>
                      <a:pt x="73" y="21"/>
                    </a:lnTo>
                    <a:lnTo>
                      <a:pt x="73" y="19"/>
                    </a:lnTo>
                    <a:lnTo>
                      <a:pt x="75" y="19"/>
                    </a:lnTo>
                    <a:close/>
                    <a:moveTo>
                      <a:pt x="92" y="29"/>
                    </a:moveTo>
                    <a:lnTo>
                      <a:pt x="94" y="29"/>
                    </a:lnTo>
                    <a:lnTo>
                      <a:pt x="94" y="31"/>
                    </a:lnTo>
                    <a:lnTo>
                      <a:pt x="94" y="29"/>
                    </a:lnTo>
                    <a:lnTo>
                      <a:pt x="94" y="31"/>
                    </a:lnTo>
                    <a:lnTo>
                      <a:pt x="92" y="31"/>
                    </a:lnTo>
                    <a:lnTo>
                      <a:pt x="90" y="31"/>
                    </a:lnTo>
                    <a:lnTo>
                      <a:pt x="92" y="31"/>
                    </a:lnTo>
                    <a:lnTo>
                      <a:pt x="92" y="29"/>
                    </a:lnTo>
                    <a:close/>
                    <a:moveTo>
                      <a:pt x="89" y="25"/>
                    </a:moveTo>
                    <a:lnTo>
                      <a:pt x="89" y="27"/>
                    </a:lnTo>
                    <a:lnTo>
                      <a:pt x="87" y="27"/>
                    </a:lnTo>
                    <a:lnTo>
                      <a:pt x="87" y="25"/>
                    </a:lnTo>
                    <a:lnTo>
                      <a:pt x="89" y="25"/>
                    </a:lnTo>
                    <a:close/>
                    <a:moveTo>
                      <a:pt x="79" y="15"/>
                    </a:moveTo>
                    <a:lnTo>
                      <a:pt x="79" y="17"/>
                    </a:lnTo>
                    <a:lnTo>
                      <a:pt x="79" y="15"/>
                    </a:lnTo>
                    <a:close/>
                    <a:moveTo>
                      <a:pt x="73" y="12"/>
                    </a:moveTo>
                    <a:lnTo>
                      <a:pt x="73" y="14"/>
                    </a:lnTo>
                    <a:lnTo>
                      <a:pt x="73" y="12"/>
                    </a:lnTo>
                    <a:lnTo>
                      <a:pt x="73" y="14"/>
                    </a:lnTo>
                    <a:lnTo>
                      <a:pt x="73" y="12"/>
                    </a:lnTo>
                    <a:close/>
                    <a:moveTo>
                      <a:pt x="77" y="14"/>
                    </a:moveTo>
                    <a:lnTo>
                      <a:pt x="77" y="15"/>
                    </a:lnTo>
                    <a:lnTo>
                      <a:pt x="77" y="17"/>
                    </a:lnTo>
                    <a:lnTo>
                      <a:pt x="75" y="17"/>
                    </a:lnTo>
                    <a:lnTo>
                      <a:pt x="75" y="19"/>
                    </a:lnTo>
                    <a:lnTo>
                      <a:pt x="75" y="17"/>
                    </a:lnTo>
                    <a:lnTo>
                      <a:pt x="75" y="19"/>
                    </a:lnTo>
                    <a:lnTo>
                      <a:pt x="77" y="17"/>
                    </a:lnTo>
                    <a:lnTo>
                      <a:pt x="77" y="19"/>
                    </a:lnTo>
                    <a:lnTo>
                      <a:pt x="79" y="19"/>
                    </a:lnTo>
                    <a:lnTo>
                      <a:pt x="77" y="19"/>
                    </a:lnTo>
                    <a:lnTo>
                      <a:pt x="79" y="19"/>
                    </a:lnTo>
                    <a:lnTo>
                      <a:pt x="77" y="19"/>
                    </a:lnTo>
                    <a:lnTo>
                      <a:pt x="79" y="19"/>
                    </a:lnTo>
                    <a:lnTo>
                      <a:pt x="77" y="19"/>
                    </a:lnTo>
                    <a:lnTo>
                      <a:pt x="79" y="19"/>
                    </a:lnTo>
                    <a:lnTo>
                      <a:pt x="79" y="17"/>
                    </a:lnTo>
                    <a:lnTo>
                      <a:pt x="79" y="19"/>
                    </a:lnTo>
                    <a:lnTo>
                      <a:pt x="81" y="19"/>
                    </a:lnTo>
                    <a:lnTo>
                      <a:pt x="79" y="19"/>
                    </a:lnTo>
                    <a:lnTo>
                      <a:pt x="79" y="21"/>
                    </a:lnTo>
                    <a:lnTo>
                      <a:pt x="79" y="19"/>
                    </a:lnTo>
                    <a:lnTo>
                      <a:pt x="79" y="21"/>
                    </a:lnTo>
                    <a:lnTo>
                      <a:pt x="77" y="21"/>
                    </a:lnTo>
                    <a:lnTo>
                      <a:pt x="77" y="23"/>
                    </a:lnTo>
                    <a:lnTo>
                      <a:pt x="77" y="25"/>
                    </a:lnTo>
                    <a:lnTo>
                      <a:pt x="75" y="25"/>
                    </a:lnTo>
                    <a:lnTo>
                      <a:pt x="75" y="23"/>
                    </a:lnTo>
                    <a:lnTo>
                      <a:pt x="75" y="21"/>
                    </a:lnTo>
                    <a:lnTo>
                      <a:pt x="75" y="23"/>
                    </a:lnTo>
                    <a:lnTo>
                      <a:pt x="75" y="21"/>
                    </a:lnTo>
                    <a:lnTo>
                      <a:pt x="75" y="19"/>
                    </a:lnTo>
                    <a:lnTo>
                      <a:pt x="73" y="19"/>
                    </a:lnTo>
                    <a:lnTo>
                      <a:pt x="73" y="17"/>
                    </a:lnTo>
                    <a:lnTo>
                      <a:pt x="75" y="17"/>
                    </a:lnTo>
                    <a:lnTo>
                      <a:pt x="75" y="15"/>
                    </a:lnTo>
                    <a:lnTo>
                      <a:pt x="77" y="15"/>
                    </a:lnTo>
                    <a:lnTo>
                      <a:pt x="77" y="14"/>
                    </a:lnTo>
                    <a:close/>
                    <a:moveTo>
                      <a:pt x="79" y="14"/>
                    </a:moveTo>
                    <a:lnTo>
                      <a:pt x="79" y="15"/>
                    </a:lnTo>
                    <a:lnTo>
                      <a:pt x="79" y="14"/>
                    </a:lnTo>
                    <a:close/>
                    <a:moveTo>
                      <a:pt x="75" y="12"/>
                    </a:moveTo>
                    <a:lnTo>
                      <a:pt x="75" y="14"/>
                    </a:lnTo>
                    <a:lnTo>
                      <a:pt x="75" y="12"/>
                    </a:lnTo>
                    <a:lnTo>
                      <a:pt x="73" y="12"/>
                    </a:lnTo>
                    <a:lnTo>
                      <a:pt x="75" y="12"/>
                    </a:lnTo>
                    <a:lnTo>
                      <a:pt x="73" y="12"/>
                    </a:lnTo>
                    <a:lnTo>
                      <a:pt x="75" y="12"/>
                    </a:lnTo>
                    <a:close/>
                    <a:moveTo>
                      <a:pt x="75" y="12"/>
                    </a:moveTo>
                    <a:lnTo>
                      <a:pt x="75" y="14"/>
                    </a:lnTo>
                    <a:lnTo>
                      <a:pt x="75" y="12"/>
                    </a:lnTo>
                    <a:close/>
                    <a:moveTo>
                      <a:pt x="79" y="10"/>
                    </a:moveTo>
                    <a:lnTo>
                      <a:pt x="79" y="8"/>
                    </a:lnTo>
                    <a:lnTo>
                      <a:pt x="79" y="10"/>
                    </a:lnTo>
                    <a:lnTo>
                      <a:pt x="79" y="8"/>
                    </a:lnTo>
                    <a:lnTo>
                      <a:pt x="79" y="10"/>
                    </a:lnTo>
                    <a:close/>
                    <a:moveTo>
                      <a:pt x="87" y="14"/>
                    </a:moveTo>
                    <a:lnTo>
                      <a:pt x="87" y="12"/>
                    </a:lnTo>
                    <a:lnTo>
                      <a:pt x="87" y="14"/>
                    </a:lnTo>
                    <a:lnTo>
                      <a:pt x="87" y="12"/>
                    </a:lnTo>
                    <a:lnTo>
                      <a:pt x="87" y="14"/>
                    </a:lnTo>
                    <a:close/>
                    <a:moveTo>
                      <a:pt x="94" y="8"/>
                    </a:moveTo>
                    <a:lnTo>
                      <a:pt x="94" y="10"/>
                    </a:lnTo>
                    <a:lnTo>
                      <a:pt x="94" y="8"/>
                    </a:lnTo>
                    <a:lnTo>
                      <a:pt x="94" y="10"/>
                    </a:lnTo>
                    <a:lnTo>
                      <a:pt x="94" y="8"/>
                    </a:lnTo>
                    <a:close/>
                    <a:moveTo>
                      <a:pt x="94" y="6"/>
                    </a:moveTo>
                    <a:lnTo>
                      <a:pt x="92" y="6"/>
                    </a:lnTo>
                    <a:lnTo>
                      <a:pt x="94" y="6"/>
                    </a:lnTo>
                    <a:lnTo>
                      <a:pt x="92" y="6"/>
                    </a:lnTo>
                    <a:lnTo>
                      <a:pt x="94" y="6"/>
                    </a:lnTo>
                    <a:close/>
                    <a:moveTo>
                      <a:pt x="92" y="4"/>
                    </a:moveTo>
                    <a:lnTo>
                      <a:pt x="92" y="6"/>
                    </a:lnTo>
                    <a:lnTo>
                      <a:pt x="92" y="4"/>
                    </a:lnTo>
                    <a:lnTo>
                      <a:pt x="92" y="6"/>
                    </a:lnTo>
                    <a:lnTo>
                      <a:pt x="92" y="4"/>
                    </a:lnTo>
                    <a:lnTo>
                      <a:pt x="92" y="6"/>
                    </a:lnTo>
                    <a:lnTo>
                      <a:pt x="92" y="4"/>
                    </a:lnTo>
                    <a:lnTo>
                      <a:pt x="90" y="4"/>
                    </a:lnTo>
                    <a:lnTo>
                      <a:pt x="92" y="4"/>
                    </a:lnTo>
                    <a:lnTo>
                      <a:pt x="90" y="4"/>
                    </a:lnTo>
                    <a:lnTo>
                      <a:pt x="90" y="2"/>
                    </a:lnTo>
                    <a:lnTo>
                      <a:pt x="92" y="2"/>
                    </a:lnTo>
                    <a:lnTo>
                      <a:pt x="92" y="4"/>
                    </a:lnTo>
                    <a:lnTo>
                      <a:pt x="90" y="4"/>
                    </a:lnTo>
                    <a:lnTo>
                      <a:pt x="92"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1" name="Freeform 16"/>
              <p:cNvSpPr>
                <a:spLocks noEditPoints="1"/>
              </p:cNvSpPr>
              <p:nvPr/>
            </p:nvSpPr>
            <p:spPr bwMode="auto">
              <a:xfrm>
                <a:off x="799373" y="3815271"/>
                <a:ext cx="158297" cy="72266"/>
              </a:xfrm>
              <a:custGeom>
                <a:avLst/>
                <a:gdLst>
                  <a:gd name="T0" fmla="*/ 21 w 92"/>
                  <a:gd name="T1" fmla="*/ 36 h 42"/>
                  <a:gd name="T2" fmla="*/ 19 w 92"/>
                  <a:gd name="T3" fmla="*/ 35 h 42"/>
                  <a:gd name="T4" fmla="*/ 16 w 92"/>
                  <a:gd name="T5" fmla="*/ 35 h 42"/>
                  <a:gd name="T6" fmla="*/ 17 w 92"/>
                  <a:gd name="T7" fmla="*/ 33 h 42"/>
                  <a:gd name="T8" fmla="*/ 19 w 92"/>
                  <a:gd name="T9" fmla="*/ 33 h 42"/>
                  <a:gd name="T10" fmla="*/ 21 w 92"/>
                  <a:gd name="T11" fmla="*/ 33 h 42"/>
                  <a:gd name="T12" fmla="*/ 19 w 92"/>
                  <a:gd name="T13" fmla="*/ 33 h 42"/>
                  <a:gd name="T14" fmla="*/ 6 w 92"/>
                  <a:gd name="T15" fmla="*/ 23 h 42"/>
                  <a:gd name="T16" fmla="*/ 21 w 92"/>
                  <a:gd name="T17" fmla="*/ 31 h 42"/>
                  <a:gd name="T18" fmla="*/ 25 w 92"/>
                  <a:gd name="T19" fmla="*/ 29 h 42"/>
                  <a:gd name="T20" fmla="*/ 25 w 92"/>
                  <a:gd name="T21" fmla="*/ 29 h 42"/>
                  <a:gd name="T22" fmla="*/ 25 w 92"/>
                  <a:gd name="T23" fmla="*/ 27 h 42"/>
                  <a:gd name="T24" fmla="*/ 33 w 92"/>
                  <a:gd name="T25" fmla="*/ 27 h 42"/>
                  <a:gd name="T26" fmla="*/ 35 w 92"/>
                  <a:gd name="T27" fmla="*/ 29 h 42"/>
                  <a:gd name="T28" fmla="*/ 39 w 92"/>
                  <a:gd name="T29" fmla="*/ 29 h 42"/>
                  <a:gd name="T30" fmla="*/ 25 w 92"/>
                  <a:gd name="T31" fmla="*/ 23 h 42"/>
                  <a:gd name="T32" fmla="*/ 27 w 92"/>
                  <a:gd name="T33" fmla="*/ 15 h 42"/>
                  <a:gd name="T34" fmla="*/ 29 w 92"/>
                  <a:gd name="T35" fmla="*/ 15 h 42"/>
                  <a:gd name="T36" fmla="*/ 31 w 92"/>
                  <a:gd name="T37" fmla="*/ 13 h 42"/>
                  <a:gd name="T38" fmla="*/ 58 w 92"/>
                  <a:gd name="T39" fmla="*/ 27 h 42"/>
                  <a:gd name="T40" fmla="*/ 60 w 92"/>
                  <a:gd name="T41" fmla="*/ 25 h 42"/>
                  <a:gd name="T42" fmla="*/ 60 w 92"/>
                  <a:gd name="T43" fmla="*/ 23 h 42"/>
                  <a:gd name="T44" fmla="*/ 62 w 92"/>
                  <a:gd name="T45" fmla="*/ 23 h 42"/>
                  <a:gd name="T46" fmla="*/ 62 w 92"/>
                  <a:gd name="T47" fmla="*/ 21 h 42"/>
                  <a:gd name="T48" fmla="*/ 64 w 92"/>
                  <a:gd name="T49" fmla="*/ 21 h 42"/>
                  <a:gd name="T50" fmla="*/ 62 w 92"/>
                  <a:gd name="T51" fmla="*/ 19 h 42"/>
                  <a:gd name="T52" fmla="*/ 62 w 92"/>
                  <a:gd name="T53" fmla="*/ 17 h 42"/>
                  <a:gd name="T54" fmla="*/ 64 w 92"/>
                  <a:gd name="T55" fmla="*/ 15 h 42"/>
                  <a:gd name="T56" fmla="*/ 64 w 92"/>
                  <a:gd name="T57" fmla="*/ 15 h 42"/>
                  <a:gd name="T58" fmla="*/ 64 w 92"/>
                  <a:gd name="T59" fmla="*/ 15 h 42"/>
                  <a:gd name="T60" fmla="*/ 64 w 92"/>
                  <a:gd name="T61" fmla="*/ 15 h 42"/>
                  <a:gd name="T62" fmla="*/ 75 w 92"/>
                  <a:gd name="T63" fmla="*/ 17 h 42"/>
                  <a:gd name="T64" fmla="*/ 75 w 92"/>
                  <a:gd name="T65" fmla="*/ 17 h 42"/>
                  <a:gd name="T66" fmla="*/ 79 w 92"/>
                  <a:gd name="T67" fmla="*/ 17 h 42"/>
                  <a:gd name="T68" fmla="*/ 79 w 92"/>
                  <a:gd name="T69" fmla="*/ 11 h 42"/>
                  <a:gd name="T70" fmla="*/ 75 w 92"/>
                  <a:gd name="T71" fmla="*/ 11 h 42"/>
                  <a:gd name="T72" fmla="*/ 85 w 92"/>
                  <a:gd name="T73" fmla="*/ 13 h 42"/>
                  <a:gd name="T74" fmla="*/ 73 w 92"/>
                  <a:gd name="T75" fmla="*/ 10 h 42"/>
                  <a:gd name="T76" fmla="*/ 73 w 92"/>
                  <a:gd name="T77" fmla="*/ 10 h 42"/>
                  <a:gd name="T78" fmla="*/ 75 w 92"/>
                  <a:gd name="T79" fmla="*/ 8 h 42"/>
                  <a:gd name="T80" fmla="*/ 75 w 92"/>
                  <a:gd name="T81" fmla="*/ 10 h 42"/>
                  <a:gd name="T82" fmla="*/ 73 w 92"/>
                  <a:gd name="T83" fmla="*/ 8 h 42"/>
                  <a:gd name="T84" fmla="*/ 73 w 92"/>
                  <a:gd name="T85" fmla="*/ 8 h 42"/>
                  <a:gd name="T86" fmla="*/ 75 w 92"/>
                  <a:gd name="T87" fmla="*/ 8 h 42"/>
                  <a:gd name="T88" fmla="*/ 77 w 92"/>
                  <a:gd name="T89" fmla="*/ 6 h 42"/>
                  <a:gd name="T90" fmla="*/ 77 w 92"/>
                  <a:gd name="T91" fmla="*/ 6 h 42"/>
                  <a:gd name="T92" fmla="*/ 77 w 92"/>
                  <a:gd name="T93" fmla="*/ 8 h 42"/>
                  <a:gd name="T94" fmla="*/ 87 w 92"/>
                  <a:gd name="T95" fmla="*/ 10 h 42"/>
                  <a:gd name="T96" fmla="*/ 90 w 92"/>
                  <a:gd name="T97" fmla="*/ 0 h 42"/>
                  <a:gd name="T98" fmla="*/ 92 w 92"/>
                  <a:gd name="T99"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42">
                    <a:moveTo>
                      <a:pt x="0" y="42"/>
                    </a:moveTo>
                    <a:lnTo>
                      <a:pt x="0" y="40"/>
                    </a:lnTo>
                    <a:lnTo>
                      <a:pt x="0" y="42"/>
                    </a:lnTo>
                    <a:close/>
                    <a:moveTo>
                      <a:pt x="21" y="36"/>
                    </a:moveTo>
                    <a:lnTo>
                      <a:pt x="19" y="36"/>
                    </a:lnTo>
                    <a:lnTo>
                      <a:pt x="21" y="36"/>
                    </a:lnTo>
                    <a:close/>
                    <a:moveTo>
                      <a:pt x="19" y="36"/>
                    </a:moveTo>
                    <a:lnTo>
                      <a:pt x="19" y="35"/>
                    </a:lnTo>
                    <a:lnTo>
                      <a:pt x="19" y="36"/>
                    </a:lnTo>
                    <a:close/>
                    <a:moveTo>
                      <a:pt x="16" y="35"/>
                    </a:moveTo>
                    <a:lnTo>
                      <a:pt x="16" y="33"/>
                    </a:lnTo>
                    <a:lnTo>
                      <a:pt x="16" y="35"/>
                    </a:lnTo>
                    <a:close/>
                    <a:moveTo>
                      <a:pt x="12" y="33"/>
                    </a:moveTo>
                    <a:lnTo>
                      <a:pt x="12" y="31"/>
                    </a:lnTo>
                    <a:lnTo>
                      <a:pt x="12" y="33"/>
                    </a:lnTo>
                    <a:close/>
                    <a:moveTo>
                      <a:pt x="17" y="33"/>
                    </a:moveTo>
                    <a:lnTo>
                      <a:pt x="16" y="35"/>
                    </a:lnTo>
                    <a:lnTo>
                      <a:pt x="16" y="33"/>
                    </a:lnTo>
                    <a:lnTo>
                      <a:pt x="17" y="33"/>
                    </a:lnTo>
                    <a:close/>
                    <a:moveTo>
                      <a:pt x="19" y="33"/>
                    </a:moveTo>
                    <a:lnTo>
                      <a:pt x="19" y="35"/>
                    </a:lnTo>
                    <a:lnTo>
                      <a:pt x="19" y="33"/>
                    </a:lnTo>
                    <a:close/>
                    <a:moveTo>
                      <a:pt x="21" y="35"/>
                    </a:moveTo>
                    <a:lnTo>
                      <a:pt x="21" y="33"/>
                    </a:lnTo>
                    <a:lnTo>
                      <a:pt x="21" y="35"/>
                    </a:lnTo>
                    <a:close/>
                    <a:moveTo>
                      <a:pt x="19" y="33"/>
                    </a:moveTo>
                    <a:lnTo>
                      <a:pt x="17" y="33"/>
                    </a:lnTo>
                    <a:lnTo>
                      <a:pt x="19" y="33"/>
                    </a:lnTo>
                    <a:close/>
                    <a:moveTo>
                      <a:pt x="6" y="23"/>
                    </a:moveTo>
                    <a:lnTo>
                      <a:pt x="6" y="21"/>
                    </a:lnTo>
                    <a:lnTo>
                      <a:pt x="6" y="23"/>
                    </a:lnTo>
                    <a:close/>
                    <a:moveTo>
                      <a:pt x="6" y="23"/>
                    </a:moveTo>
                    <a:lnTo>
                      <a:pt x="6" y="21"/>
                    </a:lnTo>
                    <a:lnTo>
                      <a:pt x="6" y="23"/>
                    </a:lnTo>
                    <a:close/>
                    <a:moveTo>
                      <a:pt x="21" y="29"/>
                    </a:moveTo>
                    <a:lnTo>
                      <a:pt x="21" y="31"/>
                    </a:lnTo>
                    <a:lnTo>
                      <a:pt x="19" y="31"/>
                    </a:lnTo>
                    <a:lnTo>
                      <a:pt x="19" y="29"/>
                    </a:lnTo>
                    <a:lnTo>
                      <a:pt x="21" y="29"/>
                    </a:lnTo>
                    <a:close/>
                    <a:moveTo>
                      <a:pt x="25" y="29"/>
                    </a:moveTo>
                    <a:lnTo>
                      <a:pt x="25" y="27"/>
                    </a:lnTo>
                    <a:lnTo>
                      <a:pt x="25" y="29"/>
                    </a:lnTo>
                    <a:close/>
                    <a:moveTo>
                      <a:pt x="25" y="27"/>
                    </a:moveTo>
                    <a:lnTo>
                      <a:pt x="25" y="29"/>
                    </a:lnTo>
                    <a:lnTo>
                      <a:pt x="25" y="27"/>
                    </a:lnTo>
                    <a:close/>
                    <a:moveTo>
                      <a:pt x="25" y="27"/>
                    </a:moveTo>
                    <a:lnTo>
                      <a:pt x="23" y="29"/>
                    </a:lnTo>
                    <a:lnTo>
                      <a:pt x="25" y="27"/>
                    </a:lnTo>
                    <a:close/>
                    <a:moveTo>
                      <a:pt x="33" y="31"/>
                    </a:moveTo>
                    <a:lnTo>
                      <a:pt x="31" y="31"/>
                    </a:lnTo>
                    <a:lnTo>
                      <a:pt x="33" y="31"/>
                    </a:lnTo>
                    <a:close/>
                    <a:moveTo>
                      <a:pt x="33" y="27"/>
                    </a:moveTo>
                    <a:lnTo>
                      <a:pt x="33" y="29"/>
                    </a:lnTo>
                    <a:lnTo>
                      <a:pt x="33" y="27"/>
                    </a:lnTo>
                    <a:close/>
                    <a:moveTo>
                      <a:pt x="37" y="29"/>
                    </a:moveTo>
                    <a:lnTo>
                      <a:pt x="35" y="29"/>
                    </a:lnTo>
                    <a:lnTo>
                      <a:pt x="37" y="29"/>
                    </a:lnTo>
                    <a:close/>
                    <a:moveTo>
                      <a:pt x="39" y="31"/>
                    </a:moveTo>
                    <a:lnTo>
                      <a:pt x="37" y="31"/>
                    </a:lnTo>
                    <a:lnTo>
                      <a:pt x="39" y="29"/>
                    </a:lnTo>
                    <a:lnTo>
                      <a:pt x="39" y="31"/>
                    </a:lnTo>
                    <a:close/>
                    <a:moveTo>
                      <a:pt x="25" y="23"/>
                    </a:moveTo>
                    <a:lnTo>
                      <a:pt x="25" y="21"/>
                    </a:lnTo>
                    <a:lnTo>
                      <a:pt x="25" y="23"/>
                    </a:lnTo>
                    <a:close/>
                    <a:moveTo>
                      <a:pt x="14" y="15"/>
                    </a:moveTo>
                    <a:lnTo>
                      <a:pt x="14" y="13"/>
                    </a:lnTo>
                    <a:lnTo>
                      <a:pt x="14" y="15"/>
                    </a:lnTo>
                    <a:close/>
                    <a:moveTo>
                      <a:pt x="27" y="15"/>
                    </a:moveTo>
                    <a:lnTo>
                      <a:pt x="27" y="17"/>
                    </a:lnTo>
                    <a:lnTo>
                      <a:pt x="27" y="15"/>
                    </a:lnTo>
                    <a:close/>
                    <a:moveTo>
                      <a:pt x="29" y="13"/>
                    </a:moveTo>
                    <a:lnTo>
                      <a:pt x="29" y="15"/>
                    </a:lnTo>
                    <a:lnTo>
                      <a:pt x="29" y="13"/>
                    </a:lnTo>
                    <a:close/>
                    <a:moveTo>
                      <a:pt x="29" y="15"/>
                    </a:moveTo>
                    <a:lnTo>
                      <a:pt x="29" y="13"/>
                    </a:lnTo>
                    <a:lnTo>
                      <a:pt x="31" y="13"/>
                    </a:lnTo>
                    <a:lnTo>
                      <a:pt x="29" y="15"/>
                    </a:lnTo>
                    <a:close/>
                    <a:moveTo>
                      <a:pt x="58" y="27"/>
                    </a:moveTo>
                    <a:lnTo>
                      <a:pt x="56" y="27"/>
                    </a:lnTo>
                    <a:lnTo>
                      <a:pt x="58" y="27"/>
                    </a:lnTo>
                    <a:close/>
                    <a:moveTo>
                      <a:pt x="39" y="15"/>
                    </a:moveTo>
                    <a:lnTo>
                      <a:pt x="37" y="15"/>
                    </a:lnTo>
                    <a:lnTo>
                      <a:pt x="39" y="15"/>
                    </a:lnTo>
                    <a:close/>
                    <a:moveTo>
                      <a:pt x="60" y="25"/>
                    </a:moveTo>
                    <a:lnTo>
                      <a:pt x="60" y="27"/>
                    </a:lnTo>
                    <a:lnTo>
                      <a:pt x="60" y="25"/>
                    </a:lnTo>
                    <a:close/>
                    <a:moveTo>
                      <a:pt x="60" y="25"/>
                    </a:moveTo>
                    <a:lnTo>
                      <a:pt x="60" y="23"/>
                    </a:lnTo>
                    <a:lnTo>
                      <a:pt x="60" y="25"/>
                    </a:lnTo>
                    <a:close/>
                    <a:moveTo>
                      <a:pt x="62" y="23"/>
                    </a:moveTo>
                    <a:lnTo>
                      <a:pt x="62" y="25"/>
                    </a:lnTo>
                    <a:lnTo>
                      <a:pt x="62" y="23"/>
                    </a:lnTo>
                    <a:close/>
                    <a:moveTo>
                      <a:pt x="62" y="23"/>
                    </a:moveTo>
                    <a:lnTo>
                      <a:pt x="62" y="25"/>
                    </a:lnTo>
                    <a:lnTo>
                      <a:pt x="62" y="23"/>
                    </a:lnTo>
                    <a:close/>
                    <a:moveTo>
                      <a:pt x="62" y="21"/>
                    </a:moveTo>
                    <a:lnTo>
                      <a:pt x="60" y="21"/>
                    </a:lnTo>
                    <a:lnTo>
                      <a:pt x="62" y="21"/>
                    </a:lnTo>
                    <a:close/>
                    <a:moveTo>
                      <a:pt x="64" y="19"/>
                    </a:moveTo>
                    <a:lnTo>
                      <a:pt x="64" y="21"/>
                    </a:lnTo>
                    <a:lnTo>
                      <a:pt x="64" y="19"/>
                    </a:lnTo>
                    <a:close/>
                    <a:moveTo>
                      <a:pt x="62" y="19"/>
                    </a:moveTo>
                    <a:lnTo>
                      <a:pt x="60" y="19"/>
                    </a:lnTo>
                    <a:lnTo>
                      <a:pt x="62" y="19"/>
                    </a:lnTo>
                    <a:close/>
                    <a:moveTo>
                      <a:pt x="64" y="17"/>
                    </a:moveTo>
                    <a:lnTo>
                      <a:pt x="64" y="19"/>
                    </a:lnTo>
                    <a:lnTo>
                      <a:pt x="64" y="17"/>
                    </a:lnTo>
                    <a:close/>
                    <a:moveTo>
                      <a:pt x="62" y="17"/>
                    </a:moveTo>
                    <a:lnTo>
                      <a:pt x="62" y="15"/>
                    </a:lnTo>
                    <a:lnTo>
                      <a:pt x="64" y="15"/>
                    </a:lnTo>
                    <a:lnTo>
                      <a:pt x="62" y="15"/>
                    </a:lnTo>
                    <a:lnTo>
                      <a:pt x="64" y="15"/>
                    </a:lnTo>
                    <a:lnTo>
                      <a:pt x="62" y="17"/>
                    </a:lnTo>
                    <a:close/>
                    <a:moveTo>
                      <a:pt x="64" y="15"/>
                    </a:moveTo>
                    <a:lnTo>
                      <a:pt x="65" y="15"/>
                    </a:lnTo>
                    <a:lnTo>
                      <a:pt x="64" y="15"/>
                    </a:lnTo>
                    <a:close/>
                    <a:moveTo>
                      <a:pt x="64" y="13"/>
                    </a:moveTo>
                    <a:lnTo>
                      <a:pt x="64" y="15"/>
                    </a:lnTo>
                    <a:lnTo>
                      <a:pt x="64" y="13"/>
                    </a:lnTo>
                    <a:lnTo>
                      <a:pt x="64" y="15"/>
                    </a:lnTo>
                    <a:lnTo>
                      <a:pt x="64" y="13"/>
                    </a:lnTo>
                    <a:close/>
                    <a:moveTo>
                      <a:pt x="64" y="15"/>
                    </a:moveTo>
                    <a:lnTo>
                      <a:pt x="64" y="13"/>
                    </a:lnTo>
                    <a:lnTo>
                      <a:pt x="64" y="15"/>
                    </a:lnTo>
                    <a:close/>
                    <a:moveTo>
                      <a:pt x="65" y="13"/>
                    </a:moveTo>
                    <a:lnTo>
                      <a:pt x="64" y="13"/>
                    </a:lnTo>
                    <a:lnTo>
                      <a:pt x="65" y="13"/>
                    </a:lnTo>
                    <a:close/>
                    <a:moveTo>
                      <a:pt x="75" y="17"/>
                    </a:moveTo>
                    <a:lnTo>
                      <a:pt x="75" y="19"/>
                    </a:lnTo>
                    <a:lnTo>
                      <a:pt x="75" y="17"/>
                    </a:lnTo>
                    <a:lnTo>
                      <a:pt x="75" y="19"/>
                    </a:lnTo>
                    <a:lnTo>
                      <a:pt x="75" y="17"/>
                    </a:lnTo>
                    <a:close/>
                    <a:moveTo>
                      <a:pt x="79" y="17"/>
                    </a:moveTo>
                    <a:lnTo>
                      <a:pt x="77" y="17"/>
                    </a:lnTo>
                    <a:lnTo>
                      <a:pt x="79" y="17"/>
                    </a:lnTo>
                    <a:close/>
                    <a:moveTo>
                      <a:pt x="79" y="17"/>
                    </a:moveTo>
                    <a:lnTo>
                      <a:pt x="79" y="15"/>
                    </a:lnTo>
                    <a:lnTo>
                      <a:pt x="79" y="17"/>
                    </a:lnTo>
                    <a:close/>
                    <a:moveTo>
                      <a:pt x="79" y="13"/>
                    </a:moveTo>
                    <a:lnTo>
                      <a:pt x="79" y="11"/>
                    </a:lnTo>
                    <a:lnTo>
                      <a:pt x="79" y="13"/>
                    </a:lnTo>
                    <a:close/>
                    <a:moveTo>
                      <a:pt x="75" y="11"/>
                    </a:moveTo>
                    <a:lnTo>
                      <a:pt x="75" y="10"/>
                    </a:lnTo>
                    <a:lnTo>
                      <a:pt x="75" y="11"/>
                    </a:lnTo>
                    <a:close/>
                    <a:moveTo>
                      <a:pt x="75" y="10"/>
                    </a:moveTo>
                    <a:lnTo>
                      <a:pt x="73" y="10"/>
                    </a:lnTo>
                    <a:lnTo>
                      <a:pt x="75" y="10"/>
                    </a:lnTo>
                    <a:close/>
                    <a:moveTo>
                      <a:pt x="85" y="13"/>
                    </a:moveTo>
                    <a:lnTo>
                      <a:pt x="85" y="15"/>
                    </a:lnTo>
                    <a:lnTo>
                      <a:pt x="83" y="15"/>
                    </a:lnTo>
                    <a:lnTo>
                      <a:pt x="85" y="13"/>
                    </a:lnTo>
                    <a:close/>
                    <a:moveTo>
                      <a:pt x="73" y="10"/>
                    </a:moveTo>
                    <a:lnTo>
                      <a:pt x="75" y="10"/>
                    </a:lnTo>
                    <a:lnTo>
                      <a:pt x="73" y="10"/>
                    </a:lnTo>
                    <a:close/>
                    <a:moveTo>
                      <a:pt x="75" y="10"/>
                    </a:moveTo>
                    <a:lnTo>
                      <a:pt x="73" y="10"/>
                    </a:lnTo>
                    <a:lnTo>
                      <a:pt x="75" y="10"/>
                    </a:lnTo>
                    <a:close/>
                    <a:moveTo>
                      <a:pt x="75" y="8"/>
                    </a:moveTo>
                    <a:lnTo>
                      <a:pt x="73" y="8"/>
                    </a:lnTo>
                    <a:lnTo>
                      <a:pt x="75" y="8"/>
                    </a:lnTo>
                    <a:close/>
                    <a:moveTo>
                      <a:pt x="75" y="10"/>
                    </a:moveTo>
                    <a:lnTo>
                      <a:pt x="73" y="10"/>
                    </a:lnTo>
                    <a:lnTo>
                      <a:pt x="75" y="8"/>
                    </a:lnTo>
                    <a:lnTo>
                      <a:pt x="75" y="10"/>
                    </a:lnTo>
                    <a:close/>
                    <a:moveTo>
                      <a:pt x="75" y="8"/>
                    </a:moveTo>
                    <a:lnTo>
                      <a:pt x="75" y="10"/>
                    </a:lnTo>
                    <a:lnTo>
                      <a:pt x="75" y="8"/>
                    </a:lnTo>
                    <a:close/>
                    <a:moveTo>
                      <a:pt x="73" y="8"/>
                    </a:moveTo>
                    <a:lnTo>
                      <a:pt x="73" y="6"/>
                    </a:lnTo>
                    <a:lnTo>
                      <a:pt x="73" y="8"/>
                    </a:lnTo>
                    <a:close/>
                    <a:moveTo>
                      <a:pt x="75" y="8"/>
                    </a:moveTo>
                    <a:lnTo>
                      <a:pt x="73" y="8"/>
                    </a:lnTo>
                    <a:lnTo>
                      <a:pt x="75" y="8"/>
                    </a:lnTo>
                    <a:close/>
                    <a:moveTo>
                      <a:pt x="75" y="8"/>
                    </a:moveTo>
                    <a:lnTo>
                      <a:pt x="77" y="8"/>
                    </a:lnTo>
                    <a:lnTo>
                      <a:pt x="75" y="8"/>
                    </a:lnTo>
                    <a:close/>
                    <a:moveTo>
                      <a:pt x="81" y="10"/>
                    </a:moveTo>
                    <a:lnTo>
                      <a:pt x="79" y="10"/>
                    </a:lnTo>
                    <a:lnTo>
                      <a:pt x="81" y="10"/>
                    </a:lnTo>
                    <a:close/>
                    <a:moveTo>
                      <a:pt x="77" y="6"/>
                    </a:moveTo>
                    <a:lnTo>
                      <a:pt x="77" y="8"/>
                    </a:lnTo>
                    <a:lnTo>
                      <a:pt x="77" y="6"/>
                    </a:lnTo>
                    <a:close/>
                    <a:moveTo>
                      <a:pt x="77" y="8"/>
                    </a:moveTo>
                    <a:lnTo>
                      <a:pt x="77" y="6"/>
                    </a:lnTo>
                    <a:lnTo>
                      <a:pt x="77" y="8"/>
                    </a:lnTo>
                    <a:close/>
                    <a:moveTo>
                      <a:pt x="77" y="8"/>
                    </a:moveTo>
                    <a:lnTo>
                      <a:pt x="77" y="6"/>
                    </a:lnTo>
                    <a:lnTo>
                      <a:pt x="77" y="8"/>
                    </a:lnTo>
                    <a:close/>
                    <a:moveTo>
                      <a:pt x="75" y="6"/>
                    </a:moveTo>
                    <a:lnTo>
                      <a:pt x="75" y="4"/>
                    </a:lnTo>
                    <a:lnTo>
                      <a:pt x="75" y="6"/>
                    </a:lnTo>
                    <a:close/>
                    <a:moveTo>
                      <a:pt x="87" y="10"/>
                    </a:moveTo>
                    <a:lnTo>
                      <a:pt x="87" y="8"/>
                    </a:lnTo>
                    <a:lnTo>
                      <a:pt x="87" y="10"/>
                    </a:lnTo>
                    <a:close/>
                    <a:moveTo>
                      <a:pt x="90" y="2"/>
                    </a:moveTo>
                    <a:lnTo>
                      <a:pt x="90" y="0"/>
                    </a:lnTo>
                    <a:lnTo>
                      <a:pt x="90" y="2"/>
                    </a:lnTo>
                    <a:close/>
                    <a:moveTo>
                      <a:pt x="92" y="2"/>
                    </a:moveTo>
                    <a:lnTo>
                      <a:pt x="92" y="0"/>
                    </a:lnTo>
                    <a:lnTo>
                      <a:pt x="92"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2" name="Freeform 17"/>
              <p:cNvSpPr>
                <a:spLocks/>
              </p:cNvSpPr>
              <p:nvPr/>
            </p:nvSpPr>
            <p:spPr bwMode="auto">
              <a:xfrm>
                <a:off x="436322" y="2865486"/>
                <a:ext cx="211638" cy="244329"/>
              </a:xfrm>
              <a:custGeom>
                <a:avLst/>
                <a:gdLst>
                  <a:gd name="T0" fmla="*/ 119 w 123"/>
                  <a:gd name="T1" fmla="*/ 46 h 142"/>
                  <a:gd name="T2" fmla="*/ 113 w 123"/>
                  <a:gd name="T3" fmla="*/ 52 h 142"/>
                  <a:gd name="T4" fmla="*/ 113 w 123"/>
                  <a:gd name="T5" fmla="*/ 58 h 142"/>
                  <a:gd name="T6" fmla="*/ 115 w 123"/>
                  <a:gd name="T7" fmla="*/ 66 h 142"/>
                  <a:gd name="T8" fmla="*/ 123 w 123"/>
                  <a:gd name="T9" fmla="*/ 67 h 142"/>
                  <a:gd name="T10" fmla="*/ 121 w 123"/>
                  <a:gd name="T11" fmla="*/ 75 h 142"/>
                  <a:gd name="T12" fmla="*/ 115 w 123"/>
                  <a:gd name="T13" fmla="*/ 75 h 142"/>
                  <a:gd name="T14" fmla="*/ 113 w 123"/>
                  <a:gd name="T15" fmla="*/ 83 h 142"/>
                  <a:gd name="T16" fmla="*/ 111 w 123"/>
                  <a:gd name="T17" fmla="*/ 89 h 142"/>
                  <a:gd name="T18" fmla="*/ 115 w 123"/>
                  <a:gd name="T19" fmla="*/ 96 h 142"/>
                  <a:gd name="T20" fmla="*/ 115 w 123"/>
                  <a:gd name="T21" fmla="*/ 98 h 142"/>
                  <a:gd name="T22" fmla="*/ 111 w 123"/>
                  <a:gd name="T23" fmla="*/ 104 h 142"/>
                  <a:gd name="T24" fmla="*/ 106 w 123"/>
                  <a:gd name="T25" fmla="*/ 108 h 142"/>
                  <a:gd name="T26" fmla="*/ 102 w 123"/>
                  <a:gd name="T27" fmla="*/ 117 h 142"/>
                  <a:gd name="T28" fmla="*/ 98 w 123"/>
                  <a:gd name="T29" fmla="*/ 127 h 142"/>
                  <a:gd name="T30" fmla="*/ 100 w 123"/>
                  <a:gd name="T31" fmla="*/ 131 h 142"/>
                  <a:gd name="T32" fmla="*/ 98 w 123"/>
                  <a:gd name="T33" fmla="*/ 137 h 142"/>
                  <a:gd name="T34" fmla="*/ 92 w 123"/>
                  <a:gd name="T35" fmla="*/ 140 h 142"/>
                  <a:gd name="T36" fmla="*/ 81 w 123"/>
                  <a:gd name="T37" fmla="*/ 142 h 142"/>
                  <a:gd name="T38" fmla="*/ 81 w 123"/>
                  <a:gd name="T39" fmla="*/ 135 h 142"/>
                  <a:gd name="T40" fmla="*/ 79 w 123"/>
                  <a:gd name="T41" fmla="*/ 127 h 142"/>
                  <a:gd name="T42" fmla="*/ 75 w 123"/>
                  <a:gd name="T43" fmla="*/ 125 h 142"/>
                  <a:gd name="T44" fmla="*/ 71 w 123"/>
                  <a:gd name="T45" fmla="*/ 119 h 142"/>
                  <a:gd name="T46" fmla="*/ 67 w 123"/>
                  <a:gd name="T47" fmla="*/ 110 h 142"/>
                  <a:gd name="T48" fmla="*/ 59 w 123"/>
                  <a:gd name="T49" fmla="*/ 117 h 142"/>
                  <a:gd name="T50" fmla="*/ 57 w 123"/>
                  <a:gd name="T51" fmla="*/ 108 h 142"/>
                  <a:gd name="T52" fmla="*/ 54 w 123"/>
                  <a:gd name="T53" fmla="*/ 96 h 142"/>
                  <a:gd name="T54" fmla="*/ 59 w 123"/>
                  <a:gd name="T55" fmla="*/ 85 h 142"/>
                  <a:gd name="T56" fmla="*/ 57 w 123"/>
                  <a:gd name="T57" fmla="*/ 75 h 142"/>
                  <a:gd name="T58" fmla="*/ 52 w 123"/>
                  <a:gd name="T59" fmla="*/ 73 h 142"/>
                  <a:gd name="T60" fmla="*/ 36 w 123"/>
                  <a:gd name="T61" fmla="*/ 69 h 142"/>
                  <a:gd name="T62" fmla="*/ 25 w 123"/>
                  <a:gd name="T63" fmla="*/ 71 h 142"/>
                  <a:gd name="T64" fmla="*/ 25 w 123"/>
                  <a:gd name="T65" fmla="*/ 64 h 142"/>
                  <a:gd name="T66" fmla="*/ 21 w 123"/>
                  <a:gd name="T67" fmla="*/ 60 h 142"/>
                  <a:gd name="T68" fmla="*/ 19 w 123"/>
                  <a:gd name="T69" fmla="*/ 56 h 142"/>
                  <a:gd name="T70" fmla="*/ 17 w 123"/>
                  <a:gd name="T71" fmla="*/ 46 h 142"/>
                  <a:gd name="T72" fmla="*/ 6 w 123"/>
                  <a:gd name="T73" fmla="*/ 42 h 142"/>
                  <a:gd name="T74" fmla="*/ 2 w 123"/>
                  <a:gd name="T75" fmla="*/ 35 h 142"/>
                  <a:gd name="T76" fmla="*/ 4 w 123"/>
                  <a:gd name="T77" fmla="*/ 23 h 142"/>
                  <a:gd name="T78" fmla="*/ 9 w 123"/>
                  <a:gd name="T79" fmla="*/ 17 h 142"/>
                  <a:gd name="T80" fmla="*/ 13 w 123"/>
                  <a:gd name="T81" fmla="*/ 10 h 142"/>
                  <a:gd name="T82" fmla="*/ 13 w 123"/>
                  <a:gd name="T83" fmla="*/ 4 h 142"/>
                  <a:gd name="T84" fmla="*/ 17 w 123"/>
                  <a:gd name="T85" fmla="*/ 4 h 142"/>
                  <a:gd name="T86" fmla="*/ 21 w 123"/>
                  <a:gd name="T87" fmla="*/ 10 h 142"/>
                  <a:gd name="T88" fmla="*/ 25 w 123"/>
                  <a:gd name="T89" fmla="*/ 10 h 142"/>
                  <a:gd name="T90" fmla="*/ 31 w 123"/>
                  <a:gd name="T91" fmla="*/ 12 h 142"/>
                  <a:gd name="T92" fmla="*/ 38 w 123"/>
                  <a:gd name="T93" fmla="*/ 6 h 142"/>
                  <a:gd name="T94" fmla="*/ 44 w 123"/>
                  <a:gd name="T95" fmla="*/ 6 h 142"/>
                  <a:gd name="T96" fmla="*/ 48 w 123"/>
                  <a:gd name="T97" fmla="*/ 12 h 142"/>
                  <a:gd name="T98" fmla="*/ 54 w 123"/>
                  <a:gd name="T99" fmla="*/ 16 h 142"/>
                  <a:gd name="T100" fmla="*/ 57 w 123"/>
                  <a:gd name="T101" fmla="*/ 19 h 142"/>
                  <a:gd name="T102" fmla="*/ 63 w 123"/>
                  <a:gd name="T103" fmla="*/ 19 h 142"/>
                  <a:gd name="T104" fmla="*/ 71 w 123"/>
                  <a:gd name="T105" fmla="*/ 21 h 142"/>
                  <a:gd name="T106" fmla="*/ 79 w 123"/>
                  <a:gd name="T107" fmla="*/ 21 h 142"/>
                  <a:gd name="T108" fmla="*/ 82 w 123"/>
                  <a:gd name="T109" fmla="*/ 17 h 142"/>
                  <a:gd name="T110" fmla="*/ 92 w 123"/>
                  <a:gd name="T111" fmla="*/ 19 h 142"/>
                  <a:gd name="T112" fmla="*/ 98 w 123"/>
                  <a:gd name="T113" fmla="*/ 23 h 142"/>
                  <a:gd name="T114" fmla="*/ 104 w 123"/>
                  <a:gd name="T115" fmla="*/ 25 h 142"/>
                  <a:gd name="T116" fmla="*/ 113 w 123"/>
                  <a:gd name="T117" fmla="*/ 29 h 142"/>
                  <a:gd name="T118" fmla="*/ 113 w 123"/>
                  <a:gd name="T119" fmla="*/ 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42">
                    <a:moveTo>
                      <a:pt x="117" y="42"/>
                    </a:moveTo>
                    <a:lnTo>
                      <a:pt x="117" y="44"/>
                    </a:lnTo>
                    <a:lnTo>
                      <a:pt x="119" y="44"/>
                    </a:lnTo>
                    <a:lnTo>
                      <a:pt x="121" y="44"/>
                    </a:lnTo>
                    <a:lnTo>
                      <a:pt x="119" y="46"/>
                    </a:lnTo>
                    <a:lnTo>
                      <a:pt x="121" y="46"/>
                    </a:lnTo>
                    <a:lnTo>
                      <a:pt x="119" y="46"/>
                    </a:lnTo>
                    <a:lnTo>
                      <a:pt x="119" y="48"/>
                    </a:lnTo>
                    <a:lnTo>
                      <a:pt x="119" y="50"/>
                    </a:lnTo>
                    <a:lnTo>
                      <a:pt x="119" y="52"/>
                    </a:lnTo>
                    <a:lnTo>
                      <a:pt x="119" y="54"/>
                    </a:lnTo>
                    <a:lnTo>
                      <a:pt x="117" y="54"/>
                    </a:lnTo>
                    <a:lnTo>
                      <a:pt x="115" y="52"/>
                    </a:lnTo>
                    <a:lnTo>
                      <a:pt x="113" y="52"/>
                    </a:lnTo>
                    <a:lnTo>
                      <a:pt x="113" y="54"/>
                    </a:lnTo>
                    <a:lnTo>
                      <a:pt x="113" y="56"/>
                    </a:lnTo>
                    <a:lnTo>
                      <a:pt x="113" y="54"/>
                    </a:lnTo>
                    <a:lnTo>
                      <a:pt x="113" y="56"/>
                    </a:lnTo>
                    <a:lnTo>
                      <a:pt x="111" y="56"/>
                    </a:lnTo>
                    <a:lnTo>
                      <a:pt x="111" y="58"/>
                    </a:lnTo>
                    <a:lnTo>
                      <a:pt x="113" y="58"/>
                    </a:lnTo>
                    <a:lnTo>
                      <a:pt x="115" y="58"/>
                    </a:lnTo>
                    <a:lnTo>
                      <a:pt x="115" y="60"/>
                    </a:lnTo>
                    <a:lnTo>
                      <a:pt x="113" y="60"/>
                    </a:lnTo>
                    <a:lnTo>
                      <a:pt x="115" y="62"/>
                    </a:lnTo>
                    <a:lnTo>
                      <a:pt x="113" y="62"/>
                    </a:lnTo>
                    <a:lnTo>
                      <a:pt x="115" y="64"/>
                    </a:lnTo>
                    <a:lnTo>
                      <a:pt x="115" y="66"/>
                    </a:lnTo>
                    <a:lnTo>
                      <a:pt x="117" y="66"/>
                    </a:lnTo>
                    <a:lnTo>
                      <a:pt x="119" y="66"/>
                    </a:lnTo>
                    <a:lnTo>
                      <a:pt x="119" y="64"/>
                    </a:lnTo>
                    <a:lnTo>
                      <a:pt x="121" y="64"/>
                    </a:lnTo>
                    <a:lnTo>
                      <a:pt x="123" y="64"/>
                    </a:lnTo>
                    <a:lnTo>
                      <a:pt x="123" y="66"/>
                    </a:lnTo>
                    <a:lnTo>
                      <a:pt x="123" y="67"/>
                    </a:lnTo>
                    <a:lnTo>
                      <a:pt x="123" y="69"/>
                    </a:lnTo>
                    <a:lnTo>
                      <a:pt x="121" y="69"/>
                    </a:lnTo>
                    <a:lnTo>
                      <a:pt x="121" y="71"/>
                    </a:lnTo>
                    <a:lnTo>
                      <a:pt x="121" y="73"/>
                    </a:lnTo>
                    <a:lnTo>
                      <a:pt x="119" y="73"/>
                    </a:lnTo>
                    <a:lnTo>
                      <a:pt x="121" y="73"/>
                    </a:lnTo>
                    <a:lnTo>
                      <a:pt x="121" y="75"/>
                    </a:lnTo>
                    <a:lnTo>
                      <a:pt x="119" y="75"/>
                    </a:lnTo>
                    <a:lnTo>
                      <a:pt x="119" y="77"/>
                    </a:lnTo>
                    <a:lnTo>
                      <a:pt x="119" y="75"/>
                    </a:lnTo>
                    <a:lnTo>
                      <a:pt x="117" y="75"/>
                    </a:lnTo>
                    <a:lnTo>
                      <a:pt x="117" y="73"/>
                    </a:lnTo>
                    <a:lnTo>
                      <a:pt x="115" y="73"/>
                    </a:lnTo>
                    <a:lnTo>
                      <a:pt x="115" y="75"/>
                    </a:lnTo>
                    <a:lnTo>
                      <a:pt x="113" y="75"/>
                    </a:lnTo>
                    <a:lnTo>
                      <a:pt x="113" y="77"/>
                    </a:lnTo>
                    <a:lnTo>
                      <a:pt x="111" y="77"/>
                    </a:lnTo>
                    <a:lnTo>
                      <a:pt x="111" y="79"/>
                    </a:lnTo>
                    <a:lnTo>
                      <a:pt x="111" y="81"/>
                    </a:lnTo>
                    <a:lnTo>
                      <a:pt x="113" y="81"/>
                    </a:lnTo>
                    <a:lnTo>
                      <a:pt x="113" y="83"/>
                    </a:lnTo>
                    <a:lnTo>
                      <a:pt x="111" y="83"/>
                    </a:lnTo>
                    <a:lnTo>
                      <a:pt x="109" y="85"/>
                    </a:lnTo>
                    <a:lnTo>
                      <a:pt x="109" y="87"/>
                    </a:lnTo>
                    <a:lnTo>
                      <a:pt x="111" y="85"/>
                    </a:lnTo>
                    <a:lnTo>
                      <a:pt x="111" y="87"/>
                    </a:lnTo>
                    <a:lnTo>
                      <a:pt x="113" y="87"/>
                    </a:lnTo>
                    <a:lnTo>
                      <a:pt x="111" y="89"/>
                    </a:lnTo>
                    <a:lnTo>
                      <a:pt x="113" y="89"/>
                    </a:lnTo>
                    <a:lnTo>
                      <a:pt x="113" y="90"/>
                    </a:lnTo>
                    <a:lnTo>
                      <a:pt x="115" y="90"/>
                    </a:lnTo>
                    <a:lnTo>
                      <a:pt x="113" y="90"/>
                    </a:lnTo>
                    <a:lnTo>
                      <a:pt x="113" y="92"/>
                    </a:lnTo>
                    <a:lnTo>
                      <a:pt x="115" y="94"/>
                    </a:lnTo>
                    <a:lnTo>
                      <a:pt x="115" y="96"/>
                    </a:lnTo>
                    <a:lnTo>
                      <a:pt x="117" y="96"/>
                    </a:lnTo>
                    <a:lnTo>
                      <a:pt x="117" y="98"/>
                    </a:lnTo>
                    <a:lnTo>
                      <a:pt x="115" y="98"/>
                    </a:lnTo>
                    <a:lnTo>
                      <a:pt x="115" y="96"/>
                    </a:lnTo>
                    <a:lnTo>
                      <a:pt x="113" y="96"/>
                    </a:lnTo>
                    <a:lnTo>
                      <a:pt x="115" y="96"/>
                    </a:lnTo>
                    <a:lnTo>
                      <a:pt x="115" y="98"/>
                    </a:lnTo>
                    <a:lnTo>
                      <a:pt x="113" y="98"/>
                    </a:lnTo>
                    <a:lnTo>
                      <a:pt x="113" y="100"/>
                    </a:lnTo>
                    <a:lnTo>
                      <a:pt x="113" y="102"/>
                    </a:lnTo>
                    <a:lnTo>
                      <a:pt x="111" y="102"/>
                    </a:lnTo>
                    <a:lnTo>
                      <a:pt x="113" y="102"/>
                    </a:lnTo>
                    <a:lnTo>
                      <a:pt x="113" y="104"/>
                    </a:lnTo>
                    <a:lnTo>
                      <a:pt x="111" y="104"/>
                    </a:lnTo>
                    <a:lnTo>
                      <a:pt x="109" y="104"/>
                    </a:lnTo>
                    <a:lnTo>
                      <a:pt x="109" y="106"/>
                    </a:lnTo>
                    <a:lnTo>
                      <a:pt x="109" y="104"/>
                    </a:lnTo>
                    <a:lnTo>
                      <a:pt x="107" y="104"/>
                    </a:lnTo>
                    <a:lnTo>
                      <a:pt x="107" y="106"/>
                    </a:lnTo>
                    <a:lnTo>
                      <a:pt x="106" y="106"/>
                    </a:lnTo>
                    <a:lnTo>
                      <a:pt x="106" y="108"/>
                    </a:lnTo>
                    <a:lnTo>
                      <a:pt x="106" y="110"/>
                    </a:lnTo>
                    <a:lnTo>
                      <a:pt x="106" y="112"/>
                    </a:lnTo>
                    <a:lnTo>
                      <a:pt x="106" y="114"/>
                    </a:lnTo>
                    <a:lnTo>
                      <a:pt x="104" y="114"/>
                    </a:lnTo>
                    <a:lnTo>
                      <a:pt x="102" y="114"/>
                    </a:lnTo>
                    <a:lnTo>
                      <a:pt x="102" y="115"/>
                    </a:lnTo>
                    <a:lnTo>
                      <a:pt x="102" y="117"/>
                    </a:lnTo>
                    <a:lnTo>
                      <a:pt x="104" y="117"/>
                    </a:lnTo>
                    <a:lnTo>
                      <a:pt x="102" y="119"/>
                    </a:lnTo>
                    <a:lnTo>
                      <a:pt x="102" y="121"/>
                    </a:lnTo>
                    <a:lnTo>
                      <a:pt x="100" y="123"/>
                    </a:lnTo>
                    <a:lnTo>
                      <a:pt x="100" y="125"/>
                    </a:lnTo>
                    <a:lnTo>
                      <a:pt x="100" y="127"/>
                    </a:lnTo>
                    <a:lnTo>
                      <a:pt x="98" y="127"/>
                    </a:lnTo>
                    <a:lnTo>
                      <a:pt x="100" y="129"/>
                    </a:lnTo>
                    <a:lnTo>
                      <a:pt x="98" y="129"/>
                    </a:lnTo>
                    <a:lnTo>
                      <a:pt x="100" y="131"/>
                    </a:lnTo>
                    <a:lnTo>
                      <a:pt x="102" y="131"/>
                    </a:lnTo>
                    <a:lnTo>
                      <a:pt x="100" y="131"/>
                    </a:lnTo>
                    <a:lnTo>
                      <a:pt x="102" y="131"/>
                    </a:lnTo>
                    <a:lnTo>
                      <a:pt x="100" y="131"/>
                    </a:lnTo>
                    <a:lnTo>
                      <a:pt x="100" y="133"/>
                    </a:lnTo>
                    <a:lnTo>
                      <a:pt x="98" y="133"/>
                    </a:lnTo>
                    <a:lnTo>
                      <a:pt x="100" y="133"/>
                    </a:lnTo>
                    <a:lnTo>
                      <a:pt x="98" y="133"/>
                    </a:lnTo>
                    <a:lnTo>
                      <a:pt x="98" y="135"/>
                    </a:lnTo>
                    <a:lnTo>
                      <a:pt x="100" y="135"/>
                    </a:lnTo>
                    <a:lnTo>
                      <a:pt x="98" y="137"/>
                    </a:lnTo>
                    <a:lnTo>
                      <a:pt x="96" y="137"/>
                    </a:lnTo>
                    <a:lnTo>
                      <a:pt x="94" y="137"/>
                    </a:lnTo>
                    <a:lnTo>
                      <a:pt x="94" y="139"/>
                    </a:lnTo>
                    <a:lnTo>
                      <a:pt x="92" y="139"/>
                    </a:lnTo>
                    <a:lnTo>
                      <a:pt x="94" y="139"/>
                    </a:lnTo>
                    <a:lnTo>
                      <a:pt x="94" y="140"/>
                    </a:lnTo>
                    <a:lnTo>
                      <a:pt x="92" y="140"/>
                    </a:lnTo>
                    <a:lnTo>
                      <a:pt x="90" y="142"/>
                    </a:lnTo>
                    <a:lnTo>
                      <a:pt x="90" y="140"/>
                    </a:lnTo>
                    <a:lnTo>
                      <a:pt x="88" y="142"/>
                    </a:lnTo>
                    <a:lnTo>
                      <a:pt x="86" y="142"/>
                    </a:lnTo>
                    <a:lnTo>
                      <a:pt x="84" y="142"/>
                    </a:lnTo>
                    <a:lnTo>
                      <a:pt x="82" y="142"/>
                    </a:lnTo>
                    <a:lnTo>
                      <a:pt x="81" y="142"/>
                    </a:lnTo>
                    <a:lnTo>
                      <a:pt x="81" y="140"/>
                    </a:lnTo>
                    <a:lnTo>
                      <a:pt x="81" y="139"/>
                    </a:lnTo>
                    <a:lnTo>
                      <a:pt x="82" y="139"/>
                    </a:lnTo>
                    <a:lnTo>
                      <a:pt x="81" y="139"/>
                    </a:lnTo>
                    <a:lnTo>
                      <a:pt x="81" y="137"/>
                    </a:lnTo>
                    <a:lnTo>
                      <a:pt x="79" y="137"/>
                    </a:lnTo>
                    <a:lnTo>
                      <a:pt x="81" y="135"/>
                    </a:lnTo>
                    <a:lnTo>
                      <a:pt x="79" y="135"/>
                    </a:lnTo>
                    <a:lnTo>
                      <a:pt x="79" y="133"/>
                    </a:lnTo>
                    <a:lnTo>
                      <a:pt x="77" y="133"/>
                    </a:lnTo>
                    <a:lnTo>
                      <a:pt x="77" y="131"/>
                    </a:lnTo>
                    <a:lnTo>
                      <a:pt x="79" y="131"/>
                    </a:lnTo>
                    <a:lnTo>
                      <a:pt x="77" y="129"/>
                    </a:lnTo>
                    <a:lnTo>
                      <a:pt x="79" y="127"/>
                    </a:lnTo>
                    <a:lnTo>
                      <a:pt x="81" y="127"/>
                    </a:lnTo>
                    <a:lnTo>
                      <a:pt x="81" y="125"/>
                    </a:lnTo>
                    <a:lnTo>
                      <a:pt x="79" y="125"/>
                    </a:lnTo>
                    <a:lnTo>
                      <a:pt x="79" y="127"/>
                    </a:lnTo>
                    <a:lnTo>
                      <a:pt x="77" y="127"/>
                    </a:lnTo>
                    <a:lnTo>
                      <a:pt x="77" y="125"/>
                    </a:lnTo>
                    <a:lnTo>
                      <a:pt x="75" y="125"/>
                    </a:lnTo>
                    <a:lnTo>
                      <a:pt x="73" y="125"/>
                    </a:lnTo>
                    <a:lnTo>
                      <a:pt x="73" y="123"/>
                    </a:lnTo>
                    <a:lnTo>
                      <a:pt x="73" y="121"/>
                    </a:lnTo>
                    <a:lnTo>
                      <a:pt x="73" y="119"/>
                    </a:lnTo>
                    <a:lnTo>
                      <a:pt x="71" y="119"/>
                    </a:lnTo>
                    <a:lnTo>
                      <a:pt x="71" y="121"/>
                    </a:lnTo>
                    <a:lnTo>
                      <a:pt x="71" y="119"/>
                    </a:lnTo>
                    <a:lnTo>
                      <a:pt x="69" y="117"/>
                    </a:lnTo>
                    <a:lnTo>
                      <a:pt x="71" y="117"/>
                    </a:lnTo>
                    <a:lnTo>
                      <a:pt x="71" y="115"/>
                    </a:lnTo>
                    <a:lnTo>
                      <a:pt x="71" y="114"/>
                    </a:lnTo>
                    <a:lnTo>
                      <a:pt x="71" y="112"/>
                    </a:lnTo>
                    <a:lnTo>
                      <a:pt x="69" y="112"/>
                    </a:lnTo>
                    <a:lnTo>
                      <a:pt x="67" y="110"/>
                    </a:lnTo>
                    <a:lnTo>
                      <a:pt x="67" y="112"/>
                    </a:lnTo>
                    <a:lnTo>
                      <a:pt x="65" y="112"/>
                    </a:lnTo>
                    <a:lnTo>
                      <a:pt x="65" y="114"/>
                    </a:lnTo>
                    <a:lnTo>
                      <a:pt x="65" y="117"/>
                    </a:lnTo>
                    <a:lnTo>
                      <a:pt x="63" y="117"/>
                    </a:lnTo>
                    <a:lnTo>
                      <a:pt x="61" y="117"/>
                    </a:lnTo>
                    <a:lnTo>
                      <a:pt x="59" y="117"/>
                    </a:lnTo>
                    <a:lnTo>
                      <a:pt x="57" y="117"/>
                    </a:lnTo>
                    <a:lnTo>
                      <a:pt x="56" y="117"/>
                    </a:lnTo>
                    <a:lnTo>
                      <a:pt x="57" y="115"/>
                    </a:lnTo>
                    <a:lnTo>
                      <a:pt x="57" y="114"/>
                    </a:lnTo>
                    <a:lnTo>
                      <a:pt x="57" y="112"/>
                    </a:lnTo>
                    <a:lnTo>
                      <a:pt x="57" y="110"/>
                    </a:lnTo>
                    <a:lnTo>
                      <a:pt x="57" y="108"/>
                    </a:lnTo>
                    <a:lnTo>
                      <a:pt x="57" y="106"/>
                    </a:lnTo>
                    <a:lnTo>
                      <a:pt x="56" y="106"/>
                    </a:lnTo>
                    <a:lnTo>
                      <a:pt x="56" y="104"/>
                    </a:lnTo>
                    <a:lnTo>
                      <a:pt x="56" y="102"/>
                    </a:lnTo>
                    <a:lnTo>
                      <a:pt x="54" y="102"/>
                    </a:lnTo>
                    <a:lnTo>
                      <a:pt x="54" y="100"/>
                    </a:lnTo>
                    <a:lnTo>
                      <a:pt x="54" y="96"/>
                    </a:lnTo>
                    <a:lnTo>
                      <a:pt x="54" y="94"/>
                    </a:lnTo>
                    <a:lnTo>
                      <a:pt x="56" y="92"/>
                    </a:lnTo>
                    <a:lnTo>
                      <a:pt x="56" y="90"/>
                    </a:lnTo>
                    <a:lnTo>
                      <a:pt x="57" y="89"/>
                    </a:lnTo>
                    <a:lnTo>
                      <a:pt x="57" y="87"/>
                    </a:lnTo>
                    <a:lnTo>
                      <a:pt x="59" y="87"/>
                    </a:lnTo>
                    <a:lnTo>
                      <a:pt x="59" y="85"/>
                    </a:lnTo>
                    <a:lnTo>
                      <a:pt x="57" y="85"/>
                    </a:lnTo>
                    <a:lnTo>
                      <a:pt x="57" y="83"/>
                    </a:lnTo>
                    <a:lnTo>
                      <a:pt x="56" y="83"/>
                    </a:lnTo>
                    <a:lnTo>
                      <a:pt x="57" y="81"/>
                    </a:lnTo>
                    <a:lnTo>
                      <a:pt x="56" y="81"/>
                    </a:lnTo>
                    <a:lnTo>
                      <a:pt x="56" y="79"/>
                    </a:lnTo>
                    <a:lnTo>
                      <a:pt x="57" y="75"/>
                    </a:lnTo>
                    <a:lnTo>
                      <a:pt x="59" y="75"/>
                    </a:lnTo>
                    <a:lnTo>
                      <a:pt x="59" y="73"/>
                    </a:lnTo>
                    <a:lnTo>
                      <a:pt x="57" y="73"/>
                    </a:lnTo>
                    <a:lnTo>
                      <a:pt x="57" y="75"/>
                    </a:lnTo>
                    <a:lnTo>
                      <a:pt x="56" y="73"/>
                    </a:lnTo>
                    <a:lnTo>
                      <a:pt x="54" y="73"/>
                    </a:lnTo>
                    <a:lnTo>
                      <a:pt x="52" y="73"/>
                    </a:lnTo>
                    <a:lnTo>
                      <a:pt x="50" y="73"/>
                    </a:lnTo>
                    <a:lnTo>
                      <a:pt x="48" y="73"/>
                    </a:lnTo>
                    <a:lnTo>
                      <a:pt x="46" y="73"/>
                    </a:lnTo>
                    <a:lnTo>
                      <a:pt x="44" y="73"/>
                    </a:lnTo>
                    <a:lnTo>
                      <a:pt x="42" y="71"/>
                    </a:lnTo>
                    <a:lnTo>
                      <a:pt x="38" y="69"/>
                    </a:lnTo>
                    <a:lnTo>
                      <a:pt x="36" y="69"/>
                    </a:lnTo>
                    <a:lnTo>
                      <a:pt x="34" y="69"/>
                    </a:lnTo>
                    <a:lnTo>
                      <a:pt x="33" y="69"/>
                    </a:lnTo>
                    <a:lnTo>
                      <a:pt x="31" y="69"/>
                    </a:lnTo>
                    <a:lnTo>
                      <a:pt x="29" y="69"/>
                    </a:lnTo>
                    <a:lnTo>
                      <a:pt x="27" y="69"/>
                    </a:lnTo>
                    <a:lnTo>
                      <a:pt x="27" y="71"/>
                    </a:lnTo>
                    <a:lnTo>
                      <a:pt x="25" y="71"/>
                    </a:lnTo>
                    <a:lnTo>
                      <a:pt x="25" y="69"/>
                    </a:lnTo>
                    <a:lnTo>
                      <a:pt x="23" y="67"/>
                    </a:lnTo>
                    <a:lnTo>
                      <a:pt x="25" y="67"/>
                    </a:lnTo>
                    <a:lnTo>
                      <a:pt x="25" y="66"/>
                    </a:lnTo>
                    <a:lnTo>
                      <a:pt x="27" y="66"/>
                    </a:lnTo>
                    <a:lnTo>
                      <a:pt x="25" y="66"/>
                    </a:lnTo>
                    <a:lnTo>
                      <a:pt x="25" y="64"/>
                    </a:lnTo>
                    <a:lnTo>
                      <a:pt x="23" y="64"/>
                    </a:lnTo>
                    <a:lnTo>
                      <a:pt x="25" y="62"/>
                    </a:lnTo>
                    <a:lnTo>
                      <a:pt x="23" y="62"/>
                    </a:lnTo>
                    <a:lnTo>
                      <a:pt x="23" y="60"/>
                    </a:lnTo>
                    <a:lnTo>
                      <a:pt x="21" y="60"/>
                    </a:lnTo>
                    <a:lnTo>
                      <a:pt x="21" y="62"/>
                    </a:lnTo>
                    <a:lnTo>
                      <a:pt x="21" y="60"/>
                    </a:lnTo>
                    <a:lnTo>
                      <a:pt x="21" y="62"/>
                    </a:lnTo>
                    <a:lnTo>
                      <a:pt x="19" y="62"/>
                    </a:lnTo>
                    <a:lnTo>
                      <a:pt x="19" y="60"/>
                    </a:lnTo>
                    <a:lnTo>
                      <a:pt x="17" y="60"/>
                    </a:lnTo>
                    <a:lnTo>
                      <a:pt x="17" y="58"/>
                    </a:lnTo>
                    <a:lnTo>
                      <a:pt x="19" y="58"/>
                    </a:lnTo>
                    <a:lnTo>
                      <a:pt x="19" y="56"/>
                    </a:lnTo>
                    <a:lnTo>
                      <a:pt x="19" y="54"/>
                    </a:lnTo>
                    <a:lnTo>
                      <a:pt x="19" y="52"/>
                    </a:lnTo>
                    <a:lnTo>
                      <a:pt x="19" y="50"/>
                    </a:lnTo>
                    <a:lnTo>
                      <a:pt x="17" y="50"/>
                    </a:lnTo>
                    <a:lnTo>
                      <a:pt x="19" y="48"/>
                    </a:lnTo>
                    <a:lnTo>
                      <a:pt x="17" y="48"/>
                    </a:lnTo>
                    <a:lnTo>
                      <a:pt x="17" y="46"/>
                    </a:lnTo>
                    <a:lnTo>
                      <a:pt x="15" y="44"/>
                    </a:lnTo>
                    <a:lnTo>
                      <a:pt x="13" y="44"/>
                    </a:lnTo>
                    <a:lnTo>
                      <a:pt x="11" y="44"/>
                    </a:lnTo>
                    <a:lnTo>
                      <a:pt x="11" y="42"/>
                    </a:lnTo>
                    <a:lnTo>
                      <a:pt x="9" y="42"/>
                    </a:lnTo>
                    <a:lnTo>
                      <a:pt x="8" y="42"/>
                    </a:lnTo>
                    <a:lnTo>
                      <a:pt x="6" y="42"/>
                    </a:lnTo>
                    <a:lnTo>
                      <a:pt x="4" y="44"/>
                    </a:lnTo>
                    <a:lnTo>
                      <a:pt x="2" y="42"/>
                    </a:lnTo>
                    <a:lnTo>
                      <a:pt x="0" y="42"/>
                    </a:lnTo>
                    <a:lnTo>
                      <a:pt x="0" y="41"/>
                    </a:lnTo>
                    <a:lnTo>
                      <a:pt x="0" y="39"/>
                    </a:lnTo>
                    <a:lnTo>
                      <a:pt x="2" y="37"/>
                    </a:lnTo>
                    <a:lnTo>
                      <a:pt x="2" y="35"/>
                    </a:lnTo>
                    <a:lnTo>
                      <a:pt x="0" y="33"/>
                    </a:lnTo>
                    <a:lnTo>
                      <a:pt x="0" y="31"/>
                    </a:lnTo>
                    <a:lnTo>
                      <a:pt x="0" y="29"/>
                    </a:lnTo>
                    <a:lnTo>
                      <a:pt x="2" y="27"/>
                    </a:lnTo>
                    <a:lnTo>
                      <a:pt x="2" y="25"/>
                    </a:lnTo>
                    <a:lnTo>
                      <a:pt x="2" y="23"/>
                    </a:lnTo>
                    <a:lnTo>
                      <a:pt x="4" y="23"/>
                    </a:lnTo>
                    <a:lnTo>
                      <a:pt x="4" y="21"/>
                    </a:lnTo>
                    <a:lnTo>
                      <a:pt x="4" y="19"/>
                    </a:lnTo>
                    <a:lnTo>
                      <a:pt x="6" y="21"/>
                    </a:lnTo>
                    <a:lnTo>
                      <a:pt x="8" y="21"/>
                    </a:lnTo>
                    <a:lnTo>
                      <a:pt x="8" y="19"/>
                    </a:lnTo>
                    <a:lnTo>
                      <a:pt x="9" y="19"/>
                    </a:lnTo>
                    <a:lnTo>
                      <a:pt x="9" y="17"/>
                    </a:lnTo>
                    <a:lnTo>
                      <a:pt x="9" y="16"/>
                    </a:lnTo>
                    <a:lnTo>
                      <a:pt x="11" y="16"/>
                    </a:lnTo>
                    <a:lnTo>
                      <a:pt x="11" y="14"/>
                    </a:lnTo>
                    <a:lnTo>
                      <a:pt x="9" y="12"/>
                    </a:lnTo>
                    <a:lnTo>
                      <a:pt x="11" y="12"/>
                    </a:lnTo>
                    <a:lnTo>
                      <a:pt x="11" y="10"/>
                    </a:lnTo>
                    <a:lnTo>
                      <a:pt x="13" y="10"/>
                    </a:lnTo>
                    <a:lnTo>
                      <a:pt x="13" y="8"/>
                    </a:lnTo>
                    <a:lnTo>
                      <a:pt x="11" y="8"/>
                    </a:lnTo>
                    <a:lnTo>
                      <a:pt x="13" y="8"/>
                    </a:lnTo>
                    <a:lnTo>
                      <a:pt x="13" y="6"/>
                    </a:lnTo>
                    <a:lnTo>
                      <a:pt x="15" y="6"/>
                    </a:lnTo>
                    <a:lnTo>
                      <a:pt x="15" y="4"/>
                    </a:lnTo>
                    <a:lnTo>
                      <a:pt x="13" y="4"/>
                    </a:lnTo>
                    <a:lnTo>
                      <a:pt x="15" y="4"/>
                    </a:lnTo>
                    <a:lnTo>
                      <a:pt x="13" y="2"/>
                    </a:lnTo>
                    <a:lnTo>
                      <a:pt x="15" y="2"/>
                    </a:lnTo>
                    <a:lnTo>
                      <a:pt x="15" y="0"/>
                    </a:lnTo>
                    <a:lnTo>
                      <a:pt x="15" y="2"/>
                    </a:lnTo>
                    <a:lnTo>
                      <a:pt x="17" y="2"/>
                    </a:lnTo>
                    <a:lnTo>
                      <a:pt x="17" y="4"/>
                    </a:lnTo>
                    <a:lnTo>
                      <a:pt x="17" y="6"/>
                    </a:lnTo>
                    <a:lnTo>
                      <a:pt x="19" y="6"/>
                    </a:lnTo>
                    <a:lnTo>
                      <a:pt x="19" y="8"/>
                    </a:lnTo>
                    <a:lnTo>
                      <a:pt x="17" y="8"/>
                    </a:lnTo>
                    <a:lnTo>
                      <a:pt x="19" y="8"/>
                    </a:lnTo>
                    <a:lnTo>
                      <a:pt x="19" y="10"/>
                    </a:lnTo>
                    <a:lnTo>
                      <a:pt x="21" y="10"/>
                    </a:lnTo>
                    <a:lnTo>
                      <a:pt x="21" y="8"/>
                    </a:lnTo>
                    <a:lnTo>
                      <a:pt x="23" y="8"/>
                    </a:lnTo>
                    <a:lnTo>
                      <a:pt x="23" y="10"/>
                    </a:lnTo>
                    <a:lnTo>
                      <a:pt x="23" y="12"/>
                    </a:lnTo>
                    <a:lnTo>
                      <a:pt x="25" y="10"/>
                    </a:lnTo>
                    <a:lnTo>
                      <a:pt x="25" y="12"/>
                    </a:lnTo>
                    <a:lnTo>
                      <a:pt x="25" y="10"/>
                    </a:lnTo>
                    <a:lnTo>
                      <a:pt x="27" y="8"/>
                    </a:lnTo>
                    <a:lnTo>
                      <a:pt x="29" y="10"/>
                    </a:lnTo>
                    <a:lnTo>
                      <a:pt x="27" y="12"/>
                    </a:lnTo>
                    <a:lnTo>
                      <a:pt x="29" y="12"/>
                    </a:lnTo>
                    <a:lnTo>
                      <a:pt x="29" y="14"/>
                    </a:lnTo>
                    <a:lnTo>
                      <a:pt x="29" y="12"/>
                    </a:lnTo>
                    <a:lnTo>
                      <a:pt x="31" y="12"/>
                    </a:lnTo>
                    <a:lnTo>
                      <a:pt x="33" y="12"/>
                    </a:lnTo>
                    <a:lnTo>
                      <a:pt x="33" y="10"/>
                    </a:lnTo>
                    <a:lnTo>
                      <a:pt x="34" y="10"/>
                    </a:lnTo>
                    <a:lnTo>
                      <a:pt x="36" y="10"/>
                    </a:lnTo>
                    <a:lnTo>
                      <a:pt x="38" y="10"/>
                    </a:lnTo>
                    <a:lnTo>
                      <a:pt x="38" y="8"/>
                    </a:lnTo>
                    <a:lnTo>
                      <a:pt x="38" y="6"/>
                    </a:lnTo>
                    <a:lnTo>
                      <a:pt x="38" y="4"/>
                    </a:lnTo>
                    <a:lnTo>
                      <a:pt x="40" y="4"/>
                    </a:lnTo>
                    <a:lnTo>
                      <a:pt x="40" y="6"/>
                    </a:lnTo>
                    <a:lnTo>
                      <a:pt x="42" y="6"/>
                    </a:lnTo>
                    <a:lnTo>
                      <a:pt x="42" y="4"/>
                    </a:lnTo>
                    <a:lnTo>
                      <a:pt x="42" y="6"/>
                    </a:lnTo>
                    <a:lnTo>
                      <a:pt x="44" y="6"/>
                    </a:lnTo>
                    <a:lnTo>
                      <a:pt x="44" y="4"/>
                    </a:lnTo>
                    <a:lnTo>
                      <a:pt x="44" y="6"/>
                    </a:lnTo>
                    <a:lnTo>
                      <a:pt x="44" y="8"/>
                    </a:lnTo>
                    <a:lnTo>
                      <a:pt x="44" y="10"/>
                    </a:lnTo>
                    <a:lnTo>
                      <a:pt x="46" y="10"/>
                    </a:lnTo>
                    <a:lnTo>
                      <a:pt x="48" y="10"/>
                    </a:lnTo>
                    <a:lnTo>
                      <a:pt x="48" y="12"/>
                    </a:lnTo>
                    <a:lnTo>
                      <a:pt x="48" y="14"/>
                    </a:lnTo>
                    <a:lnTo>
                      <a:pt x="50" y="14"/>
                    </a:lnTo>
                    <a:lnTo>
                      <a:pt x="50" y="16"/>
                    </a:lnTo>
                    <a:lnTo>
                      <a:pt x="52" y="14"/>
                    </a:lnTo>
                    <a:lnTo>
                      <a:pt x="52" y="16"/>
                    </a:lnTo>
                    <a:lnTo>
                      <a:pt x="54" y="14"/>
                    </a:lnTo>
                    <a:lnTo>
                      <a:pt x="54" y="16"/>
                    </a:lnTo>
                    <a:lnTo>
                      <a:pt x="54" y="17"/>
                    </a:lnTo>
                    <a:lnTo>
                      <a:pt x="54" y="19"/>
                    </a:lnTo>
                    <a:lnTo>
                      <a:pt x="54" y="17"/>
                    </a:lnTo>
                    <a:lnTo>
                      <a:pt x="56" y="17"/>
                    </a:lnTo>
                    <a:lnTo>
                      <a:pt x="57" y="16"/>
                    </a:lnTo>
                    <a:lnTo>
                      <a:pt x="57" y="17"/>
                    </a:lnTo>
                    <a:lnTo>
                      <a:pt x="57" y="19"/>
                    </a:lnTo>
                    <a:lnTo>
                      <a:pt x="57" y="21"/>
                    </a:lnTo>
                    <a:lnTo>
                      <a:pt x="56" y="21"/>
                    </a:lnTo>
                    <a:lnTo>
                      <a:pt x="57" y="21"/>
                    </a:lnTo>
                    <a:lnTo>
                      <a:pt x="59" y="21"/>
                    </a:lnTo>
                    <a:lnTo>
                      <a:pt x="61" y="21"/>
                    </a:lnTo>
                    <a:lnTo>
                      <a:pt x="63" y="21"/>
                    </a:lnTo>
                    <a:lnTo>
                      <a:pt x="63" y="19"/>
                    </a:lnTo>
                    <a:lnTo>
                      <a:pt x="65" y="19"/>
                    </a:lnTo>
                    <a:lnTo>
                      <a:pt x="67" y="19"/>
                    </a:lnTo>
                    <a:lnTo>
                      <a:pt x="69" y="19"/>
                    </a:lnTo>
                    <a:lnTo>
                      <a:pt x="69" y="21"/>
                    </a:lnTo>
                    <a:lnTo>
                      <a:pt x="71" y="21"/>
                    </a:lnTo>
                    <a:lnTo>
                      <a:pt x="71" y="23"/>
                    </a:lnTo>
                    <a:lnTo>
                      <a:pt x="71" y="21"/>
                    </a:lnTo>
                    <a:lnTo>
                      <a:pt x="73" y="21"/>
                    </a:lnTo>
                    <a:lnTo>
                      <a:pt x="73" y="23"/>
                    </a:lnTo>
                    <a:lnTo>
                      <a:pt x="73" y="21"/>
                    </a:lnTo>
                    <a:lnTo>
                      <a:pt x="75" y="21"/>
                    </a:lnTo>
                    <a:lnTo>
                      <a:pt x="77" y="19"/>
                    </a:lnTo>
                    <a:lnTo>
                      <a:pt x="77" y="21"/>
                    </a:lnTo>
                    <a:lnTo>
                      <a:pt x="79" y="21"/>
                    </a:lnTo>
                    <a:lnTo>
                      <a:pt x="79" y="19"/>
                    </a:lnTo>
                    <a:lnTo>
                      <a:pt x="79" y="21"/>
                    </a:lnTo>
                    <a:lnTo>
                      <a:pt x="79" y="23"/>
                    </a:lnTo>
                    <a:lnTo>
                      <a:pt x="81" y="21"/>
                    </a:lnTo>
                    <a:lnTo>
                      <a:pt x="81" y="19"/>
                    </a:lnTo>
                    <a:lnTo>
                      <a:pt x="82" y="19"/>
                    </a:lnTo>
                    <a:lnTo>
                      <a:pt x="82" y="17"/>
                    </a:lnTo>
                    <a:lnTo>
                      <a:pt x="84" y="17"/>
                    </a:lnTo>
                    <a:lnTo>
                      <a:pt x="84" y="16"/>
                    </a:lnTo>
                    <a:lnTo>
                      <a:pt x="84" y="17"/>
                    </a:lnTo>
                    <a:lnTo>
                      <a:pt x="86" y="19"/>
                    </a:lnTo>
                    <a:lnTo>
                      <a:pt x="88" y="19"/>
                    </a:lnTo>
                    <a:lnTo>
                      <a:pt x="90" y="19"/>
                    </a:lnTo>
                    <a:lnTo>
                      <a:pt x="92" y="19"/>
                    </a:lnTo>
                    <a:lnTo>
                      <a:pt x="94" y="19"/>
                    </a:lnTo>
                    <a:lnTo>
                      <a:pt x="92" y="19"/>
                    </a:lnTo>
                    <a:lnTo>
                      <a:pt x="94" y="19"/>
                    </a:lnTo>
                    <a:lnTo>
                      <a:pt x="94" y="21"/>
                    </a:lnTo>
                    <a:lnTo>
                      <a:pt x="96" y="21"/>
                    </a:lnTo>
                    <a:lnTo>
                      <a:pt x="98" y="21"/>
                    </a:lnTo>
                    <a:lnTo>
                      <a:pt x="98" y="23"/>
                    </a:lnTo>
                    <a:lnTo>
                      <a:pt x="98" y="25"/>
                    </a:lnTo>
                    <a:lnTo>
                      <a:pt x="98" y="23"/>
                    </a:lnTo>
                    <a:lnTo>
                      <a:pt x="98" y="25"/>
                    </a:lnTo>
                    <a:lnTo>
                      <a:pt x="100" y="25"/>
                    </a:lnTo>
                    <a:lnTo>
                      <a:pt x="100" y="27"/>
                    </a:lnTo>
                    <a:lnTo>
                      <a:pt x="102" y="27"/>
                    </a:lnTo>
                    <a:lnTo>
                      <a:pt x="104" y="25"/>
                    </a:lnTo>
                    <a:lnTo>
                      <a:pt x="106" y="25"/>
                    </a:lnTo>
                    <a:lnTo>
                      <a:pt x="107" y="25"/>
                    </a:lnTo>
                    <a:lnTo>
                      <a:pt x="109" y="25"/>
                    </a:lnTo>
                    <a:lnTo>
                      <a:pt x="109" y="27"/>
                    </a:lnTo>
                    <a:lnTo>
                      <a:pt x="111" y="27"/>
                    </a:lnTo>
                    <a:lnTo>
                      <a:pt x="111" y="29"/>
                    </a:lnTo>
                    <a:lnTo>
                      <a:pt x="113" y="29"/>
                    </a:lnTo>
                    <a:lnTo>
                      <a:pt x="111" y="29"/>
                    </a:lnTo>
                    <a:lnTo>
                      <a:pt x="111" y="31"/>
                    </a:lnTo>
                    <a:lnTo>
                      <a:pt x="111" y="33"/>
                    </a:lnTo>
                    <a:lnTo>
                      <a:pt x="111" y="35"/>
                    </a:lnTo>
                    <a:lnTo>
                      <a:pt x="113" y="35"/>
                    </a:lnTo>
                    <a:lnTo>
                      <a:pt x="113" y="33"/>
                    </a:lnTo>
                    <a:lnTo>
                      <a:pt x="113" y="35"/>
                    </a:lnTo>
                    <a:lnTo>
                      <a:pt x="113" y="37"/>
                    </a:lnTo>
                    <a:lnTo>
                      <a:pt x="115" y="37"/>
                    </a:lnTo>
                    <a:lnTo>
                      <a:pt x="115" y="39"/>
                    </a:lnTo>
                    <a:lnTo>
                      <a:pt x="115" y="41"/>
                    </a:lnTo>
                    <a:lnTo>
                      <a:pt x="117" y="41"/>
                    </a:lnTo>
                    <a:lnTo>
                      <a:pt x="117" y="4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3" name="Freeform 18"/>
              <p:cNvSpPr>
                <a:spLocks/>
              </p:cNvSpPr>
              <p:nvPr/>
            </p:nvSpPr>
            <p:spPr bwMode="auto">
              <a:xfrm>
                <a:off x="364056" y="2505874"/>
                <a:ext cx="247770" cy="240887"/>
              </a:xfrm>
              <a:custGeom>
                <a:avLst/>
                <a:gdLst>
                  <a:gd name="T0" fmla="*/ 140 w 144"/>
                  <a:gd name="T1" fmla="*/ 80 h 140"/>
                  <a:gd name="T2" fmla="*/ 138 w 144"/>
                  <a:gd name="T3" fmla="*/ 86 h 140"/>
                  <a:gd name="T4" fmla="*/ 136 w 144"/>
                  <a:gd name="T5" fmla="*/ 92 h 140"/>
                  <a:gd name="T6" fmla="*/ 132 w 144"/>
                  <a:gd name="T7" fmla="*/ 92 h 140"/>
                  <a:gd name="T8" fmla="*/ 126 w 144"/>
                  <a:gd name="T9" fmla="*/ 90 h 140"/>
                  <a:gd name="T10" fmla="*/ 119 w 144"/>
                  <a:gd name="T11" fmla="*/ 92 h 140"/>
                  <a:gd name="T12" fmla="*/ 117 w 144"/>
                  <a:gd name="T13" fmla="*/ 100 h 140"/>
                  <a:gd name="T14" fmla="*/ 117 w 144"/>
                  <a:gd name="T15" fmla="*/ 107 h 140"/>
                  <a:gd name="T16" fmla="*/ 101 w 144"/>
                  <a:gd name="T17" fmla="*/ 117 h 140"/>
                  <a:gd name="T18" fmla="*/ 98 w 144"/>
                  <a:gd name="T19" fmla="*/ 125 h 140"/>
                  <a:gd name="T20" fmla="*/ 90 w 144"/>
                  <a:gd name="T21" fmla="*/ 128 h 140"/>
                  <a:gd name="T22" fmla="*/ 80 w 144"/>
                  <a:gd name="T23" fmla="*/ 134 h 140"/>
                  <a:gd name="T24" fmla="*/ 73 w 144"/>
                  <a:gd name="T25" fmla="*/ 132 h 140"/>
                  <a:gd name="T26" fmla="*/ 67 w 144"/>
                  <a:gd name="T27" fmla="*/ 138 h 140"/>
                  <a:gd name="T28" fmla="*/ 63 w 144"/>
                  <a:gd name="T29" fmla="*/ 134 h 140"/>
                  <a:gd name="T30" fmla="*/ 61 w 144"/>
                  <a:gd name="T31" fmla="*/ 125 h 140"/>
                  <a:gd name="T32" fmla="*/ 67 w 144"/>
                  <a:gd name="T33" fmla="*/ 115 h 140"/>
                  <a:gd name="T34" fmla="*/ 67 w 144"/>
                  <a:gd name="T35" fmla="*/ 107 h 140"/>
                  <a:gd name="T36" fmla="*/ 67 w 144"/>
                  <a:gd name="T37" fmla="*/ 100 h 140"/>
                  <a:gd name="T38" fmla="*/ 57 w 144"/>
                  <a:gd name="T39" fmla="*/ 98 h 140"/>
                  <a:gd name="T40" fmla="*/ 57 w 144"/>
                  <a:gd name="T41" fmla="*/ 92 h 140"/>
                  <a:gd name="T42" fmla="*/ 50 w 144"/>
                  <a:gd name="T43" fmla="*/ 86 h 140"/>
                  <a:gd name="T44" fmla="*/ 44 w 144"/>
                  <a:gd name="T45" fmla="*/ 86 h 140"/>
                  <a:gd name="T46" fmla="*/ 38 w 144"/>
                  <a:gd name="T47" fmla="*/ 84 h 140"/>
                  <a:gd name="T48" fmla="*/ 30 w 144"/>
                  <a:gd name="T49" fmla="*/ 75 h 140"/>
                  <a:gd name="T50" fmla="*/ 25 w 144"/>
                  <a:gd name="T51" fmla="*/ 75 h 140"/>
                  <a:gd name="T52" fmla="*/ 19 w 144"/>
                  <a:gd name="T53" fmla="*/ 80 h 140"/>
                  <a:gd name="T54" fmla="*/ 13 w 144"/>
                  <a:gd name="T55" fmla="*/ 82 h 140"/>
                  <a:gd name="T56" fmla="*/ 3 w 144"/>
                  <a:gd name="T57" fmla="*/ 78 h 140"/>
                  <a:gd name="T58" fmla="*/ 1 w 144"/>
                  <a:gd name="T59" fmla="*/ 71 h 140"/>
                  <a:gd name="T60" fmla="*/ 3 w 144"/>
                  <a:gd name="T61" fmla="*/ 61 h 140"/>
                  <a:gd name="T62" fmla="*/ 9 w 144"/>
                  <a:gd name="T63" fmla="*/ 48 h 140"/>
                  <a:gd name="T64" fmla="*/ 13 w 144"/>
                  <a:gd name="T65" fmla="*/ 44 h 140"/>
                  <a:gd name="T66" fmla="*/ 17 w 144"/>
                  <a:gd name="T67" fmla="*/ 32 h 140"/>
                  <a:gd name="T68" fmla="*/ 23 w 144"/>
                  <a:gd name="T69" fmla="*/ 25 h 140"/>
                  <a:gd name="T70" fmla="*/ 23 w 144"/>
                  <a:gd name="T71" fmla="*/ 13 h 140"/>
                  <a:gd name="T72" fmla="*/ 30 w 144"/>
                  <a:gd name="T73" fmla="*/ 7 h 140"/>
                  <a:gd name="T74" fmla="*/ 38 w 144"/>
                  <a:gd name="T75" fmla="*/ 7 h 140"/>
                  <a:gd name="T76" fmla="*/ 42 w 144"/>
                  <a:gd name="T77" fmla="*/ 15 h 140"/>
                  <a:gd name="T78" fmla="*/ 48 w 144"/>
                  <a:gd name="T79" fmla="*/ 25 h 140"/>
                  <a:gd name="T80" fmla="*/ 57 w 144"/>
                  <a:gd name="T81" fmla="*/ 25 h 140"/>
                  <a:gd name="T82" fmla="*/ 69 w 144"/>
                  <a:gd name="T83" fmla="*/ 21 h 140"/>
                  <a:gd name="T84" fmla="*/ 73 w 144"/>
                  <a:gd name="T85" fmla="*/ 23 h 140"/>
                  <a:gd name="T86" fmla="*/ 82 w 144"/>
                  <a:gd name="T87" fmla="*/ 19 h 140"/>
                  <a:gd name="T88" fmla="*/ 90 w 144"/>
                  <a:gd name="T89" fmla="*/ 15 h 140"/>
                  <a:gd name="T90" fmla="*/ 103 w 144"/>
                  <a:gd name="T91" fmla="*/ 9 h 140"/>
                  <a:gd name="T92" fmla="*/ 109 w 144"/>
                  <a:gd name="T93" fmla="*/ 5 h 140"/>
                  <a:gd name="T94" fmla="*/ 117 w 144"/>
                  <a:gd name="T95" fmla="*/ 2 h 140"/>
                  <a:gd name="T96" fmla="*/ 123 w 144"/>
                  <a:gd name="T97" fmla="*/ 0 h 140"/>
                  <a:gd name="T98" fmla="*/ 132 w 144"/>
                  <a:gd name="T99" fmla="*/ 3 h 140"/>
                  <a:gd name="T100" fmla="*/ 132 w 144"/>
                  <a:gd name="T101" fmla="*/ 13 h 140"/>
                  <a:gd name="T102" fmla="*/ 132 w 144"/>
                  <a:gd name="T103" fmla="*/ 17 h 140"/>
                  <a:gd name="T104" fmla="*/ 136 w 144"/>
                  <a:gd name="T105" fmla="*/ 19 h 140"/>
                  <a:gd name="T106" fmla="*/ 140 w 144"/>
                  <a:gd name="T107" fmla="*/ 23 h 140"/>
                  <a:gd name="T108" fmla="*/ 138 w 144"/>
                  <a:gd name="T109" fmla="*/ 32 h 140"/>
                  <a:gd name="T110" fmla="*/ 138 w 144"/>
                  <a:gd name="T111" fmla="*/ 42 h 140"/>
                  <a:gd name="T112" fmla="*/ 136 w 144"/>
                  <a:gd name="T113" fmla="*/ 46 h 140"/>
                  <a:gd name="T114" fmla="*/ 132 w 144"/>
                  <a:gd name="T115" fmla="*/ 53 h 140"/>
                  <a:gd name="T116" fmla="*/ 140 w 144"/>
                  <a:gd name="T117" fmla="*/ 6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4" h="140">
                    <a:moveTo>
                      <a:pt x="144" y="71"/>
                    </a:moveTo>
                    <a:lnTo>
                      <a:pt x="142" y="71"/>
                    </a:lnTo>
                    <a:lnTo>
                      <a:pt x="142" y="73"/>
                    </a:lnTo>
                    <a:lnTo>
                      <a:pt x="142" y="75"/>
                    </a:lnTo>
                    <a:lnTo>
                      <a:pt x="142" y="76"/>
                    </a:lnTo>
                    <a:lnTo>
                      <a:pt x="140" y="76"/>
                    </a:lnTo>
                    <a:lnTo>
                      <a:pt x="140" y="78"/>
                    </a:lnTo>
                    <a:lnTo>
                      <a:pt x="140" y="80"/>
                    </a:lnTo>
                    <a:lnTo>
                      <a:pt x="138" y="80"/>
                    </a:lnTo>
                    <a:lnTo>
                      <a:pt x="138" y="82"/>
                    </a:lnTo>
                    <a:lnTo>
                      <a:pt x="138" y="80"/>
                    </a:lnTo>
                    <a:lnTo>
                      <a:pt x="138" y="82"/>
                    </a:lnTo>
                    <a:lnTo>
                      <a:pt x="136" y="82"/>
                    </a:lnTo>
                    <a:lnTo>
                      <a:pt x="138" y="84"/>
                    </a:lnTo>
                    <a:lnTo>
                      <a:pt x="140" y="84"/>
                    </a:lnTo>
                    <a:lnTo>
                      <a:pt x="138" y="86"/>
                    </a:lnTo>
                    <a:lnTo>
                      <a:pt x="140" y="86"/>
                    </a:lnTo>
                    <a:lnTo>
                      <a:pt x="140" y="88"/>
                    </a:lnTo>
                    <a:lnTo>
                      <a:pt x="138" y="88"/>
                    </a:lnTo>
                    <a:lnTo>
                      <a:pt x="140" y="88"/>
                    </a:lnTo>
                    <a:lnTo>
                      <a:pt x="140" y="90"/>
                    </a:lnTo>
                    <a:lnTo>
                      <a:pt x="138" y="90"/>
                    </a:lnTo>
                    <a:lnTo>
                      <a:pt x="138" y="92"/>
                    </a:lnTo>
                    <a:lnTo>
                      <a:pt x="136" y="92"/>
                    </a:lnTo>
                    <a:lnTo>
                      <a:pt x="136" y="94"/>
                    </a:lnTo>
                    <a:lnTo>
                      <a:pt x="136" y="92"/>
                    </a:lnTo>
                    <a:lnTo>
                      <a:pt x="134" y="94"/>
                    </a:lnTo>
                    <a:lnTo>
                      <a:pt x="134" y="92"/>
                    </a:lnTo>
                    <a:lnTo>
                      <a:pt x="132" y="92"/>
                    </a:lnTo>
                    <a:lnTo>
                      <a:pt x="134" y="92"/>
                    </a:lnTo>
                    <a:lnTo>
                      <a:pt x="132" y="90"/>
                    </a:lnTo>
                    <a:lnTo>
                      <a:pt x="132" y="92"/>
                    </a:lnTo>
                    <a:lnTo>
                      <a:pt x="130" y="92"/>
                    </a:lnTo>
                    <a:lnTo>
                      <a:pt x="130" y="94"/>
                    </a:lnTo>
                    <a:lnTo>
                      <a:pt x="130" y="92"/>
                    </a:lnTo>
                    <a:lnTo>
                      <a:pt x="128" y="92"/>
                    </a:lnTo>
                    <a:lnTo>
                      <a:pt x="128" y="90"/>
                    </a:lnTo>
                    <a:lnTo>
                      <a:pt x="126" y="90"/>
                    </a:lnTo>
                    <a:lnTo>
                      <a:pt x="126" y="92"/>
                    </a:lnTo>
                    <a:lnTo>
                      <a:pt x="126" y="90"/>
                    </a:lnTo>
                    <a:lnTo>
                      <a:pt x="124" y="90"/>
                    </a:lnTo>
                    <a:lnTo>
                      <a:pt x="124" y="92"/>
                    </a:lnTo>
                    <a:lnTo>
                      <a:pt x="123" y="92"/>
                    </a:lnTo>
                    <a:lnTo>
                      <a:pt x="123" y="90"/>
                    </a:lnTo>
                    <a:lnTo>
                      <a:pt x="123" y="92"/>
                    </a:lnTo>
                    <a:lnTo>
                      <a:pt x="121" y="90"/>
                    </a:lnTo>
                    <a:lnTo>
                      <a:pt x="119" y="90"/>
                    </a:lnTo>
                    <a:lnTo>
                      <a:pt x="119" y="92"/>
                    </a:lnTo>
                    <a:lnTo>
                      <a:pt x="117" y="92"/>
                    </a:lnTo>
                    <a:lnTo>
                      <a:pt x="117" y="94"/>
                    </a:lnTo>
                    <a:lnTo>
                      <a:pt x="115" y="96"/>
                    </a:lnTo>
                    <a:lnTo>
                      <a:pt x="117" y="96"/>
                    </a:lnTo>
                    <a:lnTo>
                      <a:pt x="117" y="98"/>
                    </a:lnTo>
                    <a:lnTo>
                      <a:pt x="117" y="100"/>
                    </a:lnTo>
                    <a:lnTo>
                      <a:pt x="119" y="100"/>
                    </a:lnTo>
                    <a:lnTo>
                      <a:pt x="117" y="100"/>
                    </a:lnTo>
                    <a:lnTo>
                      <a:pt x="117" y="101"/>
                    </a:lnTo>
                    <a:lnTo>
                      <a:pt x="119" y="101"/>
                    </a:lnTo>
                    <a:lnTo>
                      <a:pt x="119" y="103"/>
                    </a:lnTo>
                    <a:lnTo>
                      <a:pt x="117" y="103"/>
                    </a:lnTo>
                    <a:lnTo>
                      <a:pt x="117" y="105"/>
                    </a:lnTo>
                    <a:lnTo>
                      <a:pt x="119" y="105"/>
                    </a:lnTo>
                    <a:lnTo>
                      <a:pt x="119" y="107"/>
                    </a:lnTo>
                    <a:lnTo>
                      <a:pt x="117" y="107"/>
                    </a:lnTo>
                    <a:lnTo>
                      <a:pt x="115" y="107"/>
                    </a:lnTo>
                    <a:lnTo>
                      <a:pt x="109" y="115"/>
                    </a:lnTo>
                    <a:lnTo>
                      <a:pt x="107" y="115"/>
                    </a:lnTo>
                    <a:lnTo>
                      <a:pt x="105" y="115"/>
                    </a:lnTo>
                    <a:lnTo>
                      <a:pt x="103" y="115"/>
                    </a:lnTo>
                    <a:lnTo>
                      <a:pt x="101" y="117"/>
                    </a:lnTo>
                    <a:lnTo>
                      <a:pt x="101" y="115"/>
                    </a:lnTo>
                    <a:lnTo>
                      <a:pt x="101" y="117"/>
                    </a:lnTo>
                    <a:lnTo>
                      <a:pt x="101" y="119"/>
                    </a:lnTo>
                    <a:lnTo>
                      <a:pt x="99" y="119"/>
                    </a:lnTo>
                    <a:lnTo>
                      <a:pt x="99" y="121"/>
                    </a:lnTo>
                    <a:lnTo>
                      <a:pt x="99" y="123"/>
                    </a:lnTo>
                    <a:lnTo>
                      <a:pt x="101" y="123"/>
                    </a:lnTo>
                    <a:lnTo>
                      <a:pt x="101" y="125"/>
                    </a:lnTo>
                    <a:lnTo>
                      <a:pt x="99" y="125"/>
                    </a:lnTo>
                    <a:lnTo>
                      <a:pt x="98" y="125"/>
                    </a:lnTo>
                    <a:lnTo>
                      <a:pt x="98" y="126"/>
                    </a:lnTo>
                    <a:lnTo>
                      <a:pt x="96" y="126"/>
                    </a:lnTo>
                    <a:lnTo>
                      <a:pt x="94" y="126"/>
                    </a:lnTo>
                    <a:lnTo>
                      <a:pt x="94" y="128"/>
                    </a:lnTo>
                    <a:lnTo>
                      <a:pt x="94" y="130"/>
                    </a:lnTo>
                    <a:lnTo>
                      <a:pt x="92" y="130"/>
                    </a:lnTo>
                    <a:lnTo>
                      <a:pt x="90" y="130"/>
                    </a:lnTo>
                    <a:lnTo>
                      <a:pt x="90" y="128"/>
                    </a:lnTo>
                    <a:lnTo>
                      <a:pt x="88" y="128"/>
                    </a:lnTo>
                    <a:lnTo>
                      <a:pt x="86" y="128"/>
                    </a:lnTo>
                    <a:lnTo>
                      <a:pt x="86" y="130"/>
                    </a:lnTo>
                    <a:lnTo>
                      <a:pt x="86" y="132"/>
                    </a:lnTo>
                    <a:lnTo>
                      <a:pt x="84" y="132"/>
                    </a:lnTo>
                    <a:lnTo>
                      <a:pt x="84" y="134"/>
                    </a:lnTo>
                    <a:lnTo>
                      <a:pt x="82" y="134"/>
                    </a:lnTo>
                    <a:lnTo>
                      <a:pt x="80" y="134"/>
                    </a:lnTo>
                    <a:lnTo>
                      <a:pt x="78" y="134"/>
                    </a:lnTo>
                    <a:lnTo>
                      <a:pt x="76" y="134"/>
                    </a:lnTo>
                    <a:lnTo>
                      <a:pt x="76" y="132"/>
                    </a:lnTo>
                    <a:lnTo>
                      <a:pt x="78" y="132"/>
                    </a:lnTo>
                    <a:lnTo>
                      <a:pt x="78" y="130"/>
                    </a:lnTo>
                    <a:lnTo>
                      <a:pt x="76" y="130"/>
                    </a:lnTo>
                    <a:lnTo>
                      <a:pt x="75" y="132"/>
                    </a:lnTo>
                    <a:lnTo>
                      <a:pt x="73" y="132"/>
                    </a:lnTo>
                    <a:lnTo>
                      <a:pt x="71" y="132"/>
                    </a:lnTo>
                    <a:lnTo>
                      <a:pt x="69" y="134"/>
                    </a:lnTo>
                    <a:lnTo>
                      <a:pt x="67" y="134"/>
                    </a:lnTo>
                    <a:lnTo>
                      <a:pt x="65" y="134"/>
                    </a:lnTo>
                    <a:lnTo>
                      <a:pt x="67" y="136"/>
                    </a:lnTo>
                    <a:lnTo>
                      <a:pt x="67" y="138"/>
                    </a:lnTo>
                    <a:lnTo>
                      <a:pt x="69" y="138"/>
                    </a:lnTo>
                    <a:lnTo>
                      <a:pt x="67" y="138"/>
                    </a:lnTo>
                    <a:lnTo>
                      <a:pt x="65" y="138"/>
                    </a:lnTo>
                    <a:lnTo>
                      <a:pt x="65" y="140"/>
                    </a:lnTo>
                    <a:lnTo>
                      <a:pt x="63" y="140"/>
                    </a:lnTo>
                    <a:lnTo>
                      <a:pt x="63" y="138"/>
                    </a:lnTo>
                    <a:lnTo>
                      <a:pt x="63" y="136"/>
                    </a:lnTo>
                    <a:lnTo>
                      <a:pt x="61" y="136"/>
                    </a:lnTo>
                    <a:lnTo>
                      <a:pt x="61" y="134"/>
                    </a:lnTo>
                    <a:lnTo>
                      <a:pt x="63" y="134"/>
                    </a:lnTo>
                    <a:lnTo>
                      <a:pt x="61" y="134"/>
                    </a:lnTo>
                    <a:lnTo>
                      <a:pt x="63" y="132"/>
                    </a:lnTo>
                    <a:lnTo>
                      <a:pt x="63" y="130"/>
                    </a:lnTo>
                    <a:lnTo>
                      <a:pt x="63" y="128"/>
                    </a:lnTo>
                    <a:lnTo>
                      <a:pt x="61" y="128"/>
                    </a:lnTo>
                    <a:lnTo>
                      <a:pt x="61" y="126"/>
                    </a:lnTo>
                    <a:lnTo>
                      <a:pt x="63" y="126"/>
                    </a:lnTo>
                    <a:lnTo>
                      <a:pt x="61" y="125"/>
                    </a:lnTo>
                    <a:lnTo>
                      <a:pt x="63" y="125"/>
                    </a:lnTo>
                    <a:lnTo>
                      <a:pt x="63" y="123"/>
                    </a:lnTo>
                    <a:lnTo>
                      <a:pt x="63" y="121"/>
                    </a:lnTo>
                    <a:lnTo>
                      <a:pt x="65" y="121"/>
                    </a:lnTo>
                    <a:lnTo>
                      <a:pt x="65" y="119"/>
                    </a:lnTo>
                    <a:lnTo>
                      <a:pt x="67" y="119"/>
                    </a:lnTo>
                    <a:lnTo>
                      <a:pt x="67" y="117"/>
                    </a:lnTo>
                    <a:lnTo>
                      <a:pt x="67" y="115"/>
                    </a:lnTo>
                    <a:lnTo>
                      <a:pt x="69" y="115"/>
                    </a:lnTo>
                    <a:lnTo>
                      <a:pt x="69" y="113"/>
                    </a:lnTo>
                    <a:lnTo>
                      <a:pt x="67" y="113"/>
                    </a:lnTo>
                    <a:lnTo>
                      <a:pt x="67" y="111"/>
                    </a:lnTo>
                    <a:lnTo>
                      <a:pt x="69" y="111"/>
                    </a:lnTo>
                    <a:lnTo>
                      <a:pt x="67" y="111"/>
                    </a:lnTo>
                    <a:lnTo>
                      <a:pt x="67" y="109"/>
                    </a:lnTo>
                    <a:lnTo>
                      <a:pt x="67" y="107"/>
                    </a:lnTo>
                    <a:lnTo>
                      <a:pt x="69" y="107"/>
                    </a:lnTo>
                    <a:lnTo>
                      <a:pt x="69" y="105"/>
                    </a:lnTo>
                    <a:lnTo>
                      <a:pt x="69" y="103"/>
                    </a:lnTo>
                    <a:lnTo>
                      <a:pt x="67" y="103"/>
                    </a:lnTo>
                    <a:lnTo>
                      <a:pt x="67" y="101"/>
                    </a:lnTo>
                    <a:lnTo>
                      <a:pt x="69" y="101"/>
                    </a:lnTo>
                    <a:lnTo>
                      <a:pt x="69" y="100"/>
                    </a:lnTo>
                    <a:lnTo>
                      <a:pt x="67" y="100"/>
                    </a:lnTo>
                    <a:lnTo>
                      <a:pt x="67" y="98"/>
                    </a:lnTo>
                    <a:lnTo>
                      <a:pt x="65" y="98"/>
                    </a:lnTo>
                    <a:lnTo>
                      <a:pt x="63" y="98"/>
                    </a:lnTo>
                    <a:lnTo>
                      <a:pt x="61" y="98"/>
                    </a:lnTo>
                    <a:lnTo>
                      <a:pt x="59" y="98"/>
                    </a:lnTo>
                    <a:lnTo>
                      <a:pt x="59" y="96"/>
                    </a:lnTo>
                    <a:lnTo>
                      <a:pt x="59" y="98"/>
                    </a:lnTo>
                    <a:lnTo>
                      <a:pt x="57" y="98"/>
                    </a:lnTo>
                    <a:lnTo>
                      <a:pt x="57" y="96"/>
                    </a:lnTo>
                    <a:lnTo>
                      <a:pt x="59" y="96"/>
                    </a:lnTo>
                    <a:lnTo>
                      <a:pt x="59" y="94"/>
                    </a:lnTo>
                    <a:lnTo>
                      <a:pt x="57" y="92"/>
                    </a:lnTo>
                    <a:lnTo>
                      <a:pt x="57" y="94"/>
                    </a:lnTo>
                    <a:lnTo>
                      <a:pt x="57" y="92"/>
                    </a:lnTo>
                    <a:lnTo>
                      <a:pt x="55" y="92"/>
                    </a:lnTo>
                    <a:lnTo>
                      <a:pt x="57" y="92"/>
                    </a:lnTo>
                    <a:lnTo>
                      <a:pt x="55" y="92"/>
                    </a:lnTo>
                    <a:lnTo>
                      <a:pt x="57" y="90"/>
                    </a:lnTo>
                    <a:lnTo>
                      <a:pt x="55" y="90"/>
                    </a:lnTo>
                    <a:lnTo>
                      <a:pt x="53" y="90"/>
                    </a:lnTo>
                    <a:lnTo>
                      <a:pt x="53" y="88"/>
                    </a:lnTo>
                    <a:lnTo>
                      <a:pt x="51" y="88"/>
                    </a:lnTo>
                    <a:lnTo>
                      <a:pt x="51" y="86"/>
                    </a:lnTo>
                    <a:lnTo>
                      <a:pt x="50" y="86"/>
                    </a:lnTo>
                    <a:lnTo>
                      <a:pt x="50" y="88"/>
                    </a:lnTo>
                    <a:lnTo>
                      <a:pt x="48" y="88"/>
                    </a:lnTo>
                    <a:lnTo>
                      <a:pt x="48" y="86"/>
                    </a:lnTo>
                    <a:lnTo>
                      <a:pt x="46" y="86"/>
                    </a:lnTo>
                    <a:lnTo>
                      <a:pt x="44" y="88"/>
                    </a:lnTo>
                    <a:lnTo>
                      <a:pt x="44" y="86"/>
                    </a:lnTo>
                    <a:lnTo>
                      <a:pt x="46" y="86"/>
                    </a:lnTo>
                    <a:lnTo>
                      <a:pt x="44" y="86"/>
                    </a:lnTo>
                    <a:lnTo>
                      <a:pt x="42" y="86"/>
                    </a:lnTo>
                    <a:lnTo>
                      <a:pt x="42" y="88"/>
                    </a:lnTo>
                    <a:lnTo>
                      <a:pt x="40" y="88"/>
                    </a:lnTo>
                    <a:lnTo>
                      <a:pt x="40" y="86"/>
                    </a:lnTo>
                    <a:lnTo>
                      <a:pt x="38" y="88"/>
                    </a:lnTo>
                    <a:lnTo>
                      <a:pt x="36" y="86"/>
                    </a:lnTo>
                    <a:lnTo>
                      <a:pt x="38" y="86"/>
                    </a:lnTo>
                    <a:lnTo>
                      <a:pt x="38" y="84"/>
                    </a:lnTo>
                    <a:lnTo>
                      <a:pt x="36" y="84"/>
                    </a:lnTo>
                    <a:lnTo>
                      <a:pt x="34" y="84"/>
                    </a:lnTo>
                    <a:lnTo>
                      <a:pt x="34" y="82"/>
                    </a:lnTo>
                    <a:lnTo>
                      <a:pt x="32" y="82"/>
                    </a:lnTo>
                    <a:lnTo>
                      <a:pt x="32" y="80"/>
                    </a:lnTo>
                    <a:lnTo>
                      <a:pt x="30" y="78"/>
                    </a:lnTo>
                    <a:lnTo>
                      <a:pt x="30" y="76"/>
                    </a:lnTo>
                    <a:lnTo>
                      <a:pt x="30" y="75"/>
                    </a:lnTo>
                    <a:lnTo>
                      <a:pt x="28" y="75"/>
                    </a:lnTo>
                    <a:lnTo>
                      <a:pt x="28" y="73"/>
                    </a:lnTo>
                    <a:lnTo>
                      <a:pt x="26" y="73"/>
                    </a:lnTo>
                    <a:lnTo>
                      <a:pt x="26" y="71"/>
                    </a:lnTo>
                    <a:lnTo>
                      <a:pt x="25" y="71"/>
                    </a:lnTo>
                    <a:lnTo>
                      <a:pt x="25" y="73"/>
                    </a:lnTo>
                    <a:lnTo>
                      <a:pt x="23" y="75"/>
                    </a:lnTo>
                    <a:lnTo>
                      <a:pt x="25" y="75"/>
                    </a:lnTo>
                    <a:lnTo>
                      <a:pt x="23" y="75"/>
                    </a:lnTo>
                    <a:lnTo>
                      <a:pt x="23" y="76"/>
                    </a:lnTo>
                    <a:lnTo>
                      <a:pt x="21" y="76"/>
                    </a:lnTo>
                    <a:lnTo>
                      <a:pt x="19" y="76"/>
                    </a:lnTo>
                    <a:lnTo>
                      <a:pt x="19" y="78"/>
                    </a:lnTo>
                    <a:lnTo>
                      <a:pt x="17" y="78"/>
                    </a:lnTo>
                    <a:lnTo>
                      <a:pt x="17" y="80"/>
                    </a:lnTo>
                    <a:lnTo>
                      <a:pt x="19" y="80"/>
                    </a:lnTo>
                    <a:lnTo>
                      <a:pt x="17" y="82"/>
                    </a:lnTo>
                    <a:lnTo>
                      <a:pt x="17" y="80"/>
                    </a:lnTo>
                    <a:lnTo>
                      <a:pt x="15" y="82"/>
                    </a:lnTo>
                    <a:lnTo>
                      <a:pt x="15" y="80"/>
                    </a:lnTo>
                    <a:lnTo>
                      <a:pt x="15" y="82"/>
                    </a:lnTo>
                    <a:lnTo>
                      <a:pt x="15" y="80"/>
                    </a:lnTo>
                    <a:lnTo>
                      <a:pt x="15" y="82"/>
                    </a:lnTo>
                    <a:lnTo>
                      <a:pt x="13" y="82"/>
                    </a:lnTo>
                    <a:lnTo>
                      <a:pt x="11" y="82"/>
                    </a:lnTo>
                    <a:lnTo>
                      <a:pt x="9" y="82"/>
                    </a:lnTo>
                    <a:lnTo>
                      <a:pt x="9" y="80"/>
                    </a:lnTo>
                    <a:lnTo>
                      <a:pt x="7" y="82"/>
                    </a:lnTo>
                    <a:lnTo>
                      <a:pt x="5" y="82"/>
                    </a:lnTo>
                    <a:lnTo>
                      <a:pt x="5" y="80"/>
                    </a:lnTo>
                    <a:lnTo>
                      <a:pt x="3" y="80"/>
                    </a:lnTo>
                    <a:lnTo>
                      <a:pt x="3" y="78"/>
                    </a:lnTo>
                    <a:lnTo>
                      <a:pt x="1" y="78"/>
                    </a:lnTo>
                    <a:lnTo>
                      <a:pt x="1" y="76"/>
                    </a:lnTo>
                    <a:lnTo>
                      <a:pt x="3" y="76"/>
                    </a:lnTo>
                    <a:lnTo>
                      <a:pt x="3" y="75"/>
                    </a:lnTo>
                    <a:lnTo>
                      <a:pt x="1" y="73"/>
                    </a:lnTo>
                    <a:lnTo>
                      <a:pt x="0" y="73"/>
                    </a:lnTo>
                    <a:lnTo>
                      <a:pt x="0" y="71"/>
                    </a:lnTo>
                    <a:lnTo>
                      <a:pt x="1" y="71"/>
                    </a:lnTo>
                    <a:lnTo>
                      <a:pt x="1" y="69"/>
                    </a:lnTo>
                    <a:lnTo>
                      <a:pt x="3" y="67"/>
                    </a:lnTo>
                    <a:lnTo>
                      <a:pt x="1" y="67"/>
                    </a:lnTo>
                    <a:lnTo>
                      <a:pt x="1" y="65"/>
                    </a:lnTo>
                    <a:lnTo>
                      <a:pt x="0" y="65"/>
                    </a:lnTo>
                    <a:lnTo>
                      <a:pt x="1" y="65"/>
                    </a:lnTo>
                    <a:lnTo>
                      <a:pt x="1" y="63"/>
                    </a:lnTo>
                    <a:lnTo>
                      <a:pt x="3" y="61"/>
                    </a:lnTo>
                    <a:lnTo>
                      <a:pt x="3" y="59"/>
                    </a:lnTo>
                    <a:lnTo>
                      <a:pt x="3" y="57"/>
                    </a:lnTo>
                    <a:lnTo>
                      <a:pt x="3" y="55"/>
                    </a:lnTo>
                    <a:lnTo>
                      <a:pt x="5" y="55"/>
                    </a:lnTo>
                    <a:lnTo>
                      <a:pt x="7" y="51"/>
                    </a:lnTo>
                    <a:lnTo>
                      <a:pt x="7" y="50"/>
                    </a:lnTo>
                    <a:lnTo>
                      <a:pt x="9" y="50"/>
                    </a:lnTo>
                    <a:lnTo>
                      <a:pt x="9" y="48"/>
                    </a:lnTo>
                    <a:lnTo>
                      <a:pt x="9" y="46"/>
                    </a:lnTo>
                    <a:lnTo>
                      <a:pt x="7" y="46"/>
                    </a:lnTo>
                    <a:lnTo>
                      <a:pt x="9" y="46"/>
                    </a:lnTo>
                    <a:lnTo>
                      <a:pt x="11" y="46"/>
                    </a:lnTo>
                    <a:lnTo>
                      <a:pt x="9" y="46"/>
                    </a:lnTo>
                    <a:lnTo>
                      <a:pt x="9" y="44"/>
                    </a:lnTo>
                    <a:lnTo>
                      <a:pt x="11" y="44"/>
                    </a:lnTo>
                    <a:lnTo>
                      <a:pt x="13" y="44"/>
                    </a:lnTo>
                    <a:lnTo>
                      <a:pt x="15" y="44"/>
                    </a:lnTo>
                    <a:lnTo>
                      <a:pt x="15" y="42"/>
                    </a:lnTo>
                    <a:lnTo>
                      <a:pt x="13" y="40"/>
                    </a:lnTo>
                    <a:lnTo>
                      <a:pt x="15" y="38"/>
                    </a:lnTo>
                    <a:lnTo>
                      <a:pt x="15" y="36"/>
                    </a:lnTo>
                    <a:lnTo>
                      <a:pt x="15" y="34"/>
                    </a:lnTo>
                    <a:lnTo>
                      <a:pt x="15" y="32"/>
                    </a:lnTo>
                    <a:lnTo>
                      <a:pt x="17" y="32"/>
                    </a:lnTo>
                    <a:lnTo>
                      <a:pt x="19" y="34"/>
                    </a:lnTo>
                    <a:lnTo>
                      <a:pt x="19" y="32"/>
                    </a:lnTo>
                    <a:lnTo>
                      <a:pt x="21" y="32"/>
                    </a:lnTo>
                    <a:lnTo>
                      <a:pt x="21" y="30"/>
                    </a:lnTo>
                    <a:lnTo>
                      <a:pt x="23" y="30"/>
                    </a:lnTo>
                    <a:lnTo>
                      <a:pt x="23" y="28"/>
                    </a:lnTo>
                    <a:lnTo>
                      <a:pt x="23" y="27"/>
                    </a:lnTo>
                    <a:lnTo>
                      <a:pt x="23" y="25"/>
                    </a:lnTo>
                    <a:lnTo>
                      <a:pt x="23" y="23"/>
                    </a:lnTo>
                    <a:lnTo>
                      <a:pt x="23" y="21"/>
                    </a:lnTo>
                    <a:lnTo>
                      <a:pt x="23" y="19"/>
                    </a:lnTo>
                    <a:lnTo>
                      <a:pt x="23" y="17"/>
                    </a:lnTo>
                    <a:lnTo>
                      <a:pt x="23" y="15"/>
                    </a:lnTo>
                    <a:lnTo>
                      <a:pt x="25" y="15"/>
                    </a:lnTo>
                    <a:lnTo>
                      <a:pt x="25" y="13"/>
                    </a:lnTo>
                    <a:lnTo>
                      <a:pt x="23" y="13"/>
                    </a:lnTo>
                    <a:lnTo>
                      <a:pt x="23" y="11"/>
                    </a:lnTo>
                    <a:lnTo>
                      <a:pt x="23" y="9"/>
                    </a:lnTo>
                    <a:lnTo>
                      <a:pt x="25" y="9"/>
                    </a:lnTo>
                    <a:lnTo>
                      <a:pt x="26" y="9"/>
                    </a:lnTo>
                    <a:lnTo>
                      <a:pt x="26" y="7"/>
                    </a:lnTo>
                    <a:lnTo>
                      <a:pt x="28" y="7"/>
                    </a:lnTo>
                    <a:lnTo>
                      <a:pt x="30" y="9"/>
                    </a:lnTo>
                    <a:lnTo>
                      <a:pt x="30" y="7"/>
                    </a:lnTo>
                    <a:lnTo>
                      <a:pt x="30" y="5"/>
                    </a:lnTo>
                    <a:lnTo>
                      <a:pt x="32" y="5"/>
                    </a:lnTo>
                    <a:lnTo>
                      <a:pt x="34" y="5"/>
                    </a:lnTo>
                    <a:lnTo>
                      <a:pt x="34" y="3"/>
                    </a:lnTo>
                    <a:lnTo>
                      <a:pt x="36" y="3"/>
                    </a:lnTo>
                    <a:lnTo>
                      <a:pt x="36" y="5"/>
                    </a:lnTo>
                    <a:lnTo>
                      <a:pt x="38" y="5"/>
                    </a:lnTo>
                    <a:lnTo>
                      <a:pt x="38" y="7"/>
                    </a:lnTo>
                    <a:lnTo>
                      <a:pt x="40" y="7"/>
                    </a:lnTo>
                    <a:lnTo>
                      <a:pt x="42" y="5"/>
                    </a:lnTo>
                    <a:lnTo>
                      <a:pt x="42" y="7"/>
                    </a:lnTo>
                    <a:lnTo>
                      <a:pt x="42" y="9"/>
                    </a:lnTo>
                    <a:lnTo>
                      <a:pt x="44" y="9"/>
                    </a:lnTo>
                    <a:lnTo>
                      <a:pt x="44" y="11"/>
                    </a:lnTo>
                    <a:lnTo>
                      <a:pt x="44" y="13"/>
                    </a:lnTo>
                    <a:lnTo>
                      <a:pt x="42" y="15"/>
                    </a:lnTo>
                    <a:lnTo>
                      <a:pt x="42" y="17"/>
                    </a:lnTo>
                    <a:lnTo>
                      <a:pt x="44" y="17"/>
                    </a:lnTo>
                    <a:lnTo>
                      <a:pt x="44" y="19"/>
                    </a:lnTo>
                    <a:lnTo>
                      <a:pt x="44" y="21"/>
                    </a:lnTo>
                    <a:lnTo>
                      <a:pt x="46" y="21"/>
                    </a:lnTo>
                    <a:lnTo>
                      <a:pt x="48" y="21"/>
                    </a:lnTo>
                    <a:lnTo>
                      <a:pt x="48" y="23"/>
                    </a:lnTo>
                    <a:lnTo>
                      <a:pt x="48" y="25"/>
                    </a:lnTo>
                    <a:lnTo>
                      <a:pt x="50" y="25"/>
                    </a:lnTo>
                    <a:lnTo>
                      <a:pt x="51" y="25"/>
                    </a:lnTo>
                    <a:lnTo>
                      <a:pt x="53" y="25"/>
                    </a:lnTo>
                    <a:lnTo>
                      <a:pt x="53" y="27"/>
                    </a:lnTo>
                    <a:lnTo>
                      <a:pt x="53" y="25"/>
                    </a:lnTo>
                    <a:lnTo>
                      <a:pt x="55" y="25"/>
                    </a:lnTo>
                    <a:lnTo>
                      <a:pt x="57" y="27"/>
                    </a:lnTo>
                    <a:lnTo>
                      <a:pt x="57" y="25"/>
                    </a:lnTo>
                    <a:lnTo>
                      <a:pt x="59" y="25"/>
                    </a:lnTo>
                    <a:lnTo>
                      <a:pt x="59" y="23"/>
                    </a:lnTo>
                    <a:lnTo>
                      <a:pt x="61" y="25"/>
                    </a:lnTo>
                    <a:lnTo>
                      <a:pt x="63" y="25"/>
                    </a:lnTo>
                    <a:lnTo>
                      <a:pt x="67" y="23"/>
                    </a:lnTo>
                    <a:lnTo>
                      <a:pt x="69" y="21"/>
                    </a:lnTo>
                    <a:lnTo>
                      <a:pt x="69" y="19"/>
                    </a:lnTo>
                    <a:lnTo>
                      <a:pt x="69" y="21"/>
                    </a:lnTo>
                    <a:lnTo>
                      <a:pt x="71" y="21"/>
                    </a:lnTo>
                    <a:lnTo>
                      <a:pt x="71" y="23"/>
                    </a:lnTo>
                    <a:lnTo>
                      <a:pt x="73" y="21"/>
                    </a:lnTo>
                    <a:lnTo>
                      <a:pt x="73" y="23"/>
                    </a:lnTo>
                    <a:lnTo>
                      <a:pt x="73" y="21"/>
                    </a:lnTo>
                    <a:lnTo>
                      <a:pt x="75" y="21"/>
                    </a:lnTo>
                    <a:lnTo>
                      <a:pt x="73" y="21"/>
                    </a:lnTo>
                    <a:lnTo>
                      <a:pt x="73" y="23"/>
                    </a:lnTo>
                    <a:lnTo>
                      <a:pt x="75" y="23"/>
                    </a:lnTo>
                    <a:lnTo>
                      <a:pt x="76" y="23"/>
                    </a:lnTo>
                    <a:lnTo>
                      <a:pt x="78" y="23"/>
                    </a:lnTo>
                    <a:lnTo>
                      <a:pt x="78" y="21"/>
                    </a:lnTo>
                    <a:lnTo>
                      <a:pt x="80" y="21"/>
                    </a:lnTo>
                    <a:lnTo>
                      <a:pt x="80" y="19"/>
                    </a:lnTo>
                    <a:lnTo>
                      <a:pt x="82" y="21"/>
                    </a:lnTo>
                    <a:lnTo>
                      <a:pt x="82" y="19"/>
                    </a:lnTo>
                    <a:lnTo>
                      <a:pt x="84" y="19"/>
                    </a:lnTo>
                    <a:lnTo>
                      <a:pt x="84" y="21"/>
                    </a:lnTo>
                    <a:lnTo>
                      <a:pt x="86" y="21"/>
                    </a:lnTo>
                    <a:lnTo>
                      <a:pt x="86" y="19"/>
                    </a:lnTo>
                    <a:lnTo>
                      <a:pt x="86" y="17"/>
                    </a:lnTo>
                    <a:lnTo>
                      <a:pt x="88" y="17"/>
                    </a:lnTo>
                    <a:lnTo>
                      <a:pt x="88" y="15"/>
                    </a:lnTo>
                    <a:lnTo>
                      <a:pt x="90" y="15"/>
                    </a:lnTo>
                    <a:lnTo>
                      <a:pt x="92" y="13"/>
                    </a:lnTo>
                    <a:lnTo>
                      <a:pt x="94" y="13"/>
                    </a:lnTo>
                    <a:lnTo>
                      <a:pt x="96" y="13"/>
                    </a:lnTo>
                    <a:lnTo>
                      <a:pt x="98" y="13"/>
                    </a:lnTo>
                    <a:lnTo>
                      <a:pt x="98" y="11"/>
                    </a:lnTo>
                    <a:lnTo>
                      <a:pt x="99" y="11"/>
                    </a:lnTo>
                    <a:lnTo>
                      <a:pt x="101" y="11"/>
                    </a:lnTo>
                    <a:lnTo>
                      <a:pt x="103" y="9"/>
                    </a:lnTo>
                    <a:lnTo>
                      <a:pt x="103" y="11"/>
                    </a:lnTo>
                    <a:lnTo>
                      <a:pt x="103" y="9"/>
                    </a:lnTo>
                    <a:lnTo>
                      <a:pt x="103" y="11"/>
                    </a:lnTo>
                    <a:lnTo>
                      <a:pt x="105" y="11"/>
                    </a:lnTo>
                    <a:lnTo>
                      <a:pt x="107" y="11"/>
                    </a:lnTo>
                    <a:lnTo>
                      <a:pt x="107" y="9"/>
                    </a:lnTo>
                    <a:lnTo>
                      <a:pt x="109" y="7"/>
                    </a:lnTo>
                    <a:lnTo>
                      <a:pt x="109" y="5"/>
                    </a:lnTo>
                    <a:lnTo>
                      <a:pt x="109" y="7"/>
                    </a:lnTo>
                    <a:lnTo>
                      <a:pt x="111" y="7"/>
                    </a:lnTo>
                    <a:lnTo>
                      <a:pt x="113" y="7"/>
                    </a:lnTo>
                    <a:lnTo>
                      <a:pt x="113" y="5"/>
                    </a:lnTo>
                    <a:lnTo>
                      <a:pt x="113" y="3"/>
                    </a:lnTo>
                    <a:lnTo>
                      <a:pt x="115" y="3"/>
                    </a:lnTo>
                    <a:lnTo>
                      <a:pt x="117" y="3"/>
                    </a:lnTo>
                    <a:lnTo>
                      <a:pt x="117" y="2"/>
                    </a:lnTo>
                    <a:lnTo>
                      <a:pt x="115" y="2"/>
                    </a:lnTo>
                    <a:lnTo>
                      <a:pt x="117" y="2"/>
                    </a:lnTo>
                    <a:lnTo>
                      <a:pt x="119" y="2"/>
                    </a:lnTo>
                    <a:lnTo>
                      <a:pt x="119" y="3"/>
                    </a:lnTo>
                    <a:lnTo>
                      <a:pt x="121" y="3"/>
                    </a:lnTo>
                    <a:lnTo>
                      <a:pt x="121" y="2"/>
                    </a:lnTo>
                    <a:lnTo>
                      <a:pt x="123" y="2"/>
                    </a:lnTo>
                    <a:lnTo>
                      <a:pt x="123" y="0"/>
                    </a:lnTo>
                    <a:lnTo>
                      <a:pt x="124" y="0"/>
                    </a:lnTo>
                    <a:lnTo>
                      <a:pt x="124" y="2"/>
                    </a:lnTo>
                    <a:lnTo>
                      <a:pt x="126" y="2"/>
                    </a:lnTo>
                    <a:lnTo>
                      <a:pt x="128" y="2"/>
                    </a:lnTo>
                    <a:lnTo>
                      <a:pt x="128" y="3"/>
                    </a:lnTo>
                    <a:lnTo>
                      <a:pt x="130" y="2"/>
                    </a:lnTo>
                    <a:lnTo>
                      <a:pt x="130" y="3"/>
                    </a:lnTo>
                    <a:lnTo>
                      <a:pt x="132" y="3"/>
                    </a:lnTo>
                    <a:lnTo>
                      <a:pt x="132" y="5"/>
                    </a:lnTo>
                    <a:lnTo>
                      <a:pt x="132" y="7"/>
                    </a:lnTo>
                    <a:lnTo>
                      <a:pt x="132" y="9"/>
                    </a:lnTo>
                    <a:lnTo>
                      <a:pt x="134" y="9"/>
                    </a:lnTo>
                    <a:lnTo>
                      <a:pt x="132" y="11"/>
                    </a:lnTo>
                    <a:lnTo>
                      <a:pt x="132" y="9"/>
                    </a:lnTo>
                    <a:lnTo>
                      <a:pt x="132" y="11"/>
                    </a:lnTo>
                    <a:lnTo>
                      <a:pt x="132" y="13"/>
                    </a:lnTo>
                    <a:lnTo>
                      <a:pt x="132" y="11"/>
                    </a:lnTo>
                    <a:lnTo>
                      <a:pt x="130" y="11"/>
                    </a:lnTo>
                    <a:lnTo>
                      <a:pt x="130" y="13"/>
                    </a:lnTo>
                    <a:lnTo>
                      <a:pt x="128" y="13"/>
                    </a:lnTo>
                    <a:lnTo>
                      <a:pt x="130" y="13"/>
                    </a:lnTo>
                    <a:lnTo>
                      <a:pt x="130" y="15"/>
                    </a:lnTo>
                    <a:lnTo>
                      <a:pt x="130" y="17"/>
                    </a:lnTo>
                    <a:lnTo>
                      <a:pt x="132" y="17"/>
                    </a:lnTo>
                    <a:lnTo>
                      <a:pt x="132" y="19"/>
                    </a:lnTo>
                    <a:lnTo>
                      <a:pt x="132" y="17"/>
                    </a:lnTo>
                    <a:lnTo>
                      <a:pt x="134" y="17"/>
                    </a:lnTo>
                    <a:lnTo>
                      <a:pt x="134" y="19"/>
                    </a:lnTo>
                    <a:lnTo>
                      <a:pt x="134" y="17"/>
                    </a:lnTo>
                    <a:lnTo>
                      <a:pt x="134" y="19"/>
                    </a:lnTo>
                    <a:lnTo>
                      <a:pt x="134" y="21"/>
                    </a:lnTo>
                    <a:lnTo>
                      <a:pt x="136" y="19"/>
                    </a:lnTo>
                    <a:lnTo>
                      <a:pt x="136" y="21"/>
                    </a:lnTo>
                    <a:lnTo>
                      <a:pt x="138" y="21"/>
                    </a:lnTo>
                    <a:lnTo>
                      <a:pt x="138" y="19"/>
                    </a:lnTo>
                    <a:lnTo>
                      <a:pt x="138" y="21"/>
                    </a:lnTo>
                    <a:lnTo>
                      <a:pt x="140" y="21"/>
                    </a:lnTo>
                    <a:lnTo>
                      <a:pt x="142" y="21"/>
                    </a:lnTo>
                    <a:lnTo>
                      <a:pt x="142" y="23"/>
                    </a:lnTo>
                    <a:lnTo>
                      <a:pt x="140" y="23"/>
                    </a:lnTo>
                    <a:lnTo>
                      <a:pt x="142" y="23"/>
                    </a:lnTo>
                    <a:lnTo>
                      <a:pt x="140" y="25"/>
                    </a:lnTo>
                    <a:lnTo>
                      <a:pt x="138" y="27"/>
                    </a:lnTo>
                    <a:lnTo>
                      <a:pt x="140" y="27"/>
                    </a:lnTo>
                    <a:lnTo>
                      <a:pt x="140" y="28"/>
                    </a:lnTo>
                    <a:lnTo>
                      <a:pt x="140" y="30"/>
                    </a:lnTo>
                    <a:lnTo>
                      <a:pt x="140" y="32"/>
                    </a:lnTo>
                    <a:lnTo>
                      <a:pt x="138" y="32"/>
                    </a:lnTo>
                    <a:lnTo>
                      <a:pt x="138" y="34"/>
                    </a:lnTo>
                    <a:lnTo>
                      <a:pt x="140" y="34"/>
                    </a:lnTo>
                    <a:lnTo>
                      <a:pt x="140" y="36"/>
                    </a:lnTo>
                    <a:lnTo>
                      <a:pt x="138" y="36"/>
                    </a:lnTo>
                    <a:lnTo>
                      <a:pt x="138" y="38"/>
                    </a:lnTo>
                    <a:lnTo>
                      <a:pt x="140" y="38"/>
                    </a:lnTo>
                    <a:lnTo>
                      <a:pt x="140" y="40"/>
                    </a:lnTo>
                    <a:lnTo>
                      <a:pt x="138" y="42"/>
                    </a:lnTo>
                    <a:lnTo>
                      <a:pt x="140" y="42"/>
                    </a:lnTo>
                    <a:lnTo>
                      <a:pt x="138" y="42"/>
                    </a:lnTo>
                    <a:lnTo>
                      <a:pt x="140" y="42"/>
                    </a:lnTo>
                    <a:lnTo>
                      <a:pt x="138" y="42"/>
                    </a:lnTo>
                    <a:lnTo>
                      <a:pt x="138" y="44"/>
                    </a:lnTo>
                    <a:lnTo>
                      <a:pt x="136" y="44"/>
                    </a:lnTo>
                    <a:lnTo>
                      <a:pt x="138" y="46"/>
                    </a:lnTo>
                    <a:lnTo>
                      <a:pt x="136" y="46"/>
                    </a:lnTo>
                    <a:lnTo>
                      <a:pt x="136" y="48"/>
                    </a:lnTo>
                    <a:lnTo>
                      <a:pt x="134" y="48"/>
                    </a:lnTo>
                    <a:lnTo>
                      <a:pt x="136" y="48"/>
                    </a:lnTo>
                    <a:lnTo>
                      <a:pt x="134" y="48"/>
                    </a:lnTo>
                    <a:lnTo>
                      <a:pt x="134" y="50"/>
                    </a:lnTo>
                    <a:lnTo>
                      <a:pt x="134" y="51"/>
                    </a:lnTo>
                    <a:lnTo>
                      <a:pt x="134" y="53"/>
                    </a:lnTo>
                    <a:lnTo>
                      <a:pt x="132" y="53"/>
                    </a:lnTo>
                    <a:lnTo>
                      <a:pt x="132" y="55"/>
                    </a:lnTo>
                    <a:lnTo>
                      <a:pt x="132" y="57"/>
                    </a:lnTo>
                    <a:lnTo>
                      <a:pt x="132" y="59"/>
                    </a:lnTo>
                    <a:lnTo>
                      <a:pt x="134" y="59"/>
                    </a:lnTo>
                    <a:lnTo>
                      <a:pt x="134" y="61"/>
                    </a:lnTo>
                    <a:lnTo>
                      <a:pt x="136" y="61"/>
                    </a:lnTo>
                    <a:lnTo>
                      <a:pt x="138" y="63"/>
                    </a:lnTo>
                    <a:lnTo>
                      <a:pt x="140" y="63"/>
                    </a:lnTo>
                    <a:lnTo>
                      <a:pt x="140" y="65"/>
                    </a:lnTo>
                    <a:lnTo>
                      <a:pt x="142" y="65"/>
                    </a:lnTo>
                    <a:lnTo>
                      <a:pt x="142" y="67"/>
                    </a:lnTo>
                    <a:lnTo>
                      <a:pt x="142" y="69"/>
                    </a:lnTo>
                    <a:lnTo>
                      <a:pt x="144" y="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4" name="Freeform 19"/>
              <p:cNvSpPr>
                <a:spLocks/>
              </p:cNvSpPr>
              <p:nvPr/>
            </p:nvSpPr>
            <p:spPr bwMode="auto">
              <a:xfrm>
                <a:off x="498264" y="3920228"/>
                <a:ext cx="161739" cy="178945"/>
              </a:xfrm>
              <a:custGeom>
                <a:avLst/>
                <a:gdLst>
                  <a:gd name="T0" fmla="*/ 66 w 94"/>
                  <a:gd name="T1" fmla="*/ 14 h 104"/>
                  <a:gd name="T2" fmla="*/ 71 w 94"/>
                  <a:gd name="T3" fmla="*/ 18 h 104"/>
                  <a:gd name="T4" fmla="*/ 75 w 94"/>
                  <a:gd name="T5" fmla="*/ 23 h 104"/>
                  <a:gd name="T6" fmla="*/ 73 w 94"/>
                  <a:gd name="T7" fmla="*/ 29 h 104"/>
                  <a:gd name="T8" fmla="*/ 81 w 94"/>
                  <a:gd name="T9" fmla="*/ 29 h 104"/>
                  <a:gd name="T10" fmla="*/ 89 w 94"/>
                  <a:gd name="T11" fmla="*/ 25 h 104"/>
                  <a:gd name="T12" fmla="*/ 93 w 94"/>
                  <a:gd name="T13" fmla="*/ 25 h 104"/>
                  <a:gd name="T14" fmla="*/ 93 w 94"/>
                  <a:gd name="T15" fmla="*/ 29 h 104"/>
                  <a:gd name="T16" fmla="*/ 89 w 94"/>
                  <a:gd name="T17" fmla="*/ 33 h 104"/>
                  <a:gd name="T18" fmla="*/ 93 w 94"/>
                  <a:gd name="T19" fmla="*/ 37 h 104"/>
                  <a:gd name="T20" fmla="*/ 94 w 94"/>
                  <a:gd name="T21" fmla="*/ 39 h 104"/>
                  <a:gd name="T22" fmla="*/ 91 w 94"/>
                  <a:gd name="T23" fmla="*/ 43 h 104"/>
                  <a:gd name="T24" fmla="*/ 85 w 94"/>
                  <a:gd name="T25" fmla="*/ 45 h 104"/>
                  <a:gd name="T26" fmla="*/ 81 w 94"/>
                  <a:gd name="T27" fmla="*/ 48 h 104"/>
                  <a:gd name="T28" fmla="*/ 77 w 94"/>
                  <a:gd name="T29" fmla="*/ 52 h 104"/>
                  <a:gd name="T30" fmla="*/ 73 w 94"/>
                  <a:gd name="T31" fmla="*/ 56 h 104"/>
                  <a:gd name="T32" fmla="*/ 70 w 94"/>
                  <a:gd name="T33" fmla="*/ 62 h 104"/>
                  <a:gd name="T34" fmla="*/ 70 w 94"/>
                  <a:gd name="T35" fmla="*/ 66 h 104"/>
                  <a:gd name="T36" fmla="*/ 68 w 94"/>
                  <a:gd name="T37" fmla="*/ 72 h 104"/>
                  <a:gd name="T38" fmla="*/ 64 w 94"/>
                  <a:gd name="T39" fmla="*/ 77 h 104"/>
                  <a:gd name="T40" fmla="*/ 64 w 94"/>
                  <a:gd name="T41" fmla="*/ 81 h 104"/>
                  <a:gd name="T42" fmla="*/ 66 w 94"/>
                  <a:gd name="T43" fmla="*/ 81 h 104"/>
                  <a:gd name="T44" fmla="*/ 64 w 94"/>
                  <a:gd name="T45" fmla="*/ 87 h 104"/>
                  <a:gd name="T46" fmla="*/ 60 w 94"/>
                  <a:gd name="T47" fmla="*/ 91 h 104"/>
                  <a:gd name="T48" fmla="*/ 56 w 94"/>
                  <a:gd name="T49" fmla="*/ 95 h 104"/>
                  <a:gd name="T50" fmla="*/ 52 w 94"/>
                  <a:gd name="T51" fmla="*/ 95 h 104"/>
                  <a:gd name="T52" fmla="*/ 52 w 94"/>
                  <a:gd name="T53" fmla="*/ 91 h 104"/>
                  <a:gd name="T54" fmla="*/ 48 w 94"/>
                  <a:gd name="T55" fmla="*/ 89 h 104"/>
                  <a:gd name="T56" fmla="*/ 41 w 94"/>
                  <a:gd name="T57" fmla="*/ 93 h 104"/>
                  <a:gd name="T58" fmla="*/ 43 w 94"/>
                  <a:gd name="T59" fmla="*/ 98 h 104"/>
                  <a:gd name="T60" fmla="*/ 39 w 94"/>
                  <a:gd name="T61" fmla="*/ 97 h 104"/>
                  <a:gd name="T62" fmla="*/ 33 w 94"/>
                  <a:gd name="T63" fmla="*/ 98 h 104"/>
                  <a:gd name="T64" fmla="*/ 33 w 94"/>
                  <a:gd name="T65" fmla="*/ 102 h 104"/>
                  <a:gd name="T66" fmla="*/ 25 w 94"/>
                  <a:gd name="T67" fmla="*/ 100 h 104"/>
                  <a:gd name="T68" fmla="*/ 21 w 94"/>
                  <a:gd name="T69" fmla="*/ 104 h 104"/>
                  <a:gd name="T70" fmla="*/ 16 w 94"/>
                  <a:gd name="T71" fmla="*/ 102 h 104"/>
                  <a:gd name="T72" fmla="*/ 12 w 94"/>
                  <a:gd name="T73" fmla="*/ 98 h 104"/>
                  <a:gd name="T74" fmla="*/ 10 w 94"/>
                  <a:gd name="T75" fmla="*/ 97 h 104"/>
                  <a:gd name="T76" fmla="*/ 6 w 94"/>
                  <a:gd name="T77" fmla="*/ 93 h 104"/>
                  <a:gd name="T78" fmla="*/ 4 w 94"/>
                  <a:gd name="T79" fmla="*/ 91 h 104"/>
                  <a:gd name="T80" fmla="*/ 4 w 94"/>
                  <a:gd name="T81" fmla="*/ 85 h 104"/>
                  <a:gd name="T82" fmla="*/ 2 w 94"/>
                  <a:gd name="T83" fmla="*/ 77 h 104"/>
                  <a:gd name="T84" fmla="*/ 4 w 94"/>
                  <a:gd name="T85" fmla="*/ 75 h 104"/>
                  <a:gd name="T86" fmla="*/ 6 w 94"/>
                  <a:gd name="T87" fmla="*/ 73 h 104"/>
                  <a:gd name="T88" fmla="*/ 10 w 94"/>
                  <a:gd name="T89" fmla="*/ 70 h 104"/>
                  <a:gd name="T90" fmla="*/ 12 w 94"/>
                  <a:gd name="T91" fmla="*/ 66 h 104"/>
                  <a:gd name="T92" fmla="*/ 14 w 94"/>
                  <a:gd name="T93" fmla="*/ 62 h 104"/>
                  <a:gd name="T94" fmla="*/ 18 w 94"/>
                  <a:gd name="T95" fmla="*/ 56 h 104"/>
                  <a:gd name="T96" fmla="*/ 20 w 94"/>
                  <a:gd name="T97" fmla="*/ 52 h 104"/>
                  <a:gd name="T98" fmla="*/ 25 w 94"/>
                  <a:gd name="T99" fmla="*/ 50 h 104"/>
                  <a:gd name="T100" fmla="*/ 25 w 94"/>
                  <a:gd name="T101" fmla="*/ 47 h 104"/>
                  <a:gd name="T102" fmla="*/ 29 w 94"/>
                  <a:gd name="T103" fmla="*/ 43 h 104"/>
                  <a:gd name="T104" fmla="*/ 27 w 94"/>
                  <a:gd name="T105" fmla="*/ 37 h 104"/>
                  <a:gd name="T106" fmla="*/ 27 w 94"/>
                  <a:gd name="T107" fmla="*/ 33 h 104"/>
                  <a:gd name="T108" fmla="*/ 25 w 94"/>
                  <a:gd name="T109" fmla="*/ 27 h 104"/>
                  <a:gd name="T110" fmla="*/ 21 w 94"/>
                  <a:gd name="T111" fmla="*/ 23 h 104"/>
                  <a:gd name="T112" fmla="*/ 23 w 94"/>
                  <a:gd name="T113" fmla="*/ 14 h 104"/>
                  <a:gd name="T114" fmla="*/ 25 w 94"/>
                  <a:gd name="T115" fmla="*/ 12 h 104"/>
                  <a:gd name="T116" fmla="*/ 25 w 94"/>
                  <a:gd name="T117" fmla="*/ 16 h 104"/>
                  <a:gd name="T118" fmla="*/ 29 w 94"/>
                  <a:gd name="T119" fmla="*/ 16 h 104"/>
                  <a:gd name="T120" fmla="*/ 33 w 94"/>
                  <a:gd name="T121" fmla="*/ 16 h 104"/>
                  <a:gd name="T122" fmla="*/ 41 w 94"/>
                  <a:gd name="T123" fmla="*/ 0 h 104"/>
                  <a:gd name="T124" fmla="*/ 56 w 94"/>
                  <a:gd name="T125" fmla="*/ 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4" h="104">
                    <a:moveTo>
                      <a:pt x="58" y="6"/>
                    </a:moveTo>
                    <a:lnTo>
                      <a:pt x="60" y="6"/>
                    </a:lnTo>
                    <a:lnTo>
                      <a:pt x="62" y="10"/>
                    </a:lnTo>
                    <a:lnTo>
                      <a:pt x="66" y="14"/>
                    </a:lnTo>
                    <a:lnTo>
                      <a:pt x="68" y="16"/>
                    </a:lnTo>
                    <a:lnTo>
                      <a:pt x="70" y="14"/>
                    </a:lnTo>
                    <a:lnTo>
                      <a:pt x="71" y="16"/>
                    </a:lnTo>
                    <a:lnTo>
                      <a:pt x="71" y="18"/>
                    </a:lnTo>
                    <a:lnTo>
                      <a:pt x="75" y="20"/>
                    </a:lnTo>
                    <a:lnTo>
                      <a:pt x="77" y="22"/>
                    </a:lnTo>
                    <a:lnTo>
                      <a:pt x="77" y="23"/>
                    </a:lnTo>
                    <a:lnTo>
                      <a:pt x="75" y="23"/>
                    </a:lnTo>
                    <a:lnTo>
                      <a:pt x="75" y="25"/>
                    </a:lnTo>
                    <a:lnTo>
                      <a:pt x="75" y="23"/>
                    </a:lnTo>
                    <a:lnTo>
                      <a:pt x="73" y="23"/>
                    </a:lnTo>
                    <a:lnTo>
                      <a:pt x="73" y="29"/>
                    </a:lnTo>
                    <a:lnTo>
                      <a:pt x="75" y="27"/>
                    </a:lnTo>
                    <a:lnTo>
                      <a:pt x="75" y="29"/>
                    </a:lnTo>
                    <a:lnTo>
                      <a:pt x="75" y="27"/>
                    </a:lnTo>
                    <a:lnTo>
                      <a:pt x="81" y="29"/>
                    </a:lnTo>
                    <a:lnTo>
                      <a:pt x="83" y="29"/>
                    </a:lnTo>
                    <a:lnTo>
                      <a:pt x="85" y="25"/>
                    </a:lnTo>
                    <a:lnTo>
                      <a:pt x="89" y="27"/>
                    </a:lnTo>
                    <a:lnTo>
                      <a:pt x="89" y="25"/>
                    </a:lnTo>
                    <a:lnTo>
                      <a:pt x="89" y="23"/>
                    </a:lnTo>
                    <a:lnTo>
                      <a:pt x="89" y="22"/>
                    </a:lnTo>
                    <a:lnTo>
                      <a:pt x="91" y="23"/>
                    </a:lnTo>
                    <a:lnTo>
                      <a:pt x="93" y="25"/>
                    </a:lnTo>
                    <a:lnTo>
                      <a:pt x="93" y="27"/>
                    </a:lnTo>
                    <a:lnTo>
                      <a:pt x="91" y="27"/>
                    </a:lnTo>
                    <a:lnTo>
                      <a:pt x="93" y="27"/>
                    </a:lnTo>
                    <a:lnTo>
                      <a:pt x="93" y="29"/>
                    </a:lnTo>
                    <a:lnTo>
                      <a:pt x="91" y="29"/>
                    </a:lnTo>
                    <a:lnTo>
                      <a:pt x="91" y="31"/>
                    </a:lnTo>
                    <a:lnTo>
                      <a:pt x="91" y="33"/>
                    </a:lnTo>
                    <a:lnTo>
                      <a:pt x="89" y="33"/>
                    </a:lnTo>
                    <a:lnTo>
                      <a:pt x="91" y="33"/>
                    </a:lnTo>
                    <a:lnTo>
                      <a:pt x="91" y="35"/>
                    </a:lnTo>
                    <a:lnTo>
                      <a:pt x="93" y="35"/>
                    </a:lnTo>
                    <a:lnTo>
                      <a:pt x="93" y="37"/>
                    </a:lnTo>
                    <a:lnTo>
                      <a:pt x="93" y="35"/>
                    </a:lnTo>
                    <a:lnTo>
                      <a:pt x="94" y="35"/>
                    </a:lnTo>
                    <a:lnTo>
                      <a:pt x="94" y="37"/>
                    </a:lnTo>
                    <a:lnTo>
                      <a:pt x="94" y="39"/>
                    </a:lnTo>
                    <a:lnTo>
                      <a:pt x="94" y="41"/>
                    </a:lnTo>
                    <a:lnTo>
                      <a:pt x="94" y="43"/>
                    </a:lnTo>
                    <a:lnTo>
                      <a:pt x="93" y="43"/>
                    </a:lnTo>
                    <a:lnTo>
                      <a:pt x="91" y="43"/>
                    </a:lnTo>
                    <a:lnTo>
                      <a:pt x="89" y="43"/>
                    </a:lnTo>
                    <a:lnTo>
                      <a:pt x="89" y="45"/>
                    </a:lnTo>
                    <a:lnTo>
                      <a:pt x="87" y="45"/>
                    </a:lnTo>
                    <a:lnTo>
                      <a:pt x="85" y="45"/>
                    </a:lnTo>
                    <a:lnTo>
                      <a:pt x="85" y="47"/>
                    </a:lnTo>
                    <a:lnTo>
                      <a:pt x="83" y="47"/>
                    </a:lnTo>
                    <a:lnTo>
                      <a:pt x="81" y="47"/>
                    </a:lnTo>
                    <a:lnTo>
                      <a:pt x="81" y="48"/>
                    </a:lnTo>
                    <a:lnTo>
                      <a:pt x="79" y="48"/>
                    </a:lnTo>
                    <a:lnTo>
                      <a:pt x="79" y="50"/>
                    </a:lnTo>
                    <a:lnTo>
                      <a:pt x="79" y="52"/>
                    </a:lnTo>
                    <a:lnTo>
                      <a:pt x="77" y="52"/>
                    </a:lnTo>
                    <a:lnTo>
                      <a:pt x="77" y="54"/>
                    </a:lnTo>
                    <a:lnTo>
                      <a:pt x="75" y="54"/>
                    </a:lnTo>
                    <a:lnTo>
                      <a:pt x="75" y="56"/>
                    </a:lnTo>
                    <a:lnTo>
                      <a:pt x="73" y="56"/>
                    </a:lnTo>
                    <a:lnTo>
                      <a:pt x="71" y="56"/>
                    </a:lnTo>
                    <a:lnTo>
                      <a:pt x="70" y="58"/>
                    </a:lnTo>
                    <a:lnTo>
                      <a:pt x="70" y="60"/>
                    </a:lnTo>
                    <a:lnTo>
                      <a:pt x="70" y="62"/>
                    </a:lnTo>
                    <a:lnTo>
                      <a:pt x="70" y="64"/>
                    </a:lnTo>
                    <a:lnTo>
                      <a:pt x="70" y="66"/>
                    </a:lnTo>
                    <a:lnTo>
                      <a:pt x="70" y="68"/>
                    </a:lnTo>
                    <a:lnTo>
                      <a:pt x="70" y="66"/>
                    </a:lnTo>
                    <a:lnTo>
                      <a:pt x="70" y="68"/>
                    </a:lnTo>
                    <a:lnTo>
                      <a:pt x="70" y="70"/>
                    </a:lnTo>
                    <a:lnTo>
                      <a:pt x="68" y="70"/>
                    </a:lnTo>
                    <a:lnTo>
                      <a:pt x="68" y="72"/>
                    </a:lnTo>
                    <a:lnTo>
                      <a:pt x="66" y="72"/>
                    </a:lnTo>
                    <a:lnTo>
                      <a:pt x="66" y="73"/>
                    </a:lnTo>
                    <a:lnTo>
                      <a:pt x="66" y="75"/>
                    </a:lnTo>
                    <a:lnTo>
                      <a:pt x="64" y="77"/>
                    </a:lnTo>
                    <a:lnTo>
                      <a:pt x="62" y="77"/>
                    </a:lnTo>
                    <a:lnTo>
                      <a:pt x="64" y="77"/>
                    </a:lnTo>
                    <a:lnTo>
                      <a:pt x="64" y="79"/>
                    </a:lnTo>
                    <a:lnTo>
                      <a:pt x="64" y="81"/>
                    </a:lnTo>
                    <a:lnTo>
                      <a:pt x="62" y="81"/>
                    </a:lnTo>
                    <a:lnTo>
                      <a:pt x="64" y="81"/>
                    </a:lnTo>
                    <a:lnTo>
                      <a:pt x="66" y="83"/>
                    </a:lnTo>
                    <a:lnTo>
                      <a:pt x="66" y="81"/>
                    </a:lnTo>
                    <a:lnTo>
                      <a:pt x="66" y="83"/>
                    </a:lnTo>
                    <a:lnTo>
                      <a:pt x="66" y="85"/>
                    </a:lnTo>
                    <a:lnTo>
                      <a:pt x="64" y="85"/>
                    </a:lnTo>
                    <a:lnTo>
                      <a:pt x="64" y="87"/>
                    </a:lnTo>
                    <a:lnTo>
                      <a:pt x="62" y="87"/>
                    </a:lnTo>
                    <a:lnTo>
                      <a:pt x="62" y="89"/>
                    </a:lnTo>
                    <a:lnTo>
                      <a:pt x="62" y="91"/>
                    </a:lnTo>
                    <a:lnTo>
                      <a:pt x="60" y="91"/>
                    </a:lnTo>
                    <a:lnTo>
                      <a:pt x="62" y="93"/>
                    </a:lnTo>
                    <a:lnTo>
                      <a:pt x="60" y="93"/>
                    </a:lnTo>
                    <a:lnTo>
                      <a:pt x="58" y="93"/>
                    </a:lnTo>
                    <a:lnTo>
                      <a:pt x="56" y="95"/>
                    </a:lnTo>
                    <a:lnTo>
                      <a:pt x="56" y="93"/>
                    </a:lnTo>
                    <a:lnTo>
                      <a:pt x="56" y="95"/>
                    </a:lnTo>
                    <a:lnTo>
                      <a:pt x="54" y="95"/>
                    </a:lnTo>
                    <a:lnTo>
                      <a:pt x="52" y="95"/>
                    </a:lnTo>
                    <a:lnTo>
                      <a:pt x="52" y="93"/>
                    </a:lnTo>
                    <a:lnTo>
                      <a:pt x="52" y="91"/>
                    </a:lnTo>
                    <a:lnTo>
                      <a:pt x="52" y="89"/>
                    </a:lnTo>
                    <a:lnTo>
                      <a:pt x="52" y="91"/>
                    </a:lnTo>
                    <a:lnTo>
                      <a:pt x="50" y="93"/>
                    </a:lnTo>
                    <a:lnTo>
                      <a:pt x="50" y="91"/>
                    </a:lnTo>
                    <a:lnTo>
                      <a:pt x="48" y="91"/>
                    </a:lnTo>
                    <a:lnTo>
                      <a:pt x="48" y="89"/>
                    </a:lnTo>
                    <a:lnTo>
                      <a:pt x="46" y="89"/>
                    </a:lnTo>
                    <a:lnTo>
                      <a:pt x="46" y="91"/>
                    </a:lnTo>
                    <a:lnTo>
                      <a:pt x="45" y="91"/>
                    </a:lnTo>
                    <a:lnTo>
                      <a:pt x="41" y="93"/>
                    </a:lnTo>
                    <a:lnTo>
                      <a:pt x="43" y="93"/>
                    </a:lnTo>
                    <a:lnTo>
                      <a:pt x="43" y="95"/>
                    </a:lnTo>
                    <a:lnTo>
                      <a:pt x="43" y="97"/>
                    </a:lnTo>
                    <a:lnTo>
                      <a:pt x="43" y="98"/>
                    </a:lnTo>
                    <a:lnTo>
                      <a:pt x="41" y="98"/>
                    </a:lnTo>
                    <a:lnTo>
                      <a:pt x="41" y="97"/>
                    </a:lnTo>
                    <a:lnTo>
                      <a:pt x="41" y="98"/>
                    </a:lnTo>
                    <a:lnTo>
                      <a:pt x="39" y="97"/>
                    </a:lnTo>
                    <a:lnTo>
                      <a:pt x="37" y="97"/>
                    </a:lnTo>
                    <a:lnTo>
                      <a:pt x="37" y="98"/>
                    </a:lnTo>
                    <a:lnTo>
                      <a:pt x="35" y="98"/>
                    </a:lnTo>
                    <a:lnTo>
                      <a:pt x="33" y="98"/>
                    </a:lnTo>
                    <a:lnTo>
                      <a:pt x="33" y="100"/>
                    </a:lnTo>
                    <a:lnTo>
                      <a:pt x="31" y="100"/>
                    </a:lnTo>
                    <a:lnTo>
                      <a:pt x="33" y="100"/>
                    </a:lnTo>
                    <a:lnTo>
                      <a:pt x="33" y="102"/>
                    </a:lnTo>
                    <a:lnTo>
                      <a:pt x="31" y="102"/>
                    </a:lnTo>
                    <a:lnTo>
                      <a:pt x="29" y="102"/>
                    </a:lnTo>
                    <a:lnTo>
                      <a:pt x="27" y="100"/>
                    </a:lnTo>
                    <a:lnTo>
                      <a:pt x="25" y="100"/>
                    </a:lnTo>
                    <a:lnTo>
                      <a:pt x="25" y="102"/>
                    </a:lnTo>
                    <a:lnTo>
                      <a:pt x="25" y="104"/>
                    </a:lnTo>
                    <a:lnTo>
                      <a:pt x="23" y="104"/>
                    </a:lnTo>
                    <a:lnTo>
                      <a:pt x="21" y="104"/>
                    </a:lnTo>
                    <a:lnTo>
                      <a:pt x="20" y="104"/>
                    </a:lnTo>
                    <a:lnTo>
                      <a:pt x="18" y="104"/>
                    </a:lnTo>
                    <a:lnTo>
                      <a:pt x="16" y="104"/>
                    </a:lnTo>
                    <a:lnTo>
                      <a:pt x="16" y="102"/>
                    </a:lnTo>
                    <a:lnTo>
                      <a:pt x="16" y="100"/>
                    </a:lnTo>
                    <a:lnTo>
                      <a:pt x="14" y="102"/>
                    </a:lnTo>
                    <a:lnTo>
                      <a:pt x="14" y="100"/>
                    </a:lnTo>
                    <a:lnTo>
                      <a:pt x="12" y="98"/>
                    </a:lnTo>
                    <a:lnTo>
                      <a:pt x="14" y="98"/>
                    </a:lnTo>
                    <a:lnTo>
                      <a:pt x="14" y="97"/>
                    </a:lnTo>
                    <a:lnTo>
                      <a:pt x="12" y="97"/>
                    </a:lnTo>
                    <a:lnTo>
                      <a:pt x="10" y="97"/>
                    </a:lnTo>
                    <a:lnTo>
                      <a:pt x="10" y="95"/>
                    </a:lnTo>
                    <a:lnTo>
                      <a:pt x="8" y="95"/>
                    </a:lnTo>
                    <a:lnTo>
                      <a:pt x="8" y="93"/>
                    </a:lnTo>
                    <a:lnTo>
                      <a:pt x="6" y="93"/>
                    </a:lnTo>
                    <a:lnTo>
                      <a:pt x="6" y="95"/>
                    </a:lnTo>
                    <a:lnTo>
                      <a:pt x="4" y="95"/>
                    </a:lnTo>
                    <a:lnTo>
                      <a:pt x="4" y="93"/>
                    </a:lnTo>
                    <a:lnTo>
                      <a:pt x="4" y="91"/>
                    </a:lnTo>
                    <a:lnTo>
                      <a:pt x="4" y="89"/>
                    </a:lnTo>
                    <a:lnTo>
                      <a:pt x="4" y="87"/>
                    </a:lnTo>
                    <a:lnTo>
                      <a:pt x="2" y="87"/>
                    </a:lnTo>
                    <a:lnTo>
                      <a:pt x="4" y="85"/>
                    </a:lnTo>
                    <a:lnTo>
                      <a:pt x="4" y="83"/>
                    </a:lnTo>
                    <a:lnTo>
                      <a:pt x="2" y="81"/>
                    </a:lnTo>
                    <a:lnTo>
                      <a:pt x="2" y="79"/>
                    </a:lnTo>
                    <a:lnTo>
                      <a:pt x="2" y="77"/>
                    </a:lnTo>
                    <a:lnTo>
                      <a:pt x="0" y="77"/>
                    </a:lnTo>
                    <a:lnTo>
                      <a:pt x="0" y="75"/>
                    </a:lnTo>
                    <a:lnTo>
                      <a:pt x="2" y="75"/>
                    </a:lnTo>
                    <a:lnTo>
                      <a:pt x="4" y="75"/>
                    </a:lnTo>
                    <a:lnTo>
                      <a:pt x="4" y="73"/>
                    </a:lnTo>
                    <a:lnTo>
                      <a:pt x="6" y="73"/>
                    </a:lnTo>
                    <a:lnTo>
                      <a:pt x="6" y="75"/>
                    </a:lnTo>
                    <a:lnTo>
                      <a:pt x="6" y="73"/>
                    </a:lnTo>
                    <a:lnTo>
                      <a:pt x="8" y="73"/>
                    </a:lnTo>
                    <a:lnTo>
                      <a:pt x="8" y="72"/>
                    </a:lnTo>
                    <a:lnTo>
                      <a:pt x="8" y="70"/>
                    </a:lnTo>
                    <a:lnTo>
                      <a:pt x="10" y="70"/>
                    </a:lnTo>
                    <a:lnTo>
                      <a:pt x="12" y="70"/>
                    </a:lnTo>
                    <a:lnTo>
                      <a:pt x="12" y="68"/>
                    </a:lnTo>
                    <a:lnTo>
                      <a:pt x="14" y="66"/>
                    </a:lnTo>
                    <a:lnTo>
                      <a:pt x="12" y="66"/>
                    </a:lnTo>
                    <a:lnTo>
                      <a:pt x="14" y="64"/>
                    </a:lnTo>
                    <a:lnTo>
                      <a:pt x="12" y="64"/>
                    </a:lnTo>
                    <a:lnTo>
                      <a:pt x="14" y="64"/>
                    </a:lnTo>
                    <a:lnTo>
                      <a:pt x="14" y="62"/>
                    </a:lnTo>
                    <a:lnTo>
                      <a:pt x="14" y="60"/>
                    </a:lnTo>
                    <a:lnTo>
                      <a:pt x="16" y="60"/>
                    </a:lnTo>
                    <a:lnTo>
                      <a:pt x="16" y="58"/>
                    </a:lnTo>
                    <a:lnTo>
                      <a:pt x="18" y="56"/>
                    </a:lnTo>
                    <a:lnTo>
                      <a:pt x="16" y="56"/>
                    </a:lnTo>
                    <a:lnTo>
                      <a:pt x="16" y="54"/>
                    </a:lnTo>
                    <a:lnTo>
                      <a:pt x="18" y="54"/>
                    </a:lnTo>
                    <a:lnTo>
                      <a:pt x="20" y="52"/>
                    </a:lnTo>
                    <a:lnTo>
                      <a:pt x="20" y="50"/>
                    </a:lnTo>
                    <a:lnTo>
                      <a:pt x="21" y="50"/>
                    </a:lnTo>
                    <a:lnTo>
                      <a:pt x="23" y="50"/>
                    </a:lnTo>
                    <a:lnTo>
                      <a:pt x="25" y="50"/>
                    </a:lnTo>
                    <a:lnTo>
                      <a:pt x="25" y="48"/>
                    </a:lnTo>
                    <a:lnTo>
                      <a:pt x="25" y="47"/>
                    </a:lnTo>
                    <a:lnTo>
                      <a:pt x="25" y="45"/>
                    </a:lnTo>
                    <a:lnTo>
                      <a:pt x="25" y="47"/>
                    </a:lnTo>
                    <a:lnTo>
                      <a:pt x="27" y="47"/>
                    </a:lnTo>
                    <a:lnTo>
                      <a:pt x="27" y="45"/>
                    </a:lnTo>
                    <a:lnTo>
                      <a:pt x="27" y="43"/>
                    </a:lnTo>
                    <a:lnTo>
                      <a:pt x="29" y="43"/>
                    </a:lnTo>
                    <a:lnTo>
                      <a:pt x="29" y="41"/>
                    </a:lnTo>
                    <a:lnTo>
                      <a:pt x="27" y="41"/>
                    </a:lnTo>
                    <a:lnTo>
                      <a:pt x="27" y="39"/>
                    </a:lnTo>
                    <a:lnTo>
                      <a:pt x="27" y="37"/>
                    </a:lnTo>
                    <a:lnTo>
                      <a:pt x="25" y="37"/>
                    </a:lnTo>
                    <a:lnTo>
                      <a:pt x="25" y="35"/>
                    </a:lnTo>
                    <a:lnTo>
                      <a:pt x="27" y="35"/>
                    </a:lnTo>
                    <a:lnTo>
                      <a:pt x="27" y="33"/>
                    </a:lnTo>
                    <a:lnTo>
                      <a:pt x="27" y="31"/>
                    </a:lnTo>
                    <a:lnTo>
                      <a:pt x="27" y="29"/>
                    </a:lnTo>
                    <a:lnTo>
                      <a:pt x="27" y="27"/>
                    </a:lnTo>
                    <a:lnTo>
                      <a:pt x="25" y="27"/>
                    </a:lnTo>
                    <a:lnTo>
                      <a:pt x="25" y="25"/>
                    </a:lnTo>
                    <a:lnTo>
                      <a:pt x="23" y="25"/>
                    </a:lnTo>
                    <a:lnTo>
                      <a:pt x="21" y="25"/>
                    </a:lnTo>
                    <a:lnTo>
                      <a:pt x="21" y="23"/>
                    </a:lnTo>
                    <a:lnTo>
                      <a:pt x="21" y="22"/>
                    </a:lnTo>
                    <a:lnTo>
                      <a:pt x="21" y="20"/>
                    </a:lnTo>
                    <a:lnTo>
                      <a:pt x="21" y="18"/>
                    </a:lnTo>
                    <a:lnTo>
                      <a:pt x="23" y="14"/>
                    </a:lnTo>
                    <a:lnTo>
                      <a:pt x="23" y="12"/>
                    </a:lnTo>
                    <a:lnTo>
                      <a:pt x="23" y="14"/>
                    </a:lnTo>
                    <a:lnTo>
                      <a:pt x="25" y="14"/>
                    </a:lnTo>
                    <a:lnTo>
                      <a:pt x="25" y="12"/>
                    </a:lnTo>
                    <a:lnTo>
                      <a:pt x="25" y="14"/>
                    </a:lnTo>
                    <a:lnTo>
                      <a:pt x="23" y="14"/>
                    </a:lnTo>
                    <a:lnTo>
                      <a:pt x="25" y="14"/>
                    </a:lnTo>
                    <a:lnTo>
                      <a:pt x="25" y="16"/>
                    </a:lnTo>
                    <a:lnTo>
                      <a:pt x="27" y="16"/>
                    </a:lnTo>
                    <a:lnTo>
                      <a:pt x="27" y="14"/>
                    </a:lnTo>
                    <a:lnTo>
                      <a:pt x="27" y="16"/>
                    </a:lnTo>
                    <a:lnTo>
                      <a:pt x="29" y="16"/>
                    </a:lnTo>
                    <a:lnTo>
                      <a:pt x="29" y="14"/>
                    </a:lnTo>
                    <a:lnTo>
                      <a:pt x="31" y="14"/>
                    </a:lnTo>
                    <a:lnTo>
                      <a:pt x="33" y="14"/>
                    </a:lnTo>
                    <a:lnTo>
                      <a:pt x="33" y="16"/>
                    </a:lnTo>
                    <a:lnTo>
                      <a:pt x="37" y="12"/>
                    </a:lnTo>
                    <a:lnTo>
                      <a:pt x="39" y="6"/>
                    </a:lnTo>
                    <a:lnTo>
                      <a:pt x="39" y="4"/>
                    </a:lnTo>
                    <a:lnTo>
                      <a:pt x="41" y="0"/>
                    </a:lnTo>
                    <a:lnTo>
                      <a:pt x="46" y="4"/>
                    </a:lnTo>
                    <a:lnTo>
                      <a:pt x="45" y="8"/>
                    </a:lnTo>
                    <a:lnTo>
                      <a:pt x="52" y="14"/>
                    </a:lnTo>
                    <a:lnTo>
                      <a:pt x="56" y="4"/>
                    </a:lnTo>
                    <a:lnTo>
                      <a:pt x="58"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5" name="Freeform 20"/>
              <p:cNvSpPr>
                <a:spLocks/>
              </p:cNvSpPr>
              <p:nvPr/>
            </p:nvSpPr>
            <p:spPr bwMode="auto">
              <a:xfrm>
                <a:off x="1817983" y="2968723"/>
                <a:ext cx="340684" cy="502423"/>
              </a:xfrm>
              <a:custGeom>
                <a:avLst/>
                <a:gdLst>
                  <a:gd name="T0" fmla="*/ 194 w 198"/>
                  <a:gd name="T1" fmla="*/ 65 h 292"/>
                  <a:gd name="T2" fmla="*/ 192 w 198"/>
                  <a:gd name="T3" fmla="*/ 86 h 292"/>
                  <a:gd name="T4" fmla="*/ 179 w 198"/>
                  <a:gd name="T5" fmla="*/ 92 h 292"/>
                  <a:gd name="T6" fmla="*/ 175 w 198"/>
                  <a:gd name="T7" fmla="*/ 113 h 292"/>
                  <a:gd name="T8" fmla="*/ 163 w 198"/>
                  <a:gd name="T9" fmla="*/ 129 h 292"/>
                  <a:gd name="T10" fmla="*/ 169 w 198"/>
                  <a:gd name="T11" fmla="*/ 142 h 292"/>
                  <a:gd name="T12" fmla="*/ 177 w 198"/>
                  <a:gd name="T13" fmla="*/ 150 h 292"/>
                  <a:gd name="T14" fmla="*/ 194 w 198"/>
                  <a:gd name="T15" fmla="*/ 161 h 292"/>
                  <a:gd name="T16" fmla="*/ 186 w 198"/>
                  <a:gd name="T17" fmla="*/ 177 h 292"/>
                  <a:gd name="T18" fmla="*/ 182 w 198"/>
                  <a:gd name="T19" fmla="*/ 182 h 292"/>
                  <a:gd name="T20" fmla="*/ 171 w 198"/>
                  <a:gd name="T21" fmla="*/ 184 h 292"/>
                  <a:gd name="T22" fmla="*/ 156 w 198"/>
                  <a:gd name="T23" fmla="*/ 192 h 292"/>
                  <a:gd name="T24" fmla="*/ 142 w 198"/>
                  <a:gd name="T25" fmla="*/ 186 h 292"/>
                  <a:gd name="T26" fmla="*/ 127 w 198"/>
                  <a:gd name="T27" fmla="*/ 180 h 292"/>
                  <a:gd name="T28" fmla="*/ 117 w 198"/>
                  <a:gd name="T29" fmla="*/ 179 h 292"/>
                  <a:gd name="T30" fmla="*/ 111 w 198"/>
                  <a:gd name="T31" fmla="*/ 188 h 292"/>
                  <a:gd name="T32" fmla="*/ 111 w 198"/>
                  <a:gd name="T33" fmla="*/ 204 h 292"/>
                  <a:gd name="T34" fmla="*/ 107 w 198"/>
                  <a:gd name="T35" fmla="*/ 205 h 292"/>
                  <a:gd name="T36" fmla="*/ 107 w 198"/>
                  <a:gd name="T37" fmla="*/ 227 h 292"/>
                  <a:gd name="T38" fmla="*/ 117 w 198"/>
                  <a:gd name="T39" fmla="*/ 250 h 292"/>
                  <a:gd name="T40" fmla="*/ 92 w 198"/>
                  <a:gd name="T41" fmla="*/ 236 h 292"/>
                  <a:gd name="T42" fmla="*/ 69 w 198"/>
                  <a:gd name="T43" fmla="*/ 252 h 292"/>
                  <a:gd name="T44" fmla="*/ 69 w 198"/>
                  <a:gd name="T45" fmla="*/ 282 h 292"/>
                  <a:gd name="T46" fmla="*/ 29 w 198"/>
                  <a:gd name="T47" fmla="*/ 288 h 292"/>
                  <a:gd name="T48" fmla="*/ 40 w 198"/>
                  <a:gd name="T49" fmla="*/ 273 h 292"/>
                  <a:gd name="T50" fmla="*/ 34 w 198"/>
                  <a:gd name="T51" fmla="*/ 254 h 292"/>
                  <a:gd name="T52" fmla="*/ 17 w 198"/>
                  <a:gd name="T53" fmla="*/ 248 h 292"/>
                  <a:gd name="T54" fmla="*/ 6 w 198"/>
                  <a:gd name="T55" fmla="*/ 250 h 292"/>
                  <a:gd name="T56" fmla="*/ 6 w 198"/>
                  <a:gd name="T57" fmla="*/ 230 h 292"/>
                  <a:gd name="T58" fmla="*/ 19 w 198"/>
                  <a:gd name="T59" fmla="*/ 207 h 292"/>
                  <a:gd name="T60" fmla="*/ 33 w 198"/>
                  <a:gd name="T61" fmla="*/ 169 h 292"/>
                  <a:gd name="T62" fmla="*/ 44 w 198"/>
                  <a:gd name="T63" fmla="*/ 150 h 292"/>
                  <a:gd name="T64" fmla="*/ 65 w 198"/>
                  <a:gd name="T65" fmla="*/ 142 h 292"/>
                  <a:gd name="T66" fmla="*/ 81 w 198"/>
                  <a:gd name="T67" fmla="*/ 127 h 292"/>
                  <a:gd name="T68" fmla="*/ 92 w 198"/>
                  <a:gd name="T69" fmla="*/ 111 h 292"/>
                  <a:gd name="T70" fmla="*/ 88 w 198"/>
                  <a:gd name="T71" fmla="*/ 100 h 292"/>
                  <a:gd name="T72" fmla="*/ 69 w 198"/>
                  <a:gd name="T73" fmla="*/ 111 h 292"/>
                  <a:gd name="T74" fmla="*/ 42 w 198"/>
                  <a:gd name="T75" fmla="*/ 109 h 292"/>
                  <a:gd name="T76" fmla="*/ 19 w 198"/>
                  <a:gd name="T77" fmla="*/ 102 h 292"/>
                  <a:gd name="T78" fmla="*/ 13 w 198"/>
                  <a:gd name="T79" fmla="*/ 80 h 292"/>
                  <a:gd name="T80" fmla="*/ 13 w 198"/>
                  <a:gd name="T81" fmla="*/ 65 h 292"/>
                  <a:gd name="T82" fmla="*/ 19 w 198"/>
                  <a:gd name="T83" fmla="*/ 52 h 292"/>
                  <a:gd name="T84" fmla="*/ 34 w 198"/>
                  <a:gd name="T85" fmla="*/ 46 h 292"/>
                  <a:gd name="T86" fmla="*/ 42 w 198"/>
                  <a:gd name="T87" fmla="*/ 61 h 292"/>
                  <a:gd name="T88" fmla="*/ 40 w 198"/>
                  <a:gd name="T89" fmla="*/ 75 h 292"/>
                  <a:gd name="T90" fmla="*/ 48 w 198"/>
                  <a:gd name="T91" fmla="*/ 65 h 292"/>
                  <a:gd name="T92" fmla="*/ 54 w 198"/>
                  <a:gd name="T93" fmla="*/ 77 h 292"/>
                  <a:gd name="T94" fmla="*/ 65 w 198"/>
                  <a:gd name="T95" fmla="*/ 75 h 292"/>
                  <a:gd name="T96" fmla="*/ 65 w 198"/>
                  <a:gd name="T97" fmla="*/ 69 h 292"/>
                  <a:gd name="T98" fmla="*/ 73 w 198"/>
                  <a:gd name="T99" fmla="*/ 59 h 292"/>
                  <a:gd name="T100" fmla="*/ 84 w 198"/>
                  <a:gd name="T101" fmla="*/ 57 h 292"/>
                  <a:gd name="T102" fmla="*/ 102 w 198"/>
                  <a:gd name="T103" fmla="*/ 54 h 292"/>
                  <a:gd name="T104" fmla="*/ 94 w 198"/>
                  <a:gd name="T105" fmla="*/ 46 h 292"/>
                  <a:gd name="T106" fmla="*/ 98 w 198"/>
                  <a:gd name="T107" fmla="*/ 29 h 292"/>
                  <a:gd name="T108" fmla="*/ 107 w 198"/>
                  <a:gd name="T109" fmla="*/ 17 h 292"/>
                  <a:gd name="T110" fmla="*/ 104 w 198"/>
                  <a:gd name="T111" fmla="*/ 7 h 292"/>
                  <a:gd name="T112" fmla="*/ 121 w 198"/>
                  <a:gd name="T113" fmla="*/ 4 h 292"/>
                  <a:gd name="T114" fmla="*/ 136 w 198"/>
                  <a:gd name="T115" fmla="*/ 19 h 292"/>
                  <a:gd name="T116" fmla="*/ 152 w 198"/>
                  <a:gd name="T117" fmla="*/ 25 h 292"/>
                  <a:gd name="T118" fmla="*/ 167 w 198"/>
                  <a:gd name="T119" fmla="*/ 29 h 292"/>
                  <a:gd name="T120" fmla="*/ 179 w 198"/>
                  <a:gd name="T121" fmla="*/ 29 h 292"/>
                  <a:gd name="T122" fmla="*/ 188 w 198"/>
                  <a:gd name="T123" fmla="*/ 38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8" h="292">
                    <a:moveTo>
                      <a:pt x="192" y="46"/>
                    </a:moveTo>
                    <a:lnTo>
                      <a:pt x="194" y="48"/>
                    </a:lnTo>
                    <a:lnTo>
                      <a:pt x="192" y="48"/>
                    </a:lnTo>
                    <a:lnTo>
                      <a:pt x="192" y="50"/>
                    </a:lnTo>
                    <a:lnTo>
                      <a:pt x="194" y="54"/>
                    </a:lnTo>
                    <a:lnTo>
                      <a:pt x="194" y="55"/>
                    </a:lnTo>
                    <a:lnTo>
                      <a:pt x="192" y="57"/>
                    </a:lnTo>
                    <a:lnTo>
                      <a:pt x="192" y="59"/>
                    </a:lnTo>
                    <a:lnTo>
                      <a:pt x="194" y="61"/>
                    </a:lnTo>
                    <a:lnTo>
                      <a:pt x="194" y="59"/>
                    </a:lnTo>
                    <a:lnTo>
                      <a:pt x="196" y="59"/>
                    </a:lnTo>
                    <a:lnTo>
                      <a:pt x="196" y="61"/>
                    </a:lnTo>
                    <a:lnTo>
                      <a:pt x="196" y="63"/>
                    </a:lnTo>
                    <a:lnTo>
                      <a:pt x="194" y="63"/>
                    </a:lnTo>
                    <a:lnTo>
                      <a:pt x="194" y="65"/>
                    </a:lnTo>
                    <a:lnTo>
                      <a:pt x="192" y="65"/>
                    </a:lnTo>
                    <a:lnTo>
                      <a:pt x="192" y="67"/>
                    </a:lnTo>
                    <a:lnTo>
                      <a:pt x="194" y="69"/>
                    </a:lnTo>
                    <a:lnTo>
                      <a:pt x="196" y="69"/>
                    </a:lnTo>
                    <a:lnTo>
                      <a:pt x="196" y="71"/>
                    </a:lnTo>
                    <a:lnTo>
                      <a:pt x="198" y="73"/>
                    </a:lnTo>
                    <a:lnTo>
                      <a:pt x="198" y="75"/>
                    </a:lnTo>
                    <a:lnTo>
                      <a:pt x="196" y="77"/>
                    </a:lnTo>
                    <a:lnTo>
                      <a:pt x="196" y="79"/>
                    </a:lnTo>
                    <a:lnTo>
                      <a:pt x="196" y="80"/>
                    </a:lnTo>
                    <a:lnTo>
                      <a:pt x="196" y="82"/>
                    </a:lnTo>
                    <a:lnTo>
                      <a:pt x="194" y="82"/>
                    </a:lnTo>
                    <a:lnTo>
                      <a:pt x="194" y="84"/>
                    </a:lnTo>
                    <a:lnTo>
                      <a:pt x="192" y="84"/>
                    </a:lnTo>
                    <a:lnTo>
                      <a:pt x="192" y="86"/>
                    </a:lnTo>
                    <a:lnTo>
                      <a:pt x="194" y="86"/>
                    </a:lnTo>
                    <a:lnTo>
                      <a:pt x="194" y="88"/>
                    </a:lnTo>
                    <a:lnTo>
                      <a:pt x="194" y="90"/>
                    </a:lnTo>
                    <a:lnTo>
                      <a:pt x="194" y="92"/>
                    </a:lnTo>
                    <a:lnTo>
                      <a:pt x="192" y="92"/>
                    </a:lnTo>
                    <a:lnTo>
                      <a:pt x="190" y="92"/>
                    </a:lnTo>
                    <a:lnTo>
                      <a:pt x="188" y="92"/>
                    </a:lnTo>
                    <a:lnTo>
                      <a:pt x="188" y="94"/>
                    </a:lnTo>
                    <a:lnTo>
                      <a:pt x="186" y="94"/>
                    </a:lnTo>
                    <a:lnTo>
                      <a:pt x="184" y="94"/>
                    </a:lnTo>
                    <a:lnTo>
                      <a:pt x="182" y="94"/>
                    </a:lnTo>
                    <a:lnTo>
                      <a:pt x="182" y="92"/>
                    </a:lnTo>
                    <a:lnTo>
                      <a:pt x="180" y="90"/>
                    </a:lnTo>
                    <a:lnTo>
                      <a:pt x="180" y="92"/>
                    </a:lnTo>
                    <a:lnTo>
                      <a:pt x="179" y="92"/>
                    </a:lnTo>
                    <a:lnTo>
                      <a:pt x="179" y="94"/>
                    </a:lnTo>
                    <a:lnTo>
                      <a:pt x="179" y="96"/>
                    </a:lnTo>
                    <a:lnTo>
                      <a:pt x="179" y="98"/>
                    </a:lnTo>
                    <a:lnTo>
                      <a:pt x="177" y="98"/>
                    </a:lnTo>
                    <a:lnTo>
                      <a:pt x="175" y="100"/>
                    </a:lnTo>
                    <a:lnTo>
                      <a:pt x="173" y="100"/>
                    </a:lnTo>
                    <a:lnTo>
                      <a:pt x="173" y="98"/>
                    </a:lnTo>
                    <a:lnTo>
                      <a:pt x="171" y="102"/>
                    </a:lnTo>
                    <a:lnTo>
                      <a:pt x="173" y="102"/>
                    </a:lnTo>
                    <a:lnTo>
                      <a:pt x="173" y="104"/>
                    </a:lnTo>
                    <a:lnTo>
                      <a:pt x="175" y="104"/>
                    </a:lnTo>
                    <a:lnTo>
                      <a:pt x="175" y="105"/>
                    </a:lnTo>
                    <a:lnTo>
                      <a:pt x="175" y="107"/>
                    </a:lnTo>
                    <a:lnTo>
                      <a:pt x="175" y="109"/>
                    </a:lnTo>
                    <a:lnTo>
                      <a:pt x="175" y="113"/>
                    </a:lnTo>
                    <a:lnTo>
                      <a:pt x="175" y="115"/>
                    </a:lnTo>
                    <a:lnTo>
                      <a:pt x="173" y="117"/>
                    </a:lnTo>
                    <a:lnTo>
                      <a:pt x="173" y="115"/>
                    </a:lnTo>
                    <a:lnTo>
                      <a:pt x="171" y="121"/>
                    </a:lnTo>
                    <a:lnTo>
                      <a:pt x="171" y="119"/>
                    </a:lnTo>
                    <a:lnTo>
                      <a:pt x="169" y="117"/>
                    </a:lnTo>
                    <a:lnTo>
                      <a:pt x="167" y="117"/>
                    </a:lnTo>
                    <a:lnTo>
                      <a:pt x="163" y="115"/>
                    </a:lnTo>
                    <a:lnTo>
                      <a:pt x="163" y="117"/>
                    </a:lnTo>
                    <a:lnTo>
                      <a:pt x="163" y="119"/>
                    </a:lnTo>
                    <a:lnTo>
                      <a:pt x="163" y="121"/>
                    </a:lnTo>
                    <a:lnTo>
                      <a:pt x="163" y="123"/>
                    </a:lnTo>
                    <a:lnTo>
                      <a:pt x="163" y="125"/>
                    </a:lnTo>
                    <a:lnTo>
                      <a:pt x="165" y="127"/>
                    </a:lnTo>
                    <a:lnTo>
                      <a:pt x="163" y="129"/>
                    </a:lnTo>
                    <a:lnTo>
                      <a:pt x="163" y="130"/>
                    </a:lnTo>
                    <a:lnTo>
                      <a:pt x="163" y="132"/>
                    </a:lnTo>
                    <a:lnTo>
                      <a:pt x="161" y="132"/>
                    </a:lnTo>
                    <a:lnTo>
                      <a:pt x="159" y="132"/>
                    </a:lnTo>
                    <a:lnTo>
                      <a:pt x="159" y="134"/>
                    </a:lnTo>
                    <a:lnTo>
                      <a:pt x="157" y="136"/>
                    </a:lnTo>
                    <a:lnTo>
                      <a:pt x="159" y="136"/>
                    </a:lnTo>
                    <a:lnTo>
                      <a:pt x="159" y="138"/>
                    </a:lnTo>
                    <a:lnTo>
                      <a:pt x="159" y="140"/>
                    </a:lnTo>
                    <a:lnTo>
                      <a:pt x="161" y="140"/>
                    </a:lnTo>
                    <a:lnTo>
                      <a:pt x="163" y="140"/>
                    </a:lnTo>
                    <a:lnTo>
                      <a:pt x="165" y="140"/>
                    </a:lnTo>
                    <a:lnTo>
                      <a:pt x="165" y="142"/>
                    </a:lnTo>
                    <a:lnTo>
                      <a:pt x="167" y="142"/>
                    </a:lnTo>
                    <a:lnTo>
                      <a:pt x="169" y="142"/>
                    </a:lnTo>
                    <a:lnTo>
                      <a:pt x="171" y="142"/>
                    </a:lnTo>
                    <a:lnTo>
                      <a:pt x="171" y="140"/>
                    </a:lnTo>
                    <a:lnTo>
                      <a:pt x="173" y="140"/>
                    </a:lnTo>
                    <a:lnTo>
                      <a:pt x="175" y="142"/>
                    </a:lnTo>
                    <a:lnTo>
                      <a:pt x="177" y="142"/>
                    </a:lnTo>
                    <a:lnTo>
                      <a:pt x="175" y="142"/>
                    </a:lnTo>
                    <a:lnTo>
                      <a:pt x="175" y="144"/>
                    </a:lnTo>
                    <a:lnTo>
                      <a:pt x="173" y="144"/>
                    </a:lnTo>
                    <a:lnTo>
                      <a:pt x="175" y="144"/>
                    </a:lnTo>
                    <a:lnTo>
                      <a:pt x="175" y="146"/>
                    </a:lnTo>
                    <a:lnTo>
                      <a:pt x="175" y="148"/>
                    </a:lnTo>
                    <a:lnTo>
                      <a:pt x="177" y="148"/>
                    </a:lnTo>
                    <a:lnTo>
                      <a:pt x="177" y="146"/>
                    </a:lnTo>
                    <a:lnTo>
                      <a:pt x="177" y="148"/>
                    </a:lnTo>
                    <a:lnTo>
                      <a:pt x="177" y="150"/>
                    </a:lnTo>
                    <a:lnTo>
                      <a:pt x="180" y="150"/>
                    </a:lnTo>
                    <a:lnTo>
                      <a:pt x="182" y="148"/>
                    </a:lnTo>
                    <a:lnTo>
                      <a:pt x="184" y="148"/>
                    </a:lnTo>
                    <a:lnTo>
                      <a:pt x="188" y="148"/>
                    </a:lnTo>
                    <a:lnTo>
                      <a:pt x="190" y="148"/>
                    </a:lnTo>
                    <a:lnTo>
                      <a:pt x="192" y="150"/>
                    </a:lnTo>
                    <a:lnTo>
                      <a:pt x="194" y="150"/>
                    </a:lnTo>
                    <a:lnTo>
                      <a:pt x="196" y="150"/>
                    </a:lnTo>
                    <a:lnTo>
                      <a:pt x="196" y="154"/>
                    </a:lnTo>
                    <a:lnTo>
                      <a:pt x="194" y="157"/>
                    </a:lnTo>
                    <a:lnTo>
                      <a:pt x="194" y="159"/>
                    </a:lnTo>
                    <a:lnTo>
                      <a:pt x="196" y="159"/>
                    </a:lnTo>
                    <a:lnTo>
                      <a:pt x="194" y="161"/>
                    </a:lnTo>
                    <a:lnTo>
                      <a:pt x="196" y="161"/>
                    </a:lnTo>
                    <a:lnTo>
                      <a:pt x="194" y="161"/>
                    </a:lnTo>
                    <a:lnTo>
                      <a:pt x="192" y="163"/>
                    </a:lnTo>
                    <a:lnTo>
                      <a:pt x="192" y="165"/>
                    </a:lnTo>
                    <a:lnTo>
                      <a:pt x="190" y="165"/>
                    </a:lnTo>
                    <a:lnTo>
                      <a:pt x="190" y="163"/>
                    </a:lnTo>
                    <a:lnTo>
                      <a:pt x="188" y="163"/>
                    </a:lnTo>
                    <a:lnTo>
                      <a:pt x="188" y="165"/>
                    </a:lnTo>
                    <a:lnTo>
                      <a:pt x="188" y="167"/>
                    </a:lnTo>
                    <a:lnTo>
                      <a:pt x="188" y="169"/>
                    </a:lnTo>
                    <a:lnTo>
                      <a:pt x="186" y="169"/>
                    </a:lnTo>
                    <a:lnTo>
                      <a:pt x="186" y="171"/>
                    </a:lnTo>
                    <a:lnTo>
                      <a:pt x="186" y="173"/>
                    </a:lnTo>
                    <a:lnTo>
                      <a:pt x="184" y="173"/>
                    </a:lnTo>
                    <a:lnTo>
                      <a:pt x="184" y="175"/>
                    </a:lnTo>
                    <a:lnTo>
                      <a:pt x="186" y="175"/>
                    </a:lnTo>
                    <a:lnTo>
                      <a:pt x="186" y="177"/>
                    </a:lnTo>
                    <a:lnTo>
                      <a:pt x="188" y="177"/>
                    </a:lnTo>
                    <a:lnTo>
                      <a:pt x="188" y="179"/>
                    </a:lnTo>
                    <a:lnTo>
                      <a:pt x="188" y="180"/>
                    </a:lnTo>
                    <a:lnTo>
                      <a:pt x="190" y="180"/>
                    </a:lnTo>
                    <a:lnTo>
                      <a:pt x="190" y="182"/>
                    </a:lnTo>
                    <a:lnTo>
                      <a:pt x="190" y="184"/>
                    </a:lnTo>
                    <a:lnTo>
                      <a:pt x="188" y="184"/>
                    </a:lnTo>
                    <a:lnTo>
                      <a:pt x="186" y="184"/>
                    </a:lnTo>
                    <a:lnTo>
                      <a:pt x="186" y="182"/>
                    </a:lnTo>
                    <a:lnTo>
                      <a:pt x="186" y="184"/>
                    </a:lnTo>
                    <a:lnTo>
                      <a:pt x="186" y="182"/>
                    </a:lnTo>
                    <a:lnTo>
                      <a:pt x="184" y="182"/>
                    </a:lnTo>
                    <a:lnTo>
                      <a:pt x="184" y="184"/>
                    </a:lnTo>
                    <a:lnTo>
                      <a:pt x="184" y="182"/>
                    </a:lnTo>
                    <a:lnTo>
                      <a:pt x="182" y="182"/>
                    </a:lnTo>
                    <a:lnTo>
                      <a:pt x="182" y="184"/>
                    </a:lnTo>
                    <a:lnTo>
                      <a:pt x="182" y="186"/>
                    </a:lnTo>
                    <a:lnTo>
                      <a:pt x="180" y="186"/>
                    </a:lnTo>
                    <a:lnTo>
                      <a:pt x="180" y="188"/>
                    </a:lnTo>
                    <a:lnTo>
                      <a:pt x="180" y="186"/>
                    </a:lnTo>
                    <a:lnTo>
                      <a:pt x="179" y="188"/>
                    </a:lnTo>
                    <a:lnTo>
                      <a:pt x="177" y="186"/>
                    </a:lnTo>
                    <a:lnTo>
                      <a:pt x="175" y="186"/>
                    </a:lnTo>
                    <a:lnTo>
                      <a:pt x="175" y="184"/>
                    </a:lnTo>
                    <a:lnTo>
                      <a:pt x="175" y="186"/>
                    </a:lnTo>
                    <a:lnTo>
                      <a:pt x="175" y="184"/>
                    </a:lnTo>
                    <a:lnTo>
                      <a:pt x="173" y="184"/>
                    </a:lnTo>
                    <a:lnTo>
                      <a:pt x="175" y="184"/>
                    </a:lnTo>
                    <a:lnTo>
                      <a:pt x="173" y="184"/>
                    </a:lnTo>
                    <a:lnTo>
                      <a:pt x="171" y="184"/>
                    </a:lnTo>
                    <a:lnTo>
                      <a:pt x="169" y="184"/>
                    </a:lnTo>
                    <a:lnTo>
                      <a:pt x="167" y="184"/>
                    </a:lnTo>
                    <a:lnTo>
                      <a:pt x="165" y="184"/>
                    </a:lnTo>
                    <a:lnTo>
                      <a:pt x="163" y="184"/>
                    </a:lnTo>
                    <a:lnTo>
                      <a:pt x="161" y="184"/>
                    </a:lnTo>
                    <a:lnTo>
                      <a:pt x="161" y="186"/>
                    </a:lnTo>
                    <a:lnTo>
                      <a:pt x="161" y="188"/>
                    </a:lnTo>
                    <a:lnTo>
                      <a:pt x="161" y="190"/>
                    </a:lnTo>
                    <a:lnTo>
                      <a:pt x="159" y="190"/>
                    </a:lnTo>
                    <a:lnTo>
                      <a:pt x="159" y="192"/>
                    </a:lnTo>
                    <a:lnTo>
                      <a:pt x="157" y="192"/>
                    </a:lnTo>
                    <a:lnTo>
                      <a:pt x="157" y="194"/>
                    </a:lnTo>
                    <a:lnTo>
                      <a:pt x="157" y="196"/>
                    </a:lnTo>
                    <a:lnTo>
                      <a:pt x="156" y="194"/>
                    </a:lnTo>
                    <a:lnTo>
                      <a:pt x="156" y="192"/>
                    </a:lnTo>
                    <a:lnTo>
                      <a:pt x="154" y="192"/>
                    </a:lnTo>
                    <a:lnTo>
                      <a:pt x="154" y="186"/>
                    </a:lnTo>
                    <a:lnTo>
                      <a:pt x="156" y="186"/>
                    </a:lnTo>
                    <a:lnTo>
                      <a:pt x="157" y="186"/>
                    </a:lnTo>
                    <a:lnTo>
                      <a:pt x="156" y="184"/>
                    </a:lnTo>
                    <a:lnTo>
                      <a:pt x="154" y="184"/>
                    </a:lnTo>
                    <a:lnTo>
                      <a:pt x="152" y="184"/>
                    </a:lnTo>
                    <a:lnTo>
                      <a:pt x="152" y="182"/>
                    </a:lnTo>
                    <a:lnTo>
                      <a:pt x="150" y="182"/>
                    </a:lnTo>
                    <a:lnTo>
                      <a:pt x="148" y="182"/>
                    </a:lnTo>
                    <a:lnTo>
                      <a:pt x="146" y="182"/>
                    </a:lnTo>
                    <a:lnTo>
                      <a:pt x="146" y="180"/>
                    </a:lnTo>
                    <a:lnTo>
                      <a:pt x="144" y="180"/>
                    </a:lnTo>
                    <a:lnTo>
                      <a:pt x="142" y="180"/>
                    </a:lnTo>
                    <a:lnTo>
                      <a:pt x="142" y="186"/>
                    </a:lnTo>
                    <a:lnTo>
                      <a:pt x="138" y="184"/>
                    </a:lnTo>
                    <a:lnTo>
                      <a:pt x="136" y="182"/>
                    </a:lnTo>
                    <a:lnTo>
                      <a:pt x="138" y="180"/>
                    </a:lnTo>
                    <a:lnTo>
                      <a:pt x="136" y="180"/>
                    </a:lnTo>
                    <a:lnTo>
                      <a:pt x="136" y="179"/>
                    </a:lnTo>
                    <a:lnTo>
                      <a:pt x="134" y="180"/>
                    </a:lnTo>
                    <a:lnTo>
                      <a:pt x="132" y="179"/>
                    </a:lnTo>
                    <a:lnTo>
                      <a:pt x="132" y="177"/>
                    </a:lnTo>
                    <a:lnTo>
                      <a:pt x="132" y="179"/>
                    </a:lnTo>
                    <a:lnTo>
                      <a:pt x="131" y="179"/>
                    </a:lnTo>
                    <a:lnTo>
                      <a:pt x="131" y="177"/>
                    </a:lnTo>
                    <a:lnTo>
                      <a:pt x="131" y="179"/>
                    </a:lnTo>
                    <a:lnTo>
                      <a:pt x="129" y="179"/>
                    </a:lnTo>
                    <a:lnTo>
                      <a:pt x="129" y="180"/>
                    </a:lnTo>
                    <a:lnTo>
                      <a:pt x="127" y="180"/>
                    </a:lnTo>
                    <a:lnTo>
                      <a:pt x="127" y="177"/>
                    </a:lnTo>
                    <a:lnTo>
                      <a:pt x="125" y="175"/>
                    </a:lnTo>
                    <a:lnTo>
                      <a:pt x="127" y="173"/>
                    </a:lnTo>
                    <a:lnTo>
                      <a:pt x="127" y="171"/>
                    </a:lnTo>
                    <a:lnTo>
                      <a:pt x="125" y="171"/>
                    </a:lnTo>
                    <a:lnTo>
                      <a:pt x="123" y="171"/>
                    </a:lnTo>
                    <a:lnTo>
                      <a:pt x="123" y="169"/>
                    </a:lnTo>
                    <a:lnTo>
                      <a:pt x="123" y="171"/>
                    </a:lnTo>
                    <a:lnTo>
                      <a:pt x="121" y="169"/>
                    </a:lnTo>
                    <a:lnTo>
                      <a:pt x="119" y="171"/>
                    </a:lnTo>
                    <a:lnTo>
                      <a:pt x="117" y="171"/>
                    </a:lnTo>
                    <a:lnTo>
                      <a:pt x="117" y="173"/>
                    </a:lnTo>
                    <a:lnTo>
                      <a:pt x="117" y="175"/>
                    </a:lnTo>
                    <a:lnTo>
                      <a:pt x="117" y="177"/>
                    </a:lnTo>
                    <a:lnTo>
                      <a:pt x="117" y="179"/>
                    </a:lnTo>
                    <a:lnTo>
                      <a:pt x="113" y="179"/>
                    </a:lnTo>
                    <a:lnTo>
                      <a:pt x="113" y="177"/>
                    </a:lnTo>
                    <a:lnTo>
                      <a:pt x="113" y="175"/>
                    </a:lnTo>
                    <a:lnTo>
                      <a:pt x="111" y="175"/>
                    </a:lnTo>
                    <a:lnTo>
                      <a:pt x="111" y="173"/>
                    </a:lnTo>
                    <a:lnTo>
                      <a:pt x="109" y="175"/>
                    </a:lnTo>
                    <a:lnTo>
                      <a:pt x="107" y="175"/>
                    </a:lnTo>
                    <a:lnTo>
                      <a:pt x="107" y="177"/>
                    </a:lnTo>
                    <a:lnTo>
                      <a:pt x="109" y="179"/>
                    </a:lnTo>
                    <a:lnTo>
                      <a:pt x="111" y="179"/>
                    </a:lnTo>
                    <a:lnTo>
                      <a:pt x="111" y="182"/>
                    </a:lnTo>
                    <a:lnTo>
                      <a:pt x="111" y="184"/>
                    </a:lnTo>
                    <a:lnTo>
                      <a:pt x="113" y="184"/>
                    </a:lnTo>
                    <a:lnTo>
                      <a:pt x="111" y="186"/>
                    </a:lnTo>
                    <a:lnTo>
                      <a:pt x="111" y="188"/>
                    </a:lnTo>
                    <a:lnTo>
                      <a:pt x="109" y="188"/>
                    </a:lnTo>
                    <a:lnTo>
                      <a:pt x="107" y="188"/>
                    </a:lnTo>
                    <a:lnTo>
                      <a:pt x="107" y="190"/>
                    </a:lnTo>
                    <a:lnTo>
                      <a:pt x="104" y="190"/>
                    </a:lnTo>
                    <a:lnTo>
                      <a:pt x="102" y="194"/>
                    </a:lnTo>
                    <a:lnTo>
                      <a:pt x="102" y="192"/>
                    </a:lnTo>
                    <a:lnTo>
                      <a:pt x="98" y="192"/>
                    </a:lnTo>
                    <a:lnTo>
                      <a:pt x="98" y="194"/>
                    </a:lnTo>
                    <a:lnTo>
                      <a:pt x="104" y="198"/>
                    </a:lnTo>
                    <a:lnTo>
                      <a:pt x="104" y="200"/>
                    </a:lnTo>
                    <a:lnTo>
                      <a:pt x="106" y="202"/>
                    </a:lnTo>
                    <a:lnTo>
                      <a:pt x="107" y="202"/>
                    </a:lnTo>
                    <a:lnTo>
                      <a:pt x="107" y="204"/>
                    </a:lnTo>
                    <a:lnTo>
                      <a:pt x="109" y="204"/>
                    </a:lnTo>
                    <a:lnTo>
                      <a:pt x="111" y="204"/>
                    </a:lnTo>
                    <a:lnTo>
                      <a:pt x="113" y="202"/>
                    </a:lnTo>
                    <a:lnTo>
                      <a:pt x="115" y="202"/>
                    </a:lnTo>
                    <a:lnTo>
                      <a:pt x="115" y="204"/>
                    </a:lnTo>
                    <a:lnTo>
                      <a:pt x="117" y="204"/>
                    </a:lnTo>
                    <a:lnTo>
                      <a:pt x="117" y="207"/>
                    </a:lnTo>
                    <a:lnTo>
                      <a:pt x="117" y="209"/>
                    </a:lnTo>
                    <a:lnTo>
                      <a:pt x="115" y="209"/>
                    </a:lnTo>
                    <a:lnTo>
                      <a:pt x="113" y="209"/>
                    </a:lnTo>
                    <a:lnTo>
                      <a:pt x="113" y="211"/>
                    </a:lnTo>
                    <a:lnTo>
                      <a:pt x="111" y="211"/>
                    </a:lnTo>
                    <a:lnTo>
                      <a:pt x="109" y="211"/>
                    </a:lnTo>
                    <a:lnTo>
                      <a:pt x="109" y="209"/>
                    </a:lnTo>
                    <a:lnTo>
                      <a:pt x="109" y="207"/>
                    </a:lnTo>
                    <a:lnTo>
                      <a:pt x="107" y="207"/>
                    </a:lnTo>
                    <a:lnTo>
                      <a:pt x="107" y="205"/>
                    </a:lnTo>
                    <a:lnTo>
                      <a:pt x="106" y="205"/>
                    </a:lnTo>
                    <a:lnTo>
                      <a:pt x="106" y="207"/>
                    </a:lnTo>
                    <a:lnTo>
                      <a:pt x="104" y="207"/>
                    </a:lnTo>
                    <a:lnTo>
                      <a:pt x="104" y="209"/>
                    </a:lnTo>
                    <a:lnTo>
                      <a:pt x="104" y="211"/>
                    </a:lnTo>
                    <a:lnTo>
                      <a:pt x="102" y="211"/>
                    </a:lnTo>
                    <a:lnTo>
                      <a:pt x="100" y="211"/>
                    </a:lnTo>
                    <a:lnTo>
                      <a:pt x="98" y="217"/>
                    </a:lnTo>
                    <a:lnTo>
                      <a:pt x="100" y="219"/>
                    </a:lnTo>
                    <a:lnTo>
                      <a:pt x="100" y="221"/>
                    </a:lnTo>
                    <a:lnTo>
                      <a:pt x="102" y="221"/>
                    </a:lnTo>
                    <a:lnTo>
                      <a:pt x="104" y="221"/>
                    </a:lnTo>
                    <a:lnTo>
                      <a:pt x="106" y="223"/>
                    </a:lnTo>
                    <a:lnTo>
                      <a:pt x="106" y="225"/>
                    </a:lnTo>
                    <a:lnTo>
                      <a:pt x="107" y="227"/>
                    </a:lnTo>
                    <a:lnTo>
                      <a:pt x="107" y="229"/>
                    </a:lnTo>
                    <a:lnTo>
                      <a:pt x="111" y="229"/>
                    </a:lnTo>
                    <a:lnTo>
                      <a:pt x="113" y="227"/>
                    </a:lnTo>
                    <a:lnTo>
                      <a:pt x="115" y="229"/>
                    </a:lnTo>
                    <a:lnTo>
                      <a:pt x="115" y="230"/>
                    </a:lnTo>
                    <a:lnTo>
                      <a:pt x="115" y="232"/>
                    </a:lnTo>
                    <a:lnTo>
                      <a:pt x="117" y="234"/>
                    </a:lnTo>
                    <a:lnTo>
                      <a:pt x="119" y="236"/>
                    </a:lnTo>
                    <a:lnTo>
                      <a:pt x="119" y="238"/>
                    </a:lnTo>
                    <a:lnTo>
                      <a:pt x="123" y="238"/>
                    </a:lnTo>
                    <a:lnTo>
                      <a:pt x="125" y="242"/>
                    </a:lnTo>
                    <a:lnTo>
                      <a:pt x="125" y="244"/>
                    </a:lnTo>
                    <a:lnTo>
                      <a:pt x="123" y="250"/>
                    </a:lnTo>
                    <a:lnTo>
                      <a:pt x="119" y="252"/>
                    </a:lnTo>
                    <a:lnTo>
                      <a:pt x="117" y="250"/>
                    </a:lnTo>
                    <a:lnTo>
                      <a:pt x="113" y="246"/>
                    </a:lnTo>
                    <a:lnTo>
                      <a:pt x="111" y="246"/>
                    </a:lnTo>
                    <a:lnTo>
                      <a:pt x="111" y="244"/>
                    </a:lnTo>
                    <a:lnTo>
                      <a:pt x="109" y="244"/>
                    </a:lnTo>
                    <a:lnTo>
                      <a:pt x="107" y="246"/>
                    </a:lnTo>
                    <a:lnTo>
                      <a:pt x="106" y="246"/>
                    </a:lnTo>
                    <a:lnTo>
                      <a:pt x="106" y="242"/>
                    </a:lnTo>
                    <a:lnTo>
                      <a:pt x="104" y="242"/>
                    </a:lnTo>
                    <a:lnTo>
                      <a:pt x="104" y="240"/>
                    </a:lnTo>
                    <a:lnTo>
                      <a:pt x="102" y="240"/>
                    </a:lnTo>
                    <a:lnTo>
                      <a:pt x="102" y="238"/>
                    </a:lnTo>
                    <a:lnTo>
                      <a:pt x="98" y="240"/>
                    </a:lnTo>
                    <a:lnTo>
                      <a:pt x="96" y="240"/>
                    </a:lnTo>
                    <a:lnTo>
                      <a:pt x="94" y="236"/>
                    </a:lnTo>
                    <a:lnTo>
                      <a:pt x="92" y="236"/>
                    </a:lnTo>
                    <a:lnTo>
                      <a:pt x="92" y="238"/>
                    </a:lnTo>
                    <a:lnTo>
                      <a:pt x="90" y="238"/>
                    </a:lnTo>
                    <a:lnTo>
                      <a:pt x="88" y="238"/>
                    </a:lnTo>
                    <a:lnTo>
                      <a:pt x="86" y="238"/>
                    </a:lnTo>
                    <a:lnTo>
                      <a:pt x="86" y="240"/>
                    </a:lnTo>
                    <a:lnTo>
                      <a:pt x="86" y="242"/>
                    </a:lnTo>
                    <a:lnTo>
                      <a:pt x="84" y="242"/>
                    </a:lnTo>
                    <a:lnTo>
                      <a:pt x="83" y="242"/>
                    </a:lnTo>
                    <a:lnTo>
                      <a:pt x="83" y="244"/>
                    </a:lnTo>
                    <a:lnTo>
                      <a:pt x="81" y="244"/>
                    </a:lnTo>
                    <a:lnTo>
                      <a:pt x="79" y="244"/>
                    </a:lnTo>
                    <a:lnTo>
                      <a:pt x="79" y="246"/>
                    </a:lnTo>
                    <a:lnTo>
                      <a:pt x="75" y="248"/>
                    </a:lnTo>
                    <a:lnTo>
                      <a:pt x="71" y="248"/>
                    </a:lnTo>
                    <a:lnTo>
                      <a:pt x="69" y="252"/>
                    </a:lnTo>
                    <a:lnTo>
                      <a:pt x="69" y="254"/>
                    </a:lnTo>
                    <a:lnTo>
                      <a:pt x="69" y="255"/>
                    </a:lnTo>
                    <a:lnTo>
                      <a:pt x="69" y="257"/>
                    </a:lnTo>
                    <a:lnTo>
                      <a:pt x="71" y="257"/>
                    </a:lnTo>
                    <a:lnTo>
                      <a:pt x="73" y="257"/>
                    </a:lnTo>
                    <a:lnTo>
                      <a:pt x="69" y="265"/>
                    </a:lnTo>
                    <a:lnTo>
                      <a:pt x="73" y="267"/>
                    </a:lnTo>
                    <a:lnTo>
                      <a:pt x="73" y="273"/>
                    </a:lnTo>
                    <a:lnTo>
                      <a:pt x="73" y="278"/>
                    </a:lnTo>
                    <a:lnTo>
                      <a:pt x="71" y="278"/>
                    </a:lnTo>
                    <a:lnTo>
                      <a:pt x="71" y="280"/>
                    </a:lnTo>
                    <a:lnTo>
                      <a:pt x="71" y="278"/>
                    </a:lnTo>
                    <a:lnTo>
                      <a:pt x="71" y="280"/>
                    </a:lnTo>
                    <a:lnTo>
                      <a:pt x="69" y="280"/>
                    </a:lnTo>
                    <a:lnTo>
                      <a:pt x="69" y="282"/>
                    </a:lnTo>
                    <a:lnTo>
                      <a:pt x="67" y="282"/>
                    </a:lnTo>
                    <a:lnTo>
                      <a:pt x="65" y="282"/>
                    </a:lnTo>
                    <a:lnTo>
                      <a:pt x="63" y="282"/>
                    </a:lnTo>
                    <a:lnTo>
                      <a:pt x="63" y="284"/>
                    </a:lnTo>
                    <a:lnTo>
                      <a:pt x="61" y="284"/>
                    </a:lnTo>
                    <a:lnTo>
                      <a:pt x="61" y="282"/>
                    </a:lnTo>
                    <a:lnTo>
                      <a:pt x="59" y="282"/>
                    </a:lnTo>
                    <a:lnTo>
                      <a:pt x="59" y="284"/>
                    </a:lnTo>
                    <a:lnTo>
                      <a:pt x="58" y="286"/>
                    </a:lnTo>
                    <a:lnTo>
                      <a:pt x="50" y="284"/>
                    </a:lnTo>
                    <a:lnTo>
                      <a:pt x="46" y="286"/>
                    </a:lnTo>
                    <a:lnTo>
                      <a:pt x="42" y="288"/>
                    </a:lnTo>
                    <a:lnTo>
                      <a:pt x="36" y="292"/>
                    </a:lnTo>
                    <a:lnTo>
                      <a:pt x="34" y="292"/>
                    </a:lnTo>
                    <a:lnTo>
                      <a:pt x="29" y="288"/>
                    </a:lnTo>
                    <a:lnTo>
                      <a:pt x="29" y="286"/>
                    </a:lnTo>
                    <a:lnTo>
                      <a:pt x="29" y="284"/>
                    </a:lnTo>
                    <a:lnTo>
                      <a:pt x="27" y="284"/>
                    </a:lnTo>
                    <a:lnTo>
                      <a:pt x="27" y="282"/>
                    </a:lnTo>
                    <a:lnTo>
                      <a:pt x="29" y="282"/>
                    </a:lnTo>
                    <a:lnTo>
                      <a:pt x="29" y="280"/>
                    </a:lnTo>
                    <a:lnTo>
                      <a:pt x="31" y="278"/>
                    </a:lnTo>
                    <a:lnTo>
                      <a:pt x="31" y="277"/>
                    </a:lnTo>
                    <a:lnTo>
                      <a:pt x="33" y="277"/>
                    </a:lnTo>
                    <a:lnTo>
                      <a:pt x="34" y="277"/>
                    </a:lnTo>
                    <a:lnTo>
                      <a:pt x="36" y="277"/>
                    </a:lnTo>
                    <a:lnTo>
                      <a:pt x="36" y="275"/>
                    </a:lnTo>
                    <a:lnTo>
                      <a:pt x="38" y="275"/>
                    </a:lnTo>
                    <a:lnTo>
                      <a:pt x="40" y="275"/>
                    </a:lnTo>
                    <a:lnTo>
                      <a:pt x="40" y="273"/>
                    </a:lnTo>
                    <a:lnTo>
                      <a:pt x="42" y="271"/>
                    </a:lnTo>
                    <a:lnTo>
                      <a:pt x="44" y="269"/>
                    </a:lnTo>
                    <a:lnTo>
                      <a:pt x="42" y="269"/>
                    </a:lnTo>
                    <a:lnTo>
                      <a:pt x="44" y="269"/>
                    </a:lnTo>
                    <a:lnTo>
                      <a:pt x="44" y="265"/>
                    </a:lnTo>
                    <a:lnTo>
                      <a:pt x="46" y="265"/>
                    </a:lnTo>
                    <a:lnTo>
                      <a:pt x="44" y="265"/>
                    </a:lnTo>
                    <a:lnTo>
                      <a:pt x="44" y="263"/>
                    </a:lnTo>
                    <a:lnTo>
                      <a:pt x="42" y="263"/>
                    </a:lnTo>
                    <a:lnTo>
                      <a:pt x="40" y="261"/>
                    </a:lnTo>
                    <a:lnTo>
                      <a:pt x="38" y="261"/>
                    </a:lnTo>
                    <a:lnTo>
                      <a:pt x="36" y="259"/>
                    </a:lnTo>
                    <a:lnTo>
                      <a:pt x="36" y="257"/>
                    </a:lnTo>
                    <a:lnTo>
                      <a:pt x="36" y="255"/>
                    </a:lnTo>
                    <a:lnTo>
                      <a:pt x="34" y="254"/>
                    </a:lnTo>
                    <a:lnTo>
                      <a:pt x="33" y="255"/>
                    </a:lnTo>
                    <a:lnTo>
                      <a:pt x="31" y="255"/>
                    </a:lnTo>
                    <a:lnTo>
                      <a:pt x="31" y="257"/>
                    </a:lnTo>
                    <a:lnTo>
                      <a:pt x="29" y="257"/>
                    </a:lnTo>
                    <a:lnTo>
                      <a:pt x="29" y="255"/>
                    </a:lnTo>
                    <a:lnTo>
                      <a:pt x="27" y="255"/>
                    </a:lnTo>
                    <a:lnTo>
                      <a:pt x="25" y="254"/>
                    </a:lnTo>
                    <a:lnTo>
                      <a:pt x="23" y="255"/>
                    </a:lnTo>
                    <a:lnTo>
                      <a:pt x="23" y="254"/>
                    </a:lnTo>
                    <a:lnTo>
                      <a:pt x="21" y="254"/>
                    </a:lnTo>
                    <a:lnTo>
                      <a:pt x="21" y="252"/>
                    </a:lnTo>
                    <a:lnTo>
                      <a:pt x="21" y="250"/>
                    </a:lnTo>
                    <a:lnTo>
                      <a:pt x="19" y="250"/>
                    </a:lnTo>
                    <a:lnTo>
                      <a:pt x="17" y="250"/>
                    </a:lnTo>
                    <a:lnTo>
                      <a:pt x="17" y="248"/>
                    </a:lnTo>
                    <a:lnTo>
                      <a:pt x="15" y="248"/>
                    </a:lnTo>
                    <a:lnTo>
                      <a:pt x="15" y="250"/>
                    </a:lnTo>
                    <a:lnTo>
                      <a:pt x="15" y="252"/>
                    </a:lnTo>
                    <a:lnTo>
                      <a:pt x="13" y="252"/>
                    </a:lnTo>
                    <a:lnTo>
                      <a:pt x="11" y="252"/>
                    </a:lnTo>
                    <a:lnTo>
                      <a:pt x="11" y="254"/>
                    </a:lnTo>
                    <a:lnTo>
                      <a:pt x="13" y="254"/>
                    </a:lnTo>
                    <a:lnTo>
                      <a:pt x="11" y="255"/>
                    </a:lnTo>
                    <a:lnTo>
                      <a:pt x="11" y="257"/>
                    </a:lnTo>
                    <a:lnTo>
                      <a:pt x="9" y="259"/>
                    </a:lnTo>
                    <a:lnTo>
                      <a:pt x="8" y="259"/>
                    </a:lnTo>
                    <a:lnTo>
                      <a:pt x="8" y="257"/>
                    </a:lnTo>
                    <a:lnTo>
                      <a:pt x="6" y="254"/>
                    </a:lnTo>
                    <a:lnTo>
                      <a:pt x="6" y="252"/>
                    </a:lnTo>
                    <a:lnTo>
                      <a:pt x="6" y="250"/>
                    </a:lnTo>
                    <a:lnTo>
                      <a:pt x="6" y="248"/>
                    </a:lnTo>
                    <a:lnTo>
                      <a:pt x="6" y="246"/>
                    </a:lnTo>
                    <a:lnTo>
                      <a:pt x="4" y="246"/>
                    </a:lnTo>
                    <a:lnTo>
                      <a:pt x="2" y="246"/>
                    </a:lnTo>
                    <a:lnTo>
                      <a:pt x="0" y="246"/>
                    </a:lnTo>
                    <a:lnTo>
                      <a:pt x="0" y="244"/>
                    </a:lnTo>
                    <a:lnTo>
                      <a:pt x="0" y="242"/>
                    </a:lnTo>
                    <a:lnTo>
                      <a:pt x="2" y="240"/>
                    </a:lnTo>
                    <a:lnTo>
                      <a:pt x="4" y="240"/>
                    </a:lnTo>
                    <a:lnTo>
                      <a:pt x="4" y="238"/>
                    </a:lnTo>
                    <a:lnTo>
                      <a:pt x="4" y="236"/>
                    </a:lnTo>
                    <a:lnTo>
                      <a:pt x="4" y="234"/>
                    </a:lnTo>
                    <a:lnTo>
                      <a:pt x="2" y="232"/>
                    </a:lnTo>
                    <a:lnTo>
                      <a:pt x="4" y="230"/>
                    </a:lnTo>
                    <a:lnTo>
                      <a:pt x="6" y="230"/>
                    </a:lnTo>
                    <a:lnTo>
                      <a:pt x="6" y="229"/>
                    </a:lnTo>
                    <a:lnTo>
                      <a:pt x="8" y="227"/>
                    </a:lnTo>
                    <a:lnTo>
                      <a:pt x="8" y="223"/>
                    </a:lnTo>
                    <a:lnTo>
                      <a:pt x="8" y="221"/>
                    </a:lnTo>
                    <a:lnTo>
                      <a:pt x="9" y="217"/>
                    </a:lnTo>
                    <a:lnTo>
                      <a:pt x="11" y="215"/>
                    </a:lnTo>
                    <a:lnTo>
                      <a:pt x="11" y="213"/>
                    </a:lnTo>
                    <a:lnTo>
                      <a:pt x="13" y="213"/>
                    </a:lnTo>
                    <a:lnTo>
                      <a:pt x="15" y="213"/>
                    </a:lnTo>
                    <a:lnTo>
                      <a:pt x="15" y="207"/>
                    </a:lnTo>
                    <a:lnTo>
                      <a:pt x="17" y="207"/>
                    </a:lnTo>
                    <a:lnTo>
                      <a:pt x="19" y="209"/>
                    </a:lnTo>
                    <a:lnTo>
                      <a:pt x="21" y="209"/>
                    </a:lnTo>
                    <a:lnTo>
                      <a:pt x="21" y="207"/>
                    </a:lnTo>
                    <a:lnTo>
                      <a:pt x="19" y="207"/>
                    </a:lnTo>
                    <a:lnTo>
                      <a:pt x="23" y="198"/>
                    </a:lnTo>
                    <a:lnTo>
                      <a:pt x="23" y="196"/>
                    </a:lnTo>
                    <a:lnTo>
                      <a:pt x="21" y="196"/>
                    </a:lnTo>
                    <a:lnTo>
                      <a:pt x="23" y="194"/>
                    </a:lnTo>
                    <a:lnTo>
                      <a:pt x="23" y="192"/>
                    </a:lnTo>
                    <a:lnTo>
                      <a:pt x="25" y="192"/>
                    </a:lnTo>
                    <a:lnTo>
                      <a:pt x="25" y="190"/>
                    </a:lnTo>
                    <a:lnTo>
                      <a:pt x="25" y="188"/>
                    </a:lnTo>
                    <a:lnTo>
                      <a:pt x="27" y="186"/>
                    </a:lnTo>
                    <a:lnTo>
                      <a:pt x="29" y="179"/>
                    </a:lnTo>
                    <a:lnTo>
                      <a:pt x="31" y="175"/>
                    </a:lnTo>
                    <a:lnTo>
                      <a:pt x="29" y="175"/>
                    </a:lnTo>
                    <a:lnTo>
                      <a:pt x="29" y="171"/>
                    </a:lnTo>
                    <a:lnTo>
                      <a:pt x="31" y="171"/>
                    </a:lnTo>
                    <a:lnTo>
                      <a:pt x="33" y="169"/>
                    </a:lnTo>
                    <a:lnTo>
                      <a:pt x="34" y="169"/>
                    </a:lnTo>
                    <a:lnTo>
                      <a:pt x="34" y="167"/>
                    </a:lnTo>
                    <a:lnTo>
                      <a:pt x="34" y="165"/>
                    </a:lnTo>
                    <a:lnTo>
                      <a:pt x="34" y="163"/>
                    </a:lnTo>
                    <a:lnTo>
                      <a:pt x="34" y="161"/>
                    </a:lnTo>
                    <a:lnTo>
                      <a:pt x="36" y="161"/>
                    </a:lnTo>
                    <a:lnTo>
                      <a:pt x="36" y="159"/>
                    </a:lnTo>
                    <a:lnTo>
                      <a:pt x="38" y="159"/>
                    </a:lnTo>
                    <a:lnTo>
                      <a:pt x="38" y="155"/>
                    </a:lnTo>
                    <a:lnTo>
                      <a:pt x="40" y="154"/>
                    </a:lnTo>
                    <a:lnTo>
                      <a:pt x="40" y="152"/>
                    </a:lnTo>
                    <a:lnTo>
                      <a:pt x="40" y="150"/>
                    </a:lnTo>
                    <a:lnTo>
                      <a:pt x="42" y="150"/>
                    </a:lnTo>
                    <a:lnTo>
                      <a:pt x="42" y="148"/>
                    </a:lnTo>
                    <a:lnTo>
                      <a:pt x="44" y="150"/>
                    </a:lnTo>
                    <a:lnTo>
                      <a:pt x="46" y="150"/>
                    </a:lnTo>
                    <a:lnTo>
                      <a:pt x="48" y="152"/>
                    </a:lnTo>
                    <a:lnTo>
                      <a:pt x="48" y="150"/>
                    </a:lnTo>
                    <a:lnTo>
                      <a:pt x="50" y="150"/>
                    </a:lnTo>
                    <a:lnTo>
                      <a:pt x="52" y="150"/>
                    </a:lnTo>
                    <a:lnTo>
                      <a:pt x="52" y="148"/>
                    </a:lnTo>
                    <a:lnTo>
                      <a:pt x="54" y="146"/>
                    </a:lnTo>
                    <a:lnTo>
                      <a:pt x="58" y="142"/>
                    </a:lnTo>
                    <a:lnTo>
                      <a:pt x="58" y="140"/>
                    </a:lnTo>
                    <a:lnTo>
                      <a:pt x="59" y="140"/>
                    </a:lnTo>
                    <a:lnTo>
                      <a:pt x="59" y="138"/>
                    </a:lnTo>
                    <a:lnTo>
                      <a:pt x="61" y="140"/>
                    </a:lnTo>
                    <a:lnTo>
                      <a:pt x="63" y="140"/>
                    </a:lnTo>
                    <a:lnTo>
                      <a:pt x="65" y="140"/>
                    </a:lnTo>
                    <a:lnTo>
                      <a:pt x="65" y="142"/>
                    </a:lnTo>
                    <a:lnTo>
                      <a:pt x="67" y="142"/>
                    </a:lnTo>
                    <a:lnTo>
                      <a:pt x="67" y="144"/>
                    </a:lnTo>
                    <a:lnTo>
                      <a:pt x="69" y="144"/>
                    </a:lnTo>
                    <a:lnTo>
                      <a:pt x="69" y="146"/>
                    </a:lnTo>
                    <a:lnTo>
                      <a:pt x="71" y="146"/>
                    </a:lnTo>
                    <a:lnTo>
                      <a:pt x="73" y="144"/>
                    </a:lnTo>
                    <a:lnTo>
                      <a:pt x="73" y="142"/>
                    </a:lnTo>
                    <a:lnTo>
                      <a:pt x="75" y="142"/>
                    </a:lnTo>
                    <a:lnTo>
                      <a:pt x="77" y="140"/>
                    </a:lnTo>
                    <a:lnTo>
                      <a:pt x="77" y="136"/>
                    </a:lnTo>
                    <a:lnTo>
                      <a:pt x="75" y="134"/>
                    </a:lnTo>
                    <a:lnTo>
                      <a:pt x="75" y="132"/>
                    </a:lnTo>
                    <a:lnTo>
                      <a:pt x="77" y="130"/>
                    </a:lnTo>
                    <a:lnTo>
                      <a:pt x="79" y="130"/>
                    </a:lnTo>
                    <a:lnTo>
                      <a:pt x="81" y="127"/>
                    </a:lnTo>
                    <a:lnTo>
                      <a:pt x="79" y="127"/>
                    </a:lnTo>
                    <a:lnTo>
                      <a:pt x="79" y="125"/>
                    </a:lnTo>
                    <a:lnTo>
                      <a:pt x="77" y="125"/>
                    </a:lnTo>
                    <a:lnTo>
                      <a:pt x="79" y="123"/>
                    </a:lnTo>
                    <a:lnTo>
                      <a:pt x="81" y="123"/>
                    </a:lnTo>
                    <a:lnTo>
                      <a:pt x="81" y="121"/>
                    </a:lnTo>
                    <a:lnTo>
                      <a:pt x="83" y="121"/>
                    </a:lnTo>
                    <a:lnTo>
                      <a:pt x="84" y="121"/>
                    </a:lnTo>
                    <a:lnTo>
                      <a:pt x="84" y="119"/>
                    </a:lnTo>
                    <a:lnTo>
                      <a:pt x="86" y="119"/>
                    </a:lnTo>
                    <a:lnTo>
                      <a:pt x="86" y="117"/>
                    </a:lnTo>
                    <a:lnTo>
                      <a:pt x="88" y="117"/>
                    </a:lnTo>
                    <a:lnTo>
                      <a:pt x="88" y="115"/>
                    </a:lnTo>
                    <a:lnTo>
                      <a:pt x="90" y="113"/>
                    </a:lnTo>
                    <a:lnTo>
                      <a:pt x="92" y="111"/>
                    </a:lnTo>
                    <a:lnTo>
                      <a:pt x="92" y="109"/>
                    </a:lnTo>
                    <a:lnTo>
                      <a:pt x="94" y="109"/>
                    </a:lnTo>
                    <a:lnTo>
                      <a:pt x="94" y="107"/>
                    </a:lnTo>
                    <a:lnTo>
                      <a:pt x="94" y="105"/>
                    </a:lnTo>
                    <a:lnTo>
                      <a:pt x="96" y="105"/>
                    </a:lnTo>
                    <a:lnTo>
                      <a:pt x="98" y="104"/>
                    </a:lnTo>
                    <a:lnTo>
                      <a:pt x="96" y="104"/>
                    </a:lnTo>
                    <a:lnTo>
                      <a:pt x="96" y="102"/>
                    </a:lnTo>
                    <a:lnTo>
                      <a:pt x="94" y="102"/>
                    </a:lnTo>
                    <a:lnTo>
                      <a:pt x="94" y="104"/>
                    </a:lnTo>
                    <a:lnTo>
                      <a:pt x="92" y="104"/>
                    </a:lnTo>
                    <a:lnTo>
                      <a:pt x="92" y="102"/>
                    </a:lnTo>
                    <a:lnTo>
                      <a:pt x="90" y="102"/>
                    </a:lnTo>
                    <a:lnTo>
                      <a:pt x="90" y="100"/>
                    </a:lnTo>
                    <a:lnTo>
                      <a:pt x="88" y="100"/>
                    </a:lnTo>
                    <a:lnTo>
                      <a:pt x="88" y="98"/>
                    </a:lnTo>
                    <a:lnTo>
                      <a:pt x="88" y="96"/>
                    </a:lnTo>
                    <a:lnTo>
                      <a:pt x="86" y="96"/>
                    </a:lnTo>
                    <a:lnTo>
                      <a:pt x="86" y="98"/>
                    </a:lnTo>
                    <a:lnTo>
                      <a:pt x="84" y="100"/>
                    </a:lnTo>
                    <a:lnTo>
                      <a:pt x="83" y="100"/>
                    </a:lnTo>
                    <a:lnTo>
                      <a:pt x="83" y="102"/>
                    </a:lnTo>
                    <a:lnTo>
                      <a:pt x="81" y="104"/>
                    </a:lnTo>
                    <a:lnTo>
                      <a:pt x="79" y="104"/>
                    </a:lnTo>
                    <a:lnTo>
                      <a:pt x="77" y="105"/>
                    </a:lnTo>
                    <a:lnTo>
                      <a:pt x="77" y="107"/>
                    </a:lnTo>
                    <a:lnTo>
                      <a:pt x="73" y="107"/>
                    </a:lnTo>
                    <a:lnTo>
                      <a:pt x="71" y="107"/>
                    </a:lnTo>
                    <a:lnTo>
                      <a:pt x="69" y="109"/>
                    </a:lnTo>
                    <a:lnTo>
                      <a:pt x="69" y="111"/>
                    </a:lnTo>
                    <a:lnTo>
                      <a:pt x="67" y="109"/>
                    </a:lnTo>
                    <a:lnTo>
                      <a:pt x="65" y="109"/>
                    </a:lnTo>
                    <a:lnTo>
                      <a:pt x="63" y="107"/>
                    </a:lnTo>
                    <a:lnTo>
                      <a:pt x="63" y="105"/>
                    </a:lnTo>
                    <a:lnTo>
                      <a:pt x="61" y="107"/>
                    </a:lnTo>
                    <a:lnTo>
                      <a:pt x="59" y="107"/>
                    </a:lnTo>
                    <a:lnTo>
                      <a:pt x="58" y="109"/>
                    </a:lnTo>
                    <a:lnTo>
                      <a:pt x="56" y="109"/>
                    </a:lnTo>
                    <a:lnTo>
                      <a:pt x="54" y="109"/>
                    </a:lnTo>
                    <a:lnTo>
                      <a:pt x="52" y="109"/>
                    </a:lnTo>
                    <a:lnTo>
                      <a:pt x="50" y="109"/>
                    </a:lnTo>
                    <a:lnTo>
                      <a:pt x="48" y="113"/>
                    </a:lnTo>
                    <a:lnTo>
                      <a:pt x="44" y="113"/>
                    </a:lnTo>
                    <a:lnTo>
                      <a:pt x="42" y="111"/>
                    </a:lnTo>
                    <a:lnTo>
                      <a:pt x="42" y="109"/>
                    </a:lnTo>
                    <a:lnTo>
                      <a:pt x="42" y="107"/>
                    </a:lnTo>
                    <a:lnTo>
                      <a:pt x="40" y="105"/>
                    </a:lnTo>
                    <a:lnTo>
                      <a:pt x="40" y="104"/>
                    </a:lnTo>
                    <a:lnTo>
                      <a:pt x="38" y="104"/>
                    </a:lnTo>
                    <a:lnTo>
                      <a:pt x="36" y="104"/>
                    </a:lnTo>
                    <a:lnTo>
                      <a:pt x="34" y="105"/>
                    </a:lnTo>
                    <a:lnTo>
                      <a:pt x="33" y="104"/>
                    </a:lnTo>
                    <a:lnTo>
                      <a:pt x="31" y="105"/>
                    </a:lnTo>
                    <a:lnTo>
                      <a:pt x="29" y="107"/>
                    </a:lnTo>
                    <a:lnTo>
                      <a:pt x="25" y="109"/>
                    </a:lnTo>
                    <a:lnTo>
                      <a:pt x="23" y="109"/>
                    </a:lnTo>
                    <a:lnTo>
                      <a:pt x="21" y="107"/>
                    </a:lnTo>
                    <a:lnTo>
                      <a:pt x="21" y="105"/>
                    </a:lnTo>
                    <a:lnTo>
                      <a:pt x="21" y="104"/>
                    </a:lnTo>
                    <a:lnTo>
                      <a:pt x="19" y="102"/>
                    </a:lnTo>
                    <a:lnTo>
                      <a:pt x="19" y="100"/>
                    </a:lnTo>
                    <a:lnTo>
                      <a:pt x="17" y="100"/>
                    </a:lnTo>
                    <a:lnTo>
                      <a:pt x="19" y="98"/>
                    </a:lnTo>
                    <a:lnTo>
                      <a:pt x="19" y="96"/>
                    </a:lnTo>
                    <a:lnTo>
                      <a:pt x="19" y="94"/>
                    </a:lnTo>
                    <a:lnTo>
                      <a:pt x="17" y="92"/>
                    </a:lnTo>
                    <a:lnTo>
                      <a:pt x="17" y="90"/>
                    </a:lnTo>
                    <a:lnTo>
                      <a:pt x="17" y="88"/>
                    </a:lnTo>
                    <a:lnTo>
                      <a:pt x="17" y="86"/>
                    </a:lnTo>
                    <a:lnTo>
                      <a:pt x="15" y="86"/>
                    </a:lnTo>
                    <a:lnTo>
                      <a:pt x="13" y="86"/>
                    </a:lnTo>
                    <a:lnTo>
                      <a:pt x="15" y="84"/>
                    </a:lnTo>
                    <a:lnTo>
                      <a:pt x="15" y="82"/>
                    </a:lnTo>
                    <a:lnTo>
                      <a:pt x="13" y="82"/>
                    </a:lnTo>
                    <a:lnTo>
                      <a:pt x="13" y="80"/>
                    </a:lnTo>
                    <a:lnTo>
                      <a:pt x="11" y="80"/>
                    </a:lnTo>
                    <a:lnTo>
                      <a:pt x="11" y="79"/>
                    </a:lnTo>
                    <a:lnTo>
                      <a:pt x="9" y="77"/>
                    </a:lnTo>
                    <a:lnTo>
                      <a:pt x="9" y="75"/>
                    </a:lnTo>
                    <a:lnTo>
                      <a:pt x="8" y="75"/>
                    </a:lnTo>
                    <a:lnTo>
                      <a:pt x="8" y="73"/>
                    </a:lnTo>
                    <a:lnTo>
                      <a:pt x="9" y="71"/>
                    </a:lnTo>
                    <a:lnTo>
                      <a:pt x="9" y="69"/>
                    </a:lnTo>
                    <a:lnTo>
                      <a:pt x="9" y="67"/>
                    </a:lnTo>
                    <a:lnTo>
                      <a:pt x="11" y="67"/>
                    </a:lnTo>
                    <a:lnTo>
                      <a:pt x="13" y="65"/>
                    </a:lnTo>
                    <a:lnTo>
                      <a:pt x="13" y="63"/>
                    </a:lnTo>
                    <a:lnTo>
                      <a:pt x="13" y="65"/>
                    </a:lnTo>
                    <a:lnTo>
                      <a:pt x="13" y="63"/>
                    </a:lnTo>
                    <a:lnTo>
                      <a:pt x="13" y="65"/>
                    </a:lnTo>
                    <a:lnTo>
                      <a:pt x="13" y="63"/>
                    </a:lnTo>
                    <a:lnTo>
                      <a:pt x="11" y="63"/>
                    </a:lnTo>
                    <a:lnTo>
                      <a:pt x="13" y="63"/>
                    </a:lnTo>
                    <a:lnTo>
                      <a:pt x="11" y="63"/>
                    </a:lnTo>
                    <a:lnTo>
                      <a:pt x="13" y="63"/>
                    </a:lnTo>
                    <a:lnTo>
                      <a:pt x="11" y="63"/>
                    </a:lnTo>
                    <a:lnTo>
                      <a:pt x="13" y="63"/>
                    </a:lnTo>
                    <a:lnTo>
                      <a:pt x="13" y="61"/>
                    </a:lnTo>
                    <a:lnTo>
                      <a:pt x="13" y="59"/>
                    </a:lnTo>
                    <a:lnTo>
                      <a:pt x="13" y="57"/>
                    </a:lnTo>
                    <a:lnTo>
                      <a:pt x="13" y="55"/>
                    </a:lnTo>
                    <a:lnTo>
                      <a:pt x="15" y="54"/>
                    </a:lnTo>
                    <a:lnTo>
                      <a:pt x="15" y="52"/>
                    </a:lnTo>
                    <a:lnTo>
                      <a:pt x="17" y="52"/>
                    </a:lnTo>
                    <a:lnTo>
                      <a:pt x="19" y="52"/>
                    </a:lnTo>
                    <a:lnTo>
                      <a:pt x="19" y="50"/>
                    </a:lnTo>
                    <a:lnTo>
                      <a:pt x="19" y="48"/>
                    </a:lnTo>
                    <a:lnTo>
                      <a:pt x="19" y="46"/>
                    </a:lnTo>
                    <a:lnTo>
                      <a:pt x="21" y="48"/>
                    </a:lnTo>
                    <a:lnTo>
                      <a:pt x="21" y="46"/>
                    </a:lnTo>
                    <a:lnTo>
                      <a:pt x="21" y="44"/>
                    </a:lnTo>
                    <a:lnTo>
                      <a:pt x="23" y="44"/>
                    </a:lnTo>
                    <a:lnTo>
                      <a:pt x="23" y="46"/>
                    </a:lnTo>
                    <a:lnTo>
                      <a:pt x="25" y="46"/>
                    </a:lnTo>
                    <a:lnTo>
                      <a:pt x="25" y="44"/>
                    </a:lnTo>
                    <a:lnTo>
                      <a:pt x="27" y="44"/>
                    </a:lnTo>
                    <a:lnTo>
                      <a:pt x="29" y="44"/>
                    </a:lnTo>
                    <a:lnTo>
                      <a:pt x="31" y="44"/>
                    </a:lnTo>
                    <a:lnTo>
                      <a:pt x="33" y="44"/>
                    </a:lnTo>
                    <a:lnTo>
                      <a:pt x="34" y="46"/>
                    </a:lnTo>
                    <a:lnTo>
                      <a:pt x="34" y="48"/>
                    </a:lnTo>
                    <a:lnTo>
                      <a:pt x="36" y="48"/>
                    </a:lnTo>
                    <a:lnTo>
                      <a:pt x="38" y="48"/>
                    </a:lnTo>
                    <a:lnTo>
                      <a:pt x="42" y="50"/>
                    </a:lnTo>
                    <a:lnTo>
                      <a:pt x="44" y="52"/>
                    </a:lnTo>
                    <a:lnTo>
                      <a:pt x="44" y="54"/>
                    </a:lnTo>
                    <a:lnTo>
                      <a:pt x="46" y="54"/>
                    </a:lnTo>
                    <a:lnTo>
                      <a:pt x="46" y="55"/>
                    </a:lnTo>
                    <a:lnTo>
                      <a:pt x="46" y="57"/>
                    </a:lnTo>
                    <a:lnTo>
                      <a:pt x="48" y="57"/>
                    </a:lnTo>
                    <a:lnTo>
                      <a:pt x="48" y="59"/>
                    </a:lnTo>
                    <a:lnTo>
                      <a:pt x="46" y="59"/>
                    </a:lnTo>
                    <a:lnTo>
                      <a:pt x="46" y="61"/>
                    </a:lnTo>
                    <a:lnTo>
                      <a:pt x="44" y="61"/>
                    </a:lnTo>
                    <a:lnTo>
                      <a:pt x="42" y="61"/>
                    </a:lnTo>
                    <a:lnTo>
                      <a:pt x="42" y="63"/>
                    </a:lnTo>
                    <a:lnTo>
                      <a:pt x="40" y="63"/>
                    </a:lnTo>
                    <a:lnTo>
                      <a:pt x="40" y="65"/>
                    </a:lnTo>
                    <a:lnTo>
                      <a:pt x="40" y="67"/>
                    </a:lnTo>
                    <a:lnTo>
                      <a:pt x="40" y="69"/>
                    </a:lnTo>
                    <a:lnTo>
                      <a:pt x="38" y="71"/>
                    </a:lnTo>
                    <a:lnTo>
                      <a:pt x="38" y="73"/>
                    </a:lnTo>
                    <a:lnTo>
                      <a:pt x="36" y="73"/>
                    </a:lnTo>
                    <a:lnTo>
                      <a:pt x="34" y="73"/>
                    </a:lnTo>
                    <a:lnTo>
                      <a:pt x="34" y="75"/>
                    </a:lnTo>
                    <a:lnTo>
                      <a:pt x="36" y="75"/>
                    </a:lnTo>
                    <a:lnTo>
                      <a:pt x="36" y="77"/>
                    </a:lnTo>
                    <a:lnTo>
                      <a:pt x="38" y="77"/>
                    </a:lnTo>
                    <a:lnTo>
                      <a:pt x="40" y="77"/>
                    </a:lnTo>
                    <a:lnTo>
                      <a:pt x="40" y="75"/>
                    </a:lnTo>
                    <a:lnTo>
                      <a:pt x="42" y="75"/>
                    </a:lnTo>
                    <a:lnTo>
                      <a:pt x="42" y="73"/>
                    </a:lnTo>
                    <a:lnTo>
                      <a:pt x="42" y="75"/>
                    </a:lnTo>
                    <a:lnTo>
                      <a:pt x="42" y="73"/>
                    </a:lnTo>
                    <a:lnTo>
                      <a:pt x="40" y="73"/>
                    </a:lnTo>
                    <a:lnTo>
                      <a:pt x="42" y="73"/>
                    </a:lnTo>
                    <a:lnTo>
                      <a:pt x="44" y="73"/>
                    </a:lnTo>
                    <a:lnTo>
                      <a:pt x="44" y="71"/>
                    </a:lnTo>
                    <a:lnTo>
                      <a:pt x="44" y="69"/>
                    </a:lnTo>
                    <a:lnTo>
                      <a:pt x="46" y="69"/>
                    </a:lnTo>
                    <a:lnTo>
                      <a:pt x="46" y="67"/>
                    </a:lnTo>
                    <a:lnTo>
                      <a:pt x="44" y="67"/>
                    </a:lnTo>
                    <a:lnTo>
                      <a:pt x="46" y="67"/>
                    </a:lnTo>
                    <a:lnTo>
                      <a:pt x="46" y="65"/>
                    </a:lnTo>
                    <a:lnTo>
                      <a:pt x="48" y="65"/>
                    </a:lnTo>
                    <a:lnTo>
                      <a:pt x="48" y="63"/>
                    </a:lnTo>
                    <a:lnTo>
                      <a:pt x="48" y="65"/>
                    </a:lnTo>
                    <a:lnTo>
                      <a:pt x="48" y="63"/>
                    </a:lnTo>
                    <a:lnTo>
                      <a:pt x="50" y="63"/>
                    </a:lnTo>
                    <a:lnTo>
                      <a:pt x="52" y="63"/>
                    </a:lnTo>
                    <a:lnTo>
                      <a:pt x="52" y="65"/>
                    </a:lnTo>
                    <a:lnTo>
                      <a:pt x="54" y="65"/>
                    </a:lnTo>
                    <a:lnTo>
                      <a:pt x="54" y="67"/>
                    </a:lnTo>
                    <a:lnTo>
                      <a:pt x="52" y="67"/>
                    </a:lnTo>
                    <a:lnTo>
                      <a:pt x="52" y="69"/>
                    </a:lnTo>
                    <a:lnTo>
                      <a:pt x="54" y="71"/>
                    </a:lnTo>
                    <a:lnTo>
                      <a:pt x="54" y="73"/>
                    </a:lnTo>
                    <a:lnTo>
                      <a:pt x="52" y="75"/>
                    </a:lnTo>
                    <a:lnTo>
                      <a:pt x="52" y="77"/>
                    </a:lnTo>
                    <a:lnTo>
                      <a:pt x="54" y="77"/>
                    </a:lnTo>
                    <a:lnTo>
                      <a:pt x="56" y="75"/>
                    </a:lnTo>
                    <a:lnTo>
                      <a:pt x="56" y="77"/>
                    </a:lnTo>
                    <a:lnTo>
                      <a:pt x="54" y="79"/>
                    </a:lnTo>
                    <a:lnTo>
                      <a:pt x="56" y="79"/>
                    </a:lnTo>
                    <a:lnTo>
                      <a:pt x="56" y="80"/>
                    </a:lnTo>
                    <a:lnTo>
                      <a:pt x="58" y="80"/>
                    </a:lnTo>
                    <a:lnTo>
                      <a:pt x="59" y="82"/>
                    </a:lnTo>
                    <a:lnTo>
                      <a:pt x="59" y="80"/>
                    </a:lnTo>
                    <a:lnTo>
                      <a:pt x="59" y="82"/>
                    </a:lnTo>
                    <a:lnTo>
                      <a:pt x="59" y="80"/>
                    </a:lnTo>
                    <a:lnTo>
                      <a:pt x="61" y="80"/>
                    </a:lnTo>
                    <a:lnTo>
                      <a:pt x="63" y="79"/>
                    </a:lnTo>
                    <a:lnTo>
                      <a:pt x="65" y="79"/>
                    </a:lnTo>
                    <a:lnTo>
                      <a:pt x="65" y="77"/>
                    </a:lnTo>
                    <a:lnTo>
                      <a:pt x="65" y="75"/>
                    </a:lnTo>
                    <a:lnTo>
                      <a:pt x="65" y="73"/>
                    </a:lnTo>
                    <a:lnTo>
                      <a:pt x="63" y="71"/>
                    </a:lnTo>
                    <a:lnTo>
                      <a:pt x="61" y="69"/>
                    </a:lnTo>
                    <a:lnTo>
                      <a:pt x="59" y="69"/>
                    </a:lnTo>
                    <a:lnTo>
                      <a:pt x="61" y="69"/>
                    </a:lnTo>
                    <a:lnTo>
                      <a:pt x="61" y="67"/>
                    </a:lnTo>
                    <a:lnTo>
                      <a:pt x="61" y="65"/>
                    </a:lnTo>
                    <a:lnTo>
                      <a:pt x="63" y="65"/>
                    </a:lnTo>
                    <a:lnTo>
                      <a:pt x="63" y="67"/>
                    </a:lnTo>
                    <a:lnTo>
                      <a:pt x="63" y="69"/>
                    </a:lnTo>
                    <a:lnTo>
                      <a:pt x="63" y="67"/>
                    </a:lnTo>
                    <a:lnTo>
                      <a:pt x="65" y="67"/>
                    </a:lnTo>
                    <a:lnTo>
                      <a:pt x="65" y="69"/>
                    </a:lnTo>
                    <a:lnTo>
                      <a:pt x="65" y="71"/>
                    </a:lnTo>
                    <a:lnTo>
                      <a:pt x="65" y="69"/>
                    </a:lnTo>
                    <a:lnTo>
                      <a:pt x="67" y="69"/>
                    </a:lnTo>
                    <a:lnTo>
                      <a:pt x="67" y="67"/>
                    </a:lnTo>
                    <a:lnTo>
                      <a:pt x="65" y="65"/>
                    </a:lnTo>
                    <a:lnTo>
                      <a:pt x="67" y="63"/>
                    </a:lnTo>
                    <a:lnTo>
                      <a:pt x="67" y="61"/>
                    </a:lnTo>
                    <a:lnTo>
                      <a:pt x="69" y="61"/>
                    </a:lnTo>
                    <a:lnTo>
                      <a:pt x="69" y="63"/>
                    </a:lnTo>
                    <a:lnTo>
                      <a:pt x="73" y="63"/>
                    </a:lnTo>
                    <a:lnTo>
                      <a:pt x="73" y="65"/>
                    </a:lnTo>
                    <a:lnTo>
                      <a:pt x="75" y="65"/>
                    </a:lnTo>
                    <a:lnTo>
                      <a:pt x="75" y="63"/>
                    </a:lnTo>
                    <a:lnTo>
                      <a:pt x="73" y="63"/>
                    </a:lnTo>
                    <a:lnTo>
                      <a:pt x="71" y="63"/>
                    </a:lnTo>
                    <a:lnTo>
                      <a:pt x="71" y="61"/>
                    </a:lnTo>
                    <a:lnTo>
                      <a:pt x="73" y="59"/>
                    </a:lnTo>
                    <a:lnTo>
                      <a:pt x="73" y="61"/>
                    </a:lnTo>
                    <a:lnTo>
                      <a:pt x="75" y="61"/>
                    </a:lnTo>
                    <a:lnTo>
                      <a:pt x="77" y="63"/>
                    </a:lnTo>
                    <a:lnTo>
                      <a:pt x="75" y="65"/>
                    </a:lnTo>
                    <a:lnTo>
                      <a:pt x="75" y="67"/>
                    </a:lnTo>
                    <a:lnTo>
                      <a:pt x="77" y="65"/>
                    </a:lnTo>
                    <a:lnTo>
                      <a:pt x="77" y="67"/>
                    </a:lnTo>
                    <a:lnTo>
                      <a:pt x="77" y="65"/>
                    </a:lnTo>
                    <a:lnTo>
                      <a:pt x="79" y="65"/>
                    </a:lnTo>
                    <a:lnTo>
                      <a:pt x="81" y="65"/>
                    </a:lnTo>
                    <a:lnTo>
                      <a:pt x="81" y="63"/>
                    </a:lnTo>
                    <a:lnTo>
                      <a:pt x="83" y="63"/>
                    </a:lnTo>
                    <a:lnTo>
                      <a:pt x="84" y="61"/>
                    </a:lnTo>
                    <a:lnTo>
                      <a:pt x="84" y="59"/>
                    </a:lnTo>
                    <a:lnTo>
                      <a:pt x="84" y="57"/>
                    </a:lnTo>
                    <a:lnTo>
                      <a:pt x="86" y="55"/>
                    </a:lnTo>
                    <a:lnTo>
                      <a:pt x="88" y="55"/>
                    </a:lnTo>
                    <a:lnTo>
                      <a:pt x="88" y="57"/>
                    </a:lnTo>
                    <a:lnTo>
                      <a:pt x="92" y="57"/>
                    </a:lnTo>
                    <a:lnTo>
                      <a:pt x="92" y="55"/>
                    </a:lnTo>
                    <a:lnTo>
                      <a:pt x="92" y="57"/>
                    </a:lnTo>
                    <a:lnTo>
                      <a:pt x="94" y="57"/>
                    </a:lnTo>
                    <a:lnTo>
                      <a:pt x="94" y="55"/>
                    </a:lnTo>
                    <a:lnTo>
                      <a:pt x="94" y="57"/>
                    </a:lnTo>
                    <a:lnTo>
                      <a:pt x="96" y="57"/>
                    </a:lnTo>
                    <a:lnTo>
                      <a:pt x="98" y="57"/>
                    </a:lnTo>
                    <a:lnTo>
                      <a:pt x="100" y="57"/>
                    </a:lnTo>
                    <a:lnTo>
                      <a:pt x="100" y="55"/>
                    </a:lnTo>
                    <a:lnTo>
                      <a:pt x="102" y="55"/>
                    </a:lnTo>
                    <a:lnTo>
                      <a:pt x="102" y="54"/>
                    </a:lnTo>
                    <a:lnTo>
                      <a:pt x="104" y="55"/>
                    </a:lnTo>
                    <a:lnTo>
                      <a:pt x="104" y="54"/>
                    </a:lnTo>
                    <a:lnTo>
                      <a:pt x="104" y="52"/>
                    </a:lnTo>
                    <a:lnTo>
                      <a:pt x="102" y="52"/>
                    </a:lnTo>
                    <a:lnTo>
                      <a:pt x="100" y="52"/>
                    </a:lnTo>
                    <a:lnTo>
                      <a:pt x="98" y="50"/>
                    </a:lnTo>
                    <a:lnTo>
                      <a:pt x="100" y="50"/>
                    </a:lnTo>
                    <a:lnTo>
                      <a:pt x="100" y="48"/>
                    </a:lnTo>
                    <a:lnTo>
                      <a:pt x="98" y="46"/>
                    </a:lnTo>
                    <a:lnTo>
                      <a:pt x="96" y="48"/>
                    </a:lnTo>
                    <a:lnTo>
                      <a:pt x="94" y="48"/>
                    </a:lnTo>
                    <a:lnTo>
                      <a:pt x="92" y="50"/>
                    </a:lnTo>
                    <a:lnTo>
                      <a:pt x="92" y="48"/>
                    </a:lnTo>
                    <a:lnTo>
                      <a:pt x="94" y="48"/>
                    </a:lnTo>
                    <a:lnTo>
                      <a:pt x="94" y="46"/>
                    </a:lnTo>
                    <a:lnTo>
                      <a:pt x="96" y="46"/>
                    </a:lnTo>
                    <a:lnTo>
                      <a:pt x="96" y="44"/>
                    </a:lnTo>
                    <a:lnTo>
                      <a:pt x="96" y="42"/>
                    </a:lnTo>
                    <a:lnTo>
                      <a:pt x="96" y="40"/>
                    </a:lnTo>
                    <a:lnTo>
                      <a:pt x="98" y="38"/>
                    </a:lnTo>
                    <a:lnTo>
                      <a:pt x="98" y="36"/>
                    </a:lnTo>
                    <a:lnTo>
                      <a:pt x="96" y="36"/>
                    </a:lnTo>
                    <a:lnTo>
                      <a:pt x="96" y="34"/>
                    </a:lnTo>
                    <a:lnTo>
                      <a:pt x="94" y="34"/>
                    </a:lnTo>
                    <a:lnTo>
                      <a:pt x="92" y="34"/>
                    </a:lnTo>
                    <a:lnTo>
                      <a:pt x="94" y="34"/>
                    </a:lnTo>
                    <a:lnTo>
                      <a:pt x="94" y="32"/>
                    </a:lnTo>
                    <a:lnTo>
                      <a:pt x="96" y="32"/>
                    </a:lnTo>
                    <a:lnTo>
                      <a:pt x="98" y="30"/>
                    </a:lnTo>
                    <a:lnTo>
                      <a:pt x="98" y="29"/>
                    </a:lnTo>
                    <a:lnTo>
                      <a:pt x="100" y="29"/>
                    </a:lnTo>
                    <a:lnTo>
                      <a:pt x="100" y="27"/>
                    </a:lnTo>
                    <a:lnTo>
                      <a:pt x="100" y="25"/>
                    </a:lnTo>
                    <a:lnTo>
                      <a:pt x="100" y="23"/>
                    </a:lnTo>
                    <a:lnTo>
                      <a:pt x="100" y="21"/>
                    </a:lnTo>
                    <a:lnTo>
                      <a:pt x="100" y="19"/>
                    </a:lnTo>
                    <a:lnTo>
                      <a:pt x="102" y="19"/>
                    </a:lnTo>
                    <a:lnTo>
                      <a:pt x="102" y="21"/>
                    </a:lnTo>
                    <a:lnTo>
                      <a:pt x="104" y="21"/>
                    </a:lnTo>
                    <a:lnTo>
                      <a:pt x="104" y="19"/>
                    </a:lnTo>
                    <a:lnTo>
                      <a:pt x="104" y="21"/>
                    </a:lnTo>
                    <a:lnTo>
                      <a:pt x="104" y="19"/>
                    </a:lnTo>
                    <a:lnTo>
                      <a:pt x="106" y="19"/>
                    </a:lnTo>
                    <a:lnTo>
                      <a:pt x="106" y="17"/>
                    </a:lnTo>
                    <a:lnTo>
                      <a:pt x="107" y="17"/>
                    </a:lnTo>
                    <a:lnTo>
                      <a:pt x="107" y="15"/>
                    </a:lnTo>
                    <a:lnTo>
                      <a:pt x="107" y="13"/>
                    </a:lnTo>
                    <a:lnTo>
                      <a:pt x="106" y="11"/>
                    </a:lnTo>
                    <a:lnTo>
                      <a:pt x="106" y="13"/>
                    </a:lnTo>
                    <a:lnTo>
                      <a:pt x="104" y="13"/>
                    </a:lnTo>
                    <a:lnTo>
                      <a:pt x="102" y="13"/>
                    </a:lnTo>
                    <a:lnTo>
                      <a:pt x="102" y="11"/>
                    </a:lnTo>
                    <a:lnTo>
                      <a:pt x="100" y="9"/>
                    </a:lnTo>
                    <a:lnTo>
                      <a:pt x="100" y="7"/>
                    </a:lnTo>
                    <a:lnTo>
                      <a:pt x="98" y="7"/>
                    </a:lnTo>
                    <a:lnTo>
                      <a:pt x="100" y="7"/>
                    </a:lnTo>
                    <a:lnTo>
                      <a:pt x="102" y="7"/>
                    </a:lnTo>
                    <a:lnTo>
                      <a:pt x="102" y="9"/>
                    </a:lnTo>
                    <a:lnTo>
                      <a:pt x="104" y="9"/>
                    </a:lnTo>
                    <a:lnTo>
                      <a:pt x="104" y="7"/>
                    </a:lnTo>
                    <a:lnTo>
                      <a:pt x="104" y="9"/>
                    </a:lnTo>
                    <a:lnTo>
                      <a:pt x="104" y="7"/>
                    </a:lnTo>
                    <a:lnTo>
                      <a:pt x="106" y="7"/>
                    </a:lnTo>
                    <a:lnTo>
                      <a:pt x="106" y="6"/>
                    </a:lnTo>
                    <a:lnTo>
                      <a:pt x="107" y="6"/>
                    </a:lnTo>
                    <a:lnTo>
                      <a:pt x="107" y="4"/>
                    </a:lnTo>
                    <a:lnTo>
                      <a:pt x="107" y="2"/>
                    </a:lnTo>
                    <a:lnTo>
                      <a:pt x="106" y="2"/>
                    </a:lnTo>
                    <a:lnTo>
                      <a:pt x="106" y="0"/>
                    </a:lnTo>
                    <a:lnTo>
                      <a:pt x="107" y="0"/>
                    </a:lnTo>
                    <a:lnTo>
                      <a:pt x="109" y="0"/>
                    </a:lnTo>
                    <a:lnTo>
                      <a:pt x="111" y="0"/>
                    </a:lnTo>
                    <a:lnTo>
                      <a:pt x="111" y="2"/>
                    </a:lnTo>
                    <a:lnTo>
                      <a:pt x="115" y="4"/>
                    </a:lnTo>
                    <a:lnTo>
                      <a:pt x="121" y="4"/>
                    </a:lnTo>
                    <a:lnTo>
                      <a:pt x="119" y="6"/>
                    </a:lnTo>
                    <a:lnTo>
                      <a:pt x="123" y="7"/>
                    </a:lnTo>
                    <a:lnTo>
                      <a:pt x="121" y="9"/>
                    </a:lnTo>
                    <a:lnTo>
                      <a:pt x="119" y="11"/>
                    </a:lnTo>
                    <a:lnTo>
                      <a:pt x="123" y="13"/>
                    </a:lnTo>
                    <a:lnTo>
                      <a:pt x="125" y="13"/>
                    </a:lnTo>
                    <a:lnTo>
                      <a:pt x="127" y="13"/>
                    </a:lnTo>
                    <a:lnTo>
                      <a:pt x="129" y="13"/>
                    </a:lnTo>
                    <a:lnTo>
                      <a:pt x="129" y="15"/>
                    </a:lnTo>
                    <a:lnTo>
                      <a:pt x="131" y="15"/>
                    </a:lnTo>
                    <a:lnTo>
                      <a:pt x="131" y="17"/>
                    </a:lnTo>
                    <a:lnTo>
                      <a:pt x="132" y="19"/>
                    </a:lnTo>
                    <a:lnTo>
                      <a:pt x="132" y="17"/>
                    </a:lnTo>
                    <a:lnTo>
                      <a:pt x="134" y="19"/>
                    </a:lnTo>
                    <a:lnTo>
                      <a:pt x="136" y="19"/>
                    </a:lnTo>
                    <a:lnTo>
                      <a:pt x="136" y="21"/>
                    </a:lnTo>
                    <a:lnTo>
                      <a:pt x="138" y="21"/>
                    </a:lnTo>
                    <a:lnTo>
                      <a:pt x="138" y="19"/>
                    </a:lnTo>
                    <a:lnTo>
                      <a:pt x="140" y="21"/>
                    </a:lnTo>
                    <a:lnTo>
                      <a:pt x="140" y="19"/>
                    </a:lnTo>
                    <a:lnTo>
                      <a:pt x="140" y="21"/>
                    </a:lnTo>
                    <a:lnTo>
                      <a:pt x="142" y="21"/>
                    </a:lnTo>
                    <a:lnTo>
                      <a:pt x="144" y="21"/>
                    </a:lnTo>
                    <a:lnTo>
                      <a:pt x="144" y="23"/>
                    </a:lnTo>
                    <a:lnTo>
                      <a:pt x="146" y="21"/>
                    </a:lnTo>
                    <a:lnTo>
                      <a:pt x="146" y="23"/>
                    </a:lnTo>
                    <a:lnTo>
                      <a:pt x="148" y="23"/>
                    </a:lnTo>
                    <a:lnTo>
                      <a:pt x="148" y="25"/>
                    </a:lnTo>
                    <a:lnTo>
                      <a:pt x="150" y="25"/>
                    </a:lnTo>
                    <a:lnTo>
                      <a:pt x="152" y="25"/>
                    </a:lnTo>
                    <a:lnTo>
                      <a:pt x="152" y="23"/>
                    </a:lnTo>
                    <a:lnTo>
                      <a:pt x="154" y="25"/>
                    </a:lnTo>
                    <a:lnTo>
                      <a:pt x="154" y="27"/>
                    </a:lnTo>
                    <a:lnTo>
                      <a:pt x="156" y="27"/>
                    </a:lnTo>
                    <a:lnTo>
                      <a:pt x="157" y="27"/>
                    </a:lnTo>
                    <a:lnTo>
                      <a:pt x="157" y="29"/>
                    </a:lnTo>
                    <a:lnTo>
                      <a:pt x="159" y="29"/>
                    </a:lnTo>
                    <a:lnTo>
                      <a:pt x="159" y="30"/>
                    </a:lnTo>
                    <a:lnTo>
                      <a:pt x="161" y="30"/>
                    </a:lnTo>
                    <a:lnTo>
                      <a:pt x="163" y="30"/>
                    </a:lnTo>
                    <a:lnTo>
                      <a:pt x="163" y="32"/>
                    </a:lnTo>
                    <a:lnTo>
                      <a:pt x="163" y="30"/>
                    </a:lnTo>
                    <a:lnTo>
                      <a:pt x="165" y="30"/>
                    </a:lnTo>
                    <a:lnTo>
                      <a:pt x="167" y="30"/>
                    </a:lnTo>
                    <a:lnTo>
                      <a:pt x="167" y="29"/>
                    </a:lnTo>
                    <a:lnTo>
                      <a:pt x="167" y="27"/>
                    </a:lnTo>
                    <a:lnTo>
                      <a:pt x="167" y="25"/>
                    </a:lnTo>
                    <a:lnTo>
                      <a:pt x="165" y="23"/>
                    </a:lnTo>
                    <a:lnTo>
                      <a:pt x="165" y="21"/>
                    </a:lnTo>
                    <a:lnTo>
                      <a:pt x="167" y="21"/>
                    </a:lnTo>
                    <a:lnTo>
                      <a:pt x="169" y="21"/>
                    </a:lnTo>
                    <a:lnTo>
                      <a:pt x="171" y="21"/>
                    </a:lnTo>
                    <a:lnTo>
                      <a:pt x="171" y="23"/>
                    </a:lnTo>
                    <a:lnTo>
                      <a:pt x="173" y="23"/>
                    </a:lnTo>
                    <a:lnTo>
                      <a:pt x="173" y="25"/>
                    </a:lnTo>
                    <a:lnTo>
                      <a:pt x="175" y="25"/>
                    </a:lnTo>
                    <a:lnTo>
                      <a:pt x="177" y="25"/>
                    </a:lnTo>
                    <a:lnTo>
                      <a:pt x="179" y="25"/>
                    </a:lnTo>
                    <a:lnTo>
                      <a:pt x="179" y="27"/>
                    </a:lnTo>
                    <a:lnTo>
                      <a:pt x="179" y="29"/>
                    </a:lnTo>
                    <a:lnTo>
                      <a:pt x="180" y="29"/>
                    </a:lnTo>
                    <a:lnTo>
                      <a:pt x="179" y="29"/>
                    </a:lnTo>
                    <a:lnTo>
                      <a:pt x="179" y="30"/>
                    </a:lnTo>
                    <a:lnTo>
                      <a:pt x="180" y="30"/>
                    </a:lnTo>
                    <a:lnTo>
                      <a:pt x="180" y="29"/>
                    </a:lnTo>
                    <a:lnTo>
                      <a:pt x="182" y="29"/>
                    </a:lnTo>
                    <a:lnTo>
                      <a:pt x="184" y="29"/>
                    </a:lnTo>
                    <a:lnTo>
                      <a:pt x="184" y="30"/>
                    </a:lnTo>
                    <a:lnTo>
                      <a:pt x="184" y="32"/>
                    </a:lnTo>
                    <a:lnTo>
                      <a:pt x="184" y="34"/>
                    </a:lnTo>
                    <a:lnTo>
                      <a:pt x="184" y="36"/>
                    </a:lnTo>
                    <a:lnTo>
                      <a:pt x="186" y="36"/>
                    </a:lnTo>
                    <a:lnTo>
                      <a:pt x="186" y="34"/>
                    </a:lnTo>
                    <a:lnTo>
                      <a:pt x="186" y="36"/>
                    </a:lnTo>
                    <a:lnTo>
                      <a:pt x="188" y="38"/>
                    </a:lnTo>
                    <a:lnTo>
                      <a:pt x="186" y="40"/>
                    </a:lnTo>
                    <a:lnTo>
                      <a:pt x="188" y="42"/>
                    </a:lnTo>
                    <a:lnTo>
                      <a:pt x="190" y="44"/>
                    </a:lnTo>
                    <a:lnTo>
                      <a:pt x="192"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6" name="Freeform 21"/>
              <p:cNvSpPr>
                <a:spLocks noEditPoints="1"/>
              </p:cNvSpPr>
              <p:nvPr/>
            </p:nvSpPr>
            <p:spPr bwMode="auto">
              <a:xfrm>
                <a:off x="4775739" y="2944635"/>
                <a:ext cx="788047" cy="1161423"/>
              </a:xfrm>
              <a:custGeom>
                <a:avLst/>
                <a:gdLst>
                  <a:gd name="T0" fmla="*/ 290 w 458"/>
                  <a:gd name="T1" fmla="*/ 50 h 675"/>
                  <a:gd name="T2" fmla="*/ 310 w 458"/>
                  <a:gd name="T3" fmla="*/ 71 h 675"/>
                  <a:gd name="T4" fmla="*/ 327 w 458"/>
                  <a:gd name="T5" fmla="*/ 100 h 675"/>
                  <a:gd name="T6" fmla="*/ 354 w 458"/>
                  <a:gd name="T7" fmla="*/ 123 h 675"/>
                  <a:gd name="T8" fmla="*/ 354 w 458"/>
                  <a:gd name="T9" fmla="*/ 146 h 675"/>
                  <a:gd name="T10" fmla="*/ 388 w 458"/>
                  <a:gd name="T11" fmla="*/ 144 h 675"/>
                  <a:gd name="T12" fmla="*/ 411 w 458"/>
                  <a:gd name="T13" fmla="*/ 160 h 675"/>
                  <a:gd name="T14" fmla="*/ 417 w 458"/>
                  <a:gd name="T15" fmla="*/ 208 h 675"/>
                  <a:gd name="T16" fmla="*/ 436 w 458"/>
                  <a:gd name="T17" fmla="*/ 231 h 675"/>
                  <a:gd name="T18" fmla="*/ 436 w 458"/>
                  <a:gd name="T19" fmla="*/ 262 h 675"/>
                  <a:gd name="T20" fmla="*/ 444 w 458"/>
                  <a:gd name="T21" fmla="*/ 302 h 675"/>
                  <a:gd name="T22" fmla="*/ 413 w 458"/>
                  <a:gd name="T23" fmla="*/ 327 h 675"/>
                  <a:gd name="T24" fmla="*/ 402 w 458"/>
                  <a:gd name="T25" fmla="*/ 369 h 675"/>
                  <a:gd name="T26" fmla="*/ 425 w 458"/>
                  <a:gd name="T27" fmla="*/ 379 h 675"/>
                  <a:gd name="T28" fmla="*/ 429 w 458"/>
                  <a:gd name="T29" fmla="*/ 417 h 675"/>
                  <a:gd name="T30" fmla="*/ 419 w 458"/>
                  <a:gd name="T31" fmla="*/ 452 h 675"/>
                  <a:gd name="T32" fmla="*/ 413 w 458"/>
                  <a:gd name="T33" fmla="*/ 494 h 675"/>
                  <a:gd name="T34" fmla="*/ 410 w 458"/>
                  <a:gd name="T35" fmla="*/ 527 h 675"/>
                  <a:gd name="T36" fmla="*/ 413 w 458"/>
                  <a:gd name="T37" fmla="*/ 550 h 675"/>
                  <a:gd name="T38" fmla="*/ 394 w 458"/>
                  <a:gd name="T39" fmla="*/ 562 h 675"/>
                  <a:gd name="T40" fmla="*/ 383 w 458"/>
                  <a:gd name="T41" fmla="*/ 587 h 675"/>
                  <a:gd name="T42" fmla="*/ 319 w 458"/>
                  <a:gd name="T43" fmla="*/ 577 h 675"/>
                  <a:gd name="T44" fmla="*/ 262 w 458"/>
                  <a:gd name="T45" fmla="*/ 573 h 675"/>
                  <a:gd name="T46" fmla="*/ 200 w 458"/>
                  <a:gd name="T47" fmla="*/ 623 h 675"/>
                  <a:gd name="T48" fmla="*/ 129 w 458"/>
                  <a:gd name="T49" fmla="*/ 664 h 675"/>
                  <a:gd name="T50" fmla="*/ 73 w 458"/>
                  <a:gd name="T51" fmla="*/ 673 h 675"/>
                  <a:gd name="T52" fmla="*/ 31 w 458"/>
                  <a:gd name="T53" fmla="*/ 665 h 675"/>
                  <a:gd name="T54" fmla="*/ 10 w 458"/>
                  <a:gd name="T55" fmla="*/ 646 h 675"/>
                  <a:gd name="T56" fmla="*/ 6 w 458"/>
                  <a:gd name="T57" fmla="*/ 608 h 675"/>
                  <a:gd name="T58" fmla="*/ 23 w 458"/>
                  <a:gd name="T59" fmla="*/ 589 h 675"/>
                  <a:gd name="T60" fmla="*/ 18 w 458"/>
                  <a:gd name="T61" fmla="*/ 552 h 675"/>
                  <a:gd name="T62" fmla="*/ 33 w 458"/>
                  <a:gd name="T63" fmla="*/ 523 h 675"/>
                  <a:gd name="T64" fmla="*/ 68 w 458"/>
                  <a:gd name="T65" fmla="*/ 508 h 675"/>
                  <a:gd name="T66" fmla="*/ 106 w 458"/>
                  <a:gd name="T67" fmla="*/ 487 h 675"/>
                  <a:gd name="T68" fmla="*/ 137 w 458"/>
                  <a:gd name="T69" fmla="*/ 452 h 675"/>
                  <a:gd name="T70" fmla="*/ 179 w 458"/>
                  <a:gd name="T71" fmla="*/ 427 h 675"/>
                  <a:gd name="T72" fmla="*/ 198 w 458"/>
                  <a:gd name="T73" fmla="*/ 392 h 675"/>
                  <a:gd name="T74" fmla="*/ 179 w 458"/>
                  <a:gd name="T75" fmla="*/ 364 h 675"/>
                  <a:gd name="T76" fmla="*/ 191 w 458"/>
                  <a:gd name="T77" fmla="*/ 333 h 675"/>
                  <a:gd name="T78" fmla="*/ 212 w 458"/>
                  <a:gd name="T79" fmla="*/ 300 h 675"/>
                  <a:gd name="T80" fmla="*/ 242 w 458"/>
                  <a:gd name="T81" fmla="*/ 273 h 675"/>
                  <a:gd name="T82" fmla="*/ 260 w 458"/>
                  <a:gd name="T83" fmla="*/ 256 h 675"/>
                  <a:gd name="T84" fmla="*/ 248 w 458"/>
                  <a:gd name="T85" fmla="*/ 227 h 675"/>
                  <a:gd name="T86" fmla="*/ 219 w 458"/>
                  <a:gd name="T87" fmla="*/ 210 h 675"/>
                  <a:gd name="T88" fmla="*/ 204 w 458"/>
                  <a:gd name="T89" fmla="*/ 164 h 675"/>
                  <a:gd name="T90" fmla="*/ 187 w 458"/>
                  <a:gd name="T91" fmla="*/ 133 h 675"/>
                  <a:gd name="T92" fmla="*/ 216 w 458"/>
                  <a:gd name="T93" fmla="*/ 118 h 675"/>
                  <a:gd name="T94" fmla="*/ 244 w 458"/>
                  <a:gd name="T95" fmla="*/ 104 h 675"/>
                  <a:gd name="T96" fmla="*/ 250 w 458"/>
                  <a:gd name="T97" fmla="*/ 81 h 675"/>
                  <a:gd name="T98" fmla="*/ 233 w 458"/>
                  <a:gd name="T99" fmla="*/ 68 h 675"/>
                  <a:gd name="T100" fmla="*/ 231 w 458"/>
                  <a:gd name="T101" fmla="*/ 35 h 675"/>
                  <a:gd name="T102" fmla="*/ 240 w 458"/>
                  <a:gd name="T103" fmla="*/ 0 h 675"/>
                  <a:gd name="T104" fmla="*/ 246 w 458"/>
                  <a:gd name="T105" fmla="*/ 469 h 675"/>
                  <a:gd name="T106" fmla="*/ 210 w 458"/>
                  <a:gd name="T107" fmla="*/ 496 h 675"/>
                  <a:gd name="T108" fmla="*/ 179 w 458"/>
                  <a:gd name="T109" fmla="*/ 535 h 675"/>
                  <a:gd name="T110" fmla="*/ 169 w 458"/>
                  <a:gd name="T111" fmla="*/ 548 h 675"/>
                  <a:gd name="T112" fmla="*/ 202 w 458"/>
                  <a:gd name="T113" fmla="*/ 569 h 675"/>
                  <a:gd name="T114" fmla="*/ 235 w 458"/>
                  <a:gd name="T115" fmla="*/ 558 h 675"/>
                  <a:gd name="T116" fmla="*/ 262 w 458"/>
                  <a:gd name="T117" fmla="*/ 546 h 675"/>
                  <a:gd name="T118" fmla="*/ 281 w 458"/>
                  <a:gd name="T119" fmla="*/ 525 h 675"/>
                  <a:gd name="T120" fmla="*/ 275 w 458"/>
                  <a:gd name="T121" fmla="*/ 510 h 675"/>
                  <a:gd name="T122" fmla="*/ 252 w 458"/>
                  <a:gd name="T123" fmla="*/ 473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58" h="675">
                    <a:moveTo>
                      <a:pt x="277" y="4"/>
                    </a:moveTo>
                    <a:lnTo>
                      <a:pt x="277" y="6"/>
                    </a:lnTo>
                    <a:lnTo>
                      <a:pt x="279" y="8"/>
                    </a:lnTo>
                    <a:lnTo>
                      <a:pt x="281" y="8"/>
                    </a:lnTo>
                    <a:lnTo>
                      <a:pt x="279" y="10"/>
                    </a:lnTo>
                    <a:lnTo>
                      <a:pt x="281" y="12"/>
                    </a:lnTo>
                    <a:lnTo>
                      <a:pt x="283" y="16"/>
                    </a:lnTo>
                    <a:lnTo>
                      <a:pt x="281" y="16"/>
                    </a:lnTo>
                    <a:lnTo>
                      <a:pt x="281" y="18"/>
                    </a:lnTo>
                    <a:lnTo>
                      <a:pt x="281" y="20"/>
                    </a:lnTo>
                    <a:lnTo>
                      <a:pt x="281" y="21"/>
                    </a:lnTo>
                    <a:lnTo>
                      <a:pt x="281" y="23"/>
                    </a:lnTo>
                    <a:lnTo>
                      <a:pt x="281" y="25"/>
                    </a:lnTo>
                    <a:lnTo>
                      <a:pt x="283" y="27"/>
                    </a:lnTo>
                    <a:lnTo>
                      <a:pt x="281" y="27"/>
                    </a:lnTo>
                    <a:lnTo>
                      <a:pt x="283" y="29"/>
                    </a:lnTo>
                    <a:lnTo>
                      <a:pt x="283" y="31"/>
                    </a:lnTo>
                    <a:lnTo>
                      <a:pt x="283" y="33"/>
                    </a:lnTo>
                    <a:lnTo>
                      <a:pt x="283" y="35"/>
                    </a:lnTo>
                    <a:lnTo>
                      <a:pt x="283" y="37"/>
                    </a:lnTo>
                    <a:lnTo>
                      <a:pt x="285" y="37"/>
                    </a:lnTo>
                    <a:lnTo>
                      <a:pt x="287" y="37"/>
                    </a:lnTo>
                    <a:lnTo>
                      <a:pt x="287" y="39"/>
                    </a:lnTo>
                    <a:lnTo>
                      <a:pt x="289" y="41"/>
                    </a:lnTo>
                    <a:lnTo>
                      <a:pt x="287" y="41"/>
                    </a:lnTo>
                    <a:lnTo>
                      <a:pt x="287" y="43"/>
                    </a:lnTo>
                    <a:lnTo>
                      <a:pt x="289" y="43"/>
                    </a:lnTo>
                    <a:lnTo>
                      <a:pt x="289" y="44"/>
                    </a:lnTo>
                    <a:lnTo>
                      <a:pt x="289" y="46"/>
                    </a:lnTo>
                    <a:lnTo>
                      <a:pt x="289" y="48"/>
                    </a:lnTo>
                    <a:lnTo>
                      <a:pt x="290" y="50"/>
                    </a:lnTo>
                    <a:lnTo>
                      <a:pt x="292" y="50"/>
                    </a:lnTo>
                    <a:lnTo>
                      <a:pt x="292" y="48"/>
                    </a:lnTo>
                    <a:lnTo>
                      <a:pt x="292" y="44"/>
                    </a:lnTo>
                    <a:lnTo>
                      <a:pt x="292" y="43"/>
                    </a:lnTo>
                    <a:lnTo>
                      <a:pt x="294" y="43"/>
                    </a:lnTo>
                    <a:lnTo>
                      <a:pt x="296" y="41"/>
                    </a:lnTo>
                    <a:lnTo>
                      <a:pt x="296" y="43"/>
                    </a:lnTo>
                    <a:lnTo>
                      <a:pt x="298" y="43"/>
                    </a:lnTo>
                    <a:lnTo>
                      <a:pt x="300" y="43"/>
                    </a:lnTo>
                    <a:lnTo>
                      <a:pt x="300" y="44"/>
                    </a:lnTo>
                    <a:lnTo>
                      <a:pt x="300" y="46"/>
                    </a:lnTo>
                    <a:lnTo>
                      <a:pt x="298" y="46"/>
                    </a:lnTo>
                    <a:lnTo>
                      <a:pt x="298" y="48"/>
                    </a:lnTo>
                    <a:lnTo>
                      <a:pt x="298" y="50"/>
                    </a:lnTo>
                    <a:lnTo>
                      <a:pt x="298" y="52"/>
                    </a:lnTo>
                    <a:lnTo>
                      <a:pt x="298" y="54"/>
                    </a:lnTo>
                    <a:lnTo>
                      <a:pt x="300" y="54"/>
                    </a:lnTo>
                    <a:lnTo>
                      <a:pt x="300" y="56"/>
                    </a:lnTo>
                    <a:lnTo>
                      <a:pt x="302" y="58"/>
                    </a:lnTo>
                    <a:lnTo>
                      <a:pt x="302" y="56"/>
                    </a:lnTo>
                    <a:lnTo>
                      <a:pt x="304" y="58"/>
                    </a:lnTo>
                    <a:lnTo>
                      <a:pt x="306" y="60"/>
                    </a:lnTo>
                    <a:lnTo>
                      <a:pt x="306" y="62"/>
                    </a:lnTo>
                    <a:lnTo>
                      <a:pt x="308" y="62"/>
                    </a:lnTo>
                    <a:lnTo>
                      <a:pt x="308" y="64"/>
                    </a:lnTo>
                    <a:lnTo>
                      <a:pt x="308" y="66"/>
                    </a:lnTo>
                    <a:lnTo>
                      <a:pt x="310" y="66"/>
                    </a:lnTo>
                    <a:lnTo>
                      <a:pt x="310" y="68"/>
                    </a:lnTo>
                    <a:lnTo>
                      <a:pt x="312" y="69"/>
                    </a:lnTo>
                    <a:lnTo>
                      <a:pt x="312" y="71"/>
                    </a:lnTo>
                    <a:lnTo>
                      <a:pt x="310" y="71"/>
                    </a:lnTo>
                    <a:lnTo>
                      <a:pt x="310" y="73"/>
                    </a:lnTo>
                    <a:lnTo>
                      <a:pt x="310" y="75"/>
                    </a:lnTo>
                    <a:lnTo>
                      <a:pt x="310" y="77"/>
                    </a:lnTo>
                    <a:lnTo>
                      <a:pt x="312" y="77"/>
                    </a:lnTo>
                    <a:lnTo>
                      <a:pt x="312" y="79"/>
                    </a:lnTo>
                    <a:lnTo>
                      <a:pt x="313" y="79"/>
                    </a:lnTo>
                    <a:lnTo>
                      <a:pt x="313" y="81"/>
                    </a:lnTo>
                    <a:lnTo>
                      <a:pt x="315" y="81"/>
                    </a:lnTo>
                    <a:lnTo>
                      <a:pt x="317" y="81"/>
                    </a:lnTo>
                    <a:lnTo>
                      <a:pt x="319" y="81"/>
                    </a:lnTo>
                    <a:lnTo>
                      <a:pt x="319" y="83"/>
                    </a:lnTo>
                    <a:lnTo>
                      <a:pt x="319" y="85"/>
                    </a:lnTo>
                    <a:lnTo>
                      <a:pt x="321" y="85"/>
                    </a:lnTo>
                    <a:lnTo>
                      <a:pt x="323" y="85"/>
                    </a:lnTo>
                    <a:lnTo>
                      <a:pt x="321" y="85"/>
                    </a:lnTo>
                    <a:lnTo>
                      <a:pt x="321" y="87"/>
                    </a:lnTo>
                    <a:lnTo>
                      <a:pt x="321" y="89"/>
                    </a:lnTo>
                    <a:lnTo>
                      <a:pt x="319" y="91"/>
                    </a:lnTo>
                    <a:lnTo>
                      <a:pt x="317" y="93"/>
                    </a:lnTo>
                    <a:lnTo>
                      <a:pt x="319" y="93"/>
                    </a:lnTo>
                    <a:lnTo>
                      <a:pt x="317" y="94"/>
                    </a:lnTo>
                    <a:lnTo>
                      <a:pt x="317" y="96"/>
                    </a:lnTo>
                    <a:lnTo>
                      <a:pt x="319" y="96"/>
                    </a:lnTo>
                    <a:lnTo>
                      <a:pt x="319" y="98"/>
                    </a:lnTo>
                    <a:lnTo>
                      <a:pt x="321" y="98"/>
                    </a:lnTo>
                    <a:lnTo>
                      <a:pt x="321" y="96"/>
                    </a:lnTo>
                    <a:lnTo>
                      <a:pt x="323" y="96"/>
                    </a:lnTo>
                    <a:lnTo>
                      <a:pt x="323" y="98"/>
                    </a:lnTo>
                    <a:lnTo>
                      <a:pt x="323" y="100"/>
                    </a:lnTo>
                    <a:lnTo>
                      <a:pt x="325" y="98"/>
                    </a:lnTo>
                    <a:lnTo>
                      <a:pt x="327" y="100"/>
                    </a:lnTo>
                    <a:lnTo>
                      <a:pt x="325" y="102"/>
                    </a:lnTo>
                    <a:lnTo>
                      <a:pt x="325" y="104"/>
                    </a:lnTo>
                    <a:lnTo>
                      <a:pt x="325" y="106"/>
                    </a:lnTo>
                    <a:lnTo>
                      <a:pt x="327" y="106"/>
                    </a:lnTo>
                    <a:lnTo>
                      <a:pt x="327" y="108"/>
                    </a:lnTo>
                    <a:lnTo>
                      <a:pt x="329" y="108"/>
                    </a:lnTo>
                    <a:lnTo>
                      <a:pt x="331" y="108"/>
                    </a:lnTo>
                    <a:lnTo>
                      <a:pt x="331" y="110"/>
                    </a:lnTo>
                    <a:lnTo>
                      <a:pt x="331" y="112"/>
                    </a:lnTo>
                    <a:lnTo>
                      <a:pt x="333" y="112"/>
                    </a:lnTo>
                    <a:lnTo>
                      <a:pt x="335" y="112"/>
                    </a:lnTo>
                    <a:lnTo>
                      <a:pt x="335" y="110"/>
                    </a:lnTo>
                    <a:lnTo>
                      <a:pt x="337" y="110"/>
                    </a:lnTo>
                    <a:lnTo>
                      <a:pt x="337" y="112"/>
                    </a:lnTo>
                    <a:lnTo>
                      <a:pt x="338" y="112"/>
                    </a:lnTo>
                    <a:lnTo>
                      <a:pt x="340" y="112"/>
                    </a:lnTo>
                    <a:lnTo>
                      <a:pt x="340" y="110"/>
                    </a:lnTo>
                    <a:lnTo>
                      <a:pt x="342" y="110"/>
                    </a:lnTo>
                    <a:lnTo>
                      <a:pt x="342" y="112"/>
                    </a:lnTo>
                    <a:lnTo>
                      <a:pt x="342" y="114"/>
                    </a:lnTo>
                    <a:lnTo>
                      <a:pt x="342" y="116"/>
                    </a:lnTo>
                    <a:lnTo>
                      <a:pt x="346" y="118"/>
                    </a:lnTo>
                    <a:lnTo>
                      <a:pt x="346" y="116"/>
                    </a:lnTo>
                    <a:lnTo>
                      <a:pt x="348" y="116"/>
                    </a:lnTo>
                    <a:lnTo>
                      <a:pt x="348" y="118"/>
                    </a:lnTo>
                    <a:lnTo>
                      <a:pt x="348" y="119"/>
                    </a:lnTo>
                    <a:lnTo>
                      <a:pt x="350" y="119"/>
                    </a:lnTo>
                    <a:lnTo>
                      <a:pt x="352" y="119"/>
                    </a:lnTo>
                    <a:lnTo>
                      <a:pt x="354" y="119"/>
                    </a:lnTo>
                    <a:lnTo>
                      <a:pt x="354" y="121"/>
                    </a:lnTo>
                    <a:lnTo>
                      <a:pt x="354" y="123"/>
                    </a:lnTo>
                    <a:lnTo>
                      <a:pt x="352" y="123"/>
                    </a:lnTo>
                    <a:lnTo>
                      <a:pt x="352" y="125"/>
                    </a:lnTo>
                    <a:lnTo>
                      <a:pt x="350" y="125"/>
                    </a:lnTo>
                    <a:lnTo>
                      <a:pt x="348" y="125"/>
                    </a:lnTo>
                    <a:lnTo>
                      <a:pt x="348" y="127"/>
                    </a:lnTo>
                    <a:lnTo>
                      <a:pt x="346" y="127"/>
                    </a:lnTo>
                    <a:lnTo>
                      <a:pt x="344" y="127"/>
                    </a:lnTo>
                    <a:lnTo>
                      <a:pt x="344" y="129"/>
                    </a:lnTo>
                    <a:lnTo>
                      <a:pt x="342" y="131"/>
                    </a:lnTo>
                    <a:lnTo>
                      <a:pt x="340" y="133"/>
                    </a:lnTo>
                    <a:lnTo>
                      <a:pt x="340" y="135"/>
                    </a:lnTo>
                    <a:lnTo>
                      <a:pt x="340" y="137"/>
                    </a:lnTo>
                    <a:lnTo>
                      <a:pt x="342" y="137"/>
                    </a:lnTo>
                    <a:lnTo>
                      <a:pt x="342" y="139"/>
                    </a:lnTo>
                    <a:lnTo>
                      <a:pt x="344" y="139"/>
                    </a:lnTo>
                    <a:lnTo>
                      <a:pt x="344" y="141"/>
                    </a:lnTo>
                    <a:lnTo>
                      <a:pt x="346" y="141"/>
                    </a:lnTo>
                    <a:lnTo>
                      <a:pt x="346" y="143"/>
                    </a:lnTo>
                    <a:lnTo>
                      <a:pt x="346" y="144"/>
                    </a:lnTo>
                    <a:lnTo>
                      <a:pt x="346" y="146"/>
                    </a:lnTo>
                    <a:lnTo>
                      <a:pt x="346" y="148"/>
                    </a:lnTo>
                    <a:lnTo>
                      <a:pt x="348" y="148"/>
                    </a:lnTo>
                    <a:lnTo>
                      <a:pt x="348" y="150"/>
                    </a:lnTo>
                    <a:lnTo>
                      <a:pt x="348" y="148"/>
                    </a:lnTo>
                    <a:lnTo>
                      <a:pt x="348" y="150"/>
                    </a:lnTo>
                    <a:lnTo>
                      <a:pt x="348" y="152"/>
                    </a:lnTo>
                    <a:lnTo>
                      <a:pt x="348" y="150"/>
                    </a:lnTo>
                    <a:lnTo>
                      <a:pt x="350" y="148"/>
                    </a:lnTo>
                    <a:lnTo>
                      <a:pt x="350" y="146"/>
                    </a:lnTo>
                    <a:lnTo>
                      <a:pt x="352" y="146"/>
                    </a:lnTo>
                    <a:lnTo>
                      <a:pt x="354" y="146"/>
                    </a:lnTo>
                    <a:lnTo>
                      <a:pt x="354" y="148"/>
                    </a:lnTo>
                    <a:lnTo>
                      <a:pt x="356" y="148"/>
                    </a:lnTo>
                    <a:lnTo>
                      <a:pt x="358" y="148"/>
                    </a:lnTo>
                    <a:lnTo>
                      <a:pt x="360" y="146"/>
                    </a:lnTo>
                    <a:lnTo>
                      <a:pt x="358" y="146"/>
                    </a:lnTo>
                    <a:lnTo>
                      <a:pt x="358" y="144"/>
                    </a:lnTo>
                    <a:lnTo>
                      <a:pt x="360" y="143"/>
                    </a:lnTo>
                    <a:lnTo>
                      <a:pt x="362" y="143"/>
                    </a:lnTo>
                    <a:lnTo>
                      <a:pt x="363" y="143"/>
                    </a:lnTo>
                    <a:lnTo>
                      <a:pt x="363" y="141"/>
                    </a:lnTo>
                    <a:lnTo>
                      <a:pt x="365" y="139"/>
                    </a:lnTo>
                    <a:lnTo>
                      <a:pt x="367" y="139"/>
                    </a:lnTo>
                    <a:lnTo>
                      <a:pt x="367" y="137"/>
                    </a:lnTo>
                    <a:lnTo>
                      <a:pt x="369" y="135"/>
                    </a:lnTo>
                    <a:lnTo>
                      <a:pt x="371" y="135"/>
                    </a:lnTo>
                    <a:lnTo>
                      <a:pt x="373" y="133"/>
                    </a:lnTo>
                    <a:lnTo>
                      <a:pt x="375" y="133"/>
                    </a:lnTo>
                    <a:lnTo>
                      <a:pt x="377" y="133"/>
                    </a:lnTo>
                    <a:lnTo>
                      <a:pt x="377" y="131"/>
                    </a:lnTo>
                    <a:lnTo>
                      <a:pt x="379" y="131"/>
                    </a:lnTo>
                    <a:lnTo>
                      <a:pt x="381" y="131"/>
                    </a:lnTo>
                    <a:lnTo>
                      <a:pt x="381" y="133"/>
                    </a:lnTo>
                    <a:lnTo>
                      <a:pt x="381" y="135"/>
                    </a:lnTo>
                    <a:lnTo>
                      <a:pt x="383" y="135"/>
                    </a:lnTo>
                    <a:lnTo>
                      <a:pt x="383" y="137"/>
                    </a:lnTo>
                    <a:lnTo>
                      <a:pt x="383" y="139"/>
                    </a:lnTo>
                    <a:lnTo>
                      <a:pt x="383" y="141"/>
                    </a:lnTo>
                    <a:lnTo>
                      <a:pt x="385" y="143"/>
                    </a:lnTo>
                    <a:lnTo>
                      <a:pt x="386" y="143"/>
                    </a:lnTo>
                    <a:lnTo>
                      <a:pt x="386" y="144"/>
                    </a:lnTo>
                    <a:lnTo>
                      <a:pt x="388" y="144"/>
                    </a:lnTo>
                    <a:lnTo>
                      <a:pt x="388" y="146"/>
                    </a:lnTo>
                    <a:lnTo>
                      <a:pt x="386" y="146"/>
                    </a:lnTo>
                    <a:lnTo>
                      <a:pt x="386" y="150"/>
                    </a:lnTo>
                    <a:lnTo>
                      <a:pt x="388" y="150"/>
                    </a:lnTo>
                    <a:lnTo>
                      <a:pt x="388" y="152"/>
                    </a:lnTo>
                    <a:lnTo>
                      <a:pt x="390" y="154"/>
                    </a:lnTo>
                    <a:lnTo>
                      <a:pt x="390" y="156"/>
                    </a:lnTo>
                    <a:lnTo>
                      <a:pt x="392" y="158"/>
                    </a:lnTo>
                    <a:lnTo>
                      <a:pt x="392" y="160"/>
                    </a:lnTo>
                    <a:lnTo>
                      <a:pt x="392" y="162"/>
                    </a:lnTo>
                    <a:lnTo>
                      <a:pt x="392" y="164"/>
                    </a:lnTo>
                    <a:lnTo>
                      <a:pt x="394" y="164"/>
                    </a:lnTo>
                    <a:lnTo>
                      <a:pt x="396" y="166"/>
                    </a:lnTo>
                    <a:lnTo>
                      <a:pt x="396" y="164"/>
                    </a:lnTo>
                    <a:lnTo>
                      <a:pt x="398" y="164"/>
                    </a:lnTo>
                    <a:lnTo>
                      <a:pt x="398" y="162"/>
                    </a:lnTo>
                    <a:lnTo>
                      <a:pt x="400" y="162"/>
                    </a:lnTo>
                    <a:lnTo>
                      <a:pt x="402" y="162"/>
                    </a:lnTo>
                    <a:lnTo>
                      <a:pt x="402" y="158"/>
                    </a:lnTo>
                    <a:lnTo>
                      <a:pt x="402" y="156"/>
                    </a:lnTo>
                    <a:lnTo>
                      <a:pt x="402" y="154"/>
                    </a:lnTo>
                    <a:lnTo>
                      <a:pt x="404" y="154"/>
                    </a:lnTo>
                    <a:lnTo>
                      <a:pt x="404" y="152"/>
                    </a:lnTo>
                    <a:lnTo>
                      <a:pt x="406" y="152"/>
                    </a:lnTo>
                    <a:lnTo>
                      <a:pt x="408" y="154"/>
                    </a:lnTo>
                    <a:lnTo>
                      <a:pt x="408" y="152"/>
                    </a:lnTo>
                    <a:lnTo>
                      <a:pt x="410" y="154"/>
                    </a:lnTo>
                    <a:lnTo>
                      <a:pt x="410" y="156"/>
                    </a:lnTo>
                    <a:lnTo>
                      <a:pt x="411" y="156"/>
                    </a:lnTo>
                    <a:lnTo>
                      <a:pt x="411" y="158"/>
                    </a:lnTo>
                    <a:lnTo>
                      <a:pt x="411" y="160"/>
                    </a:lnTo>
                    <a:lnTo>
                      <a:pt x="413" y="158"/>
                    </a:lnTo>
                    <a:lnTo>
                      <a:pt x="413" y="160"/>
                    </a:lnTo>
                    <a:lnTo>
                      <a:pt x="415" y="164"/>
                    </a:lnTo>
                    <a:lnTo>
                      <a:pt x="415" y="166"/>
                    </a:lnTo>
                    <a:lnTo>
                      <a:pt x="415" y="168"/>
                    </a:lnTo>
                    <a:lnTo>
                      <a:pt x="415" y="169"/>
                    </a:lnTo>
                    <a:lnTo>
                      <a:pt x="417" y="169"/>
                    </a:lnTo>
                    <a:lnTo>
                      <a:pt x="417" y="171"/>
                    </a:lnTo>
                    <a:lnTo>
                      <a:pt x="417" y="173"/>
                    </a:lnTo>
                    <a:lnTo>
                      <a:pt x="415" y="173"/>
                    </a:lnTo>
                    <a:lnTo>
                      <a:pt x="417" y="175"/>
                    </a:lnTo>
                    <a:lnTo>
                      <a:pt x="417" y="177"/>
                    </a:lnTo>
                    <a:lnTo>
                      <a:pt x="419" y="179"/>
                    </a:lnTo>
                    <a:lnTo>
                      <a:pt x="421" y="179"/>
                    </a:lnTo>
                    <a:lnTo>
                      <a:pt x="421" y="181"/>
                    </a:lnTo>
                    <a:lnTo>
                      <a:pt x="419" y="181"/>
                    </a:lnTo>
                    <a:lnTo>
                      <a:pt x="419" y="185"/>
                    </a:lnTo>
                    <a:lnTo>
                      <a:pt x="419" y="187"/>
                    </a:lnTo>
                    <a:lnTo>
                      <a:pt x="421" y="187"/>
                    </a:lnTo>
                    <a:lnTo>
                      <a:pt x="421" y="189"/>
                    </a:lnTo>
                    <a:lnTo>
                      <a:pt x="421" y="191"/>
                    </a:lnTo>
                    <a:lnTo>
                      <a:pt x="421" y="193"/>
                    </a:lnTo>
                    <a:lnTo>
                      <a:pt x="421" y="194"/>
                    </a:lnTo>
                    <a:lnTo>
                      <a:pt x="419" y="194"/>
                    </a:lnTo>
                    <a:lnTo>
                      <a:pt x="419" y="196"/>
                    </a:lnTo>
                    <a:lnTo>
                      <a:pt x="419" y="198"/>
                    </a:lnTo>
                    <a:lnTo>
                      <a:pt x="419" y="200"/>
                    </a:lnTo>
                    <a:lnTo>
                      <a:pt x="417" y="202"/>
                    </a:lnTo>
                    <a:lnTo>
                      <a:pt x="417" y="204"/>
                    </a:lnTo>
                    <a:lnTo>
                      <a:pt x="415" y="206"/>
                    </a:lnTo>
                    <a:lnTo>
                      <a:pt x="417" y="208"/>
                    </a:lnTo>
                    <a:lnTo>
                      <a:pt x="417" y="210"/>
                    </a:lnTo>
                    <a:lnTo>
                      <a:pt x="417" y="212"/>
                    </a:lnTo>
                    <a:lnTo>
                      <a:pt x="417" y="214"/>
                    </a:lnTo>
                    <a:lnTo>
                      <a:pt x="419" y="214"/>
                    </a:lnTo>
                    <a:lnTo>
                      <a:pt x="419" y="212"/>
                    </a:lnTo>
                    <a:lnTo>
                      <a:pt x="419" y="210"/>
                    </a:lnTo>
                    <a:lnTo>
                      <a:pt x="421" y="210"/>
                    </a:lnTo>
                    <a:lnTo>
                      <a:pt x="421" y="208"/>
                    </a:lnTo>
                    <a:lnTo>
                      <a:pt x="423" y="208"/>
                    </a:lnTo>
                    <a:lnTo>
                      <a:pt x="423" y="206"/>
                    </a:lnTo>
                    <a:lnTo>
                      <a:pt x="425" y="206"/>
                    </a:lnTo>
                    <a:lnTo>
                      <a:pt x="425" y="208"/>
                    </a:lnTo>
                    <a:lnTo>
                      <a:pt x="425" y="210"/>
                    </a:lnTo>
                    <a:lnTo>
                      <a:pt x="427" y="210"/>
                    </a:lnTo>
                    <a:lnTo>
                      <a:pt x="427" y="212"/>
                    </a:lnTo>
                    <a:lnTo>
                      <a:pt x="427" y="214"/>
                    </a:lnTo>
                    <a:lnTo>
                      <a:pt x="427" y="216"/>
                    </a:lnTo>
                    <a:lnTo>
                      <a:pt x="429" y="218"/>
                    </a:lnTo>
                    <a:lnTo>
                      <a:pt x="429" y="219"/>
                    </a:lnTo>
                    <a:lnTo>
                      <a:pt x="429" y="221"/>
                    </a:lnTo>
                    <a:lnTo>
                      <a:pt x="431" y="221"/>
                    </a:lnTo>
                    <a:lnTo>
                      <a:pt x="433" y="221"/>
                    </a:lnTo>
                    <a:lnTo>
                      <a:pt x="433" y="223"/>
                    </a:lnTo>
                    <a:lnTo>
                      <a:pt x="435" y="223"/>
                    </a:lnTo>
                    <a:lnTo>
                      <a:pt x="436" y="225"/>
                    </a:lnTo>
                    <a:lnTo>
                      <a:pt x="438" y="225"/>
                    </a:lnTo>
                    <a:lnTo>
                      <a:pt x="438" y="227"/>
                    </a:lnTo>
                    <a:lnTo>
                      <a:pt x="438" y="229"/>
                    </a:lnTo>
                    <a:lnTo>
                      <a:pt x="438" y="231"/>
                    </a:lnTo>
                    <a:lnTo>
                      <a:pt x="436" y="229"/>
                    </a:lnTo>
                    <a:lnTo>
                      <a:pt x="436" y="231"/>
                    </a:lnTo>
                    <a:lnTo>
                      <a:pt x="435" y="233"/>
                    </a:lnTo>
                    <a:lnTo>
                      <a:pt x="433" y="235"/>
                    </a:lnTo>
                    <a:lnTo>
                      <a:pt x="431" y="233"/>
                    </a:lnTo>
                    <a:lnTo>
                      <a:pt x="431" y="231"/>
                    </a:lnTo>
                    <a:lnTo>
                      <a:pt x="429" y="231"/>
                    </a:lnTo>
                    <a:lnTo>
                      <a:pt x="427" y="231"/>
                    </a:lnTo>
                    <a:lnTo>
                      <a:pt x="425" y="233"/>
                    </a:lnTo>
                    <a:lnTo>
                      <a:pt x="425" y="235"/>
                    </a:lnTo>
                    <a:lnTo>
                      <a:pt x="425" y="237"/>
                    </a:lnTo>
                    <a:lnTo>
                      <a:pt x="425" y="239"/>
                    </a:lnTo>
                    <a:lnTo>
                      <a:pt x="427" y="239"/>
                    </a:lnTo>
                    <a:lnTo>
                      <a:pt x="427" y="241"/>
                    </a:lnTo>
                    <a:lnTo>
                      <a:pt x="429" y="243"/>
                    </a:lnTo>
                    <a:lnTo>
                      <a:pt x="429" y="244"/>
                    </a:lnTo>
                    <a:lnTo>
                      <a:pt x="429" y="246"/>
                    </a:lnTo>
                    <a:lnTo>
                      <a:pt x="431" y="246"/>
                    </a:lnTo>
                    <a:lnTo>
                      <a:pt x="431" y="248"/>
                    </a:lnTo>
                    <a:lnTo>
                      <a:pt x="431" y="250"/>
                    </a:lnTo>
                    <a:lnTo>
                      <a:pt x="431" y="252"/>
                    </a:lnTo>
                    <a:lnTo>
                      <a:pt x="429" y="252"/>
                    </a:lnTo>
                    <a:lnTo>
                      <a:pt x="429" y="254"/>
                    </a:lnTo>
                    <a:lnTo>
                      <a:pt x="429" y="256"/>
                    </a:lnTo>
                    <a:lnTo>
                      <a:pt x="429" y="258"/>
                    </a:lnTo>
                    <a:lnTo>
                      <a:pt x="431" y="258"/>
                    </a:lnTo>
                    <a:lnTo>
                      <a:pt x="431" y="260"/>
                    </a:lnTo>
                    <a:lnTo>
                      <a:pt x="433" y="260"/>
                    </a:lnTo>
                    <a:lnTo>
                      <a:pt x="433" y="262"/>
                    </a:lnTo>
                    <a:lnTo>
                      <a:pt x="435" y="262"/>
                    </a:lnTo>
                    <a:lnTo>
                      <a:pt x="435" y="264"/>
                    </a:lnTo>
                    <a:lnTo>
                      <a:pt x="436" y="264"/>
                    </a:lnTo>
                    <a:lnTo>
                      <a:pt x="436" y="262"/>
                    </a:lnTo>
                    <a:lnTo>
                      <a:pt x="438" y="264"/>
                    </a:lnTo>
                    <a:lnTo>
                      <a:pt x="438" y="266"/>
                    </a:lnTo>
                    <a:lnTo>
                      <a:pt x="440" y="268"/>
                    </a:lnTo>
                    <a:lnTo>
                      <a:pt x="442" y="268"/>
                    </a:lnTo>
                    <a:lnTo>
                      <a:pt x="442" y="269"/>
                    </a:lnTo>
                    <a:lnTo>
                      <a:pt x="444" y="271"/>
                    </a:lnTo>
                    <a:lnTo>
                      <a:pt x="444" y="273"/>
                    </a:lnTo>
                    <a:lnTo>
                      <a:pt x="444" y="275"/>
                    </a:lnTo>
                    <a:lnTo>
                      <a:pt x="444" y="277"/>
                    </a:lnTo>
                    <a:lnTo>
                      <a:pt x="446" y="277"/>
                    </a:lnTo>
                    <a:lnTo>
                      <a:pt x="448" y="281"/>
                    </a:lnTo>
                    <a:lnTo>
                      <a:pt x="448" y="283"/>
                    </a:lnTo>
                    <a:lnTo>
                      <a:pt x="448" y="285"/>
                    </a:lnTo>
                    <a:lnTo>
                      <a:pt x="450" y="285"/>
                    </a:lnTo>
                    <a:lnTo>
                      <a:pt x="450" y="287"/>
                    </a:lnTo>
                    <a:lnTo>
                      <a:pt x="450" y="289"/>
                    </a:lnTo>
                    <a:lnTo>
                      <a:pt x="452" y="289"/>
                    </a:lnTo>
                    <a:lnTo>
                      <a:pt x="452" y="291"/>
                    </a:lnTo>
                    <a:lnTo>
                      <a:pt x="456" y="292"/>
                    </a:lnTo>
                    <a:lnTo>
                      <a:pt x="456" y="294"/>
                    </a:lnTo>
                    <a:lnTo>
                      <a:pt x="458" y="294"/>
                    </a:lnTo>
                    <a:lnTo>
                      <a:pt x="456" y="294"/>
                    </a:lnTo>
                    <a:lnTo>
                      <a:pt x="456" y="296"/>
                    </a:lnTo>
                    <a:lnTo>
                      <a:pt x="454" y="296"/>
                    </a:lnTo>
                    <a:lnTo>
                      <a:pt x="452" y="296"/>
                    </a:lnTo>
                    <a:lnTo>
                      <a:pt x="450" y="296"/>
                    </a:lnTo>
                    <a:lnTo>
                      <a:pt x="450" y="298"/>
                    </a:lnTo>
                    <a:lnTo>
                      <a:pt x="448" y="298"/>
                    </a:lnTo>
                    <a:lnTo>
                      <a:pt x="446" y="298"/>
                    </a:lnTo>
                    <a:lnTo>
                      <a:pt x="446" y="300"/>
                    </a:lnTo>
                    <a:lnTo>
                      <a:pt x="444" y="302"/>
                    </a:lnTo>
                    <a:lnTo>
                      <a:pt x="442" y="302"/>
                    </a:lnTo>
                    <a:lnTo>
                      <a:pt x="442" y="304"/>
                    </a:lnTo>
                    <a:lnTo>
                      <a:pt x="440" y="304"/>
                    </a:lnTo>
                    <a:lnTo>
                      <a:pt x="438" y="306"/>
                    </a:lnTo>
                    <a:lnTo>
                      <a:pt x="438" y="308"/>
                    </a:lnTo>
                    <a:lnTo>
                      <a:pt x="436" y="308"/>
                    </a:lnTo>
                    <a:lnTo>
                      <a:pt x="435" y="308"/>
                    </a:lnTo>
                    <a:lnTo>
                      <a:pt x="435" y="310"/>
                    </a:lnTo>
                    <a:lnTo>
                      <a:pt x="435" y="308"/>
                    </a:lnTo>
                    <a:lnTo>
                      <a:pt x="433" y="310"/>
                    </a:lnTo>
                    <a:lnTo>
                      <a:pt x="433" y="312"/>
                    </a:lnTo>
                    <a:lnTo>
                      <a:pt x="431" y="312"/>
                    </a:lnTo>
                    <a:lnTo>
                      <a:pt x="431" y="314"/>
                    </a:lnTo>
                    <a:lnTo>
                      <a:pt x="429" y="314"/>
                    </a:lnTo>
                    <a:lnTo>
                      <a:pt x="427" y="314"/>
                    </a:lnTo>
                    <a:lnTo>
                      <a:pt x="425" y="314"/>
                    </a:lnTo>
                    <a:lnTo>
                      <a:pt x="425" y="312"/>
                    </a:lnTo>
                    <a:lnTo>
                      <a:pt x="425" y="314"/>
                    </a:lnTo>
                    <a:lnTo>
                      <a:pt x="423" y="314"/>
                    </a:lnTo>
                    <a:lnTo>
                      <a:pt x="421" y="314"/>
                    </a:lnTo>
                    <a:lnTo>
                      <a:pt x="419" y="316"/>
                    </a:lnTo>
                    <a:lnTo>
                      <a:pt x="417" y="316"/>
                    </a:lnTo>
                    <a:lnTo>
                      <a:pt x="417" y="317"/>
                    </a:lnTo>
                    <a:lnTo>
                      <a:pt x="415" y="317"/>
                    </a:lnTo>
                    <a:lnTo>
                      <a:pt x="417" y="317"/>
                    </a:lnTo>
                    <a:lnTo>
                      <a:pt x="417" y="319"/>
                    </a:lnTo>
                    <a:lnTo>
                      <a:pt x="415" y="321"/>
                    </a:lnTo>
                    <a:lnTo>
                      <a:pt x="415" y="323"/>
                    </a:lnTo>
                    <a:lnTo>
                      <a:pt x="413" y="323"/>
                    </a:lnTo>
                    <a:lnTo>
                      <a:pt x="413" y="325"/>
                    </a:lnTo>
                    <a:lnTo>
                      <a:pt x="413" y="327"/>
                    </a:lnTo>
                    <a:lnTo>
                      <a:pt x="413" y="329"/>
                    </a:lnTo>
                    <a:lnTo>
                      <a:pt x="413" y="331"/>
                    </a:lnTo>
                    <a:lnTo>
                      <a:pt x="411" y="331"/>
                    </a:lnTo>
                    <a:lnTo>
                      <a:pt x="411" y="333"/>
                    </a:lnTo>
                    <a:lnTo>
                      <a:pt x="410" y="333"/>
                    </a:lnTo>
                    <a:lnTo>
                      <a:pt x="410" y="335"/>
                    </a:lnTo>
                    <a:lnTo>
                      <a:pt x="410" y="337"/>
                    </a:lnTo>
                    <a:lnTo>
                      <a:pt x="408" y="339"/>
                    </a:lnTo>
                    <a:lnTo>
                      <a:pt x="408" y="341"/>
                    </a:lnTo>
                    <a:lnTo>
                      <a:pt x="408" y="342"/>
                    </a:lnTo>
                    <a:lnTo>
                      <a:pt x="406" y="344"/>
                    </a:lnTo>
                    <a:lnTo>
                      <a:pt x="406" y="346"/>
                    </a:lnTo>
                    <a:lnTo>
                      <a:pt x="408" y="346"/>
                    </a:lnTo>
                    <a:lnTo>
                      <a:pt x="406" y="346"/>
                    </a:lnTo>
                    <a:lnTo>
                      <a:pt x="406" y="348"/>
                    </a:lnTo>
                    <a:lnTo>
                      <a:pt x="406" y="350"/>
                    </a:lnTo>
                    <a:lnTo>
                      <a:pt x="404" y="350"/>
                    </a:lnTo>
                    <a:lnTo>
                      <a:pt x="404" y="352"/>
                    </a:lnTo>
                    <a:lnTo>
                      <a:pt x="404" y="354"/>
                    </a:lnTo>
                    <a:lnTo>
                      <a:pt x="402" y="354"/>
                    </a:lnTo>
                    <a:lnTo>
                      <a:pt x="400" y="354"/>
                    </a:lnTo>
                    <a:lnTo>
                      <a:pt x="400" y="356"/>
                    </a:lnTo>
                    <a:lnTo>
                      <a:pt x="400" y="358"/>
                    </a:lnTo>
                    <a:lnTo>
                      <a:pt x="398" y="358"/>
                    </a:lnTo>
                    <a:lnTo>
                      <a:pt x="400" y="360"/>
                    </a:lnTo>
                    <a:lnTo>
                      <a:pt x="400" y="362"/>
                    </a:lnTo>
                    <a:lnTo>
                      <a:pt x="400" y="364"/>
                    </a:lnTo>
                    <a:lnTo>
                      <a:pt x="400" y="366"/>
                    </a:lnTo>
                    <a:lnTo>
                      <a:pt x="400" y="367"/>
                    </a:lnTo>
                    <a:lnTo>
                      <a:pt x="402" y="367"/>
                    </a:lnTo>
                    <a:lnTo>
                      <a:pt x="402" y="369"/>
                    </a:lnTo>
                    <a:lnTo>
                      <a:pt x="404" y="369"/>
                    </a:lnTo>
                    <a:lnTo>
                      <a:pt x="406" y="369"/>
                    </a:lnTo>
                    <a:lnTo>
                      <a:pt x="408" y="369"/>
                    </a:lnTo>
                    <a:lnTo>
                      <a:pt x="408" y="367"/>
                    </a:lnTo>
                    <a:lnTo>
                      <a:pt x="410" y="366"/>
                    </a:lnTo>
                    <a:lnTo>
                      <a:pt x="411" y="366"/>
                    </a:lnTo>
                    <a:lnTo>
                      <a:pt x="413" y="366"/>
                    </a:lnTo>
                    <a:lnTo>
                      <a:pt x="413" y="364"/>
                    </a:lnTo>
                    <a:lnTo>
                      <a:pt x="415" y="364"/>
                    </a:lnTo>
                    <a:lnTo>
                      <a:pt x="415" y="362"/>
                    </a:lnTo>
                    <a:lnTo>
                      <a:pt x="415" y="364"/>
                    </a:lnTo>
                    <a:lnTo>
                      <a:pt x="417" y="364"/>
                    </a:lnTo>
                    <a:lnTo>
                      <a:pt x="419" y="364"/>
                    </a:lnTo>
                    <a:lnTo>
                      <a:pt x="419" y="366"/>
                    </a:lnTo>
                    <a:lnTo>
                      <a:pt x="421" y="364"/>
                    </a:lnTo>
                    <a:lnTo>
                      <a:pt x="421" y="366"/>
                    </a:lnTo>
                    <a:lnTo>
                      <a:pt x="423" y="366"/>
                    </a:lnTo>
                    <a:lnTo>
                      <a:pt x="425" y="366"/>
                    </a:lnTo>
                    <a:lnTo>
                      <a:pt x="425" y="367"/>
                    </a:lnTo>
                    <a:lnTo>
                      <a:pt x="425" y="366"/>
                    </a:lnTo>
                    <a:lnTo>
                      <a:pt x="427" y="366"/>
                    </a:lnTo>
                    <a:lnTo>
                      <a:pt x="427" y="367"/>
                    </a:lnTo>
                    <a:lnTo>
                      <a:pt x="425" y="369"/>
                    </a:lnTo>
                    <a:lnTo>
                      <a:pt x="427" y="369"/>
                    </a:lnTo>
                    <a:lnTo>
                      <a:pt x="427" y="371"/>
                    </a:lnTo>
                    <a:lnTo>
                      <a:pt x="425" y="371"/>
                    </a:lnTo>
                    <a:lnTo>
                      <a:pt x="427" y="373"/>
                    </a:lnTo>
                    <a:lnTo>
                      <a:pt x="427" y="375"/>
                    </a:lnTo>
                    <a:lnTo>
                      <a:pt x="427" y="377"/>
                    </a:lnTo>
                    <a:lnTo>
                      <a:pt x="427" y="379"/>
                    </a:lnTo>
                    <a:lnTo>
                      <a:pt x="425" y="379"/>
                    </a:lnTo>
                    <a:lnTo>
                      <a:pt x="425" y="381"/>
                    </a:lnTo>
                    <a:lnTo>
                      <a:pt x="427" y="381"/>
                    </a:lnTo>
                    <a:lnTo>
                      <a:pt x="427" y="383"/>
                    </a:lnTo>
                    <a:lnTo>
                      <a:pt x="429" y="383"/>
                    </a:lnTo>
                    <a:lnTo>
                      <a:pt x="429" y="385"/>
                    </a:lnTo>
                    <a:lnTo>
                      <a:pt x="431" y="385"/>
                    </a:lnTo>
                    <a:lnTo>
                      <a:pt x="433" y="385"/>
                    </a:lnTo>
                    <a:lnTo>
                      <a:pt x="433" y="387"/>
                    </a:lnTo>
                    <a:lnTo>
                      <a:pt x="433" y="389"/>
                    </a:lnTo>
                    <a:lnTo>
                      <a:pt x="435" y="391"/>
                    </a:lnTo>
                    <a:lnTo>
                      <a:pt x="435" y="392"/>
                    </a:lnTo>
                    <a:lnTo>
                      <a:pt x="435" y="394"/>
                    </a:lnTo>
                    <a:lnTo>
                      <a:pt x="435" y="396"/>
                    </a:lnTo>
                    <a:lnTo>
                      <a:pt x="435" y="398"/>
                    </a:lnTo>
                    <a:lnTo>
                      <a:pt x="435" y="400"/>
                    </a:lnTo>
                    <a:lnTo>
                      <a:pt x="433" y="400"/>
                    </a:lnTo>
                    <a:lnTo>
                      <a:pt x="435" y="402"/>
                    </a:lnTo>
                    <a:lnTo>
                      <a:pt x="435" y="404"/>
                    </a:lnTo>
                    <a:lnTo>
                      <a:pt x="435" y="406"/>
                    </a:lnTo>
                    <a:lnTo>
                      <a:pt x="435" y="408"/>
                    </a:lnTo>
                    <a:lnTo>
                      <a:pt x="435" y="410"/>
                    </a:lnTo>
                    <a:lnTo>
                      <a:pt x="433" y="410"/>
                    </a:lnTo>
                    <a:lnTo>
                      <a:pt x="431" y="410"/>
                    </a:lnTo>
                    <a:lnTo>
                      <a:pt x="431" y="412"/>
                    </a:lnTo>
                    <a:lnTo>
                      <a:pt x="433" y="412"/>
                    </a:lnTo>
                    <a:lnTo>
                      <a:pt x="431" y="412"/>
                    </a:lnTo>
                    <a:lnTo>
                      <a:pt x="431" y="414"/>
                    </a:lnTo>
                    <a:lnTo>
                      <a:pt x="431" y="412"/>
                    </a:lnTo>
                    <a:lnTo>
                      <a:pt x="429" y="414"/>
                    </a:lnTo>
                    <a:lnTo>
                      <a:pt x="429" y="416"/>
                    </a:lnTo>
                    <a:lnTo>
                      <a:pt x="429" y="417"/>
                    </a:lnTo>
                    <a:lnTo>
                      <a:pt x="427" y="417"/>
                    </a:lnTo>
                    <a:lnTo>
                      <a:pt x="429" y="417"/>
                    </a:lnTo>
                    <a:lnTo>
                      <a:pt x="427" y="419"/>
                    </a:lnTo>
                    <a:lnTo>
                      <a:pt x="427" y="421"/>
                    </a:lnTo>
                    <a:lnTo>
                      <a:pt x="425" y="421"/>
                    </a:lnTo>
                    <a:lnTo>
                      <a:pt x="425" y="423"/>
                    </a:lnTo>
                    <a:lnTo>
                      <a:pt x="425" y="425"/>
                    </a:lnTo>
                    <a:lnTo>
                      <a:pt x="423" y="425"/>
                    </a:lnTo>
                    <a:lnTo>
                      <a:pt x="423" y="427"/>
                    </a:lnTo>
                    <a:lnTo>
                      <a:pt x="423" y="429"/>
                    </a:lnTo>
                    <a:lnTo>
                      <a:pt x="421" y="429"/>
                    </a:lnTo>
                    <a:lnTo>
                      <a:pt x="421" y="431"/>
                    </a:lnTo>
                    <a:lnTo>
                      <a:pt x="419" y="431"/>
                    </a:lnTo>
                    <a:lnTo>
                      <a:pt x="421" y="431"/>
                    </a:lnTo>
                    <a:lnTo>
                      <a:pt x="421" y="433"/>
                    </a:lnTo>
                    <a:lnTo>
                      <a:pt x="419" y="433"/>
                    </a:lnTo>
                    <a:lnTo>
                      <a:pt x="419" y="435"/>
                    </a:lnTo>
                    <a:lnTo>
                      <a:pt x="419" y="437"/>
                    </a:lnTo>
                    <a:lnTo>
                      <a:pt x="419" y="439"/>
                    </a:lnTo>
                    <a:lnTo>
                      <a:pt x="421" y="439"/>
                    </a:lnTo>
                    <a:lnTo>
                      <a:pt x="419" y="439"/>
                    </a:lnTo>
                    <a:lnTo>
                      <a:pt x="419" y="441"/>
                    </a:lnTo>
                    <a:lnTo>
                      <a:pt x="419" y="442"/>
                    </a:lnTo>
                    <a:lnTo>
                      <a:pt x="419" y="444"/>
                    </a:lnTo>
                    <a:lnTo>
                      <a:pt x="419" y="446"/>
                    </a:lnTo>
                    <a:lnTo>
                      <a:pt x="421" y="446"/>
                    </a:lnTo>
                    <a:lnTo>
                      <a:pt x="419" y="446"/>
                    </a:lnTo>
                    <a:lnTo>
                      <a:pt x="419" y="448"/>
                    </a:lnTo>
                    <a:lnTo>
                      <a:pt x="419" y="450"/>
                    </a:lnTo>
                    <a:lnTo>
                      <a:pt x="417" y="452"/>
                    </a:lnTo>
                    <a:lnTo>
                      <a:pt x="419" y="452"/>
                    </a:lnTo>
                    <a:lnTo>
                      <a:pt x="419" y="454"/>
                    </a:lnTo>
                    <a:lnTo>
                      <a:pt x="417" y="454"/>
                    </a:lnTo>
                    <a:lnTo>
                      <a:pt x="417" y="456"/>
                    </a:lnTo>
                    <a:lnTo>
                      <a:pt x="419" y="456"/>
                    </a:lnTo>
                    <a:lnTo>
                      <a:pt x="419" y="458"/>
                    </a:lnTo>
                    <a:lnTo>
                      <a:pt x="417" y="458"/>
                    </a:lnTo>
                    <a:lnTo>
                      <a:pt x="417" y="460"/>
                    </a:lnTo>
                    <a:lnTo>
                      <a:pt x="417" y="462"/>
                    </a:lnTo>
                    <a:lnTo>
                      <a:pt x="417" y="464"/>
                    </a:lnTo>
                    <a:lnTo>
                      <a:pt x="415" y="464"/>
                    </a:lnTo>
                    <a:lnTo>
                      <a:pt x="415" y="466"/>
                    </a:lnTo>
                    <a:lnTo>
                      <a:pt x="417" y="466"/>
                    </a:lnTo>
                    <a:lnTo>
                      <a:pt x="417" y="467"/>
                    </a:lnTo>
                    <a:lnTo>
                      <a:pt x="417" y="469"/>
                    </a:lnTo>
                    <a:lnTo>
                      <a:pt x="417" y="471"/>
                    </a:lnTo>
                    <a:lnTo>
                      <a:pt x="417" y="473"/>
                    </a:lnTo>
                    <a:lnTo>
                      <a:pt x="417" y="475"/>
                    </a:lnTo>
                    <a:lnTo>
                      <a:pt x="417" y="477"/>
                    </a:lnTo>
                    <a:lnTo>
                      <a:pt x="415" y="477"/>
                    </a:lnTo>
                    <a:lnTo>
                      <a:pt x="417" y="477"/>
                    </a:lnTo>
                    <a:lnTo>
                      <a:pt x="417" y="479"/>
                    </a:lnTo>
                    <a:lnTo>
                      <a:pt x="415" y="479"/>
                    </a:lnTo>
                    <a:lnTo>
                      <a:pt x="415" y="481"/>
                    </a:lnTo>
                    <a:lnTo>
                      <a:pt x="413" y="481"/>
                    </a:lnTo>
                    <a:lnTo>
                      <a:pt x="413" y="483"/>
                    </a:lnTo>
                    <a:lnTo>
                      <a:pt x="413" y="485"/>
                    </a:lnTo>
                    <a:lnTo>
                      <a:pt x="413" y="487"/>
                    </a:lnTo>
                    <a:lnTo>
                      <a:pt x="413" y="489"/>
                    </a:lnTo>
                    <a:lnTo>
                      <a:pt x="413" y="491"/>
                    </a:lnTo>
                    <a:lnTo>
                      <a:pt x="413" y="492"/>
                    </a:lnTo>
                    <a:lnTo>
                      <a:pt x="413" y="494"/>
                    </a:lnTo>
                    <a:lnTo>
                      <a:pt x="415" y="494"/>
                    </a:lnTo>
                    <a:lnTo>
                      <a:pt x="413" y="496"/>
                    </a:lnTo>
                    <a:lnTo>
                      <a:pt x="415" y="496"/>
                    </a:lnTo>
                    <a:lnTo>
                      <a:pt x="413" y="496"/>
                    </a:lnTo>
                    <a:lnTo>
                      <a:pt x="415" y="496"/>
                    </a:lnTo>
                    <a:lnTo>
                      <a:pt x="415" y="498"/>
                    </a:lnTo>
                    <a:lnTo>
                      <a:pt x="413" y="500"/>
                    </a:lnTo>
                    <a:lnTo>
                      <a:pt x="413" y="502"/>
                    </a:lnTo>
                    <a:lnTo>
                      <a:pt x="413" y="504"/>
                    </a:lnTo>
                    <a:lnTo>
                      <a:pt x="411" y="504"/>
                    </a:lnTo>
                    <a:lnTo>
                      <a:pt x="411" y="506"/>
                    </a:lnTo>
                    <a:lnTo>
                      <a:pt x="411" y="508"/>
                    </a:lnTo>
                    <a:lnTo>
                      <a:pt x="411" y="506"/>
                    </a:lnTo>
                    <a:lnTo>
                      <a:pt x="411" y="508"/>
                    </a:lnTo>
                    <a:lnTo>
                      <a:pt x="410" y="508"/>
                    </a:lnTo>
                    <a:lnTo>
                      <a:pt x="410" y="510"/>
                    </a:lnTo>
                    <a:lnTo>
                      <a:pt x="410" y="512"/>
                    </a:lnTo>
                    <a:lnTo>
                      <a:pt x="410" y="514"/>
                    </a:lnTo>
                    <a:lnTo>
                      <a:pt x="410" y="516"/>
                    </a:lnTo>
                    <a:lnTo>
                      <a:pt x="410" y="517"/>
                    </a:lnTo>
                    <a:lnTo>
                      <a:pt x="411" y="517"/>
                    </a:lnTo>
                    <a:lnTo>
                      <a:pt x="411" y="519"/>
                    </a:lnTo>
                    <a:lnTo>
                      <a:pt x="410" y="519"/>
                    </a:lnTo>
                    <a:lnTo>
                      <a:pt x="411" y="519"/>
                    </a:lnTo>
                    <a:lnTo>
                      <a:pt x="411" y="521"/>
                    </a:lnTo>
                    <a:lnTo>
                      <a:pt x="410" y="521"/>
                    </a:lnTo>
                    <a:lnTo>
                      <a:pt x="410" y="523"/>
                    </a:lnTo>
                    <a:lnTo>
                      <a:pt x="408" y="523"/>
                    </a:lnTo>
                    <a:lnTo>
                      <a:pt x="408" y="525"/>
                    </a:lnTo>
                    <a:lnTo>
                      <a:pt x="410" y="525"/>
                    </a:lnTo>
                    <a:lnTo>
                      <a:pt x="410" y="527"/>
                    </a:lnTo>
                    <a:lnTo>
                      <a:pt x="411" y="527"/>
                    </a:lnTo>
                    <a:lnTo>
                      <a:pt x="410" y="527"/>
                    </a:lnTo>
                    <a:lnTo>
                      <a:pt x="411" y="527"/>
                    </a:lnTo>
                    <a:lnTo>
                      <a:pt x="413" y="527"/>
                    </a:lnTo>
                    <a:lnTo>
                      <a:pt x="413" y="525"/>
                    </a:lnTo>
                    <a:lnTo>
                      <a:pt x="413" y="527"/>
                    </a:lnTo>
                    <a:lnTo>
                      <a:pt x="415" y="527"/>
                    </a:lnTo>
                    <a:lnTo>
                      <a:pt x="415" y="525"/>
                    </a:lnTo>
                    <a:lnTo>
                      <a:pt x="415" y="527"/>
                    </a:lnTo>
                    <a:lnTo>
                      <a:pt x="415" y="525"/>
                    </a:lnTo>
                    <a:lnTo>
                      <a:pt x="417" y="525"/>
                    </a:lnTo>
                    <a:lnTo>
                      <a:pt x="417" y="527"/>
                    </a:lnTo>
                    <a:lnTo>
                      <a:pt x="417" y="529"/>
                    </a:lnTo>
                    <a:lnTo>
                      <a:pt x="417" y="531"/>
                    </a:lnTo>
                    <a:lnTo>
                      <a:pt x="417" y="533"/>
                    </a:lnTo>
                    <a:lnTo>
                      <a:pt x="417" y="535"/>
                    </a:lnTo>
                    <a:lnTo>
                      <a:pt x="417" y="533"/>
                    </a:lnTo>
                    <a:lnTo>
                      <a:pt x="417" y="535"/>
                    </a:lnTo>
                    <a:lnTo>
                      <a:pt x="419" y="537"/>
                    </a:lnTo>
                    <a:lnTo>
                      <a:pt x="419" y="539"/>
                    </a:lnTo>
                    <a:lnTo>
                      <a:pt x="417" y="539"/>
                    </a:lnTo>
                    <a:lnTo>
                      <a:pt x="417" y="541"/>
                    </a:lnTo>
                    <a:lnTo>
                      <a:pt x="419" y="541"/>
                    </a:lnTo>
                    <a:lnTo>
                      <a:pt x="419" y="542"/>
                    </a:lnTo>
                    <a:lnTo>
                      <a:pt x="417" y="544"/>
                    </a:lnTo>
                    <a:lnTo>
                      <a:pt x="417" y="546"/>
                    </a:lnTo>
                    <a:lnTo>
                      <a:pt x="415" y="548"/>
                    </a:lnTo>
                    <a:lnTo>
                      <a:pt x="417" y="548"/>
                    </a:lnTo>
                    <a:lnTo>
                      <a:pt x="415" y="548"/>
                    </a:lnTo>
                    <a:lnTo>
                      <a:pt x="415" y="550"/>
                    </a:lnTo>
                    <a:lnTo>
                      <a:pt x="413" y="550"/>
                    </a:lnTo>
                    <a:lnTo>
                      <a:pt x="413" y="552"/>
                    </a:lnTo>
                    <a:lnTo>
                      <a:pt x="411" y="552"/>
                    </a:lnTo>
                    <a:lnTo>
                      <a:pt x="411" y="554"/>
                    </a:lnTo>
                    <a:lnTo>
                      <a:pt x="410" y="554"/>
                    </a:lnTo>
                    <a:lnTo>
                      <a:pt x="408" y="554"/>
                    </a:lnTo>
                    <a:lnTo>
                      <a:pt x="408" y="556"/>
                    </a:lnTo>
                    <a:lnTo>
                      <a:pt x="406" y="556"/>
                    </a:lnTo>
                    <a:lnTo>
                      <a:pt x="404" y="556"/>
                    </a:lnTo>
                    <a:lnTo>
                      <a:pt x="404" y="558"/>
                    </a:lnTo>
                    <a:lnTo>
                      <a:pt x="404" y="556"/>
                    </a:lnTo>
                    <a:lnTo>
                      <a:pt x="404" y="558"/>
                    </a:lnTo>
                    <a:lnTo>
                      <a:pt x="402" y="558"/>
                    </a:lnTo>
                    <a:lnTo>
                      <a:pt x="404" y="558"/>
                    </a:lnTo>
                    <a:lnTo>
                      <a:pt x="402" y="558"/>
                    </a:lnTo>
                    <a:lnTo>
                      <a:pt x="404" y="558"/>
                    </a:lnTo>
                    <a:lnTo>
                      <a:pt x="402" y="558"/>
                    </a:lnTo>
                    <a:lnTo>
                      <a:pt x="400" y="558"/>
                    </a:lnTo>
                    <a:lnTo>
                      <a:pt x="400" y="560"/>
                    </a:lnTo>
                    <a:lnTo>
                      <a:pt x="400" y="558"/>
                    </a:lnTo>
                    <a:lnTo>
                      <a:pt x="400" y="560"/>
                    </a:lnTo>
                    <a:lnTo>
                      <a:pt x="400" y="558"/>
                    </a:lnTo>
                    <a:lnTo>
                      <a:pt x="400" y="560"/>
                    </a:lnTo>
                    <a:lnTo>
                      <a:pt x="400" y="558"/>
                    </a:lnTo>
                    <a:lnTo>
                      <a:pt x="398" y="560"/>
                    </a:lnTo>
                    <a:lnTo>
                      <a:pt x="398" y="558"/>
                    </a:lnTo>
                    <a:lnTo>
                      <a:pt x="398" y="560"/>
                    </a:lnTo>
                    <a:lnTo>
                      <a:pt x="396" y="560"/>
                    </a:lnTo>
                    <a:lnTo>
                      <a:pt x="398" y="560"/>
                    </a:lnTo>
                    <a:lnTo>
                      <a:pt x="396" y="560"/>
                    </a:lnTo>
                    <a:lnTo>
                      <a:pt x="396" y="562"/>
                    </a:lnTo>
                    <a:lnTo>
                      <a:pt x="394" y="562"/>
                    </a:lnTo>
                    <a:lnTo>
                      <a:pt x="396" y="562"/>
                    </a:lnTo>
                    <a:lnTo>
                      <a:pt x="396" y="564"/>
                    </a:lnTo>
                    <a:lnTo>
                      <a:pt x="396" y="562"/>
                    </a:lnTo>
                    <a:lnTo>
                      <a:pt x="396" y="564"/>
                    </a:lnTo>
                    <a:lnTo>
                      <a:pt x="394" y="564"/>
                    </a:lnTo>
                    <a:lnTo>
                      <a:pt x="396" y="564"/>
                    </a:lnTo>
                    <a:lnTo>
                      <a:pt x="394" y="564"/>
                    </a:lnTo>
                    <a:lnTo>
                      <a:pt x="394" y="565"/>
                    </a:lnTo>
                    <a:lnTo>
                      <a:pt x="394" y="567"/>
                    </a:lnTo>
                    <a:lnTo>
                      <a:pt x="394" y="569"/>
                    </a:lnTo>
                    <a:lnTo>
                      <a:pt x="392" y="569"/>
                    </a:lnTo>
                    <a:lnTo>
                      <a:pt x="390" y="569"/>
                    </a:lnTo>
                    <a:lnTo>
                      <a:pt x="390" y="571"/>
                    </a:lnTo>
                    <a:lnTo>
                      <a:pt x="390" y="569"/>
                    </a:lnTo>
                    <a:lnTo>
                      <a:pt x="390" y="571"/>
                    </a:lnTo>
                    <a:lnTo>
                      <a:pt x="392" y="571"/>
                    </a:lnTo>
                    <a:lnTo>
                      <a:pt x="390" y="571"/>
                    </a:lnTo>
                    <a:lnTo>
                      <a:pt x="390" y="573"/>
                    </a:lnTo>
                    <a:lnTo>
                      <a:pt x="390" y="575"/>
                    </a:lnTo>
                    <a:lnTo>
                      <a:pt x="388" y="575"/>
                    </a:lnTo>
                    <a:lnTo>
                      <a:pt x="388" y="573"/>
                    </a:lnTo>
                    <a:lnTo>
                      <a:pt x="388" y="575"/>
                    </a:lnTo>
                    <a:lnTo>
                      <a:pt x="388" y="577"/>
                    </a:lnTo>
                    <a:lnTo>
                      <a:pt x="386" y="577"/>
                    </a:lnTo>
                    <a:lnTo>
                      <a:pt x="386" y="579"/>
                    </a:lnTo>
                    <a:lnTo>
                      <a:pt x="386" y="581"/>
                    </a:lnTo>
                    <a:lnTo>
                      <a:pt x="385" y="581"/>
                    </a:lnTo>
                    <a:lnTo>
                      <a:pt x="385" y="583"/>
                    </a:lnTo>
                    <a:lnTo>
                      <a:pt x="383" y="583"/>
                    </a:lnTo>
                    <a:lnTo>
                      <a:pt x="383" y="585"/>
                    </a:lnTo>
                    <a:lnTo>
                      <a:pt x="383" y="587"/>
                    </a:lnTo>
                    <a:lnTo>
                      <a:pt x="381" y="587"/>
                    </a:lnTo>
                    <a:lnTo>
                      <a:pt x="381" y="589"/>
                    </a:lnTo>
                    <a:lnTo>
                      <a:pt x="379" y="589"/>
                    </a:lnTo>
                    <a:lnTo>
                      <a:pt x="379" y="590"/>
                    </a:lnTo>
                    <a:lnTo>
                      <a:pt x="379" y="592"/>
                    </a:lnTo>
                    <a:lnTo>
                      <a:pt x="379" y="590"/>
                    </a:lnTo>
                    <a:lnTo>
                      <a:pt x="379" y="592"/>
                    </a:lnTo>
                    <a:lnTo>
                      <a:pt x="377" y="592"/>
                    </a:lnTo>
                    <a:lnTo>
                      <a:pt x="377" y="594"/>
                    </a:lnTo>
                    <a:lnTo>
                      <a:pt x="377" y="596"/>
                    </a:lnTo>
                    <a:lnTo>
                      <a:pt x="377" y="594"/>
                    </a:lnTo>
                    <a:lnTo>
                      <a:pt x="377" y="596"/>
                    </a:lnTo>
                    <a:lnTo>
                      <a:pt x="371" y="594"/>
                    </a:lnTo>
                    <a:lnTo>
                      <a:pt x="367" y="592"/>
                    </a:lnTo>
                    <a:lnTo>
                      <a:pt x="365" y="592"/>
                    </a:lnTo>
                    <a:lnTo>
                      <a:pt x="363" y="592"/>
                    </a:lnTo>
                    <a:lnTo>
                      <a:pt x="362" y="590"/>
                    </a:lnTo>
                    <a:lnTo>
                      <a:pt x="360" y="590"/>
                    </a:lnTo>
                    <a:lnTo>
                      <a:pt x="356" y="592"/>
                    </a:lnTo>
                    <a:lnTo>
                      <a:pt x="354" y="592"/>
                    </a:lnTo>
                    <a:lnTo>
                      <a:pt x="350" y="592"/>
                    </a:lnTo>
                    <a:lnTo>
                      <a:pt x="348" y="590"/>
                    </a:lnTo>
                    <a:lnTo>
                      <a:pt x="344" y="590"/>
                    </a:lnTo>
                    <a:lnTo>
                      <a:pt x="342" y="589"/>
                    </a:lnTo>
                    <a:lnTo>
                      <a:pt x="340" y="589"/>
                    </a:lnTo>
                    <a:lnTo>
                      <a:pt x="338" y="587"/>
                    </a:lnTo>
                    <a:lnTo>
                      <a:pt x="337" y="587"/>
                    </a:lnTo>
                    <a:lnTo>
                      <a:pt x="331" y="583"/>
                    </a:lnTo>
                    <a:lnTo>
                      <a:pt x="325" y="577"/>
                    </a:lnTo>
                    <a:lnTo>
                      <a:pt x="323" y="577"/>
                    </a:lnTo>
                    <a:lnTo>
                      <a:pt x="319" y="577"/>
                    </a:lnTo>
                    <a:lnTo>
                      <a:pt x="317" y="575"/>
                    </a:lnTo>
                    <a:lnTo>
                      <a:pt x="315" y="575"/>
                    </a:lnTo>
                    <a:lnTo>
                      <a:pt x="312" y="573"/>
                    </a:lnTo>
                    <a:lnTo>
                      <a:pt x="310" y="573"/>
                    </a:lnTo>
                    <a:lnTo>
                      <a:pt x="308" y="575"/>
                    </a:lnTo>
                    <a:lnTo>
                      <a:pt x="306" y="575"/>
                    </a:lnTo>
                    <a:lnTo>
                      <a:pt x="304" y="577"/>
                    </a:lnTo>
                    <a:lnTo>
                      <a:pt x="300" y="581"/>
                    </a:lnTo>
                    <a:lnTo>
                      <a:pt x="298" y="583"/>
                    </a:lnTo>
                    <a:lnTo>
                      <a:pt x="296" y="585"/>
                    </a:lnTo>
                    <a:lnTo>
                      <a:pt x="294" y="589"/>
                    </a:lnTo>
                    <a:lnTo>
                      <a:pt x="292" y="589"/>
                    </a:lnTo>
                    <a:lnTo>
                      <a:pt x="290" y="589"/>
                    </a:lnTo>
                    <a:lnTo>
                      <a:pt x="289" y="587"/>
                    </a:lnTo>
                    <a:lnTo>
                      <a:pt x="287" y="587"/>
                    </a:lnTo>
                    <a:lnTo>
                      <a:pt x="287" y="589"/>
                    </a:lnTo>
                    <a:lnTo>
                      <a:pt x="285" y="589"/>
                    </a:lnTo>
                    <a:lnTo>
                      <a:pt x="283" y="589"/>
                    </a:lnTo>
                    <a:lnTo>
                      <a:pt x="279" y="589"/>
                    </a:lnTo>
                    <a:lnTo>
                      <a:pt x="277" y="587"/>
                    </a:lnTo>
                    <a:lnTo>
                      <a:pt x="277" y="585"/>
                    </a:lnTo>
                    <a:lnTo>
                      <a:pt x="275" y="585"/>
                    </a:lnTo>
                    <a:lnTo>
                      <a:pt x="273" y="585"/>
                    </a:lnTo>
                    <a:lnTo>
                      <a:pt x="271" y="583"/>
                    </a:lnTo>
                    <a:lnTo>
                      <a:pt x="269" y="581"/>
                    </a:lnTo>
                    <a:lnTo>
                      <a:pt x="267" y="579"/>
                    </a:lnTo>
                    <a:lnTo>
                      <a:pt x="267" y="577"/>
                    </a:lnTo>
                    <a:lnTo>
                      <a:pt x="265" y="575"/>
                    </a:lnTo>
                    <a:lnTo>
                      <a:pt x="264" y="575"/>
                    </a:lnTo>
                    <a:lnTo>
                      <a:pt x="264" y="573"/>
                    </a:lnTo>
                    <a:lnTo>
                      <a:pt x="262" y="573"/>
                    </a:lnTo>
                    <a:lnTo>
                      <a:pt x="258" y="573"/>
                    </a:lnTo>
                    <a:lnTo>
                      <a:pt x="256" y="571"/>
                    </a:lnTo>
                    <a:lnTo>
                      <a:pt x="254" y="571"/>
                    </a:lnTo>
                    <a:lnTo>
                      <a:pt x="252" y="571"/>
                    </a:lnTo>
                    <a:lnTo>
                      <a:pt x="250" y="571"/>
                    </a:lnTo>
                    <a:lnTo>
                      <a:pt x="248" y="571"/>
                    </a:lnTo>
                    <a:lnTo>
                      <a:pt x="246" y="573"/>
                    </a:lnTo>
                    <a:lnTo>
                      <a:pt x="244" y="573"/>
                    </a:lnTo>
                    <a:lnTo>
                      <a:pt x="242" y="573"/>
                    </a:lnTo>
                    <a:lnTo>
                      <a:pt x="240" y="573"/>
                    </a:lnTo>
                    <a:lnTo>
                      <a:pt x="239" y="571"/>
                    </a:lnTo>
                    <a:lnTo>
                      <a:pt x="237" y="571"/>
                    </a:lnTo>
                    <a:lnTo>
                      <a:pt x="235" y="573"/>
                    </a:lnTo>
                    <a:lnTo>
                      <a:pt x="233" y="575"/>
                    </a:lnTo>
                    <a:lnTo>
                      <a:pt x="231" y="575"/>
                    </a:lnTo>
                    <a:lnTo>
                      <a:pt x="227" y="581"/>
                    </a:lnTo>
                    <a:lnTo>
                      <a:pt x="223" y="587"/>
                    </a:lnTo>
                    <a:lnTo>
                      <a:pt x="221" y="589"/>
                    </a:lnTo>
                    <a:lnTo>
                      <a:pt x="219" y="590"/>
                    </a:lnTo>
                    <a:lnTo>
                      <a:pt x="217" y="594"/>
                    </a:lnTo>
                    <a:lnTo>
                      <a:pt x="216" y="596"/>
                    </a:lnTo>
                    <a:lnTo>
                      <a:pt x="214" y="598"/>
                    </a:lnTo>
                    <a:lnTo>
                      <a:pt x="210" y="598"/>
                    </a:lnTo>
                    <a:lnTo>
                      <a:pt x="212" y="600"/>
                    </a:lnTo>
                    <a:lnTo>
                      <a:pt x="210" y="602"/>
                    </a:lnTo>
                    <a:lnTo>
                      <a:pt x="204" y="608"/>
                    </a:lnTo>
                    <a:lnTo>
                      <a:pt x="202" y="610"/>
                    </a:lnTo>
                    <a:lnTo>
                      <a:pt x="202" y="614"/>
                    </a:lnTo>
                    <a:lnTo>
                      <a:pt x="202" y="615"/>
                    </a:lnTo>
                    <a:lnTo>
                      <a:pt x="200" y="621"/>
                    </a:lnTo>
                    <a:lnTo>
                      <a:pt x="200" y="623"/>
                    </a:lnTo>
                    <a:lnTo>
                      <a:pt x="200" y="625"/>
                    </a:lnTo>
                    <a:lnTo>
                      <a:pt x="198" y="627"/>
                    </a:lnTo>
                    <a:lnTo>
                      <a:pt x="196" y="629"/>
                    </a:lnTo>
                    <a:lnTo>
                      <a:pt x="194" y="629"/>
                    </a:lnTo>
                    <a:lnTo>
                      <a:pt x="194" y="631"/>
                    </a:lnTo>
                    <a:lnTo>
                      <a:pt x="192" y="631"/>
                    </a:lnTo>
                    <a:lnTo>
                      <a:pt x="192" y="633"/>
                    </a:lnTo>
                    <a:lnTo>
                      <a:pt x="192" y="635"/>
                    </a:lnTo>
                    <a:lnTo>
                      <a:pt x="191" y="635"/>
                    </a:lnTo>
                    <a:lnTo>
                      <a:pt x="189" y="635"/>
                    </a:lnTo>
                    <a:lnTo>
                      <a:pt x="189" y="637"/>
                    </a:lnTo>
                    <a:lnTo>
                      <a:pt x="187" y="635"/>
                    </a:lnTo>
                    <a:lnTo>
                      <a:pt x="185" y="637"/>
                    </a:lnTo>
                    <a:lnTo>
                      <a:pt x="183" y="637"/>
                    </a:lnTo>
                    <a:lnTo>
                      <a:pt x="181" y="637"/>
                    </a:lnTo>
                    <a:lnTo>
                      <a:pt x="179" y="635"/>
                    </a:lnTo>
                    <a:lnTo>
                      <a:pt x="179" y="637"/>
                    </a:lnTo>
                    <a:lnTo>
                      <a:pt x="175" y="639"/>
                    </a:lnTo>
                    <a:lnTo>
                      <a:pt x="173" y="640"/>
                    </a:lnTo>
                    <a:lnTo>
                      <a:pt x="169" y="642"/>
                    </a:lnTo>
                    <a:lnTo>
                      <a:pt x="166" y="646"/>
                    </a:lnTo>
                    <a:lnTo>
                      <a:pt x="164" y="648"/>
                    </a:lnTo>
                    <a:lnTo>
                      <a:pt x="162" y="650"/>
                    </a:lnTo>
                    <a:lnTo>
                      <a:pt x="156" y="650"/>
                    </a:lnTo>
                    <a:lnTo>
                      <a:pt x="152" y="650"/>
                    </a:lnTo>
                    <a:lnTo>
                      <a:pt x="148" y="656"/>
                    </a:lnTo>
                    <a:lnTo>
                      <a:pt x="146" y="656"/>
                    </a:lnTo>
                    <a:lnTo>
                      <a:pt x="141" y="654"/>
                    </a:lnTo>
                    <a:lnTo>
                      <a:pt x="139" y="658"/>
                    </a:lnTo>
                    <a:lnTo>
                      <a:pt x="135" y="660"/>
                    </a:lnTo>
                    <a:lnTo>
                      <a:pt x="129" y="664"/>
                    </a:lnTo>
                    <a:lnTo>
                      <a:pt x="127" y="667"/>
                    </a:lnTo>
                    <a:lnTo>
                      <a:pt x="125" y="667"/>
                    </a:lnTo>
                    <a:lnTo>
                      <a:pt x="123" y="669"/>
                    </a:lnTo>
                    <a:lnTo>
                      <a:pt x="121" y="669"/>
                    </a:lnTo>
                    <a:lnTo>
                      <a:pt x="118" y="671"/>
                    </a:lnTo>
                    <a:lnTo>
                      <a:pt x="114" y="671"/>
                    </a:lnTo>
                    <a:lnTo>
                      <a:pt x="112" y="671"/>
                    </a:lnTo>
                    <a:lnTo>
                      <a:pt x="110" y="671"/>
                    </a:lnTo>
                    <a:lnTo>
                      <a:pt x="110" y="669"/>
                    </a:lnTo>
                    <a:lnTo>
                      <a:pt x="110" y="671"/>
                    </a:lnTo>
                    <a:lnTo>
                      <a:pt x="108" y="669"/>
                    </a:lnTo>
                    <a:lnTo>
                      <a:pt x="106" y="667"/>
                    </a:lnTo>
                    <a:lnTo>
                      <a:pt x="104" y="669"/>
                    </a:lnTo>
                    <a:lnTo>
                      <a:pt x="104" y="671"/>
                    </a:lnTo>
                    <a:lnTo>
                      <a:pt x="102" y="675"/>
                    </a:lnTo>
                    <a:lnTo>
                      <a:pt x="100" y="675"/>
                    </a:lnTo>
                    <a:lnTo>
                      <a:pt x="98" y="675"/>
                    </a:lnTo>
                    <a:lnTo>
                      <a:pt x="96" y="675"/>
                    </a:lnTo>
                    <a:lnTo>
                      <a:pt x="96" y="673"/>
                    </a:lnTo>
                    <a:lnTo>
                      <a:pt x="94" y="673"/>
                    </a:lnTo>
                    <a:lnTo>
                      <a:pt x="93" y="673"/>
                    </a:lnTo>
                    <a:lnTo>
                      <a:pt x="91" y="673"/>
                    </a:lnTo>
                    <a:lnTo>
                      <a:pt x="89" y="673"/>
                    </a:lnTo>
                    <a:lnTo>
                      <a:pt x="87" y="675"/>
                    </a:lnTo>
                    <a:lnTo>
                      <a:pt x="85" y="673"/>
                    </a:lnTo>
                    <a:lnTo>
                      <a:pt x="83" y="673"/>
                    </a:lnTo>
                    <a:lnTo>
                      <a:pt x="81" y="673"/>
                    </a:lnTo>
                    <a:lnTo>
                      <a:pt x="79" y="673"/>
                    </a:lnTo>
                    <a:lnTo>
                      <a:pt x="77" y="673"/>
                    </a:lnTo>
                    <a:lnTo>
                      <a:pt x="75" y="675"/>
                    </a:lnTo>
                    <a:lnTo>
                      <a:pt x="73" y="673"/>
                    </a:lnTo>
                    <a:lnTo>
                      <a:pt x="71" y="671"/>
                    </a:lnTo>
                    <a:lnTo>
                      <a:pt x="70" y="671"/>
                    </a:lnTo>
                    <a:lnTo>
                      <a:pt x="70" y="669"/>
                    </a:lnTo>
                    <a:lnTo>
                      <a:pt x="68" y="669"/>
                    </a:lnTo>
                    <a:lnTo>
                      <a:pt x="66" y="667"/>
                    </a:lnTo>
                    <a:lnTo>
                      <a:pt x="64" y="667"/>
                    </a:lnTo>
                    <a:lnTo>
                      <a:pt x="62" y="667"/>
                    </a:lnTo>
                    <a:lnTo>
                      <a:pt x="60" y="667"/>
                    </a:lnTo>
                    <a:lnTo>
                      <a:pt x="56" y="669"/>
                    </a:lnTo>
                    <a:lnTo>
                      <a:pt x="54" y="669"/>
                    </a:lnTo>
                    <a:lnTo>
                      <a:pt x="52" y="669"/>
                    </a:lnTo>
                    <a:lnTo>
                      <a:pt x="50" y="669"/>
                    </a:lnTo>
                    <a:lnTo>
                      <a:pt x="48" y="669"/>
                    </a:lnTo>
                    <a:lnTo>
                      <a:pt x="48" y="671"/>
                    </a:lnTo>
                    <a:lnTo>
                      <a:pt x="46" y="669"/>
                    </a:lnTo>
                    <a:lnTo>
                      <a:pt x="45" y="671"/>
                    </a:lnTo>
                    <a:lnTo>
                      <a:pt x="45" y="669"/>
                    </a:lnTo>
                    <a:lnTo>
                      <a:pt x="43" y="671"/>
                    </a:lnTo>
                    <a:lnTo>
                      <a:pt x="41" y="671"/>
                    </a:lnTo>
                    <a:lnTo>
                      <a:pt x="39" y="671"/>
                    </a:lnTo>
                    <a:lnTo>
                      <a:pt x="37" y="671"/>
                    </a:lnTo>
                    <a:lnTo>
                      <a:pt x="37" y="673"/>
                    </a:lnTo>
                    <a:lnTo>
                      <a:pt x="35" y="673"/>
                    </a:lnTo>
                    <a:lnTo>
                      <a:pt x="35" y="671"/>
                    </a:lnTo>
                    <a:lnTo>
                      <a:pt x="33" y="671"/>
                    </a:lnTo>
                    <a:lnTo>
                      <a:pt x="31" y="669"/>
                    </a:lnTo>
                    <a:lnTo>
                      <a:pt x="33" y="667"/>
                    </a:lnTo>
                    <a:lnTo>
                      <a:pt x="31" y="667"/>
                    </a:lnTo>
                    <a:lnTo>
                      <a:pt x="31" y="665"/>
                    </a:lnTo>
                    <a:lnTo>
                      <a:pt x="31" y="667"/>
                    </a:lnTo>
                    <a:lnTo>
                      <a:pt x="31" y="665"/>
                    </a:lnTo>
                    <a:lnTo>
                      <a:pt x="29" y="665"/>
                    </a:lnTo>
                    <a:lnTo>
                      <a:pt x="29" y="667"/>
                    </a:lnTo>
                    <a:lnTo>
                      <a:pt x="29" y="665"/>
                    </a:lnTo>
                    <a:lnTo>
                      <a:pt x="27" y="665"/>
                    </a:lnTo>
                    <a:lnTo>
                      <a:pt x="27" y="664"/>
                    </a:lnTo>
                    <a:lnTo>
                      <a:pt x="27" y="662"/>
                    </a:lnTo>
                    <a:lnTo>
                      <a:pt x="25" y="662"/>
                    </a:lnTo>
                    <a:lnTo>
                      <a:pt x="25" y="660"/>
                    </a:lnTo>
                    <a:lnTo>
                      <a:pt x="25" y="658"/>
                    </a:lnTo>
                    <a:lnTo>
                      <a:pt x="23" y="658"/>
                    </a:lnTo>
                    <a:lnTo>
                      <a:pt x="23" y="660"/>
                    </a:lnTo>
                    <a:lnTo>
                      <a:pt x="21" y="658"/>
                    </a:lnTo>
                    <a:lnTo>
                      <a:pt x="21" y="660"/>
                    </a:lnTo>
                    <a:lnTo>
                      <a:pt x="21" y="658"/>
                    </a:lnTo>
                    <a:lnTo>
                      <a:pt x="20" y="658"/>
                    </a:lnTo>
                    <a:lnTo>
                      <a:pt x="18" y="658"/>
                    </a:lnTo>
                    <a:lnTo>
                      <a:pt x="18" y="656"/>
                    </a:lnTo>
                    <a:lnTo>
                      <a:pt x="18" y="658"/>
                    </a:lnTo>
                    <a:lnTo>
                      <a:pt x="18" y="656"/>
                    </a:lnTo>
                    <a:lnTo>
                      <a:pt x="16" y="656"/>
                    </a:lnTo>
                    <a:lnTo>
                      <a:pt x="14" y="656"/>
                    </a:lnTo>
                    <a:lnTo>
                      <a:pt x="14" y="654"/>
                    </a:lnTo>
                    <a:lnTo>
                      <a:pt x="16" y="654"/>
                    </a:lnTo>
                    <a:lnTo>
                      <a:pt x="14" y="654"/>
                    </a:lnTo>
                    <a:lnTo>
                      <a:pt x="14" y="652"/>
                    </a:lnTo>
                    <a:lnTo>
                      <a:pt x="12" y="652"/>
                    </a:lnTo>
                    <a:lnTo>
                      <a:pt x="10" y="650"/>
                    </a:lnTo>
                    <a:lnTo>
                      <a:pt x="10" y="648"/>
                    </a:lnTo>
                    <a:lnTo>
                      <a:pt x="12" y="648"/>
                    </a:lnTo>
                    <a:lnTo>
                      <a:pt x="12" y="646"/>
                    </a:lnTo>
                    <a:lnTo>
                      <a:pt x="10" y="646"/>
                    </a:lnTo>
                    <a:lnTo>
                      <a:pt x="10" y="644"/>
                    </a:lnTo>
                    <a:lnTo>
                      <a:pt x="12" y="644"/>
                    </a:lnTo>
                    <a:lnTo>
                      <a:pt x="12" y="642"/>
                    </a:lnTo>
                    <a:lnTo>
                      <a:pt x="10" y="642"/>
                    </a:lnTo>
                    <a:lnTo>
                      <a:pt x="10" y="640"/>
                    </a:lnTo>
                    <a:lnTo>
                      <a:pt x="10" y="639"/>
                    </a:lnTo>
                    <a:lnTo>
                      <a:pt x="8" y="639"/>
                    </a:lnTo>
                    <a:lnTo>
                      <a:pt x="8" y="637"/>
                    </a:lnTo>
                    <a:lnTo>
                      <a:pt x="10" y="637"/>
                    </a:lnTo>
                    <a:lnTo>
                      <a:pt x="10" y="635"/>
                    </a:lnTo>
                    <a:lnTo>
                      <a:pt x="10" y="633"/>
                    </a:lnTo>
                    <a:lnTo>
                      <a:pt x="8" y="633"/>
                    </a:lnTo>
                    <a:lnTo>
                      <a:pt x="6" y="633"/>
                    </a:lnTo>
                    <a:lnTo>
                      <a:pt x="6" y="635"/>
                    </a:lnTo>
                    <a:lnTo>
                      <a:pt x="4" y="635"/>
                    </a:lnTo>
                    <a:lnTo>
                      <a:pt x="4" y="633"/>
                    </a:lnTo>
                    <a:lnTo>
                      <a:pt x="4" y="635"/>
                    </a:lnTo>
                    <a:lnTo>
                      <a:pt x="2" y="635"/>
                    </a:lnTo>
                    <a:lnTo>
                      <a:pt x="2" y="633"/>
                    </a:lnTo>
                    <a:lnTo>
                      <a:pt x="0" y="633"/>
                    </a:lnTo>
                    <a:lnTo>
                      <a:pt x="0" y="631"/>
                    </a:lnTo>
                    <a:lnTo>
                      <a:pt x="0" y="629"/>
                    </a:lnTo>
                    <a:lnTo>
                      <a:pt x="2" y="627"/>
                    </a:lnTo>
                    <a:lnTo>
                      <a:pt x="0" y="623"/>
                    </a:lnTo>
                    <a:lnTo>
                      <a:pt x="0" y="619"/>
                    </a:lnTo>
                    <a:lnTo>
                      <a:pt x="2" y="615"/>
                    </a:lnTo>
                    <a:lnTo>
                      <a:pt x="4" y="615"/>
                    </a:lnTo>
                    <a:lnTo>
                      <a:pt x="4" y="614"/>
                    </a:lnTo>
                    <a:lnTo>
                      <a:pt x="6" y="614"/>
                    </a:lnTo>
                    <a:lnTo>
                      <a:pt x="6" y="612"/>
                    </a:lnTo>
                    <a:lnTo>
                      <a:pt x="6" y="608"/>
                    </a:lnTo>
                    <a:lnTo>
                      <a:pt x="6" y="606"/>
                    </a:lnTo>
                    <a:lnTo>
                      <a:pt x="8" y="606"/>
                    </a:lnTo>
                    <a:lnTo>
                      <a:pt x="10" y="606"/>
                    </a:lnTo>
                    <a:lnTo>
                      <a:pt x="10" y="608"/>
                    </a:lnTo>
                    <a:lnTo>
                      <a:pt x="12" y="608"/>
                    </a:lnTo>
                    <a:lnTo>
                      <a:pt x="12" y="606"/>
                    </a:lnTo>
                    <a:lnTo>
                      <a:pt x="12" y="604"/>
                    </a:lnTo>
                    <a:lnTo>
                      <a:pt x="14" y="604"/>
                    </a:lnTo>
                    <a:lnTo>
                      <a:pt x="12" y="604"/>
                    </a:lnTo>
                    <a:lnTo>
                      <a:pt x="12" y="602"/>
                    </a:lnTo>
                    <a:lnTo>
                      <a:pt x="14" y="600"/>
                    </a:lnTo>
                    <a:lnTo>
                      <a:pt x="16" y="600"/>
                    </a:lnTo>
                    <a:lnTo>
                      <a:pt x="18" y="600"/>
                    </a:lnTo>
                    <a:lnTo>
                      <a:pt x="20" y="600"/>
                    </a:lnTo>
                    <a:lnTo>
                      <a:pt x="20" y="598"/>
                    </a:lnTo>
                    <a:lnTo>
                      <a:pt x="21" y="598"/>
                    </a:lnTo>
                    <a:lnTo>
                      <a:pt x="21" y="596"/>
                    </a:lnTo>
                    <a:lnTo>
                      <a:pt x="21" y="594"/>
                    </a:lnTo>
                    <a:lnTo>
                      <a:pt x="23" y="596"/>
                    </a:lnTo>
                    <a:lnTo>
                      <a:pt x="23" y="594"/>
                    </a:lnTo>
                    <a:lnTo>
                      <a:pt x="25" y="594"/>
                    </a:lnTo>
                    <a:lnTo>
                      <a:pt x="27" y="594"/>
                    </a:lnTo>
                    <a:lnTo>
                      <a:pt x="29" y="594"/>
                    </a:lnTo>
                    <a:lnTo>
                      <a:pt x="29" y="592"/>
                    </a:lnTo>
                    <a:lnTo>
                      <a:pt x="29" y="590"/>
                    </a:lnTo>
                    <a:lnTo>
                      <a:pt x="31" y="590"/>
                    </a:lnTo>
                    <a:lnTo>
                      <a:pt x="29" y="589"/>
                    </a:lnTo>
                    <a:lnTo>
                      <a:pt x="27" y="589"/>
                    </a:lnTo>
                    <a:lnTo>
                      <a:pt x="27" y="590"/>
                    </a:lnTo>
                    <a:lnTo>
                      <a:pt x="25" y="590"/>
                    </a:lnTo>
                    <a:lnTo>
                      <a:pt x="23" y="589"/>
                    </a:lnTo>
                    <a:lnTo>
                      <a:pt x="23" y="587"/>
                    </a:lnTo>
                    <a:lnTo>
                      <a:pt x="21" y="587"/>
                    </a:lnTo>
                    <a:lnTo>
                      <a:pt x="21" y="585"/>
                    </a:lnTo>
                    <a:lnTo>
                      <a:pt x="20" y="585"/>
                    </a:lnTo>
                    <a:lnTo>
                      <a:pt x="18" y="585"/>
                    </a:lnTo>
                    <a:lnTo>
                      <a:pt x="16" y="585"/>
                    </a:lnTo>
                    <a:lnTo>
                      <a:pt x="16" y="583"/>
                    </a:lnTo>
                    <a:lnTo>
                      <a:pt x="14" y="583"/>
                    </a:lnTo>
                    <a:lnTo>
                      <a:pt x="12" y="583"/>
                    </a:lnTo>
                    <a:lnTo>
                      <a:pt x="10" y="581"/>
                    </a:lnTo>
                    <a:lnTo>
                      <a:pt x="8" y="581"/>
                    </a:lnTo>
                    <a:lnTo>
                      <a:pt x="6" y="579"/>
                    </a:lnTo>
                    <a:lnTo>
                      <a:pt x="6" y="577"/>
                    </a:lnTo>
                    <a:lnTo>
                      <a:pt x="6" y="575"/>
                    </a:lnTo>
                    <a:lnTo>
                      <a:pt x="6" y="573"/>
                    </a:lnTo>
                    <a:lnTo>
                      <a:pt x="8" y="573"/>
                    </a:lnTo>
                    <a:lnTo>
                      <a:pt x="10" y="573"/>
                    </a:lnTo>
                    <a:lnTo>
                      <a:pt x="10" y="571"/>
                    </a:lnTo>
                    <a:lnTo>
                      <a:pt x="12" y="571"/>
                    </a:lnTo>
                    <a:lnTo>
                      <a:pt x="12" y="569"/>
                    </a:lnTo>
                    <a:lnTo>
                      <a:pt x="12" y="567"/>
                    </a:lnTo>
                    <a:lnTo>
                      <a:pt x="12" y="565"/>
                    </a:lnTo>
                    <a:lnTo>
                      <a:pt x="12" y="564"/>
                    </a:lnTo>
                    <a:lnTo>
                      <a:pt x="12" y="560"/>
                    </a:lnTo>
                    <a:lnTo>
                      <a:pt x="12" y="558"/>
                    </a:lnTo>
                    <a:lnTo>
                      <a:pt x="12" y="556"/>
                    </a:lnTo>
                    <a:lnTo>
                      <a:pt x="12" y="554"/>
                    </a:lnTo>
                    <a:lnTo>
                      <a:pt x="14" y="554"/>
                    </a:lnTo>
                    <a:lnTo>
                      <a:pt x="16" y="554"/>
                    </a:lnTo>
                    <a:lnTo>
                      <a:pt x="18" y="554"/>
                    </a:lnTo>
                    <a:lnTo>
                      <a:pt x="18" y="552"/>
                    </a:lnTo>
                    <a:lnTo>
                      <a:pt x="18" y="550"/>
                    </a:lnTo>
                    <a:lnTo>
                      <a:pt x="20" y="550"/>
                    </a:lnTo>
                    <a:lnTo>
                      <a:pt x="20" y="548"/>
                    </a:lnTo>
                    <a:lnTo>
                      <a:pt x="20" y="544"/>
                    </a:lnTo>
                    <a:lnTo>
                      <a:pt x="18" y="544"/>
                    </a:lnTo>
                    <a:lnTo>
                      <a:pt x="16" y="544"/>
                    </a:lnTo>
                    <a:lnTo>
                      <a:pt x="14" y="542"/>
                    </a:lnTo>
                    <a:lnTo>
                      <a:pt x="12" y="542"/>
                    </a:lnTo>
                    <a:lnTo>
                      <a:pt x="12" y="541"/>
                    </a:lnTo>
                    <a:lnTo>
                      <a:pt x="12" y="539"/>
                    </a:lnTo>
                    <a:lnTo>
                      <a:pt x="14" y="539"/>
                    </a:lnTo>
                    <a:lnTo>
                      <a:pt x="14" y="533"/>
                    </a:lnTo>
                    <a:lnTo>
                      <a:pt x="14" y="531"/>
                    </a:lnTo>
                    <a:lnTo>
                      <a:pt x="16" y="531"/>
                    </a:lnTo>
                    <a:lnTo>
                      <a:pt x="16" y="529"/>
                    </a:lnTo>
                    <a:lnTo>
                      <a:pt x="18" y="529"/>
                    </a:lnTo>
                    <a:lnTo>
                      <a:pt x="18" y="531"/>
                    </a:lnTo>
                    <a:lnTo>
                      <a:pt x="18" y="529"/>
                    </a:lnTo>
                    <a:lnTo>
                      <a:pt x="20" y="529"/>
                    </a:lnTo>
                    <a:lnTo>
                      <a:pt x="20" y="527"/>
                    </a:lnTo>
                    <a:lnTo>
                      <a:pt x="20" y="525"/>
                    </a:lnTo>
                    <a:lnTo>
                      <a:pt x="20" y="523"/>
                    </a:lnTo>
                    <a:lnTo>
                      <a:pt x="21" y="523"/>
                    </a:lnTo>
                    <a:lnTo>
                      <a:pt x="23" y="523"/>
                    </a:lnTo>
                    <a:lnTo>
                      <a:pt x="23" y="525"/>
                    </a:lnTo>
                    <a:lnTo>
                      <a:pt x="25" y="525"/>
                    </a:lnTo>
                    <a:lnTo>
                      <a:pt x="25" y="527"/>
                    </a:lnTo>
                    <a:lnTo>
                      <a:pt x="27" y="525"/>
                    </a:lnTo>
                    <a:lnTo>
                      <a:pt x="29" y="525"/>
                    </a:lnTo>
                    <a:lnTo>
                      <a:pt x="31" y="525"/>
                    </a:lnTo>
                    <a:lnTo>
                      <a:pt x="33" y="523"/>
                    </a:lnTo>
                    <a:lnTo>
                      <a:pt x="33" y="521"/>
                    </a:lnTo>
                    <a:lnTo>
                      <a:pt x="33" y="519"/>
                    </a:lnTo>
                    <a:lnTo>
                      <a:pt x="35" y="519"/>
                    </a:lnTo>
                    <a:lnTo>
                      <a:pt x="35" y="521"/>
                    </a:lnTo>
                    <a:lnTo>
                      <a:pt x="37" y="523"/>
                    </a:lnTo>
                    <a:lnTo>
                      <a:pt x="37" y="525"/>
                    </a:lnTo>
                    <a:lnTo>
                      <a:pt x="39" y="527"/>
                    </a:lnTo>
                    <a:lnTo>
                      <a:pt x="41" y="527"/>
                    </a:lnTo>
                    <a:lnTo>
                      <a:pt x="41" y="529"/>
                    </a:lnTo>
                    <a:lnTo>
                      <a:pt x="43" y="529"/>
                    </a:lnTo>
                    <a:lnTo>
                      <a:pt x="43" y="527"/>
                    </a:lnTo>
                    <a:lnTo>
                      <a:pt x="45" y="527"/>
                    </a:lnTo>
                    <a:lnTo>
                      <a:pt x="46" y="529"/>
                    </a:lnTo>
                    <a:lnTo>
                      <a:pt x="48" y="529"/>
                    </a:lnTo>
                    <a:lnTo>
                      <a:pt x="48" y="527"/>
                    </a:lnTo>
                    <a:lnTo>
                      <a:pt x="46" y="527"/>
                    </a:lnTo>
                    <a:lnTo>
                      <a:pt x="46" y="525"/>
                    </a:lnTo>
                    <a:lnTo>
                      <a:pt x="48" y="523"/>
                    </a:lnTo>
                    <a:lnTo>
                      <a:pt x="50" y="523"/>
                    </a:lnTo>
                    <a:lnTo>
                      <a:pt x="52" y="521"/>
                    </a:lnTo>
                    <a:lnTo>
                      <a:pt x="54" y="521"/>
                    </a:lnTo>
                    <a:lnTo>
                      <a:pt x="54" y="519"/>
                    </a:lnTo>
                    <a:lnTo>
                      <a:pt x="56" y="519"/>
                    </a:lnTo>
                    <a:lnTo>
                      <a:pt x="58" y="517"/>
                    </a:lnTo>
                    <a:lnTo>
                      <a:pt x="60" y="516"/>
                    </a:lnTo>
                    <a:lnTo>
                      <a:pt x="62" y="514"/>
                    </a:lnTo>
                    <a:lnTo>
                      <a:pt x="62" y="512"/>
                    </a:lnTo>
                    <a:lnTo>
                      <a:pt x="64" y="512"/>
                    </a:lnTo>
                    <a:lnTo>
                      <a:pt x="64" y="510"/>
                    </a:lnTo>
                    <a:lnTo>
                      <a:pt x="66" y="508"/>
                    </a:lnTo>
                    <a:lnTo>
                      <a:pt x="68" y="508"/>
                    </a:lnTo>
                    <a:lnTo>
                      <a:pt x="70" y="508"/>
                    </a:lnTo>
                    <a:lnTo>
                      <a:pt x="71" y="508"/>
                    </a:lnTo>
                    <a:lnTo>
                      <a:pt x="73" y="508"/>
                    </a:lnTo>
                    <a:lnTo>
                      <a:pt x="75" y="508"/>
                    </a:lnTo>
                    <a:lnTo>
                      <a:pt x="77" y="508"/>
                    </a:lnTo>
                    <a:lnTo>
                      <a:pt x="79" y="508"/>
                    </a:lnTo>
                    <a:lnTo>
                      <a:pt x="81" y="508"/>
                    </a:lnTo>
                    <a:lnTo>
                      <a:pt x="81" y="510"/>
                    </a:lnTo>
                    <a:lnTo>
                      <a:pt x="81" y="512"/>
                    </a:lnTo>
                    <a:lnTo>
                      <a:pt x="83" y="512"/>
                    </a:lnTo>
                    <a:lnTo>
                      <a:pt x="85" y="512"/>
                    </a:lnTo>
                    <a:lnTo>
                      <a:pt x="87" y="512"/>
                    </a:lnTo>
                    <a:lnTo>
                      <a:pt x="89" y="512"/>
                    </a:lnTo>
                    <a:lnTo>
                      <a:pt x="91" y="512"/>
                    </a:lnTo>
                    <a:lnTo>
                      <a:pt x="93" y="510"/>
                    </a:lnTo>
                    <a:lnTo>
                      <a:pt x="93" y="508"/>
                    </a:lnTo>
                    <a:lnTo>
                      <a:pt x="94" y="508"/>
                    </a:lnTo>
                    <a:lnTo>
                      <a:pt x="94" y="506"/>
                    </a:lnTo>
                    <a:lnTo>
                      <a:pt x="96" y="506"/>
                    </a:lnTo>
                    <a:lnTo>
                      <a:pt x="96" y="504"/>
                    </a:lnTo>
                    <a:lnTo>
                      <a:pt x="96" y="502"/>
                    </a:lnTo>
                    <a:lnTo>
                      <a:pt x="96" y="500"/>
                    </a:lnTo>
                    <a:lnTo>
                      <a:pt x="94" y="500"/>
                    </a:lnTo>
                    <a:lnTo>
                      <a:pt x="96" y="498"/>
                    </a:lnTo>
                    <a:lnTo>
                      <a:pt x="98" y="494"/>
                    </a:lnTo>
                    <a:lnTo>
                      <a:pt x="100" y="494"/>
                    </a:lnTo>
                    <a:lnTo>
                      <a:pt x="100" y="492"/>
                    </a:lnTo>
                    <a:lnTo>
                      <a:pt x="100" y="491"/>
                    </a:lnTo>
                    <a:lnTo>
                      <a:pt x="102" y="489"/>
                    </a:lnTo>
                    <a:lnTo>
                      <a:pt x="104" y="487"/>
                    </a:lnTo>
                    <a:lnTo>
                      <a:pt x="106" y="487"/>
                    </a:lnTo>
                    <a:lnTo>
                      <a:pt x="108" y="485"/>
                    </a:lnTo>
                    <a:lnTo>
                      <a:pt x="110" y="483"/>
                    </a:lnTo>
                    <a:lnTo>
                      <a:pt x="112" y="483"/>
                    </a:lnTo>
                    <a:lnTo>
                      <a:pt x="114" y="483"/>
                    </a:lnTo>
                    <a:lnTo>
                      <a:pt x="116" y="481"/>
                    </a:lnTo>
                    <a:lnTo>
                      <a:pt x="118" y="479"/>
                    </a:lnTo>
                    <a:lnTo>
                      <a:pt x="119" y="477"/>
                    </a:lnTo>
                    <a:lnTo>
                      <a:pt x="119" y="475"/>
                    </a:lnTo>
                    <a:lnTo>
                      <a:pt x="121" y="475"/>
                    </a:lnTo>
                    <a:lnTo>
                      <a:pt x="123" y="473"/>
                    </a:lnTo>
                    <a:lnTo>
                      <a:pt x="123" y="471"/>
                    </a:lnTo>
                    <a:lnTo>
                      <a:pt x="123" y="469"/>
                    </a:lnTo>
                    <a:lnTo>
                      <a:pt x="123" y="467"/>
                    </a:lnTo>
                    <a:lnTo>
                      <a:pt x="125" y="466"/>
                    </a:lnTo>
                    <a:lnTo>
                      <a:pt x="125" y="464"/>
                    </a:lnTo>
                    <a:lnTo>
                      <a:pt x="127" y="464"/>
                    </a:lnTo>
                    <a:lnTo>
                      <a:pt x="127" y="462"/>
                    </a:lnTo>
                    <a:lnTo>
                      <a:pt x="127" y="460"/>
                    </a:lnTo>
                    <a:lnTo>
                      <a:pt x="129" y="458"/>
                    </a:lnTo>
                    <a:lnTo>
                      <a:pt x="127" y="458"/>
                    </a:lnTo>
                    <a:lnTo>
                      <a:pt x="127" y="456"/>
                    </a:lnTo>
                    <a:lnTo>
                      <a:pt x="129" y="456"/>
                    </a:lnTo>
                    <a:lnTo>
                      <a:pt x="131" y="456"/>
                    </a:lnTo>
                    <a:lnTo>
                      <a:pt x="131" y="454"/>
                    </a:lnTo>
                    <a:lnTo>
                      <a:pt x="131" y="452"/>
                    </a:lnTo>
                    <a:lnTo>
                      <a:pt x="131" y="450"/>
                    </a:lnTo>
                    <a:lnTo>
                      <a:pt x="133" y="450"/>
                    </a:lnTo>
                    <a:lnTo>
                      <a:pt x="135" y="450"/>
                    </a:lnTo>
                    <a:lnTo>
                      <a:pt x="135" y="448"/>
                    </a:lnTo>
                    <a:lnTo>
                      <a:pt x="137" y="450"/>
                    </a:lnTo>
                    <a:lnTo>
                      <a:pt x="137" y="452"/>
                    </a:lnTo>
                    <a:lnTo>
                      <a:pt x="139" y="452"/>
                    </a:lnTo>
                    <a:lnTo>
                      <a:pt x="141" y="452"/>
                    </a:lnTo>
                    <a:lnTo>
                      <a:pt x="143" y="452"/>
                    </a:lnTo>
                    <a:lnTo>
                      <a:pt x="143" y="454"/>
                    </a:lnTo>
                    <a:lnTo>
                      <a:pt x="144" y="452"/>
                    </a:lnTo>
                    <a:lnTo>
                      <a:pt x="146" y="452"/>
                    </a:lnTo>
                    <a:lnTo>
                      <a:pt x="146" y="450"/>
                    </a:lnTo>
                    <a:lnTo>
                      <a:pt x="146" y="448"/>
                    </a:lnTo>
                    <a:lnTo>
                      <a:pt x="146" y="446"/>
                    </a:lnTo>
                    <a:lnTo>
                      <a:pt x="146" y="444"/>
                    </a:lnTo>
                    <a:lnTo>
                      <a:pt x="148" y="442"/>
                    </a:lnTo>
                    <a:lnTo>
                      <a:pt x="150" y="442"/>
                    </a:lnTo>
                    <a:lnTo>
                      <a:pt x="152" y="442"/>
                    </a:lnTo>
                    <a:lnTo>
                      <a:pt x="154" y="442"/>
                    </a:lnTo>
                    <a:lnTo>
                      <a:pt x="156" y="442"/>
                    </a:lnTo>
                    <a:lnTo>
                      <a:pt x="158" y="441"/>
                    </a:lnTo>
                    <a:lnTo>
                      <a:pt x="160" y="441"/>
                    </a:lnTo>
                    <a:lnTo>
                      <a:pt x="160" y="442"/>
                    </a:lnTo>
                    <a:lnTo>
                      <a:pt x="162" y="441"/>
                    </a:lnTo>
                    <a:lnTo>
                      <a:pt x="162" y="439"/>
                    </a:lnTo>
                    <a:lnTo>
                      <a:pt x="164" y="439"/>
                    </a:lnTo>
                    <a:lnTo>
                      <a:pt x="164" y="437"/>
                    </a:lnTo>
                    <a:lnTo>
                      <a:pt x="166" y="437"/>
                    </a:lnTo>
                    <a:lnTo>
                      <a:pt x="166" y="435"/>
                    </a:lnTo>
                    <a:lnTo>
                      <a:pt x="167" y="433"/>
                    </a:lnTo>
                    <a:lnTo>
                      <a:pt x="167" y="431"/>
                    </a:lnTo>
                    <a:lnTo>
                      <a:pt x="169" y="431"/>
                    </a:lnTo>
                    <a:lnTo>
                      <a:pt x="171" y="429"/>
                    </a:lnTo>
                    <a:lnTo>
                      <a:pt x="175" y="429"/>
                    </a:lnTo>
                    <a:lnTo>
                      <a:pt x="179" y="429"/>
                    </a:lnTo>
                    <a:lnTo>
                      <a:pt x="179" y="427"/>
                    </a:lnTo>
                    <a:lnTo>
                      <a:pt x="181" y="427"/>
                    </a:lnTo>
                    <a:lnTo>
                      <a:pt x="181" y="429"/>
                    </a:lnTo>
                    <a:lnTo>
                      <a:pt x="183" y="429"/>
                    </a:lnTo>
                    <a:lnTo>
                      <a:pt x="183" y="427"/>
                    </a:lnTo>
                    <a:lnTo>
                      <a:pt x="183" y="425"/>
                    </a:lnTo>
                    <a:lnTo>
                      <a:pt x="183" y="423"/>
                    </a:lnTo>
                    <a:lnTo>
                      <a:pt x="185" y="421"/>
                    </a:lnTo>
                    <a:lnTo>
                      <a:pt x="185" y="419"/>
                    </a:lnTo>
                    <a:lnTo>
                      <a:pt x="187" y="419"/>
                    </a:lnTo>
                    <a:lnTo>
                      <a:pt x="187" y="417"/>
                    </a:lnTo>
                    <a:lnTo>
                      <a:pt x="189" y="417"/>
                    </a:lnTo>
                    <a:lnTo>
                      <a:pt x="191" y="416"/>
                    </a:lnTo>
                    <a:lnTo>
                      <a:pt x="191" y="414"/>
                    </a:lnTo>
                    <a:lnTo>
                      <a:pt x="192" y="414"/>
                    </a:lnTo>
                    <a:lnTo>
                      <a:pt x="192" y="416"/>
                    </a:lnTo>
                    <a:lnTo>
                      <a:pt x="194" y="414"/>
                    </a:lnTo>
                    <a:lnTo>
                      <a:pt x="194" y="412"/>
                    </a:lnTo>
                    <a:lnTo>
                      <a:pt x="196" y="412"/>
                    </a:lnTo>
                    <a:lnTo>
                      <a:pt x="196" y="410"/>
                    </a:lnTo>
                    <a:lnTo>
                      <a:pt x="196" y="408"/>
                    </a:lnTo>
                    <a:lnTo>
                      <a:pt x="198" y="408"/>
                    </a:lnTo>
                    <a:lnTo>
                      <a:pt x="198" y="406"/>
                    </a:lnTo>
                    <a:lnTo>
                      <a:pt x="198" y="404"/>
                    </a:lnTo>
                    <a:lnTo>
                      <a:pt x="198" y="402"/>
                    </a:lnTo>
                    <a:lnTo>
                      <a:pt x="200" y="402"/>
                    </a:lnTo>
                    <a:lnTo>
                      <a:pt x="198" y="402"/>
                    </a:lnTo>
                    <a:lnTo>
                      <a:pt x="200" y="400"/>
                    </a:lnTo>
                    <a:lnTo>
                      <a:pt x="200" y="398"/>
                    </a:lnTo>
                    <a:lnTo>
                      <a:pt x="198" y="396"/>
                    </a:lnTo>
                    <a:lnTo>
                      <a:pt x="198" y="394"/>
                    </a:lnTo>
                    <a:lnTo>
                      <a:pt x="198" y="392"/>
                    </a:lnTo>
                    <a:lnTo>
                      <a:pt x="200" y="391"/>
                    </a:lnTo>
                    <a:lnTo>
                      <a:pt x="200" y="389"/>
                    </a:lnTo>
                    <a:lnTo>
                      <a:pt x="200" y="387"/>
                    </a:lnTo>
                    <a:lnTo>
                      <a:pt x="200" y="385"/>
                    </a:lnTo>
                    <a:lnTo>
                      <a:pt x="202" y="385"/>
                    </a:lnTo>
                    <a:lnTo>
                      <a:pt x="202" y="383"/>
                    </a:lnTo>
                    <a:lnTo>
                      <a:pt x="200" y="383"/>
                    </a:lnTo>
                    <a:lnTo>
                      <a:pt x="198" y="383"/>
                    </a:lnTo>
                    <a:lnTo>
                      <a:pt x="198" y="381"/>
                    </a:lnTo>
                    <a:lnTo>
                      <a:pt x="196" y="381"/>
                    </a:lnTo>
                    <a:lnTo>
                      <a:pt x="196" y="383"/>
                    </a:lnTo>
                    <a:lnTo>
                      <a:pt x="194" y="383"/>
                    </a:lnTo>
                    <a:lnTo>
                      <a:pt x="192" y="383"/>
                    </a:lnTo>
                    <a:lnTo>
                      <a:pt x="192" y="381"/>
                    </a:lnTo>
                    <a:lnTo>
                      <a:pt x="194" y="381"/>
                    </a:lnTo>
                    <a:lnTo>
                      <a:pt x="194" y="379"/>
                    </a:lnTo>
                    <a:lnTo>
                      <a:pt x="194" y="377"/>
                    </a:lnTo>
                    <a:lnTo>
                      <a:pt x="194" y="375"/>
                    </a:lnTo>
                    <a:lnTo>
                      <a:pt x="192" y="375"/>
                    </a:lnTo>
                    <a:lnTo>
                      <a:pt x="191" y="375"/>
                    </a:lnTo>
                    <a:lnTo>
                      <a:pt x="189" y="375"/>
                    </a:lnTo>
                    <a:lnTo>
                      <a:pt x="189" y="373"/>
                    </a:lnTo>
                    <a:lnTo>
                      <a:pt x="187" y="373"/>
                    </a:lnTo>
                    <a:lnTo>
                      <a:pt x="185" y="373"/>
                    </a:lnTo>
                    <a:lnTo>
                      <a:pt x="185" y="371"/>
                    </a:lnTo>
                    <a:lnTo>
                      <a:pt x="183" y="371"/>
                    </a:lnTo>
                    <a:lnTo>
                      <a:pt x="183" y="369"/>
                    </a:lnTo>
                    <a:lnTo>
                      <a:pt x="183" y="367"/>
                    </a:lnTo>
                    <a:lnTo>
                      <a:pt x="183" y="366"/>
                    </a:lnTo>
                    <a:lnTo>
                      <a:pt x="181" y="366"/>
                    </a:lnTo>
                    <a:lnTo>
                      <a:pt x="179" y="364"/>
                    </a:lnTo>
                    <a:lnTo>
                      <a:pt x="177" y="362"/>
                    </a:lnTo>
                    <a:lnTo>
                      <a:pt x="179" y="362"/>
                    </a:lnTo>
                    <a:lnTo>
                      <a:pt x="177" y="360"/>
                    </a:lnTo>
                    <a:lnTo>
                      <a:pt x="177" y="358"/>
                    </a:lnTo>
                    <a:lnTo>
                      <a:pt x="179" y="356"/>
                    </a:lnTo>
                    <a:lnTo>
                      <a:pt x="179" y="354"/>
                    </a:lnTo>
                    <a:lnTo>
                      <a:pt x="177" y="352"/>
                    </a:lnTo>
                    <a:lnTo>
                      <a:pt x="175" y="350"/>
                    </a:lnTo>
                    <a:lnTo>
                      <a:pt x="173" y="350"/>
                    </a:lnTo>
                    <a:lnTo>
                      <a:pt x="175" y="350"/>
                    </a:lnTo>
                    <a:lnTo>
                      <a:pt x="175" y="348"/>
                    </a:lnTo>
                    <a:lnTo>
                      <a:pt x="177" y="348"/>
                    </a:lnTo>
                    <a:lnTo>
                      <a:pt x="177" y="346"/>
                    </a:lnTo>
                    <a:lnTo>
                      <a:pt x="179" y="346"/>
                    </a:lnTo>
                    <a:lnTo>
                      <a:pt x="179" y="344"/>
                    </a:lnTo>
                    <a:lnTo>
                      <a:pt x="179" y="346"/>
                    </a:lnTo>
                    <a:lnTo>
                      <a:pt x="179" y="344"/>
                    </a:lnTo>
                    <a:lnTo>
                      <a:pt x="179" y="342"/>
                    </a:lnTo>
                    <a:lnTo>
                      <a:pt x="179" y="341"/>
                    </a:lnTo>
                    <a:lnTo>
                      <a:pt x="181" y="341"/>
                    </a:lnTo>
                    <a:lnTo>
                      <a:pt x="181" y="339"/>
                    </a:lnTo>
                    <a:lnTo>
                      <a:pt x="183" y="339"/>
                    </a:lnTo>
                    <a:lnTo>
                      <a:pt x="183" y="337"/>
                    </a:lnTo>
                    <a:lnTo>
                      <a:pt x="185" y="337"/>
                    </a:lnTo>
                    <a:lnTo>
                      <a:pt x="185" y="339"/>
                    </a:lnTo>
                    <a:lnTo>
                      <a:pt x="187" y="339"/>
                    </a:lnTo>
                    <a:lnTo>
                      <a:pt x="187" y="337"/>
                    </a:lnTo>
                    <a:lnTo>
                      <a:pt x="189" y="337"/>
                    </a:lnTo>
                    <a:lnTo>
                      <a:pt x="191" y="337"/>
                    </a:lnTo>
                    <a:lnTo>
                      <a:pt x="191" y="335"/>
                    </a:lnTo>
                    <a:lnTo>
                      <a:pt x="191" y="333"/>
                    </a:lnTo>
                    <a:lnTo>
                      <a:pt x="191" y="331"/>
                    </a:lnTo>
                    <a:lnTo>
                      <a:pt x="192" y="331"/>
                    </a:lnTo>
                    <a:lnTo>
                      <a:pt x="194" y="331"/>
                    </a:lnTo>
                    <a:lnTo>
                      <a:pt x="196" y="331"/>
                    </a:lnTo>
                    <a:lnTo>
                      <a:pt x="196" y="329"/>
                    </a:lnTo>
                    <a:lnTo>
                      <a:pt x="196" y="327"/>
                    </a:lnTo>
                    <a:lnTo>
                      <a:pt x="196" y="325"/>
                    </a:lnTo>
                    <a:lnTo>
                      <a:pt x="196" y="323"/>
                    </a:lnTo>
                    <a:lnTo>
                      <a:pt x="198" y="323"/>
                    </a:lnTo>
                    <a:lnTo>
                      <a:pt x="200" y="323"/>
                    </a:lnTo>
                    <a:lnTo>
                      <a:pt x="200" y="321"/>
                    </a:lnTo>
                    <a:lnTo>
                      <a:pt x="202" y="321"/>
                    </a:lnTo>
                    <a:lnTo>
                      <a:pt x="202" y="319"/>
                    </a:lnTo>
                    <a:lnTo>
                      <a:pt x="204" y="319"/>
                    </a:lnTo>
                    <a:lnTo>
                      <a:pt x="206" y="319"/>
                    </a:lnTo>
                    <a:lnTo>
                      <a:pt x="206" y="317"/>
                    </a:lnTo>
                    <a:lnTo>
                      <a:pt x="208" y="317"/>
                    </a:lnTo>
                    <a:lnTo>
                      <a:pt x="208" y="316"/>
                    </a:lnTo>
                    <a:lnTo>
                      <a:pt x="210" y="316"/>
                    </a:lnTo>
                    <a:lnTo>
                      <a:pt x="210" y="314"/>
                    </a:lnTo>
                    <a:lnTo>
                      <a:pt x="210" y="312"/>
                    </a:lnTo>
                    <a:lnTo>
                      <a:pt x="210" y="314"/>
                    </a:lnTo>
                    <a:lnTo>
                      <a:pt x="210" y="312"/>
                    </a:lnTo>
                    <a:lnTo>
                      <a:pt x="210" y="310"/>
                    </a:lnTo>
                    <a:lnTo>
                      <a:pt x="210" y="308"/>
                    </a:lnTo>
                    <a:lnTo>
                      <a:pt x="212" y="308"/>
                    </a:lnTo>
                    <a:lnTo>
                      <a:pt x="212" y="306"/>
                    </a:lnTo>
                    <a:lnTo>
                      <a:pt x="214" y="306"/>
                    </a:lnTo>
                    <a:lnTo>
                      <a:pt x="214" y="304"/>
                    </a:lnTo>
                    <a:lnTo>
                      <a:pt x="214" y="302"/>
                    </a:lnTo>
                    <a:lnTo>
                      <a:pt x="212" y="300"/>
                    </a:lnTo>
                    <a:lnTo>
                      <a:pt x="214" y="300"/>
                    </a:lnTo>
                    <a:lnTo>
                      <a:pt x="216" y="300"/>
                    </a:lnTo>
                    <a:lnTo>
                      <a:pt x="216" y="298"/>
                    </a:lnTo>
                    <a:lnTo>
                      <a:pt x="216" y="296"/>
                    </a:lnTo>
                    <a:lnTo>
                      <a:pt x="217" y="296"/>
                    </a:lnTo>
                    <a:lnTo>
                      <a:pt x="217" y="294"/>
                    </a:lnTo>
                    <a:lnTo>
                      <a:pt x="219" y="294"/>
                    </a:lnTo>
                    <a:lnTo>
                      <a:pt x="219" y="292"/>
                    </a:lnTo>
                    <a:lnTo>
                      <a:pt x="221" y="292"/>
                    </a:lnTo>
                    <a:lnTo>
                      <a:pt x="221" y="291"/>
                    </a:lnTo>
                    <a:lnTo>
                      <a:pt x="221" y="289"/>
                    </a:lnTo>
                    <a:lnTo>
                      <a:pt x="221" y="287"/>
                    </a:lnTo>
                    <a:lnTo>
                      <a:pt x="223" y="285"/>
                    </a:lnTo>
                    <a:lnTo>
                      <a:pt x="223" y="283"/>
                    </a:lnTo>
                    <a:lnTo>
                      <a:pt x="225" y="283"/>
                    </a:lnTo>
                    <a:lnTo>
                      <a:pt x="225" y="281"/>
                    </a:lnTo>
                    <a:lnTo>
                      <a:pt x="227" y="281"/>
                    </a:lnTo>
                    <a:lnTo>
                      <a:pt x="229" y="279"/>
                    </a:lnTo>
                    <a:lnTo>
                      <a:pt x="229" y="281"/>
                    </a:lnTo>
                    <a:lnTo>
                      <a:pt x="229" y="279"/>
                    </a:lnTo>
                    <a:lnTo>
                      <a:pt x="231" y="279"/>
                    </a:lnTo>
                    <a:lnTo>
                      <a:pt x="231" y="277"/>
                    </a:lnTo>
                    <a:lnTo>
                      <a:pt x="233" y="277"/>
                    </a:lnTo>
                    <a:lnTo>
                      <a:pt x="235" y="277"/>
                    </a:lnTo>
                    <a:lnTo>
                      <a:pt x="237" y="277"/>
                    </a:lnTo>
                    <a:lnTo>
                      <a:pt x="237" y="275"/>
                    </a:lnTo>
                    <a:lnTo>
                      <a:pt x="239" y="275"/>
                    </a:lnTo>
                    <a:lnTo>
                      <a:pt x="240" y="275"/>
                    </a:lnTo>
                    <a:lnTo>
                      <a:pt x="240" y="273"/>
                    </a:lnTo>
                    <a:lnTo>
                      <a:pt x="242" y="271"/>
                    </a:lnTo>
                    <a:lnTo>
                      <a:pt x="242" y="273"/>
                    </a:lnTo>
                    <a:lnTo>
                      <a:pt x="244" y="273"/>
                    </a:lnTo>
                    <a:lnTo>
                      <a:pt x="244" y="271"/>
                    </a:lnTo>
                    <a:lnTo>
                      <a:pt x="246" y="271"/>
                    </a:lnTo>
                    <a:lnTo>
                      <a:pt x="246" y="273"/>
                    </a:lnTo>
                    <a:lnTo>
                      <a:pt x="246" y="271"/>
                    </a:lnTo>
                    <a:lnTo>
                      <a:pt x="248" y="271"/>
                    </a:lnTo>
                    <a:lnTo>
                      <a:pt x="250" y="271"/>
                    </a:lnTo>
                    <a:lnTo>
                      <a:pt x="250" y="273"/>
                    </a:lnTo>
                    <a:lnTo>
                      <a:pt x="250" y="271"/>
                    </a:lnTo>
                    <a:lnTo>
                      <a:pt x="252" y="271"/>
                    </a:lnTo>
                    <a:lnTo>
                      <a:pt x="252" y="273"/>
                    </a:lnTo>
                    <a:lnTo>
                      <a:pt x="254" y="273"/>
                    </a:lnTo>
                    <a:lnTo>
                      <a:pt x="254" y="271"/>
                    </a:lnTo>
                    <a:lnTo>
                      <a:pt x="252" y="271"/>
                    </a:lnTo>
                    <a:lnTo>
                      <a:pt x="252" y="269"/>
                    </a:lnTo>
                    <a:lnTo>
                      <a:pt x="254" y="269"/>
                    </a:lnTo>
                    <a:lnTo>
                      <a:pt x="256" y="269"/>
                    </a:lnTo>
                    <a:lnTo>
                      <a:pt x="256" y="268"/>
                    </a:lnTo>
                    <a:lnTo>
                      <a:pt x="256" y="269"/>
                    </a:lnTo>
                    <a:lnTo>
                      <a:pt x="258" y="269"/>
                    </a:lnTo>
                    <a:lnTo>
                      <a:pt x="258" y="268"/>
                    </a:lnTo>
                    <a:lnTo>
                      <a:pt x="260" y="268"/>
                    </a:lnTo>
                    <a:lnTo>
                      <a:pt x="260" y="266"/>
                    </a:lnTo>
                    <a:lnTo>
                      <a:pt x="258" y="266"/>
                    </a:lnTo>
                    <a:lnTo>
                      <a:pt x="258" y="264"/>
                    </a:lnTo>
                    <a:lnTo>
                      <a:pt x="260" y="264"/>
                    </a:lnTo>
                    <a:lnTo>
                      <a:pt x="260" y="262"/>
                    </a:lnTo>
                    <a:lnTo>
                      <a:pt x="258" y="260"/>
                    </a:lnTo>
                    <a:lnTo>
                      <a:pt x="260" y="260"/>
                    </a:lnTo>
                    <a:lnTo>
                      <a:pt x="258" y="258"/>
                    </a:lnTo>
                    <a:lnTo>
                      <a:pt x="260" y="256"/>
                    </a:lnTo>
                    <a:lnTo>
                      <a:pt x="260" y="254"/>
                    </a:lnTo>
                    <a:lnTo>
                      <a:pt x="262" y="254"/>
                    </a:lnTo>
                    <a:lnTo>
                      <a:pt x="262" y="252"/>
                    </a:lnTo>
                    <a:lnTo>
                      <a:pt x="260" y="252"/>
                    </a:lnTo>
                    <a:lnTo>
                      <a:pt x="260" y="250"/>
                    </a:lnTo>
                    <a:lnTo>
                      <a:pt x="260" y="248"/>
                    </a:lnTo>
                    <a:lnTo>
                      <a:pt x="262" y="248"/>
                    </a:lnTo>
                    <a:lnTo>
                      <a:pt x="262" y="246"/>
                    </a:lnTo>
                    <a:lnTo>
                      <a:pt x="260" y="246"/>
                    </a:lnTo>
                    <a:lnTo>
                      <a:pt x="262" y="246"/>
                    </a:lnTo>
                    <a:lnTo>
                      <a:pt x="262" y="244"/>
                    </a:lnTo>
                    <a:lnTo>
                      <a:pt x="260" y="244"/>
                    </a:lnTo>
                    <a:lnTo>
                      <a:pt x="260" y="243"/>
                    </a:lnTo>
                    <a:lnTo>
                      <a:pt x="260" y="241"/>
                    </a:lnTo>
                    <a:lnTo>
                      <a:pt x="258" y="241"/>
                    </a:lnTo>
                    <a:lnTo>
                      <a:pt x="258" y="239"/>
                    </a:lnTo>
                    <a:lnTo>
                      <a:pt x="258" y="237"/>
                    </a:lnTo>
                    <a:lnTo>
                      <a:pt x="256" y="237"/>
                    </a:lnTo>
                    <a:lnTo>
                      <a:pt x="258" y="237"/>
                    </a:lnTo>
                    <a:lnTo>
                      <a:pt x="258" y="235"/>
                    </a:lnTo>
                    <a:lnTo>
                      <a:pt x="256" y="235"/>
                    </a:lnTo>
                    <a:lnTo>
                      <a:pt x="256" y="237"/>
                    </a:lnTo>
                    <a:lnTo>
                      <a:pt x="256" y="235"/>
                    </a:lnTo>
                    <a:lnTo>
                      <a:pt x="256" y="233"/>
                    </a:lnTo>
                    <a:lnTo>
                      <a:pt x="256" y="231"/>
                    </a:lnTo>
                    <a:lnTo>
                      <a:pt x="254" y="231"/>
                    </a:lnTo>
                    <a:lnTo>
                      <a:pt x="254" y="229"/>
                    </a:lnTo>
                    <a:lnTo>
                      <a:pt x="252" y="229"/>
                    </a:lnTo>
                    <a:lnTo>
                      <a:pt x="252" y="227"/>
                    </a:lnTo>
                    <a:lnTo>
                      <a:pt x="250" y="227"/>
                    </a:lnTo>
                    <a:lnTo>
                      <a:pt x="248" y="227"/>
                    </a:lnTo>
                    <a:lnTo>
                      <a:pt x="246" y="227"/>
                    </a:lnTo>
                    <a:lnTo>
                      <a:pt x="246" y="225"/>
                    </a:lnTo>
                    <a:lnTo>
                      <a:pt x="244" y="223"/>
                    </a:lnTo>
                    <a:lnTo>
                      <a:pt x="242" y="223"/>
                    </a:lnTo>
                    <a:lnTo>
                      <a:pt x="240" y="221"/>
                    </a:lnTo>
                    <a:lnTo>
                      <a:pt x="239" y="221"/>
                    </a:lnTo>
                    <a:lnTo>
                      <a:pt x="239" y="219"/>
                    </a:lnTo>
                    <a:lnTo>
                      <a:pt x="240" y="219"/>
                    </a:lnTo>
                    <a:lnTo>
                      <a:pt x="239" y="219"/>
                    </a:lnTo>
                    <a:lnTo>
                      <a:pt x="239" y="218"/>
                    </a:lnTo>
                    <a:lnTo>
                      <a:pt x="239" y="216"/>
                    </a:lnTo>
                    <a:lnTo>
                      <a:pt x="237" y="216"/>
                    </a:lnTo>
                    <a:lnTo>
                      <a:pt x="237" y="214"/>
                    </a:lnTo>
                    <a:lnTo>
                      <a:pt x="235" y="214"/>
                    </a:lnTo>
                    <a:lnTo>
                      <a:pt x="235" y="212"/>
                    </a:lnTo>
                    <a:lnTo>
                      <a:pt x="235" y="214"/>
                    </a:lnTo>
                    <a:lnTo>
                      <a:pt x="233" y="214"/>
                    </a:lnTo>
                    <a:lnTo>
                      <a:pt x="231" y="216"/>
                    </a:lnTo>
                    <a:lnTo>
                      <a:pt x="229" y="216"/>
                    </a:lnTo>
                    <a:lnTo>
                      <a:pt x="227" y="216"/>
                    </a:lnTo>
                    <a:lnTo>
                      <a:pt x="227" y="218"/>
                    </a:lnTo>
                    <a:lnTo>
                      <a:pt x="227" y="216"/>
                    </a:lnTo>
                    <a:lnTo>
                      <a:pt x="225" y="216"/>
                    </a:lnTo>
                    <a:lnTo>
                      <a:pt x="225" y="214"/>
                    </a:lnTo>
                    <a:lnTo>
                      <a:pt x="225" y="216"/>
                    </a:lnTo>
                    <a:lnTo>
                      <a:pt x="223" y="216"/>
                    </a:lnTo>
                    <a:lnTo>
                      <a:pt x="223" y="218"/>
                    </a:lnTo>
                    <a:lnTo>
                      <a:pt x="221" y="216"/>
                    </a:lnTo>
                    <a:lnTo>
                      <a:pt x="219" y="214"/>
                    </a:lnTo>
                    <a:lnTo>
                      <a:pt x="221" y="212"/>
                    </a:lnTo>
                    <a:lnTo>
                      <a:pt x="219" y="210"/>
                    </a:lnTo>
                    <a:lnTo>
                      <a:pt x="217" y="210"/>
                    </a:lnTo>
                    <a:lnTo>
                      <a:pt x="217" y="208"/>
                    </a:lnTo>
                    <a:lnTo>
                      <a:pt x="217" y="206"/>
                    </a:lnTo>
                    <a:lnTo>
                      <a:pt x="217" y="204"/>
                    </a:lnTo>
                    <a:lnTo>
                      <a:pt x="217" y="202"/>
                    </a:lnTo>
                    <a:lnTo>
                      <a:pt x="216" y="202"/>
                    </a:lnTo>
                    <a:lnTo>
                      <a:pt x="216" y="200"/>
                    </a:lnTo>
                    <a:lnTo>
                      <a:pt x="216" y="198"/>
                    </a:lnTo>
                    <a:lnTo>
                      <a:pt x="216" y="196"/>
                    </a:lnTo>
                    <a:lnTo>
                      <a:pt x="214" y="196"/>
                    </a:lnTo>
                    <a:lnTo>
                      <a:pt x="214" y="194"/>
                    </a:lnTo>
                    <a:lnTo>
                      <a:pt x="214" y="193"/>
                    </a:lnTo>
                    <a:lnTo>
                      <a:pt x="212" y="191"/>
                    </a:lnTo>
                    <a:lnTo>
                      <a:pt x="212" y="189"/>
                    </a:lnTo>
                    <a:lnTo>
                      <a:pt x="212" y="187"/>
                    </a:lnTo>
                    <a:lnTo>
                      <a:pt x="212" y="185"/>
                    </a:lnTo>
                    <a:lnTo>
                      <a:pt x="212" y="183"/>
                    </a:lnTo>
                    <a:lnTo>
                      <a:pt x="212" y="181"/>
                    </a:lnTo>
                    <a:lnTo>
                      <a:pt x="212" y="179"/>
                    </a:lnTo>
                    <a:lnTo>
                      <a:pt x="210" y="179"/>
                    </a:lnTo>
                    <a:lnTo>
                      <a:pt x="210" y="177"/>
                    </a:lnTo>
                    <a:lnTo>
                      <a:pt x="208" y="177"/>
                    </a:lnTo>
                    <a:lnTo>
                      <a:pt x="208" y="175"/>
                    </a:lnTo>
                    <a:lnTo>
                      <a:pt x="206" y="175"/>
                    </a:lnTo>
                    <a:lnTo>
                      <a:pt x="206" y="173"/>
                    </a:lnTo>
                    <a:lnTo>
                      <a:pt x="206" y="171"/>
                    </a:lnTo>
                    <a:lnTo>
                      <a:pt x="206" y="169"/>
                    </a:lnTo>
                    <a:lnTo>
                      <a:pt x="204" y="168"/>
                    </a:lnTo>
                    <a:lnTo>
                      <a:pt x="206" y="166"/>
                    </a:lnTo>
                    <a:lnTo>
                      <a:pt x="206" y="164"/>
                    </a:lnTo>
                    <a:lnTo>
                      <a:pt x="204" y="164"/>
                    </a:lnTo>
                    <a:lnTo>
                      <a:pt x="204" y="162"/>
                    </a:lnTo>
                    <a:lnTo>
                      <a:pt x="202" y="162"/>
                    </a:lnTo>
                    <a:lnTo>
                      <a:pt x="202" y="160"/>
                    </a:lnTo>
                    <a:lnTo>
                      <a:pt x="200" y="158"/>
                    </a:lnTo>
                    <a:lnTo>
                      <a:pt x="200" y="156"/>
                    </a:lnTo>
                    <a:lnTo>
                      <a:pt x="200" y="158"/>
                    </a:lnTo>
                    <a:lnTo>
                      <a:pt x="200" y="156"/>
                    </a:lnTo>
                    <a:lnTo>
                      <a:pt x="198" y="156"/>
                    </a:lnTo>
                    <a:lnTo>
                      <a:pt x="200" y="154"/>
                    </a:lnTo>
                    <a:lnTo>
                      <a:pt x="198" y="154"/>
                    </a:lnTo>
                    <a:lnTo>
                      <a:pt x="200" y="154"/>
                    </a:lnTo>
                    <a:lnTo>
                      <a:pt x="198" y="152"/>
                    </a:lnTo>
                    <a:lnTo>
                      <a:pt x="198" y="150"/>
                    </a:lnTo>
                    <a:lnTo>
                      <a:pt x="198" y="148"/>
                    </a:lnTo>
                    <a:lnTo>
                      <a:pt x="200" y="148"/>
                    </a:lnTo>
                    <a:lnTo>
                      <a:pt x="202" y="148"/>
                    </a:lnTo>
                    <a:lnTo>
                      <a:pt x="202" y="146"/>
                    </a:lnTo>
                    <a:lnTo>
                      <a:pt x="200" y="146"/>
                    </a:lnTo>
                    <a:lnTo>
                      <a:pt x="200" y="144"/>
                    </a:lnTo>
                    <a:lnTo>
                      <a:pt x="198" y="144"/>
                    </a:lnTo>
                    <a:lnTo>
                      <a:pt x="196" y="143"/>
                    </a:lnTo>
                    <a:lnTo>
                      <a:pt x="196" y="141"/>
                    </a:lnTo>
                    <a:lnTo>
                      <a:pt x="196" y="139"/>
                    </a:lnTo>
                    <a:lnTo>
                      <a:pt x="194" y="139"/>
                    </a:lnTo>
                    <a:lnTo>
                      <a:pt x="192" y="139"/>
                    </a:lnTo>
                    <a:lnTo>
                      <a:pt x="191" y="139"/>
                    </a:lnTo>
                    <a:lnTo>
                      <a:pt x="189" y="139"/>
                    </a:lnTo>
                    <a:lnTo>
                      <a:pt x="187" y="139"/>
                    </a:lnTo>
                    <a:lnTo>
                      <a:pt x="187" y="137"/>
                    </a:lnTo>
                    <a:lnTo>
                      <a:pt x="187" y="135"/>
                    </a:lnTo>
                    <a:lnTo>
                      <a:pt x="187" y="133"/>
                    </a:lnTo>
                    <a:lnTo>
                      <a:pt x="189" y="133"/>
                    </a:lnTo>
                    <a:lnTo>
                      <a:pt x="189" y="131"/>
                    </a:lnTo>
                    <a:lnTo>
                      <a:pt x="191" y="131"/>
                    </a:lnTo>
                    <a:lnTo>
                      <a:pt x="191" y="129"/>
                    </a:lnTo>
                    <a:lnTo>
                      <a:pt x="191" y="127"/>
                    </a:lnTo>
                    <a:lnTo>
                      <a:pt x="191" y="125"/>
                    </a:lnTo>
                    <a:lnTo>
                      <a:pt x="191" y="123"/>
                    </a:lnTo>
                    <a:lnTo>
                      <a:pt x="189" y="121"/>
                    </a:lnTo>
                    <a:lnTo>
                      <a:pt x="189" y="119"/>
                    </a:lnTo>
                    <a:lnTo>
                      <a:pt x="189" y="118"/>
                    </a:lnTo>
                    <a:lnTo>
                      <a:pt x="189" y="116"/>
                    </a:lnTo>
                    <a:lnTo>
                      <a:pt x="191" y="114"/>
                    </a:lnTo>
                    <a:lnTo>
                      <a:pt x="192" y="112"/>
                    </a:lnTo>
                    <a:lnTo>
                      <a:pt x="194" y="112"/>
                    </a:lnTo>
                    <a:lnTo>
                      <a:pt x="196" y="114"/>
                    </a:lnTo>
                    <a:lnTo>
                      <a:pt x="198" y="114"/>
                    </a:lnTo>
                    <a:lnTo>
                      <a:pt x="198" y="116"/>
                    </a:lnTo>
                    <a:lnTo>
                      <a:pt x="200" y="116"/>
                    </a:lnTo>
                    <a:lnTo>
                      <a:pt x="202" y="116"/>
                    </a:lnTo>
                    <a:lnTo>
                      <a:pt x="202" y="118"/>
                    </a:lnTo>
                    <a:lnTo>
                      <a:pt x="204" y="118"/>
                    </a:lnTo>
                    <a:lnTo>
                      <a:pt x="206" y="118"/>
                    </a:lnTo>
                    <a:lnTo>
                      <a:pt x="208" y="118"/>
                    </a:lnTo>
                    <a:lnTo>
                      <a:pt x="210" y="118"/>
                    </a:lnTo>
                    <a:lnTo>
                      <a:pt x="210" y="116"/>
                    </a:lnTo>
                    <a:lnTo>
                      <a:pt x="212" y="116"/>
                    </a:lnTo>
                    <a:lnTo>
                      <a:pt x="212" y="114"/>
                    </a:lnTo>
                    <a:lnTo>
                      <a:pt x="214" y="114"/>
                    </a:lnTo>
                    <a:lnTo>
                      <a:pt x="214" y="116"/>
                    </a:lnTo>
                    <a:lnTo>
                      <a:pt x="216" y="116"/>
                    </a:lnTo>
                    <a:lnTo>
                      <a:pt x="216" y="118"/>
                    </a:lnTo>
                    <a:lnTo>
                      <a:pt x="217" y="116"/>
                    </a:lnTo>
                    <a:lnTo>
                      <a:pt x="217" y="118"/>
                    </a:lnTo>
                    <a:lnTo>
                      <a:pt x="219" y="118"/>
                    </a:lnTo>
                    <a:lnTo>
                      <a:pt x="219" y="119"/>
                    </a:lnTo>
                    <a:lnTo>
                      <a:pt x="221" y="119"/>
                    </a:lnTo>
                    <a:lnTo>
                      <a:pt x="223" y="119"/>
                    </a:lnTo>
                    <a:lnTo>
                      <a:pt x="223" y="118"/>
                    </a:lnTo>
                    <a:lnTo>
                      <a:pt x="225" y="118"/>
                    </a:lnTo>
                    <a:lnTo>
                      <a:pt x="225" y="119"/>
                    </a:lnTo>
                    <a:lnTo>
                      <a:pt x="227" y="119"/>
                    </a:lnTo>
                    <a:lnTo>
                      <a:pt x="227" y="118"/>
                    </a:lnTo>
                    <a:lnTo>
                      <a:pt x="229" y="118"/>
                    </a:lnTo>
                    <a:lnTo>
                      <a:pt x="231" y="116"/>
                    </a:lnTo>
                    <a:lnTo>
                      <a:pt x="233" y="116"/>
                    </a:lnTo>
                    <a:lnTo>
                      <a:pt x="233" y="114"/>
                    </a:lnTo>
                    <a:lnTo>
                      <a:pt x="235" y="114"/>
                    </a:lnTo>
                    <a:lnTo>
                      <a:pt x="233" y="112"/>
                    </a:lnTo>
                    <a:lnTo>
                      <a:pt x="235" y="112"/>
                    </a:lnTo>
                    <a:lnTo>
                      <a:pt x="237" y="112"/>
                    </a:lnTo>
                    <a:lnTo>
                      <a:pt x="237" y="110"/>
                    </a:lnTo>
                    <a:lnTo>
                      <a:pt x="239" y="110"/>
                    </a:lnTo>
                    <a:lnTo>
                      <a:pt x="239" y="108"/>
                    </a:lnTo>
                    <a:lnTo>
                      <a:pt x="239" y="106"/>
                    </a:lnTo>
                    <a:lnTo>
                      <a:pt x="239" y="104"/>
                    </a:lnTo>
                    <a:lnTo>
                      <a:pt x="240" y="104"/>
                    </a:lnTo>
                    <a:lnTo>
                      <a:pt x="240" y="102"/>
                    </a:lnTo>
                    <a:lnTo>
                      <a:pt x="240" y="100"/>
                    </a:lnTo>
                    <a:lnTo>
                      <a:pt x="242" y="100"/>
                    </a:lnTo>
                    <a:lnTo>
                      <a:pt x="242" y="102"/>
                    </a:lnTo>
                    <a:lnTo>
                      <a:pt x="242" y="104"/>
                    </a:lnTo>
                    <a:lnTo>
                      <a:pt x="244" y="104"/>
                    </a:lnTo>
                    <a:lnTo>
                      <a:pt x="242" y="104"/>
                    </a:lnTo>
                    <a:lnTo>
                      <a:pt x="244" y="104"/>
                    </a:lnTo>
                    <a:lnTo>
                      <a:pt x="244" y="106"/>
                    </a:lnTo>
                    <a:lnTo>
                      <a:pt x="246" y="106"/>
                    </a:lnTo>
                    <a:lnTo>
                      <a:pt x="246" y="108"/>
                    </a:lnTo>
                    <a:lnTo>
                      <a:pt x="248" y="108"/>
                    </a:lnTo>
                    <a:lnTo>
                      <a:pt x="248" y="106"/>
                    </a:lnTo>
                    <a:lnTo>
                      <a:pt x="246" y="106"/>
                    </a:lnTo>
                    <a:lnTo>
                      <a:pt x="248" y="106"/>
                    </a:lnTo>
                    <a:lnTo>
                      <a:pt x="248" y="104"/>
                    </a:lnTo>
                    <a:lnTo>
                      <a:pt x="250" y="104"/>
                    </a:lnTo>
                    <a:lnTo>
                      <a:pt x="250" y="106"/>
                    </a:lnTo>
                    <a:lnTo>
                      <a:pt x="250" y="104"/>
                    </a:lnTo>
                    <a:lnTo>
                      <a:pt x="250" y="102"/>
                    </a:lnTo>
                    <a:lnTo>
                      <a:pt x="250" y="100"/>
                    </a:lnTo>
                    <a:lnTo>
                      <a:pt x="248" y="100"/>
                    </a:lnTo>
                    <a:lnTo>
                      <a:pt x="250" y="100"/>
                    </a:lnTo>
                    <a:lnTo>
                      <a:pt x="250" y="98"/>
                    </a:lnTo>
                    <a:lnTo>
                      <a:pt x="252" y="96"/>
                    </a:lnTo>
                    <a:lnTo>
                      <a:pt x="252" y="94"/>
                    </a:lnTo>
                    <a:lnTo>
                      <a:pt x="252" y="93"/>
                    </a:lnTo>
                    <a:lnTo>
                      <a:pt x="250" y="93"/>
                    </a:lnTo>
                    <a:lnTo>
                      <a:pt x="250" y="91"/>
                    </a:lnTo>
                    <a:lnTo>
                      <a:pt x="250" y="89"/>
                    </a:lnTo>
                    <a:lnTo>
                      <a:pt x="248" y="89"/>
                    </a:lnTo>
                    <a:lnTo>
                      <a:pt x="248" y="87"/>
                    </a:lnTo>
                    <a:lnTo>
                      <a:pt x="246" y="87"/>
                    </a:lnTo>
                    <a:lnTo>
                      <a:pt x="246" y="85"/>
                    </a:lnTo>
                    <a:lnTo>
                      <a:pt x="248" y="83"/>
                    </a:lnTo>
                    <a:lnTo>
                      <a:pt x="250" y="83"/>
                    </a:lnTo>
                    <a:lnTo>
                      <a:pt x="250" y="81"/>
                    </a:lnTo>
                    <a:lnTo>
                      <a:pt x="250" y="79"/>
                    </a:lnTo>
                    <a:lnTo>
                      <a:pt x="250" y="77"/>
                    </a:lnTo>
                    <a:lnTo>
                      <a:pt x="250" y="75"/>
                    </a:lnTo>
                    <a:lnTo>
                      <a:pt x="250" y="73"/>
                    </a:lnTo>
                    <a:lnTo>
                      <a:pt x="248" y="73"/>
                    </a:lnTo>
                    <a:lnTo>
                      <a:pt x="248" y="75"/>
                    </a:lnTo>
                    <a:lnTo>
                      <a:pt x="246" y="75"/>
                    </a:lnTo>
                    <a:lnTo>
                      <a:pt x="244" y="73"/>
                    </a:lnTo>
                    <a:lnTo>
                      <a:pt x="242" y="73"/>
                    </a:lnTo>
                    <a:lnTo>
                      <a:pt x="244" y="75"/>
                    </a:lnTo>
                    <a:lnTo>
                      <a:pt x="244" y="77"/>
                    </a:lnTo>
                    <a:lnTo>
                      <a:pt x="244" y="79"/>
                    </a:lnTo>
                    <a:lnTo>
                      <a:pt x="242" y="79"/>
                    </a:lnTo>
                    <a:lnTo>
                      <a:pt x="242" y="81"/>
                    </a:lnTo>
                    <a:lnTo>
                      <a:pt x="240" y="79"/>
                    </a:lnTo>
                    <a:lnTo>
                      <a:pt x="239" y="79"/>
                    </a:lnTo>
                    <a:lnTo>
                      <a:pt x="240" y="77"/>
                    </a:lnTo>
                    <a:lnTo>
                      <a:pt x="240" y="75"/>
                    </a:lnTo>
                    <a:lnTo>
                      <a:pt x="240" y="73"/>
                    </a:lnTo>
                    <a:lnTo>
                      <a:pt x="239" y="73"/>
                    </a:lnTo>
                    <a:lnTo>
                      <a:pt x="239" y="75"/>
                    </a:lnTo>
                    <a:lnTo>
                      <a:pt x="237" y="75"/>
                    </a:lnTo>
                    <a:lnTo>
                      <a:pt x="237" y="73"/>
                    </a:lnTo>
                    <a:lnTo>
                      <a:pt x="235" y="73"/>
                    </a:lnTo>
                    <a:lnTo>
                      <a:pt x="235" y="71"/>
                    </a:lnTo>
                    <a:lnTo>
                      <a:pt x="237" y="71"/>
                    </a:lnTo>
                    <a:lnTo>
                      <a:pt x="235" y="71"/>
                    </a:lnTo>
                    <a:lnTo>
                      <a:pt x="235" y="69"/>
                    </a:lnTo>
                    <a:lnTo>
                      <a:pt x="235" y="68"/>
                    </a:lnTo>
                    <a:lnTo>
                      <a:pt x="233" y="66"/>
                    </a:lnTo>
                    <a:lnTo>
                      <a:pt x="233" y="68"/>
                    </a:lnTo>
                    <a:lnTo>
                      <a:pt x="233" y="66"/>
                    </a:lnTo>
                    <a:lnTo>
                      <a:pt x="231" y="66"/>
                    </a:lnTo>
                    <a:lnTo>
                      <a:pt x="231" y="64"/>
                    </a:lnTo>
                    <a:lnTo>
                      <a:pt x="231" y="62"/>
                    </a:lnTo>
                    <a:lnTo>
                      <a:pt x="233" y="62"/>
                    </a:lnTo>
                    <a:lnTo>
                      <a:pt x="233" y="60"/>
                    </a:lnTo>
                    <a:lnTo>
                      <a:pt x="231" y="58"/>
                    </a:lnTo>
                    <a:lnTo>
                      <a:pt x="231" y="56"/>
                    </a:lnTo>
                    <a:lnTo>
                      <a:pt x="229" y="56"/>
                    </a:lnTo>
                    <a:lnTo>
                      <a:pt x="227" y="56"/>
                    </a:lnTo>
                    <a:lnTo>
                      <a:pt x="225" y="56"/>
                    </a:lnTo>
                    <a:lnTo>
                      <a:pt x="225" y="54"/>
                    </a:lnTo>
                    <a:lnTo>
                      <a:pt x="225" y="52"/>
                    </a:lnTo>
                    <a:lnTo>
                      <a:pt x="225" y="50"/>
                    </a:lnTo>
                    <a:lnTo>
                      <a:pt x="225" y="48"/>
                    </a:lnTo>
                    <a:lnTo>
                      <a:pt x="223" y="48"/>
                    </a:lnTo>
                    <a:lnTo>
                      <a:pt x="223" y="46"/>
                    </a:lnTo>
                    <a:lnTo>
                      <a:pt x="223" y="48"/>
                    </a:lnTo>
                    <a:lnTo>
                      <a:pt x="221" y="46"/>
                    </a:lnTo>
                    <a:lnTo>
                      <a:pt x="221" y="44"/>
                    </a:lnTo>
                    <a:lnTo>
                      <a:pt x="221" y="43"/>
                    </a:lnTo>
                    <a:lnTo>
                      <a:pt x="223" y="43"/>
                    </a:lnTo>
                    <a:lnTo>
                      <a:pt x="225" y="43"/>
                    </a:lnTo>
                    <a:lnTo>
                      <a:pt x="227" y="41"/>
                    </a:lnTo>
                    <a:lnTo>
                      <a:pt x="225" y="41"/>
                    </a:lnTo>
                    <a:lnTo>
                      <a:pt x="227" y="41"/>
                    </a:lnTo>
                    <a:lnTo>
                      <a:pt x="229" y="41"/>
                    </a:lnTo>
                    <a:lnTo>
                      <a:pt x="229" y="39"/>
                    </a:lnTo>
                    <a:lnTo>
                      <a:pt x="229" y="37"/>
                    </a:lnTo>
                    <a:lnTo>
                      <a:pt x="231" y="37"/>
                    </a:lnTo>
                    <a:lnTo>
                      <a:pt x="231" y="35"/>
                    </a:lnTo>
                    <a:lnTo>
                      <a:pt x="229" y="35"/>
                    </a:lnTo>
                    <a:lnTo>
                      <a:pt x="227" y="31"/>
                    </a:lnTo>
                    <a:lnTo>
                      <a:pt x="227" y="29"/>
                    </a:lnTo>
                    <a:lnTo>
                      <a:pt x="227" y="27"/>
                    </a:lnTo>
                    <a:lnTo>
                      <a:pt x="227" y="25"/>
                    </a:lnTo>
                    <a:lnTo>
                      <a:pt x="227" y="23"/>
                    </a:lnTo>
                    <a:lnTo>
                      <a:pt x="227" y="21"/>
                    </a:lnTo>
                    <a:lnTo>
                      <a:pt x="227" y="20"/>
                    </a:lnTo>
                    <a:lnTo>
                      <a:pt x="227" y="21"/>
                    </a:lnTo>
                    <a:lnTo>
                      <a:pt x="229" y="21"/>
                    </a:lnTo>
                    <a:lnTo>
                      <a:pt x="231" y="21"/>
                    </a:lnTo>
                    <a:lnTo>
                      <a:pt x="231" y="20"/>
                    </a:lnTo>
                    <a:lnTo>
                      <a:pt x="231" y="18"/>
                    </a:lnTo>
                    <a:lnTo>
                      <a:pt x="229" y="16"/>
                    </a:lnTo>
                    <a:lnTo>
                      <a:pt x="229" y="14"/>
                    </a:lnTo>
                    <a:lnTo>
                      <a:pt x="227" y="12"/>
                    </a:lnTo>
                    <a:lnTo>
                      <a:pt x="225" y="10"/>
                    </a:lnTo>
                    <a:lnTo>
                      <a:pt x="227" y="8"/>
                    </a:lnTo>
                    <a:lnTo>
                      <a:pt x="229" y="6"/>
                    </a:lnTo>
                    <a:lnTo>
                      <a:pt x="229" y="4"/>
                    </a:lnTo>
                    <a:lnTo>
                      <a:pt x="231" y="2"/>
                    </a:lnTo>
                    <a:lnTo>
                      <a:pt x="229" y="2"/>
                    </a:lnTo>
                    <a:lnTo>
                      <a:pt x="231" y="2"/>
                    </a:lnTo>
                    <a:lnTo>
                      <a:pt x="233" y="2"/>
                    </a:lnTo>
                    <a:lnTo>
                      <a:pt x="235" y="2"/>
                    </a:lnTo>
                    <a:lnTo>
                      <a:pt x="235" y="0"/>
                    </a:lnTo>
                    <a:lnTo>
                      <a:pt x="237" y="0"/>
                    </a:lnTo>
                    <a:lnTo>
                      <a:pt x="237" y="2"/>
                    </a:lnTo>
                    <a:lnTo>
                      <a:pt x="237" y="0"/>
                    </a:lnTo>
                    <a:lnTo>
                      <a:pt x="239" y="0"/>
                    </a:lnTo>
                    <a:lnTo>
                      <a:pt x="240" y="0"/>
                    </a:lnTo>
                    <a:lnTo>
                      <a:pt x="242" y="0"/>
                    </a:lnTo>
                    <a:lnTo>
                      <a:pt x="242" y="2"/>
                    </a:lnTo>
                    <a:lnTo>
                      <a:pt x="244" y="2"/>
                    </a:lnTo>
                    <a:lnTo>
                      <a:pt x="244" y="0"/>
                    </a:lnTo>
                    <a:lnTo>
                      <a:pt x="246" y="0"/>
                    </a:lnTo>
                    <a:lnTo>
                      <a:pt x="248" y="0"/>
                    </a:lnTo>
                    <a:lnTo>
                      <a:pt x="250" y="0"/>
                    </a:lnTo>
                    <a:lnTo>
                      <a:pt x="250" y="2"/>
                    </a:lnTo>
                    <a:lnTo>
                      <a:pt x="252" y="2"/>
                    </a:lnTo>
                    <a:lnTo>
                      <a:pt x="252" y="4"/>
                    </a:lnTo>
                    <a:lnTo>
                      <a:pt x="254" y="4"/>
                    </a:lnTo>
                    <a:lnTo>
                      <a:pt x="254" y="6"/>
                    </a:lnTo>
                    <a:lnTo>
                      <a:pt x="256" y="6"/>
                    </a:lnTo>
                    <a:lnTo>
                      <a:pt x="258" y="6"/>
                    </a:lnTo>
                    <a:lnTo>
                      <a:pt x="258" y="8"/>
                    </a:lnTo>
                    <a:lnTo>
                      <a:pt x="258" y="10"/>
                    </a:lnTo>
                    <a:lnTo>
                      <a:pt x="260" y="8"/>
                    </a:lnTo>
                    <a:lnTo>
                      <a:pt x="262" y="8"/>
                    </a:lnTo>
                    <a:lnTo>
                      <a:pt x="262" y="10"/>
                    </a:lnTo>
                    <a:lnTo>
                      <a:pt x="264" y="10"/>
                    </a:lnTo>
                    <a:lnTo>
                      <a:pt x="265" y="10"/>
                    </a:lnTo>
                    <a:lnTo>
                      <a:pt x="267" y="8"/>
                    </a:lnTo>
                    <a:lnTo>
                      <a:pt x="267" y="6"/>
                    </a:lnTo>
                    <a:lnTo>
                      <a:pt x="269" y="6"/>
                    </a:lnTo>
                    <a:lnTo>
                      <a:pt x="271" y="6"/>
                    </a:lnTo>
                    <a:lnTo>
                      <a:pt x="273" y="4"/>
                    </a:lnTo>
                    <a:lnTo>
                      <a:pt x="275" y="2"/>
                    </a:lnTo>
                    <a:lnTo>
                      <a:pt x="277" y="4"/>
                    </a:lnTo>
                    <a:close/>
                    <a:moveTo>
                      <a:pt x="248" y="471"/>
                    </a:moveTo>
                    <a:lnTo>
                      <a:pt x="248" y="469"/>
                    </a:lnTo>
                    <a:lnTo>
                      <a:pt x="246" y="469"/>
                    </a:lnTo>
                    <a:lnTo>
                      <a:pt x="246" y="471"/>
                    </a:lnTo>
                    <a:lnTo>
                      <a:pt x="246" y="473"/>
                    </a:lnTo>
                    <a:lnTo>
                      <a:pt x="244" y="473"/>
                    </a:lnTo>
                    <a:lnTo>
                      <a:pt x="242" y="473"/>
                    </a:lnTo>
                    <a:lnTo>
                      <a:pt x="242" y="471"/>
                    </a:lnTo>
                    <a:lnTo>
                      <a:pt x="240" y="471"/>
                    </a:lnTo>
                    <a:lnTo>
                      <a:pt x="239" y="473"/>
                    </a:lnTo>
                    <a:lnTo>
                      <a:pt x="237" y="477"/>
                    </a:lnTo>
                    <a:lnTo>
                      <a:pt x="235" y="481"/>
                    </a:lnTo>
                    <a:lnTo>
                      <a:pt x="235" y="483"/>
                    </a:lnTo>
                    <a:lnTo>
                      <a:pt x="233" y="485"/>
                    </a:lnTo>
                    <a:lnTo>
                      <a:pt x="231" y="487"/>
                    </a:lnTo>
                    <a:lnTo>
                      <a:pt x="231" y="489"/>
                    </a:lnTo>
                    <a:lnTo>
                      <a:pt x="229" y="489"/>
                    </a:lnTo>
                    <a:lnTo>
                      <a:pt x="227" y="492"/>
                    </a:lnTo>
                    <a:lnTo>
                      <a:pt x="227" y="498"/>
                    </a:lnTo>
                    <a:lnTo>
                      <a:pt x="227" y="500"/>
                    </a:lnTo>
                    <a:lnTo>
                      <a:pt x="227" y="502"/>
                    </a:lnTo>
                    <a:lnTo>
                      <a:pt x="225" y="502"/>
                    </a:lnTo>
                    <a:lnTo>
                      <a:pt x="221" y="502"/>
                    </a:lnTo>
                    <a:lnTo>
                      <a:pt x="219" y="502"/>
                    </a:lnTo>
                    <a:lnTo>
                      <a:pt x="219" y="498"/>
                    </a:lnTo>
                    <a:lnTo>
                      <a:pt x="219" y="496"/>
                    </a:lnTo>
                    <a:lnTo>
                      <a:pt x="217" y="496"/>
                    </a:lnTo>
                    <a:lnTo>
                      <a:pt x="217" y="498"/>
                    </a:lnTo>
                    <a:lnTo>
                      <a:pt x="216" y="498"/>
                    </a:lnTo>
                    <a:lnTo>
                      <a:pt x="216" y="496"/>
                    </a:lnTo>
                    <a:lnTo>
                      <a:pt x="214" y="496"/>
                    </a:lnTo>
                    <a:lnTo>
                      <a:pt x="212" y="494"/>
                    </a:lnTo>
                    <a:lnTo>
                      <a:pt x="212" y="496"/>
                    </a:lnTo>
                    <a:lnTo>
                      <a:pt x="210" y="496"/>
                    </a:lnTo>
                    <a:lnTo>
                      <a:pt x="210" y="498"/>
                    </a:lnTo>
                    <a:lnTo>
                      <a:pt x="208" y="498"/>
                    </a:lnTo>
                    <a:lnTo>
                      <a:pt x="206" y="506"/>
                    </a:lnTo>
                    <a:lnTo>
                      <a:pt x="204" y="512"/>
                    </a:lnTo>
                    <a:lnTo>
                      <a:pt x="206" y="512"/>
                    </a:lnTo>
                    <a:lnTo>
                      <a:pt x="208" y="514"/>
                    </a:lnTo>
                    <a:lnTo>
                      <a:pt x="210" y="516"/>
                    </a:lnTo>
                    <a:lnTo>
                      <a:pt x="208" y="517"/>
                    </a:lnTo>
                    <a:lnTo>
                      <a:pt x="208" y="523"/>
                    </a:lnTo>
                    <a:lnTo>
                      <a:pt x="208" y="525"/>
                    </a:lnTo>
                    <a:lnTo>
                      <a:pt x="206" y="523"/>
                    </a:lnTo>
                    <a:lnTo>
                      <a:pt x="204" y="521"/>
                    </a:lnTo>
                    <a:lnTo>
                      <a:pt x="204" y="523"/>
                    </a:lnTo>
                    <a:lnTo>
                      <a:pt x="200" y="523"/>
                    </a:lnTo>
                    <a:lnTo>
                      <a:pt x="198" y="519"/>
                    </a:lnTo>
                    <a:lnTo>
                      <a:pt x="194" y="517"/>
                    </a:lnTo>
                    <a:lnTo>
                      <a:pt x="192" y="517"/>
                    </a:lnTo>
                    <a:lnTo>
                      <a:pt x="192" y="519"/>
                    </a:lnTo>
                    <a:lnTo>
                      <a:pt x="191" y="521"/>
                    </a:lnTo>
                    <a:lnTo>
                      <a:pt x="191" y="519"/>
                    </a:lnTo>
                    <a:lnTo>
                      <a:pt x="189" y="521"/>
                    </a:lnTo>
                    <a:lnTo>
                      <a:pt x="189" y="523"/>
                    </a:lnTo>
                    <a:lnTo>
                      <a:pt x="189" y="525"/>
                    </a:lnTo>
                    <a:lnTo>
                      <a:pt x="187" y="525"/>
                    </a:lnTo>
                    <a:lnTo>
                      <a:pt x="187" y="527"/>
                    </a:lnTo>
                    <a:lnTo>
                      <a:pt x="185" y="531"/>
                    </a:lnTo>
                    <a:lnTo>
                      <a:pt x="183" y="531"/>
                    </a:lnTo>
                    <a:lnTo>
                      <a:pt x="183" y="533"/>
                    </a:lnTo>
                    <a:lnTo>
                      <a:pt x="183" y="535"/>
                    </a:lnTo>
                    <a:lnTo>
                      <a:pt x="181" y="535"/>
                    </a:lnTo>
                    <a:lnTo>
                      <a:pt x="179" y="535"/>
                    </a:lnTo>
                    <a:lnTo>
                      <a:pt x="179" y="533"/>
                    </a:lnTo>
                    <a:lnTo>
                      <a:pt x="177" y="533"/>
                    </a:lnTo>
                    <a:lnTo>
                      <a:pt x="175" y="531"/>
                    </a:lnTo>
                    <a:lnTo>
                      <a:pt x="175" y="529"/>
                    </a:lnTo>
                    <a:lnTo>
                      <a:pt x="173" y="527"/>
                    </a:lnTo>
                    <a:lnTo>
                      <a:pt x="173" y="525"/>
                    </a:lnTo>
                    <a:lnTo>
                      <a:pt x="173" y="521"/>
                    </a:lnTo>
                    <a:lnTo>
                      <a:pt x="169" y="521"/>
                    </a:lnTo>
                    <a:lnTo>
                      <a:pt x="169" y="523"/>
                    </a:lnTo>
                    <a:lnTo>
                      <a:pt x="167" y="523"/>
                    </a:lnTo>
                    <a:lnTo>
                      <a:pt x="167" y="521"/>
                    </a:lnTo>
                    <a:lnTo>
                      <a:pt x="164" y="521"/>
                    </a:lnTo>
                    <a:lnTo>
                      <a:pt x="164" y="523"/>
                    </a:lnTo>
                    <a:lnTo>
                      <a:pt x="164" y="525"/>
                    </a:lnTo>
                    <a:lnTo>
                      <a:pt x="164" y="527"/>
                    </a:lnTo>
                    <a:lnTo>
                      <a:pt x="162" y="529"/>
                    </a:lnTo>
                    <a:lnTo>
                      <a:pt x="164" y="531"/>
                    </a:lnTo>
                    <a:lnTo>
                      <a:pt x="162" y="531"/>
                    </a:lnTo>
                    <a:lnTo>
                      <a:pt x="160" y="533"/>
                    </a:lnTo>
                    <a:lnTo>
                      <a:pt x="160" y="537"/>
                    </a:lnTo>
                    <a:lnTo>
                      <a:pt x="158" y="539"/>
                    </a:lnTo>
                    <a:lnTo>
                      <a:pt x="158" y="541"/>
                    </a:lnTo>
                    <a:lnTo>
                      <a:pt x="158" y="542"/>
                    </a:lnTo>
                    <a:lnTo>
                      <a:pt x="158" y="544"/>
                    </a:lnTo>
                    <a:lnTo>
                      <a:pt x="160" y="548"/>
                    </a:lnTo>
                    <a:lnTo>
                      <a:pt x="164" y="550"/>
                    </a:lnTo>
                    <a:lnTo>
                      <a:pt x="164" y="548"/>
                    </a:lnTo>
                    <a:lnTo>
                      <a:pt x="166" y="548"/>
                    </a:lnTo>
                    <a:lnTo>
                      <a:pt x="166" y="546"/>
                    </a:lnTo>
                    <a:lnTo>
                      <a:pt x="167" y="548"/>
                    </a:lnTo>
                    <a:lnTo>
                      <a:pt x="169" y="548"/>
                    </a:lnTo>
                    <a:lnTo>
                      <a:pt x="171" y="548"/>
                    </a:lnTo>
                    <a:lnTo>
                      <a:pt x="173" y="550"/>
                    </a:lnTo>
                    <a:lnTo>
                      <a:pt x="173" y="552"/>
                    </a:lnTo>
                    <a:lnTo>
                      <a:pt x="173" y="554"/>
                    </a:lnTo>
                    <a:lnTo>
                      <a:pt x="173" y="556"/>
                    </a:lnTo>
                    <a:lnTo>
                      <a:pt x="173" y="558"/>
                    </a:lnTo>
                    <a:lnTo>
                      <a:pt x="175" y="560"/>
                    </a:lnTo>
                    <a:lnTo>
                      <a:pt x="177" y="562"/>
                    </a:lnTo>
                    <a:lnTo>
                      <a:pt x="179" y="562"/>
                    </a:lnTo>
                    <a:lnTo>
                      <a:pt x="181" y="560"/>
                    </a:lnTo>
                    <a:lnTo>
                      <a:pt x="181" y="558"/>
                    </a:lnTo>
                    <a:lnTo>
                      <a:pt x="183" y="558"/>
                    </a:lnTo>
                    <a:lnTo>
                      <a:pt x="187" y="558"/>
                    </a:lnTo>
                    <a:lnTo>
                      <a:pt x="189" y="558"/>
                    </a:lnTo>
                    <a:lnTo>
                      <a:pt x="187" y="556"/>
                    </a:lnTo>
                    <a:lnTo>
                      <a:pt x="189" y="556"/>
                    </a:lnTo>
                    <a:lnTo>
                      <a:pt x="191" y="556"/>
                    </a:lnTo>
                    <a:lnTo>
                      <a:pt x="192" y="558"/>
                    </a:lnTo>
                    <a:lnTo>
                      <a:pt x="194" y="558"/>
                    </a:lnTo>
                    <a:lnTo>
                      <a:pt x="194" y="556"/>
                    </a:lnTo>
                    <a:lnTo>
                      <a:pt x="196" y="556"/>
                    </a:lnTo>
                    <a:lnTo>
                      <a:pt x="196" y="558"/>
                    </a:lnTo>
                    <a:lnTo>
                      <a:pt x="196" y="560"/>
                    </a:lnTo>
                    <a:lnTo>
                      <a:pt x="196" y="562"/>
                    </a:lnTo>
                    <a:lnTo>
                      <a:pt x="198" y="564"/>
                    </a:lnTo>
                    <a:lnTo>
                      <a:pt x="200" y="564"/>
                    </a:lnTo>
                    <a:lnTo>
                      <a:pt x="200" y="565"/>
                    </a:lnTo>
                    <a:lnTo>
                      <a:pt x="200" y="567"/>
                    </a:lnTo>
                    <a:lnTo>
                      <a:pt x="198" y="569"/>
                    </a:lnTo>
                    <a:lnTo>
                      <a:pt x="200" y="569"/>
                    </a:lnTo>
                    <a:lnTo>
                      <a:pt x="202" y="569"/>
                    </a:lnTo>
                    <a:lnTo>
                      <a:pt x="204" y="569"/>
                    </a:lnTo>
                    <a:lnTo>
                      <a:pt x="204" y="567"/>
                    </a:lnTo>
                    <a:lnTo>
                      <a:pt x="204" y="565"/>
                    </a:lnTo>
                    <a:lnTo>
                      <a:pt x="204" y="564"/>
                    </a:lnTo>
                    <a:lnTo>
                      <a:pt x="206" y="564"/>
                    </a:lnTo>
                    <a:lnTo>
                      <a:pt x="208" y="562"/>
                    </a:lnTo>
                    <a:lnTo>
                      <a:pt x="206" y="560"/>
                    </a:lnTo>
                    <a:lnTo>
                      <a:pt x="208" y="558"/>
                    </a:lnTo>
                    <a:lnTo>
                      <a:pt x="210" y="558"/>
                    </a:lnTo>
                    <a:lnTo>
                      <a:pt x="212" y="558"/>
                    </a:lnTo>
                    <a:lnTo>
                      <a:pt x="214" y="558"/>
                    </a:lnTo>
                    <a:lnTo>
                      <a:pt x="217" y="560"/>
                    </a:lnTo>
                    <a:lnTo>
                      <a:pt x="219" y="562"/>
                    </a:lnTo>
                    <a:lnTo>
                      <a:pt x="219" y="564"/>
                    </a:lnTo>
                    <a:lnTo>
                      <a:pt x="221" y="564"/>
                    </a:lnTo>
                    <a:lnTo>
                      <a:pt x="221" y="565"/>
                    </a:lnTo>
                    <a:lnTo>
                      <a:pt x="223" y="565"/>
                    </a:lnTo>
                    <a:lnTo>
                      <a:pt x="223" y="564"/>
                    </a:lnTo>
                    <a:lnTo>
                      <a:pt x="225" y="562"/>
                    </a:lnTo>
                    <a:lnTo>
                      <a:pt x="223" y="562"/>
                    </a:lnTo>
                    <a:lnTo>
                      <a:pt x="225" y="560"/>
                    </a:lnTo>
                    <a:lnTo>
                      <a:pt x="227" y="560"/>
                    </a:lnTo>
                    <a:lnTo>
                      <a:pt x="227" y="558"/>
                    </a:lnTo>
                    <a:lnTo>
                      <a:pt x="229" y="558"/>
                    </a:lnTo>
                    <a:lnTo>
                      <a:pt x="227" y="558"/>
                    </a:lnTo>
                    <a:lnTo>
                      <a:pt x="229" y="558"/>
                    </a:lnTo>
                    <a:lnTo>
                      <a:pt x="231" y="558"/>
                    </a:lnTo>
                    <a:lnTo>
                      <a:pt x="231" y="556"/>
                    </a:lnTo>
                    <a:lnTo>
                      <a:pt x="233" y="556"/>
                    </a:lnTo>
                    <a:lnTo>
                      <a:pt x="233" y="558"/>
                    </a:lnTo>
                    <a:lnTo>
                      <a:pt x="235" y="558"/>
                    </a:lnTo>
                    <a:lnTo>
                      <a:pt x="235" y="556"/>
                    </a:lnTo>
                    <a:lnTo>
                      <a:pt x="237" y="556"/>
                    </a:lnTo>
                    <a:lnTo>
                      <a:pt x="237" y="558"/>
                    </a:lnTo>
                    <a:lnTo>
                      <a:pt x="237" y="556"/>
                    </a:lnTo>
                    <a:lnTo>
                      <a:pt x="237" y="558"/>
                    </a:lnTo>
                    <a:lnTo>
                      <a:pt x="239" y="558"/>
                    </a:lnTo>
                    <a:lnTo>
                      <a:pt x="239" y="556"/>
                    </a:lnTo>
                    <a:lnTo>
                      <a:pt x="239" y="558"/>
                    </a:lnTo>
                    <a:lnTo>
                      <a:pt x="240" y="556"/>
                    </a:lnTo>
                    <a:lnTo>
                      <a:pt x="242" y="556"/>
                    </a:lnTo>
                    <a:lnTo>
                      <a:pt x="242" y="554"/>
                    </a:lnTo>
                    <a:lnTo>
                      <a:pt x="244" y="554"/>
                    </a:lnTo>
                    <a:lnTo>
                      <a:pt x="244" y="552"/>
                    </a:lnTo>
                    <a:lnTo>
                      <a:pt x="246" y="552"/>
                    </a:lnTo>
                    <a:lnTo>
                      <a:pt x="248" y="552"/>
                    </a:lnTo>
                    <a:lnTo>
                      <a:pt x="250" y="552"/>
                    </a:lnTo>
                    <a:lnTo>
                      <a:pt x="252" y="552"/>
                    </a:lnTo>
                    <a:lnTo>
                      <a:pt x="254" y="552"/>
                    </a:lnTo>
                    <a:lnTo>
                      <a:pt x="254" y="550"/>
                    </a:lnTo>
                    <a:lnTo>
                      <a:pt x="254" y="552"/>
                    </a:lnTo>
                    <a:lnTo>
                      <a:pt x="254" y="550"/>
                    </a:lnTo>
                    <a:lnTo>
                      <a:pt x="256" y="550"/>
                    </a:lnTo>
                    <a:lnTo>
                      <a:pt x="256" y="548"/>
                    </a:lnTo>
                    <a:lnTo>
                      <a:pt x="256" y="550"/>
                    </a:lnTo>
                    <a:lnTo>
                      <a:pt x="258" y="550"/>
                    </a:lnTo>
                    <a:lnTo>
                      <a:pt x="260" y="550"/>
                    </a:lnTo>
                    <a:lnTo>
                      <a:pt x="260" y="548"/>
                    </a:lnTo>
                    <a:lnTo>
                      <a:pt x="262" y="548"/>
                    </a:lnTo>
                    <a:lnTo>
                      <a:pt x="262" y="546"/>
                    </a:lnTo>
                    <a:lnTo>
                      <a:pt x="262" y="548"/>
                    </a:lnTo>
                    <a:lnTo>
                      <a:pt x="262" y="546"/>
                    </a:lnTo>
                    <a:lnTo>
                      <a:pt x="264" y="546"/>
                    </a:lnTo>
                    <a:lnTo>
                      <a:pt x="264" y="544"/>
                    </a:lnTo>
                    <a:lnTo>
                      <a:pt x="265" y="544"/>
                    </a:lnTo>
                    <a:lnTo>
                      <a:pt x="265" y="542"/>
                    </a:lnTo>
                    <a:lnTo>
                      <a:pt x="265" y="544"/>
                    </a:lnTo>
                    <a:lnTo>
                      <a:pt x="267" y="544"/>
                    </a:lnTo>
                    <a:lnTo>
                      <a:pt x="265" y="542"/>
                    </a:lnTo>
                    <a:lnTo>
                      <a:pt x="267" y="542"/>
                    </a:lnTo>
                    <a:lnTo>
                      <a:pt x="269" y="542"/>
                    </a:lnTo>
                    <a:lnTo>
                      <a:pt x="271" y="544"/>
                    </a:lnTo>
                    <a:lnTo>
                      <a:pt x="271" y="542"/>
                    </a:lnTo>
                    <a:lnTo>
                      <a:pt x="273" y="542"/>
                    </a:lnTo>
                    <a:lnTo>
                      <a:pt x="275" y="542"/>
                    </a:lnTo>
                    <a:lnTo>
                      <a:pt x="277" y="542"/>
                    </a:lnTo>
                    <a:lnTo>
                      <a:pt x="277" y="541"/>
                    </a:lnTo>
                    <a:lnTo>
                      <a:pt x="279" y="541"/>
                    </a:lnTo>
                    <a:lnTo>
                      <a:pt x="279" y="539"/>
                    </a:lnTo>
                    <a:lnTo>
                      <a:pt x="281" y="539"/>
                    </a:lnTo>
                    <a:lnTo>
                      <a:pt x="281" y="537"/>
                    </a:lnTo>
                    <a:lnTo>
                      <a:pt x="279" y="535"/>
                    </a:lnTo>
                    <a:lnTo>
                      <a:pt x="281" y="535"/>
                    </a:lnTo>
                    <a:lnTo>
                      <a:pt x="281" y="533"/>
                    </a:lnTo>
                    <a:lnTo>
                      <a:pt x="281" y="535"/>
                    </a:lnTo>
                    <a:lnTo>
                      <a:pt x="283" y="535"/>
                    </a:lnTo>
                    <a:lnTo>
                      <a:pt x="285" y="535"/>
                    </a:lnTo>
                    <a:lnTo>
                      <a:pt x="285" y="533"/>
                    </a:lnTo>
                    <a:lnTo>
                      <a:pt x="285" y="531"/>
                    </a:lnTo>
                    <a:lnTo>
                      <a:pt x="283" y="531"/>
                    </a:lnTo>
                    <a:lnTo>
                      <a:pt x="283" y="527"/>
                    </a:lnTo>
                    <a:lnTo>
                      <a:pt x="281" y="527"/>
                    </a:lnTo>
                    <a:lnTo>
                      <a:pt x="281" y="525"/>
                    </a:lnTo>
                    <a:lnTo>
                      <a:pt x="279" y="523"/>
                    </a:lnTo>
                    <a:lnTo>
                      <a:pt x="277" y="523"/>
                    </a:lnTo>
                    <a:lnTo>
                      <a:pt x="275" y="523"/>
                    </a:lnTo>
                    <a:lnTo>
                      <a:pt x="273" y="523"/>
                    </a:lnTo>
                    <a:lnTo>
                      <a:pt x="271" y="523"/>
                    </a:lnTo>
                    <a:lnTo>
                      <a:pt x="269" y="523"/>
                    </a:lnTo>
                    <a:lnTo>
                      <a:pt x="267" y="523"/>
                    </a:lnTo>
                    <a:lnTo>
                      <a:pt x="265" y="523"/>
                    </a:lnTo>
                    <a:lnTo>
                      <a:pt x="264" y="523"/>
                    </a:lnTo>
                    <a:lnTo>
                      <a:pt x="264" y="521"/>
                    </a:lnTo>
                    <a:lnTo>
                      <a:pt x="262" y="521"/>
                    </a:lnTo>
                    <a:lnTo>
                      <a:pt x="262" y="519"/>
                    </a:lnTo>
                    <a:lnTo>
                      <a:pt x="264" y="519"/>
                    </a:lnTo>
                    <a:lnTo>
                      <a:pt x="264" y="517"/>
                    </a:lnTo>
                    <a:lnTo>
                      <a:pt x="265" y="517"/>
                    </a:lnTo>
                    <a:lnTo>
                      <a:pt x="265" y="516"/>
                    </a:lnTo>
                    <a:lnTo>
                      <a:pt x="265" y="514"/>
                    </a:lnTo>
                    <a:lnTo>
                      <a:pt x="264" y="514"/>
                    </a:lnTo>
                    <a:lnTo>
                      <a:pt x="264" y="512"/>
                    </a:lnTo>
                    <a:lnTo>
                      <a:pt x="265" y="512"/>
                    </a:lnTo>
                    <a:lnTo>
                      <a:pt x="265" y="510"/>
                    </a:lnTo>
                    <a:lnTo>
                      <a:pt x="267" y="512"/>
                    </a:lnTo>
                    <a:lnTo>
                      <a:pt x="269" y="512"/>
                    </a:lnTo>
                    <a:lnTo>
                      <a:pt x="271" y="512"/>
                    </a:lnTo>
                    <a:lnTo>
                      <a:pt x="271" y="514"/>
                    </a:lnTo>
                    <a:lnTo>
                      <a:pt x="271" y="516"/>
                    </a:lnTo>
                    <a:lnTo>
                      <a:pt x="271" y="514"/>
                    </a:lnTo>
                    <a:lnTo>
                      <a:pt x="273" y="514"/>
                    </a:lnTo>
                    <a:lnTo>
                      <a:pt x="273" y="512"/>
                    </a:lnTo>
                    <a:lnTo>
                      <a:pt x="273" y="510"/>
                    </a:lnTo>
                    <a:lnTo>
                      <a:pt x="275" y="510"/>
                    </a:lnTo>
                    <a:lnTo>
                      <a:pt x="275" y="508"/>
                    </a:lnTo>
                    <a:lnTo>
                      <a:pt x="275" y="506"/>
                    </a:lnTo>
                    <a:lnTo>
                      <a:pt x="277" y="506"/>
                    </a:lnTo>
                    <a:lnTo>
                      <a:pt x="277" y="504"/>
                    </a:lnTo>
                    <a:lnTo>
                      <a:pt x="279" y="504"/>
                    </a:lnTo>
                    <a:lnTo>
                      <a:pt x="279" y="502"/>
                    </a:lnTo>
                    <a:lnTo>
                      <a:pt x="279" y="500"/>
                    </a:lnTo>
                    <a:lnTo>
                      <a:pt x="279" y="498"/>
                    </a:lnTo>
                    <a:lnTo>
                      <a:pt x="281" y="498"/>
                    </a:lnTo>
                    <a:lnTo>
                      <a:pt x="281" y="496"/>
                    </a:lnTo>
                    <a:lnTo>
                      <a:pt x="281" y="494"/>
                    </a:lnTo>
                    <a:lnTo>
                      <a:pt x="281" y="492"/>
                    </a:lnTo>
                    <a:lnTo>
                      <a:pt x="281" y="491"/>
                    </a:lnTo>
                    <a:lnTo>
                      <a:pt x="281" y="489"/>
                    </a:lnTo>
                    <a:lnTo>
                      <a:pt x="279" y="487"/>
                    </a:lnTo>
                    <a:lnTo>
                      <a:pt x="277" y="487"/>
                    </a:lnTo>
                    <a:lnTo>
                      <a:pt x="277" y="489"/>
                    </a:lnTo>
                    <a:lnTo>
                      <a:pt x="275" y="489"/>
                    </a:lnTo>
                    <a:lnTo>
                      <a:pt x="275" y="487"/>
                    </a:lnTo>
                    <a:lnTo>
                      <a:pt x="273" y="487"/>
                    </a:lnTo>
                    <a:lnTo>
                      <a:pt x="271" y="485"/>
                    </a:lnTo>
                    <a:lnTo>
                      <a:pt x="271" y="483"/>
                    </a:lnTo>
                    <a:lnTo>
                      <a:pt x="269" y="481"/>
                    </a:lnTo>
                    <a:lnTo>
                      <a:pt x="267" y="481"/>
                    </a:lnTo>
                    <a:lnTo>
                      <a:pt x="265" y="481"/>
                    </a:lnTo>
                    <a:lnTo>
                      <a:pt x="264" y="479"/>
                    </a:lnTo>
                    <a:lnTo>
                      <a:pt x="260" y="477"/>
                    </a:lnTo>
                    <a:lnTo>
                      <a:pt x="258" y="475"/>
                    </a:lnTo>
                    <a:lnTo>
                      <a:pt x="256" y="475"/>
                    </a:lnTo>
                    <a:lnTo>
                      <a:pt x="252" y="475"/>
                    </a:lnTo>
                    <a:lnTo>
                      <a:pt x="252" y="473"/>
                    </a:lnTo>
                    <a:lnTo>
                      <a:pt x="248" y="4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7" name="Freeform 22"/>
              <p:cNvSpPr>
                <a:spLocks noEditPoints="1"/>
              </p:cNvSpPr>
              <p:nvPr/>
            </p:nvSpPr>
            <p:spPr bwMode="auto">
              <a:xfrm>
                <a:off x="6677029" y="318960"/>
                <a:ext cx="264976" cy="469732"/>
              </a:xfrm>
              <a:custGeom>
                <a:avLst/>
                <a:gdLst>
                  <a:gd name="T0" fmla="*/ 10 w 154"/>
                  <a:gd name="T1" fmla="*/ 252 h 273"/>
                  <a:gd name="T2" fmla="*/ 13 w 154"/>
                  <a:gd name="T3" fmla="*/ 250 h 273"/>
                  <a:gd name="T4" fmla="*/ 15 w 154"/>
                  <a:gd name="T5" fmla="*/ 248 h 273"/>
                  <a:gd name="T6" fmla="*/ 17 w 154"/>
                  <a:gd name="T7" fmla="*/ 248 h 273"/>
                  <a:gd name="T8" fmla="*/ 21 w 154"/>
                  <a:gd name="T9" fmla="*/ 246 h 273"/>
                  <a:gd name="T10" fmla="*/ 23 w 154"/>
                  <a:gd name="T11" fmla="*/ 246 h 273"/>
                  <a:gd name="T12" fmla="*/ 25 w 154"/>
                  <a:gd name="T13" fmla="*/ 246 h 273"/>
                  <a:gd name="T14" fmla="*/ 29 w 154"/>
                  <a:gd name="T15" fmla="*/ 244 h 273"/>
                  <a:gd name="T16" fmla="*/ 31 w 154"/>
                  <a:gd name="T17" fmla="*/ 244 h 273"/>
                  <a:gd name="T18" fmla="*/ 33 w 154"/>
                  <a:gd name="T19" fmla="*/ 248 h 273"/>
                  <a:gd name="T20" fmla="*/ 31 w 154"/>
                  <a:gd name="T21" fmla="*/ 252 h 273"/>
                  <a:gd name="T22" fmla="*/ 35 w 154"/>
                  <a:gd name="T23" fmla="*/ 254 h 273"/>
                  <a:gd name="T24" fmla="*/ 37 w 154"/>
                  <a:gd name="T25" fmla="*/ 259 h 273"/>
                  <a:gd name="T26" fmla="*/ 35 w 154"/>
                  <a:gd name="T27" fmla="*/ 263 h 273"/>
                  <a:gd name="T28" fmla="*/ 31 w 154"/>
                  <a:gd name="T29" fmla="*/ 265 h 273"/>
                  <a:gd name="T30" fmla="*/ 25 w 154"/>
                  <a:gd name="T31" fmla="*/ 269 h 273"/>
                  <a:gd name="T32" fmla="*/ 19 w 154"/>
                  <a:gd name="T33" fmla="*/ 271 h 273"/>
                  <a:gd name="T34" fmla="*/ 13 w 154"/>
                  <a:gd name="T35" fmla="*/ 271 h 273"/>
                  <a:gd name="T36" fmla="*/ 10 w 154"/>
                  <a:gd name="T37" fmla="*/ 271 h 273"/>
                  <a:gd name="T38" fmla="*/ 4 w 154"/>
                  <a:gd name="T39" fmla="*/ 273 h 273"/>
                  <a:gd name="T40" fmla="*/ 2 w 154"/>
                  <a:gd name="T41" fmla="*/ 273 h 273"/>
                  <a:gd name="T42" fmla="*/ 2 w 154"/>
                  <a:gd name="T43" fmla="*/ 269 h 273"/>
                  <a:gd name="T44" fmla="*/ 0 w 154"/>
                  <a:gd name="T45" fmla="*/ 263 h 273"/>
                  <a:gd name="T46" fmla="*/ 0 w 154"/>
                  <a:gd name="T47" fmla="*/ 261 h 273"/>
                  <a:gd name="T48" fmla="*/ 2 w 154"/>
                  <a:gd name="T49" fmla="*/ 257 h 273"/>
                  <a:gd name="T50" fmla="*/ 2 w 154"/>
                  <a:gd name="T51" fmla="*/ 256 h 273"/>
                  <a:gd name="T52" fmla="*/ 6 w 154"/>
                  <a:gd name="T53" fmla="*/ 254 h 273"/>
                  <a:gd name="T54" fmla="*/ 6 w 154"/>
                  <a:gd name="T55" fmla="*/ 252 h 273"/>
                  <a:gd name="T56" fmla="*/ 152 w 154"/>
                  <a:gd name="T57" fmla="*/ 21 h 273"/>
                  <a:gd name="T58" fmla="*/ 152 w 154"/>
                  <a:gd name="T59" fmla="*/ 27 h 273"/>
                  <a:gd name="T60" fmla="*/ 150 w 154"/>
                  <a:gd name="T61" fmla="*/ 33 h 273"/>
                  <a:gd name="T62" fmla="*/ 150 w 154"/>
                  <a:gd name="T63" fmla="*/ 34 h 273"/>
                  <a:gd name="T64" fmla="*/ 150 w 154"/>
                  <a:gd name="T65" fmla="*/ 31 h 273"/>
                  <a:gd name="T66" fmla="*/ 148 w 154"/>
                  <a:gd name="T67" fmla="*/ 34 h 273"/>
                  <a:gd name="T68" fmla="*/ 150 w 154"/>
                  <a:gd name="T69" fmla="*/ 34 h 273"/>
                  <a:gd name="T70" fmla="*/ 148 w 154"/>
                  <a:gd name="T71" fmla="*/ 34 h 273"/>
                  <a:gd name="T72" fmla="*/ 146 w 154"/>
                  <a:gd name="T73" fmla="*/ 38 h 273"/>
                  <a:gd name="T74" fmla="*/ 146 w 154"/>
                  <a:gd name="T75" fmla="*/ 38 h 273"/>
                  <a:gd name="T76" fmla="*/ 144 w 154"/>
                  <a:gd name="T77" fmla="*/ 42 h 273"/>
                  <a:gd name="T78" fmla="*/ 144 w 154"/>
                  <a:gd name="T79" fmla="*/ 40 h 273"/>
                  <a:gd name="T80" fmla="*/ 144 w 154"/>
                  <a:gd name="T81" fmla="*/ 46 h 273"/>
                  <a:gd name="T82" fmla="*/ 140 w 154"/>
                  <a:gd name="T83" fmla="*/ 46 h 273"/>
                  <a:gd name="T84" fmla="*/ 142 w 154"/>
                  <a:gd name="T85" fmla="*/ 48 h 273"/>
                  <a:gd name="T86" fmla="*/ 142 w 154"/>
                  <a:gd name="T87" fmla="*/ 46 h 273"/>
                  <a:gd name="T88" fmla="*/ 140 w 154"/>
                  <a:gd name="T89" fmla="*/ 46 h 273"/>
                  <a:gd name="T90" fmla="*/ 136 w 154"/>
                  <a:gd name="T91" fmla="*/ 44 h 273"/>
                  <a:gd name="T92" fmla="*/ 136 w 154"/>
                  <a:gd name="T93" fmla="*/ 44 h 273"/>
                  <a:gd name="T94" fmla="*/ 129 w 154"/>
                  <a:gd name="T95" fmla="*/ 40 h 273"/>
                  <a:gd name="T96" fmla="*/ 127 w 154"/>
                  <a:gd name="T97" fmla="*/ 34 h 273"/>
                  <a:gd name="T98" fmla="*/ 127 w 154"/>
                  <a:gd name="T99" fmla="*/ 33 h 273"/>
                  <a:gd name="T100" fmla="*/ 127 w 154"/>
                  <a:gd name="T101" fmla="*/ 31 h 273"/>
                  <a:gd name="T102" fmla="*/ 127 w 154"/>
                  <a:gd name="T103" fmla="*/ 29 h 273"/>
                  <a:gd name="T104" fmla="*/ 129 w 154"/>
                  <a:gd name="T105" fmla="*/ 25 h 273"/>
                  <a:gd name="T106" fmla="*/ 127 w 154"/>
                  <a:gd name="T107" fmla="*/ 19 h 273"/>
                  <a:gd name="T108" fmla="*/ 127 w 154"/>
                  <a:gd name="T109" fmla="*/ 17 h 273"/>
                  <a:gd name="T110" fmla="*/ 127 w 154"/>
                  <a:gd name="T111" fmla="*/ 15 h 273"/>
                  <a:gd name="T112" fmla="*/ 127 w 154"/>
                  <a:gd name="T113" fmla="*/ 15 h 273"/>
                  <a:gd name="T114" fmla="*/ 127 w 154"/>
                  <a:gd name="T115" fmla="*/ 9 h 273"/>
                  <a:gd name="T116" fmla="*/ 127 w 154"/>
                  <a:gd name="T117" fmla="*/ 8 h 273"/>
                  <a:gd name="T118" fmla="*/ 127 w 154"/>
                  <a:gd name="T119" fmla="*/ 9 h 273"/>
                  <a:gd name="T120" fmla="*/ 129 w 154"/>
                  <a:gd name="T121" fmla="*/ 6 h 273"/>
                  <a:gd name="T122" fmla="*/ 129 w 154"/>
                  <a:gd name="T123" fmla="*/ 4 h 273"/>
                  <a:gd name="T124" fmla="*/ 129 w 154"/>
                  <a:gd name="T125" fmla="*/ 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273">
                    <a:moveTo>
                      <a:pt x="6" y="252"/>
                    </a:moveTo>
                    <a:lnTo>
                      <a:pt x="8" y="252"/>
                    </a:lnTo>
                    <a:lnTo>
                      <a:pt x="10" y="252"/>
                    </a:lnTo>
                    <a:lnTo>
                      <a:pt x="10" y="250"/>
                    </a:lnTo>
                    <a:lnTo>
                      <a:pt x="12" y="250"/>
                    </a:lnTo>
                    <a:lnTo>
                      <a:pt x="13" y="250"/>
                    </a:lnTo>
                    <a:lnTo>
                      <a:pt x="12" y="250"/>
                    </a:lnTo>
                    <a:lnTo>
                      <a:pt x="13" y="250"/>
                    </a:lnTo>
                    <a:lnTo>
                      <a:pt x="15" y="248"/>
                    </a:lnTo>
                    <a:lnTo>
                      <a:pt x="15" y="250"/>
                    </a:lnTo>
                    <a:lnTo>
                      <a:pt x="15" y="248"/>
                    </a:lnTo>
                    <a:lnTo>
                      <a:pt x="17" y="248"/>
                    </a:lnTo>
                    <a:lnTo>
                      <a:pt x="19" y="248"/>
                    </a:lnTo>
                    <a:lnTo>
                      <a:pt x="19" y="246"/>
                    </a:lnTo>
                    <a:lnTo>
                      <a:pt x="21" y="246"/>
                    </a:lnTo>
                    <a:lnTo>
                      <a:pt x="21" y="248"/>
                    </a:lnTo>
                    <a:lnTo>
                      <a:pt x="21" y="246"/>
                    </a:lnTo>
                    <a:lnTo>
                      <a:pt x="23" y="246"/>
                    </a:lnTo>
                    <a:lnTo>
                      <a:pt x="25" y="246"/>
                    </a:lnTo>
                    <a:lnTo>
                      <a:pt x="25" y="244"/>
                    </a:lnTo>
                    <a:lnTo>
                      <a:pt x="25" y="246"/>
                    </a:lnTo>
                    <a:lnTo>
                      <a:pt x="25" y="244"/>
                    </a:lnTo>
                    <a:lnTo>
                      <a:pt x="27" y="244"/>
                    </a:lnTo>
                    <a:lnTo>
                      <a:pt x="29" y="244"/>
                    </a:lnTo>
                    <a:lnTo>
                      <a:pt x="31" y="244"/>
                    </a:lnTo>
                    <a:lnTo>
                      <a:pt x="29" y="244"/>
                    </a:lnTo>
                    <a:lnTo>
                      <a:pt x="31" y="244"/>
                    </a:lnTo>
                    <a:lnTo>
                      <a:pt x="31" y="246"/>
                    </a:lnTo>
                    <a:lnTo>
                      <a:pt x="33" y="246"/>
                    </a:lnTo>
                    <a:lnTo>
                      <a:pt x="33" y="248"/>
                    </a:lnTo>
                    <a:lnTo>
                      <a:pt x="33" y="250"/>
                    </a:lnTo>
                    <a:lnTo>
                      <a:pt x="31" y="250"/>
                    </a:lnTo>
                    <a:lnTo>
                      <a:pt x="31" y="252"/>
                    </a:lnTo>
                    <a:lnTo>
                      <a:pt x="33" y="252"/>
                    </a:lnTo>
                    <a:lnTo>
                      <a:pt x="33" y="254"/>
                    </a:lnTo>
                    <a:lnTo>
                      <a:pt x="35" y="254"/>
                    </a:lnTo>
                    <a:lnTo>
                      <a:pt x="37" y="256"/>
                    </a:lnTo>
                    <a:lnTo>
                      <a:pt x="37" y="257"/>
                    </a:lnTo>
                    <a:lnTo>
                      <a:pt x="37" y="259"/>
                    </a:lnTo>
                    <a:lnTo>
                      <a:pt x="37" y="261"/>
                    </a:lnTo>
                    <a:lnTo>
                      <a:pt x="35" y="261"/>
                    </a:lnTo>
                    <a:lnTo>
                      <a:pt x="35" y="263"/>
                    </a:lnTo>
                    <a:lnTo>
                      <a:pt x="33" y="263"/>
                    </a:lnTo>
                    <a:lnTo>
                      <a:pt x="33" y="265"/>
                    </a:lnTo>
                    <a:lnTo>
                      <a:pt x="31" y="265"/>
                    </a:lnTo>
                    <a:lnTo>
                      <a:pt x="29" y="267"/>
                    </a:lnTo>
                    <a:lnTo>
                      <a:pt x="27" y="267"/>
                    </a:lnTo>
                    <a:lnTo>
                      <a:pt x="25" y="269"/>
                    </a:lnTo>
                    <a:lnTo>
                      <a:pt x="23" y="269"/>
                    </a:lnTo>
                    <a:lnTo>
                      <a:pt x="21" y="269"/>
                    </a:lnTo>
                    <a:lnTo>
                      <a:pt x="19" y="271"/>
                    </a:lnTo>
                    <a:lnTo>
                      <a:pt x="17" y="271"/>
                    </a:lnTo>
                    <a:lnTo>
                      <a:pt x="15" y="271"/>
                    </a:lnTo>
                    <a:lnTo>
                      <a:pt x="13" y="271"/>
                    </a:lnTo>
                    <a:lnTo>
                      <a:pt x="12" y="271"/>
                    </a:lnTo>
                    <a:lnTo>
                      <a:pt x="10" y="269"/>
                    </a:lnTo>
                    <a:lnTo>
                      <a:pt x="10" y="271"/>
                    </a:lnTo>
                    <a:lnTo>
                      <a:pt x="8" y="271"/>
                    </a:lnTo>
                    <a:lnTo>
                      <a:pt x="6" y="271"/>
                    </a:lnTo>
                    <a:lnTo>
                      <a:pt x="4" y="273"/>
                    </a:lnTo>
                    <a:lnTo>
                      <a:pt x="4" y="271"/>
                    </a:lnTo>
                    <a:lnTo>
                      <a:pt x="4" y="273"/>
                    </a:lnTo>
                    <a:lnTo>
                      <a:pt x="2" y="273"/>
                    </a:lnTo>
                    <a:lnTo>
                      <a:pt x="4" y="273"/>
                    </a:lnTo>
                    <a:lnTo>
                      <a:pt x="2" y="273"/>
                    </a:lnTo>
                    <a:lnTo>
                      <a:pt x="2" y="269"/>
                    </a:lnTo>
                    <a:lnTo>
                      <a:pt x="0" y="267"/>
                    </a:lnTo>
                    <a:lnTo>
                      <a:pt x="0" y="265"/>
                    </a:lnTo>
                    <a:lnTo>
                      <a:pt x="0" y="263"/>
                    </a:lnTo>
                    <a:lnTo>
                      <a:pt x="0" y="261"/>
                    </a:lnTo>
                    <a:lnTo>
                      <a:pt x="2" y="261"/>
                    </a:lnTo>
                    <a:lnTo>
                      <a:pt x="0" y="261"/>
                    </a:lnTo>
                    <a:lnTo>
                      <a:pt x="0" y="259"/>
                    </a:lnTo>
                    <a:lnTo>
                      <a:pt x="2" y="259"/>
                    </a:lnTo>
                    <a:lnTo>
                      <a:pt x="2" y="257"/>
                    </a:lnTo>
                    <a:lnTo>
                      <a:pt x="2" y="259"/>
                    </a:lnTo>
                    <a:lnTo>
                      <a:pt x="2" y="257"/>
                    </a:lnTo>
                    <a:lnTo>
                      <a:pt x="2" y="256"/>
                    </a:lnTo>
                    <a:lnTo>
                      <a:pt x="4" y="256"/>
                    </a:lnTo>
                    <a:lnTo>
                      <a:pt x="4" y="254"/>
                    </a:lnTo>
                    <a:lnTo>
                      <a:pt x="6" y="254"/>
                    </a:lnTo>
                    <a:lnTo>
                      <a:pt x="6" y="252"/>
                    </a:lnTo>
                    <a:lnTo>
                      <a:pt x="8" y="252"/>
                    </a:lnTo>
                    <a:lnTo>
                      <a:pt x="6" y="252"/>
                    </a:lnTo>
                    <a:close/>
                    <a:moveTo>
                      <a:pt x="129" y="0"/>
                    </a:moveTo>
                    <a:lnTo>
                      <a:pt x="154" y="19"/>
                    </a:lnTo>
                    <a:lnTo>
                      <a:pt x="152" y="21"/>
                    </a:lnTo>
                    <a:lnTo>
                      <a:pt x="152" y="23"/>
                    </a:lnTo>
                    <a:lnTo>
                      <a:pt x="152" y="25"/>
                    </a:lnTo>
                    <a:lnTo>
                      <a:pt x="152" y="27"/>
                    </a:lnTo>
                    <a:lnTo>
                      <a:pt x="152" y="31"/>
                    </a:lnTo>
                    <a:lnTo>
                      <a:pt x="152" y="33"/>
                    </a:lnTo>
                    <a:lnTo>
                      <a:pt x="150" y="33"/>
                    </a:lnTo>
                    <a:lnTo>
                      <a:pt x="150" y="34"/>
                    </a:lnTo>
                    <a:lnTo>
                      <a:pt x="148" y="34"/>
                    </a:lnTo>
                    <a:lnTo>
                      <a:pt x="150" y="34"/>
                    </a:lnTo>
                    <a:lnTo>
                      <a:pt x="152" y="33"/>
                    </a:lnTo>
                    <a:lnTo>
                      <a:pt x="152" y="31"/>
                    </a:lnTo>
                    <a:lnTo>
                      <a:pt x="150" y="31"/>
                    </a:lnTo>
                    <a:lnTo>
                      <a:pt x="150" y="33"/>
                    </a:lnTo>
                    <a:lnTo>
                      <a:pt x="148" y="33"/>
                    </a:lnTo>
                    <a:lnTo>
                      <a:pt x="148" y="34"/>
                    </a:lnTo>
                    <a:lnTo>
                      <a:pt x="148" y="33"/>
                    </a:lnTo>
                    <a:lnTo>
                      <a:pt x="150" y="33"/>
                    </a:lnTo>
                    <a:lnTo>
                      <a:pt x="150" y="34"/>
                    </a:lnTo>
                    <a:lnTo>
                      <a:pt x="148" y="34"/>
                    </a:lnTo>
                    <a:lnTo>
                      <a:pt x="146" y="36"/>
                    </a:lnTo>
                    <a:lnTo>
                      <a:pt x="148" y="34"/>
                    </a:lnTo>
                    <a:lnTo>
                      <a:pt x="148" y="36"/>
                    </a:lnTo>
                    <a:lnTo>
                      <a:pt x="146" y="36"/>
                    </a:lnTo>
                    <a:lnTo>
                      <a:pt x="146" y="38"/>
                    </a:lnTo>
                    <a:lnTo>
                      <a:pt x="144" y="38"/>
                    </a:lnTo>
                    <a:lnTo>
                      <a:pt x="144" y="40"/>
                    </a:lnTo>
                    <a:lnTo>
                      <a:pt x="146" y="38"/>
                    </a:lnTo>
                    <a:lnTo>
                      <a:pt x="144" y="38"/>
                    </a:lnTo>
                    <a:lnTo>
                      <a:pt x="144" y="40"/>
                    </a:lnTo>
                    <a:lnTo>
                      <a:pt x="144" y="42"/>
                    </a:lnTo>
                    <a:lnTo>
                      <a:pt x="144" y="44"/>
                    </a:lnTo>
                    <a:lnTo>
                      <a:pt x="144" y="42"/>
                    </a:lnTo>
                    <a:lnTo>
                      <a:pt x="144" y="40"/>
                    </a:lnTo>
                    <a:lnTo>
                      <a:pt x="144" y="42"/>
                    </a:lnTo>
                    <a:lnTo>
                      <a:pt x="144" y="44"/>
                    </a:lnTo>
                    <a:lnTo>
                      <a:pt x="144" y="46"/>
                    </a:lnTo>
                    <a:lnTo>
                      <a:pt x="144" y="48"/>
                    </a:lnTo>
                    <a:lnTo>
                      <a:pt x="142" y="48"/>
                    </a:lnTo>
                    <a:lnTo>
                      <a:pt x="140" y="46"/>
                    </a:lnTo>
                    <a:lnTo>
                      <a:pt x="138" y="46"/>
                    </a:lnTo>
                    <a:lnTo>
                      <a:pt x="140" y="46"/>
                    </a:lnTo>
                    <a:lnTo>
                      <a:pt x="142" y="48"/>
                    </a:lnTo>
                    <a:lnTo>
                      <a:pt x="142" y="46"/>
                    </a:lnTo>
                    <a:lnTo>
                      <a:pt x="142" y="48"/>
                    </a:lnTo>
                    <a:lnTo>
                      <a:pt x="142" y="46"/>
                    </a:lnTo>
                    <a:lnTo>
                      <a:pt x="140" y="46"/>
                    </a:lnTo>
                    <a:lnTo>
                      <a:pt x="142" y="46"/>
                    </a:lnTo>
                    <a:lnTo>
                      <a:pt x="140" y="46"/>
                    </a:lnTo>
                    <a:lnTo>
                      <a:pt x="138" y="46"/>
                    </a:lnTo>
                    <a:lnTo>
                      <a:pt x="138" y="44"/>
                    </a:lnTo>
                    <a:lnTo>
                      <a:pt x="136" y="44"/>
                    </a:lnTo>
                    <a:lnTo>
                      <a:pt x="138" y="44"/>
                    </a:lnTo>
                    <a:lnTo>
                      <a:pt x="138" y="46"/>
                    </a:lnTo>
                    <a:lnTo>
                      <a:pt x="136" y="44"/>
                    </a:lnTo>
                    <a:lnTo>
                      <a:pt x="133" y="44"/>
                    </a:lnTo>
                    <a:lnTo>
                      <a:pt x="131" y="42"/>
                    </a:lnTo>
                    <a:lnTo>
                      <a:pt x="129" y="40"/>
                    </a:lnTo>
                    <a:lnTo>
                      <a:pt x="127" y="38"/>
                    </a:lnTo>
                    <a:lnTo>
                      <a:pt x="127" y="36"/>
                    </a:lnTo>
                    <a:lnTo>
                      <a:pt x="127" y="34"/>
                    </a:lnTo>
                    <a:lnTo>
                      <a:pt x="127" y="33"/>
                    </a:lnTo>
                    <a:lnTo>
                      <a:pt x="127" y="31"/>
                    </a:lnTo>
                    <a:lnTo>
                      <a:pt x="127" y="33"/>
                    </a:lnTo>
                    <a:lnTo>
                      <a:pt x="129" y="33"/>
                    </a:lnTo>
                    <a:lnTo>
                      <a:pt x="127" y="33"/>
                    </a:lnTo>
                    <a:lnTo>
                      <a:pt x="127" y="31"/>
                    </a:lnTo>
                    <a:lnTo>
                      <a:pt x="127" y="29"/>
                    </a:lnTo>
                    <a:lnTo>
                      <a:pt x="127" y="31"/>
                    </a:lnTo>
                    <a:lnTo>
                      <a:pt x="127" y="29"/>
                    </a:lnTo>
                    <a:lnTo>
                      <a:pt x="127" y="27"/>
                    </a:lnTo>
                    <a:lnTo>
                      <a:pt x="127" y="25"/>
                    </a:lnTo>
                    <a:lnTo>
                      <a:pt x="129" y="25"/>
                    </a:lnTo>
                    <a:lnTo>
                      <a:pt x="129" y="23"/>
                    </a:lnTo>
                    <a:lnTo>
                      <a:pt x="127" y="21"/>
                    </a:lnTo>
                    <a:lnTo>
                      <a:pt x="127" y="19"/>
                    </a:lnTo>
                    <a:lnTo>
                      <a:pt x="129" y="19"/>
                    </a:lnTo>
                    <a:lnTo>
                      <a:pt x="129" y="17"/>
                    </a:lnTo>
                    <a:lnTo>
                      <a:pt x="127" y="17"/>
                    </a:lnTo>
                    <a:lnTo>
                      <a:pt x="127" y="19"/>
                    </a:lnTo>
                    <a:lnTo>
                      <a:pt x="127" y="17"/>
                    </a:lnTo>
                    <a:lnTo>
                      <a:pt x="127" y="15"/>
                    </a:lnTo>
                    <a:lnTo>
                      <a:pt x="129" y="13"/>
                    </a:lnTo>
                    <a:lnTo>
                      <a:pt x="127" y="13"/>
                    </a:lnTo>
                    <a:lnTo>
                      <a:pt x="127" y="15"/>
                    </a:lnTo>
                    <a:lnTo>
                      <a:pt x="127" y="13"/>
                    </a:lnTo>
                    <a:lnTo>
                      <a:pt x="127" y="11"/>
                    </a:lnTo>
                    <a:lnTo>
                      <a:pt x="127" y="9"/>
                    </a:lnTo>
                    <a:lnTo>
                      <a:pt x="127" y="8"/>
                    </a:lnTo>
                    <a:lnTo>
                      <a:pt x="129" y="8"/>
                    </a:lnTo>
                    <a:lnTo>
                      <a:pt x="127" y="8"/>
                    </a:lnTo>
                    <a:lnTo>
                      <a:pt x="127" y="9"/>
                    </a:lnTo>
                    <a:lnTo>
                      <a:pt x="127" y="11"/>
                    </a:lnTo>
                    <a:lnTo>
                      <a:pt x="127" y="9"/>
                    </a:lnTo>
                    <a:lnTo>
                      <a:pt x="129" y="9"/>
                    </a:lnTo>
                    <a:lnTo>
                      <a:pt x="129" y="8"/>
                    </a:lnTo>
                    <a:lnTo>
                      <a:pt x="129" y="6"/>
                    </a:lnTo>
                    <a:lnTo>
                      <a:pt x="129" y="4"/>
                    </a:lnTo>
                    <a:lnTo>
                      <a:pt x="131" y="4"/>
                    </a:lnTo>
                    <a:lnTo>
                      <a:pt x="129" y="4"/>
                    </a:lnTo>
                    <a:lnTo>
                      <a:pt x="129" y="2"/>
                    </a:lnTo>
                    <a:lnTo>
                      <a:pt x="129" y="4"/>
                    </a:lnTo>
                    <a:lnTo>
                      <a:pt x="129" y="2"/>
                    </a:lnTo>
                    <a:lnTo>
                      <a:pt x="129"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8" name="Freeform 23"/>
              <p:cNvSpPr>
                <a:spLocks/>
              </p:cNvSpPr>
              <p:nvPr/>
            </p:nvSpPr>
            <p:spPr bwMode="auto">
              <a:xfrm>
                <a:off x="1262222" y="2689982"/>
                <a:ext cx="161739" cy="178945"/>
              </a:xfrm>
              <a:custGeom>
                <a:avLst/>
                <a:gdLst>
                  <a:gd name="T0" fmla="*/ 89 w 94"/>
                  <a:gd name="T1" fmla="*/ 50 h 104"/>
                  <a:gd name="T2" fmla="*/ 83 w 94"/>
                  <a:gd name="T3" fmla="*/ 54 h 104"/>
                  <a:gd name="T4" fmla="*/ 79 w 94"/>
                  <a:gd name="T5" fmla="*/ 56 h 104"/>
                  <a:gd name="T6" fmla="*/ 77 w 94"/>
                  <a:gd name="T7" fmla="*/ 58 h 104"/>
                  <a:gd name="T8" fmla="*/ 75 w 94"/>
                  <a:gd name="T9" fmla="*/ 64 h 104"/>
                  <a:gd name="T10" fmla="*/ 69 w 94"/>
                  <a:gd name="T11" fmla="*/ 64 h 104"/>
                  <a:gd name="T12" fmla="*/ 65 w 94"/>
                  <a:gd name="T13" fmla="*/ 68 h 104"/>
                  <a:gd name="T14" fmla="*/ 58 w 94"/>
                  <a:gd name="T15" fmla="*/ 68 h 104"/>
                  <a:gd name="T16" fmla="*/ 56 w 94"/>
                  <a:gd name="T17" fmla="*/ 69 h 104"/>
                  <a:gd name="T18" fmla="*/ 58 w 94"/>
                  <a:gd name="T19" fmla="*/ 75 h 104"/>
                  <a:gd name="T20" fmla="*/ 62 w 94"/>
                  <a:gd name="T21" fmla="*/ 77 h 104"/>
                  <a:gd name="T22" fmla="*/ 65 w 94"/>
                  <a:gd name="T23" fmla="*/ 79 h 104"/>
                  <a:gd name="T24" fmla="*/ 62 w 94"/>
                  <a:gd name="T25" fmla="*/ 89 h 104"/>
                  <a:gd name="T26" fmla="*/ 60 w 94"/>
                  <a:gd name="T27" fmla="*/ 87 h 104"/>
                  <a:gd name="T28" fmla="*/ 56 w 94"/>
                  <a:gd name="T29" fmla="*/ 91 h 104"/>
                  <a:gd name="T30" fmla="*/ 56 w 94"/>
                  <a:gd name="T31" fmla="*/ 96 h 104"/>
                  <a:gd name="T32" fmla="*/ 50 w 94"/>
                  <a:gd name="T33" fmla="*/ 93 h 104"/>
                  <a:gd name="T34" fmla="*/ 46 w 94"/>
                  <a:gd name="T35" fmla="*/ 102 h 104"/>
                  <a:gd name="T36" fmla="*/ 42 w 94"/>
                  <a:gd name="T37" fmla="*/ 98 h 104"/>
                  <a:gd name="T38" fmla="*/ 40 w 94"/>
                  <a:gd name="T39" fmla="*/ 96 h 104"/>
                  <a:gd name="T40" fmla="*/ 35 w 94"/>
                  <a:gd name="T41" fmla="*/ 93 h 104"/>
                  <a:gd name="T42" fmla="*/ 31 w 94"/>
                  <a:gd name="T43" fmla="*/ 96 h 104"/>
                  <a:gd name="T44" fmla="*/ 25 w 94"/>
                  <a:gd name="T45" fmla="*/ 102 h 104"/>
                  <a:gd name="T46" fmla="*/ 19 w 94"/>
                  <a:gd name="T47" fmla="*/ 96 h 104"/>
                  <a:gd name="T48" fmla="*/ 12 w 94"/>
                  <a:gd name="T49" fmla="*/ 98 h 104"/>
                  <a:gd name="T50" fmla="*/ 6 w 94"/>
                  <a:gd name="T51" fmla="*/ 93 h 104"/>
                  <a:gd name="T52" fmla="*/ 2 w 94"/>
                  <a:gd name="T53" fmla="*/ 83 h 104"/>
                  <a:gd name="T54" fmla="*/ 6 w 94"/>
                  <a:gd name="T55" fmla="*/ 75 h 104"/>
                  <a:gd name="T56" fmla="*/ 6 w 94"/>
                  <a:gd name="T57" fmla="*/ 68 h 104"/>
                  <a:gd name="T58" fmla="*/ 4 w 94"/>
                  <a:gd name="T59" fmla="*/ 62 h 104"/>
                  <a:gd name="T60" fmla="*/ 2 w 94"/>
                  <a:gd name="T61" fmla="*/ 62 h 104"/>
                  <a:gd name="T62" fmla="*/ 4 w 94"/>
                  <a:gd name="T63" fmla="*/ 54 h 104"/>
                  <a:gd name="T64" fmla="*/ 6 w 94"/>
                  <a:gd name="T65" fmla="*/ 52 h 104"/>
                  <a:gd name="T66" fmla="*/ 14 w 94"/>
                  <a:gd name="T67" fmla="*/ 48 h 104"/>
                  <a:gd name="T68" fmla="*/ 16 w 94"/>
                  <a:gd name="T69" fmla="*/ 43 h 104"/>
                  <a:gd name="T70" fmla="*/ 23 w 94"/>
                  <a:gd name="T71" fmla="*/ 39 h 104"/>
                  <a:gd name="T72" fmla="*/ 19 w 94"/>
                  <a:gd name="T73" fmla="*/ 35 h 104"/>
                  <a:gd name="T74" fmla="*/ 17 w 94"/>
                  <a:gd name="T75" fmla="*/ 29 h 104"/>
                  <a:gd name="T76" fmla="*/ 17 w 94"/>
                  <a:gd name="T77" fmla="*/ 21 h 104"/>
                  <a:gd name="T78" fmla="*/ 23 w 94"/>
                  <a:gd name="T79" fmla="*/ 18 h 104"/>
                  <a:gd name="T80" fmla="*/ 29 w 94"/>
                  <a:gd name="T81" fmla="*/ 12 h 104"/>
                  <a:gd name="T82" fmla="*/ 31 w 94"/>
                  <a:gd name="T83" fmla="*/ 6 h 104"/>
                  <a:gd name="T84" fmla="*/ 40 w 94"/>
                  <a:gd name="T85" fmla="*/ 2 h 104"/>
                  <a:gd name="T86" fmla="*/ 46 w 94"/>
                  <a:gd name="T87" fmla="*/ 0 h 104"/>
                  <a:gd name="T88" fmla="*/ 52 w 94"/>
                  <a:gd name="T89" fmla="*/ 6 h 104"/>
                  <a:gd name="T90" fmla="*/ 60 w 94"/>
                  <a:gd name="T91" fmla="*/ 4 h 104"/>
                  <a:gd name="T92" fmla="*/ 67 w 94"/>
                  <a:gd name="T93" fmla="*/ 2 h 104"/>
                  <a:gd name="T94" fmla="*/ 77 w 94"/>
                  <a:gd name="T95" fmla="*/ 2 h 104"/>
                  <a:gd name="T96" fmla="*/ 77 w 94"/>
                  <a:gd name="T97" fmla="*/ 16 h 104"/>
                  <a:gd name="T98" fmla="*/ 85 w 94"/>
                  <a:gd name="T99" fmla="*/ 21 h 104"/>
                  <a:gd name="T100" fmla="*/ 89 w 94"/>
                  <a:gd name="T101" fmla="*/ 29 h 104"/>
                  <a:gd name="T102" fmla="*/ 89 w 94"/>
                  <a:gd name="T103" fmla="*/ 39 h 104"/>
                  <a:gd name="T104" fmla="*/ 90 w 94"/>
                  <a:gd name="T105" fmla="*/ 4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4" h="104">
                    <a:moveTo>
                      <a:pt x="94" y="50"/>
                    </a:moveTo>
                    <a:lnTo>
                      <a:pt x="94" y="52"/>
                    </a:lnTo>
                    <a:lnTo>
                      <a:pt x="92" y="52"/>
                    </a:lnTo>
                    <a:lnTo>
                      <a:pt x="90" y="52"/>
                    </a:lnTo>
                    <a:lnTo>
                      <a:pt x="90" y="50"/>
                    </a:lnTo>
                    <a:lnTo>
                      <a:pt x="89" y="50"/>
                    </a:lnTo>
                    <a:lnTo>
                      <a:pt x="89" y="52"/>
                    </a:lnTo>
                    <a:lnTo>
                      <a:pt x="87" y="52"/>
                    </a:lnTo>
                    <a:lnTo>
                      <a:pt x="87" y="54"/>
                    </a:lnTo>
                    <a:lnTo>
                      <a:pt x="85" y="54"/>
                    </a:lnTo>
                    <a:lnTo>
                      <a:pt x="85" y="56"/>
                    </a:lnTo>
                    <a:lnTo>
                      <a:pt x="83" y="54"/>
                    </a:lnTo>
                    <a:lnTo>
                      <a:pt x="81" y="54"/>
                    </a:lnTo>
                    <a:lnTo>
                      <a:pt x="81" y="56"/>
                    </a:lnTo>
                    <a:lnTo>
                      <a:pt x="81" y="54"/>
                    </a:lnTo>
                    <a:lnTo>
                      <a:pt x="81" y="52"/>
                    </a:lnTo>
                    <a:lnTo>
                      <a:pt x="81" y="54"/>
                    </a:lnTo>
                    <a:lnTo>
                      <a:pt x="79" y="56"/>
                    </a:lnTo>
                    <a:lnTo>
                      <a:pt x="79" y="54"/>
                    </a:lnTo>
                    <a:lnTo>
                      <a:pt x="77" y="56"/>
                    </a:lnTo>
                    <a:lnTo>
                      <a:pt x="75" y="58"/>
                    </a:lnTo>
                    <a:lnTo>
                      <a:pt x="77" y="58"/>
                    </a:lnTo>
                    <a:lnTo>
                      <a:pt x="79" y="58"/>
                    </a:lnTo>
                    <a:lnTo>
                      <a:pt x="77" y="58"/>
                    </a:lnTo>
                    <a:lnTo>
                      <a:pt x="77" y="60"/>
                    </a:lnTo>
                    <a:lnTo>
                      <a:pt x="77" y="62"/>
                    </a:lnTo>
                    <a:lnTo>
                      <a:pt x="79" y="62"/>
                    </a:lnTo>
                    <a:lnTo>
                      <a:pt x="77" y="62"/>
                    </a:lnTo>
                    <a:lnTo>
                      <a:pt x="77" y="64"/>
                    </a:lnTo>
                    <a:lnTo>
                      <a:pt x="75" y="64"/>
                    </a:lnTo>
                    <a:lnTo>
                      <a:pt x="73" y="64"/>
                    </a:lnTo>
                    <a:lnTo>
                      <a:pt x="75" y="64"/>
                    </a:lnTo>
                    <a:lnTo>
                      <a:pt x="73" y="62"/>
                    </a:lnTo>
                    <a:lnTo>
                      <a:pt x="71" y="62"/>
                    </a:lnTo>
                    <a:lnTo>
                      <a:pt x="71" y="64"/>
                    </a:lnTo>
                    <a:lnTo>
                      <a:pt x="69" y="64"/>
                    </a:lnTo>
                    <a:lnTo>
                      <a:pt x="69" y="66"/>
                    </a:lnTo>
                    <a:lnTo>
                      <a:pt x="69" y="64"/>
                    </a:lnTo>
                    <a:lnTo>
                      <a:pt x="69" y="66"/>
                    </a:lnTo>
                    <a:lnTo>
                      <a:pt x="67" y="66"/>
                    </a:lnTo>
                    <a:lnTo>
                      <a:pt x="67" y="68"/>
                    </a:lnTo>
                    <a:lnTo>
                      <a:pt x="65" y="68"/>
                    </a:lnTo>
                    <a:lnTo>
                      <a:pt x="64" y="68"/>
                    </a:lnTo>
                    <a:lnTo>
                      <a:pt x="64" y="69"/>
                    </a:lnTo>
                    <a:lnTo>
                      <a:pt x="62" y="69"/>
                    </a:lnTo>
                    <a:lnTo>
                      <a:pt x="60" y="69"/>
                    </a:lnTo>
                    <a:lnTo>
                      <a:pt x="60" y="68"/>
                    </a:lnTo>
                    <a:lnTo>
                      <a:pt x="58" y="68"/>
                    </a:lnTo>
                    <a:lnTo>
                      <a:pt x="60" y="68"/>
                    </a:lnTo>
                    <a:lnTo>
                      <a:pt x="58" y="68"/>
                    </a:lnTo>
                    <a:lnTo>
                      <a:pt x="56" y="68"/>
                    </a:lnTo>
                    <a:lnTo>
                      <a:pt x="58" y="68"/>
                    </a:lnTo>
                    <a:lnTo>
                      <a:pt x="58" y="69"/>
                    </a:lnTo>
                    <a:lnTo>
                      <a:pt x="56" y="69"/>
                    </a:lnTo>
                    <a:lnTo>
                      <a:pt x="56" y="71"/>
                    </a:lnTo>
                    <a:lnTo>
                      <a:pt x="56" y="73"/>
                    </a:lnTo>
                    <a:lnTo>
                      <a:pt x="54" y="75"/>
                    </a:lnTo>
                    <a:lnTo>
                      <a:pt x="54" y="77"/>
                    </a:lnTo>
                    <a:lnTo>
                      <a:pt x="56" y="75"/>
                    </a:lnTo>
                    <a:lnTo>
                      <a:pt x="58" y="75"/>
                    </a:lnTo>
                    <a:lnTo>
                      <a:pt x="58" y="73"/>
                    </a:lnTo>
                    <a:lnTo>
                      <a:pt x="60" y="73"/>
                    </a:lnTo>
                    <a:lnTo>
                      <a:pt x="60" y="75"/>
                    </a:lnTo>
                    <a:lnTo>
                      <a:pt x="62" y="75"/>
                    </a:lnTo>
                    <a:lnTo>
                      <a:pt x="60" y="77"/>
                    </a:lnTo>
                    <a:lnTo>
                      <a:pt x="62" y="77"/>
                    </a:lnTo>
                    <a:lnTo>
                      <a:pt x="62" y="75"/>
                    </a:lnTo>
                    <a:lnTo>
                      <a:pt x="62" y="73"/>
                    </a:lnTo>
                    <a:lnTo>
                      <a:pt x="64" y="73"/>
                    </a:lnTo>
                    <a:lnTo>
                      <a:pt x="65" y="75"/>
                    </a:lnTo>
                    <a:lnTo>
                      <a:pt x="65" y="77"/>
                    </a:lnTo>
                    <a:lnTo>
                      <a:pt x="65" y="79"/>
                    </a:lnTo>
                    <a:lnTo>
                      <a:pt x="64" y="79"/>
                    </a:lnTo>
                    <a:lnTo>
                      <a:pt x="65" y="81"/>
                    </a:lnTo>
                    <a:lnTo>
                      <a:pt x="64" y="85"/>
                    </a:lnTo>
                    <a:lnTo>
                      <a:pt x="64" y="87"/>
                    </a:lnTo>
                    <a:lnTo>
                      <a:pt x="62" y="87"/>
                    </a:lnTo>
                    <a:lnTo>
                      <a:pt x="62" y="89"/>
                    </a:lnTo>
                    <a:lnTo>
                      <a:pt x="62" y="91"/>
                    </a:lnTo>
                    <a:lnTo>
                      <a:pt x="62" y="89"/>
                    </a:lnTo>
                    <a:lnTo>
                      <a:pt x="62" y="87"/>
                    </a:lnTo>
                    <a:lnTo>
                      <a:pt x="60" y="87"/>
                    </a:lnTo>
                    <a:lnTo>
                      <a:pt x="60" y="89"/>
                    </a:lnTo>
                    <a:lnTo>
                      <a:pt x="60" y="87"/>
                    </a:lnTo>
                    <a:lnTo>
                      <a:pt x="60" y="89"/>
                    </a:lnTo>
                    <a:lnTo>
                      <a:pt x="60" y="87"/>
                    </a:lnTo>
                    <a:lnTo>
                      <a:pt x="58" y="87"/>
                    </a:lnTo>
                    <a:lnTo>
                      <a:pt x="56" y="87"/>
                    </a:lnTo>
                    <a:lnTo>
                      <a:pt x="56" y="89"/>
                    </a:lnTo>
                    <a:lnTo>
                      <a:pt x="56" y="91"/>
                    </a:lnTo>
                    <a:lnTo>
                      <a:pt x="58" y="89"/>
                    </a:lnTo>
                    <a:lnTo>
                      <a:pt x="58" y="91"/>
                    </a:lnTo>
                    <a:lnTo>
                      <a:pt x="58" y="93"/>
                    </a:lnTo>
                    <a:lnTo>
                      <a:pt x="58" y="94"/>
                    </a:lnTo>
                    <a:lnTo>
                      <a:pt x="56" y="94"/>
                    </a:lnTo>
                    <a:lnTo>
                      <a:pt x="56" y="96"/>
                    </a:lnTo>
                    <a:lnTo>
                      <a:pt x="54" y="96"/>
                    </a:lnTo>
                    <a:lnTo>
                      <a:pt x="52" y="96"/>
                    </a:lnTo>
                    <a:lnTo>
                      <a:pt x="50" y="96"/>
                    </a:lnTo>
                    <a:lnTo>
                      <a:pt x="52" y="94"/>
                    </a:lnTo>
                    <a:lnTo>
                      <a:pt x="50" y="94"/>
                    </a:lnTo>
                    <a:lnTo>
                      <a:pt x="50" y="93"/>
                    </a:lnTo>
                    <a:lnTo>
                      <a:pt x="48" y="93"/>
                    </a:lnTo>
                    <a:lnTo>
                      <a:pt x="48" y="94"/>
                    </a:lnTo>
                    <a:lnTo>
                      <a:pt x="46" y="96"/>
                    </a:lnTo>
                    <a:lnTo>
                      <a:pt x="46" y="98"/>
                    </a:lnTo>
                    <a:lnTo>
                      <a:pt x="46" y="100"/>
                    </a:lnTo>
                    <a:lnTo>
                      <a:pt x="46" y="102"/>
                    </a:lnTo>
                    <a:lnTo>
                      <a:pt x="44" y="104"/>
                    </a:lnTo>
                    <a:lnTo>
                      <a:pt x="44" y="102"/>
                    </a:lnTo>
                    <a:lnTo>
                      <a:pt x="46" y="96"/>
                    </a:lnTo>
                    <a:lnTo>
                      <a:pt x="44" y="96"/>
                    </a:lnTo>
                    <a:lnTo>
                      <a:pt x="44" y="98"/>
                    </a:lnTo>
                    <a:lnTo>
                      <a:pt x="42" y="98"/>
                    </a:lnTo>
                    <a:lnTo>
                      <a:pt x="44" y="100"/>
                    </a:lnTo>
                    <a:lnTo>
                      <a:pt x="42" y="102"/>
                    </a:lnTo>
                    <a:lnTo>
                      <a:pt x="42" y="100"/>
                    </a:lnTo>
                    <a:lnTo>
                      <a:pt x="42" y="98"/>
                    </a:lnTo>
                    <a:lnTo>
                      <a:pt x="42" y="96"/>
                    </a:lnTo>
                    <a:lnTo>
                      <a:pt x="40" y="96"/>
                    </a:lnTo>
                    <a:lnTo>
                      <a:pt x="40" y="98"/>
                    </a:lnTo>
                    <a:lnTo>
                      <a:pt x="39" y="98"/>
                    </a:lnTo>
                    <a:lnTo>
                      <a:pt x="39" y="96"/>
                    </a:lnTo>
                    <a:lnTo>
                      <a:pt x="37" y="94"/>
                    </a:lnTo>
                    <a:lnTo>
                      <a:pt x="37" y="93"/>
                    </a:lnTo>
                    <a:lnTo>
                      <a:pt x="35" y="93"/>
                    </a:lnTo>
                    <a:lnTo>
                      <a:pt x="35" y="91"/>
                    </a:lnTo>
                    <a:lnTo>
                      <a:pt x="35" y="93"/>
                    </a:lnTo>
                    <a:lnTo>
                      <a:pt x="35" y="94"/>
                    </a:lnTo>
                    <a:lnTo>
                      <a:pt x="33" y="94"/>
                    </a:lnTo>
                    <a:lnTo>
                      <a:pt x="33" y="96"/>
                    </a:lnTo>
                    <a:lnTo>
                      <a:pt x="31" y="96"/>
                    </a:lnTo>
                    <a:lnTo>
                      <a:pt x="31" y="98"/>
                    </a:lnTo>
                    <a:lnTo>
                      <a:pt x="31" y="100"/>
                    </a:lnTo>
                    <a:lnTo>
                      <a:pt x="29" y="100"/>
                    </a:lnTo>
                    <a:lnTo>
                      <a:pt x="27" y="100"/>
                    </a:lnTo>
                    <a:lnTo>
                      <a:pt x="25" y="100"/>
                    </a:lnTo>
                    <a:lnTo>
                      <a:pt x="25" y="102"/>
                    </a:lnTo>
                    <a:lnTo>
                      <a:pt x="23" y="102"/>
                    </a:lnTo>
                    <a:lnTo>
                      <a:pt x="21" y="102"/>
                    </a:lnTo>
                    <a:lnTo>
                      <a:pt x="21" y="100"/>
                    </a:lnTo>
                    <a:lnTo>
                      <a:pt x="19" y="100"/>
                    </a:lnTo>
                    <a:lnTo>
                      <a:pt x="19" y="98"/>
                    </a:lnTo>
                    <a:lnTo>
                      <a:pt x="19" y="96"/>
                    </a:lnTo>
                    <a:lnTo>
                      <a:pt x="17" y="98"/>
                    </a:lnTo>
                    <a:lnTo>
                      <a:pt x="16" y="96"/>
                    </a:lnTo>
                    <a:lnTo>
                      <a:pt x="14" y="98"/>
                    </a:lnTo>
                    <a:lnTo>
                      <a:pt x="12" y="98"/>
                    </a:lnTo>
                    <a:lnTo>
                      <a:pt x="12" y="96"/>
                    </a:lnTo>
                    <a:lnTo>
                      <a:pt x="12" y="98"/>
                    </a:lnTo>
                    <a:lnTo>
                      <a:pt x="10" y="98"/>
                    </a:lnTo>
                    <a:lnTo>
                      <a:pt x="10" y="96"/>
                    </a:lnTo>
                    <a:lnTo>
                      <a:pt x="10" y="94"/>
                    </a:lnTo>
                    <a:lnTo>
                      <a:pt x="10" y="93"/>
                    </a:lnTo>
                    <a:lnTo>
                      <a:pt x="8" y="93"/>
                    </a:lnTo>
                    <a:lnTo>
                      <a:pt x="6" y="93"/>
                    </a:lnTo>
                    <a:lnTo>
                      <a:pt x="6" y="91"/>
                    </a:lnTo>
                    <a:lnTo>
                      <a:pt x="6" y="89"/>
                    </a:lnTo>
                    <a:lnTo>
                      <a:pt x="4" y="89"/>
                    </a:lnTo>
                    <a:lnTo>
                      <a:pt x="4" y="87"/>
                    </a:lnTo>
                    <a:lnTo>
                      <a:pt x="4" y="85"/>
                    </a:lnTo>
                    <a:lnTo>
                      <a:pt x="2" y="83"/>
                    </a:lnTo>
                    <a:lnTo>
                      <a:pt x="4" y="83"/>
                    </a:lnTo>
                    <a:lnTo>
                      <a:pt x="2" y="81"/>
                    </a:lnTo>
                    <a:lnTo>
                      <a:pt x="4" y="79"/>
                    </a:lnTo>
                    <a:lnTo>
                      <a:pt x="4" y="77"/>
                    </a:lnTo>
                    <a:lnTo>
                      <a:pt x="6" y="77"/>
                    </a:lnTo>
                    <a:lnTo>
                      <a:pt x="6" y="75"/>
                    </a:lnTo>
                    <a:lnTo>
                      <a:pt x="6" y="73"/>
                    </a:lnTo>
                    <a:lnTo>
                      <a:pt x="4" y="73"/>
                    </a:lnTo>
                    <a:lnTo>
                      <a:pt x="4" y="71"/>
                    </a:lnTo>
                    <a:lnTo>
                      <a:pt x="4" y="69"/>
                    </a:lnTo>
                    <a:lnTo>
                      <a:pt x="4" y="68"/>
                    </a:lnTo>
                    <a:lnTo>
                      <a:pt x="6" y="68"/>
                    </a:lnTo>
                    <a:lnTo>
                      <a:pt x="6" y="66"/>
                    </a:lnTo>
                    <a:lnTo>
                      <a:pt x="6" y="64"/>
                    </a:lnTo>
                    <a:lnTo>
                      <a:pt x="6" y="62"/>
                    </a:lnTo>
                    <a:lnTo>
                      <a:pt x="6" y="60"/>
                    </a:lnTo>
                    <a:lnTo>
                      <a:pt x="6" y="62"/>
                    </a:lnTo>
                    <a:lnTo>
                      <a:pt x="4" y="62"/>
                    </a:lnTo>
                    <a:lnTo>
                      <a:pt x="6" y="62"/>
                    </a:lnTo>
                    <a:lnTo>
                      <a:pt x="4" y="64"/>
                    </a:lnTo>
                    <a:lnTo>
                      <a:pt x="2" y="66"/>
                    </a:lnTo>
                    <a:lnTo>
                      <a:pt x="0" y="66"/>
                    </a:lnTo>
                    <a:lnTo>
                      <a:pt x="2" y="64"/>
                    </a:lnTo>
                    <a:lnTo>
                      <a:pt x="2" y="62"/>
                    </a:lnTo>
                    <a:lnTo>
                      <a:pt x="0" y="60"/>
                    </a:lnTo>
                    <a:lnTo>
                      <a:pt x="2" y="60"/>
                    </a:lnTo>
                    <a:lnTo>
                      <a:pt x="2" y="58"/>
                    </a:lnTo>
                    <a:lnTo>
                      <a:pt x="2" y="56"/>
                    </a:lnTo>
                    <a:lnTo>
                      <a:pt x="2" y="54"/>
                    </a:lnTo>
                    <a:lnTo>
                      <a:pt x="4" y="54"/>
                    </a:lnTo>
                    <a:lnTo>
                      <a:pt x="2" y="54"/>
                    </a:lnTo>
                    <a:lnTo>
                      <a:pt x="2" y="52"/>
                    </a:lnTo>
                    <a:lnTo>
                      <a:pt x="4" y="52"/>
                    </a:lnTo>
                    <a:lnTo>
                      <a:pt x="4" y="54"/>
                    </a:lnTo>
                    <a:lnTo>
                      <a:pt x="4" y="52"/>
                    </a:lnTo>
                    <a:lnTo>
                      <a:pt x="6" y="52"/>
                    </a:lnTo>
                    <a:lnTo>
                      <a:pt x="6" y="50"/>
                    </a:lnTo>
                    <a:lnTo>
                      <a:pt x="8" y="50"/>
                    </a:lnTo>
                    <a:lnTo>
                      <a:pt x="10" y="50"/>
                    </a:lnTo>
                    <a:lnTo>
                      <a:pt x="12" y="50"/>
                    </a:lnTo>
                    <a:lnTo>
                      <a:pt x="14" y="50"/>
                    </a:lnTo>
                    <a:lnTo>
                      <a:pt x="14" y="48"/>
                    </a:lnTo>
                    <a:lnTo>
                      <a:pt x="14" y="46"/>
                    </a:lnTo>
                    <a:lnTo>
                      <a:pt x="14" y="44"/>
                    </a:lnTo>
                    <a:lnTo>
                      <a:pt x="16" y="44"/>
                    </a:lnTo>
                    <a:lnTo>
                      <a:pt x="16" y="46"/>
                    </a:lnTo>
                    <a:lnTo>
                      <a:pt x="16" y="44"/>
                    </a:lnTo>
                    <a:lnTo>
                      <a:pt x="16" y="43"/>
                    </a:lnTo>
                    <a:lnTo>
                      <a:pt x="17" y="43"/>
                    </a:lnTo>
                    <a:lnTo>
                      <a:pt x="19" y="43"/>
                    </a:lnTo>
                    <a:lnTo>
                      <a:pt x="21" y="43"/>
                    </a:lnTo>
                    <a:lnTo>
                      <a:pt x="23" y="43"/>
                    </a:lnTo>
                    <a:lnTo>
                      <a:pt x="23" y="41"/>
                    </a:lnTo>
                    <a:lnTo>
                      <a:pt x="23" y="39"/>
                    </a:lnTo>
                    <a:lnTo>
                      <a:pt x="23" y="37"/>
                    </a:lnTo>
                    <a:lnTo>
                      <a:pt x="23" y="39"/>
                    </a:lnTo>
                    <a:lnTo>
                      <a:pt x="23" y="37"/>
                    </a:lnTo>
                    <a:lnTo>
                      <a:pt x="21" y="37"/>
                    </a:lnTo>
                    <a:lnTo>
                      <a:pt x="21" y="35"/>
                    </a:lnTo>
                    <a:lnTo>
                      <a:pt x="19" y="35"/>
                    </a:lnTo>
                    <a:lnTo>
                      <a:pt x="19" y="33"/>
                    </a:lnTo>
                    <a:lnTo>
                      <a:pt x="17" y="33"/>
                    </a:lnTo>
                    <a:lnTo>
                      <a:pt x="17" y="31"/>
                    </a:lnTo>
                    <a:lnTo>
                      <a:pt x="19" y="31"/>
                    </a:lnTo>
                    <a:lnTo>
                      <a:pt x="19" y="29"/>
                    </a:lnTo>
                    <a:lnTo>
                      <a:pt x="17" y="29"/>
                    </a:lnTo>
                    <a:lnTo>
                      <a:pt x="19" y="29"/>
                    </a:lnTo>
                    <a:lnTo>
                      <a:pt x="19" y="27"/>
                    </a:lnTo>
                    <a:lnTo>
                      <a:pt x="19" y="25"/>
                    </a:lnTo>
                    <a:lnTo>
                      <a:pt x="17" y="25"/>
                    </a:lnTo>
                    <a:lnTo>
                      <a:pt x="17" y="23"/>
                    </a:lnTo>
                    <a:lnTo>
                      <a:pt x="17" y="21"/>
                    </a:lnTo>
                    <a:lnTo>
                      <a:pt x="17" y="19"/>
                    </a:lnTo>
                    <a:lnTo>
                      <a:pt x="19" y="19"/>
                    </a:lnTo>
                    <a:lnTo>
                      <a:pt x="19" y="18"/>
                    </a:lnTo>
                    <a:lnTo>
                      <a:pt x="21" y="16"/>
                    </a:lnTo>
                    <a:lnTo>
                      <a:pt x="21" y="18"/>
                    </a:lnTo>
                    <a:lnTo>
                      <a:pt x="23" y="18"/>
                    </a:lnTo>
                    <a:lnTo>
                      <a:pt x="23" y="16"/>
                    </a:lnTo>
                    <a:lnTo>
                      <a:pt x="25" y="16"/>
                    </a:lnTo>
                    <a:lnTo>
                      <a:pt x="27" y="16"/>
                    </a:lnTo>
                    <a:lnTo>
                      <a:pt x="27" y="14"/>
                    </a:lnTo>
                    <a:lnTo>
                      <a:pt x="27" y="12"/>
                    </a:lnTo>
                    <a:lnTo>
                      <a:pt x="29" y="12"/>
                    </a:lnTo>
                    <a:lnTo>
                      <a:pt x="31" y="12"/>
                    </a:lnTo>
                    <a:lnTo>
                      <a:pt x="31" y="10"/>
                    </a:lnTo>
                    <a:lnTo>
                      <a:pt x="31" y="12"/>
                    </a:lnTo>
                    <a:lnTo>
                      <a:pt x="31" y="10"/>
                    </a:lnTo>
                    <a:lnTo>
                      <a:pt x="31" y="8"/>
                    </a:lnTo>
                    <a:lnTo>
                      <a:pt x="31" y="6"/>
                    </a:lnTo>
                    <a:lnTo>
                      <a:pt x="33" y="6"/>
                    </a:lnTo>
                    <a:lnTo>
                      <a:pt x="35" y="6"/>
                    </a:lnTo>
                    <a:lnTo>
                      <a:pt x="37" y="4"/>
                    </a:lnTo>
                    <a:lnTo>
                      <a:pt x="37" y="2"/>
                    </a:lnTo>
                    <a:lnTo>
                      <a:pt x="39" y="2"/>
                    </a:lnTo>
                    <a:lnTo>
                      <a:pt x="40" y="2"/>
                    </a:lnTo>
                    <a:lnTo>
                      <a:pt x="42" y="2"/>
                    </a:lnTo>
                    <a:lnTo>
                      <a:pt x="44" y="2"/>
                    </a:lnTo>
                    <a:lnTo>
                      <a:pt x="46" y="2"/>
                    </a:lnTo>
                    <a:lnTo>
                      <a:pt x="44" y="2"/>
                    </a:lnTo>
                    <a:lnTo>
                      <a:pt x="46" y="2"/>
                    </a:lnTo>
                    <a:lnTo>
                      <a:pt x="46" y="0"/>
                    </a:lnTo>
                    <a:lnTo>
                      <a:pt x="46" y="2"/>
                    </a:lnTo>
                    <a:lnTo>
                      <a:pt x="48" y="2"/>
                    </a:lnTo>
                    <a:lnTo>
                      <a:pt x="48" y="4"/>
                    </a:lnTo>
                    <a:lnTo>
                      <a:pt x="50" y="4"/>
                    </a:lnTo>
                    <a:lnTo>
                      <a:pt x="52" y="4"/>
                    </a:lnTo>
                    <a:lnTo>
                      <a:pt x="52" y="6"/>
                    </a:lnTo>
                    <a:lnTo>
                      <a:pt x="54" y="6"/>
                    </a:lnTo>
                    <a:lnTo>
                      <a:pt x="56" y="6"/>
                    </a:lnTo>
                    <a:lnTo>
                      <a:pt x="58" y="4"/>
                    </a:lnTo>
                    <a:lnTo>
                      <a:pt x="60" y="4"/>
                    </a:lnTo>
                    <a:lnTo>
                      <a:pt x="60" y="2"/>
                    </a:lnTo>
                    <a:lnTo>
                      <a:pt x="60" y="4"/>
                    </a:lnTo>
                    <a:lnTo>
                      <a:pt x="62" y="4"/>
                    </a:lnTo>
                    <a:lnTo>
                      <a:pt x="64" y="4"/>
                    </a:lnTo>
                    <a:lnTo>
                      <a:pt x="65" y="2"/>
                    </a:lnTo>
                    <a:lnTo>
                      <a:pt x="65" y="4"/>
                    </a:lnTo>
                    <a:lnTo>
                      <a:pt x="65" y="2"/>
                    </a:lnTo>
                    <a:lnTo>
                      <a:pt x="67" y="2"/>
                    </a:lnTo>
                    <a:lnTo>
                      <a:pt x="69" y="2"/>
                    </a:lnTo>
                    <a:lnTo>
                      <a:pt x="71" y="2"/>
                    </a:lnTo>
                    <a:lnTo>
                      <a:pt x="71" y="4"/>
                    </a:lnTo>
                    <a:lnTo>
                      <a:pt x="73" y="2"/>
                    </a:lnTo>
                    <a:lnTo>
                      <a:pt x="75" y="2"/>
                    </a:lnTo>
                    <a:lnTo>
                      <a:pt x="77" y="2"/>
                    </a:lnTo>
                    <a:lnTo>
                      <a:pt x="81" y="4"/>
                    </a:lnTo>
                    <a:lnTo>
                      <a:pt x="77" y="10"/>
                    </a:lnTo>
                    <a:lnTo>
                      <a:pt x="79" y="12"/>
                    </a:lnTo>
                    <a:lnTo>
                      <a:pt x="77" y="12"/>
                    </a:lnTo>
                    <a:lnTo>
                      <a:pt x="77" y="14"/>
                    </a:lnTo>
                    <a:lnTo>
                      <a:pt x="77" y="16"/>
                    </a:lnTo>
                    <a:lnTo>
                      <a:pt x="79" y="18"/>
                    </a:lnTo>
                    <a:lnTo>
                      <a:pt x="81" y="19"/>
                    </a:lnTo>
                    <a:lnTo>
                      <a:pt x="81" y="18"/>
                    </a:lnTo>
                    <a:lnTo>
                      <a:pt x="83" y="18"/>
                    </a:lnTo>
                    <a:lnTo>
                      <a:pt x="83" y="19"/>
                    </a:lnTo>
                    <a:lnTo>
                      <a:pt x="85" y="21"/>
                    </a:lnTo>
                    <a:lnTo>
                      <a:pt x="87" y="23"/>
                    </a:lnTo>
                    <a:lnTo>
                      <a:pt x="89" y="23"/>
                    </a:lnTo>
                    <a:lnTo>
                      <a:pt x="89" y="25"/>
                    </a:lnTo>
                    <a:lnTo>
                      <a:pt x="89" y="27"/>
                    </a:lnTo>
                    <a:lnTo>
                      <a:pt x="87" y="27"/>
                    </a:lnTo>
                    <a:lnTo>
                      <a:pt x="89" y="29"/>
                    </a:lnTo>
                    <a:lnTo>
                      <a:pt x="87" y="31"/>
                    </a:lnTo>
                    <a:lnTo>
                      <a:pt x="87" y="33"/>
                    </a:lnTo>
                    <a:lnTo>
                      <a:pt x="87" y="35"/>
                    </a:lnTo>
                    <a:lnTo>
                      <a:pt x="87" y="37"/>
                    </a:lnTo>
                    <a:lnTo>
                      <a:pt x="89" y="37"/>
                    </a:lnTo>
                    <a:lnTo>
                      <a:pt x="89" y="39"/>
                    </a:lnTo>
                    <a:lnTo>
                      <a:pt x="89" y="41"/>
                    </a:lnTo>
                    <a:lnTo>
                      <a:pt x="90" y="41"/>
                    </a:lnTo>
                    <a:lnTo>
                      <a:pt x="92" y="41"/>
                    </a:lnTo>
                    <a:lnTo>
                      <a:pt x="90" y="43"/>
                    </a:lnTo>
                    <a:lnTo>
                      <a:pt x="90" y="44"/>
                    </a:lnTo>
                    <a:lnTo>
                      <a:pt x="90" y="46"/>
                    </a:lnTo>
                    <a:lnTo>
                      <a:pt x="92" y="48"/>
                    </a:lnTo>
                    <a:lnTo>
                      <a:pt x="94" y="50"/>
                    </a:lnTo>
                    <a:close/>
                  </a:path>
                </a:pathLst>
              </a:custGeom>
              <a:grpFill/>
              <a:ln w="6350" cap="flat" cmpd="sng">
                <a:no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49" name="Freeform 24"/>
              <p:cNvSpPr>
                <a:spLocks/>
              </p:cNvSpPr>
              <p:nvPr/>
            </p:nvSpPr>
            <p:spPr bwMode="auto">
              <a:xfrm>
                <a:off x="475895" y="3940876"/>
                <a:ext cx="72266" cy="111841"/>
              </a:xfrm>
              <a:custGeom>
                <a:avLst/>
                <a:gdLst>
                  <a:gd name="T0" fmla="*/ 34 w 42"/>
                  <a:gd name="T1" fmla="*/ 10 h 65"/>
                  <a:gd name="T2" fmla="*/ 34 w 42"/>
                  <a:gd name="T3" fmla="*/ 13 h 65"/>
                  <a:gd name="T4" fmla="*/ 38 w 42"/>
                  <a:gd name="T5" fmla="*/ 15 h 65"/>
                  <a:gd name="T6" fmla="*/ 40 w 42"/>
                  <a:gd name="T7" fmla="*/ 21 h 65"/>
                  <a:gd name="T8" fmla="*/ 40 w 42"/>
                  <a:gd name="T9" fmla="*/ 25 h 65"/>
                  <a:gd name="T10" fmla="*/ 42 w 42"/>
                  <a:gd name="T11" fmla="*/ 31 h 65"/>
                  <a:gd name="T12" fmla="*/ 38 w 42"/>
                  <a:gd name="T13" fmla="*/ 33 h 65"/>
                  <a:gd name="T14" fmla="*/ 38 w 42"/>
                  <a:gd name="T15" fmla="*/ 36 h 65"/>
                  <a:gd name="T16" fmla="*/ 33 w 42"/>
                  <a:gd name="T17" fmla="*/ 38 h 65"/>
                  <a:gd name="T18" fmla="*/ 31 w 42"/>
                  <a:gd name="T19" fmla="*/ 42 h 65"/>
                  <a:gd name="T20" fmla="*/ 29 w 42"/>
                  <a:gd name="T21" fmla="*/ 44 h 65"/>
                  <a:gd name="T22" fmla="*/ 29 w 42"/>
                  <a:gd name="T23" fmla="*/ 46 h 65"/>
                  <a:gd name="T24" fmla="*/ 27 w 42"/>
                  <a:gd name="T25" fmla="*/ 50 h 65"/>
                  <a:gd name="T26" fmla="*/ 27 w 42"/>
                  <a:gd name="T27" fmla="*/ 54 h 65"/>
                  <a:gd name="T28" fmla="*/ 23 w 42"/>
                  <a:gd name="T29" fmla="*/ 58 h 65"/>
                  <a:gd name="T30" fmla="*/ 21 w 42"/>
                  <a:gd name="T31" fmla="*/ 60 h 65"/>
                  <a:gd name="T32" fmla="*/ 19 w 42"/>
                  <a:gd name="T33" fmla="*/ 61 h 65"/>
                  <a:gd name="T34" fmla="*/ 17 w 42"/>
                  <a:gd name="T35" fmla="*/ 63 h 65"/>
                  <a:gd name="T36" fmla="*/ 13 w 42"/>
                  <a:gd name="T37" fmla="*/ 63 h 65"/>
                  <a:gd name="T38" fmla="*/ 13 w 42"/>
                  <a:gd name="T39" fmla="*/ 65 h 65"/>
                  <a:gd name="T40" fmla="*/ 11 w 42"/>
                  <a:gd name="T41" fmla="*/ 63 h 65"/>
                  <a:gd name="T42" fmla="*/ 8 w 42"/>
                  <a:gd name="T43" fmla="*/ 60 h 65"/>
                  <a:gd name="T44" fmla="*/ 6 w 42"/>
                  <a:gd name="T45" fmla="*/ 60 h 65"/>
                  <a:gd name="T46" fmla="*/ 4 w 42"/>
                  <a:gd name="T47" fmla="*/ 61 h 65"/>
                  <a:gd name="T48" fmla="*/ 0 w 42"/>
                  <a:gd name="T49" fmla="*/ 65 h 65"/>
                  <a:gd name="T50" fmla="*/ 0 w 42"/>
                  <a:gd name="T51" fmla="*/ 61 h 65"/>
                  <a:gd name="T52" fmla="*/ 2 w 42"/>
                  <a:gd name="T53" fmla="*/ 58 h 65"/>
                  <a:gd name="T54" fmla="*/ 0 w 42"/>
                  <a:gd name="T55" fmla="*/ 56 h 65"/>
                  <a:gd name="T56" fmla="*/ 2 w 42"/>
                  <a:gd name="T57" fmla="*/ 50 h 65"/>
                  <a:gd name="T58" fmla="*/ 2 w 42"/>
                  <a:gd name="T59" fmla="*/ 44 h 65"/>
                  <a:gd name="T60" fmla="*/ 4 w 42"/>
                  <a:gd name="T61" fmla="*/ 48 h 65"/>
                  <a:gd name="T62" fmla="*/ 6 w 42"/>
                  <a:gd name="T63" fmla="*/ 50 h 65"/>
                  <a:gd name="T64" fmla="*/ 10 w 42"/>
                  <a:gd name="T65" fmla="*/ 52 h 65"/>
                  <a:gd name="T66" fmla="*/ 11 w 42"/>
                  <a:gd name="T67" fmla="*/ 50 h 65"/>
                  <a:gd name="T68" fmla="*/ 15 w 42"/>
                  <a:gd name="T69" fmla="*/ 48 h 65"/>
                  <a:gd name="T70" fmla="*/ 17 w 42"/>
                  <a:gd name="T71" fmla="*/ 44 h 65"/>
                  <a:gd name="T72" fmla="*/ 21 w 42"/>
                  <a:gd name="T73" fmla="*/ 42 h 65"/>
                  <a:gd name="T74" fmla="*/ 19 w 42"/>
                  <a:gd name="T75" fmla="*/ 38 h 65"/>
                  <a:gd name="T76" fmla="*/ 17 w 42"/>
                  <a:gd name="T77" fmla="*/ 35 h 65"/>
                  <a:gd name="T78" fmla="*/ 17 w 42"/>
                  <a:gd name="T79" fmla="*/ 33 h 65"/>
                  <a:gd name="T80" fmla="*/ 17 w 42"/>
                  <a:gd name="T81" fmla="*/ 31 h 65"/>
                  <a:gd name="T82" fmla="*/ 15 w 42"/>
                  <a:gd name="T83" fmla="*/ 25 h 65"/>
                  <a:gd name="T84" fmla="*/ 15 w 42"/>
                  <a:gd name="T85" fmla="*/ 25 h 65"/>
                  <a:gd name="T86" fmla="*/ 15 w 42"/>
                  <a:gd name="T87" fmla="*/ 25 h 65"/>
                  <a:gd name="T88" fmla="*/ 15 w 42"/>
                  <a:gd name="T89" fmla="*/ 25 h 65"/>
                  <a:gd name="T90" fmla="*/ 15 w 42"/>
                  <a:gd name="T91" fmla="*/ 25 h 65"/>
                  <a:gd name="T92" fmla="*/ 13 w 42"/>
                  <a:gd name="T93" fmla="*/ 25 h 65"/>
                  <a:gd name="T94" fmla="*/ 13 w 42"/>
                  <a:gd name="T95" fmla="*/ 25 h 65"/>
                  <a:gd name="T96" fmla="*/ 13 w 42"/>
                  <a:gd name="T97" fmla="*/ 25 h 65"/>
                  <a:gd name="T98" fmla="*/ 13 w 42"/>
                  <a:gd name="T99" fmla="*/ 23 h 65"/>
                  <a:gd name="T100" fmla="*/ 11 w 42"/>
                  <a:gd name="T101" fmla="*/ 23 h 65"/>
                  <a:gd name="T102" fmla="*/ 17 w 42"/>
                  <a:gd name="T103" fmla="*/ 11 h 65"/>
                  <a:gd name="T104" fmla="*/ 15 w 42"/>
                  <a:gd name="T105" fmla="*/ 10 h 65"/>
                  <a:gd name="T106" fmla="*/ 17 w 42"/>
                  <a:gd name="T107" fmla="*/ 8 h 65"/>
                  <a:gd name="T108" fmla="*/ 17 w 42"/>
                  <a:gd name="T109" fmla="*/ 6 h 65"/>
                  <a:gd name="T110" fmla="*/ 17 w 42"/>
                  <a:gd name="T111" fmla="*/ 6 h 65"/>
                  <a:gd name="T112" fmla="*/ 19 w 42"/>
                  <a:gd name="T113" fmla="*/ 4 h 65"/>
                  <a:gd name="T114" fmla="*/ 21 w 42"/>
                  <a:gd name="T115" fmla="*/ 0 h 65"/>
                  <a:gd name="T116" fmla="*/ 25 w 42"/>
                  <a:gd name="T117" fmla="*/ 4 h 65"/>
                  <a:gd name="T118" fmla="*/ 27 w 42"/>
                  <a:gd name="T119" fmla="*/ 6 h 65"/>
                  <a:gd name="T120" fmla="*/ 31 w 42"/>
                  <a:gd name="T121" fmla="*/ 4 h 65"/>
                  <a:gd name="T122" fmla="*/ 33 w 42"/>
                  <a:gd name="T123" fmla="*/ 6 h 65"/>
                  <a:gd name="T124" fmla="*/ 34 w 42"/>
                  <a:gd name="T125" fmla="*/ 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 h="65">
                    <a:moveTo>
                      <a:pt x="34" y="8"/>
                    </a:moveTo>
                    <a:lnTo>
                      <a:pt x="34" y="8"/>
                    </a:lnTo>
                    <a:lnTo>
                      <a:pt x="34" y="8"/>
                    </a:lnTo>
                    <a:lnTo>
                      <a:pt x="34" y="10"/>
                    </a:lnTo>
                    <a:lnTo>
                      <a:pt x="34" y="10"/>
                    </a:lnTo>
                    <a:lnTo>
                      <a:pt x="34" y="10"/>
                    </a:lnTo>
                    <a:lnTo>
                      <a:pt x="34" y="10"/>
                    </a:lnTo>
                    <a:lnTo>
                      <a:pt x="34" y="10"/>
                    </a:lnTo>
                    <a:lnTo>
                      <a:pt x="34" y="11"/>
                    </a:lnTo>
                    <a:lnTo>
                      <a:pt x="34" y="11"/>
                    </a:lnTo>
                    <a:lnTo>
                      <a:pt x="34" y="11"/>
                    </a:lnTo>
                    <a:lnTo>
                      <a:pt x="34" y="11"/>
                    </a:lnTo>
                    <a:lnTo>
                      <a:pt x="34" y="11"/>
                    </a:lnTo>
                    <a:lnTo>
                      <a:pt x="34" y="13"/>
                    </a:lnTo>
                    <a:lnTo>
                      <a:pt x="36" y="13"/>
                    </a:lnTo>
                    <a:lnTo>
                      <a:pt x="36" y="13"/>
                    </a:lnTo>
                    <a:lnTo>
                      <a:pt x="36" y="13"/>
                    </a:lnTo>
                    <a:lnTo>
                      <a:pt x="36" y="13"/>
                    </a:lnTo>
                    <a:lnTo>
                      <a:pt x="38" y="13"/>
                    </a:lnTo>
                    <a:lnTo>
                      <a:pt x="38" y="13"/>
                    </a:lnTo>
                    <a:lnTo>
                      <a:pt x="38" y="15"/>
                    </a:lnTo>
                    <a:lnTo>
                      <a:pt x="38" y="15"/>
                    </a:lnTo>
                    <a:lnTo>
                      <a:pt x="38" y="15"/>
                    </a:lnTo>
                    <a:lnTo>
                      <a:pt x="40" y="15"/>
                    </a:lnTo>
                    <a:lnTo>
                      <a:pt x="40" y="17"/>
                    </a:lnTo>
                    <a:lnTo>
                      <a:pt x="40" y="17"/>
                    </a:lnTo>
                    <a:lnTo>
                      <a:pt x="40" y="19"/>
                    </a:lnTo>
                    <a:lnTo>
                      <a:pt x="40" y="21"/>
                    </a:lnTo>
                    <a:lnTo>
                      <a:pt x="40" y="23"/>
                    </a:lnTo>
                    <a:lnTo>
                      <a:pt x="40" y="23"/>
                    </a:lnTo>
                    <a:lnTo>
                      <a:pt x="38" y="23"/>
                    </a:lnTo>
                    <a:lnTo>
                      <a:pt x="38" y="25"/>
                    </a:lnTo>
                    <a:lnTo>
                      <a:pt x="40" y="25"/>
                    </a:lnTo>
                    <a:lnTo>
                      <a:pt x="40" y="25"/>
                    </a:lnTo>
                    <a:lnTo>
                      <a:pt x="40" y="25"/>
                    </a:lnTo>
                    <a:lnTo>
                      <a:pt x="40" y="27"/>
                    </a:lnTo>
                    <a:lnTo>
                      <a:pt x="40" y="29"/>
                    </a:lnTo>
                    <a:lnTo>
                      <a:pt x="42" y="29"/>
                    </a:lnTo>
                    <a:lnTo>
                      <a:pt x="42" y="29"/>
                    </a:lnTo>
                    <a:lnTo>
                      <a:pt x="42" y="31"/>
                    </a:lnTo>
                    <a:lnTo>
                      <a:pt x="42" y="31"/>
                    </a:lnTo>
                    <a:lnTo>
                      <a:pt x="42" y="31"/>
                    </a:lnTo>
                    <a:lnTo>
                      <a:pt x="40" y="31"/>
                    </a:lnTo>
                    <a:lnTo>
                      <a:pt x="40" y="31"/>
                    </a:lnTo>
                    <a:lnTo>
                      <a:pt x="40" y="31"/>
                    </a:lnTo>
                    <a:lnTo>
                      <a:pt x="40" y="33"/>
                    </a:lnTo>
                    <a:lnTo>
                      <a:pt x="40" y="35"/>
                    </a:lnTo>
                    <a:lnTo>
                      <a:pt x="38" y="35"/>
                    </a:lnTo>
                    <a:lnTo>
                      <a:pt x="38" y="33"/>
                    </a:lnTo>
                    <a:lnTo>
                      <a:pt x="38" y="35"/>
                    </a:lnTo>
                    <a:lnTo>
                      <a:pt x="38" y="35"/>
                    </a:lnTo>
                    <a:lnTo>
                      <a:pt x="38" y="35"/>
                    </a:lnTo>
                    <a:lnTo>
                      <a:pt x="38" y="35"/>
                    </a:lnTo>
                    <a:lnTo>
                      <a:pt x="38" y="36"/>
                    </a:lnTo>
                    <a:lnTo>
                      <a:pt x="38" y="36"/>
                    </a:lnTo>
                    <a:lnTo>
                      <a:pt x="38" y="36"/>
                    </a:lnTo>
                    <a:lnTo>
                      <a:pt x="38" y="38"/>
                    </a:lnTo>
                    <a:lnTo>
                      <a:pt x="38" y="38"/>
                    </a:lnTo>
                    <a:lnTo>
                      <a:pt x="36" y="38"/>
                    </a:lnTo>
                    <a:lnTo>
                      <a:pt x="34" y="38"/>
                    </a:lnTo>
                    <a:lnTo>
                      <a:pt x="34" y="38"/>
                    </a:lnTo>
                    <a:lnTo>
                      <a:pt x="33" y="38"/>
                    </a:lnTo>
                    <a:lnTo>
                      <a:pt x="33" y="38"/>
                    </a:lnTo>
                    <a:lnTo>
                      <a:pt x="33" y="38"/>
                    </a:lnTo>
                    <a:lnTo>
                      <a:pt x="33" y="38"/>
                    </a:lnTo>
                    <a:lnTo>
                      <a:pt x="33" y="40"/>
                    </a:lnTo>
                    <a:lnTo>
                      <a:pt x="33" y="40"/>
                    </a:lnTo>
                    <a:lnTo>
                      <a:pt x="33" y="40"/>
                    </a:lnTo>
                    <a:lnTo>
                      <a:pt x="31" y="42"/>
                    </a:lnTo>
                    <a:lnTo>
                      <a:pt x="31" y="42"/>
                    </a:lnTo>
                    <a:lnTo>
                      <a:pt x="31" y="42"/>
                    </a:lnTo>
                    <a:lnTo>
                      <a:pt x="29" y="42"/>
                    </a:lnTo>
                    <a:lnTo>
                      <a:pt x="29" y="42"/>
                    </a:lnTo>
                    <a:lnTo>
                      <a:pt x="29" y="44"/>
                    </a:lnTo>
                    <a:lnTo>
                      <a:pt x="29" y="44"/>
                    </a:lnTo>
                    <a:lnTo>
                      <a:pt x="29" y="44"/>
                    </a:lnTo>
                    <a:lnTo>
                      <a:pt x="29" y="44"/>
                    </a:lnTo>
                    <a:lnTo>
                      <a:pt x="29" y="44"/>
                    </a:lnTo>
                    <a:lnTo>
                      <a:pt x="31" y="44"/>
                    </a:lnTo>
                    <a:lnTo>
                      <a:pt x="31" y="44"/>
                    </a:lnTo>
                    <a:lnTo>
                      <a:pt x="31" y="44"/>
                    </a:lnTo>
                    <a:lnTo>
                      <a:pt x="29" y="46"/>
                    </a:lnTo>
                    <a:lnTo>
                      <a:pt x="29" y="46"/>
                    </a:lnTo>
                    <a:lnTo>
                      <a:pt x="29" y="46"/>
                    </a:lnTo>
                    <a:lnTo>
                      <a:pt x="29" y="48"/>
                    </a:lnTo>
                    <a:lnTo>
                      <a:pt x="29" y="48"/>
                    </a:lnTo>
                    <a:lnTo>
                      <a:pt x="27" y="48"/>
                    </a:lnTo>
                    <a:lnTo>
                      <a:pt x="27" y="48"/>
                    </a:lnTo>
                    <a:lnTo>
                      <a:pt x="27" y="48"/>
                    </a:lnTo>
                    <a:lnTo>
                      <a:pt x="27" y="50"/>
                    </a:lnTo>
                    <a:lnTo>
                      <a:pt x="27" y="50"/>
                    </a:lnTo>
                    <a:lnTo>
                      <a:pt x="27" y="52"/>
                    </a:lnTo>
                    <a:lnTo>
                      <a:pt x="25" y="52"/>
                    </a:lnTo>
                    <a:lnTo>
                      <a:pt x="25" y="52"/>
                    </a:lnTo>
                    <a:lnTo>
                      <a:pt x="27" y="52"/>
                    </a:lnTo>
                    <a:lnTo>
                      <a:pt x="25" y="54"/>
                    </a:lnTo>
                    <a:lnTo>
                      <a:pt x="27" y="54"/>
                    </a:lnTo>
                    <a:lnTo>
                      <a:pt x="27" y="54"/>
                    </a:lnTo>
                    <a:lnTo>
                      <a:pt x="27" y="54"/>
                    </a:lnTo>
                    <a:lnTo>
                      <a:pt x="25" y="56"/>
                    </a:lnTo>
                    <a:lnTo>
                      <a:pt x="25" y="56"/>
                    </a:lnTo>
                    <a:lnTo>
                      <a:pt x="25" y="56"/>
                    </a:lnTo>
                    <a:lnTo>
                      <a:pt x="25" y="58"/>
                    </a:lnTo>
                    <a:lnTo>
                      <a:pt x="25" y="58"/>
                    </a:lnTo>
                    <a:lnTo>
                      <a:pt x="23" y="58"/>
                    </a:lnTo>
                    <a:lnTo>
                      <a:pt x="23" y="58"/>
                    </a:lnTo>
                    <a:lnTo>
                      <a:pt x="23" y="58"/>
                    </a:lnTo>
                    <a:lnTo>
                      <a:pt x="23" y="58"/>
                    </a:lnTo>
                    <a:lnTo>
                      <a:pt x="23" y="58"/>
                    </a:lnTo>
                    <a:lnTo>
                      <a:pt x="21" y="58"/>
                    </a:lnTo>
                    <a:lnTo>
                      <a:pt x="21" y="60"/>
                    </a:lnTo>
                    <a:lnTo>
                      <a:pt x="21" y="60"/>
                    </a:lnTo>
                    <a:lnTo>
                      <a:pt x="21" y="60"/>
                    </a:lnTo>
                    <a:lnTo>
                      <a:pt x="21" y="60"/>
                    </a:lnTo>
                    <a:lnTo>
                      <a:pt x="21" y="60"/>
                    </a:lnTo>
                    <a:lnTo>
                      <a:pt x="21" y="61"/>
                    </a:lnTo>
                    <a:lnTo>
                      <a:pt x="21" y="61"/>
                    </a:lnTo>
                    <a:lnTo>
                      <a:pt x="21" y="61"/>
                    </a:lnTo>
                    <a:lnTo>
                      <a:pt x="19" y="61"/>
                    </a:lnTo>
                    <a:lnTo>
                      <a:pt x="19" y="61"/>
                    </a:lnTo>
                    <a:lnTo>
                      <a:pt x="19" y="63"/>
                    </a:lnTo>
                    <a:lnTo>
                      <a:pt x="19" y="63"/>
                    </a:lnTo>
                    <a:lnTo>
                      <a:pt x="19" y="61"/>
                    </a:lnTo>
                    <a:lnTo>
                      <a:pt x="17" y="61"/>
                    </a:lnTo>
                    <a:lnTo>
                      <a:pt x="17" y="61"/>
                    </a:lnTo>
                    <a:lnTo>
                      <a:pt x="17" y="63"/>
                    </a:lnTo>
                    <a:lnTo>
                      <a:pt x="17" y="63"/>
                    </a:lnTo>
                    <a:lnTo>
                      <a:pt x="17" y="63"/>
                    </a:lnTo>
                    <a:lnTo>
                      <a:pt x="17" y="63"/>
                    </a:lnTo>
                    <a:lnTo>
                      <a:pt x="15" y="63"/>
                    </a:lnTo>
                    <a:lnTo>
                      <a:pt x="15" y="63"/>
                    </a:lnTo>
                    <a:lnTo>
                      <a:pt x="13" y="63"/>
                    </a:lnTo>
                    <a:lnTo>
                      <a:pt x="13" y="63"/>
                    </a:lnTo>
                    <a:lnTo>
                      <a:pt x="13" y="63"/>
                    </a:lnTo>
                    <a:lnTo>
                      <a:pt x="13" y="65"/>
                    </a:lnTo>
                    <a:lnTo>
                      <a:pt x="13" y="65"/>
                    </a:lnTo>
                    <a:lnTo>
                      <a:pt x="13" y="65"/>
                    </a:lnTo>
                    <a:lnTo>
                      <a:pt x="13" y="65"/>
                    </a:lnTo>
                    <a:lnTo>
                      <a:pt x="13" y="65"/>
                    </a:lnTo>
                    <a:lnTo>
                      <a:pt x="13" y="65"/>
                    </a:lnTo>
                    <a:lnTo>
                      <a:pt x="11" y="65"/>
                    </a:lnTo>
                    <a:lnTo>
                      <a:pt x="11" y="65"/>
                    </a:lnTo>
                    <a:lnTo>
                      <a:pt x="11" y="65"/>
                    </a:lnTo>
                    <a:lnTo>
                      <a:pt x="11" y="65"/>
                    </a:lnTo>
                    <a:lnTo>
                      <a:pt x="11" y="65"/>
                    </a:lnTo>
                    <a:lnTo>
                      <a:pt x="11" y="63"/>
                    </a:lnTo>
                    <a:lnTo>
                      <a:pt x="11" y="63"/>
                    </a:lnTo>
                    <a:lnTo>
                      <a:pt x="11" y="61"/>
                    </a:lnTo>
                    <a:lnTo>
                      <a:pt x="10" y="61"/>
                    </a:lnTo>
                    <a:lnTo>
                      <a:pt x="10" y="60"/>
                    </a:lnTo>
                    <a:lnTo>
                      <a:pt x="10" y="60"/>
                    </a:lnTo>
                    <a:lnTo>
                      <a:pt x="10" y="60"/>
                    </a:lnTo>
                    <a:lnTo>
                      <a:pt x="10" y="60"/>
                    </a:lnTo>
                    <a:lnTo>
                      <a:pt x="8" y="60"/>
                    </a:lnTo>
                    <a:lnTo>
                      <a:pt x="8" y="60"/>
                    </a:lnTo>
                    <a:lnTo>
                      <a:pt x="8" y="60"/>
                    </a:lnTo>
                    <a:lnTo>
                      <a:pt x="8" y="60"/>
                    </a:lnTo>
                    <a:lnTo>
                      <a:pt x="8" y="60"/>
                    </a:lnTo>
                    <a:lnTo>
                      <a:pt x="8" y="60"/>
                    </a:lnTo>
                    <a:lnTo>
                      <a:pt x="6" y="60"/>
                    </a:lnTo>
                    <a:lnTo>
                      <a:pt x="6" y="60"/>
                    </a:lnTo>
                    <a:lnTo>
                      <a:pt x="6" y="60"/>
                    </a:lnTo>
                    <a:lnTo>
                      <a:pt x="6" y="61"/>
                    </a:lnTo>
                    <a:lnTo>
                      <a:pt x="6" y="61"/>
                    </a:lnTo>
                    <a:lnTo>
                      <a:pt x="4" y="61"/>
                    </a:lnTo>
                    <a:lnTo>
                      <a:pt x="4" y="61"/>
                    </a:lnTo>
                    <a:lnTo>
                      <a:pt x="4" y="61"/>
                    </a:lnTo>
                    <a:lnTo>
                      <a:pt x="4" y="61"/>
                    </a:lnTo>
                    <a:lnTo>
                      <a:pt x="4" y="61"/>
                    </a:lnTo>
                    <a:lnTo>
                      <a:pt x="2" y="61"/>
                    </a:lnTo>
                    <a:lnTo>
                      <a:pt x="2" y="63"/>
                    </a:lnTo>
                    <a:lnTo>
                      <a:pt x="2" y="63"/>
                    </a:lnTo>
                    <a:lnTo>
                      <a:pt x="2" y="63"/>
                    </a:lnTo>
                    <a:lnTo>
                      <a:pt x="2" y="63"/>
                    </a:lnTo>
                    <a:lnTo>
                      <a:pt x="0" y="65"/>
                    </a:lnTo>
                    <a:lnTo>
                      <a:pt x="0" y="65"/>
                    </a:lnTo>
                    <a:lnTo>
                      <a:pt x="0" y="65"/>
                    </a:lnTo>
                    <a:lnTo>
                      <a:pt x="0" y="65"/>
                    </a:lnTo>
                    <a:lnTo>
                      <a:pt x="0" y="63"/>
                    </a:lnTo>
                    <a:lnTo>
                      <a:pt x="0" y="63"/>
                    </a:lnTo>
                    <a:lnTo>
                      <a:pt x="0" y="61"/>
                    </a:lnTo>
                    <a:lnTo>
                      <a:pt x="0" y="61"/>
                    </a:lnTo>
                    <a:lnTo>
                      <a:pt x="0" y="60"/>
                    </a:lnTo>
                    <a:lnTo>
                      <a:pt x="0" y="60"/>
                    </a:lnTo>
                    <a:lnTo>
                      <a:pt x="0" y="58"/>
                    </a:lnTo>
                    <a:lnTo>
                      <a:pt x="2" y="58"/>
                    </a:lnTo>
                    <a:lnTo>
                      <a:pt x="2" y="58"/>
                    </a:lnTo>
                    <a:lnTo>
                      <a:pt x="2" y="58"/>
                    </a:lnTo>
                    <a:lnTo>
                      <a:pt x="2" y="58"/>
                    </a:lnTo>
                    <a:lnTo>
                      <a:pt x="2" y="56"/>
                    </a:lnTo>
                    <a:lnTo>
                      <a:pt x="2" y="56"/>
                    </a:lnTo>
                    <a:lnTo>
                      <a:pt x="0" y="56"/>
                    </a:lnTo>
                    <a:lnTo>
                      <a:pt x="0" y="56"/>
                    </a:lnTo>
                    <a:lnTo>
                      <a:pt x="0" y="56"/>
                    </a:lnTo>
                    <a:lnTo>
                      <a:pt x="0" y="56"/>
                    </a:lnTo>
                    <a:lnTo>
                      <a:pt x="0" y="56"/>
                    </a:lnTo>
                    <a:lnTo>
                      <a:pt x="0" y="54"/>
                    </a:lnTo>
                    <a:lnTo>
                      <a:pt x="0" y="54"/>
                    </a:lnTo>
                    <a:lnTo>
                      <a:pt x="0" y="54"/>
                    </a:lnTo>
                    <a:lnTo>
                      <a:pt x="0" y="54"/>
                    </a:lnTo>
                    <a:lnTo>
                      <a:pt x="0" y="54"/>
                    </a:lnTo>
                    <a:lnTo>
                      <a:pt x="0" y="52"/>
                    </a:lnTo>
                    <a:lnTo>
                      <a:pt x="2" y="50"/>
                    </a:lnTo>
                    <a:lnTo>
                      <a:pt x="2" y="50"/>
                    </a:lnTo>
                    <a:lnTo>
                      <a:pt x="2" y="48"/>
                    </a:lnTo>
                    <a:lnTo>
                      <a:pt x="2" y="48"/>
                    </a:lnTo>
                    <a:lnTo>
                      <a:pt x="2" y="48"/>
                    </a:lnTo>
                    <a:lnTo>
                      <a:pt x="2" y="46"/>
                    </a:lnTo>
                    <a:lnTo>
                      <a:pt x="2" y="46"/>
                    </a:lnTo>
                    <a:lnTo>
                      <a:pt x="2" y="44"/>
                    </a:lnTo>
                    <a:lnTo>
                      <a:pt x="4" y="46"/>
                    </a:lnTo>
                    <a:lnTo>
                      <a:pt x="4" y="46"/>
                    </a:lnTo>
                    <a:lnTo>
                      <a:pt x="4" y="46"/>
                    </a:lnTo>
                    <a:lnTo>
                      <a:pt x="4" y="46"/>
                    </a:lnTo>
                    <a:lnTo>
                      <a:pt x="4" y="48"/>
                    </a:lnTo>
                    <a:lnTo>
                      <a:pt x="4" y="48"/>
                    </a:lnTo>
                    <a:lnTo>
                      <a:pt x="4" y="48"/>
                    </a:lnTo>
                    <a:lnTo>
                      <a:pt x="4" y="48"/>
                    </a:lnTo>
                    <a:lnTo>
                      <a:pt x="4" y="48"/>
                    </a:lnTo>
                    <a:lnTo>
                      <a:pt x="6" y="48"/>
                    </a:lnTo>
                    <a:lnTo>
                      <a:pt x="6" y="48"/>
                    </a:lnTo>
                    <a:lnTo>
                      <a:pt x="6" y="50"/>
                    </a:lnTo>
                    <a:lnTo>
                      <a:pt x="6" y="50"/>
                    </a:lnTo>
                    <a:lnTo>
                      <a:pt x="6" y="50"/>
                    </a:lnTo>
                    <a:lnTo>
                      <a:pt x="8" y="50"/>
                    </a:lnTo>
                    <a:lnTo>
                      <a:pt x="8" y="50"/>
                    </a:lnTo>
                    <a:lnTo>
                      <a:pt x="8" y="50"/>
                    </a:lnTo>
                    <a:lnTo>
                      <a:pt x="8" y="50"/>
                    </a:lnTo>
                    <a:lnTo>
                      <a:pt x="8" y="52"/>
                    </a:lnTo>
                    <a:lnTo>
                      <a:pt x="10" y="52"/>
                    </a:lnTo>
                    <a:lnTo>
                      <a:pt x="10" y="52"/>
                    </a:lnTo>
                    <a:lnTo>
                      <a:pt x="10" y="52"/>
                    </a:lnTo>
                    <a:lnTo>
                      <a:pt x="10" y="50"/>
                    </a:lnTo>
                    <a:lnTo>
                      <a:pt x="10" y="50"/>
                    </a:lnTo>
                    <a:lnTo>
                      <a:pt x="10" y="52"/>
                    </a:lnTo>
                    <a:lnTo>
                      <a:pt x="11" y="50"/>
                    </a:lnTo>
                    <a:lnTo>
                      <a:pt x="11" y="50"/>
                    </a:lnTo>
                    <a:lnTo>
                      <a:pt x="11" y="50"/>
                    </a:lnTo>
                    <a:lnTo>
                      <a:pt x="13" y="48"/>
                    </a:lnTo>
                    <a:lnTo>
                      <a:pt x="13" y="48"/>
                    </a:lnTo>
                    <a:lnTo>
                      <a:pt x="13" y="48"/>
                    </a:lnTo>
                    <a:lnTo>
                      <a:pt x="13" y="48"/>
                    </a:lnTo>
                    <a:lnTo>
                      <a:pt x="15" y="48"/>
                    </a:lnTo>
                    <a:lnTo>
                      <a:pt x="15" y="48"/>
                    </a:lnTo>
                    <a:lnTo>
                      <a:pt x="15" y="48"/>
                    </a:lnTo>
                    <a:lnTo>
                      <a:pt x="17" y="48"/>
                    </a:lnTo>
                    <a:lnTo>
                      <a:pt x="17" y="48"/>
                    </a:lnTo>
                    <a:lnTo>
                      <a:pt x="17" y="46"/>
                    </a:lnTo>
                    <a:lnTo>
                      <a:pt x="17" y="46"/>
                    </a:lnTo>
                    <a:lnTo>
                      <a:pt x="17" y="44"/>
                    </a:lnTo>
                    <a:lnTo>
                      <a:pt x="17" y="44"/>
                    </a:lnTo>
                    <a:lnTo>
                      <a:pt x="17" y="44"/>
                    </a:lnTo>
                    <a:lnTo>
                      <a:pt x="17" y="44"/>
                    </a:lnTo>
                    <a:lnTo>
                      <a:pt x="17" y="44"/>
                    </a:lnTo>
                    <a:lnTo>
                      <a:pt x="19" y="42"/>
                    </a:lnTo>
                    <a:lnTo>
                      <a:pt x="19" y="42"/>
                    </a:lnTo>
                    <a:lnTo>
                      <a:pt x="19" y="42"/>
                    </a:lnTo>
                    <a:lnTo>
                      <a:pt x="19" y="42"/>
                    </a:lnTo>
                    <a:lnTo>
                      <a:pt x="21" y="42"/>
                    </a:lnTo>
                    <a:lnTo>
                      <a:pt x="19" y="40"/>
                    </a:lnTo>
                    <a:lnTo>
                      <a:pt x="19" y="40"/>
                    </a:lnTo>
                    <a:lnTo>
                      <a:pt x="19" y="40"/>
                    </a:lnTo>
                    <a:lnTo>
                      <a:pt x="19" y="38"/>
                    </a:lnTo>
                    <a:lnTo>
                      <a:pt x="19" y="38"/>
                    </a:lnTo>
                    <a:lnTo>
                      <a:pt x="19" y="38"/>
                    </a:lnTo>
                    <a:lnTo>
                      <a:pt x="19" y="38"/>
                    </a:lnTo>
                    <a:lnTo>
                      <a:pt x="19" y="36"/>
                    </a:lnTo>
                    <a:lnTo>
                      <a:pt x="19" y="36"/>
                    </a:lnTo>
                    <a:lnTo>
                      <a:pt x="19" y="36"/>
                    </a:lnTo>
                    <a:lnTo>
                      <a:pt x="19" y="36"/>
                    </a:lnTo>
                    <a:lnTo>
                      <a:pt x="19" y="36"/>
                    </a:lnTo>
                    <a:lnTo>
                      <a:pt x="19" y="36"/>
                    </a:lnTo>
                    <a:lnTo>
                      <a:pt x="17" y="35"/>
                    </a:lnTo>
                    <a:lnTo>
                      <a:pt x="19" y="35"/>
                    </a:lnTo>
                    <a:lnTo>
                      <a:pt x="19" y="35"/>
                    </a:lnTo>
                    <a:lnTo>
                      <a:pt x="19" y="35"/>
                    </a:lnTo>
                    <a:lnTo>
                      <a:pt x="19" y="35"/>
                    </a:lnTo>
                    <a:lnTo>
                      <a:pt x="19" y="33"/>
                    </a:lnTo>
                    <a:lnTo>
                      <a:pt x="19" y="33"/>
                    </a:lnTo>
                    <a:lnTo>
                      <a:pt x="17" y="33"/>
                    </a:lnTo>
                    <a:lnTo>
                      <a:pt x="17" y="33"/>
                    </a:lnTo>
                    <a:lnTo>
                      <a:pt x="17" y="33"/>
                    </a:lnTo>
                    <a:lnTo>
                      <a:pt x="17" y="33"/>
                    </a:lnTo>
                    <a:lnTo>
                      <a:pt x="17" y="31"/>
                    </a:lnTo>
                    <a:lnTo>
                      <a:pt x="19" y="31"/>
                    </a:lnTo>
                    <a:lnTo>
                      <a:pt x="19" y="31"/>
                    </a:lnTo>
                    <a:lnTo>
                      <a:pt x="17" y="31"/>
                    </a:lnTo>
                    <a:lnTo>
                      <a:pt x="17" y="27"/>
                    </a:lnTo>
                    <a:lnTo>
                      <a:pt x="17" y="27"/>
                    </a:lnTo>
                    <a:lnTo>
                      <a:pt x="17" y="23"/>
                    </a:lnTo>
                    <a:lnTo>
                      <a:pt x="17" y="23"/>
                    </a:lnTo>
                    <a:lnTo>
                      <a:pt x="17" y="23"/>
                    </a:lnTo>
                    <a:lnTo>
                      <a:pt x="17" y="21"/>
                    </a:lnTo>
                    <a:lnTo>
                      <a:pt x="15" y="25"/>
                    </a:lnTo>
                    <a:lnTo>
                      <a:pt x="17" y="25"/>
                    </a:lnTo>
                    <a:lnTo>
                      <a:pt x="17" y="25"/>
                    </a:lnTo>
                    <a:lnTo>
                      <a:pt x="17" y="27"/>
                    </a:lnTo>
                    <a:lnTo>
                      <a:pt x="15" y="27"/>
                    </a:lnTo>
                    <a:lnTo>
                      <a:pt x="15" y="27"/>
                    </a:lnTo>
                    <a:lnTo>
                      <a:pt x="15" y="27"/>
                    </a:lnTo>
                    <a:lnTo>
                      <a:pt x="15" y="25"/>
                    </a:lnTo>
                    <a:lnTo>
                      <a:pt x="15" y="27"/>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5"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5"/>
                    </a:lnTo>
                    <a:lnTo>
                      <a:pt x="13" y="23"/>
                    </a:lnTo>
                    <a:lnTo>
                      <a:pt x="13" y="25"/>
                    </a:lnTo>
                    <a:lnTo>
                      <a:pt x="13" y="23"/>
                    </a:lnTo>
                    <a:lnTo>
                      <a:pt x="13" y="23"/>
                    </a:lnTo>
                    <a:lnTo>
                      <a:pt x="13" y="23"/>
                    </a:lnTo>
                    <a:lnTo>
                      <a:pt x="13" y="23"/>
                    </a:lnTo>
                    <a:lnTo>
                      <a:pt x="13" y="23"/>
                    </a:lnTo>
                    <a:lnTo>
                      <a:pt x="13" y="23"/>
                    </a:lnTo>
                    <a:lnTo>
                      <a:pt x="13" y="23"/>
                    </a:lnTo>
                    <a:lnTo>
                      <a:pt x="13" y="23"/>
                    </a:lnTo>
                    <a:lnTo>
                      <a:pt x="13" y="23"/>
                    </a:lnTo>
                    <a:lnTo>
                      <a:pt x="13" y="23"/>
                    </a:lnTo>
                    <a:lnTo>
                      <a:pt x="13" y="23"/>
                    </a:lnTo>
                    <a:lnTo>
                      <a:pt x="11" y="23"/>
                    </a:lnTo>
                    <a:lnTo>
                      <a:pt x="11" y="23"/>
                    </a:lnTo>
                    <a:lnTo>
                      <a:pt x="11" y="23"/>
                    </a:lnTo>
                    <a:lnTo>
                      <a:pt x="13" y="19"/>
                    </a:lnTo>
                    <a:lnTo>
                      <a:pt x="17" y="15"/>
                    </a:lnTo>
                    <a:lnTo>
                      <a:pt x="19" y="11"/>
                    </a:lnTo>
                    <a:lnTo>
                      <a:pt x="19" y="11"/>
                    </a:lnTo>
                    <a:lnTo>
                      <a:pt x="19" y="11"/>
                    </a:lnTo>
                    <a:lnTo>
                      <a:pt x="17" y="11"/>
                    </a:lnTo>
                    <a:lnTo>
                      <a:pt x="17" y="11"/>
                    </a:lnTo>
                    <a:lnTo>
                      <a:pt x="17" y="11"/>
                    </a:lnTo>
                    <a:lnTo>
                      <a:pt x="17" y="11"/>
                    </a:lnTo>
                    <a:lnTo>
                      <a:pt x="17" y="11"/>
                    </a:lnTo>
                    <a:lnTo>
                      <a:pt x="15" y="11"/>
                    </a:lnTo>
                    <a:lnTo>
                      <a:pt x="15" y="11"/>
                    </a:lnTo>
                    <a:lnTo>
                      <a:pt x="15" y="10"/>
                    </a:lnTo>
                    <a:lnTo>
                      <a:pt x="15" y="10"/>
                    </a:lnTo>
                    <a:lnTo>
                      <a:pt x="15" y="10"/>
                    </a:lnTo>
                    <a:lnTo>
                      <a:pt x="15" y="10"/>
                    </a:lnTo>
                    <a:lnTo>
                      <a:pt x="15" y="10"/>
                    </a:lnTo>
                    <a:lnTo>
                      <a:pt x="17" y="8"/>
                    </a:lnTo>
                    <a:lnTo>
                      <a:pt x="17" y="8"/>
                    </a:lnTo>
                    <a:lnTo>
                      <a:pt x="17" y="8"/>
                    </a:lnTo>
                    <a:lnTo>
                      <a:pt x="17" y="8"/>
                    </a:lnTo>
                    <a:lnTo>
                      <a:pt x="17" y="8"/>
                    </a:lnTo>
                    <a:lnTo>
                      <a:pt x="17" y="8"/>
                    </a:lnTo>
                    <a:lnTo>
                      <a:pt x="17" y="8"/>
                    </a:lnTo>
                    <a:lnTo>
                      <a:pt x="17" y="8"/>
                    </a:lnTo>
                    <a:lnTo>
                      <a:pt x="17" y="8"/>
                    </a:lnTo>
                    <a:lnTo>
                      <a:pt x="17" y="8"/>
                    </a:lnTo>
                    <a:lnTo>
                      <a:pt x="17" y="6"/>
                    </a:lnTo>
                    <a:lnTo>
                      <a:pt x="17" y="6"/>
                    </a:lnTo>
                    <a:lnTo>
                      <a:pt x="17" y="6"/>
                    </a:lnTo>
                    <a:lnTo>
                      <a:pt x="17" y="6"/>
                    </a:lnTo>
                    <a:lnTo>
                      <a:pt x="17" y="6"/>
                    </a:lnTo>
                    <a:lnTo>
                      <a:pt x="17" y="6"/>
                    </a:lnTo>
                    <a:lnTo>
                      <a:pt x="17" y="6"/>
                    </a:lnTo>
                    <a:lnTo>
                      <a:pt x="17" y="6"/>
                    </a:lnTo>
                    <a:lnTo>
                      <a:pt x="19" y="6"/>
                    </a:lnTo>
                    <a:lnTo>
                      <a:pt x="17" y="4"/>
                    </a:lnTo>
                    <a:lnTo>
                      <a:pt x="19" y="4"/>
                    </a:lnTo>
                    <a:lnTo>
                      <a:pt x="19" y="4"/>
                    </a:lnTo>
                    <a:lnTo>
                      <a:pt x="19" y="4"/>
                    </a:lnTo>
                    <a:lnTo>
                      <a:pt x="19" y="4"/>
                    </a:lnTo>
                    <a:lnTo>
                      <a:pt x="19" y="4"/>
                    </a:lnTo>
                    <a:lnTo>
                      <a:pt x="21" y="4"/>
                    </a:lnTo>
                    <a:lnTo>
                      <a:pt x="21" y="2"/>
                    </a:lnTo>
                    <a:lnTo>
                      <a:pt x="21" y="2"/>
                    </a:lnTo>
                    <a:lnTo>
                      <a:pt x="21" y="2"/>
                    </a:lnTo>
                    <a:lnTo>
                      <a:pt x="21" y="2"/>
                    </a:lnTo>
                    <a:lnTo>
                      <a:pt x="21" y="0"/>
                    </a:lnTo>
                    <a:lnTo>
                      <a:pt x="21" y="0"/>
                    </a:lnTo>
                    <a:lnTo>
                      <a:pt x="23" y="0"/>
                    </a:lnTo>
                    <a:lnTo>
                      <a:pt x="23" y="0"/>
                    </a:lnTo>
                    <a:lnTo>
                      <a:pt x="27" y="0"/>
                    </a:lnTo>
                    <a:lnTo>
                      <a:pt x="27" y="2"/>
                    </a:lnTo>
                    <a:lnTo>
                      <a:pt x="27" y="2"/>
                    </a:lnTo>
                    <a:lnTo>
                      <a:pt x="25" y="4"/>
                    </a:lnTo>
                    <a:lnTo>
                      <a:pt x="25" y="4"/>
                    </a:lnTo>
                    <a:lnTo>
                      <a:pt x="25" y="4"/>
                    </a:lnTo>
                    <a:lnTo>
                      <a:pt x="25" y="4"/>
                    </a:lnTo>
                    <a:lnTo>
                      <a:pt x="25" y="4"/>
                    </a:lnTo>
                    <a:lnTo>
                      <a:pt x="25" y="4"/>
                    </a:lnTo>
                    <a:lnTo>
                      <a:pt x="27" y="6"/>
                    </a:lnTo>
                    <a:lnTo>
                      <a:pt x="27" y="6"/>
                    </a:lnTo>
                    <a:lnTo>
                      <a:pt x="27" y="6"/>
                    </a:lnTo>
                    <a:lnTo>
                      <a:pt x="29" y="6"/>
                    </a:lnTo>
                    <a:lnTo>
                      <a:pt x="29" y="6"/>
                    </a:lnTo>
                    <a:lnTo>
                      <a:pt x="29" y="4"/>
                    </a:lnTo>
                    <a:lnTo>
                      <a:pt x="29" y="4"/>
                    </a:lnTo>
                    <a:lnTo>
                      <a:pt x="29" y="4"/>
                    </a:lnTo>
                    <a:lnTo>
                      <a:pt x="29" y="4"/>
                    </a:lnTo>
                    <a:lnTo>
                      <a:pt x="31" y="4"/>
                    </a:lnTo>
                    <a:lnTo>
                      <a:pt x="31" y="4"/>
                    </a:lnTo>
                    <a:lnTo>
                      <a:pt x="31" y="4"/>
                    </a:lnTo>
                    <a:lnTo>
                      <a:pt x="33" y="6"/>
                    </a:lnTo>
                    <a:lnTo>
                      <a:pt x="33" y="6"/>
                    </a:lnTo>
                    <a:lnTo>
                      <a:pt x="33" y="6"/>
                    </a:lnTo>
                    <a:lnTo>
                      <a:pt x="33" y="6"/>
                    </a:lnTo>
                    <a:lnTo>
                      <a:pt x="33" y="6"/>
                    </a:lnTo>
                    <a:lnTo>
                      <a:pt x="33" y="8"/>
                    </a:lnTo>
                    <a:lnTo>
                      <a:pt x="33" y="8"/>
                    </a:lnTo>
                    <a:lnTo>
                      <a:pt x="33" y="8"/>
                    </a:lnTo>
                    <a:lnTo>
                      <a:pt x="33" y="8"/>
                    </a:lnTo>
                    <a:lnTo>
                      <a:pt x="33" y="8"/>
                    </a:lnTo>
                    <a:lnTo>
                      <a:pt x="34" y="6"/>
                    </a:lnTo>
                    <a:lnTo>
                      <a:pt x="34" y="6"/>
                    </a:lnTo>
                    <a:lnTo>
                      <a:pt x="34" y="8"/>
                    </a:lnTo>
                    <a:lnTo>
                      <a:pt x="34" y="8"/>
                    </a:lnTo>
                    <a:lnTo>
                      <a:pt x="34" y="8"/>
                    </a:lnTo>
                    <a:lnTo>
                      <a:pt x="34" y="8"/>
                    </a:lnTo>
                    <a:lnTo>
                      <a:pt x="34" y="8"/>
                    </a:lnTo>
                    <a:lnTo>
                      <a:pt x="34" y="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0" name="Freeform 25"/>
              <p:cNvSpPr>
                <a:spLocks noEditPoints="1"/>
              </p:cNvSpPr>
              <p:nvPr/>
            </p:nvSpPr>
            <p:spPr bwMode="auto">
              <a:xfrm>
                <a:off x="4006618" y="2376828"/>
                <a:ext cx="1245733" cy="1543402"/>
              </a:xfrm>
              <a:custGeom>
                <a:avLst/>
                <a:gdLst>
                  <a:gd name="T0" fmla="*/ 678 w 724"/>
                  <a:gd name="T1" fmla="*/ 348 h 897"/>
                  <a:gd name="T2" fmla="*/ 682 w 724"/>
                  <a:gd name="T3" fmla="*/ 399 h 897"/>
                  <a:gd name="T4" fmla="*/ 697 w 724"/>
                  <a:gd name="T5" fmla="*/ 436 h 897"/>
                  <a:gd name="T6" fmla="*/ 659 w 724"/>
                  <a:gd name="T7" fmla="*/ 444 h 897"/>
                  <a:gd name="T8" fmla="*/ 636 w 724"/>
                  <a:gd name="T9" fmla="*/ 426 h 897"/>
                  <a:gd name="T10" fmla="*/ 603 w 724"/>
                  <a:gd name="T11" fmla="*/ 469 h 897"/>
                  <a:gd name="T12" fmla="*/ 559 w 724"/>
                  <a:gd name="T13" fmla="*/ 478 h 897"/>
                  <a:gd name="T14" fmla="*/ 518 w 724"/>
                  <a:gd name="T15" fmla="*/ 465 h 897"/>
                  <a:gd name="T16" fmla="*/ 478 w 724"/>
                  <a:gd name="T17" fmla="*/ 480 h 897"/>
                  <a:gd name="T18" fmla="*/ 434 w 724"/>
                  <a:gd name="T19" fmla="*/ 498 h 897"/>
                  <a:gd name="T20" fmla="*/ 434 w 724"/>
                  <a:gd name="T21" fmla="*/ 542 h 897"/>
                  <a:gd name="T22" fmla="*/ 428 w 724"/>
                  <a:gd name="T23" fmla="*/ 584 h 897"/>
                  <a:gd name="T24" fmla="*/ 438 w 724"/>
                  <a:gd name="T25" fmla="*/ 646 h 897"/>
                  <a:gd name="T26" fmla="*/ 307 w 724"/>
                  <a:gd name="T27" fmla="*/ 888 h 897"/>
                  <a:gd name="T28" fmla="*/ 267 w 724"/>
                  <a:gd name="T29" fmla="*/ 851 h 897"/>
                  <a:gd name="T30" fmla="*/ 223 w 724"/>
                  <a:gd name="T31" fmla="*/ 822 h 897"/>
                  <a:gd name="T32" fmla="*/ 171 w 724"/>
                  <a:gd name="T33" fmla="*/ 776 h 897"/>
                  <a:gd name="T34" fmla="*/ 130 w 724"/>
                  <a:gd name="T35" fmla="*/ 776 h 897"/>
                  <a:gd name="T36" fmla="*/ 86 w 724"/>
                  <a:gd name="T37" fmla="*/ 765 h 897"/>
                  <a:gd name="T38" fmla="*/ 36 w 724"/>
                  <a:gd name="T39" fmla="*/ 738 h 897"/>
                  <a:gd name="T40" fmla="*/ 2 w 724"/>
                  <a:gd name="T41" fmla="*/ 688 h 897"/>
                  <a:gd name="T42" fmla="*/ 34 w 724"/>
                  <a:gd name="T43" fmla="*/ 653 h 897"/>
                  <a:gd name="T44" fmla="*/ 44 w 724"/>
                  <a:gd name="T45" fmla="*/ 576 h 897"/>
                  <a:gd name="T46" fmla="*/ 63 w 724"/>
                  <a:gd name="T47" fmla="*/ 509 h 897"/>
                  <a:gd name="T48" fmla="*/ 98 w 724"/>
                  <a:gd name="T49" fmla="*/ 457 h 897"/>
                  <a:gd name="T50" fmla="*/ 144 w 724"/>
                  <a:gd name="T51" fmla="*/ 449 h 897"/>
                  <a:gd name="T52" fmla="*/ 165 w 724"/>
                  <a:gd name="T53" fmla="*/ 463 h 897"/>
                  <a:gd name="T54" fmla="*/ 184 w 724"/>
                  <a:gd name="T55" fmla="*/ 409 h 897"/>
                  <a:gd name="T56" fmla="*/ 205 w 724"/>
                  <a:gd name="T57" fmla="*/ 355 h 897"/>
                  <a:gd name="T58" fmla="*/ 249 w 724"/>
                  <a:gd name="T59" fmla="*/ 369 h 897"/>
                  <a:gd name="T60" fmla="*/ 278 w 724"/>
                  <a:gd name="T61" fmla="*/ 369 h 897"/>
                  <a:gd name="T62" fmla="*/ 274 w 724"/>
                  <a:gd name="T63" fmla="*/ 313 h 897"/>
                  <a:gd name="T64" fmla="*/ 292 w 724"/>
                  <a:gd name="T65" fmla="*/ 286 h 897"/>
                  <a:gd name="T66" fmla="*/ 261 w 724"/>
                  <a:gd name="T67" fmla="*/ 255 h 897"/>
                  <a:gd name="T68" fmla="*/ 263 w 724"/>
                  <a:gd name="T69" fmla="*/ 203 h 897"/>
                  <a:gd name="T70" fmla="*/ 303 w 724"/>
                  <a:gd name="T71" fmla="*/ 153 h 897"/>
                  <a:gd name="T72" fmla="*/ 290 w 724"/>
                  <a:gd name="T73" fmla="*/ 96 h 897"/>
                  <a:gd name="T74" fmla="*/ 297 w 724"/>
                  <a:gd name="T75" fmla="*/ 40 h 897"/>
                  <a:gd name="T76" fmla="*/ 324 w 724"/>
                  <a:gd name="T77" fmla="*/ 25 h 897"/>
                  <a:gd name="T78" fmla="*/ 346 w 724"/>
                  <a:gd name="T79" fmla="*/ 11 h 897"/>
                  <a:gd name="T80" fmla="*/ 369 w 724"/>
                  <a:gd name="T81" fmla="*/ 46 h 897"/>
                  <a:gd name="T82" fmla="*/ 382 w 724"/>
                  <a:gd name="T83" fmla="*/ 80 h 897"/>
                  <a:gd name="T84" fmla="*/ 399 w 724"/>
                  <a:gd name="T85" fmla="*/ 117 h 897"/>
                  <a:gd name="T86" fmla="*/ 407 w 724"/>
                  <a:gd name="T87" fmla="*/ 175 h 897"/>
                  <a:gd name="T88" fmla="*/ 422 w 724"/>
                  <a:gd name="T89" fmla="*/ 228 h 897"/>
                  <a:gd name="T90" fmla="*/ 413 w 724"/>
                  <a:gd name="T91" fmla="*/ 301 h 897"/>
                  <a:gd name="T92" fmla="*/ 447 w 724"/>
                  <a:gd name="T93" fmla="*/ 336 h 897"/>
                  <a:gd name="T94" fmla="*/ 497 w 724"/>
                  <a:gd name="T95" fmla="*/ 294 h 897"/>
                  <a:gd name="T96" fmla="*/ 515 w 724"/>
                  <a:gd name="T97" fmla="*/ 321 h 897"/>
                  <a:gd name="T98" fmla="*/ 545 w 724"/>
                  <a:gd name="T99" fmla="*/ 276 h 897"/>
                  <a:gd name="T100" fmla="*/ 549 w 724"/>
                  <a:gd name="T101" fmla="*/ 225 h 897"/>
                  <a:gd name="T102" fmla="*/ 630 w 724"/>
                  <a:gd name="T103" fmla="*/ 217 h 897"/>
                  <a:gd name="T104" fmla="*/ 659 w 724"/>
                  <a:gd name="T105" fmla="*/ 261 h 897"/>
                  <a:gd name="T106" fmla="*/ 697 w 724"/>
                  <a:gd name="T107" fmla="*/ 267 h 897"/>
                  <a:gd name="T108" fmla="*/ 711 w 724"/>
                  <a:gd name="T109" fmla="*/ 313 h 897"/>
                  <a:gd name="T110" fmla="*/ 234 w 724"/>
                  <a:gd name="T111" fmla="*/ 721 h 897"/>
                  <a:gd name="T112" fmla="*/ 236 w 724"/>
                  <a:gd name="T113" fmla="*/ 769 h 897"/>
                  <a:gd name="T114" fmla="*/ 269 w 724"/>
                  <a:gd name="T115" fmla="*/ 769 h 897"/>
                  <a:gd name="T116" fmla="*/ 301 w 724"/>
                  <a:gd name="T117" fmla="*/ 767 h 897"/>
                  <a:gd name="T118" fmla="*/ 328 w 724"/>
                  <a:gd name="T119" fmla="*/ 809 h 897"/>
                  <a:gd name="T120" fmla="*/ 365 w 724"/>
                  <a:gd name="T121" fmla="*/ 746 h 897"/>
                  <a:gd name="T122" fmla="*/ 328 w 724"/>
                  <a:gd name="T123" fmla="*/ 736 h 897"/>
                  <a:gd name="T124" fmla="*/ 286 w 724"/>
                  <a:gd name="T125" fmla="*/ 703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4" h="897">
                    <a:moveTo>
                      <a:pt x="724" y="334"/>
                    </a:moveTo>
                    <a:lnTo>
                      <a:pt x="722" y="332"/>
                    </a:lnTo>
                    <a:lnTo>
                      <a:pt x="720" y="334"/>
                    </a:lnTo>
                    <a:lnTo>
                      <a:pt x="718" y="336"/>
                    </a:lnTo>
                    <a:lnTo>
                      <a:pt x="716" y="336"/>
                    </a:lnTo>
                    <a:lnTo>
                      <a:pt x="714" y="336"/>
                    </a:lnTo>
                    <a:lnTo>
                      <a:pt x="714" y="338"/>
                    </a:lnTo>
                    <a:lnTo>
                      <a:pt x="712" y="340"/>
                    </a:lnTo>
                    <a:lnTo>
                      <a:pt x="711" y="340"/>
                    </a:lnTo>
                    <a:lnTo>
                      <a:pt x="709" y="340"/>
                    </a:lnTo>
                    <a:lnTo>
                      <a:pt x="709" y="338"/>
                    </a:lnTo>
                    <a:lnTo>
                      <a:pt x="707" y="338"/>
                    </a:lnTo>
                    <a:lnTo>
                      <a:pt x="705" y="340"/>
                    </a:lnTo>
                    <a:lnTo>
                      <a:pt x="705" y="338"/>
                    </a:lnTo>
                    <a:lnTo>
                      <a:pt x="705" y="336"/>
                    </a:lnTo>
                    <a:lnTo>
                      <a:pt x="703" y="336"/>
                    </a:lnTo>
                    <a:lnTo>
                      <a:pt x="701" y="336"/>
                    </a:lnTo>
                    <a:lnTo>
                      <a:pt x="701" y="334"/>
                    </a:lnTo>
                    <a:lnTo>
                      <a:pt x="699" y="334"/>
                    </a:lnTo>
                    <a:lnTo>
                      <a:pt x="699" y="332"/>
                    </a:lnTo>
                    <a:lnTo>
                      <a:pt x="697" y="332"/>
                    </a:lnTo>
                    <a:lnTo>
                      <a:pt x="697" y="330"/>
                    </a:lnTo>
                    <a:lnTo>
                      <a:pt x="695" y="330"/>
                    </a:lnTo>
                    <a:lnTo>
                      <a:pt x="693" y="330"/>
                    </a:lnTo>
                    <a:lnTo>
                      <a:pt x="691" y="330"/>
                    </a:lnTo>
                    <a:lnTo>
                      <a:pt x="691" y="332"/>
                    </a:lnTo>
                    <a:lnTo>
                      <a:pt x="689" y="332"/>
                    </a:lnTo>
                    <a:lnTo>
                      <a:pt x="689" y="330"/>
                    </a:lnTo>
                    <a:lnTo>
                      <a:pt x="687" y="330"/>
                    </a:lnTo>
                    <a:lnTo>
                      <a:pt x="686" y="330"/>
                    </a:lnTo>
                    <a:lnTo>
                      <a:pt x="684" y="330"/>
                    </a:lnTo>
                    <a:lnTo>
                      <a:pt x="684" y="332"/>
                    </a:lnTo>
                    <a:lnTo>
                      <a:pt x="684" y="330"/>
                    </a:lnTo>
                    <a:lnTo>
                      <a:pt x="682" y="330"/>
                    </a:lnTo>
                    <a:lnTo>
                      <a:pt x="682" y="332"/>
                    </a:lnTo>
                    <a:lnTo>
                      <a:pt x="680" y="332"/>
                    </a:lnTo>
                    <a:lnTo>
                      <a:pt x="678" y="332"/>
                    </a:lnTo>
                    <a:lnTo>
                      <a:pt x="676" y="332"/>
                    </a:lnTo>
                    <a:lnTo>
                      <a:pt x="678" y="332"/>
                    </a:lnTo>
                    <a:lnTo>
                      <a:pt x="676" y="334"/>
                    </a:lnTo>
                    <a:lnTo>
                      <a:pt x="676" y="336"/>
                    </a:lnTo>
                    <a:lnTo>
                      <a:pt x="674" y="338"/>
                    </a:lnTo>
                    <a:lnTo>
                      <a:pt x="672" y="340"/>
                    </a:lnTo>
                    <a:lnTo>
                      <a:pt x="674" y="342"/>
                    </a:lnTo>
                    <a:lnTo>
                      <a:pt x="676" y="344"/>
                    </a:lnTo>
                    <a:lnTo>
                      <a:pt x="676" y="346"/>
                    </a:lnTo>
                    <a:lnTo>
                      <a:pt x="678" y="348"/>
                    </a:lnTo>
                    <a:lnTo>
                      <a:pt x="678" y="350"/>
                    </a:lnTo>
                    <a:lnTo>
                      <a:pt x="678" y="351"/>
                    </a:lnTo>
                    <a:lnTo>
                      <a:pt x="676" y="351"/>
                    </a:lnTo>
                    <a:lnTo>
                      <a:pt x="674" y="351"/>
                    </a:lnTo>
                    <a:lnTo>
                      <a:pt x="674" y="350"/>
                    </a:lnTo>
                    <a:lnTo>
                      <a:pt x="674" y="351"/>
                    </a:lnTo>
                    <a:lnTo>
                      <a:pt x="674" y="353"/>
                    </a:lnTo>
                    <a:lnTo>
                      <a:pt x="674" y="355"/>
                    </a:lnTo>
                    <a:lnTo>
                      <a:pt x="674" y="357"/>
                    </a:lnTo>
                    <a:lnTo>
                      <a:pt x="674" y="359"/>
                    </a:lnTo>
                    <a:lnTo>
                      <a:pt x="674" y="361"/>
                    </a:lnTo>
                    <a:lnTo>
                      <a:pt x="676" y="365"/>
                    </a:lnTo>
                    <a:lnTo>
                      <a:pt x="678" y="365"/>
                    </a:lnTo>
                    <a:lnTo>
                      <a:pt x="678" y="367"/>
                    </a:lnTo>
                    <a:lnTo>
                      <a:pt x="676" y="367"/>
                    </a:lnTo>
                    <a:lnTo>
                      <a:pt x="676" y="369"/>
                    </a:lnTo>
                    <a:lnTo>
                      <a:pt x="676" y="371"/>
                    </a:lnTo>
                    <a:lnTo>
                      <a:pt x="674" y="371"/>
                    </a:lnTo>
                    <a:lnTo>
                      <a:pt x="672" y="371"/>
                    </a:lnTo>
                    <a:lnTo>
                      <a:pt x="674" y="371"/>
                    </a:lnTo>
                    <a:lnTo>
                      <a:pt x="672" y="373"/>
                    </a:lnTo>
                    <a:lnTo>
                      <a:pt x="670" y="373"/>
                    </a:lnTo>
                    <a:lnTo>
                      <a:pt x="668" y="373"/>
                    </a:lnTo>
                    <a:lnTo>
                      <a:pt x="668" y="374"/>
                    </a:lnTo>
                    <a:lnTo>
                      <a:pt x="668" y="376"/>
                    </a:lnTo>
                    <a:lnTo>
                      <a:pt x="670" y="378"/>
                    </a:lnTo>
                    <a:lnTo>
                      <a:pt x="670" y="376"/>
                    </a:lnTo>
                    <a:lnTo>
                      <a:pt x="670" y="378"/>
                    </a:lnTo>
                    <a:lnTo>
                      <a:pt x="672" y="378"/>
                    </a:lnTo>
                    <a:lnTo>
                      <a:pt x="672" y="380"/>
                    </a:lnTo>
                    <a:lnTo>
                      <a:pt x="672" y="382"/>
                    </a:lnTo>
                    <a:lnTo>
                      <a:pt x="672" y="384"/>
                    </a:lnTo>
                    <a:lnTo>
                      <a:pt x="672" y="386"/>
                    </a:lnTo>
                    <a:lnTo>
                      <a:pt x="674" y="386"/>
                    </a:lnTo>
                    <a:lnTo>
                      <a:pt x="676" y="386"/>
                    </a:lnTo>
                    <a:lnTo>
                      <a:pt x="678" y="386"/>
                    </a:lnTo>
                    <a:lnTo>
                      <a:pt x="678" y="388"/>
                    </a:lnTo>
                    <a:lnTo>
                      <a:pt x="680" y="390"/>
                    </a:lnTo>
                    <a:lnTo>
                      <a:pt x="680" y="392"/>
                    </a:lnTo>
                    <a:lnTo>
                      <a:pt x="678" y="392"/>
                    </a:lnTo>
                    <a:lnTo>
                      <a:pt x="678" y="394"/>
                    </a:lnTo>
                    <a:lnTo>
                      <a:pt x="678" y="396"/>
                    </a:lnTo>
                    <a:lnTo>
                      <a:pt x="680" y="396"/>
                    </a:lnTo>
                    <a:lnTo>
                      <a:pt x="680" y="398"/>
                    </a:lnTo>
                    <a:lnTo>
                      <a:pt x="680" y="396"/>
                    </a:lnTo>
                    <a:lnTo>
                      <a:pt x="682" y="398"/>
                    </a:lnTo>
                    <a:lnTo>
                      <a:pt x="682" y="399"/>
                    </a:lnTo>
                    <a:lnTo>
                      <a:pt x="682" y="401"/>
                    </a:lnTo>
                    <a:lnTo>
                      <a:pt x="684" y="401"/>
                    </a:lnTo>
                    <a:lnTo>
                      <a:pt x="682" y="401"/>
                    </a:lnTo>
                    <a:lnTo>
                      <a:pt x="682" y="403"/>
                    </a:lnTo>
                    <a:lnTo>
                      <a:pt x="684" y="403"/>
                    </a:lnTo>
                    <a:lnTo>
                      <a:pt x="684" y="405"/>
                    </a:lnTo>
                    <a:lnTo>
                      <a:pt x="686" y="405"/>
                    </a:lnTo>
                    <a:lnTo>
                      <a:pt x="686" y="403"/>
                    </a:lnTo>
                    <a:lnTo>
                      <a:pt x="687" y="403"/>
                    </a:lnTo>
                    <a:lnTo>
                      <a:pt x="687" y="405"/>
                    </a:lnTo>
                    <a:lnTo>
                      <a:pt x="687" y="407"/>
                    </a:lnTo>
                    <a:lnTo>
                      <a:pt x="686" y="409"/>
                    </a:lnTo>
                    <a:lnTo>
                      <a:pt x="687" y="409"/>
                    </a:lnTo>
                    <a:lnTo>
                      <a:pt x="689" y="411"/>
                    </a:lnTo>
                    <a:lnTo>
                      <a:pt x="689" y="409"/>
                    </a:lnTo>
                    <a:lnTo>
                      <a:pt x="691" y="409"/>
                    </a:lnTo>
                    <a:lnTo>
                      <a:pt x="691" y="407"/>
                    </a:lnTo>
                    <a:lnTo>
                      <a:pt x="691" y="405"/>
                    </a:lnTo>
                    <a:lnTo>
                      <a:pt x="689" y="403"/>
                    </a:lnTo>
                    <a:lnTo>
                      <a:pt x="691" y="403"/>
                    </a:lnTo>
                    <a:lnTo>
                      <a:pt x="693" y="405"/>
                    </a:lnTo>
                    <a:lnTo>
                      <a:pt x="695" y="405"/>
                    </a:lnTo>
                    <a:lnTo>
                      <a:pt x="695" y="403"/>
                    </a:lnTo>
                    <a:lnTo>
                      <a:pt x="697" y="403"/>
                    </a:lnTo>
                    <a:lnTo>
                      <a:pt x="697" y="405"/>
                    </a:lnTo>
                    <a:lnTo>
                      <a:pt x="697" y="407"/>
                    </a:lnTo>
                    <a:lnTo>
                      <a:pt x="697" y="409"/>
                    </a:lnTo>
                    <a:lnTo>
                      <a:pt x="697" y="411"/>
                    </a:lnTo>
                    <a:lnTo>
                      <a:pt x="697" y="413"/>
                    </a:lnTo>
                    <a:lnTo>
                      <a:pt x="695" y="413"/>
                    </a:lnTo>
                    <a:lnTo>
                      <a:pt x="693" y="415"/>
                    </a:lnTo>
                    <a:lnTo>
                      <a:pt x="693" y="417"/>
                    </a:lnTo>
                    <a:lnTo>
                      <a:pt x="695" y="417"/>
                    </a:lnTo>
                    <a:lnTo>
                      <a:pt x="695" y="419"/>
                    </a:lnTo>
                    <a:lnTo>
                      <a:pt x="697" y="419"/>
                    </a:lnTo>
                    <a:lnTo>
                      <a:pt x="697" y="421"/>
                    </a:lnTo>
                    <a:lnTo>
                      <a:pt x="697" y="423"/>
                    </a:lnTo>
                    <a:lnTo>
                      <a:pt x="699" y="423"/>
                    </a:lnTo>
                    <a:lnTo>
                      <a:pt x="699" y="424"/>
                    </a:lnTo>
                    <a:lnTo>
                      <a:pt x="699" y="426"/>
                    </a:lnTo>
                    <a:lnTo>
                      <a:pt x="697" y="428"/>
                    </a:lnTo>
                    <a:lnTo>
                      <a:pt x="697" y="430"/>
                    </a:lnTo>
                    <a:lnTo>
                      <a:pt x="695" y="430"/>
                    </a:lnTo>
                    <a:lnTo>
                      <a:pt x="697" y="430"/>
                    </a:lnTo>
                    <a:lnTo>
                      <a:pt x="697" y="432"/>
                    </a:lnTo>
                    <a:lnTo>
                      <a:pt x="697" y="434"/>
                    </a:lnTo>
                    <a:lnTo>
                      <a:pt x="697" y="436"/>
                    </a:lnTo>
                    <a:lnTo>
                      <a:pt x="697" y="434"/>
                    </a:lnTo>
                    <a:lnTo>
                      <a:pt x="695" y="434"/>
                    </a:lnTo>
                    <a:lnTo>
                      <a:pt x="695" y="436"/>
                    </a:lnTo>
                    <a:lnTo>
                      <a:pt x="693" y="436"/>
                    </a:lnTo>
                    <a:lnTo>
                      <a:pt x="695" y="436"/>
                    </a:lnTo>
                    <a:lnTo>
                      <a:pt x="695" y="438"/>
                    </a:lnTo>
                    <a:lnTo>
                      <a:pt x="693" y="438"/>
                    </a:lnTo>
                    <a:lnTo>
                      <a:pt x="693" y="436"/>
                    </a:lnTo>
                    <a:lnTo>
                      <a:pt x="691" y="436"/>
                    </a:lnTo>
                    <a:lnTo>
                      <a:pt x="691" y="434"/>
                    </a:lnTo>
                    <a:lnTo>
                      <a:pt x="689" y="434"/>
                    </a:lnTo>
                    <a:lnTo>
                      <a:pt x="691" y="434"/>
                    </a:lnTo>
                    <a:lnTo>
                      <a:pt x="689" y="434"/>
                    </a:lnTo>
                    <a:lnTo>
                      <a:pt x="689" y="432"/>
                    </a:lnTo>
                    <a:lnTo>
                      <a:pt x="689" y="430"/>
                    </a:lnTo>
                    <a:lnTo>
                      <a:pt x="687" y="430"/>
                    </a:lnTo>
                    <a:lnTo>
                      <a:pt x="687" y="432"/>
                    </a:lnTo>
                    <a:lnTo>
                      <a:pt x="687" y="434"/>
                    </a:lnTo>
                    <a:lnTo>
                      <a:pt x="686" y="434"/>
                    </a:lnTo>
                    <a:lnTo>
                      <a:pt x="686" y="436"/>
                    </a:lnTo>
                    <a:lnTo>
                      <a:pt x="686" y="438"/>
                    </a:lnTo>
                    <a:lnTo>
                      <a:pt x="686" y="440"/>
                    </a:lnTo>
                    <a:lnTo>
                      <a:pt x="684" y="440"/>
                    </a:lnTo>
                    <a:lnTo>
                      <a:pt x="684" y="442"/>
                    </a:lnTo>
                    <a:lnTo>
                      <a:pt x="682" y="442"/>
                    </a:lnTo>
                    <a:lnTo>
                      <a:pt x="680" y="442"/>
                    </a:lnTo>
                    <a:lnTo>
                      <a:pt x="682" y="444"/>
                    </a:lnTo>
                    <a:lnTo>
                      <a:pt x="680" y="444"/>
                    </a:lnTo>
                    <a:lnTo>
                      <a:pt x="680" y="446"/>
                    </a:lnTo>
                    <a:lnTo>
                      <a:pt x="678" y="446"/>
                    </a:lnTo>
                    <a:lnTo>
                      <a:pt x="676" y="448"/>
                    </a:lnTo>
                    <a:lnTo>
                      <a:pt x="674" y="448"/>
                    </a:lnTo>
                    <a:lnTo>
                      <a:pt x="674" y="449"/>
                    </a:lnTo>
                    <a:lnTo>
                      <a:pt x="672" y="449"/>
                    </a:lnTo>
                    <a:lnTo>
                      <a:pt x="672" y="448"/>
                    </a:lnTo>
                    <a:lnTo>
                      <a:pt x="670" y="448"/>
                    </a:lnTo>
                    <a:lnTo>
                      <a:pt x="670" y="449"/>
                    </a:lnTo>
                    <a:lnTo>
                      <a:pt x="668" y="449"/>
                    </a:lnTo>
                    <a:lnTo>
                      <a:pt x="666" y="449"/>
                    </a:lnTo>
                    <a:lnTo>
                      <a:pt x="666" y="448"/>
                    </a:lnTo>
                    <a:lnTo>
                      <a:pt x="664" y="448"/>
                    </a:lnTo>
                    <a:lnTo>
                      <a:pt x="664" y="446"/>
                    </a:lnTo>
                    <a:lnTo>
                      <a:pt x="663" y="448"/>
                    </a:lnTo>
                    <a:lnTo>
                      <a:pt x="663" y="446"/>
                    </a:lnTo>
                    <a:lnTo>
                      <a:pt x="661" y="446"/>
                    </a:lnTo>
                    <a:lnTo>
                      <a:pt x="661" y="444"/>
                    </a:lnTo>
                    <a:lnTo>
                      <a:pt x="659" y="444"/>
                    </a:lnTo>
                    <a:lnTo>
                      <a:pt x="659" y="446"/>
                    </a:lnTo>
                    <a:lnTo>
                      <a:pt x="657" y="446"/>
                    </a:lnTo>
                    <a:lnTo>
                      <a:pt x="657" y="448"/>
                    </a:lnTo>
                    <a:lnTo>
                      <a:pt x="655" y="448"/>
                    </a:lnTo>
                    <a:lnTo>
                      <a:pt x="653" y="448"/>
                    </a:lnTo>
                    <a:lnTo>
                      <a:pt x="651" y="448"/>
                    </a:lnTo>
                    <a:lnTo>
                      <a:pt x="649" y="448"/>
                    </a:lnTo>
                    <a:lnTo>
                      <a:pt x="649" y="446"/>
                    </a:lnTo>
                    <a:lnTo>
                      <a:pt x="647" y="446"/>
                    </a:lnTo>
                    <a:lnTo>
                      <a:pt x="645" y="446"/>
                    </a:lnTo>
                    <a:lnTo>
                      <a:pt x="645" y="444"/>
                    </a:lnTo>
                    <a:lnTo>
                      <a:pt x="643" y="444"/>
                    </a:lnTo>
                    <a:lnTo>
                      <a:pt x="641" y="442"/>
                    </a:lnTo>
                    <a:lnTo>
                      <a:pt x="639" y="442"/>
                    </a:lnTo>
                    <a:lnTo>
                      <a:pt x="639" y="440"/>
                    </a:lnTo>
                    <a:lnTo>
                      <a:pt x="641" y="440"/>
                    </a:lnTo>
                    <a:lnTo>
                      <a:pt x="641" y="438"/>
                    </a:lnTo>
                    <a:lnTo>
                      <a:pt x="643" y="438"/>
                    </a:lnTo>
                    <a:lnTo>
                      <a:pt x="643" y="436"/>
                    </a:lnTo>
                    <a:lnTo>
                      <a:pt x="645" y="436"/>
                    </a:lnTo>
                    <a:lnTo>
                      <a:pt x="645" y="434"/>
                    </a:lnTo>
                    <a:lnTo>
                      <a:pt x="647" y="434"/>
                    </a:lnTo>
                    <a:lnTo>
                      <a:pt x="647" y="432"/>
                    </a:lnTo>
                    <a:lnTo>
                      <a:pt x="649" y="432"/>
                    </a:lnTo>
                    <a:lnTo>
                      <a:pt x="649" y="430"/>
                    </a:lnTo>
                    <a:lnTo>
                      <a:pt x="649" y="428"/>
                    </a:lnTo>
                    <a:lnTo>
                      <a:pt x="651" y="430"/>
                    </a:lnTo>
                    <a:lnTo>
                      <a:pt x="651" y="428"/>
                    </a:lnTo>
                    <a:lnTo>
                      <a:pt x="653" y="428"/>
                    </a:lnTo>
                    <a:lnTo>
                      <a:pt x="653" y="426"/>
                    </a:lnTo>
                    <a:lnTo>
                      <a:pt x="651" y="426"/>
                    </a:lnTo>
                    <a:lnTo>
                      <a:pt x="651" y="424"/>
                    </a:lnTo>
                    <a:lnTo>
                      <a:pt x="649" y="424"/>
                    </a:lnTo>
                    <a:lnTo>
                      <a:pt x="649" y="423"/>
                    </a:lnTo>
                    <a:lnTo>
                      <a:pt x="649" y="421"/>
                    </a:lnTo>
                    <a:lnTo>
                      <a:pt x="647" y="421"/>
                    </a:lnTo>
                    <a:lnTo>
                      <a:pt x="645" y="421"/>
                    </a:lnTo>
                    <a:lnTo>
                      <a:pt x="645" y="423"/>
                    </a:lnTo>
                    <a:lnTo>
                      <a:pt x="643" y="423"/>
                    </a:lnTo>
                    <a:lnTo>
                      <a:pt x="643" y="421"/>
                    </a:lnTo>
                    <a:lnTo>
                      <a:pt x="641" y="421"/>
                    </a:lnTo>
                    <a:lnTo>
                      <a:pt x="641" y="423"/>
                    </a:lnTo>
                    <a:lnTo>
                      <a:pt x="639" y="423"/>
                    </a:lnTo>
                    <a:lnTo>
                      <a:pt x="638" y="423"/>
                    </a:lnTo>
                    <a:lnTo>
                      <a:pt x="638" y="424"/>
                    </a:lnTo>
                    <a:lnTo>
                      <a:pt x="636" y="424"/>
                    </a:lnTo>
                    <a:lnTo>
                      <a:pt x="636" y="426"/>
                    </a:lnTo>
                    <a:lnTo>
                      <a:pt x="638" y="426"/>
                    </a:lnTo>
                    <a:lnTo>
                      <a:pt x="636" y="428"/>
                    </a:lnTo>
                    <a:lnTo>
                      <a:pt x="636" y="430"/>
                    </a:lnTo>
                    <a:lnTo>
                      <a:pt x="634" y="432"/>
                    </a:lnTo>
                    <a:lnTo>
                      <a:pt x="634" y="430"/>
                    </a:lnTo>
                    <a:lnTo>
                      <a:pt x="632" y="430"/>
                    </a:lnTo>
                    <a:lnTo>
                      <a:pt x="632" y="432"/>
                    </a:lnTo>
                    <a:lnTo>
                      <a:pt x="630" y="432"/>
                    </a:lnTo>
                    <a:lnTo>
                      <a:pt x="630" y="434"/>
                    </a:lnTo>
                    <a:lnTo>
                      <a:pt x="628" y="434"/>
                    </a:lnTo>
                    <a:lnTo>
                      <a:pt x="626" y="434"/>
                    </a:lnTo>
                    <a:lnTo>
                      <a:pt x="624" y="436"/>
                    </a:lnTo>
                    <a:lnTo>
                      <a:pt x="622" y="436"/>
                    </a:lnTo>
                    <a:lnTo>
                      <a:pt x="622" y="434"/>
                    </a:lnTo>
                    <a:lnTo>
                      <a:pt x="620" y="434"/>
                    </a:lnTo>
                    <a:lnTo>
                      <a:pt x="620" y="436"/>
                    </a:lnTo>
                    <a:lnTo>
                      <a:pt x="618" y="436"/>
                    </a:lnTo>
                    <a:lnTo>
                      <a:pt x="616" y="436"/>
                    </a:lnTo>
                    <a:lnTo>
                      <a:pt x="616" y="438"/>
                    </a:lnTo>
                    <a:lnTo>
                      <a:pt x="614" y="438"/>
                    </a:lnTo>
                    <a:lnTo>
                      <a:pt x="616" y="440"/>
                    </a:lnTo>
                    <a:lnTo>
                      <a:pt x="614" y="440"/>
                    </a:lnTo>
                    <a:lnTo>
                      <a:pt x="614" y="442"/>
                    </a:lnTo>
                    <a:lnTo>
                      <a:pt x="616" y="444"/>
                    </a:lnTo>
                    <a:lnTo>
                      <a:pt x="618" y="444"/>
                    </a:lnTo>
                    <a:lnTo>
                      <a:pt x="618" y="446"/>
                    </a:lnTo>
                    <a:lnTo>
                      <a:pt x="616" y="446"/>
                    </a:lnTo>
                    <a:lnTo>
                      <a:pt x="616" y="448"/>
                    </a:lnTo>
                    <a:lnTo>
                      <a:pt x="614" y="448"/>
                    </a:lnTo>
                    <a:lnTo>
                      <a:pt x="614" y="449"/>
                    </a:lnTo>
                    <a:lnTo>
                      <a:pt x="614" y="451"/>
                    </a:lnTo>
                    <a:lnTo>
                      <a:pt x="614" y="453"/>
                    </a:lnTo>
                    <a:lnTo>
                      <a:pt x="613" y="455"/>
                    </a:lnTo>
                    <a:lnTo>
                      <a:pt x="613" y="457"/>
                    </a:lnTo>
                    <a:lnTo>
                      <a:pt x="613" y="459"/>
                    </a:lnTo>
                    <a:lnTo>
                      <a:pt x="613" y="461"/>
                    </a:lnTo>
                    <a:lnTo>
                      <a:pt x="613" y="463"/>
                    </a:lnTo>
                    <a:lnTo>
                      <a:pt x="613" y="465"/>
                    </a:lnTo>
                    <a:lnTo>
                      <a:pt x="613" y="467"/>
                    </a:lnTo>
                    <a:lnTo>
                      <a:pt x="611" y="467"/>
                    </a:lnTo>
                    <a:lnTo>
                      <a:pt x="609" y="467"/>
                    </a:lnTo>
                    <a:lnTo>
                      <a:pt x="607" y="469"/>
                    </a:lnTo>
                    <a:lnTo>
                      <a:pt x="607" y="467"/>
                    </a:lnTo>
                    <a:lnTo>
                      <a:pt x="605" y="467"/>
                    </a:lnTo>
                    <a:lnTo>
                      <a:pt x="605" y="469"/>
                    </a:lnTo>
                    <a:lnTo>
                      <a:pt x="603" y="467"/>
                    </a:lnTo>
                    <a:lnTo>
                      <a:pt x="603" y="469"/>
                    </a:lnTo>
                    <a:lnTo>
                      <a:pt x="605" y="469"/>
                    </a:lnTo>
                    <a:lnTo>
                      <a:pt x="603" y="471"/>
                    </a:lnTo>
                    <a:lnTo>
                      <a:pt x="601" y="471"/>
                    </a:lnTo>
                    <a:lnTo>
                      <a:pt x="599" y="471"/>
                    </a:lnTo>
                    <a:lnTo>
                      <a:pt x="599" y="469"/>
                    </a:lnTo>
                    <a:lnTo>
                      <a:pt x="599" y="471"/>
                    </a:lnTo>
                    <a:lnTo>
                      <a:pt x="597" y="471"/>
                    </a:lnTo>
                    <a:lnTo>
                      <a:pt x="597" y="469"/>
                    </a:lnTo>
                    <a:lnTo>
                      <a:pt x="595" y="471"/>
                    </a:lnTo>
                    <a:lnTo>
                      <a:pt x="593" y="471"/>
                    </a:lnTo>
                    <a:lnTo>
                      <a:pt x="593" y="469"/>
                    </a:lnTo>
                    <a:lnTo>
                      <a:pt x="591" y="471"/>
                    </a:lnTo>
                    <a:lnTo>
                      <a:pt x="591" y="473"/>
                    </a:lnTo>
                    <a:lnTo>
                      <a:pt x="591" y="474"/>
                    </a:lnTo>
                    <a:lnTo>
                      <a:pt x="591" y="476"/>
                    </a:lnTo>
                    <a:lnTo>
                      <a:pt x="590" y="476"/>
                    </a:lnTo>
                    <a:lnTo>
                      <a:pt x="590" y="478"/>
                    </a:lnTo>
                    <a:lnTo>
                      <a:pt x="588" y="478"/>
                    </a:lnTo>
                    <a:lnTo>
                      <a:pt x="588" y="480"/>
                    </a:lnTo>
                    <a:lnTo>
                      <a:pt x="590" y="480"/>
                    </a:lnTo>
                    <a:lnTo>
                      <a:pt x="588" y="482"/>
                    </a:lnTo>
                    <a:lnTo>
                      <a:pt x="586" y="482"/>
                    </a:lnTo>
                    <a:lnTo>
                      <a:pt x="586" y="484"/>
                    </a:lnTo>
                    <a:lnTo>
                      <a:pt x="584" y="482"/>
                    </a:lnTo>
                    <a:lnTo>
                      <a:pt x="584" y="480"/>
                    </a:lnTo>
                    <a:lnTo>
                      <a:pt x="582" y="480"/>
                    </a:lnTo>
                    <a:lnTo>
                      <a:pt x="584" y="480"/>
                    </a:lnTo>
                    <a:lnTo>
                      <a:pt x="582" y="478"/>
                    </a:lnTo>
                    <a:lnTo>
                      <a:pt x="580" y="478"/>
                    </a:lnTo>
                    <a:lnTo>
                      <a:pt x="578" y="478"/>
                    </a:lnTo>
                    <a:lnTo>
                      <a:pt x="578" y="476"/>
                    </a:lnTo>
                    <a:lnTo>
                      <a:pt x="576" y="476"/>
                    </a:lnTo>
                    <a:lnTo>
                      <a:pt x="576" y="474"/>
                    </a:lnTo>
                    <a:lnTo>
                      <a:pt x="574" y="474"/>
                    </a:lnTo>
                    <a:lnTo>
                      <a:pt x="572" y="474"/>
                    </a:lnTo>
                    <a:lnTo>
                      <a:pt x="570" y="474"/>
                    </a:lnTo>
                    <a:lnTo>
                      <a:pt x="570" y="476"/>
                    </a:lnTo>
                    <a:lnTo>
                      <a:pt x="570" y="478"/>
                    </a:lnTo>
                    <a:lnTo>
                      <a:pt x="568" y="478"/>
                    </a:lnTo>
                    <a:lnTo>
                      <a:pt x="566" y="480"/>
                    </a:lnTo>
                    <a:lnTo>
                      <a:pt x="566" y="478"/>
                    </a:lnTo>
                    <a:lnTo>
                      <a:pt x="565" y="478"/>
                    </a:lnTo>
                    <a:lnTo>
                      <a:pt x="563" y="478"/>
                    </a:lnTo>
                    <a:lnTo>
                      <a:pt x="563" y="480"/>
                    </a:lnTo>
                    <a:lnTo>
                      <a:pt x="561" y="480"/>
                    </a:lnTo>
                    <a:lnTo>
                      <a:pt x="561" y="478"/>
                    </a:lnTo>
                    <a:lnTo>
                      <a:pt x="559" y="478"/>
                    </a:lnTo>
                    <a:lnTo>
                      <a:pt x="559" y="476"/>
                    </a:lnTo>
                    <a:lnTo>
                      <a:pt x="557" y="478"/>
                    </a:lnTo>
                    <a:lnTo>
                      <a:pt x="557" y="476"/>
                    </a:lnTo>
                    <a:lnTo>
                      <a:pt x="555" y="476"/>
                    </a:lnTo>
                    <a:lnTo>
                      <a:pt x="555" y="478"/>
                    </a:lnTo>
                    <a:lnTo>
                      <a:pt x="553" y="478"/>
                    </a:lnTo>
                    <a:lnTo>
                      <a:pt x="551" y="478"/>
                    </a:lnTo>
                    <a:lnTo>
                      <a:pt x="551" y="476"/>
                    </a:lnTo>
                    <a:lnTo>
                      <a:pt x="549" y="476"/>
                    </a:lnTo>
                    <a:lnTo>
                      <a:pt x="549" y="474"/>
                    </a:lnTo>
                    <a:lnTo>
                      <a:pt x="547" y="474"/>
                    </a:lnTo>
                    <a:lnTo>
                      <a:pt x="547" y="473"/>
                    </a:lnTo>
                    <a:lnTo>
                      <a:pt x="545" y="473"/>
                    </a:lnTo>
                    <a:lnTo>
                      <a:pt x="547" y="473"/>
                    </a:lnTo>
                    <a:lnTo>
                      <a:pt x="545" y="473"/>
                    </a:lnTo>
                    <a:lnTo>
                      <a:pt x="545" y="471"/>
                    </a:lnTo>
                    <a:lnTo>
                      <a:pt x="545" y="469"/>
                    </a:lnTo>
                    <a:lnTo>
                      <a:pt x="543" y="469"/>
                    </a:lnTo>
                    <a:lnTo>
                      <a:pt x="543" y="467"/>
                    </a:lnTo>
                    <a:lnTo>
                      <a:pt x="543" y="465"/>
                    </a:lnTo>
                    <a:lnTo>
                      <a:pt x="545" y="465"/>
                    </a:lnTo>
                    <a:lnTo>
                      <a:pt x="545" y="463"/>
                    </a:lnTo>
                    <a:lnTo>
                      <a:pt x="545" y="461"/>
                    </a:lnTo>
                    <a:lnTo>
                      <a:pt x="543" y="461"/>
                    </a:lnTo>
                    <a:lnTo>
                      <a:pt x="541" y="461"/>
                    </a:lnTo>
                    <a:lnTo>
                      <a:pt x="540" y="463"/>
                    </a:lnTo>
                    <a:lnTo>
                      <a:pt x="540" y="461"/>
                    </a:lnTo>
                    <a:lnTo>
                      <a:pt x="540" y="463"/>
                    </a:lnTo>
                    <a:lnTo>
                      <a:pt x="538" y="463"/>
                    </a:lnTo>
                    <a:lnTo>
                      <a:pt x="538" y="465"/>
                    </a:lnTo>
                    <a:lnTo>
                      <a:pt x="536" y="467"/>
                    </a:lnTo>
                    <a:lnTo>
                      <a:pt x="536" y="469"/>
                    </a:lnTo>
                    <a:lnTo>
                      <a:pt x="534" y="469"/>
                    </a:lnTo>
                    <a:lnTo>
                      <a:pt x="532" y="469"/>
                    </a:lnTo>
                    <a:lnTo>
                      <a:pt x="530" y="469"/>
                    </a:lnTo>
                    <a:lnTo>
                      <a:pt x="530" y="471"/>
                    </a:lnTo>
                    <a:lnTo>
                      <a:pt x="528" y="471"/>
                    </a:lnTo>
                    <a:lnTo>
                      <a:pt x="528" y="469"/>
                    </a:lnTo>
                    <a:lnTo>
                      <a:pt x="526" y="467"/>
                    </a:lnTo>
                    <a:lnTo>
                      <a:pt x="524" y="467"/>
                    </a:lnTo>
                    <a:lnTo>
                      <a:pt x="524" y="465"/>
                    </a:lnTo>
                    <a:lnTo>
                      <a:pt x="522" y="465"/>
                    </a:lnTo>
                    <a:lnTo>
                      <a:pt x="522" y="467"/>
                    </a:lnTo>
                    <a:lnTo>
                      <a:pt x="520" y="465"/>
                    </a:lnTo>
                    <a:lnTo>
                      <a:pt x="520" y="467"/>
                    </a:lnTo>
                    <a:lnTo>
                      <a:pt x="518" y="467"/>
                    </a:lnTo>
                    <a:lnTo>
                      <a:pt x="518" y="465"/>
                    </a:lnTo>
                    <a:lnTo>
                      <a:pt x="518" y="467"/>
                    </a:lnTo>
                    <a:lnTo>
                      <a:pt x="517" y="467"/>
                    </a:lnTo>
                    <a:lnTo>
                      <a:pt x="517" y="469"/>
                    </a:lnTo>
                    <a:lnTo>
                      <a:pt x="515" y="469"/>
                    </a:lnTo>
                    <a:lnTo>
                      <a:pt x="515" y="467"/>
                    </a:lnTo>
                    <a:lnTo>
                      <a:pt x="513" y="467"/>
                    </a:lnTo>
                    <a:lnTo>
                      <a:pt x="513" y="465"/>
                    </a:lnTo>
                    <a:lnTo>
                      <a:pt x="511" y="465"/>
                    </a:lnTo>
                    <a:lnTo>
                      <a:pt x="511" y="463"/>
                    </a:lnTo>
                    <a:lnTo>
                      <a:pt x="509" y="463"/>
                    </a:lnTo>
                    <a:lnTo>
                      <a:pt x="507" y="463"/>
                    </a:lnTo>
                    <a:lnTo>
                      <a:pt x="507" y="461"/>
                    </a:lnTo>
                    <a:lnTo>
                      <a:pt x="507" y="459"/>
                    </a:lnTo>
                    <a:lnTo>
                      <a:pt x="507" y="457"/>
                    </a:lnTo>
                    <a:lnTo>
                      <a:pt x="505" y="457"/>
                    </a:lnTo>
                    <a:lnTo>
                      <a:pt x="505" y="455"/>
                    </a:lnTo>
                    <a:lnTo>
                      <a:pt x="503" y="457"/>
                    </a:lnTo>
                    <a:lnTo>
                      <a:pt x="503" y="459"/>
                    </a:lnTo>
                    <a:lnTo>
                      <a:pt x="503" y="461"/>
                    </a:lnTo>
                    <a:lnTo>
                      <a:pt x="501" y="463"/>
                    </a:lnTo>
                    <a:lnTo>
                      <a:pt x="501" y="465"/>
                    </a:lnTo>
                    <a:lnTo>
                      <a:pt x="501" y="467"/>
                    </a:lnTo>
                    <a:lnTo>
                      <a:pt x="499" y="467"/>
                    </a:lnTo>
                    <a:lnTo>
                      <a:pt x="499" y="469"/>
                    </a:lnTo>
                    <a:lnTo>
                      <a:pt x="501" y="469"/>
                    </a:lnTo>
                    <a:lnTo>
                      <a:pt x="501" y="471"/>
                    </a:lnTo>
                    <a:lnTo>
                      <a:pt x="501" y="473"/>
                    </a:lnTo>
                    <a:lnTo>
                      <a:pt x="499" y="473"/>
                    </a:lnTo>
                    <a:lnTo>
                      <a:pt x="499" y="474"/>
                    </a:lnTo>
                    <a:lnTo>
                      <a:pt x="497" y="474"/>
                    </a:lnTo>
                    <a:lnTo>
                      <a:pt x="497" y="476"/>
                    </a:lnTo>
                    <a:lnTo>
                      <a:pt x="495" y="478"/>
                    </a:lnTo>
                    <a:lnTo>
                      <a:pt x="493" y="478"/>
                    </a:lnTo>
                    <a:lnTo>
                      <a:pt x="493" y="480"/>
                    </a:lnTo>
                    <a:lnTo>
                      <a:pt x="493" y="478"/>
                    </a:lnTo>
                    <a:lnTo>
                      <a:pt x="492" y="478"/>
                    </a:lnTo>
                    <a:lnTo>
                      <a:pt x="492" y="476"/>
                    </a:lnTo>
                    <a:lnTo>
                      <a:pt x="490" y="476"/>
                    </a:lnTo>
                    <a:lnTo>
                      <a:pt x="488" y="478"/>
                    </a:lnTo>
                    <a:lnTo>
                      <a:pt x="486" y="478"/>
                    </a:lnTo>
                    <a:lnTo>
                      <a:pt x="484" y="478"/>
                    </a:lnTo>
                    <a:lnTo>
                      <a:pt x="484" y="476"/>
                    </a:lnTo>
                    <a:lnTo>
                      <a:pt x="482" y="476"/>
                    </a:lnTo>
                    <a:lnTo>
                      <a:pt x="480" y="476"/>
                    </a:lnTo>
                    <a:lnTo>
                      <a:pt x="480" y="478"/>
                    </a:lnTo>
                    <a:lnTo>
                      <a:pt x="480" y="480"/>
                    </a:lnTo>
                    <a:lnTo>
                      <a:pt x="478" y="480"/>
                    </a:lnTo>
                    <a:lnTo>
                      <a:pt x="476" y="480"/>
                    </a:lnTo>
                    <a:lnTo>
                      <a:pt x="474" y="480"/>
                    </a:lnTo>
                    <a:lnTo>
                      <a:pt x="474" y="478"/>
                    </a:lnTo>
                    <a:lnTo>
                      <a:pt x="474" y="476"/>
                    </a:lnTo>
                    <a:lnTo>
                      <a:pt x="472" y="476"/>
                    </a:lnTo>
                    <a:lnTo>
                      <a:pt x="470" y="476"/>
                    </a:lnTo>
                    <a:lnTo>
                      <a:pt x="470" y="474"/>
                    </a:lnTo>
                    <a:lnTo>
                      <a:pt x="468" y="474"/>
                    </a:lnTo>
                    <a:lnTo>
                      <a:pt x="467" y="474"/>
                    </a:lnTo>
                    <a:lnTo>
                      <a:pt x="465" y="474"/>
                    </a:lnTo>
                    <a:lnTo>
                      <a:pt x="465" y="476"/>
                    </a:lnTo>
                    <a:lnTo>
                      <a:pt x="463" y="476"/>
                    </a:lnTo>
                    <a:lnTo>
                      <a:pt x="463" y="474"/>
                    </a:lnTo>
                    <a:lnTo>
                      <a:pt x="461" y="474"/>
                    </a:lnTo>
                    <a:lnTo>
                      <a:pt x="461" y="473"/>
                    </a:lnTo>
                    <a:lnTo>
                      <a:pt x="459" y="474"/>
                    </a:lnTo>
                    <a:lnTo>
                      <a:pt x="457" y="474"/>
                    </a:lnTo>
                    <a:lnTo>
                      <a:pt x="457" y="476"/>
                    </a:lnTo>
                    <a:lnTo>
                      <a:pt x="457" y="478"/>
                    </a:lnTo>
                    <a:lnTo>
                      <a:pt x="455" y="478"/>
                    </a:lnTo>
                    <a:lnTo>
                      <a:pt x="455" y="480"/>
                    </a:lnTo>
                    <a:lnTo>
                      <a:pt x="455" y="482"/>
                    </a:lnTo>
                    <a:lnTo>
                      <a:pt x="455" y="484"/>
                    </a:lnTo>
                    <a:lnTo>
                      <a:pt x="455" y="486"/>
                    </a:lnTo>
                    <a:lnTo>
                      <a:pt x="455" y="488"/>
                    </a:lnTo>
                    <a:lnTo>
                      <a:pt x="455" y="490"/>
                    </a:lnTo>
                    <a:lnTo>
                      <a:pt x="453" y="490"/>
                    </a:lnTo>
                    <a:lnTo>
                      <a:pt x="453" y="492"/>
                    </a:lnTo>
                    <a:lnTo>
                      <a:pt x="453" y="494"/>
                    </a:lnTo>
                    <a:lnTo>
                      <a:pt x="451" y="494"/>
                    </a:lnTo>
                    <a:lnTo>
                      <a:pt x="449" y="494"/>
                    </a:lnTo>
                    <a:lnTo>
                      <a:pt x="447" y="494"/>
                    </a:lnTo>
                    <a:lnTo>
                      <a:pt x="447" y="496"/>
                    </a:lnTo>
                    <a:lnTo>
                      <a:pt x="447" y="494"/>
                    </a:lnTo>
                    <a:lnTo>
                      <a:pt x="445" y="494"/>
                    </a:lnTo>
                    <a:lnTo>
                      <a:pt x="445" y="492"/>
                    </a:lnTo>
                    <a:lnTo>
                      <a:pt x="444" y="492"/>
                    </a:lnTo>
                    <a:lnTo>
                      <a:pt x="444" y="494"/>
                    </a:lnTo>
                    <a:lnTo>
                      <a:pt x="442" y="494"/>
                    </a:lnTo>
                    <a:lnTo>
                      <a:pt x="440" y="494"/>
                    </a:lnTo>
                    <a:lnTo>
                      <a:pt x="440" y="496"/>
                    </a:lnTo>
                    <a:lnTo>
                      <a:pt x="440" y="498"/>
                    </a:lnTo>
                    <a:lnTo>
                      <a:pt x="438" y="498"/>
                    </a:lnTo>
                    <a:lnTo>
                      <a:pt x="438" y="499"/>
                    </a:lnTo>
                    <a:lnTo>
                      <a:pt x="436" y="499"/>
                    </a:lnTo>
                    <a:lnTo>
                      <a:pt x="434" y="499"/>
                    </a:lnTo>
                    <a:lnTo>
                      <a:pt x="434" y="498"/>
                    </a:lnTo>
                    <a:lnTo>
                      <a:pt x="432" y="499"/>
                    </a:lnTo>
                    <a:lnTo>
                      <a:pt x="432" y="501"/>
                    </a:lnTo>
                    <a:lnTo>
                      <a:pt x="432" y="503"/>
                    </a:lnTo>
                    <a:lnTo>
                      <a:pt x="430" y="503"/>
                    </a:lnTo>
                    <a:lnTo>
                      <a:pt x="430" y="501"/>
                    </a:lnTo>
                    <a:lnTo>
                      <a:pt x="428" y="501"/>
                    </a:lnTo>
                    <a:lnTo>
                      <a:pt x="428" y="503"/>
                    </a:lnTo>
                    <a:lnTo>
                      <a:pt x="428" y="505"/>
                    </a:lnTo>
                    <a:lnTo>
                      <a:pt x="426" y="505"/>
                    </a:lnTo>
                    <a:lnTo>
                      <a:pt x="424" y="505"/>
                    </a:lnTo>
                    <a:lnTo>
                      <a:pt x="424" y="507"/>
                    </a:lnTo>
                    <a:lnTo>
                      <a:pt x="422" y="507"/>
                    </a:lnTo>
                    <a:lnTo>
                      <a:pt x="420" y="507"/>
                    </a:lnTo>
                    <a:lnTo>
                      <a:pt x="419" y="507"/>
                    </a:lnTo>
                    <a:lnTo>
                      <a:pt x="419" y="509"/>
                    </a:lnTo>
                    <a:lnTo>
                      <a:pt x="420" y="509"/>
                    </a:lnTo>
                    <a:lnTo>
                      <a:pt x="420" y="511"/>
                    </a:lnTo>
                    <a:lnTo>
                      <a:pt x="422" y="511"/>
                    </a:lnTo>
                    <a:lnTo>
                      <a:pt x="422" y="513"/>
                    </a:lnTo>
                    <a:lnTo>
                      <a:pt x="420" y="513"/>
                    </a:lnTo>
                    <a:lnTo>
                      <a:pt x="420" y="515"/>
                    </a:lnTo>
                    <a:lnTo>
                      <a:pt x="420" y="517"/>
                    </a:lnTo>
                    <a:lnTo>
                      <a:pt x="420" y="519"/>
                    </a:lnTo>
                    <a:lnTo>
                      <a:pt x="419" y="519"/>
                    </a:lnTo>
                    <a:lnTo>
                      <a:pt x="419" y="521"/>
                    </a:lnTo>
                    <a:lnTo>
                      <a:pt x="419" y="523"/>
                    </a:lnTo>
                    <a:lnTo>
                      <a:pt x="417" y="524"/>
                    </a:lnTo>
                    <a:lnTo>
                      <a:pt x="419" y="524"/>
                    </a:lnTo>
                    <a:lnTo>
                      <a:pt x="419" y="526"/>
                    </a:lnTo>
                    <a:lnTo>
                      <a:pt x="420" y="528"/>
                    </a:lnTo>
                    <a:lnTo>
                      <a:pt x="420" y="530"/>
                    </a:lnTo>
                    <a:lnTo>
                      <a:pt x="422" y="530"/>
                    </a:lnTo>
                    <a:lnTo>
                      <a:pt x="422" y="528"/>
                    </a:lnTo>
                    <a:lnTo>
                      <a:pt x="424" y="530"/>
                    </a:lnTo>
                    <a:lnTo>
                      <a:pt x="424" y="528"/>
                    </a:lnTo>
                    <a:lnTo>
                      <a:pt x="426" y="528"/>
                    </a:lnTo>
                    <a:lnTo>
                      <a:pt x="426" y="530"/>
                    </a:lnTo>
                    <a:lnTo>
                      <a:pt x="426" y="532"/>
                    </a:lnTo>
                    <a:lnTo>
                      <a:pt x="428" y="532"/>
                    </a:lnTo>
                    <a:lnTo>
                      <a:pt x="428" y="534"/>
                    </a:lnTo>
                    <a:lnTo>
                      <a:pt x="430" y="534"/>
                    </a:lnTo>
                    <a:lnTo>
                      <a:pt x="430" y="536"/>
                    </a:lnTo>
                    <a:lnTo>
                      <a:pt x="432" y="536"/>
                    </a:lnTo>
                    <a:lnTo>
                      <a:pt x="430" y="538"/>
                    </a:lnTo>
                    <a:lnTo>
                      <a:pt x="430" y="540"/>
                    </a:lnTo>
                    <a:lnTo>
                      <a:pt x="432" y="540"/>
                    </a:lnTo>
                    <a:lnTo>
                      <a:pt x="434" y="542"/>
                    </a:lnTo>
                    <a:lnTo>
                      <a:pt x="432" y="542"/>
                    </a:lnTo>
                    <a:lnTo>
                      <a:pt x="434" y="544"/>
                    </a:lnTo>
                    <a:lnTo>
                      <a:pt x="436" y="546"/>
                    </a:lnTo>
                    <a:lnTo>
                      <a:pt x="438" y="544"/>
                    </a:lnTo>
                    <a:lnTo>
                      <a:pt x="440" y="544"/>
                    </a:lnTo>
                    <a:lnTo>
                      <a:pt x="440" y="546"/>
                    </a:lnTo>
                    <a:lnTo>
                      <a:pt x="442" y="546"/>
                    </a:lnTo>
                    <a:lnTo>
                      <a:pt x="442" y="544"/>
                    </a:lnTo>
                    <a:lnTo>
                      <a:pt x="444" y="544"/>
                    </a:lnTo>
                    <a:lnTo>
                      <a:pt x="444" y="546"/>
                    </a:lnTo>
                    <a:lnTo>
                      <a:pt x="444" y="548"/>
                    </a:lnTo>
                    <a:lnTo>
                      <a:pt x="444" y="549"/>
                    </a:lnTo>
                    <a:lnTo>
                      <a:pt x="442" y="549"/>
                    </a:lnTo>
                    <a:lnTo>
                      <a:pt x="440" y="551"/>
                    </a:lnTo>
                    <a:lnTo>
                      <a:pt x="440" y="549"/>
                    </a:lnTo>
                    <a:lnTo>
                      <a:pt x="438" y="549"/>
                    </a:lnTo>
                    <a:lnTo>
                      <a:pt x="436" y="549"/>
                    </a:lnTo>
                    <a:lnTo>
                      <a:pt x="436" y="551"/>
                    </a:lnTo>
                    <a:lnTo>
                      <a:pt x="436" y="549"/>
                    </a:lnTo>
                    <a:lnTo>
                      <a:pt x="434" y="549"/>
                    </a:lnTo>
                    <a:lnTo>
                      <a:pt x="434" y="551"/>
                    </a:lnTo>
                    <a:lnTo>
                      <a:pt x="434" y="553"/>
                    </a:lnTo>
                    <a:lnTo>
                      <a:pt x="432" y="553"/>
                    </a:lnTo>
                    <a:lnTo>
                      <a:pt x="432" y="555"/>
                    </a:lnTo>
                    <a:lnTo>
                      <a:pt x="430" y="555"/>
                    </a:lnTo>
                    <a:lnTo>
                      <a:pt x="430" y="557"/>
                    </a:lnTo>
                    <a:lnTo>
                      <a:pt x="432" y="557"/>
                    </a:lnTo>
                    <a:lnTo>
                      <a:pt x="430" y="559"/>
                    </a:lnTo>
                    <a:lnTo>
                      <a:pt x="430" y="561"/>
                    </a:lnTo>
                    <a:lnTo>
                      <a:pt x="430" y="563"/>
                    </a:lnTo>
                    <a:lnTo>
                      <a:pt x="432" y="565"/>
                    </a:lnTo>
                    <a:lnTo>
                      <a:pt x="432" y="567"/>
                    </a:lnTo>
                    <a:lnTo>
                      <a:pt x="432" y="569"/>
                    </a:lnTo>
                    <a:lnTo>
                      <a:pt x="432" y="571"/>
                    </a:lnTo>
                    <a:lnTo>
                      <a:pt x="432" y="573"/>
                    </a:lnTo>
                    <a:lnTo>
                      <a:pt x="430" y="573"/>
                    </a:lnTo>
                    <a:lnTo>
                      <a:pt x="428" y="573"/>
                    </a:lnTo>
                    <a:lnTo>
                      <a:pt x="428" y="574"/>
                    </a:lnTo>
                    <a:lnTo>
                      <a:pt x="430" y="574"/>
                    </a:lnTo>
                    <a:lnTo>
                      <a:pt x="428" y="574"/>
                    </a:lnTo>
                    <a:lnTo>
                      <a:pt x="428" y="576"/>
                    </a:lnTo>
                    <a:lnTo>
                      <a:pt x="430" y="576"/>
                    </a:lnTo>
                    <a:lnTo>
                      <a:pt x="430" y="578"/>
                    </a:lnTo>
                    <a:lnTo>
                      <a:pt x="430" y="580"/>
                    </a:lnTo>
                    <a:lnTo>
                      <a:pt x="428" y="580"/>
                    </a:lnTo>
                    <a:lnTo>
                      <a:pt x="428" y="582"/>
                    </a:lnTo>
                    <a:lnTo>
                      <a:pt x="428" y="584"/>
                    </a:lnTo>
                    <a:lnTo>
                      <a:pt x="428" y="586"/>
                    </a:lnTo>
                    <a:lnTo>
                      <a:pt x="430" y="586"/>
                    </a:lnTo>
                    <a:lnTo>
                      <a:pt x="430" y="588"/>
                    </a:lnTo>
                    <a:lnTo>
                      <a:pt x="430" y="590"/>
                    </a:lnTo>
                    <a:lnTo>
                      <a:pt x="430" y="592"/>
                    </a:lnTo>
                    <a:lnTo>
                      <a:pt x="430" y="594"/>
                    </a:lnTo>
                    <a:lnTo>
                      <a:pt x="432" y="594"/>
                    </a:lnTo>
                    <a:lnTo>
                      <a:pt x="432" y="596"/>
                    </a:lnTo>
                    <a:lnTo>
                      <a:pt x="432" y="598"/>
                    </a:lnTo>
                    <a:lnTo>
                      <a:pt x="434" y="598"/>
                    </a:lnTo>
                    <a:lnTo>
                      <a:pt x="436" y="598"/>
                    </a:lnTo>
                    <a:lnTo>
                      <a:pt x="436" y="599"/>
                    </a:lnTo>
                    <a:lnTo>
                      <a:pt x="436" y="601"/>
                    </a:lnTo>
                    <a:lnTo>
                      <a:pt x="436" y="603"/>
                    </a:lnTo>
                    <a:lnTo>
                      <a:pt x="434" y="605"/>
                    </a:lnTo>
                    <a:lnTo>
                      <a:pt x="436" y="607"/>
                    </a:lnTo>
                    <a:lnTo>
                      <a:pt x="434" y="607"/>
                    </a:lnTo>
                    <a:lnTo>
                      <a:pt x="434" y="609"/>
                    </a:lnTo>
                    <a:lnTo>
                      <a:pt x="434" y="611"/>
                    </a:lnTo>
                    <a:lnTo>
                      <a:pt x="434" y="613"/>
                    </a:lnTo>
                    <a:lnTo>
                      <a:pt x="434" y="615"/>
                    </a:lnTo>
                    <a:lnTo>
                      <a:pt x="438" y="617"/>
                    </a:lnTo>
                    <a:lnTo>
                      <a:pt x="438" y="619"/>
                    </a:lnTo>
                    <a:lnTo>
                      <a:pt x="436" y="621"/>
                    </a:lnTo>
                    <a:lnTo>
                      <a:pt x="436" y="622"/>
                    </a:lnTo>
                    <a:lnTo>
                      <a:pt x="438" y="622"/>
                    </a:lnTo>
                    <a:lnTo>
                      <a:pt x="438" y="624"/>
                    </a:lnTo>
                    <a:lnTo>
                      <a:pt x="438" y="626"/>
                    </a:lnTo>
                    <a:lnTo>
                      <a:pt x="436" y="626"/>
                    </a:lnTo>
                    <a:lnTo>
                      <a:pt x="438" y="628"/>
                    </a:lnTo>
                    <a:lnTo>
                      <a:pt x="438" y="630"/>
                    </a:lnTo>
                    <a:lnTo>
                      <a:pt x="438" y="632"/>
                    </a:lnTo>
                    <a:lnTo>
                      <a:pt x="438" y="634"/>
                    </a:lnTo>
                    <a:lnTo>
                      <a:pt x="438" y="636"/>
                    </a:lnTo>
                    <a:lnTo>
                      <a:pt x="438" y="638"/>
                    </a:lnTo>
                    <a:lnTo>
                      <a:pt x="438" y="636"/>
                    </a:lnTo>
                    <a:lnTo>
                      <a:pt x="438" y="638"/>
                    </a:lnTo>
                    <a:lnTo>
                      <a:pt x="436" y="638"/>
                    </a:lnTo>
                    <a:lnTo>
                      <a:pt x="436" y="640"/>
                    </a:lnTo>
                    <a:lnTo>
                      <a:pt x="438" y="640"/>
                    </a:lnTo>
                    <a:lnTo>
                      <a:pt x="436" y="640"/>
                    </a:lnTo>
                    <a:lnTo>
                      <a:pt x="436" y="642"/>
                    </a:lnTo>
                    <a:lnTo>
                      <a:pt x="436" y="644"/>
                    </a:lnTo>
                    <a:lnTo>
                      <a:pt x="434" y="644"/>
                    </a:lnTo>
                    <a:lnTo>
                      <a:pt x="434" y="646"/>
                    </a:lnTo>
                    <a:lnTo>
                      <a:pt x="436" y="646"/>
                    </a:lnTo>
                    <a:lnTo>
                      <a:pt x="438" y="646"/>
                    </a:lnTo>
                    <a:lnTo>
                      <a:pt x="438" y="644"/>
                    </a:lnTo>
                    <a:lnTo>
                      <a:pt x="451" y="647"/>
                    </a:lnTo>
                    <a:lnTo>
                      <a:pt x="451" y="651"/>
                    </a:lnTo>
                    <a:lnTo>
                      <a:pt x="442" y="680"/>
                    </a:lnTo>
                    <a:lnTo>
                      <a:pt x="436" y="701"/>
                    </a:lnTo>
                    <a:lnTo>
                      <a:pt x="432" y="719"/>
                    </a:lnTo>
                    <a:lnTo>
                      <a:pt x="430" y="740"/>
                    </a:lnTo>
                    <a:lnTo>
                      <a:pt x="424" y="746"/>
                    </a:lnTo>
                    <a:lnTo>
                      <a:pt x="417" y="753"/>
                    </a:lnTo>
                    <a:lnTo>
                      <a:pt x="407" y="761"/>
                    </a:lnTo>
                    <a:lnTo>
                      <a:pt x="401" y="767"/>
                    </a:lnTo>
                    <a:lnTo>
                      <a:pt x="399" y="771"/>
                    </a:lnTo>
                    <a:lnTo>
                      <a:pt x="390" y="782"/>
                    </a:lnTo>
                    <a:lnTo>
                      <a:pt x="382" y="788"/>
                    </a:lnTo>
                    <a:lnTo>
                      <a:pt x="376" y="796"/>
                    </a:lnTo>
                    <a:lnTo>
                      <a:pt x="372" y="799"/>
                    </a:lnTo>
                    <a:lnTo>
                      <a:pt x="365" y="819"/>
                    </a:lnTo>
                    <a:lnTo>
                      <a:pt x="359" y="828"/>
                    </a:lnTo>
                    <a:lnTo>
                      <a:pt x="355" y="834"/>
                    </a:lnTo>
                    <a:lnTo>
                      <a:pt x="349" y="842"/>
                    </a:lnTo>
                    <a:lnTo>
                      <a:pt x="349" y="844"/>
                    </a:lnTo>
                    <a:lnTo>
                      <a:pt x="342" y="849"/>
                    </a:lnTo>
                    <a:lnTo>
                      <a:pt x="336" y="855"/>
                    </a:lnTo>
                    <a:lnTo>
                      <a:pt x="330" y="859"/>
                    </a:lnTo>
                    <a:lnTo>
                      <a:pt x="322" y="861"/>
                    </a:lnTo>
                    <a:lnTo>
                      <a:pt x="322" y="871"/>
                    </a:lnTo>
                    <a:lnTo>
                      <a:pt x="322" y="872"/>
                    </a:lnTo>
                    <a:lnTo>
                      <a:pt x="324" y="872"/>
                    </a:lnTo>
                    <a:lnTo>
                      <a:pt x="322" y="872"/>
                    </a:lnTo>
                    <a:lnTo>
                      <a:pt x="322" y="874"/>
                    </a:lnTo>
                    <a:lnTo>
                      <a:pt x="324" y="874"/>
                    </a:lnTo>
                    <a:lnTo>
                      <a:pt x="324" y="876"/>
                    </a:lnTo>
                    <a:lnTo>
                      <a:pt x="324" y="878"/>
                    </a:lnTo>
                    <a:lnTo>
                      <a:pt x="324" y="880"/>
                    </a:lnTo>
                    <a:lnTo>
                      <a:pt x="326" y="880"/>
                    </a:lnTo>
                    <a:lnTo>
                      <a:pt x="324" y="882"/>
                    </a:lnTo>
                    <a:lnTo>
                      <a:pt x="324" y="884"/>
                    </a:lnTo>
                    <a:lnTo>
                      <a:pt x="322" y="884"/>
                    </a:lnTo>
                    <a:lnTo>
                      <a:pt x="321" y="884"/>
                    </a:lnTo>
                    <a:lnTo>
                      <a:pt x="319" y="882"/>
                    </a:lnTo>
                    <a:lnTo>
                      <a:pt x="319" y="884"/>
                    </a:lnTo>
                    <a:lnTo>
                      <a:pt x="317" y="884"/>
                    </a:lnTo>
                    <a:lnTo>
                      <a:pt x="315" y="886"/>
                    </a:lnTo>
                    <a:lnTo>
                      <a:pt x="313" y="886"/>
                    </a:lnTo>
                    <a:lnTo>
                      <a:pt x="311" y="886"/>
                    </a:lnTo>
                    <a:lnTo>
                      <a:pt x="309" y="886"/>
                    </a:lnTo>
                    <a:lnTo>
                      <a:pt x="307" y="888"/>
                    </a:lnTo>
                    <a:lnTo>
                      <a:pt x="307" y="890"/>
                    </a:lnTo>
                    <a:lnTo>
                      <a:pt x="305" y="892"/>
                    </a:lnTo>
                    <a:lnTo>
                      <a:pt x="303" y="892"/>
                    </a:lnTo>
                    <a:lnTo>
                      <a:pt x="301" y="892"/>
                    </a:lnTo>
                    <a:lnTo>
                      <a:pt x="301" y="894"/>
                    </a:lnTo>
                    <a:lnTo>
                      <a:pt x="301" y="895"/>
                    </a:lnTo>
                    <a:lnTo>
                      <a:pt x="299" y="895"/>
                    </a:lnTo>
                    <a:lnTo>
                      <a:pt x="297" y="897"/>
                    </a:lnTo>
                    <a:lnTo>
                      <a:pt x="296" y="897"/>
                    </a:lnTo>
                    <a:lnTo>
                      <a:pt x="296" y="895"/>
                    </a:lnTo>
                    <a:lnTo>
                      <a:pt x="296" y="892"/>
                    </a:lnTo>
                    <a:lnTo>
                      <a:pt x="296" y="882"/>
                    </a:lnTo>
                    <a:lnTo>
                      <a:pt x="294" y="880"/>
                    </a:lnTo>
                    <a:lnTo>
                      <a:pt x="294" y="878"/>
                    </a:lnTo>
                    <a:lnTo>
                      <a:pt x="294" y="876"/>
                    </a:lnTo>
                    <a:lnTo>
                      <a:pt x="292" y="876"/>
                    </a:lnTo>
                    <a:lnTo>
                      <a:pt x="290" y="876"/>
                    </a:lnTo>
                    <a:lnTo>
                      <a:pt x="288" y="874"/>
                    </a:lnTo>
                    <a:lnTo>
                      <a:pt x="286" y="874"/>
                    </a:lnTo>
                    <a:lnTo>
                      <a:pt x="284" y="874"/>
                    </a:lnTo>
                    <a:lnTo>
                      <a:pt x="284" y="876"/>
                    </a:lnTo>
                    <a:lnTo>
                      <a:pt x="282" y="874"/>
                    </a:lnTo>
                    <a:lnTo>
                      <a:pt x="282" y="876"/>
                    </a:lnTo>
                    <a:lnTo>
                      <a:pt x="280" y="876"/>
                    </a:lnTo>
                    <a:lnTo>
                      <a:pt x="278" y="876"/>
                    </a:lnTo>
                    <a:lnTo>
                      <a:pt x="278" y="878"/>
                    </a:lnTo>
                    <a:lnTo>
                      <a:pt x="276" y="878"/>
                    </a:lnTo>
                    <a:lnTo>
                      <a:pt x="276" y="876"/>
                    </a:lnTo>
                    <a:lnTo>
                      <a:pt x="276" y="874"/>
                    </a:lnTo>
                    <a:lnTo>
                      <a:pt x="274" y="874"/>
                    </a:lnTo>
                    <a:lnTo>
                      <a:pt x="273" y="874"/>
                    </a:lnTo>
                    <a:lnTo>
                      <a:pt x="273" y="872"/>
                    </a:lnTo>
                    <a:lnTo>
                      <a:pt x="273" y="871"/>
                    </a:lnTo>
                    <a:lnTo>
                      <a:pt x="273" y="869"/>
                    </a:lnTo>
                    <a:lnTo>
                      <a:pt x="271" y="869"/>
                    </a:lnTo>
                    <a:lnTo>
                      <a:pt x="271" y="867"/>
                    </a:lnTo>
                    <a:lnTo>
                      <a:pt x="271" y="865"/>
                    </a:lnTo>
                    <a:lnTo>
                      <a:pt x="271" y="863"/>
                    </a:lnTo>
                    <a:lnTo>
                      <a:pt x="273" y="863"/>
                    </a:lnTo>
                    <a:lnTo>
                      <a:pt x="271" y="863"/>
                    </a:lnTo>
                    <a:lnTo>
                      <a:pt x="271" y="861"/>
                    </a:lnTo>
                    <a:lnTo>
                      <a:pt x="271" y="859"/>
                    </a:lnTo>
                    <a:lnTo>
                      <a:pt x="271" y="857"/>
                    </a:lnTo>
                    <a:lnTo>
                      <a:pt x="271" y="855"/>
                    </a:lnTo>
                    <a:lnTo>
                      <a:pt x="271" y="853"/>
                    </a:lnTo>
                    <a:lnTo>
                      <a:pt x="269" y="851"/>
                    </a:lnTo>
                    <a:lnTo>
                      <a:pt x="267" y="851"/>
                    </a:lnTo>
                    <a:lnTo>
                      <a:pt x="265" y="851"/>
                    </a:lnTo>
                    <a:lnTo>
                      <a:pt x="265" y="849"/>
                    </a:lnTo>
                    <a:lnTo>
                      <a:pt x="267" y="849"/>
                    </a:lnTo>
                    <a:lnTo>
                      <a:pt x="265" y="849"/>
                    </a:lnTo>
                    <a:lnTo>
                      <a:pt x="265" y="847"/>
                    </a:lnTo>
                    <a:lnTo>
                      <a:pt x="263" y="847"/>
                    </a:lnTo>
                    <a:lnTo>
                      <a:pt x="261" y="847"/>
                    </a:lnTo>
                    <a:lnTo>
                      <a:pt x="259" y="847"/>
                    </a:lnTo>
                    <a:lnTo>
                      <a:pt x="259" y="846"/>
                    </a:lnTo>
                    <a:lnTo>
                      <a:pt x="257" y="846"/>
                    </a:lnTo>
                    <a:lnTo>
                      <a:pt x="257" y="844"/>
                    </a:lnTo>
                    <a:lnTo>
                      <a:pt x="255" y="844"/>
                    </a:lnTo>
                    <a:lnTo>
                      <a:pt x="255" y="842"/>
                    </a:lnTo>
                    <a:lnTo>
                      <a:pt x="253" y="842"/>
                    </a:lnTo>
                    <a:lnTo>
                      <a:pt x="253" y="840"/>
                    </a:lnTo>
                    <a:lnTo>
                      <a:pt x="251" y="840"/>
                    </a:lnTo>
                    <a:lnTo>
                      <a:pt x="251" y="838"/>
                    </a:lnTo>
                    <a:lnTo>
                      <a:pt x="249" y="838"/>
                    </a:lnTo>
                    <a:lnTo>
                      <a:pt x="249" y="836"/>
                    </a:lnTo>
                    <a:lnTo>
                      <a:pt x="248" y="836"/>
                    </a:lnTo>
                    <a:lnTo>
                      <a:pt x="248" y="834"/>
                    </a:lnTo>
                    <a:lnTo>
                      <a:pt x="246" y="832"/>
                    </a:lnTo>
                    <a:lnTo>
                      <a:pt x="246" y="830"/>
                    </a:lnTo>
                    <a:lnTo>
                      <a:pt x="246" y="828"/>
                    </a:lnTo>
                    <a:lnTo>
                      <a:pt x="246" y="826"/>
                    </a:lnTo>
                    <a:lnTo>
                      <a:pt x="244" y="826"/>
                    </a:lnTo>
                    <a:lnTo>
                      <a:pt x="242" y="826"/>
                    </a:lnTo>
                    <a:lnTo>
                      <a:pt x="240" y="826"/>
                    </a:lnTo>
                    <a:lnTo>
                      <a:pt x="240" y="824"/>
                    </a:lnTo>
                    <a:lnTo>
                      <a:pt x="238" y="824"/>
                    </a:lnTo>
                    <a:lnTo>
                      <a:pt x="238" y="826"/>
                    </a:lnTo>
                    <a:lnTo>
                      <a:pt x="236" y="826"/>
                    </a:lnTo>
                    <a:lnTo>
                      <a:pt x="234" y="826"/>
                    </a:lnTo>
                    <a:lnTo>
                      <a:pt x="234" y="824"/>
                    </a:lnTo>
                    <a:lnTo>
                      <a:pt x="232" y="824"/>
                    </a:lnTo>
                    <a:lnTo>
                      <a:pt x="230" y="822"/>
                    </a:lnTo>
                    <a:lnTo>
                      <a:pt x="230" y="824"/>
                    </a:lnTo>
                    <a:lnTo>
                      <a:pt x="228" y="824"/>
                    </a:lnTo>
                    <a:lnTo>
                      <a:pt x="228" y="826"/>
                    </a:lnTo>
                    <a:lnTo>
                      <a:pt x="228" y="828"/>
                    </a:lnTo>
                    <a:lnTo>
                      <a:pt x="226" y="828"/>
                    </a:lnTo>
                    <a:lnTo>
                      <a:pt x="224" y="828"/>
                    </a:lnTo>
                    <a:lnTo>
                      <a:pt x="223" y="828"/>
                    </a:lnTo>
                    <a:lnTo>
                      <a:pt x="223" y="826"/>
                    </a:lnTo>
                    <a:lnTo>
                      <a:pt x="221" y="824"/>
                    </a:lnTo>
                    <a:lnTo>
                      <a:pt x="221" y="822"/>
                    </a:lnTo>
                    <a:lnTo>
                      <a:pt x="223" y="822"/>
                    </a:lnTo>
                    <a:lnTo>
                      <a:pt x="223" y="821"/>
                    </a:lnTo>
                    <a:lnTo>
                      <a:pt x="221" y="821"/>
                    </a:lnTo>
                    <a:lnTo>
                      <a:pt x="219" y="819"/>
                    </a:lnTo>
                    <a:lnTo>
                      <a:pt x="217" y="819"/>
                    </a:lnTo>
                    <a:lnTo>
                      <a:pt x="215" y="817"/>
                    </a:lnTo>
                    <a:lnTo>
                      <a:pt x="213" y="817"/>
                    </a:lnTo>
                    <a:lnTo>
                      <a:pt x="213" y="815"/>
                    </a:lnTo>
                    <a:lnTo>
                      <a:pt x="213" y="813"/>
                    </a:lnTo>
                    <a:lnTo>
                      <a:pt x="213" y="811"/>
                    </a:lnTo>
                    <a:lnTo>
                      <a:pt x="211" y="811"/>
                    </a:lnTo>
                    <a:lnTo>
                      <a:pt x="209" y="811"/>
                    </a:lnTo>
                    <a:lnTo>
                      <a:pt x="209" y="809"/>
                    </a:lnTo>
                    <a:lnTo>
                      <a:pt x="207" y="809"/>
                    </a:lnTo>
                    <a:lnTo>
                      <a:pt x="207" y="807"/>
                    </a:lnTo>
                    <a:lnTo>
                      <a:pt x="205" y="807"/>
                    </a:lnTo>
                    <a:lnTo>
                      <a:pt x="205" y="805"/>
                    </a:lnTo>
                    <a:lnTo>
                      <a:pt x="203" y="805"/>
                    </a:lnTo>
                    <a:lnTo>
                      <a:pt x="203" y="803"/>
                    </a:lnTo>
                    <a:lnTo>
                      <a:pt x="203" y="801"/>
                    </a:lnTo>
                    <a:lnTo>
                      <a:pt x="201" y="801"/>
                    </a:lnTo>
                    <a:lnTo>
                      <a:pt x="200" y="801"/>
                    </a:lnTo>
                    <a:lnTo>
                      <a:pt x="198" y="801"/>
                    </a:lnTo>
                    <a:lnTo>
                      <a:pt x="198" y="799"/>
                    </a:lnTo>
                    <a:lnTo>
                      <a:pt x="196" y="799"/>
                    </a:lnTo>
                    <a:lnTo>
                      <a:pt x="196" y="797"/>
                    </a:lnTo>
                    <a:lnTo>
                      <a:pt x="194" y="797"/>
                    </a:lnTo>
                    <a:lnTo>
                      <a:pt x="192" y="796"/>
                    </a:lnTo>
                    <a:lnTo>
                      <a:pt x="190" y="794"/>
                    </a:lnTo>
                    <a:lnTo>
                      <a:pt x="188" y="794"/>
                    </a:lnTo>
                    <a:lnTo>
                      <a:pt x="188" y="792"/>
                    </a:lnTo>
                    <a:lnTo>
                      <a:pt x="186" y="792"/>
                    </a:lnTo>
                    <a:lnTo>
                      <a:pt x="184" y="792"/>
                    </a:lnTo>
                    <a:lnTo>
                      <a:pt x="182" y="790"/>
                    </a:lnTo>
                    <a:lnTo>
                      <a:pt x="182" y="788"/>
                    </a:lnTo>
                    <a:lnTo>
                      <a:pt x="180" y="788"/>
                    </a:lnTo>
                    <a:lnTo>
                      <a:pt x="180" y="786"/>
                    </a:lnTo>
                    <a:lnTo>
                      <a:pt x="178" y="786"/>
                    </a:lnTo>
                    <a:lnTo>
                      <a:pt x="178" y="784"/>
                    </a:lnTo>
                    <a:lnTo>
                      <a:pt x="176" y="784"/>
                    </a:lnTo>
                    <a:lnTo>
                      <a:pt x="176" y="782"/>
                    </a:lnTo>
                    <a:lnTo>
                      <a:pt x="176" y="784"/>
                    </a:lnTo>
                    <a:lnTo>
                      <a:pt x="175" y="782"/>
                    </a:lnTo>
                    <a:lnTo>
                      <a:pt x="173" y="782"/>
                    </a:lnTo>
                    <a:lnTo>
                      <a:pt x="173" y="780"/>
                    </a:lnTo>
                    <a:lnTo>
                      <a:pt x="173" y="778"/>
                    </a:lnTo>
                    <a:lnTo>
                      <a:pt x="171" y="778"/>
                    </a:lnTo>
                    <a:lnTo>
                      <a:pt x="171" y="776"/>
                    </a:lnTo>
                    <a:lnTo>
                      <a:pt x="171" y="774"/>
                    </a:lnTo>
                    <a:lnTo>
                      <a:pt x="169" y="776"/>
                    </a:lnTo>
                    <a:lnTo>
                      <a:pt x="169" y="774"/>
                    </a:lnTo>
                    <a:lnTo>
                      <a:pt x="167" y="774"/>
                    </a:lnTo>
                    <a:lnTo>
                      <a:pt x="167" y="772"/>
                    </a:lnTo>
                    <a:lnTo>
                      <a:pt x="165" y="772"/>
                    </a:lnTo>
                    <a:lnTo>
                      <a:pt x="165" y="771"/>
                    </a:lnTo>
                    <a:lnTo>
                      <a:pt x="165" y="769"/>
                    </a:lnTo>
                    <a:lnTo>
                      <a:pt x="163" y="769"/>
                    </a:lnTo>
                    <a:lnTo>
                      <a:pt x="165" y="769"/>
                    </a:lnTo>
                    <a:lnTo>
                      <a:pt x="165" y="767"/>
                    </a:lnTo>
                    <a:lnTo>
                      <a:pt x="163" y="767"/>
                    </a:lnTo>
                    <a:lnTo>
                      <a:pt x="165" y="765"/>
                    </a:lnTo>
                    <a:lnTo>
                      <a:pt x="165" y="763"/>
                    </a:lnTo>
                    <a:lnTo>
                      <a:pt x="165" y="761"/>
                    </a:lnTo>
                    <a:lnTo>
                      <a:pt x="163" y="757"/>
                    </a:lnTo>
                    <a:lnTo>
                      <a:pt x="163" y="755"/>
                    </a:lnTo>
                    <a:lnTo>
                      <a:pt x="161" y="755"/>
                    </a:lnTo>
                    <a:lnTo>
                      <a:pt x="161" y="753"/>
                    </a:lnTo>
                    <a:lnTo>
                      <a:pt x="159" y="751"/>
                    </a:lnTo>
                    <a:lnTo>
                      <a:pt x="157" y="751"/>
                    </a:lnTo>
                    <a:lnTo>
                      <a:pt x="157" y="753"/>
                    </a:lnTo>
                    <a:lnTo>
                      <a:pt x="155" y="755"/>
                    </a:lnTo>
                    <a:lnTo>
                      <a:pt x="155" y="757"/>
                    </a:lnTo>
                    <a:lnTo>
                      <a:pt x="153" y="757"/>
                    </a:lnTo>
                    <a:lnTo>
                      <a:pt x="151" y="757"/>
                    </a:lnTo>
                    <a:lnTo>
                      <a:pt x="150" y="757"/>
                    </a:lnTo>
                    <a:lnTo>
                      <a:pt x="148" y="759"/>
                    </a:lnTo>
                    <a:lnTo>
                      <a:pt x="146" y="759"/>
                    </a:lnTo>
                    <a:lnTo>
                      <a:pt x="146" y="761"/>
                    </a:lnTo>
                    <a:lnTo>
                      <a:pt x="146" y="763"/>
                    </a:lnTo>
                    <a:lnTo>
                      <a:pt x="146" y="765"/>
                    </a:lnTo>
                    <a:lnTo>
                      <a:pt x="144" y="765"/>
                    </a:lnTo>
                    <a:lnTo>
                      <a:pt x="144" y="767"/>
                    </a:lnTo>
                    <a:lnTo>
                      <a:pt x="142" y="767"/>
                    </a:lnTo>
                    <a:lnTo>
                      <a:pt x="140" y="769"/>
                    </a:lnTo>
                    <a:lnTo>
                      <a:pt x="138" y="769"/>
                    </a:lnTo>
                    <a:lnTo>
                      <a:pt x="138" y="771"/>
                    </a:lnTo>
                    <a:lnTo>
                      <a:pt x="136" y="771"/>
                    </a:lnTo>
                    <a:lnTo>
                      <a:pt x="136" y="772"/>
                    </a:lnTo>
                    <a:lnTo>
                      <a:pt x="134" y="772"/>
                    </a:lnTo>
                    <a:lnTo>
                      <a:pt x="132" y="772"/>
                    </a:lnTo>
                    <a:lnTo>
                      <a:pt x="130" y="772"/>
                    </a:lnTo>
                    <a:lnTo>
                      <a:pt x="128" y="772"/>
                    </a:lnTo>
                    <a:lnTo>
                      <a:pt x="128" y="774"/>
                    </a:lnTo>
                    <a:lnTo>
                      <a:pt x="128" y="776"/>
                    </a:lnTo>
                    <a:lnTo>
                      <a:pt x="130" y="776"/>
                    </a:lnTo>
                    <a:lnTo>
                      <a:pt x="128" y="776"/>
                    </a:lnTo>
                    <a:lnTo>
                      <a:pt x="128" y="778"/>
                    </a:lnTo>
                    <a:lnTo>
                      <a:pt x="128" y="780"/>
                    </a:lnTo>
                    <a:lnTo>
                      <a:pt x="127" y="780"/>
                    </a:lnTo>
                    <a:lnTo>
                      <a:pt x="125" y="782"/>
                    </a:lnTo>
                    <a:lnTo>
                      <a:pt x="127" y="784"/>
                    </a:lnTo>
                    <a:lnTo>
                      <a:pt x="125" y="782"/>
                    </a:lnTo>
                    <a:lnTo>
                      <a:pt x="123" y="782"/>
                    </a:lnTo>
                    <a:lnTo>
                      <a:pt x="123" y="780"/>
                    </a:lnTo>
                    <a:lnTo>
                      <a:pt x="121" y="782"/>
                    </a:lnTo>
                    <a:lnTo>
                      <a:pt x="121" y="780"/>
                    </a:lnTo>
                    <a:lnTo>
                      <a:pt x="119" y="780"/>
                    </a:lnTo>
                    <a:lnTo>
                      <a:pt x="117" y="778"/>
                    </a:lnTo>
                    <a:lnTo>
                      <a:pt x="117" y="776"/>
                    </a:lnTo>
                    <a:lnTo>
                      <a:pt x="119" y="774"/>
                    </a:lnTo>
                    <a:lnTo>
                      <a:pt x="119" y="772"/>
                    </a:lnTo>
                    <a:lnTo>
                      <a:pt x="117" y="772"/>
                    </a:lnTo>
                    <a:lnTo>
                      <a:pt x="115" y="772"/>
                    </a:lnTo>
                    <a:lnTo>
                      <a:pt x="115" y="771"/>
                    </a:lnTo>
                    <a:lnTo>
                      <a:pt x="113" y="771"/>
                    </a:lnTo>
                    <a:lnTo>
                      <a:pt x="113" y="772"/>
                    </a:lnTo>
                    <a:lnTo>
                      <a:pt x="111" y="772"/>
                    </a:lnTo>
                    <a:lnTo>
                      <a:pt x="109" y="772"/>
                    </a:lnTo>
                    <a:lnTo>
                      <a:pt x="109" y="771"/>
                    </a:lnTo>
                    <a:lnTo>
                      <a:pt x="107" y="771"/>
                    </a:lnTo>
                    <a:lnTo>
                      <a:pt x="105" y="771"/>
                    </a:lnTo>
                    <a:lnTo>
                      <a:pt x="103" y="772"/>
                    </a:lnTo>
                    <a:lnTo>
                      <a:pt x="105" y="772"/>
                    </a:lnTo>
                    <a:lnTo>
                      <a:pt x="103" y="772"/>
                    </a:lnTo>
                    <a:lnTo>
                      <a:pt x="103" y="774"/>
                    </a:lnTo>
                    <a:lnTo>
                      <a:pt x="102" y="774"/>
                    </a:lnTo>
                    <a:lnTo>
                      <a:pt x="100" y="774"/>
                    </a:lnTo>
                    <a:lnTo>
                      <a:pt x="98" y="774"/>
                    </a:lnTo>
                    <a:lnTo>
                      <a:pt x="96" y="774"/>
                    </a:lnTo>
                    <a:lnTo>
                      <a:pt x="96" y="772"/>
                    </a:lnTo>
                    <a:lnTo>
                      <a:pt x="96" y="774"/>
                    </a:lnTo>
                    <a:lnTo>
                      <a:pt x="94" y="774"/>
                    </a:lnTo>
                    <a:lnTo>
                      <a:pt x="92" y="774"/>
                    </a:lnTo>
                    <a:lnTo>
                      <a:pt x="92" y="772"/>
                    </a:lnTo>
                    <a:lnTo>
                      <a:pt x="92" y="771"/>
                    </a:lnTo>
                    <a:lnTo>
                      <a:pt x="92" y="769"/>
                    </a:lnTo>
                    <a:lnTo>
                      <a:pt x="92" y="767"/>
                    </a:lnTo>
                    <a:lnTo>
                      <a:pt x="92" y="765"/>
                    </a:lnTo>
                    <a:lnTo>
                      <a:pt x="90" y="767"/>
                    </a:lnTo>
                    <a:lnTo>
                      <a:pt x="90" y="765"/>
                    </a:lnTo>
                    <a:lnTo>
                      <a:pt x="88" y="765"/>
                    </a:lnTo>
                    <a:lnTo>
                      <a:pt x="86" y="765"/>
                    </a:lnTo>
                    <a:lnTo>
                      <a:pt x="84" y="765"/>
                    </a:lnTo>
                    <a:lnTo>
                      <a:pt x="82" y="765"/>
                    </a:lnTo>
                    <a:lnTo>
                      <a:pt x="82" y="763"/>
                    </a:lnTo>
                    <a:lnTo>
                      <a:pt x="80" y="763"/>
                    </a:lnTo>
                    <a:lnTo>
                      <a:pt x="80" y="761"/>
                    </a:lnTo>
                    <a:lnTo>
                      <a:pt x="80" y="759"/>
                    </a:lnTo>
                    <a:lnTo>
                      <a:pt x="80" y="757"/>
                    </a:lnTo>
                    <a:lnTo>
                      <a:pt x="78" y="757"/>
                    </a:lnTo>
                    <a:lnTo>
                      <a:pt x="77" y="757"/>
                    </a:lnTo>
                    <a:lnTo>
                      <a:pt x="75" y="757"/>
                    </a:lnTo>
                    <a:lnTo>
                      <a:pt x="75" y="755"/>
                    </a:lnTo>
                    <a:lnTo>
                      <a:pt x="75" y="757"/>
                    </a:lnTo>
                    <a:lnTo>
                      <a:pt x="73" y="757"/>
                    </a:lnTo>
                    <a:lnTo>
                      <a:pt x="73" y="755"/>
                    </a:lnTo>
                    <a:lnTo>
                      <a:pt x="71" y="755"/>
                    </a:lnTo>
                    <a:lnTo>
                      <a:pt x="71" y="757"/>
                    </a:lnTo>
                    <a:lnTo>
                      <a:pt x="69" y="757"/>
                    </a:lnTo>
                    <a:lnTo>
                      <a:pt x="67" y="755"/>
                    </a:lnTo>
                    <a:lnTo>
                      <a:pt x="67" y="753"/>
                    </a:lnTo>
                    <a:lnTo>
                      <a:pt x="67" y="751"/>
                    </a:lnTo>
                    <a:lnTo>
                      <a:pt x="65" y="751"/>
                    </a:lnTo>
                    <a:lnTo>
                      <a:pt x="63" y="751"/>
                    </a:lnTo>
                    <a:lnTo>
                      <a:pt x="61" y="751"/>
                    </a:lnTo>
                    <a:lnTo>
                      <a:pt x="61" y="749"/>
                    </a:lnTo>
                    <a:lnTo>
                      <a:pt x="61" y="747"/>
                    </a:lnTo>
                    <a:lnTo>
                      <a:pt x="59" y="747"/>
                    </a:lnTo>
                    <a:lnTo>
                      <a:pt x="59" y="746"/>
                    </a:lnTo>
                    <a:lnTo>
                      <a:pt x="59" y="744"/>
                    </a:lnTo>
                    <a:lnTo>
                      <a:pt x="57" y="744"/>
                    </a:lnTo>
                    <a:lnTo>
                      <a:pt x="57" y="742"/>
                    </a:lnTo>
                    <a:lnTo>
                      <a:pt x="55" y="742"/>
                    </a:lnTo>
                    <a:lnTo>
                      <a:pt x="54" y="742"/>
                    </a:lnTo>
                    <a:lnTo>
                      <a:pt x="54" y="740"/>
                    </a:lnTo>
                    <a:lnTo>
                      <a:pt x="52" y="740"/>
                    </a:lnTo>
                    <a:lnTo>
                      <a:pt x="50" y="740"/>
                    </a:lnTo>
                    <a:lnTo>
                      <a:pt x="50" y="738"/>
                    </a:lnTo>
                    <a:lnTo>
                      <a:pt x="48" y="738"/>
                    </a:lnTo>
                    <a:lnTo>
                      <a:pt x="46" y="738"/>
                    </a:lnTo>
                    <a:lnTo>
                      <a:pt x="46" y="736"/>
                    </a:lnTo>
                    <a:lnTo>
                      <a:pt x="44" y="734"/>
                    </a:lnTo>
                    <a:lnTo>
                      <a:pt x="42" y="732"/>
                    </a:lnTo>
                    <a:lnTo>
                      <a:pt x="40" y="732"/>
                    </a:lnTo>
                    <a:lnTo>
                      <a:pt x="38" y="732"/>
                    </a:lnTo>
                    <a:lnTo>
                      <a:pt x="36" y="732"/>
                    </a:lnTo>
                    <a:lnTo>
                      <a:pt x="36" y="734"/>
                    </a:lnTo>
                    <a:lnTo>
                      <a:pt x="36" y="736"/>
                    </a:lnTo>
                    <a:lnTo>
                      <a:pt x="36" y="738"/>
                    </a:lnTo>
                    <a:lnTo>
                      <a:pt x="34" y="738"/>
                    </a:lnTo>
                    <a:lnTo>
                      <a:pt x="34" y="736"/>
                    </a:lnTo>
                    <a:lnTo>
                      <a:pt x="32" y="736"/>
                    </a:lnTo>
                    <a:lnTo>
                      <a:pt x="32" y="738"/>
                    </a:lnTo>
                    <a:lnTo>
                      <a:pt x="30" y="738"/>
                    </a:lnTo>
                    <a:lnTo>
                      <a:pt x="30" y="736"/>
                    </a:lnTo>
                    <a:lnTo>
                      <a:pt x="29" y="736"/>
                    </a:lnTo>
                    <a:lnTo>
                      <a:pt x="29" y="734"/>
                    </a:lnTo>
                    <a:lnTo>
                      <a:pt x="29" y="732"/>
                    </a:lnTo>
                    <a:lnTo>
                      <a:pt x="27" y="730"/>
                    </a:lnTo>
                    <a:lnTo>
                      <a:pt x="25" y="730"/>
                    </a:lnTo>
                    <a:lnTo>
                      <a:pt x="25" y="728"/>
                    </a:lnTo>
                    <a:lnTo>
                      <a:pt x="23" y="726"/>
                    </a:lnTo>
                    <a:lnTo>
                      <a:pt x="23" y="724"/>
                    </a:lnTo>
                    <a:lnTo>
                      <a:pt x="21" y="724"/>
                    </a:lnTo>
                    <a:lnTo>
                      <a:pt x="21" y="722"/>
                    </a:lnTo>
                    <a:lnTo>
                      <a:pt x="19" y="722"/>
                    </a:lnTo>
                    <a:lnTo>
                      <a:pt x="19" y="721"/>
                    </a:lnTo>
                    <a:lnTo>
                      <a:pt x="17" y="721"/>
                    </a:lnTo>
                    <a:lnTo>
                      <a:pt x="17" y="719"/>
                    </a:lnTo>
                    <a:lnTo>
                      <a:pt x="17" y="717"/>
                    </a:lnTo>
                    <a:lnTo>
                      <a:pt x="15" y="717"/>
                    </a:lnTo>
                    <a:lnTo>
                      <a:pt x="15" y="715"/>
                    </a:lnTo>
                    <a:lnTo>
                      <a:pt x="13" y="715"/>
                    </a:lnTo>
                    <a:lnTo>
                      <a:pt x="15" y="713"/>
                    </a:lnTo>
                    <a:lnTo>
                      <a:pt x="13" y="713"/>
                    </a:lnTo>
                    <a:lnTo>
                      <a:pt x="13" y="711"/>
                    </a:lnTo>
                    <a:lnTo>
                      <a:pt x="13" y="709"/>
                    </a:lnTo>
                    <a:lnTo>
                      <a:pt x="11" y="709"/>
                    </a:lnTo>
                    <a:lnTo>
                      <a:pt x="11" y="707"/>
                    </a:lnTo>
                    <a:lnTo>
                      <a:pt x="9" y="707"/>
                    </a:lnTo>
                    <a:lnTo>
                      <a:pt x="7" y="707"/>
                    </a:lnTo>
                    <a:lnTo>
                      <a:pt x="7" y="705"/>
                    </a:lnTo>
                    <a:lnTo>
                      <a:pt x="7" y="703"/>
                    </a:lnTo>
                    <a:lnTo>
                      <a:pt x="5" y="701"/>
                    </a:lnTo>
                    <a:lnTo>
                      <a:pt x="7" y="701"/>
                    </a:lnTo>
                    <a:lnTo>
                      <a:pt x="5" y="701"/>
                    </a:lnTo>
                    <a:lnTo>
                      <a:pt x="5" y="699"/>
                    </a:lnTo>
                    <a:lnTo>
                      <a:pt x="4" y="699"/>
                    </a:lnTo>
                    <a:lnTo>
                      <a:pt x="2" y="699"/>
                    </a:lnTo>
                    <a:lnTo>
                      <a:pt x="2" y="697"/>
                    </a:lnTo>
                    <a:lnTo>
                      <a:pt x="0" y="697"/>
                    </a:lnTo>
                    <a:lnTo>
                      <a:pt x="0" y="696"/>
                    </a:lnTo>
                    <a:lnTo>
                      <a:pt x="0" y="694"/>
                    </a:lnTo>
                    <a:lnTo>
                      <a:pt x="0" y="692"/>
                    </a:lnTo>
                    <a:lnTo>
                      <a:pt x="0" y="690"/>
                    </a:lnTo>
                    <a:lnTo>
                      <a:pt x="2" y="688"/>
                    </a:lnTo>
                    <a:lnTo>
                      <a:pt x="0" y="688"/>
                    </a:lnTo>
                    <a:lnTo>
                      <a:pt x="2" y="686"/>
                    </a:lnTo>
                    <a:lnTo>
                      <a:pt x="4" y="686"/>
                    </a:lnTo>
                    <a:lnTo>
                      <a:pt x="5" y="686"/>
                    </a:lnTo>
                    <a:lnTo>
                      <a:pt x="5" y="688"/>
                    </a:lnTo>
                    <a:lnTo>
                      <a:pt x="7" y="688"/>
                    </a:lnTo>
                    <a:lnTo>
                      <a:pt x="9" y="686"/>
                    </a:lnTo>
                    <a:lnTo>
                      <a:pt x="7" y="686"/>
                    </a:lnTo>
                    <a:lnTo>
                      <a:pt x="9" y="686"/>
                    </a:lnTo>
                    <a:lnTo>
                      <a:pt x="9" y="684"/>
                    </a:lnTo>
                    <a:lnTo>
                      <a:pt x="11" y="684"/>
                    </a:lnTo>
                    <a:lnTo>
                      <a:pt x="9" y="684"/>
                    </a:lnTo>
                    <a:lnTo>
                      <a:pt x="9" y="682"/>
                    </a:lnTo>
                    <a:lnTo>
                      <a:pt x="9" y="680"/>
                    </a:lnTo>
                    <a:lnTo>
                      <a:pt x="11" y="680"/>
                    </a:lnTo>
                    <a:lnTo>
                      <a:pt x="9" y="680"/>
                    </a:lnTo>
                    <a:lnTo>
                      <a:pt x="11" y="680"/>
                    </a:lnTo>
                    <a:lnTo>
                      <a:pt x="9" y="680"/>
                    </a:lnTo>
                    <a:lnTo>
                      <a:pt x="11" y="680"/>
                    </a:lnTo>
                    <a:lnTo>
                      <a:pt x="11" y="678"/>
                    </a:lnTo>
                    <a:lnTo>
                      <a:pt x="13" y="678"/>
                    </a:lnTo>
                    <a:lnTo>
                      <a:pt x="11" y="676"/>
                    </a:lnTo>
                    <a:lnTo>
                      <a:pt x="13" y="674"/>
                    </a:lnTo>
                    <a:lnTo>
                      <a:pt x="13" y="676"/>
                    </a:lnTo>
                    <a:lnTo>
                      <a:pt x="15" y="676"/>
                    </a:lnTo>
                    <a:lnTo>
                      <a:pt x="17" y="676"/>
                    </a:lnTo>
                    <a:lnTo>
                      <a:pt x="17" y="678"/>
                    </a:lnTo>
                    <a:lnTo>
                      <a:pt x="17" y="676"/>
                    </a:lnTo>
                    <a:lnTo>
                      <a:pt x="19" y="676"/>
                    </a:lnTo>
                    <a:lnTo>
                      <a:pt x="21" y="676"/>
                    </a:lnTo>
                    <a:lnTo>
                      <a:pt x="23" y="676"/>
                    </a:lnTo>
                    <a:lnTo>
                      <a:pt x="27" y="678"/>
                    </a:lnTo>
                    <a:lnTo>
                      <a:pt x="29" y="678"/>
                    </a:lnTo>
                    <a:lnTo>
                      <a:pt x="30" y="678"/>
                    </a:lnTo>
                    <a:lnTo>
                      <a:pt x="30" y="676"/>
                    </a:lnTo>
                    <a:lnTo>
                      <a:pt x="29" y="676"/>
                    </a:lnTo>
                    <a:lnTo>
                      <a:pt x="29" y="674"/>
                    </a:lnTo>
                    <a:lnTo>
                      <a:pt x="30" y="674"/>
                    </a:lnTo>
                    <a:lnTo>
                      <a:pt x="30" y="672"/>
                    </a:lnTo>
                    <a:lnTo>
                      <a:pt x="30" y="669"/>
                    </a:lnTo>
                    <a:lnTo>
                      <a:pt x="30" y="667"/>
                    </a:lnTo>
                    <a:lnTo>
                      <a:pt x="32" y="663"/>
                    </a:lnTo>
                    <a:lnTo>
                      <a:pt x="32" y="661"/>
                    </a:lnTo>
                    <a:lnTo>
                      <a:pt x="34" y="659"/>
                    </a:lnTo>
                    <a:lnTo>
                      <a:pt x="34" y="657"/>
                    </a:lnTo>
                    <a:lnTo>
                      <a:pt x="34" y="655"/>
                    </a:lnTo>
                    <a:lnTo>
                      <a:pt x="34" y="653"/>
                    </a:lnTo>
                    <a:lnTo>
                      <a:pt x="34" y="651"/>
                    </a:lnTo>
                    <a:lnTo>
                      <a:pt x="34" y="649"/>
                    </a:lnTo>
                    <a:lnTo>
                      <a:pt x="32" y="647"/>
                    </a:lnTo>
                    <a:lnTo>
                      <a:pt x="30" y="646"/>
                    </a:lnTo>
                    <a:lnTo>
                      <a:pt x="30" y="644"/>
                    </a:lnTo>
                    <a:lnTo>
                      <a:pt x="32" y="642"/>
                    </a:lnTo>
                    <a:lnTo>
                      <a:pt x="32" y="640"/>
                    </a:lnTo>
                    <a:lnTo>
                      <a:pt x="34" y="640"/>
                    </a:lnTo>
                    <a:lnTo>
                      <a:pt x="32" y="638"/>
                    </a:lnTo>
                    <a:lnTo>
                      <a:pt x="32" y="636"/>
                    </a:lnTo>
                    <a:lnTo>
                      <a:pt x="32" y="634"/>
                    </a:lnTo>
                    <a:lnTo>
                      <a:pt x="34" y="634"/>
                    </a:lnTo>
                    <a:lnTo>
                      <a:pt x="34" y="632"/>
                    </a:lnTo>
                    <a:lnTo>
                      <a:pt x="34" y="630"/>
                    </a:lnTo>
                    <a:lnTo>
                      <a:pt x="34" y="628"/>
                    </a:lnTo>
                    <a:lnTo>
                      <a:pt x="34" y="626"/>
                    </a:lnTo>
                    <a:lnTo>
                      <a:pt x="36" y="626"/>
                    </a:lnTo>
                    <a:lnTo>
                      <a:pt x="40" y="624"/>
                    </a:lnTo>
                    <a:lnTo>
                      <a:pt x="42" y="624"/>
                    </a:lnTo>
                    <a:lnTo>
                      <a:pt x="42" y="622"/>
                    </a:lnTo>
                    <a:lnTo>
                      <a:pt x="40" y="621"/>
                    </a:lnTo>
                    <a:lnTo>
                      <a:pt x="40" y="617"/>
                    </a:lnTo>
                    <a:lnTo>
                      <a:pt x="38" y="617"/>
                    </a:lnTo>
                    <a:lnTo>
                      <a:pt x="38" y="615"/>
                    </a:lnTo>
                    <a:lnTo>
                      <a:pt x="38" y="613"/>
                    </a:lnTo>
                    <a:lnTo>
                      <a:pt x="38" y="611"/>
                    </a:lnTo>
                    <a:lnTo>
                      <a:pt x="38" y="609"/>
                    </a:lnTo>
                    <a:lnTo>
                      <a:pt x="36" y="607"/>
                    </a:lnTo>
                    <a:lnTo>
                      <a:pt x="38" y="607"/>
                    </a:lnTo>
                    <a:lnTo>
                      <a:pt x="38" y="605"/>
                    </a:lnTo>
                    <a:lnTo>
                      <a:pt x="38" y="603"/>
                    </a:lnTo>
                    <a:lnTo>
                      <a:pt x="36" y="601"/>
                    </a:lnTo>
                    <a:lnTo>
                      <a:pt x="34" y="601"/>
                    </a:lnTo>
                    <a:lnTo>
                      <a:pt x="36" y="599"/>
                    </a:lnTo>
                    <a:lnTo>
                      <a:pt x="38" y="598"/>
                    </a:lnTo>
                    <a:lnTo>
                      <a:pt x="36" y="598"/>
                    </a:lnTo>
                    <a:lnTo>
                      <a:pt x="36" y="596"/>
                    </a:lnTo>
                    <a:lnTo>
                      <a:pt x="34" y="596"/>
                    </a:lnTo>
                    <a:lnTo>
                      <a:pt x="34" y="594"/>
                    </a:lnTo>
                    <a:lnTo>
                      <a:pt x="36" y="592"/>
                    </a:lnTo>
                    <a:lnTo>
                      <a:pt x="38" y="590"/>
                    </a:lnTo>
                    <a:lnTo>
                      <a:pt x="40" y="588"/>
                    </a:lnTo>
                    <a:lnTo>
                      <a:pt x="40" y="586"/>
                    </a:lnTo>
                    <a:lnTo>
                      <a:pt x="42" y="586"/>
                    </a:lnTo>
                    <a:lnTo>
                      <a:pt x="42" y="582"/>
                    </a:lnTo>
                    <a:lnTo>
                      <a:pt x="42" y="576"/>
                    </a:lnTo>
                    <a:lnTo>
                      <a:pt x="44" y="576"/>
                    </a:lnTo>
                    <a:lnTo>
                      <a:pt x="46" y="571"/>
                    </a:lnTo>
                    <a:lnTo>
                      <a:pt x="48" y="569"/>
                    </a:lnTo>
                    <a:lnTo>
                      <a:pt x="52" y="571"/>
                    </a:lnTo>
                    <a:lnTo>
                      <a:pt x="54" y="573"/>
                    </a:lnTo>
                    <a:lnTo>
                      <a:pt x="54" y="574"/>
                    </a:lnTo>
                    <a:lnTo>
                      <a:pt x="55" y="574"/>
                    </a:lnTo>
                    <a:lnTo>
                      <a:pt x="55" y="573"/>
                    </a:lnTo>
                    <a:lnTo>
                      <a:pt x="57" y="571"/>
                    </a:lnTo>
                    <a:lnTo>
                      <a:pt x="57" y="567"/>
                    </a:lnTo>
                    <a:lnTo>
                      <a:pt x="55" y="567"/>
                    </a:lnTo>
                    <a:lnTo>
                      <a:pt x="55" y="565"/>
                    </a:lnTo>
                    <a:lnTo>
                      <a:pt x="57" y="565"/>
                    </a:lnTo>
                    <a:lnTo>
                      <a:pt x="57" y="563"/>
                    </a:lnTo>
                    <a:lnTo>
                      <a:pt x="59" y="563"/>
                    </a:lnTo>
                    <a:lnTo>
                      <a:pt x="61" y="563"/>
                    </a:lnTo>
                    <a:lnTo>
                      <a:pt x="61" y="561"/>
                    </a:lnTo>
                    <a:lnTo>
                      <a:pt x="61" y="557"/>
                    </a:lnTo>
                    <a:lnTo>
                      <a:pt x="59" y="557"/>
                    </a:lnTo>
                    <a:lnTo>
                      <a:pt x="59" y="553"/>
                    </a:lnTo>
                    <a:lnTo>
                      <a:pt x="59" y="549"/>
                    </a:lnTo>
                    <a:lnTo>
                      <a:pt x="67" y="549"/>
                    </a:lnTo>
                    <a:lnTo>
                      <a:pt x="71" y="549"/>
                    </a:lnTo>
                    <a:lnTo>
                      <a:pt x="71" y="538"/>
                    </a:lnTo>
                    <a:lnTo>
                      <a:pt x="67" y="538"/>
                    </a:lnTo>
                    <a:lnTo>
                      <a:pt x="67" y="536"/>
                    </a:lnTo>
                    <a:lnTo>
                      <a:pt x="67" y="534"/>
                    </a:lnTo>
                    <a:lnTo>
                      <a:pt x="65" y="534"/>
                    </a:lnTo>
                    <a:lnTo>
                      <a:pt x="65" y="532"/>
                    </a:lnTo>
                    <a:lnTo>
                      <a:pt x="67" y="532"/>
                    </a:lnTo>
                    <a:lnTo>
                      <a:pt x="67" y="530"/>
                    </a:lnTo>
                    <a:lnTo>
                      <a:pt x="67" y="528"/>
                    </a:lnTo>
                    <a:lnTo>
                      <a:pt x="67" y="526"/>
                    </a:lnTo>
                    <a:lnTo>
                      <a:pt x="65" y="526"/>
                    </a:lnTo>
                    <a:lnTo>
                      <a:pt x="67" y="526"/>
                    </a:lnTo>
                    <a:lnTo>
                      <a:pt x="67" y="524"/>
                    </a:lnTo>
                    <a:lnTo>
                      <a:pt x="67" y="523"/>
                    </a:lnTo>
                    <a:lnTo>
                      <a:pt x="65" y="521"/>
                    </a:lnTo>
                    <a:lnTo>
                      <a:pt x="63" y="521"/>
                    </a:lnTo>
                    <a:lnTo>
                      <a:pt x="61" y="523"/>
                    </a:lnTo>
                    <a:lnTo>
                      <a:pt x="59" y="523"/>
                    </a:lnTo>
                    <a:lnTo>
                      <a:pt x="57" y="521"/>
                    </a:lnTo>
                    <a:lnTo>
                      <a:pt x="57" y="519"/>
                    </a:lnTo>
                    <a:lnTo>
                      <a:pt x="57" y="517"/>
                    </a:lnTo>
                    <a:lnTo>
                      <a:pt x="59" y="515"/>
                    </a:lnTo>
                    <a:lnTo>
                      <a:pt x="61" y="513"/>
                    </a:lnTo>
                    <a:lnTo>
                      <a:pt x="63" y="511"/>
                    </a:lnTo>
                    <a:lnTo>
                      <a:pt x="63" y="509"/>
                    </a:lnTo>
                    <a:lnTo>
                      <a:pt x="61" y="511"/>
                    </a:lnTo>
                    <a:lnTo>
                      <a:pt x="61" y="509"/>
                    </a:lnTo>
                    <a:lnTo>
                      <a:pt x="59" y="509"/>
                    </a:lnTo>
                    <a:lnTo>
                      <a:pt x="59" y="511"/>
                    </a:lnTo>
                    <a:lnTo>
                      <a:pt x="57" y="509"/>
                    </a:lnTo>
                    <a:lnTo>
                      <a:pt x="57" y="511"/>
                    </a:lnTo>
                    <a:lnTo>
                      <a:pt x="55" y="511"/>
                    </a:lnTo>
                    <a:lnTo>
                      <a:pt x="55" y="509"/>
                    </a:lnTo>
                    <a:lnTo>
                      <a:pt x="55" y="507"/>
                    </a:lnTo>
                    <a:lnTo>
                      <a:pt x="54" y="507"/>
                    </a:lnTo>
                    <a:lnTo>
                      <a:pt x="52" y="507"/>
                    </a:lnTo>
                    <a:lnTo>
                      <a:pt x="54" y="505"/>
                    </a:lnTo>
                    <a:lnTo>
                      <a:pt x="55" y="498"/>
                    </a:lnTo>
                    <a:lnTo>
                      <a:pt x="55" y="496"/>
                    </a:lnTo>
                    <a:lnTo>
                      <a:pt x="57" y="492"/>
                    </a:lnTo>
                    <a:lnTo>
                      <a:pt x="59" y="484"/>
                    </a:lnTo>
                    <a:lnTo>
                      <a:pt x="61" y="480"/>
                    </a:lnTo>
                    <a:lnTo>
                      <a:pt x="61" y="478"/>
                    </a:lnTo>
                    <a:lnTo>
                      <a:pt x="63" y="473"/>
                    </a:lnTo>
                    <a:lnTo>
                      <a:pt x="65" y="469"/>
                    </a:lnTo>
                    <a:lnTo>
                      <a:pt x="67" y="463"/>
                    </a:lnTo>
                    <a:lnTo>
                      <a:pt x="67" y="461"/>
                    </a:lnTo>
                    <a:lnTo>
                      <a:pt x="67" y="459"/>
                    </a:lnTo>
                    <a:lnTo>
                      <a:pt x="69" y="457"/>
                    </a:lnTo>
                    <a:lnTo>
                      <a:pt x="69" y="455"/>
                    </a:lnTo>
                    <a:lnTo>
                      <a:pt x="71" y="451"/>
                    </a:lnTo>
                    <a:lnTo>
                      <a:pt x="73" y="451"/>
                    </a:lnTo>
                    <a:lnTo>
                      <a:pt x="75" y="451"/>
                    </a:lnTo>
                    <a:lnTo>
                      <a:pt x="77" y="451"/>
                    </a:lnTo>
                    <a:lnTo>
                      <a:pt x="77" y="453"/>
                    </a:lnTo>
                    <a:lnTo>
                      <a:pt x="77" y="451"/>
                    </a:lnTo>
                    <a:lnTo>
                      <a:pt x="77" y="453"/>
                    </a:lnTo>
                    <a:lnTo>
                      <a:pt x="77" y="451"/>
                    </a:lnTo>
                    <a:lnTo>
                      <a:pt x="78" y="453"/>
                    </a:lnTo>
                    <a:lnTo>
                      <a:pt x="80" y="453"/>
                    </a:lnTo>
                    <a:lnTo>
                      <a:pt x="82" y="453"/>
                    </a:lnTo>
                    <a:lnTo>
                      <a:pt x="84" y="453"/>
                    </a:lnTo>
                    <a:lnTo>
                      <a:pt x="86" y="453"/>
                    </a:lnTo>
                    <a:lnTo>
                      <a:pt x="88" y="453"/>
                    </a:lnTo>
                    <a:lnTo>
                      <a:pt x="90" y="453"/>
                    </a:lnTo>
                    <a:lnTo>
                      <a:pt x="90" y="455"/>
                    </a:lnTo>
                    <a:lnTo>
                      <a:pt x="92" y="455"/>
                    </a:lnTo>
                    <a:lnTo>
                      <a:pt x="94" y="455"/>
                    </a:lnTo>
                    <a:lnTo>
                      <a:pt x="94" y="453"/>
                    </a:lnTo>
                    <a:lnTo>
                      <a:pt x="96" y="453"/>
                    </a:lnTo>
                    <a:lnTo>
                      <a:pt x="98" y="455"/>
                    </a:lnTo>
                    <a:lnTo>
                      <a:pt x="98" y="457"/>
                    </a:lnTo>
                    <a:lnTo>
                      <a:pt x="100" y="457"/>
                    </a:lnTo>
                    <a:lnTo>
                      <a:pt x="100" y="459"/>
                    </a:lnTo>
                    <a:lnTo>
                      <a:pt x="102" y="459"/>
                    </a:lnTo>
                    <a:lnTo>
                      <a:pt x="102" y="457"/>
                    </a:lnTo>
                    <a:lnTo>
                      <a:pt x="103" y="457"/>
                    </a:lnTo>
                    <a:lnTo>
                      <a:pt x="105" y="455"/>
                    </a:lnTo>
                    <a:lnTo>
                      <a:pt x="105" y="453"/>
                    </a:lnTo>
                    <a:lnTo>
                      <a:pt x="107" y="453"/>
                    </a:lnTo>
                    <a:lnTo>
                      <a:pt x="109" y="455"/>
                    </a:lnTo>
                    <a:lnTo>
                      <a:pt x="111" y="453"/>
                    </a:lnTo>
                    <a:lnTo>
                      <a:pt x="113" y="453"/>
                    </a:lnTo>
                    <a:lnTo>
                      <a:pt x="115" y="451"/>
                    </a:lnTo>
                    <a:lnTo>
                      <a:pt x="115" y="453"/>
                    </a:lnTo>
                    <a:lnTo>
                      <a:pt x="117" y="453"/>
                    </a:lnTo>
                    <a:lnTo>
                      <a:pt x="117" y="451"/>
                    </a:lnTo>
                    <a:lnTo>
                      <a:pt x="117" y="449"/>
                    </a:lnTo>
                    <a:lnTo>
                      <a:pt x="119" y="449"/>
                    </a:lnTo>
                    <a:lnTo>
                      <a:pt x="119" y="448"/>
                    </a:lnTo>
                    <a:lnTo>
                      <a:pt x="119" y="446"/>
                    </a:lnTo>
                    <a:lnTo>
                      <a:pt x="119" y="444"/>
                    </a:lnTo>
                    <a:lnTo>
                      <a:pt x="121" y="442"/>
                    </a:lnTo>
                    <a:lnTo>
                      <a:pt x="121" y="440"/>
                    </a:lnTo>
                    <a:lnTo>
                      <a:pt x="123" y="438"/>
                    </a:lnTo>
                    <a:lnTo>
                      <a:pt x="123" y="436"/>
                    </a:lnTo>
                    <a:lnTo>
                      <a:pt x="123" y="434"/>
                    </a:lnTo>
                    <a:lnTo>
                      <a:pt x="125" y="432"/>
                    </a:lnTo>
                    <a:lnTo>
                      <a:pt x="127" y="432"/>
                    </a:lnTo>
                    <a:lnTo>
                      <a:pt x="127" y="434"/>
                    </a:lnTo>
                    <a:lnTo>
                      <a:pt x="128" y="434"/>
                    </a:lnTo>
                    <a:lnTo>
                      <a:pt x="130" y="432"/>
                    </a:lnTo>
                    <a:lnTo>
                      <a:pt x="132" y="432"/>
                    </a:lnTo>
                    <a:lnTo>
                      <a:pt x="134" y="432"/>
                    </a:lnTo>
                    <a:lnTo>
                      <a:pt x="136" y="432"/>
                    </a:lnTo>
                    <a:lnTo>
                      <a:pt x="136" y="434"/>
                    </a:lnTo>
                    <a:lnTo>
                      <a:pt x="136" y="436"/>
                    </a:lnTo>
                    <a:lnTo>
                      <a:pt x="136" y="438"/>
                    </a:lnTo>
                    <a:lnTo>
                      <a:pt x="136" y="440"/>
                    </a:lnTo>
                    <a:lnTo>
                      <a:pt x="136" y="442"/>
                    </a:lnTo>
                    <a:lnTo>
                      <a:pt x="138" y="442"/>
                    </a:lnTo>
                    <a:lnTo>
                      <a:pt x="138" y="444"/>
                    </a:lnTo>
                    <a:lnTo>
                      <a:pt x="138" y="446"/>
                    </a:lnTo>
                    <a:lnTo>
                      <a:pt x="140" y="446"/>
                    </a:lnTo>
                    <a:lnTo>
                      <a:pt x="138" y="448"/>
                    </a:lnTo>
                    <a:lnTo>
                      <a:pt x="140" y="448"/>
                    </a:lnTo>
                    <a:lnTo>
                      <a:pt x="142" y="448"/>
                    </a:lnTo>
                    <a:lnTo>
                      <a:pt x="142" y="449"/>
                    </a:lnTo>
                    <a:lnTo>
                      <a:pt x="144" y="449"/>
                    </a:lnTo>
                    <a:lnTo>
                      <a:pt x="146" y="451"/>
                    </a:lnTo>
                    <a:lnTo>
                      <a:pt x="144" y="451"/>
                    </a:lnTo>
                    <a:lnTo>
                      <a:pt x="144" y="453"/>
                    </a:lnTo>
                    <a:lnTo>
                      <a:pt x="146" y="453"/>
                    </a:lnTo>
                    <a:lnTo>
                      <a:pt x="146" y="455"/>
                    </a:lnTo>
                    <a:lnTo>
                      <a:pt x="148" y="455"/>
                    </a:lnTo>
                    <a:lnTo>
                      <a:pt x="146" y="455"/>
                    </a:lnTo>
                    <a:lnTo>
                      <a:pt x="146" y="457"/>
                    </a:lnTo>
                    <a:lnTo>
                      <a:pt x="146" y="459"/>
                    </a:lnTo>
                    <a:lnTo>
                      <a:pt x="148" y="459"/>
                    </a:lnTo>
                    <a:lnTo>
                      <a:pt x="146" y="461"/>
                    </a:lnTo>
                    <a:lnTo>
                      <a:pt x="148" y="463"/>
                    </a:lnTo>
                    <a:lnTo>
                      <a:pt x="148" y="465"/>
                    </a:lnTo>
                    <a:lnTo>
                      <a:pt x="150" y="465"/>
                    </a:lnTo>
                    <a:lnTo>
                      <a:pt x="150" y="467"/>
                    </a:lnTo>
                    <a:lnTo>
                      <a:pt x="150" y="469"/>
                    </a:lnTo>
                    <a:lnTo>
                      <a:pt x="151" y="469"/>
                    </a:lnTo>
                    <a:lnTo>
                      <a:pt x="153" y="471"/>
                    </a:lnTo>
                    <a:lnTo>
                      <a:pt x="155" y="471"/>
                    </a:lnTo>
                    <a:lnTo>
                      <a:pt x="155" y="473"/>
                    </a:lnTo>
                    <a:lnTo>
                      <a:pt x="157" y="473"/>
                    </a:lnTo>
                    <a:lnTo>
                      <a:pt x="159" y="474"/>
                    </a:lnTo>
                    <a:lnTo>
                      <a:pt x="159" y="476"/>
                    </a:lnTo>
                    <a:lnTo>
                      <a:pt x="161" y="476"/>
                    </a:lnTo>
                    <a:lnTo>
                      <a:pt x="161" y="474"/>
                    </a:lnTo>
                    <a:lnTo>
                      <a:pt x="163" y="474"/>
                    </a:lnTo>
                    <a:lnTo>
                      <a:pt x="163" y="473"/>
                    </a:lnTo>
                    <a:lnTo>
                      <a:pt x="165" y="473"/>
                    </a:lnTo>
                    <a:lnTo>
                      <a:pt x="165" y="474"/>
                    </a:lnTo>
                    <a:lnTo>
                      <a:pt x="165" y="473"/>
                    </a:lnTo>
                    <a:lnTo>
                      <a:pt x="167" y="473"/>
                    </a:lnTo>
                    <a:lnTo>
                      <a:pt x="165" y="473"/>
                    </a:lnTo>
                    <a:lnTo>
                      <a:pt x="167" y="473"/>
                    </a:lnTo>
                    <a:lnTo>
                      <a:pt x="167" y="471"/>
                    </a:lnTo>
                    <a:lnTo>
                      <a:pt x="165" y="469"/>
                    </a:lnTo>
                    <a:lnTo>
                      <a:pt x="167" y="469"/>
                    </a:lnTo>
                    <a:lnTo>
                      <a:pt x="165" y="469"/>
                    </a:lnTo>
                    <a:lnTo>
                      <a:pt x="167" y="469"/>
                    </a:lnTo>
                    <a:lnTo>
                      <a:pt x="165" y="467"/>
                    </a:lnTo>
                    <a:lnTo>
                      <a:pt x="167" y="467"/>
                    </a:lnTo>
                    <a:lnTo>
                      <a:pt x="165" y="467"/>
                    </a:lnTo>
                    <a:lnTo>
                      <a:pt x="167" y="467"/>
                    </a:lnTo>
                    <a:lnTo>
                      <a:pt x="167" y="465"/>
                    </a:lnTo>
                    <a:lnTo>
                      <a:pt x="165" y="465"/>
                    </a:lnTo>
                    <a:lnTo>
                      <a:pt x="167" y="465"/>
                    </a:lnTo>
                    <a:lnTo>
                      <a:pt x="165" y="465"/>
                    </a:lnTo>
                    <a:lnTo>
                      <a:pt x="165" y="463"/>
                    </a:lnTo>
                    <a:lnTo>
                      <a:pt x="163" y="463"/>
                    </a:lnTo>
                    <a:lnTo>
                      <a:pt x="161" y="461"/>
                    </a:lnTo>
                    <a:lnTo>
                      <a:pt x="163" y="459"/>
                    </a:lnTo>
                    <a:lnTo>
                      <a:pt x="161" y="459"/>
                    </a:lnTo>
                    <a:lnTo>
                      <a:pt x="161" y="457"/>
                    </a:lnTo>
                    <a:lnTo>
                      <a:pt x="163" y="457"/>
                    </a:lnTo>
                    <a:lnTo>
                      <a:pt x="161" y="457"/>
                    </a:lnTo>
                    <a:lnTo>
                      <a:pt x="163" y="457"/>
                    </a:lnTo>
                    <a:lnTo>
                      <a:pt x="161" y="455"/>
                    </a:lnTo>
                    <a:lnTo>
                      <a:pt x="163" y="455"/>
                    </a:lnTo>
                    <a:lnTo>
                      <a:pt x="163" y="453"/>
                    </a:lnTo>
                    <a:lnTo>
                      <a:pt x="163" y="451"/>
                    </a:lnTo>
                    <a:lnTo>
                      <a:pt x="163" y="449"/>
                    </a:lnTo>
                    <a:lnTo>
                      <a:pt x="161" y="449"/>
                    </a:lnTo>
                    <a:lnTo>
                      <a:pt x="163" y="448"/>
                    </a:lnTo>
                    <a:lnTo>
                      <a:pt x="161" y="448"/>
                    </a:lnTo>
                    <a:lnTo>
                      <a:pt x="161" y="446"/>
                    </a:lnTo>
                    <a:lnTo>
                      <a:pt x="161" y="444"/>
                    </a:lnTo>
                    <a:lnTo>
                      <a:pt x="163" y="444"/>
                    </a:lnTo>
                    <a:lnTo>
                      <a:pt x="165" y="446"/>
                    </a:lnTo>
                    <a:lnTo>
                      <a:pt x="167" y="444"/>
                    </a:lnTo>
                    <a:lnTo>
                      <a:pt x="167" y="442"/>
                    </a:lnTo>
                    <a:lnTo>
                      <a:pt x="167" y="440"/>
                    </a:lnTo>
                    <a:lnTo>
                      <a:pt x="169" y="440"/>
                    </a:lnTo>
                    <a:lnTo>
                      <a:pt x="171" y="438"/>
                    </a:lnTo>
                    <a:lnTo>
                      <a:pt x="171" y="436"/>
                    </a:lnTo>
                    <a:lnTo>
                      <a:pt x="171" y="434"/>
                    </a:lnTo>
                    <a:lnTo>
                      <a:pt x="171" y="432"/>
                    </a:lnTo>
                    <a:lnTo>
                      <a:pt x="169" y="430"/>
                    </a:lnTo>
                    <a:lnTo>
                      <a:pt x="169" y="428"/>
                    </a:lnTo>
                    <a:lnTo>
                      <a:pt x="171" y="426"/>
                    </a:lnTo>
                    <a:lnTo>
                      <a:pt x="173" y="424"/>
                    </a:lnTo>
                    <a:lnTo>
                      <a:pt x="173" y="423"/>
                    </a:lnTo>
                    <a:lnTo>
                      <a:pt x="175" y="423"/>
                    </a:lnTo>
                    <a:lnTo>
                      <a:pt x="175" y="421"/>
                    </a:lnTo>
                    <a:lnTo>
                      <a:pt x="176" y="421"/>
                    </a:lnTo>
                    <a:lnTo>
                      <a:pt x="176" y="419"/>
                    </a:lnTo>
                    <a:lnTo>
                      <a:pt x="178" y="419"/>
                    </a:lnTo>
                    <a:lnTo>
                      <a:pt x="180" y="419"/>
                    </a:lnTo>
                    <a:lnTo>
                      <a:pt x="182" y="419"/>
                    </a:lnTo>
                    <a:lnTo>
                      <a:pt x="182" y="417"/>
                    </a:lnTo>
                    <a:lnTo>
                      <a:pt x="182" y="415"/>
                    </a:lnTo>
                    <a:lnTo>
                      <a:pt x="184" y="413"/>
                    </a:lnTo>
                    <a:lnTo>
                      <a:pt x="184" y="411"/>
                    </a:lnTo>
                    <a:lnTo>
                      <a:pt x="186" y="411"/>
                    </a:lnTo>
                    <a:lnTo>
                      <a:pt x="186" y="409"/>
                    </a:lnTo>
                    <a:lnTo>
                      <a:pt x="184" y="409"/>
                    </a:lnTo>
                    <a:lnTo>
                      <a:pt x="186" y="409"/>
                    </a:lnTo>
                    <a:lnTo>
                      <a:pt x="184" y="409"/>
                    </a:lnTo>
                    <a:lnTo>
                      <a:pt x="184" y="407"/>
                    </a:lnTo>
                    <a:lnTo>
                      <a:pt x="186" y="407"/>
                    </a:lnTo>
                    <a:lnTo>
                      <a:pt x="186" y="405"/>
                    </a:lnTo>
                    <a:lnTo>
                      <a:pt x="188" y="405"/>
                    </a:lnTo>
                    <a:lnTo>
                      <a:pt x="188" y="403"/>
                    </a:lnTo>
                    <a:lnTo>
                      <a:pt x="190" y="403"/>
                    </a:lnTo>
                    <a:lnTo>
                      <a:pt x="192" y="403"/>
                    </a:lnTo>
                    <a:lnTo>
                      <a:pt x="192" y="401"/>
                    </a:lnTo>
                    <a:lnTo>
                      <a:pt x="194" y="401"/>
                    </a:lnTo>
                    <a:lnTo>
                      <a:pt x="196" y="401"/>
                    </a:lnTo>
                    <a:lnTo>
                      <a:pt x="198" y="401"/>
                    </a:lnTo>
                    <a:lnTo>
                      <a:pt x="198" y="399"/>
                    </a:lnTo>
                    <a:lnTo>
                      <a:pt x="200" y="399"/>
                    </a:lnTo>
                    <a:lnTo>
                      <a:pt x="200" y="398"/>
                    </a:lnTo>
                    <a:lnTo>
                      <a:pt x="201" y="398"/>
                    </a:lnTo>
                    <a:lnTo>
                      <a:pt x="201" y="396"/>
                    </a:lnTo>
                    <a:lnTo>
                      <a:pt x="203" y="396"/>
                    </a:lnTo>
                    <a:lnTo>
                      <a:pt x="203" y="394"/>
                    </a:lnTo>
                    <a:lnTo>
                      <a:pt x="203" y="392"/>
                    </a:lnTo>
                    <a:lnTo>
                      <a:pt x="203" y="390"/>
                    </a:lnTo>
                    <a:lnTo>
                      <a:pt x="205" y="390"/>
                    </a:lnTo>
                    <a:lnTo>
                      <a:pt x="205" y="388"/>
                    </a:lnTo>
                    <a:lnTo>
                      <a:pt x="207" y="388"/>
                    </a:lnTo>
                    <a:lnTo>
                      <a:pt x="207" y="386"/>
                    </a:lnTo>
                    <a:lnTo>
                      <a:pt x="209" y="386"/>
                    </a:lnTo>
                    <a:lnTo>
                      <a:pt x="209" y="384"/>
                    </a:lnTo>
                    <a:lnTo>
                      <a:pt x="209" y="386"/>
                    </a:lnTo>
                    <a:lnTo>
                      <a:pt x="209" y="384"/>
                    </a:lnTo>
                    <a:lnTo>
                      <a:pt x="211" y="384"/>
                    </a:lnTo>
                    <a:lnTo>
                      <a:pt x="211" y="382"/>
                    </a:lnTo>
                    <a:lnTo>
                      <a:pt x="211" y="380"/>
                    </a:lnTo>
                    <a:lnTo>
                      <a:pt x="211" y="378"/>
                    </a:lnTo>
                    <a:lnTo>
                      <a:pt x="209" y="376"/>
                    </a:lnTo>
                    <a:lnTo>
                      <a:pt x="209" y="374"/>
                    </a:lnTo>
                    <a:lnTo>
                      <a:pt x="209" y="373"/>
                    </a:lnTo>
                    <a:lnTo>
                      <a:pt x="207" y="371"/>
                    </a:lnTo>
                    <a:lnTo>
                      <a:pt x="207" y="369"/>
                    </a:lnTo>
                    <a:lnTo>
                      <a:pt x="205" y="369"/>
                    </a:lnTo>
                    <a:lnTo>
                      <a:pt x="205" y="367"/>
                    </a:lnTo>
                    <a:lnTo>
                      <a:pt x="205" y="365"/>
                    </a:lnTo>
                    <a:lnTo>
                      <a:pt x="205" y="363"/>
                    </a:lnTo>
                    <a:lnTo>
                      <a:pt x="203" y="361"/>
                    </a:lnTo>
                    <a:lnTo>
                      <a:pt x="203" y="359"/>
                    </a:lnTo>
                    <a:lnTo>
                      <a:pt x="205" y="357"/>
                    </a:lnTo>
                    <a:lnTo>
                      <a:pt x="205" y="355"/>
                    </a:lnTo>
                    <a:lnTo>
                      <a:pt x="207" y="353"/>
                    </a:lnTo>
                    <a:lnTo>
                      <a:pt x="209" y="351"/>
                    </a:lnTo>
                    <a:lnTo>
                      <a:pt x="211" y="351"/>
                    </a:lnTo>
                    <a:lnTo>
                      <a:pt x="213" y="351"/>
                    </a:lnTo>
                    <a:lnTo>
                      <a:pt x="215" y="351"/>
                    </a:lnTo>
                    <a:lnTo>
                      <a:pt x="217" y="351"/>
                    </a:lnTo>
                    <a:lnTo>
                      <a:pt x="217" y="350"/>
                    </a:lnTo>
                    <a:lnTo>
                      <a:pt x="217" y="348"/>
                    </a:lnTo>
                    <a:lnTo>
                      <a:pt x="219" y="346"/>
                    </a:lnTo>
                    <a:lnTo>
                      <a:pt x="221" y="346"/>
                    </a:lnTo>
                    <a:lnTo>
                      <a:pt x="223" y="344"/>
                    </a:lnTo>
                    <a:lnTo>
                      <a:pt x="223" y="346"/>
                    </a:lnTo>
                    <a:lnTo>
                      <a:pt x="226" y="348"/>
                    </a:lnTo>
                    <a:lnTo>
                      <a:pt x="226" y="346"/>
                    </a:lnTo>
                    <a:lnTo>
                      <a:pt x="228" y="344"/>
                    </a:lnTo>
                    <a:lnTo>
                      <a:pt x="230" y="346"/>
                    </a:lnTo>
                    <a:lnTo>
                      <a:pt x="232" y="346"/>
                    </a:lnTo>
                    <a:lnTo>
                      <a:pt x="232" y="348"/>
                    </a:lnTo>
                    <a:lnTo>
                      <a:pt x="230" y="348"/>
                    </a:lnTo>
                    <a:lnTo>
                      <a:pt x="228" y="348"/>
                    </a:lnTo>
                    <a:lnTo>
                      <a:pt x="228" y="350"/>
                    </a:lnTo>
                    <a:lnTo>
                      <a:pt x="230" y="351"/>
                    </a:lnTo>
                    <a:lnTo>
                      <a:pt x="230" y="353"/>
                    </a:lnTo>
                    <a:lnTo>
                      <a:pt x="232" y="353"/>
                    </a:lnTo>
                    <a:lnTo>
                      <a:pt x="232" y="355"/>
                    </a:lnTo>
                    <a:lnTo>
                      <a:pt x="232" y="357"/>
                    </a:lnTo>
                    <a:lnTo>
                      <a:pt x="234" y="357"/>
                    </a:lnTo>
                    <a:lnTo>
                      <a:pt x="234" y="359"/>
                    </a:lnTo>
                    <a:lnTo>
                      <a:pt x="234" y="361"/>
                    </a:lnTo>
                    <a:lnTo>
                      <a:pt x="236" y="361"/>
                    </a:lnTo>
                    <a:lnTo>
                      <a:pt x="236" y="363"/>
                    </a:lnTo>
                    <a:lnTo>
                      <a:pt x="238" y="363"/>
                    </a:lnTo>
                    <a:lnTo>
                      <a:pt x="240" y="363"/>
                    </a:lnTo>
                    <a:lnTo>
                      <a:pt x="240" y="365"/>
                    </a:lnTo>
                    <a:lnTo>
                      <a:pt x="240" y="363"/>
                    </a:lnTo>
                    <a:lnTo>
                      <a:pt x="240" y="365"/>
                    </a:lnTo>
                    <a:lnTo>
                      <a:pt x="242" y="363"/>
                    </a:lnTo>
                    <a:lnTo>
                      <a:pt x="242" y="365"/>
                    </a:lnTo>
                    <a:lnTo>
                      <a:pt x="242" y="367"/>
                    </a:lnTo>
                    <a:lnTo>
                      <a:pt x="242" y="369"/>
                    </a:lnTo>
                    <a:lnTo>
                      <a:pt x="242" y="367"/>
                    </a:lnTo>
                    <a:lnTo>
                      <a:pt x="242" y="369"/>
                    </a:lnTo>
                    <a:lnTo>
                      <a:pt x="244" y="367"/>
                    </a:lnTo>
                    <a:lnTo>
                      <a:pt x="246" y="367"/>
                    </a:lnTo>
                    <a:lnTo>
                      <a:pt x="246" y="369"/>
                    </a:lnTo>
                    <a:lnTo>
                      <a:pt x="248" y="369"/>
                    </a:lnTo>
                    <a:lnTo>
                      <a:pt x="249" y="369"/>
                    </a:lnTo>
                    <a:lnTo>
                      <a:pt x="249" y="367"/>
                    </a:lnTo>
                    <a:lnTo>
                      <a:pt x="251" y="367"/>
                    </a:lnTo>
                    <a:lnTo>
                      <a:pt x="251" y="369"/>
                    </a:lnTo>
                    <a:lnTo>
                      <a:pt x="253" y="369"/>
                    </a:lnTo>
                    <a:lnTo>
                      <a:pt x="253" y="371"/>
                    </a:lnTo>
                    <a:lnTo>
                      <a:pt x="251" y="371"/>
                    </a:lnTo>
                    <a:lnTo>
                      <a:pt x="253" y="373"/>
                    </a:lnTo>
                    <a:lnTo>
                      <a:pt x="253" y="374"/>
                    </a:lnTo>
                    <a:lnTo>
                      <a:pt x="253" y="376"/>
                    </a:lnTo>
                    <a:lnTo>
                      <a:pt x="253" y="378"/>
                    </a:lnTo>
                    <a:lnTo>
                      <a:pt x="253" y="380"/>
                    </a:lnTo>
                    <a:lnTo>
                      <a:pt x="255" y="380"/>
                    </a:lnTo>
                    <a:lnTo>
                      <a:pt x="255" y="378"/>
                    </a:lnTo>
                    <a:lnTo>
                      <a:pt x="255" y="376"/>
                    </a:lnTo>
                    <a:lnTo>
                      <a:pt x="257" y="376"/>
                    </a:lnTo>
                    <a:lnTo>
                      <a:pt x="259" y="376"/>
                    </a:lnTo>
                    <a:lnTo>
                      <a:pt x="261" y="376"/>
                    </a:lnTo>
                    <a:lnTo>
                      <a:pt x="261" y="374"/>
                    </a:lnTo>
                    <a:lnTo>
                      <a:pt x="261" y="376"/>
                    </a:lnTo>
                    <a:lnTo>
                      <a:pt x="261" y="378"/>
                    </a:lnTo>
                    <a:lnTo>
                      <a:pt x="263" y="378"/>
                    </a:lnTo>
                    <a:lnTo>
                      <a:pt x="263" y="380"/>
                    </a:lnTo>
                    <a:lnTo>
                      <a:pt x="265" y="380"/>
                    </a:lnTo>
                    <a:lnTo>
                      <a:pt x="265" y="378"/>
                    </a:lnTo>
                    <a:lnTo>
                      <a:pt x="267" y="378"/>
                    </a:lnTo>
                    <a:lnTo>
                      <a:pt x="267" y="380"/>
                    </a:lnTo>
                    <a:lnTo>
                      <a:pt x="267" y="382"/>
                    </a:lnTo>
                    <a:lnTo>
                      <a:pt x="269" y="384"/>
                    </a:lnTo>
                    <a:lnTo>
                      <a:pt x="269" y="386"/>
                    </a:lnTo>
                    <a:lnTo>
                      <a:pt x="271" y="386"/>
                    </a:lnTo>
                    <a:lnTo>
                      <a:pt x="273" y="384"/>
                    </a:lnTo>
                    <a:lnTo>
                      <a:pt x="274" y="384"/>
                    </a:lnTo>
                    <a:lnTo>
                      <a:pt x="274" y="382"/>
                    </a:lnTo>
                    <a:lnTo>
                      <a:pt x="274" y="384"/>
                    </a:lnTo>
                    <a:lnTo>
                      <a:pt x="276" y="384"/>
                    </a:lnTo>
                    <a:lnTo>
                      <a:pt x="276" y="382"/>
                    </a:lnTo>
                    <a:lnTo>
                      <a:pt x="278" y="382"/>
                    </a:lnTo>
                    <a:lnTo>
                      <a:pt x="278" y="380"/>
                    </a:lnTo>
                    <a:lnTo>
                      <a:pt x="280" y="380"/>
                    </a:lnTo>
                    <a:lnTo>
                      <a:pt x="282" y="380"/>
                    </a:lnTo>
                    <a:lnTo>
                      <a:pt x="282" y="378"/>
                    </a:lnTo>
                    <a:lnTo>
                      <a:pt x="282" y="376"/>
                    </a:lnTo>
                    <a:lnTo>
                      <a:pt x="280" y="376"/>
                    </a:lnTo>
                    <a:lnTo>
                      <a:pt x="280" y="374"/>
                    </a:lnTo>
                    <a:lnTo>
                      <a:pt x="278" y="373"/>
                    </a:lnTo>
                    <a:lnTo>
                      <a:pt x="278" y="371"/>
                    </a:lnTo>
                    <a:lnTo>
                      <a:pt x="278" y="369"/>
                    </a:lnTo>
                    <a:lnTo>
                      <a:pt x="280" y="367"/>
                    </a:lnTo>
                    <a:lnTo>
                      <a:pt x="282" y="365"/>
                    </a:lnTo>
                    <a:lnTo>
                      <a:pt x="282" y="363"/>
                    </a:lnTo>
                    <a:lnTo>
                      <a:pt x="282" y="361"/>
                    </a:lnTo>
                    <a:lnTo>
                      <a:pt x="284" y="361"/>
                    </a:lnTo>
                    <a:lnTo>
                      <a:pt x="286" y="359"/>
                    </a:lnTo>
                    <a:lnTo>
                      <a:pt x="286" y="357"/>
                    </a:lnTo>
                    <a:lnTo>
                      <a:pt x="288" y="357"/>
                    </a:lnTo>
                    <a:lnTo>
                      <a:pt x="288" y="355"/>
                    </a:lnTo>
                    <a:lnTo>
                      <a:pt x="290" y="355"/>
                    </a:lnTo>
                    <a:lnTo>
                      <a:pt x="292" y="353"/>
                    </a:lnTo>
                    <a:lnTo>
                      <a:pt x="294" y="353"/>
                    </a:lnTo>
                    <a:lnTo>
                      <a:pt x="294" y="351"/>
                    </a:lnTo>
                    <a:lnTo>
                      <a:pt x="294" y="350"/>
                    </a:lnTo>
                    <a:lnTo>
                      <a:pt x="294" y="348"/>
                    </a:lnTo>
                    <a:lnTo>
                      <a:pt x="292" y="348"/>
                    </a:lnTo>
                    <a:lnTo>
                      <a:pt x="292" y="346"/>
                    </a:lnTo>
                    <a:lnTo>
                      <a:pt x="294" y="346"/>
                    </a:lnTo>
                    <a:lnTo>
                      <a:pt x="294" y="344"/>
                    </a:lnTo>
                    <a:lnTo>
                      <a:pt x="292" y="344"/>
                    </a:lnTo>
                    <a:lnTo>
                      <a:pt x="292" y="342"/>
                    </a:lnTo>
                    <a:lnTo>
                      <a:pt x="292" y="340"/>
                    </a:lnTo>
                    <a:lnTo>
                      <a:pt x="290" y="340"/>
                    </a:lnTo>
                    <a:lnTo>
                      <a:pt x="288" y="340"/>
                    </a:lnTo>
                    <a:lnTo>
                      <a:pt x="288" y="338"/>
                    </a:lnTo>
                    <a:lnTo>
                      <a:pt x="288" y="336"/>
                    </a:lnTo>
                    <a:lnTo>
                      <a:pt x="290" y="334"/>
                    </a:lnTo>
                    <a:lnTo>
                      <a:pt x="288" y="332"/>
                    </a:lnTo>
                    <a:lnTo>
                      <a:pt x="288" y="330"/>
                    </a:lnTo>
                    <a:lnTo>
                      <a:pt x="288" y="328"/>
                    </a:lnTo>
                    <a:lnTo>
                      <a:pt x="286" y="328"/>
                    </a:lnTo>
                    <a:lnTo>
                      <a:pt x="286" y="326"/>
                    </a:lnTo>
                    <a:lnTo>
                      <a:pt x="284" y="326"/>
                    </a:lnTo>
                    <a:lnTo>
                      <a:pt x="282" y="328"/>
                    </a:lnTo>
                    <a:lnTo>
                      <a:pt x="280" y="328"/>
                    </a:lnTo>
                    <a:lnTo>
                      <a:pt x="280" y="326"/>
                    </a:lnTo>
                    <a:lnTo>
                      <a:pt x="278" y="325"/>
                    </a:lnTo>
                    <a:lnTo>
                      <a:pt x="276" y="323"/>
                    </a:lnTo>
                    <a:lnTo>
                      <a:pt x="276" y="321"/>
                    </a:lnTo>
                    <a:lnTo>
                      <a:pt x="276" y="319"/>
                    </a:lnTo>
                    <a:lnTo>
                      <a:pt x="274" y="319"/>
                    </a:lnTo>
                    <a:lnTo>
                      <a:pt x="274" y="317"/>
                    </a:lnTo>
                    <a:lnTo>
                      <a:pt x="273" y="317"/>
                    </a:lnTo>
                    <a:lnTo>
                      <a:pt x="274" y="315"/>
                    </a:lnTo>
                    <a:lnTo>
                      <a:pt x="273" y="315"/>
                    </a:lnTo>
                    <a:lnTo>
                      <a:pt x="273" y="313"/>
                    </a:lnTo>
                    <a:lnTo>
                      <a:pt x="274" y="313"/>
                    </a:lnTo>
                    <a:lnTo>
                      <a:pt x="274" y="311"/>
                    </a:lnTo>
                    <a:lnTo>
                      <a:pt x="274" y="309"/>
                    </a:lnTo>
                    <a:lnTo>
                      <a:pt x="276" y="309"/>
                    </a:lnTo>
                    <a:lnTo>
                      <a:pt x="274" y="309"/>
                    </a:lnTo>
                    <a:lnTo>
                      <a:pt x="276" y="307"/>
                    </a:lnTo>
                    <a:lnTo>
                      <a:pt x="278" y="307"/>
                    </a:lnTo>
                    <a:lnTo>
                      <a:pt x="280" y="307"/>
                    </a:lnTo>
                    <a:lnTo>
                      <a:pt x="280" y="305"/>
                    </a:lnTo>
                    <a:lnTo>
                      <a:pt x="278" y="305"/>
                    </a:lnTo>
                    <a:lnTo>
                      <a:pt x="280" y="305"/>
                    </a:lnTo>
                    <a:lnTo>
                      <a:pt x="278" y="303"/>
                    </a:lnTo>
                    <a:lnTo>
                      <a:pt x="278" y="301"/>
                    </a:lnTo>
                    <a:lnTo>
                      <a:pt x="278" y="303"/>
                    </a:lnTo>
                    <a:lnTo>
                      <a:pt x="280" y="301"/>
                    </a:lnTo>
                    <a:lnTo>
                      <a:pt x="280" y="300"/>
                    </a:lnTo>
                    <a:lnTo>
                      <a:pt x="280" y="301"/>
                    </a:lnTo>
                    <a:lnTo>
                      <a:pt x="282" y="301"/>
                    </a:lnTo>
                    <a:lnTo>
                      <a:pt x="282" y="300"/>
                    </a:lnTo>
                    <a:lnTo>
                      <a:pt x="284" y="300"/>
                    </a:lnTo>
                    <a:lnTo>
                      <a:pt x="282" y="300"/>
                    </a:lnTo>
                    <a:lnTo>
                      <a:pt x="284" y="300"/>
                    </a:lnTo>
                    <a:lnTo>
                      <a:pt x="284" y="301"/>
                    </a:lnTo>
                    <a:lnTo>
                      <a:pt x="286" y="300"/>
                    </a:lnTo>
                    <a:lnTo>
                      <a:pt x="286" y="301"/>
                    </a:lnTo>
                    <a:lnTo>
                      <a:pt x="288" y="301"/>
                    </a:lnTo>
                    <a:lnTo>
                      <a:pt x="290" y="301"/>
                    </a:lnTo>
                    <a:lnTo>
                      <a:pt x="292" y="300"/>
                    </a:lnTo>
                    <a:lnTo>
                      <a:pt x="292" y="301"/>
                    </a:lnTo>
                    <a:lnTo>
                      <a:pt x="292" y="300"/>
                    </a:lnTo>
                    <a:lnTo>
                      <a:pt x="292" y="301"/>
                    </a:lnTo>
                    <a:lnTo>
                      <a:pt x="294" y="301"/>
                    </a:lnTo>
                    <a:lnTo>
                      <a:pt x="292" y="301"/>
                    </a:lnTo>
                    <a:lnTo>
                      <a:pt x="294" y="301"/>
                    </a:lnTo>
                    <a:lnTo>
                      <a:pt x="294" y="300"/>
                    </a:lnTo>
                    <a:lnTo>
                      <a:pt x="292" y="300"/>
                    </a:lnTo>
                    <a:lnTo>
                      <a:pt x="294" y="300"/>
                    </a:lnTo>
                    <a:lnTo>
                      <a:pt x="292" y="300"/>
                    </a:lnTo>
                    <a:lnTo>
                      <a:pt x="292" y="298"/>
                    </a:lnTo>
                    <a:lnTo>
                      <a:pt x="290" y="296"/>
                    </a:lnTo>
                    <a:lnTo>
                      <a:pt x="292" y="296"/>
                    </a:lnTo>
                    <a:lnTo>
                      <a:pt x="290" y="296"/>
                    </a:lnTo>
                    <a:lnTo>
                      <a:pt x="290" y="294"/>
                    </a:lnTo>
                    <a:lnTo>
                      <a:pt x="290" y="292"/>
                    </a:lnTo>
                    <a:lnTo>
                      <a:pt x="292" y="292"/>
                    </a:lnTo>
                    <a:lnTo>
                      <a:pt x="292" y="290"/>
                    </a:lnTo>
                    <a:lnTo>
                      <a:pt x="292" y="288"/>
                    </a:lnTo>
                    <a:lnTo>
                      <a:pt x="292" y="286"/>
                    </a:lnTo>
                    <a:lnTo>
                      <a:pt x="290" y="286"/>
                    </a:lnTo>
                    <a:lnTo>
                      <a:pt x="290" y="284"/>
                    </a:lnTo>
                    <a:lnTo>
                      <a:pt x="290" y="282"/>
                    </a:lnTo>
                    <a:lnTo>
                      <a:pt x="290" y="280"/>
                    </a:lnTo>
                    <a:lnTo>
                      <a:pt x="290" y="278"/>
                    </a:lnTo>
                    <a:lnTo>
                      <a:pt x="290" y="276"/>
                    </a:lnTo>
                    <a:lnTo>
                      <a:pt x="292" y="276"/>
                    </a:lnTo>
                    <a:lnTo>
                      <a:pt x="290" y="276"/>
                    </a:lnTo>
                    <a:lnTo>
                      <a:pt x="290" y="275"/>
                    </a:lnTo>
                    <a:lnTo>
                      <a:pt x="288" y="275"/>
                    </a:lnTo>
                    <a:lnTo>
                      <a:pt x="288" y="273"/>
                    </a:lnTo>
                    <a:lnTo>
                      <a:pt x="286" y="273"/>
                    </a:lnTo>
                    <a:lnTo>
                      <a:pt x="286" y="275"/>
                    </a:lnTo>
                    <a:lnTo>
                      <a:pt x="288" y="275"/>
                    </a:lnTo>
                    <a:lnTo>
                      <a:pt x="286" y="275"/>
                    </a:lnTo>
                    <a:lnTo>
                      <a:pt x="286" y="273"/>
                    </a:lnTo>
                    <a:lnTo>
                      <a:pt x="286" y="271"/>
                    </a:lnTo>
                    <a:lnTo>
                      <a:pt x="284" y="273"/>
                    </a:lnTo>
                    <a:lnTo>
                      <a:pt x="282" y="273"/>
                    </a:lnTo>
                    <a:lnTo>
                      <a:pt x="280" y="273"/>
                    </a:lnTo>
                    <a:lnTo>
                      <a:pt x="278" y="273"/>
                    </a:lnTo>
                    <a:lnTo>
                      <a:pt x="276" y="273"/>
                    </a:lnTo>
                    <a:lnTo>
                      <a:pt x="274" y="273"/>
                    </a:lnTo>
                    <a:lnTo>
                      <a:pt x="273" y="273"/>
                    </a:lnTo>
                    <a:lnTo>
                      <a:pt x="271" y="273"/>
                    </a:lnTo>
                    <a:lnTo>
                      <a:pt x="271" y="271"/>
                    </a:lnTo>
                    <a:lnTo>
                      <a:pt x="271" y="269"/>
                    </a:lnTo>
                    <a:lnTo>
                      <a:pt x="271" y="271"/>
                    </a:lnTo>
                    <a:lnTo>
                      <a:pt x="271" y="269"/>
                    </a:lnTo>
                    <a:lnTo>
                      <a:pt x="269" y="269"/>
                    </a:lnTo>
                    <a:lnTo>
                      <a:pt x="271" y="269"/>
                    </a:lnTo>
                    <a:lnTo>
                      <a:pt x="269" y="269"/>
                    </a:lnTo>
                    <a:lnTo>
                      <a:pt x="269" y="267"/>
                    </a:lnTo>
                    <a:lnTo>
                      <a:pt x="267" y="267"/>
                    </a:lnTo>
                    <a:lnTo>
                      <a:pt x="265" y="267"/>
                    </a:lnTo>
                    <a:lnTo>
                      <a:pt x="265" y="265"/>
                    </a:lnTo>
                    <a:lnTo>
                      <a:pt x="263" y="265"/>
                    </a:lnTo>
                    <a:lnTo>
                      <a:pt x="265" y="265"/>
                    </a:lnTo>
                    <a:lnTo>
                      <a:pt x="263" y="265"/>
                    </a:lnTo>
                    <a:lnTo>
                      <a:pt x="265" y="265"/>
                    </a:lnTo>
                    <a:lnTo>
                      <a:pt x="265" y="263"/>
                    </a:lnTo>
                    <a:lnTo>
                      <a:pt x="263" y="263"/>
                    </a:lnTo>
                    <a:lnTo>
                      <a:pt x="263" y="261"/>
                    </a:lnTo>
                    <a:lnTo>
                      <a:pt x="263" y="259"/>
                    </a:lnTo>
                    <a:lnTo>
                      <a:pt x="263" y="257"/>
                    </a:lnTo>
                    <a:lnTo>
                      <a:pt x="261" y="257"/>
                    </a:lnTo>
                    <a:lnTo>
                      <a:pt x="261" y="255"/>
                    </a:lnTo>
                    <a:lnTo>
                      <a:pt x="259" y="255"/>
                    </a:lnTo>
                    <a:lnTo>
                      <a:pt x="259" y="253"/>
                    </a:lnTo>
                    <a:lnTo>
                      <a:pt x="259" y="251"/>
                    </a:lnTo>
                    <a:lnTo>
                      <a:pt x="259" y="250"/>
                    </a:lnTo>
                    <a:lnTo>
                      <a:pt x="259" y="248"/>
                    </a:lnTo>
                    <a:lnTo>
                      <a:pt x="261" y="248"/>
                    </a:lnTo>
                    <a:lnTo>
                      <a:pt x="261" y="246"/>
                    </a:lnTo>
                    <a:lnTo>
                      <a:pt x="261" y="244"/>
                    </a:lnTo>
                    <a:lnTo>
                      <a:pt x="259" y="244"/>
                    </a:lnTo>
                    <a:lnTo>
                      <a:pt x="259" y="242"/>
                    </a:lnTo>
                    <a:lnTo>
                      <a:pt x="257" y="242"/>
                    </a:lnTo>
                    <a:lnTo>
                      <a:pt x="257" y="240"/>
                    </a:lnTo>
                    <a:lnTo>
                      <a:pt x="255" y="240"/>
                    </a:lnTo>
                    <a:lnTo>
                      <a:pt x="255" y="238"/>
                    </a:lnTo>
                    <a:lnTo>
                      <a:pt x="257" y="236"/>
                    </a:lnTo>
                    <a:lnTo>
                      <a:pt x="259" y="236"/>
                    </a:lnTo>
                    <a:lnTo>
                      <a:pt x="261" y="236"/>
                    </a:lnTo>
                    <a:lnTo>
                      <a:pt x="261" y="234"/>
                    </a:lnTo>
                    <a:lnTo>
                      <a:pt x="261" y="232"/>
                    </a:lnTo>
                    <a:lnTo>
                      <a:pt x="259" y="232"/>
                    </a:lnTo>
                    <a:lnTo>
                      <a:pt x="259" y="230"/>
                    </a:lnTo>
                    <a:lnTo>
                      <a:pt x="259" y="228"/>
                    </a:lnTo>
                    <a:lnTo>
                      <a:pt x="259" y="226"/>
                    </a:lnTo>
                    <a:lnTo>
                      <a:pt x="259" y="225"/>
                    </a:lnTo>
                    <a:lnTo>
                      <a:pt x="259" y="223"/>
                    </a:lnTo>
                    <a:lnTo>
                      <a:pt x="261" y="221"/>
                    </a:lnTo>
                    <a:lnTo>
                      <a:pt x="261" y="219"/>
                    </a:lnTo>
                    <a:lnTo>
                      <a:pt x="263" y="219"/>
                    </a:lnTo>
                    <a:lnTo>
                      <a:pt x="263" y="217"/>
                    </a:lnTo>
                    <a:lnTo>
                      <a:pt x="265" y="217"/>
                    </a:lnTo>
                    <a:lnTo>
                      <a:pt x="265" y="215"/>
                    </a:lnTo>
                    <a:lnTo>
                      <a:pt x="267" y="213"/>
                    </a:lnTo>
                    <a:lnTo>
                      <a:pt x="267" y="215"/>
                    </a:lnTo>
                    <a:lnTo>
                      <a:pt x="267" y="213"/>
                    </a:lnTo>
                    <a:lnTo>
                      <a:pt x="269" y="215"/>
                    </a:lnTo>
                    <a:lnTo>
                      <a:pt x="269" y="213"/>
                    </a:lnTo>
                    <a:lnTo>
                      <a:pt x="271" y="215"/>
                    </a:lnTo>
                    <a:lnTo>
                      <a:pt x="271" y="213"/>
                    </a:lnTo>
                    <a:lnTo>
                      <a:pt x="271" y="211"/>
                    </a:lnTo>
                    <a:lnTo>
                      <a:pt x="269" y="211"/>
                    </a:lnTo>
                    <a:lnTo>
                      <a:pt x="269" y="209"/>
                    </a:lnTo>
                    <a:lnTo>
                      <a:pt x="267" y="207"/>
                    </a:lnTo>
                    <a:lnTo>
                      <a:pt x="267" y="205"/>
                    </a:lnTo>
                    <a:lnTo>
                      <a:pt x="265" y="205"/>
                    </a:lnTo>
                    <a:lnTo>
                      <a:pt x="263" y="205"/>
                    </a:lnTo>
                    <a:lnTo>
                      <a:pt x="261" y="203"/>
                    </a:lnTo>
                    <a:lnTo>
                      <a:pt x="263" y="203"/>
                    </a:lnTo>
                    <a:lnTo>
                      <a:pt x="265" y="203"/>
                    </a:lnTo>
                    <a:lnTo>
                      <a:pt x="265" y="201"/>
                    </a:lnTo>
                    <a:lnTo>
                      <a:pt x="267" y="200"/>
                    </a:lnTo>
                    <a:lnTo>
                      <a:pt x="269" y="200"/>
                    </a:lnTo>
                    <a:lnTo>
                      <a:pt x="271" y="200"/>
                    </a:lnTo>
                    <a:lnTo>
                      <a:pt x="273" y="198"/>
                    </a:lnTo>
                    <a:lnTo>
                      <a:pt x="274" y="198"/>
                    </a:lnTo>
                    <a:lnTo>
                      <a:pt x="276" y="198"/>
                    </a:lnTo>
                    <a:lnTo>
                      <a:pt x="276" y="196"/>
                    </a:lnTo>
                    <a:lnTo>
                      <a:pt x="274" y="196"/>
                    </a:lnTo>
                    <a:lnTo>
                      <a:pt x="276" y="194"/>
                    </a:lnTo>
                    <a:lnTo>
                      <a:pt x="276" y="192"/>
                    </a:lnTo>
                    <a:lnTo>
                      <a:pt x="276" y="190"/>
                    </a:lnTo>
                    <a:lnTo>
                      <a:pt x="278" y="190"/>
                    </a:lnTo>
                    <a:lnTo>
                      <a:pt x="278" y="188"/>
                    </a:lnTo>
                    <a:lnTo>
                      <a:pt x="280" y="188"/>
                    </a:lnTo>
                    <a:lnTo>
                      <a:pt x="282" y="186"/>
                    </a:lnTo>
                    <a:lnTo>
                      <a:pt x="284" y="186"/>
                    </a:lnTo>
                    <a:lnTo>
                      <a:pt x="284" y="184"/>
                    </a:lnTo>
                    <a:lnTo>
                      <a:pt x="284" y="182"/>
                    </a:lnTo>
                    <a:lnTo>
                      <a:pt x="286" y="180"/>
                    </a:lnTo>
                    <a:lnTo>
                      <a:pt x="288" y="180"/>
                    </a:lnTo>
                    <a:lnTo>
                      <a:pt x="290" y="182"/>
                    </a:lnTo>
                    <a:lnTo>
                      <a:pt x="290" y="180"/>
                    </a:lnTo>
                    <a:lnTo>
                      <a:pt x="292" y="178"/>
                    </a:lnTo>
                    <a:lnTo>
                      <a:pt x="294" y="178"/>
                    </a:lnTo>
                    <a:lnTo>
                      <a:pt x="294" y="176"/>
                    </a:lnTo>
                    <a:lnTo>
                      <a:pt x="294" y="175"/>
                    </a:lnTo>
                    <a:lnTo>
                      <a:pt x="292" y="173"/>
                    </a:lnTo>
                    <a:lnTo>
                      <a:pt x="292" y="171"/>
                    </a:lnTo>
                    <a:lnTo>
                      <a:pt x="290" y="169"/>
                    </a:lnTo>
                    <a:lnTo>
                      <a:pt x="292" y="169"/>
                    </a:lnTo>
                    <a:lnTo>
                      <a:pt x="292" y="167"/>
                    </a:lnTo>
                    <a:lnTo>
                      <a:pt x="292" y="165"/>
                    </a:lnTo>
                    <a:lnTo>
                      <a:pt x="294" y="165"/>
                    </a:lnTo>
                    <a:lnTo>
                      <a:pt x="294" y="163"/>
                    </a:lnTo>
                    <a:lnTo>
                      <a:pt x="296" y="161"/>
                    </a:lnTo>
                    <a:lnTo>
                      <a:pt x="296" y="159"/>
                    </a:lnTo>
                    <a:lnTo>
                      <a:pt x="297" y="159"/>
                    </a:lnTo>
                    <a:lnTo>
                      <a:pt x="299" y="159"/>
                    </a:lnTo>
                    <a:lnTo>
                      <a:pt x="299" y="157"/>
                    </a:lnTo>
                    <a:lnTo>
                      <a:pt x="299" y="155"/>
                    </a:lnTo>
                    <a:lnTo>
                      <a:pt x="301" y="155"/>
                    </a:lnTo>
                    <a:lnTo>
                      <a:pt x="301" y="153"/>
                    </a:lnTo>
                    <a:lnTo>
                      <a:pt x="301" y="155"/>
                    </a:lnTo>
                    <a:lnTo>
                      <a:pt x="301" y="153"/>
                    </a:lnTo>
                    <a:lnTo>
                      <a:pt x="303" y="153"/>
                    </a:lnTo>
                    <a:lnTo>
                      <a:pt x="303" y="151"/>
                    </a:lnTo>
                    <a:lnTo>
                      <a:pt x="303" y="150"/>
                    </a:lnTo>
                    <a:lnTo>
                      <a:pt x="303" y="148"/>
                    </a:lnTo>
                    <a:lnTo>
                      <a:pt x="303" y="146"/>
                    </a:lnTo>
                    <a:lnTo>
                      <a:pt x="303" y="144"/>
                    </a:lnTo>
                    <a:lnTo>
                      <a:pt x="303" y="142"/>
                    </a:lnTo>
                    <a:lnTo>
                      <a:pt x="303" y="140"/>
                    </a:lnTo>
                    <a:lnTo>
                      <a:pt x="301" y="140"/>
                    </a:lnTo>
                    <a:lnTo>
                      <a:pt x="301" y="138"/>
                    </a:lnTo>
                    <a:lnTo>
                      <a:pt x="299" y="138"/>
                    </a:lnTo>
                    <a:lnTo>
                      <a:pt x="301" y="138"/>
                    </a:lnTo>
                    <a:lnTo>
                      <a:pt x="301" y="136"/>
                    </a:lnTo>
                    <a:lnTo>
                      <a:pt x="303" y="134"/>
                    </a:lnTo>
                    <a:lnTo>
                      <a:pt x="303" y="132"/>
                    </a:lnTo>
                    <a:lnTo>
                      <a:pt x="301" y="132"/>
                    </a:lnTo>
                    <a:lnTo>
                      <a:pt x="301" y="130"/>
                    </a:lnTo>
                    <a:lnTo>
                      <a:pt x="303" y="130"/>
                    </a:lnTo>
                    <a:lnTo>
                      <a:pt x="305" y="130"/>
                    </a:lnTo>
                    <a:lnTo>
                      <a:pt x="305" y="128"/>
                    </a:lnTo>
                    <a:lnTo>
                      <a:pt x="307" y="126"/>
                    </a:lnTo>
                    <a:lnTo>
                      <a:pt x="307" y="125"/>
                    </a:lnTo>
                    <a:lnTo>
                      <a:pt x="311" y="125"/>
                    </a:lnTo>
                    <a:lnTo>
                      <a:pt x="311" y="123"/>
                    </a:lnTo>
                    <a:lnTo>
                      <a:pt x="309" y="123"/>
                    </a:lnTo>
                    <a:lnTo>
                      <a:pt x="309" y="121"/>
                    </a:lnTo>
                    <a:lnTo>
                      <a:pt x="309" y="119"/>
                    </a:lnTo>
                    <a:lnTo>
                      <a:pt x="307" y="119"/>
                    </a:lnTo>
                    <a:lnTo>
                      <a:pt x="309" y="117"/>
                    </a:lnTo>
                    <a:lnTo>
                      <a:pt x="311" y="117"/>
                    </a:lnTo>
                    <a:lnTo>
                      <a:pt x="311" y="115"/>
                    </a:lnTo>
                    <a:lnTo>
                      <a:pt x="309" y="113"/>
                    </a:lnTo>
                    <a:lnTo>
                      <a:pt x="307" y="113"/>
                    </a:lnTo>
                    <a:lnTo>
                      <a:pt x="305" y="113"/>
                    </a:lnTo>
                    <a:lnTo>
                      <a:pt x="303" y="111"/>
                    </a:lnTo>
                    <a:lnTo>
                      <a:pt x="301" y="111"/>
                    </a:lnTo>
                    <a:lnTo>
                      <a:pt x="299" y="111"/>
                    </a:lnTo>
                    <a:lnTo>
                      <a:pt x="301" y="109"/>
                    </a:lnTo>
                    <a:lnTo>
                      <a:pt x="301" y="107"/>
                    </a:lnTo>
                    <a:lnTo>
                      <a:pt x="299" y="105"/>
                    </a:lnTo>
                    <a:lnTo>
                      <a:pt x="299" y="103"/>
                    </a:lnTo>
                    <a:lnTo>
                      <a:pt x="299" y="102"/>
                    </a:lnTo>
                    <a:lnTo>
                      <a:pt x="297" y="100"/>
                    </a:lnTo>
                    <a:lnTo>
                      <a:pt x="296" y="100"/>
                    </a:lnTo>
                    <a:lnTo>
                      <a:pt x="294" y="98"/>
                    </a:lnTo>
                    <a:lnTo>
                      <a:pt x="292" y="98"/>
                    </a:lnTo>
                    <a:lnTo>
                      <a:pt x="292" y="96"/>
                    </a:lnTo>
                    <a:lnTo>
                      <a:pt x="290" y="96"/>
                    </a:lnTo>
                    <a:lnTo>
                      <a:pt x="290" y="94"/>
                    </a:lnTo>
                    <a:lnTo>
                      <a:pt x="290" y="92"/>
                    </a:lnTo>
                    <a:lnTo>
                      <a:pt x="288" y="90"/>
                    </a:lnTo>
                    <a:lnTo>
                      <a:pt x="288" y="88"/>
                    </a:lnTo>
                    <a:lnTo>
                      <a:pt x="290" y="86"/>
                    </a:lnTo>
                    <a:lnTo>
                      <a:pt x="292" y="86"/>
                    </a:lnTo>
                    <a:lnTo>
                      <a:pt x="294" y="86"/>
                    </a:lnTo>
                    <a:lnTo>
                      <a:pt x="294" y="84"/>
                    </a:lnTo>
                    <a:lnTo>
                      <a:pt x="296" y="84"/>
                    </a:lnTo>
                    <a:lnTo>
                      <a:pt x="296" y="82"/>
                    </a:lnTo>
                    <a:lnTo>
                      <a:pt x="296" y="80"/>
                    </a:lnTo>
                    <a:lnTo>
                      <a:pt x="296" y="78"/>
                    </a:lnTo>
                    <a:lnTo>
                      <a:pt x="296" y="77"/>
                    </a:lnTo>
                    <a:lnTo>
                      <a:pt x="294" y="77"/>
                    </a:lnTo>
                    <a:lnTo>
                      <a:pt x="294" y="75"/>
                    </a:lnTo>
                    <a:lnTo>
                      <a:pt x="294" y="73"/>
                    </a:lnTo>
                    <a:lnTo>
                      <a:pt x="294" y="71"/>
                    </a:lnTo>
                    <a:lnTo>
                      <a:pt x="294" y="69"/>
                    </a:lnTo>
                    <a:lnTo>
                      <a:pt x="296" y="69"/>
                    </a:lnTo>
                    <a:lnTo>
                      <a:pt x="297" y="69"/>
                    </a:lnTo>
                    <a:lnTo>
                      <a:pt x="297" y="71"/>
                    </a:lnTo>
                    <a:lnTo>
                      <a:pt x="299" y="71"/>
                    </a:lnTo>
                    <a:lnTo>
                      <a:pt x="301" y="71"/>
                    </a:lnTo>
                    <a:lnTo>
                      <a:pt x="301" y="69"/>
                    </a:lnTo>
                    <a:lnTo>
                      <a:pt x="301" y="67"/>
                    </a:lnTo>
                    <a:lnTo>
                      <a:pt x="303" y="67"/>
                    </a:lnTo>
                    <a:lnTo>
                      <a:pt x="301" y="67"/>
                    </a:lnTo>
                    <a:lnTo>
                      <a:pt x="303" y="65"/>
                    </a:lnTo>
                    <a:lnTo>
                      <a:pt x="301" y="65"/>
                    </a:lnTo>
                    <a:lnTo>
                      <a:pt x="301" y="63"/>
                    </a:lnTo>
                    <a:lnTo>
                      <a:pt x="299" y="63"/>
                    </a:lnTo>
                    <a:lnTo>
                      <a:pt x="297" y="61"/>
                    </a:lnTo>
                    <a:lnTo>
                      <a:pt x="297" y="59"/>
                    </a:lnTo>
                    <a:lnTo>
                      <a:pt x="296" y="57"/>
                    </a:lnTo>
                    <a:lnTo>
                      <a:pt x="294" y="57"/>
                    </a:lnTo>
                    <a:lnTo>
                      <a:pt x="296" y="55"/>
                    </a:lnTo>
                    <a:lnTo>
                      <a:pt x="297" y="55"/>
                    </a:lnTo>
                    <a:lnTo>
                      <a:pt x="297" y="53"/>
                    </a:lnTo>
                    <a:lnTo>
                      <a:pt x="297" y="52"/>
                    </a:lnTo>
                    <a:lnTo>
                      <a:pt x="299" y="52"/>
                    </a:lnTo>
                    <a:lnTo>
                      <a:pt x="299" y="50"/>
                    </a:lnTo>
                    <a:lnTo>
                      <a:pt x="299" y="48"/>
                    </a:lnTo>
                    <a:lnTo>
                      <a:pt x="297" y="48"/>
                    </a:lnTo>
                    <a:lnTo>
                      <a:pt x="297" y="46"/>
                    </a:lnTo>
                    <a:lnTo>
                      <a:pt x="297" y="44"/>
                    </a:lnTo>
                    <a:lnTo>
                      <a:pt x="297" y="42"/>
                    </a:lnTo>
                    <a:lnTo>
                      <a:pt x="297" y="40"/>
                    </a:lnTo>
                    <a:lnTo>
                      <a:pt x="297" y="38"/>
                    </a:lnTo>
                    <a:lnTo>
                      <a:pt x="299" y="38"/>
                    </a:lnTo>
                    <a:lnTo>
                      <a:pt x="299" y="36"/>
                    </a:lnTo>
                    <a:lnTo>
                      <a:pt x="301" y="34"/>
                    </a:lnTo>
                    <a:lnTo>
                      <a:pt x="299" y="32"/>
                    </a:lnTo>
                    <a:lnTo>
                      <a:pt x="299" y="30"/>
                    </a:lnTo>
                    <a:lnTo>
                      <a:pt x="297" y="30"/>
                    </a:lnTo>
                    <a:lnTo>
                      <a:pt x="296" y="27"/>
                    </a:lnTo>
                    <a:lnTo>
                      <a:pt x="296" y="25"/>
                    </a:lnTo>
                    <a:lnTo>
                      <a:pt x="297" y="25"/>
                    </a:lnTo>
                    <a:lnTo>
                      <a:pt x="297" y="27"/>
                    </a:lnTo>
                    <a:lnTo>
                      <a:pt x="299" y="27"/>
                    </a:lnTo>
                    <a:lnTo>
                      <a:pt x="299" y="25"/>
                    </a:lnTo>
                    <a:lnTo>
                      <a:pt x="299" y="27"/>
                    </a:lnTo>
                    <a:lnTo>
                      <a:pt x="299" y="28"/>
                    </a:lnTo>
                    <a:lnTo>
                      <a:pt x="301" y="28"/>
                    </a:lnTo>
                    <a:lnTo>
                      <a:pt x="301" y="27"/>
                    </a:lnTo>
                    <a:lnTo>
                      <a:pt x="303" y="28"/>
                    </a:lnTo>
                    <a:lnTo>
                      <a:pt x="303" y="27"/>
                    </a:lnTo>
                    <a:lnTo>
                      <a:pt x="303" y="28"/>
                    </a:lnTo>
                    <a:lnTo>
                      <a:pt x="305" y="28"/>
                    </a:lnTo>
                    <a:lnTo>
                      <a:pt x="305" y="30"/>
                    </a:lnTo>
                    <a:lnTo>
                      <a:pt x="307" y="28"/>
                    </a:lnTo>
                    <a:lnTo>
                      <a:pt x="307" y="30"/>
                    </a:lnTo>
                    <a:lnTo>
                      <a:pt x="309" y="30"/>
                    </a:lnTo>
                    <a:lnTo>
                      <a:pt x="309" y="28"/>
                    </a:lnTo>
                    <a:lnTo>
                      <a:pt x="311" y="28"/>
                    </a:lnTo>
                    <a:lnTo>
                      <a:pt x="309" y="28"/>
                    </a:lnTo>
                    <a:lnTo>
                      <a:pt x="311" y="28"/>
                    </a:lnTo>
                    <a:lnTo>
                      <a:pt x="311" y="27"/>
                    </a:lnTo>
                    <a:lnTo>
                      <a:pt x="313" y="27"/>
                    </a:lnTo>
                    <a:lnTo>
                      <a:pt x="315" y="27"/>
                    </a:lnTo>
                    <a:lnTo>
                      <a:pt x="315" y="28"/>
                    </a:lnTo>
                    <a:lnTo>
                      <a:pt x="317" y="28"/>
                    </a:lnTo>
                    <a:lnTo>
                      <a:pt x="317" y="30"/>
                    </a:lnTo>
                    <a:lnTo>
                      <a:pt x="315" y="30"/>
                    </a:lnTo>
                    <a:lnTo>
                      <a:pt x="317" y="30"/>
                    </a:lnTo>
                    <a:lnTo>
                      <a:pt x="319" y="30"/>
                    </a:lnTo>
                    <a:lnTo>
                      <a:pt x="319" y="28"/>
                    </a:lnTo>
                    <a:lnTo>
                      <a:pt x="321" y="28"/>
                    </a:lnTo>
                    <a:lnTo>
                      <a:pt x="319" y="28"/>
                    </a:lnTo>
                    <a:lnTo>
                      <a:pt x="321" y="30"/>
                    </a:lnTo>
                    <a:lnTo>
                      <a:pt x="322" y="30"/>
                    </a:lnTo>
                    <a:lnTo>
                      <a:pt x="322" y="28"/>
                    </a:lnTo>
                    <a:lnTo>
                      <a:pt x="322" y="27"/>
                    </a:lnTo>
                    <a:lnTo>
                      <a:pt x="322" y="25"/>
                    </a:lnTo>
                    <a:lnTo>
                      <a:pt x="324" y="25"/>
                    </a:lnTo>
                    <a:lnTo>
                      <a:pt x="324" y="23"/>
                    </a:lnTo>
                    <a:lnTo>
                      <a:pt x="326" y="23"/>
                    </a:lnTo>
                    <a:lnTo>
                      <a:pt x="328" y="23"/>
                    </a:lnTo>
                    <a:lnTo>
                      <a:pt x="328" y="21"/>
                    </a:lnTo>
                    <a:lnTo>
                      <a:pt x="328" y="23"/>
                    </a:lnTo>
                    <a:lnTo>
                      <a:pt x="330" y="23"/>
                    </a:lnTo>
                    <a:lnTo>
                      <a:pt x="332" y="21"/>
                    </a:lnTo>
                    <a:lnTo>
                      <a:pt x="334" y="23"/>
                    </a:lnTo>
                    <a:lnTo>
                      <a:pt x="334" y="21"/>
                    </a:lnTo>
                    <a:lnTo>
                      <a:pt x="336" y="21"/>
                    </a:lnTo>
                    <a:lnTo>
                      <a:pt x="338" y="21"/>
                    </a:lnTo>
                    <a:lnTo>
                      <a:pt x="340" y="21"/>
                    </a:lnTo>
                    <a:lnTo>
                      <a:pt x="342" y="21"/>
                    </a:lnTo>
                    <a:lnTo>
                      <a:pt x="342" y="19"/>
                    </a:lnTo>
                    <a:lnTo>
                      <a:pt x="342" y="17"/>
                    </a:lnTo>
                    <a:lnTo>
                      <a:pt x="342" y="15"/>
                    </a:lnTo>
                    <a:lnTo>
                      <a:pt x="342" y="13"/>
                    </a:lnTo>
                    <a:lnTo>
                      <a:pt x="340" y="13"/>
                    </a:lnTo>
                    <a:lnTo>
                      <a:pt x="340" y="11"/>
                    </a:lnTo>
                    <a:lnTo>
                      <a:pt x="340" y="9"/>
                    </a:lnTo>
                    <a:lnTo>
                      <a:pt x="338" y="9"/>
                    </a:lnTo>
                    <a:lnTo>
                      <a:pt x="338" y="7"/>
                    </a:lnTo>
                    <a:lnTo>
                      <a:pt x="338" y="5"/>
                    </a:lnTo>
                    <a:lnTo>
                      <a:pt x="336" y="5"/>
                    </a:lnTo>
                    <a:lnTo>
                      <a:pt x="334" y="5"/>
                    </a:lnTo>
                    <a:lnTo>
                      <a:pt x="332" y="7"/>
                    </a:lnTo>
                    <a:lnTo>
                      <a:pt x="334" y="5"/>
                    </a:lnTo>
                    <a:lnTo>
                      <a:pt x="336" y="3"/>
                    </a:lnTo>
                    <a:lnTo>
                      <a:pt x="336" y="5"/>
                    </a:lnTo>
                    <a:lnTo>
                      <a:pt x="336" y="3"/>
                    </a:lnTo>
                    <a:lnTo>
                      <a:pt x="338" y="3"/>
                    </a:lnTo>
                    <a:lnTo>
                      <a:pt x="340" y="3"/>
                    </a:lnTo>
                    <a:lnTo>
                      <a:pt x="342" y="3"/>
                    </a:lnTo>
                    <a:lnTo>
                      <a:pt x="342" y="2"/>
                    </a:lnTo>
                    <a:lnTo>
                      <a:pt x="340" y="2"/>
                    </a:lnTo>
                    <a:lnTo>
                      <a:pt x="342" y="0"/>
                    </a:lnTo>
                    <a:lnTo>
                      <a:pt x="342" y="2"/>
                    </a:lnTo>
                    <a:lnTo>
                      <a:pt x="344" y="2"/>
                    </a:lnTo>
                    <a:lnTo>
                      <a:pt x="344" y="3"/>
                    </a:lnTo>
                    <a:lnTo>
                      <a:pt x="346" y="3"/>
                    </a:lnTo>
                    <a:lnTo>
                      <a:pt x="346" y="5"/>
                    </a:lnTo>
                    <a:lnTo>
                      <a:pt x="344" y="5"/>
                    </a:lnTo>
                    <a:lnTo>
                      <a:pt x="346" y="7"/>
                    </a:lnTo>
                    <a:lnTo>
                      <a:pt x="347" y="7"/>
                    </a:lnTo>
                    <a:lnTo>
                      <a:pt x="347" y="9"/>
                    </a:lnTo>
                    <a:lnTo>
                      <a:pt x="346" y="9"/>
                    </a:lnTo>
                    <a:lnTo>
                      <a:pt x="346" y="11"/>
                    </a:lnTo>
                    <a:lnTo>
                      <a:pt x="347" y="13"/>
                    </a:lnTo>
                    <a:lnTo>
                      <a:pt x="347" y="15"/>
                    </a:lnTo>
                    <a:lnTo>
                      <a:pt x="349" y="15"/>
                    </a:lnTo>
                    <a:lnTo>
                      <a:pt x="351" y="17"/>
                    </a:lnTo>
                    <a:lnTo>
                      <a:pt x="351" y="19"/>
                    </a:lnTo>
                    <a:lnTo>
                      <a:pt x="353" y="19"/>
                    </a:lnTo>
                    <a:lnTo>
                      <a:pt x="353" y="21"/>
                    </a:lnTo>
                    <a:lnTo>
                      <a:pt x="353" y="23"/>
                    </a:lnTo>
                    <a:lnTo>
                      <a:pt x="353" y="25"/>
                    </a:lnTo>
                    <a:lnTo>
                      <a:pt x="355" y="27"/>
                    </a:lnTo>
                    <a:lnTo>
                      <a:pt x="355" y="28"/>
                    </a:lnTo>
                    <a:lnTo>
                      <a:pt x="353" y="28"/>
                    </a:lnTo>
                    <a:lnTo>
                      <a:pt x="353" y="30"/>
                    </a:lnTo>
                    <a:lnTo>
                      <a:pt x="351" y="30"/>
                    </a:lnTo>
                    <a:lnTo>
                      <a:pt x="349" y="30"/>
                    </a:lnTo>
                    <a:lnTo>
                      <a:pt x="347" y="32"/>
                    </a:lnTo>
                    <a:lnTo>
                      <a:pt x="346" y="32"/>
                    </a:lnTo>
                    <a:lnTo>
                      <a:pt x="344" y="32"/>
                    </a:lnTo>
                    <a:lnTo>
                      <a:pt x="344" y="30"/>
                    </a:lnTo>
                    <a:lnTo>
                      <a:pt x="342" y="30"/>
                    </a:lnTo>
                    <a:lnTo>
                      <a:pt x="342" y="32"/>
                    </a:lnTo>
                    <a:lnTo>
                      <a:pt x="342" y="34"/>
                    </a:lnTo>
                    <a:lnTo>
                      <a:pt x="342" y="36"/>
                    </a:lnTo>
                    <a:lnTo>
                      <a:pt x="342" y="38"/>
                    </a:lnTo>
                    <a:lnTo>
                      <a:pt x="342" y="40"/>
                    </a:lnTo>
                    <a:lnTo>
                      <a:pt x="342" y="42"/>
                    </a:lnTo>
                    <a:lnTo>
                      <a:pt x="340" y="42"/>
                    </a:lnTo>
                    <a:lnTo>
                      <a:pt x="340" y="44"/>
                    </a:lnTo>
                    <a:lnTo>
                      <a:pt x="340" y="46"/>
                    </a:lnTo>
                    <a:lnTo>
                      <a:pt x="340" y="48"/>
                    </a:lnTo>
                    <a:lnTo>
                      <a:pt x="342" y="48"/>
                    </a:lnTo>
                    <a:lnTo>
                      <a:pt x="342" y="46"/>
                    </a:lnTo>
                    <a:lnTo>
                      <a:pt x="344" y="46"/>
                    </a:lnTo>
                    <a:lnTo>
                      <a:pt x="346" y="46"/>
                    </a:lnTo>
                    <a:lnTo>
                      <a:pt x="347" y="44"/>
                    </a:lnTo>
                    <a:lnTo>
                      <a:pt x="349" y="44"/>
                    </a:lnTo>
                    <a:lnTo>
                      <a:pt x="351" y="44"/>
                    </a:lnTo>
                    <a:lnTo>
                      <a:pt x="353" y="44"/>
                    </a:lnTo>
                    <a:lnTo>
                      <a:pt x="355" y="44"/>
                    </a:lnTo>
                    <a:lnTo>
                      <a:pt x="357" y="44"/>
                    </a:lnTo>
                    <a:lnTo>
                      <a:pt x="359" y="44"/>
                    </a:lnTo>
                    <a:lnTo>
                      <a:pt x="359" y="46"/>
                    </a:lnTo>
                    <a:lnTo>
                      <a:pt x="361" y="46"/>
                    </a:lnTo>
                    <a:lnTo>
                      <a:pt x="363" y="46"/>
                    </a:lnTo>
                    <a:lnTo>
                      <a:pt x="365" y="46"/>
                    </a:lnTo>
                    <a:lnTo>
                      <a:pt x="367" y="46"/>
                    </a:lnTo>
                    <a:lnTo>
                      <a:pt x="369" y="46"/>
                    </a:lnTo>
                    <a:lnTo>
                      <a:pt x="367" y="46"/>
                    </a:lnTo>
                    <a:lnTo>
                      <a:pt x="369" y="48"/>
                    </a:lnTo>
                    <a:lnTo>
                      <a:pt x="369" y="50"/>
                    </a:lnTo>
                    <a:lnTo>
                      <a:pt x="370" y="50"/>
                    </a:lnTo>
                    <a:lnTo>
                      <a:pt x="369" y="50"/>
                    </a:lnTo>
                    <a:lnTo>
                      <a:pt x="370" y="50"/>
                    </a:lnTo>
                    <a:lnTo>
                      <a:pt x="370" y="52"/>
                    </a:lnTo>
                    <a:lnTo>
                      <a:pt x="372" y="52"/>
                    </a:lnTo>
                    <a:lnTo>
                      <a:pt x="372" y="53"/>
                    </a:lnTo>
                    <a:lnTo>
                      <a:pt x="372" y="55"/>
                    </a:lnTo>
                    <a:lnTo>
                      <a:pt x="374" y="55"/>
                    </a:lnTo>
                    <a:lnTo>
                      <a:pt x="372" y="55"/>
                    </a:lnTo>
                    <a:lnTo>
                      <a:pt x="374" y="55"/>
                    </a:lnTo>
                    <a:lnTo>
                      <a:pt x="372" y="55"/>
                    </a:lnTo>
                    <a:lnTo>
                      <a:pt x="372" y="57"/>
                    </a:lnTo>
                    <a:lnTo>
                      <a:pt x="374" y="57"/>
                    </a:lnTo>
                    <a:lnTo>
                      <a:pt x="372" y="57"/>
                    </a:lnTo>
                    <a:lnTo>
                      <a:pt x="374" y="57"/>
                    </a:lnTo>
                    <a:lnTo>
                      <a:pt x="376" y="57"/>
                    </a:lnTo>
                    <a:lnTo>
                      <a:pt x="376" y="59"/>
                    </a:lnTo>
                    <a:lnTo>
                      <a:pt x="378" y="59"/>
                    </a:lnTo>
                    <a:lnTo>
                      <a:pt x="376" y="59"/>
                    </a:lnTo>
                    <a:lnTo>
                      <a:pt x="378" y="61"/>
                    </a:lnTo>
                    <a:lnTo>
                      <a:pt x="376" y="61"/>
                    </a:lnTo>
                    <a:lnTo>
                      <a:pt x="378" y="61"/>
                    </a:lnTo>
                    <a:lnTo>
                      <a:pt x="378" y="63"/>
                    </a:lnTo>
                    <a:lnTo>
                      <a:pt x="380" y="65"/>
                    </a:lnTo>
                    <a:lnTo>
                      <a:pt x="378" y="65"/>
                    </a:lnTo>
                    <a:lnTo>
                      <a:pt x="378" y="67"/>
                    </a:lnTo>
                    <a:lnTo>
                      <a:pt x="380" y="67"/>
                    </a:lnTo>
                    <a:lnTo>
                      <a:pt x="378" y="67"/>
                    </a:lnTo>
                    <a:lnTo>
                      <a:pt x="380" y="67"/>
                    </a:lnTo>
                    <a:lnTo>
                      <a:pt x="380" y="69"/>
                    </a:lnTo>
                    <a:lnTo>
                      <a:pt x="380" y="71"/>
                    </a:lnTo>
                    <a:lnTo>
                      <a:pt x="382" y="71"/>
                    </a:lnTo>
                    <a:lnTo>
                      <a:pt x="382" y="73"/>
                    </a:lnTo>
                    <a:lnTo>
                      <a:pt x="380" y="73"/>
                    </a:lnTo>
                    <a:lnTo>
                      <a:pt x="382" y="73"/>
                    </a:lnTo>
                    <a:lnTo>
                      <a:pt x="382" y="75"/>
                    </a:lnTo>
                    <a:lnTo>
                      <a:pt x="382" y="77"/>
                    </a:lnTo>
                    <a:lnTo>
                      <a:pt x="382" y="78"/>
                    </a:lnTo>
                    <a:lnTo>
                      <a:pt x="382" y="80"/>
                    </a:lnTo>
                    <a:lnTo>
                      <a:pt x="384" y="78"/>
                    </a:lnTo>
                    <a:lnTo>
                      <a:pt x="382" y="78"/>
                    </a:lnTo>
                    <a:lnTo>
                      <a:pt x="384" y="78"/>
                    </a:lnTo>
                    <a:lnTo>
                      <a:pt x="384" y="80"/>
                    </a:lnTo>
                    <a:lnTo>
                      <a:pt x="382" y="80"/>
                    </a:lnTo>
                    <a:lnTo>
                      <a:pt x="382" y="82"/>
                    </a:lnTo>
                    <a:lnTo>
                      <a:pt x="384" y="82"/>
                    </a:lnTo>
                    <a:lnTo>
                      <a:pt x="382" y="82"/>
                    </a:lnTo>
                    <a:lnTo>
                      <a:pt x="384" y="84"/>
                    </a:lnTo>
                    <a:lnTo>
                      <a:pt x="384" y="86"/>
                    </a:lnTo>
                    <a:lnTo>
                      <a:pt x="386" y="86"/>
                    </a:lnTo>
                    <a:lnTo>
                      <a:pt x="386" y="84"/>
                    </a:lnTo>
                    <a:lnTo>
                      <a:pt x="386" y="86"/>
                    </a:lnTo>
                    <a:lnTo>
                      <a:pt x="388" y="86"/>
                    </a:lnTo>
                    <a:lnTo>
                      <a:pt x="388" y="88"/>
                    </a:lnTo>
                    <a:lnTo>
                      <a:pt x="390" y="88"/>
                    </a:lnTo>
                    <a:lnTo>
                      <a:pt x="388" y="88"/>
                    </a:lnTo>
                    <a:lnTo>
                      <a:pt x="388" y="90"/>
                    </a:lnTo>
                    <a:lnTo>
                      <a:pt x="390" y="90"/>
                    </a:lnTo>
                    <a:lnTo>
                      <a:pt x="388" y="90"/>
                    </a:lnTo>
                    <a:lnTo>
                      <a:pt x="388" y="92"/>
                    </a:lnTo>
                    <a:lnTo>
                      <a:pt x="386" y="92"/>
                    </a:lnTo>
                    <a:lnTo>
                      <a:pt x="386" y="94"/>
                    </a:lnTo>
                    <a:lnTo>
                      <a:pt x="384" y="94"/>
                    </a:lnTo>
                    <a:lnTo>
                      <a:pt x="386" y="94"/>
                    </a:lnTo>
                    <a:lnTo>
                      <a:pt x="384" y="94"/>
                    </a:lnTo>
                    <a:lnTo>
                      <a:pt x="384" y="96"/>
                    </a:lnTo>
                    <a:lnTo>
                      <a:pt x="384" y="98"/>
                    </a:lnTo>
                    <a:lnTo>
                      <a:pt x="384" y="100"/>
                    </a:lnTo>
                    <a:lnTo>
                      <a:pt x="386" y="100"/>
                    </a:lnTo>
                    <a:lnTo>
                      <a:pt x="384" y="100"/>
                    </a:lnTo>
                    <a:lnTo>
                      <a:pt x="384" y="102"/>
                    </a:lnTo>
                    <a:lnTo>
                      <a:pt x="382" y="102"/>
                    </a:lnTo>
                    <a:lnTo>
                      <a:pt x="382" y="103"/>
                    </a:lnTo>
                    <a:lnTo>
                      <a:pt x="382" y="105"/>
                    </a:lnTo>
                    <a:lnTo>
                      <a:pt x="384" y="105"/>
                    </a:lnTo>
                    <a:lnTo>
                      <a:pt x="382" y="105"/>
                    </a:lnTo>
                    <a:lnTo>
                      <a:pt x="380" y="107"/>
                    </a:lnTo>
                    <a:lnTo>
                      <a:pt x="380" y="109"/>
                    </a:lnTo>
                    <a:lnTo>
                      <a:pt x="380" y="111"/>
                    </a:lnTo>
                    <a:lnTo>
                      <a:pt x="382" y="113"/>
                    </a:lnTo>
                    <a:lnTo>
                      <a:pt x="384" y="115"/>
                    </a:lnTo>
                    <a:lnTo>
                      <a:pt x="386" y="115"/>
                    </a:lnTo>
                    <a:lnTo>
                      <a:pt x="388" y="117"/>
                    </a:lnTo>
                    <a:lnTo>
                      <a:pt x="390" y="115"/>
                    </a:lnTo>
                    <a:lnTo>
                      <a:pt x="392" y="115"/>
                    </a:lnTo>
                    <a:lnTo>
                      <a:pt x="394" y="117"/>
                    </a:lnTo>
                    <a:lnTo>
                      <a:pt x="395" y="115"/>
                    </a:lnTo>
                    <a:lnTo>
                      <a:pt x="397" y="115"/>
                    </a:lnTo>
                    <a:lnTo>
                      <a:pt x="399" y="115"/>
                    </a:lnTo>
                    <a:lnTo>
                      <a:pt x="401" y="115"/>
                    </a:lnTo>
                    <a:lnTo>
                      <a:pt x="399" y="117"/>
                    </a:lnTo>
                    <a:lnTo>
                      <a:pt x="399" y="119"/>
                    </a:lnTo>
                    <a:lnTo>
                      <a:pt x="401" y="119"/>
                    </a:lnTo>
                    <a:lnTo>
                      <a:pt x="401" y="121"/>
                    </a:lnTo>
                    <a:lnTo>
                      <a:pt x="403" y="121"/>
                    </a:lnTo>
                    <a:lnTo>
                      <a:pt x="403" y="123"/>
                    </a:lnTo>
                    <a:lnTo>
                      <a:pt x="403" y="125"/>
                    </a:lnTo>
                    <a:lnTo>
                      <a:pt x="401" y="125"/>
                    </a:lnTo>
                    <a:lnTo>
                      <a:pt x="401" y="126"/>
                    </a:lnTo>
                    <a:lnTo>
                      <a:pt x="403" y="126"/>
                    </a:lnTo>
                    <a:lnTo>
                      <a:pt x="403" y="128"/>
                    </a:lnTo>
                    <a:lnTo>
                      <a:pt x="405" y="130"/>
                    </a:lnTo>
                    <a:lnTo>
                      <a:pt x="405" y="132"/>
                    </a:lnTo>
                    <a:lnTo>
                      <a:pt x="403" y="132"/>
                    </a:lnTo>
                    <a:lnTo>
                      <a:pt x="403" y="134"/>
                    </a:lnTo>
                    <a:lnTo>
                      <a:pt x="401" y="136"/>
                    </a:lnTo>
                    <a:lnTo>
                      <a:pt x="403" y="136"/>
                    </a:lnTo>
                    <a:lnTo>
                      <a:pt x="403" y="138"/>
                    </a:lnTo>
                    <a:lnTo>
                      <a:pt x="401" y="140"/>
                    </a:lnTo>
                    <a:lnTo>
                      <a:pt x="401" y="142"/>
                    </a:lnTo>
                    <a:lnTo>
                      <a:pt x="399" y="142"/>
                    </a:lnTo>
                    <a:lnTo>
                      <a:pt x="399" y="144"/>
                    </a:lnTo>
                    <a:lnTo>
                      <a:pt x="399" y="146"/>
                    </a:lnTo>
                    <a:lnTo>
                      <a:pt x="397" y="146"/>
                    </a:lnTo>
                    <a:lnTo>
                      <a:pt x="397" y="148"/>
                    </a:lnTo>
                    <a:lnTo>
                      <a:pt x="397" y="150"/>
                    </a:lnTo>
                    <a:lnTo>
                      <a:pt x="395" y="150"/>
                    </a:lnTo>
                    <a:lnTo>
                      <a:pt x="395" y="151"/>
                    </a:lnTo>
                    <a:lnTo>
                      <a:pt x="395" y="153"/>
                    </a:lnTo>
                    <a:lnTo>
                      <a:pt x="397" y="153"/>
                    </a:lnTo>
                    <a:lnTo>
                      <a:pt x="395" y="153"/>
                    </a:lnTo>
                    <a:lnTo>
                      <a:pt x="395" y="155"/>
                    </a:lnTo>
                    <a:lnTo>
                      <a:pt x="397" y="157"/>
                    </a:lnTo>
                    <a:lnTo>
                      <a:pt x="395" y="157"/>
                    </a:lnTo>
                    <a:lnTo>
                      <a:pt x="397" y="157"/>
                    </a:lnTo>
                    <a:lnTo>
                      <a:pt x="397" y="159"/>
                    </a:lnTo>
                    <a:lnTo>
                      <a:pt x="397" y="161"/>
                    </a:lnTo>
                    <a:lnTo>
                      <a:pt x="399" y="161"/>
                    </a:lnTo>
                    <a:lnTo>
                      <a:pt x="399" y="163"/>
                    </a:lnTo>
                    <a:lnTo>
                      <a:pt x="401" y="163"/>
                    </a:lnTo>
                    <a:lnTo>
                      <a:pt x="401" y="165"/>
                    </a:lnTo>
                    <a:lnTo>
                      <a:pt x="401" y="167"/>
                    </a:lnTo>
                    <a:lnTo>
                      <a:pt x="403" y="167"/>
                    </a:lnTo>
                    <a:lnTo>
                      <a:pt x="405" y="167"/>
                    </a:lnTo>
                    <a:lnTo>
                      <a:pt x="405" y="169"/>
                    </a:lnTo>
                    <a:lnTo>
                      <a:pt x="407" y="171"/>
                    </a:lnTo>
                    <a:lnTo>
                      <a:pt x="407" y="173"/>
                    </a:lnTo>
                    <a:lnTo>
                      <a:pt x="407" y="175"/>
                    </a:lnTo>
                    <a:lnTo>
                      <a:pt x="407" y="176"/>
                    </a:lnTo>
                    <a:lnTo>
                      <a:pt x="407" y="178"/>
                    </a:lnTo>
                    <a:lnTo>
                      <a:pt x="407" y="180"/>
                    </a:lnTo>
                    <a:lnTo>
                      <a:pt x="407" y="182"/>
                    </a:lnTo>
                    <a:lnTo>
                      <a:pt x="407" y="184"/>
                    </a:lnTo>
                    <a:lnTo>
                      <a:pt x="407" y="186"/>
                    </a:lnTo>
                    <a:lnTo>
                      <a:pt x="407" y="188"/>
                    </a:lnTo>
                    <a:lnTo>
                      <a:pt x="409" y="188"/>
                    </a:lnTo>
                    <a:lnTo>
                      <a:pt x="411" y="188"/>
                    </a:lnTo>
                    <a:lnTo>
                      <a:pt x="413" y="188"/>
                    </a:lnTo>
                    <a:lnTo>
                      <a:pt x="415" y="188"/>
                    </a:lnTo>
                    <a:lnTo>
                      <a:pt x="417" y="188"/>
                    </a:lnTo>
                    <a:lnTo>
                      <a:pt x="417" y="190"/>
                    </a:lnTo>
                    <a:lnTo>
                      <a:pt x="419" y="192"/>
                    </a:lnTo>
                    <a:lnTo>
                      <a:pt x="419" y="194"/>
                    </a:lnTo>
                    <a:lnTo>
                      <a:pt x="420" y="194"/>
                    </a:lnTo>
                    <a:lnTo>
                      <a:pt x="420" y="196"/>
                    </a:lnTo>
                    <a:lnTo>
                      <a:pt x="422" y="196"/>
                    </a:lnTo>
                    <a:lnTo>
                      <a:pt x="424" y="196"/>
                    </a:lnTo>
                    <a:lnTo>
                      <a:pt x="424" y="194"/>
                    </a:lnTo>
                    <a:lnTo>
                      <a:pt x="426" y="194"/>
                    </a:lnTo>
                    <a:lnTo>
                      <a:pt x="426" y="192"/>
                    </a:lnTo>
                    <a:lnTo>
                      <a:pt x="428" y="194"/>
                    </a:lnTo>
                    <a:lnTo>
                      <a:pt x="430" y="194"/>
                    </a:lnTo>
                    <a:lnTo>
                      <a:pt x="430" y="196"/>
                    </a:lnTo>
                    <a:lnTo>
                      <a:pt x="432" y="198"/>
                    </a:lnTo>
                    <a:lnTo>
                      <a:pt x="432" y="200"/>
                    </a:lnTo>
                    <a:lnTo>
                      <a:pt x="430" y="200"/>
                    </a:lnTo>
                    <a:lnTo>
                      <a:pt x="430" y="201"/>
                    </a:lnTo>
                    <a:lnTo>
                      <a:pt x="430" y="203"/>
                    </a:lnTo>
                    <a:lnTo>
                      <a:pt x="430" y="205"/>
                    </a:lnTo>
                    <a:lnTo>
                      <a:pt x="430" y="207"/>
                    </a:lnTo>
                    <a:lnTo>
                      <a:pt x="428" y="207"/>
                    </a:lnTo>
                    <a:lnTo>
                      <a:pt x="428" y="209"/>
                    </a:lnTo>
                    <a:lnTo>
                      <a:pt x="428" y="211"/>
                    </a:lnTo>
                    <a:lnTo>
                      <a:pt x="426" y="213"/>
                    </a:lnTo>
                    <a:lnTo>
                      <a:pt x="426" y="215"/>
                    </a:lnTo>
                    <a:lnTo>
                      <a:pt x="426" y="217"/>
                    </a:lnTo>
                    <a:lnTo>
                      <a:pt x="426" y="219"/>
                    </a:lnTo>
                    <a:lnTo>
                      <a:pt x="426" y="221"/>
                    </a:lnTo>
                    <a:lnTo>
                      <a:pt x="428" y="223"/>
                    </a:lnTo>
                    <a:lnTo>
                      <a:pt x="428" y="225"/>
                    </a:lnTo>
                    <a:lnTo>
                      <a:pt x="428" y="226"/>
                    </a:lnTo>
                    <a:lnTo>
                      <a:pt x="426" y="226"/>
                    </a:lnTo>
                    <a:lnTo>
                      <a:pt x="424" y="226"/>
                    </a:lnTo>
                    <a:lnTo>
                      <a:pt x="422" y="226"/>
                    </a:lnTo>
                    <a:lnTo>
                      <a:pt x="422" y="228"/>
                    </a:lnTo>
                    <a:lnTo>
                      <a:pt x="422" y="230"/>
                    </a:lnTo>
                    <a:lnTo>
                      <a:pt x="424" y="230"/>
                    </a:lnTo>
                    <a:lnTo>
                      <a:pt x="424" y="232"/>
                    </a:lnTo>
                    <a:lnTo>
                      <a:pt x="424" y="234"/>
                    </a:lnTo>
                    <a:lnTo>
                      <a:pt x="422" y="234"/>
                    </a:lnTo>
                    <a:lnTo>
                      <a:pt x="422" y="236"/>
                    </a:lnTo>
                    <a:lnTo>
                      <a:pt x="422" y="238"/>
                    </a:lnTo>
                    <a:lnTo>
                      <a:pt x="420" y="240"/>
                    </a:lnTo>
                    <a:lnTo>
                      <a:pt x="420" y="242"/>
                    </a:lnTo>
                    <a:lnTo>
                      <a:pt x="420" y="244"/>
                    </a:lnTo>
                    <a:lnTo>
                      <a:pt x="420" y="246"/>
                    </a:lnTo>
                    <a:lnTo>
                      <a:pt x="420" y="248"/>
                    </a:lnTo>
                    <a:lnTo>
                      <a:pt x="419" y="250"/>
                    </a:lnTo>
                    <a:lnTo>
                      <a:pt x="419" y="251"/>
                    </a:lnTo>
                    <a:lnTo>
                      <a:pt x="417" y="251"/>
                    </a:lnTo>
                    <a:lnTo>
                      <a:pt x="417" y="253"/>
                    </a:lnTo>
                    <a:lnTo>
                      <a:pt x="419" y="253"/>
                    </a:lnTo>
                    <a:lnTo>
                      <a:pt x="419" y="255"/>
                    </a:lnTo>
                    <a:lnTo>
                      <a:pt x="419" y="257"/>
                    </a:lnTo>
                    <a:lnTo>
                      <a:pt x="417" y="257"/>
                    </a:lnTo>
                    <a:lnTo>
                      <a:pt x="417" y="259"/>
                    </a:lnTo>
                    <a:lnTo>
                      <a:pt x="417" y="261"/>
                    </a:lnTo>
                    <a:lnTo>
                      <a:pt x="417" y="263"/>
                    </a:lnTo>
                    <a:lnTo>
                      <a:pt x="417" y="265"/>
                    </a:lnTo>
                    <a:lnTo>
                      <a:pt x="417" y="267"/>
                    </a:lnTo>
                    <a:lnTo>
                      <a:pt x="417" y="269"/>
                    </a:lnTo>
                    <a:lnTo>
                      <a:pt x="417" y="271"/>
                    </a:lnTo>
                    <a:lnTo>
                      <a:pt x="419" y="271"/>
                    </a:lnTo>
                    <a:lnTo>
                      <a:pt x="419" y="273"/>
                    </a:lnTo>
                    <a:lnTo>
                      <a:pt x="419" y="275"/>
                    </a:lnTo>
                    <a:lnTo>
                      <a:pt x="417" y="275"/>
                    </a:lnTo>
                    <a:lnTo>
                      <a:pt x="417" y="276"/>
                    </a:lnTo>
                    <a:lnTo>
                      <a:pt x="417" y="278"/>
                    </a:lnTo>
                    <a:lnTo>
                      <a:pt x="417" y="280"/>
                    </a:lnTo>
                    <a:lnTo>
                      <a:pt x="417" y="282"/>
                    </a:lnTo>
                    <a:lnTo>
                      <a:pt x="419" y="282"/>
                    </a:lnTo>
                    <a:lnTo>
                      <a:pt x="417" y="284"/>
                    </a:lnTo>
                    <a:lnTo>
                      <a:pt x="415" y="286"/>
                    </a:lnTo>
                    <a:lnTo>
                      <a:pt x="415" y="288"/>
                    </a:lnTo>
                    <a:lnTo>
                      <a:pt x="413" y="290"/>
                    </a:lnTo>
                    <a:lnTo>
                      <a:pt x="413" y="292"/>
                    </a:lnTo>
                    <a:lnTo>
                      <a:pt x="413" y="294"/>
                    </a:lnTo>
                    <a:lnTo>
                      <a:pt x="415" y="296"/>
                    </a:lnTo>
                    <a:lnTo>
                      <a:pt x="417" y="296"/>
                    </a:lnTo>
                    <a:lnTo>
                      <a:pt x="417" y="298"/>
                    </a:lnTo>
                    <a:lnTo>
                      <a:pt x="415" y="300"/>
                    </a:lnTo>
                    <a:lnTo>
                      <a:pt x="413" y="301"/>
                    </a:lnTo>
                    <a:lnTo>
                      <a:pt x="413" y="303"/>
                    </a:lnTo>
                    <a:lnTo>
                      <a:pt x="413" y="305"/>
                    </a:lnTo>
                    <a:lnTo>
                      <a:pt x="411" y="307"/>
                    </a:lnTo>
                    <a:lnTo>
                      <a:pt x="411" y="309"/>
                    </a:lnTo>
                    <a:lnTo>
                      <a:pt x="411" y="311"/>
                    </a:lnTo>
                    <a:lnTo>
                      <a:pt x="409" y="311"/>
                    </a:lnTo>
                    <a:lnTo>
                      <a:pt x="409" y="313"/>
                    </a:lnTo>
                    <a:lnTo>
                      <a:pt x="411" y="313"/>
                    </a:lnTo>
                    <a:lnTo>
                      <a:pt x="413" y="313"/>
                    </a:lnTo>
                    <a:lnTo>
                      <a:pt x="413" y="315"/>
                    </a:lnTo>
                    <a:lnTo>
                      <a:pt x="411" y="317"/>
                    </a:lnTo>
                    <a:lnTo>
                      <a:pt x="409" y="317"/>
                    </a:lnTo>
                    <a:lnTo>
                      <a:pt x="411" y="319"/>
                    </a:lnTo>
                    <a:lnTo>
                      <a:pt x="411" y="321"/>
                    </a:lnTo>
                    <a:lnTo>
                      <a:pt x="413" y="321"/>
                    </a:lnTo>
                    <a:lnTo>
                      <a:pt x="415" y="321"/>
                    </a:lnTo>
                    <a:lnTo>
                      <a:pt x="415" y="323"/>
                    </a:lnTo>
                    <a:lnTo>
                      <a:pt x="417" y="321"/>
                    </a:lnTo>
                    <a:lnTo>
                      <a:pt x="419" y="321"/>
                    </a:lnTo>
                    <a:lnTo>
                      <a:pt x="419" y="323"/>
                    </a:lnTo>
                    <a:lnTo>
                      <a:pt x="419" y="325"/>
                    </a:lnTo>
                    <a:lnTo>
                      <a:pt x="420" y="325"/>
                    </a:lnTo>
                    <a:lnTo>
                      <a:pt x="420" y="328"/>
                    </a:lnTo>
                    <a:lnTo>
                      <a:pt x="422" y="328"/>
                    </a:lnTo>
                    <a:lnTo>
                      <a:pt x="422" y="330"/>
                    </a:lnTo>
                    <a:lnTo>
                      <a:pt x="424" y="330"/>
                    </a:lnTo>
                    <a:lnTo>
                      <a:pt x="424" y="332"/>
                    </a:lnTo>
                    <a:lnTo>
                      <a:pt x="424" y="334"/>
                    </a:lnTo>
                    <a:lnTo>
                      <a:pt x="424" y="336"/>
                    </a:lnTo>
                    <a:lnTo>
                      <a:pt x="426" y="334"/>
                    </a:lnTo>
                    <a:lnTo>
                      <a:pt x="428" y="334"/>
                    </a:lnTo>
                    <a:lnTo>
                      <a:pt x="428" y="336"/>
                    </a:lnTo>
                    <a:lnTo>
                      <a:pt x="428" y="338"/>
                    </a:lnTo>
                    <a:lnTo>
                      <a:pt x="430" y="338"/>
                    </a:lnTo>
                    <a:lnTo>
                      <a:pt x="430" y="340"/>
                    </a:lnTo>
                    <a:lnTo>
                      <a:pt x="432" y="340"/>
                    </a:lnTo>
                    <a:lnTo>
                      <a:pt x="434" y="338"/>
                    </a:lnTo>
                    <a:lnTo>
                      <a:pt x="436" y="338"/>
                    </a:lnTo>
                    <a:lnTo>
                      <a:pt x="438" y="340"/>
                    </a:lnTo>
                    <a:lnTo>
                      <a:pt x="438" y="338"/>
                    </a:lnTo>
                    <a:lnTo>
                      <a:pt x="440" y="338"/>
                    </a:lnTo>
                    <a:lnTo>
                      <a:pt x="440" y="340"/>
                    </a:lnTo>
                    <a:lnTo>
                      <a:pt x="442" y="340"/>
                    </a:lnTo>
                    <a:lnTo>
                      <a:pt x="444" y="338"/>
                    </a:lnTo>
                    <a:lnTo>
                      <a:pt x="445" y="338"/>
                    </a:lnTo>
                    <a:lnTo>
                      <a:pt x="445" y="336"/>
                    </a:lnTo>
                    <a:lnTo>
                      <a:pt x="447" y="336"/>
                    </a:lnTo>
                    <a:lnTo>
                      <a:pt x="449" y="334"/>
                    </a:lnTo>
                    <a:lnTo>
                      <a:pt x="451" y="334"/>
                    </a:lnTo>
                    <a:lnTo>
                      <a:pt x="451" y="332"/>
                    </a:lnTo>
                    <a:lnTo>
                      <a:pt x="453" y="332"/>
                    </a:lnTo>
                    <a:lnTo>
                      <a:pt x="451" y="330"/>
                    </a:lnTo>
                    <a:lnTo>
                      <a:pt x="451" y="328"/>
                    </a:lnTo>
                    <a:lnTo>
                      <a:pt x="453" y="328"/>
                    </a:lnTo>
                    <a:lnTo>
                      <a:pt x="453" y="326"/>
                    </a:lnTo>
                    <a:lnTo>
                      <a:pt x="453" y="325"/>
                    </a:lnTo>
                    <a:lnTo>
                      <a:pt x="453" y="323"/>
                    </a:lnTo>
                    <a:lnTo>
                      <a:pt x="453" y="321"/>
                    </a:lnTo>
                    <a:lnTo>
                      <a:pt x="455" y="317"/>
                    </a:lnTo>
                    <a:lnTo>
                      <a:pt x="459" y="317"/>
                    </a:lnTo>
                    <a:lnTo>
                      <a:pt x="461" y="317"/>
                    </a:lnTo>
                    <a:lnTo>
                      <a:pt x="461" y="319"/>
                    </a:lnTo>
                    <a:lnTo>
                      <a:pt x="463" y="319"/>
                    </a:lnTo>
                    <a:lnTo>
                      <a:pt x="465" y="319"/>
                    </a:lnTo>
                    <a:lnTo>
                      <a:pt x="465" y="321"/>
                    </a:lnTo>
                    <a:lnTo>
                      <a:pt x="467" y="319"/>
                    </a:lnTo>
                    <a:lnTo>
                      <a:pt x="467" y="317"/>
                    </a:lnTo>
                    <a:lnTo>
                      <a:pt x="468" y="319"/>
                    </a:lnTo>
                    <a:lnTo>
                      <a:pt x="470" y="321"/>
                    </a:lnTo>
                    <a:lnTo>
                      <a:pt x="472" y="321"/>
                    </a:lnTo>
                    <a:lnTo>
                      <a:pt x="472" y="319"/>
                    </a:lnTo>
                    <a:lnTo>
                      <a:pt x="472" y="317"/>
                    </a:lnTo>
                    <a:lnTo>
                      <a:pt x="472" y="315"/>
                    </a:lnTo>
                    <a:lnTo>
                      <a:pt x="476" y="313"/>
                    </a:lnTo>
                    <a:lnTo>
                      <a:pt x="478" y="313"/>
                    </a:lnTo>
                    <a:lnTo>
                      <a:pt x="480" y="313"/>
                    </a:lnTo>
                    <a:lnTo>
                      <a:pt x="480" y="315"/>
                    </a:lnTo>
                    <a:lnTo>
                      <a:pt x="482" y="317"/>
                    </a:lnTo>
                    <a:lnTo>
                      <a:pt x="484" y="317"/>
                    </a:lnTo>
                    <a:lnTo>
                      <a:pt x="488" y="311"/>
                    </a:lnTo>
                    <a:lnTo>
                      <a:pt x="490" y="311"/>
                    </a:lnTo>
                    <a:lnTo>
                      <a:pt x="490" y="309"/>
                    </a:lnTo>
                    <a:lnTo>
                      <a:pt x="492" y="309"/>
                    </a:lnTo>
                    <a:lnTo>
                      <a:pt x="492" y="311"/>
                    </a:lnTo>
                    <a:lnTo>
                      <a:pt x="493" y="311"/>
                    </a:lnTo>
                    <a:lnTo>
                      <a:pt x="493" y="309"/>
                    </a:lnTo>
                    <a:lnTo>
                      <a:pt x="492" y="307"/>
                    </a:lnTo>
                    <a:lnTo>
                      <a:pt x="493" y="305"/>
                    </a:lnTo>
                    <a:lnTo>
                      <a:pt x="493" y="303"/>
                    </a:lnTo>
                    <a:lnTo>
                      <a:pt x="495" y="301"/>
                    </a:lnTo>
                    <a:lnTo>
                      <a:pt x="495" y="300"/>
                    </a:lnTo>
                    <a:lnTo>
                      <a:pt x="497" y="298"/>
                    </a:lnTo>
                    <a:lnTo>
                      <a:pt x="497" y="296"/>
                    </a:lnTo>
                    <a:lnTo>
                      <a:pt x="497" y="294"/>
                    </a:lnTo>
                    <a:lnTo>
                      <a:pt x="499" y="294"/>
                    </a:lnTo>
                    <a:lnTo>
                      <a:pt x="501" y="294"/>
                    </a:lnTo>
                    <a:lnTo>
                      <a:pt x="499" y="294"/>
                    </a:lnTo>
                    <a:lnTo>
                      <a:pt x="501" y="296"/>
                    </a:lnTo>
                    <a:lnTo>
                      <a:pt x="501" y="298"/>
                    </a:lnTo>
                    <a:lnTo>
                      <a:pt x="503" y="298"/>
                    </a:lnTo>
                    <a:lnTo>
                      <a:pt x="503" y="300"/>
                    </a:lnTo>
                    <a:lnTo>
                      <a:pt x="503" y="301"/>
                    </a:lnTo>
                    <a:lnTo>
                      <a:pt x="501" y="303"/>
                    </a:lnTo>
                    <a:lnTo>
                      <a:pt x="503" y="305"/>
                    </a:lnTo>
                    <a:lnTo>
                      <a:pt x="501" y="307"/>
                    </a:lnTo>
                    <a:lnTo>
                      <a:pt x="503" y="307"/>
                    </a:lnTo>
                    <a:lnTo>
                      <a:pt x="505" y="307"/>
                    </a:lnTo>
                    <a:lnTo>
                      <a:pt x="505" y="305"/>
                    </a:lnTo>
                    <a:lnTo>
                      <a:pt x="507" y="305"/>
                    </a:lnTo>
                    <a:lnTo>
                      <a:pt x="509" y="303"/>
                    </a:lnTo>
                    <a:lnTo>
                      <a:pt x="511" y="303"/>
                    </a:lnTo>
                    <a:lnTo>
                      <a:pt x="511" y="305"/>
                    </a:lnTo>
                    <a:lnTo>
                      <a:pt x="513" y="305"/>
                    </a:lnTo>
                    <a:lnTo>
                      <a:pt x="513" y="307"/>
                    </a:lnTo>
                    <a:lnTo>
                      <a:pt x="513" y="309"/>
                    </a:lnTo>
                    <a:lnTo>
                      <a:pt x="511" y="309"/>
                    </a:lnTo>
                    <a:lnTo>
                      <a:pt x="509" y="311"/>
                    </a:lnTo>
                    <a:lnTo>
                      <a:pt x="509" y="315"/>
                    </a:lnTo>
                    <a:lnTo>
                      <a:pt x="509" y="317"/>
                    </a:lnTo>
                    <a:lnTo>
                      <a:pt x="509" y="319"/>
                    </a:lnTo>
                    <a:lnTo>
                      <a:pt x="511" y="321"/>
                    </a:lnTo>
                    <a:lnTo>
                      <a:pt x="511" y="323"/>
                    </a:lnTo>
                    <a:lnTo>
                      <a:pt x="511" y="325"/>
                    </a:lnTo>
                    <a:lnTo>
                      <a:pt x="511" y="326"/>
                    </a:lnTo>
                    <a:lnTo>
                      <a:pt x="511" y="328"/>
                    </a:lnTo>
                    <a:lnTo>
                      <a:pt x="511" y="330"/>
                    </a:lnTo>
                    <a:lnTo>
                      <a:pt x="513" y="334"/>
                    </a:lnTo>
                    <a:lnTo>
                      <a:pt x="515" y="334"/>
                    </a:lnTo>
                    <a:lnTo>
                      <a:pt x="515" y="332"/>
                    </a:lnTo>
                    <a:lnTo>
                      <a:pt x="515" y="330"/>
                    </a:lnTo>
                    <a:lnTo>
                      <a:pt x="517" y="330"/>
                    </a:lnTo>
                    <a:lnTo>
                      <a:pt x="517" y="328"/>
                    </a:lnTo>
                    <a:lnTo>
                      <a:pt x="517" y="326"/>
                    </a:lnTo>
                    <a:lnTo>
                      <a:pt x="515" y="326"/>
                    </a:lnTo>
                    <a:lnTo>
                      <a:pt x="515" y="325"/>
                    </a:lnTo>
                    <a:lnTo>
                      <a:pt x="513" y="325"/>
                    </a:lnTo>
                    <a:lnTo>
                      <a:pt x="513" y="323"/>
                    </a:lnTo>
                    <a:lnTo>
                      <a:pt x="513" y="321"/>
                    </a:lnTo>
                    <a:lnTo>
                      <a:pt x="515" y="321"/>
                    </a:lnTo>
                    <a:lnTo>
                      <a:pt x="515" y="319"/>
                    </a:lnTo>
                    <a:lnTo>
                      <a:pt x="515" y="321"/>
                    </a:lnTo>
                    <a:lnTo>
                      <a:pt x="515" y="323"/>
                    </a:lnTo>
                    <a:lnTo>
                      <a:pt x="517" y="323"/>
                    </a:lnTo>
                    <a:lnTo>
                      <a:pt x="518" y="323"/>
                    </a:lnTo>
                    <a:lnTo>
                      <a:pt x="518" y="321"/>
                    </a:lnTo>
                    <a:lnTo>
                      <a:pt x="518" y="319"/>
                    </a:lnTo>
                    <a:lnTo>
                      <a:pt x="520" y="317"/>
                    </a:lnTo>
                    <a:lnTo>
                      <a:pt x="522" y="317"/>
                    </a:lnTo>
                    <a:lnTo>
                      <a:pt x="522" y="315"/>
                    </a:lnTo>
                    <a:lnTo>
                      <a:pt x="524" y="315"/>
                    </a:lnTo>
                    <a:lnTo>
                      <a:pt x="524" y="313"/>
                    </a:lnTo>
                    <a:lnTo>
                      <a:pt x="524" y="315"/>
                    </a:lnTo>
                    <a:lnTo>
                      <a:pt x="526" y="315"/>
                    </a:lnTo>
                    <a:lnTo>
                      <a:pt x="528" y="313"/>
                    </a:lnTo>
                    <a:lnTo>
                      <a:pt x="530" y="313"/>
                    </a:lnTo>
                    <a:lnTo>
                      <a:pt x="530" y="311"/>
                    </a:lnTo>
                    <a:lnTo>
                      <a:pt x="532" y="311"/>
                    </a:lnTo>
                    <a:lnTo>
                      <a:pt x="534" y="311"/>
                    </a:lnTo>
                    <a:lnTo>
                      <a:pt x="536" y="311"/>
                    </a:lnTo>
                    <a:lnTo>
                      <a:pt x="536" y="309"/>
                    </a:lnTo>
                    <a:lnTo>
                      <a:pt x="534" y="307"/>
                    </a:lnTo>
                    <a:lnTo>
                      <a:pt x="536" y="307"/>
                    </a:lnTo>
                    <a:lnTo>
                      <a:pt x="536" y="305"/>
                    </a:lnTo>
                    <a:lnTo>
                      <a:pt x="538" y="305"/>
                    </a:lnTo>
                    <a:lnTo>
                      <a:pt x="538" y="303"/>
                    </a:lnTo>
                    <a:lnTo>
                      <a:pt x="538" y="301"/>
                    </a:lnTo>
                    <a:lnTo>
                      <a:pt x="538" y="300"/>
                    </a:lnTo>
                    <a:lnTo>
                      <a:pt x="540" y="298"/>
                    </a:lnTo>
                    <a:lnTo>
                      <a:pt x="538" y="298"/>
                    </a:lnTo>
                    <a:lnTo>
                      <a:pt x="536" y="298"/>
                    </a:lnTo>
                    <a:lnTo>
                      <a:pt x="536" y="296"/>
                    </a:lnTo>
                    <a:lnTo>
                      <a:pt x="536" y="294"/>
                    </a:lnTo>
                    <a:lnTo>
                      <a:pt x="536" y="292"/>
                    </a:lnTo>
                    <a:lnTo>
                      <a:pt x="538" y="292"/>
                    </a:lnTo>
                    <a:lnTo>
                      <a:pt x="538" y="290"/>
                    </a:lnTo>
                    <a:lnTo>
                      <a:pt x="538" y="288"/>
                    </a:lnTo>
                    <a:lnTo>
                      <a:pt x="540" y="288"/>
                    </a:lnTo>
                    <a:lnTo>
                      <a:pt x="540" y="286"/>
                    </a:lnTo>
                    <a:lnTo>
                      <a:pt x="540" y="284"/>
                    </a:lnTo>
                    <a:lnTo>
                      <a:pt x="540" y="282"/>
                    </a:lnTo>
                    <a:lnTo>
                      <a:pt x="538" y="282"/>
                    </a:lnTo>
                    <a:lnTo>
                      <a:pt x="538" y="280"/>
                    </a:lnTo>
                    <a:lnTo>
                      <a:pt x="540" y="280"/>
                    </a:lnTo>
                    <a:lnTo>
                      <a:pt x="540" y="278"/>
                    </a:lnTo>
                    <a:lnTo>
                      <a:pt x="541" y="278"/>
                    </a:lnTo>
                    <a:lnTo>
                      <a:pt x="543" y="278"/>
                    </a:lnTo>
                    <a:lnTo>
                      <a:pt x="543" y="276"/>
                    </a:lnTo>
                    <a:lnTo>
                      <a:pt x="545" y="276"/>
                    </a:lnTo>
                    <a:lnTo>
                      <a:pt x="545" y="275"/>
                    </a:lnTo>
                    <a:lnTo>
                      <a:pt x="545" y="273"/>
                    </a:lnTo>
                    <a:lnTo>
                      <a:pt x="547" y="273"/>
                    </a:lnTo>
                    <a:lnTo>
                      <a:pt x="547" y="275"/>
                    </a:lnTo>
                    <a:lnTo>
                      <a:pt x="547" y="273"/>
                    </a:lnTo>
                    <a:lnTo>
                      <a:pt x="549" y="273"/>
                    </a:lnTo>
                    <a:lnTo>
                      <a:pt x="549" y="271"/>
                    </a:lnTo>
                    <a:lnTo>
                      <a:pt x="549" y="269"/>
                    </a:lnTo>
                    <a:lnTo>
                      <a:pt x="551" y="267"/>
                    </a:lnTo>
                    <a:lnTo>
                      <a:pt x="553" y="269"/>
                    </a:lnTo>
                    <a:lnTo>
                      <a:pt x="553" y="267"/>
                    </a:lnTo>
                    <a:lnTo>
                      <a:pt x="553" y="265"/>
                    </a:lnTo>
                    <a:lnTo>
                      <a:pt x="555" y="265"/>
                    </a:lnTo>
                    <a:lnTo>
                      <a:pt x="555" y="263"/>
                    </a:lnTo>
                    <a:lnTo>
                      <a:pt x="553" y="263"/>
                    </a:lnTo>
                    <a:lnTo>
                      <a:pt x="553" y="261"/>
                    </a:lnTo>
                    <a:lnTo>
                      <a:pt x="555" y="261"/>
                    </a:lnTo>
                    <a:lnTo>
                      <a:pt x="555" y="259"/>
                    </a:lnTo>
                    <a:lnTo>
                      <a:pt x="555" y="257"/>
                    </a:lnTo>
                    <a:lnTo>
                      <a:pt x="557" y="255"/>
                    </a:lnTo>
                    <a:lnTo>
                      <a:pt x="559" y="253"/>
                    </a:lnTo>
                    <a:lnTo>
                      <a:pt x="559" y="251"/>
                    </a:lnTo>
                    <a:lnTo>
                      <a:pt x="561" y="251"/>
                    </a:lnTo>
                    <a:lnTo>
                      <a:pt x="559" y="251"/>
                    </a:lnTo>
                    <a:lnTo>
                      <a:pt x="559" y="250"/>
                    </a:lnTo>
                    <a:lnTo>
                      <a:pt x="557" y="250"/>
                    </a:lnTo>
                    <a:lnTo>
                      <a:pt x="555" y="250"/>
                    </a:lnTo>
                    <a:lnTo>
                      <a:pt x="553" y="250"/>
                    </a:lnTo>
                    <a:lnTo>
                      <a:pt x="551" y="250"/>
                    </a:lnTo>
                    <a:lnTo>
                      <a:pt x="551" y="248"/>
                    </a:lnTo>
                    <a:lnTo>
                      <a:pt x="549" y="248"/>
                    </a:lnTo>
                    <a:lnTo>
                      <a:pt x="547" y="248"/>
                    </a:lnTo>
                    <a:lnTo>
                      <a:pt x="545" y="248"/>
                    </a:lnTo>
                    <a:lnTo>
                      <a:pt x="545" y="246"/>
                    </a:lnTo>
                    <a:lnTo>
                      <a:pt x="543" y="246"/>
                    </a:lnTo>
                    <a:lnTo>
                      <a:pt x="543" y="244"/>
                    </a:lnTo>
                    <a:lnTo>
                      <a:pt x="541" y="244"/>
                    </a:lnTo>
                    <a:lnTo>
                      <a:pt x="540" y="242"/>
                    </a:lnTo>
                    <a:lnTo>
                      <a:pt x="541" y="240"/>
                    </a:lnTo>
                    <a:lnTo>
                      <a:pt x="543" y="240"/>
                    </a:lnTo>
                    <a:lnTo>
                      <a:pt x="545" y="238"/>
                    </a:lnTo>
                    <a:lnTo>
                      <a:pt x="547" y="236"/>
                    </a:lnTo>
                    <a:lnTo>
                      <a:pt x="547" y="234"/>
                    </a:lnTo>
                    <a:lnTo>
                      <a:pt x="549" y="232"/>
                    </a:lnTo>
                    <a:lnTo>
                      <a:pt x="549" y="230"/>
                    </a:lnTo>
                    <a:lnTo>
                      <a:pt x="549" y="226"/>
                    </a:lnTo>
                    <a:lnTo>
                      <a:pt x="549" y="225"/>
                    </a:lnTo>
                    <a:lnTo>
                      <a:pt x="549" y="223"/>
                    </a:lnTo>
                    <a:lnTo>
                      <a:pt x="551" y="219"/>
                    </a:lnTo>
                    <a:lnTo>
                      <a:pt x="551" y="217"/>
                    </a:lnTo>
                    <a:lnTo>
                      <a:pt x="551" y="215"/>
                    </a:lnTo>
                    <a:lnTo>
                      <a:pt x="553" y="213"/>
                    </a:lnTo>
                    <a:lnTo>
                      <a:pt x="555" y="211"/>
                    </a:lnTo>
                    <a:lnTo>
                      <a:pt x="555" y="209"/>
                    </a:lnTo>
                    <a:lnTo>
                      <a:pt x="557" y="207"/>
                    </a:lnTo>
                    <a:lnTo>
                      <a:pt x="557" y="209"/>
                    </a:lnTo>
                    <a:lnTo>
                      <a:pt x="559" y="207"/>
                    </a:lnTo>
                    <a:lnTo>
                      <a:pt x="561" y="203"/>
                    </a:lnTo>
                    <a:lnTo>
                      <a:pt x="561" y="201"/>
                    </a:lnTo>
                    <a:lnTo>
                      <a:pt x="563" y="201"/>
                    </a:lnTo>
                    <a:lnTo>
                      <a:pt x="565" y="200"/>
                    </a:lnTo>
                    <a:lnTo>
                      <a:pt x="570" y="200"/>
                    </a:lnTo>
                    <a:lnTo>
                      <a:pt x="574" y="198"/>
                    </a:lnTo>
                    <a:lnTo>
                      <a:pt x="574" y="196"/>
                    </a:lnTo>
                    <a:lnTo>
                      <a:pt x="578" y="196"/>
                    </a:lnTo>
                    <a:lnTo>
                      <a:pt x="580" y="196"/>
                    </a:lnTo>
                    <a:lnTo>
                      <a:pt x="582" y="194"/>
                    </a:lnTo>
                    <a:lnTo>
                      <a:pt x="582" y="196"/>
                    </a:lnTo>
                    <a:lnTo>
                      <a:pt x="584" y="196"/>
                    </a:lnTo>
                    <a:lnTo>
                      <a:pt x="586" y="196"/>
                    </a:lnTo>
                    <a:lnTo>
                      <a:pt x="590" y="196"/>
                    </a:lnTo>
                    <a:lnTo>
                      <a:pt x="591" y="198"/>
                    </a:lnTo>
                    <a:lnTo>
                      <a:pt x="593" y="200"/>
                    </a:lnTo>
                    <a:lnTo>
                      <a:pt x="593" y="201"/>
                    </a:lnTo>
                    <a:lnTo>
                      <a:pt x="595" y="203"/>
                    </a:lnTo>
                    <a:lnTo>
                      <a:pt x="597" y="201"/>
                    </a:lnTo>
                    <a:lnTo>
                      <a:pt x="599" y="203"/>
                    </a:lnTo>
                    <a:lnTo>
                      <a:pt x="601" y="205"/>
                    </a:lnTo>
                    <a:lnTo>
                      <a:pt x="603" y="205"/>
                    </a:lnTo>
                    <a:lnTo>
                      <a:pt x="605" y="205"/>
                    </a:lnTo>
                    <a:lnTo>
                      <a:pt x="607" y="205"/>
                    </a:lnTo>
                    <a:lnTo>
                      <a:pt x="609" y="205"/>
                    </a:lnTo>
                    <a:lnTo>
                      <a:pt x="613" y="207"/>
                    </a:lnTo>
                    <a:lnTo>
                      <a:pt x="614" y="207"/>
                    </a:lnTo>
                    <a:lnTo>
                      <a:pt x="616" y="207"/>
                    </a:lnTo>
                    <a:lnTo>
                      <a:pt x="618" y="207"/>
                    </a:lnTo>
                    <a:lnTo>
                      <a:pt x="620" y="207"/>
                    </a:lnTo>
                    <a:lnTo>
                      <a:pt x="622" y="207"/>
                    </a:lnTo>
                    <a:lnTo>
                      <a:pt x="624" y="209"/>
                    </a:lnTo>
                    <a:lnTo>
                      <a:pt x="626" y="211"/>
                    </a:lnTo>
                    <a:lnTo>
                      <a:pt x="628" y="211"/>
                    </a:lnTo>
                    <a:lnTo>
                      <a:pt x="628" y="213"/>
                    </a:lnTo>
                    <a:lnTo>
                      <a:pt x="630" y="215"/>
                    </a:lnTo>
                    <a:lnTo>
                      <a:pt x="630" y="217"/>
                    </a:lnTo>
                    <a:lnTo>
                      <a:pt x="632" y="217"/>
                    </a:lnTo>
                    <a:lnTo>
                      <a:pt x="632" y="219"/>
                    </a:lnTo>
                    <a:lnTo>
                      <a:pt x="632" y="221"/>
                    </a:lnTo>
                    <a:lnTo>
                      <a:pt x="632" y="223"/>
                    </a:lnTo>
                    <a:lnTo>
                      <a:pt x="634" y="223"/>
                    </a:lnTo>
                    <a:lnTo>
                      <a:pt x="634" y="225"/>
                    </a:lnTo>
                    <a:lnTo>
                      <a:pt x="636" y="226"/>
                    </a:lnTo>
                    <a:lnTo>
                      <a:pt x="638" y="226"/>
                    </a:lnTo>
                    <a:lnTo>
                      <a:pt x="639" y="228"/>
                    </a:lnTo>
                    <a:lnTo>
                      <a:pt x="641" y="228"/>
                    </a:lnTo>
                    <a:lnTo>
                      <a:pt x="643" y="230"/>
                    </a:lnTo>
                    <a:lnTo>
                      <a:pt x="641" y="232"/>
                    </a:lnTo>
                    <a:lnTo>
                      <a:pt x="639" y="232"/>
                    </a:lnTo>
                    <a:lnTo>
                      <a:pt x="639" y="234"/>
                    </a:lnTo>
                    <a:lnTo>
                      <a:pt x="638" y="234"/>
                    </a:lnTo>
                    <a:lnTo>
                      <a:pt x="636" y="234"/>
                    </a:lnTo>
                    <a:lnTo>
                      <a:pt x="636" y="236"/>
                    </a:lnTo>
                    <a:lnTo>
                      <a:pt x="636" y="238"/>
                    </a:lnTo>
                    <a:lnTo>
                      <a:pt x="636" y="240"/>
                    </a:lnTo>
                    <a:lnTo>
                      <a:pt x="638" y="240"/>
                    </a:lnTo>
                    <a:lnTo>
                      <a:pt x="638" y="242"/>
                    </a:lnTo>
                    <a:lnTo>
                      <a:pt x="639" y="242"/>
                    </a:lnTo>
                    <a:lnTo>
                      <a:pt x="639" y="240"/>
                    </a:lnTo>
                    <a:lnTo>
                      <a:pt x="641" y="240"/>
                    </a:lnTo>
                    <a:lnTo>
                      <a:pt x="641" y="242"/>
                    </a:lnTo>
                    <a:lnTo>
                      <a:pt x="641" y="244"/>
                    </a:lnTo>
                    <a:lnTo>
                      <a:pt x="643" y="246"/>
                    </a:lnTo>
                    <a:lnTo>
                      <a:pt x="641" y="246"/>
                    </a:lnTo>
                    <a:lnTo>
                      <a:pt x="643" y="246"/>
                    </a:lnTo>
                    <a:lnTo>
                      <a:pt x="643" y="248"/>
                    </a:lnTo>
                    <a:lnTo>
                      <a:pt x="643" y="250"/>
                    </a:lnTo>
                    <a:lnTo>
                      <a:pt x="641" y="251"/>
                    </a:lnTo>
                    <a:lnTo>
                      <a:pt x="643" y="251"/>
                    </a:lnTo>
                    <a:lnTo>
                      <a:pt x="643" y="253"/>
                    </a:lnTo>
                    <a:lnTo>
                      <a:pt x="643" y="255"/>
                    </a:lnTo>
                    <a:lnTo>
                      <a:pt x="643" y="257"/>
                    </a:lnTo>
                    <a:lnTo>
                      <a:pt x="643" y="259"/>
                    </a:lnTo>
                    <a:lnTo>
                      <a:pt x="645" y="261"/>
                    </a:lnTo>
                    <a:lnTo>
                      <a:pt x="647" y="263"/>
                    </a:lnTo>
                    <a:lnTo>
                      <a:pt x="649" y="263"/>
                    </a:lnTo>
                    <a:lnTo>
                      <a:pt x="651" y="263"/>
                    </a:lnTo>
                    <a:lnTo>
                      <a:pt x="653" y="263"/>
                    </a:lnTo>
                    <a:lnTo>
                      <a:pt x="653" y="261"/>
                    </a:lnTo>
                    <a:lnTo>
                      <a:pt x="655" y="263"/>
                    </a:lnTo>
                    <a:lnTo>
                      <a:pt x="657" y="263"/>
                    </a:lnTo>
                    <a:lnTo>
                      <a:pt x="659" y="263"/>
                    </a:lnTo>
                    <a:lnTo>
                      <a:pt x="659" y="261"/>
                    </a:lnTo>
                    <a:lnTo>
                      <a:pt x="659" y="259"/>
                    </a:lnTo>
                    <a:lnTo>
                      <a:pt x="661" y="257"/>
                    </a:lnTo>
                    <a:lnTo>
                      <a:pt x="663" y="257"/>
                    </a:lnTo>
                    <a:lnTo>
                      <a:pt x="664" y="261"/>
                    </a:lnTo>
                    <a:lnTo>
                      <a:pt x="666" y="263"/>
                    </a:lnTo>
                    <a:lnTo>
                      <a:pt x="668" y="263"/>
                    </a:lnTo>
                    <a:lnTo>
                      <a:pt x="668" y="261"/>
                    </a:lnTo>
                    <a:lnTo>
                      <a:pt x="670" y="259"/>
                    </a:lnTo>
                    <a:lnTo>
                      <a:pt x="668" y="259"/>
                    </a:lnTo>
                    <a:lnTo>
                      <a:pt x="668" y="257"/>
                    </a:lnTo>
                    <a:lnTo>
                      <a:pt x="668" y="255"/>
                    </a:lnTo>
                    <a:lnTo>
                      <a:pt x="670" y="255"/>
                    </a:lnTo>
                    <a:lnTo>
                      <a:pt x="670" y="253"/>
                    </a:lnTo>
                    <a:lnTo>
                      <a:pt x="668" y="251"/>
                    </a:lnTo>
                    <a:lnTo>
                      <a:pt x="670" y="250"/>
                    </a:lnTo>
                    <a:lnTo>
                      <a:pt x="670" y="251"/>
                    </a:lnTo>
                    <a:lnTo>
                      <a:pt x="670" y="250"/>
                    </a:lnTo>
                    <a:lnTo>
                      <a:pt x="672" y="250"/>
                    </a:lnTo>
                    <a:lnTo>
                      <a:pt x="674" y="250"/>
                    </a:lnTo>
                    <a:lnTo>
                      <a:pt x="676" y="248"/>
                    </a:lnTo>
                    <a:lnTo>
                      <a:pt x="676" y="250"/>
                    </a:lnTo>
                    <a:lnTo>
                      <a:pt x="678" y="248"/>
                    </a:lnTo>
                    <a:lnTo>
                      <a:pt x="678" y="250"/>
                    </a:lnTo>
                    <a:lnTo>
                      <a:pt x="680" y="250"/>
                    </a:lnTo>
                    <a:lnTo>
                      <a:pt x="680" y="251"/>
                    </a:lnTo>
                    <a:lnTo>
                      <a:pt x="680" y="253"/>
                    </a:lnTo>
                    <a:lnTo>
                      <a:pt x="680" y="255"/>
                    </a:lnTo>
                    <a:lnTo>
                      <a:pt x="682" y="255"/>
                    </a:lnTo>
                    <a:lnTo>
                      <a:pt x="684" y="255"/>
                    </a:lnTo>
                    <a:lnTo>
                      <a:pt x="684" y="257"/>
                    </a:lnTo>
                    <a:lnTo>
                      <a:pt x="686" y="255"/>
                    </a:lnTo>
                    <a:lnTo>
                      <a:pt x="686" y="257"/>
                    </a:lnTo>
                    <a:lnTo>
                      <a:pt x="686" y="255"/>
                    </a:lnTo>
                    <a:lnTo>
                      <a:pt x="686" y="257"/>
                    </a:lnTo>
                    <a:lnTo>
                      <a:pt x="686" y="255"/>
                    </a:lnTo>
                    <a:lnTo>
                      <a:pt x="686" y="257"/>
                    </a:lnTo>
                    <a:lnTo>
                      <a:pt x="687" y="257"/>
                    </a:lnTo>
                    <a:lnTo>
                      <a:pt x="689" y="259"/>
                    </a:lnTo>
                    <a:lnTo>
                      <a:pt x="689" y="257"/>
                    </a:lnTo>
                    <a:lnTo>
                      <a:pt x="691" y="259"/>
                    </a:lnTo>
                    <a:lnTo>
                      <a:pt x="693" y="259"/>
                    </a:lnTo>
                    <a:lnTo>
                      <a:pt x="695" y="259"/>
                    </a:lnTo>
                    <a:lnTo>
                      <a:pt x="693" y="261"/>
                    </a:lnTo>
                    <a:lnTo>
                      <a:pt x="695" y="263"/>
                    </a:lnTo>
                    <a:lnTo>
                      <a:pt x="695" y="265"/>
                    </a:lnTo>
                    <a:lnTo>
                      <a:pt x="697" y="265"/>
                    </a:lnTo>
                    <a:lnTo>
                      <a:pt x="697" y="267"/>
                    </a:lnTo>
                    <a:lnTo>
                      <a:pt x="697" y="269"/>
                    </a:lnTo>
                    <a:lnTo>
                      <a:pt x="697" y="271"/>
                    </a:lnTo>
                    <a:lnTo>
                      <a:pt x="695" y="271"/>
                    </a:lnTo>
                    <a:lnTo>
                      <a:pt x="695" y="273"/>
                    </a:lnTo>
                    <a:lnTo>
                      <a:pt x="695" y="275"/>
                    </a:lnTo>
                    <a:lnTo>
                      <a:pt x="695" y="276"/>
                    </a:lnTo>
                    <a:lnTo>
                      <a:pt x="697" y="276"/>
                    </a:lnTo>
                    <a:lnTo>
                      <a:pt x="697" y="278"/>
                    </a:lnTo>
                    <a:lnTo>
                      <a:pt x="697" y="280"/>
                    </a:lnTo>
                    <a:lnTo>
                      <a:pt x="699" y="282"/>
                    </a:lnTo>
                    <a:lnTo>
                      <a:pt x="697" y="282"/>
                    </a:lnTo>
                    <a:lnTo>
                      <a:pt x="697" y="284"/>
                    </a:lnTo>
                    <a:lnTo>
                      <a:pt x="699" y="284"/>
                    </a:lnTo>
                    <a:lnTo>
                      <a:pt x="699" y="282"/>
                    </a:lnTo>
                    <a:lnTo>
                      <a:pt x="701" y="282"/>
                    </a:lnTo>
                    <a:lnTo>
                      <a:pt x="703" y="284"/>
                    </a:lnTo>
                    <a:lnTo>
                      <a:pt x="703" y="286"/>
                    </a:lnTo>
                    <a:lnTo>
                      <a:pt x="705" y="286"/>
                    </a:lnTo>
                    <a:lnTo>
                      <a:pt x="705" y="288"/>
                    </a:lnTo>
                    <a:lnTo>
                      <a:pt x="705" y="290"/>
                    </a:lnTo>
                    <a:lnTo>
                      <a:pt x="703" y="290"/>
                    </a:lnTo>
                    <a:lnTo>
                      <a:pt x="703" y="288"/>
                    </a:lnTo>
                    <a:lnTo>
                      <a:pt x="703" y="290"/>
                    </a:lnTo>
                    <a:lnTo>
                      <a:pt x="701" y="290"/>
                    </a:lnTo>
                    <a:lnTo>
                      <a:pt x="701" y="292"/>
                    </a:lnTo>
                    <a:lnTo>
                      <a:pt x="701" y="290"/>
                    </a:lnTo>
                    <a:lnTo>
                      <a:pt x="701" y="292"/>
                    </a:lnTo>
                    <a:lnTo>
                      <a:pt x="703" y="292"/>
                    </a:lnTo>
                    <a:lnTo>
                      <a:pt x="703" y="294"/>
                    </a:lnTo>
                    <a:lnTo>
                      <a:pt x="705" y="294"/>
                    </a:lnTo>
                    <a:lnTo>
                      <a:pt x="705" y="296"/>
                    </a:lnTo>
                    <a:lnTo>
                      <a:pt x="707" y="296"/>
                    </a:lnTo>
                    <a:lnTo>
                      <a:pt x="707" y="298"/>
                    </a:lnTo>
                    <a:lnTo>
                      <a:pt x="707" y="300"/>
                    </a:lnTo>
                    <a:lnTo>
                      <a:pt x="707" y="301"/>
                    </a:lnTo>
                    <a:lnTo>
                      <a:pt x="709" y="301"/>
                    </a:lnTo>
                    <a:lnTo>
                      <a:pt x="709" y="303"/>
                    </a:lnTo>
                    <a:lnTo>
                      <a:pt x="709" y="305"/>
                    </a:lnTo>
                    <a:lnTo>
                      <a:pt x="709" y="307"/>
                    </a:lnTo>
                    <a:lnTo>
                      <a:pt x="709" y="309"/>
                    </a:lnTo>
                    <a:lnTo>
                      <a:pt x="707" y="309"/>
                    </a:lnTo>
                    <a:lnTo>
                      <a:pt x="707" y="311"/>
                    </a:lnTo>
                    <a:lnTo>
                      <a:pt x="709" y="311"/>
                    </a:lnTo>
                    <a:lnTo>
                      <a:pt x="709" y="313"/>
                    </a:lnTo>
                    <a:lnTo>
                      <a:pt x="709" y="311"/>
                    </a:lnTo>
                    <a:lnTo>
                      <a:pt x="711" y="311"/>
                    </a:lnTo>
                    <a:lnTo>
                      <a:pt x="711" y="313"/>
                    </a:lnTo>
                    <a:lnTo>
                      <a:pt x="712" y="313"/>
                    </a:lnTo>
                    <a:lnTo>
                      <a:pt x="714" y="313"/>
                    </a:lnTo>
                    <a:lnTo>
                      <a:pt x="716" y="315"/>
                    </a:lnTo>
                    <a:lnTo>
                      <a:pt x="718" y="315"/>
                    </a:lnTo>
                    <a:lnTo>
                      <a:pt x="720" y="315"/>
                    </a:lnTo>
                    <a:lnTo>
                      <a:pt x="720" y="317"/>
                    </a:lnTo>
                    <a:lnTo>
                      <a:pt x="720" y="319"/>
                    </a:lnTo>
                    <a:lnTo>
                      <a:pt x="720" y="321"/>
                    </a:lnTo>
                    <a:lnTo>
                      <a:pt x="720" y="323"/>
                    </a:lnTo>
                    <a:lnTo>
                      <a:pt x="720" y="325"/>
                    </a:lnTo>
                    <a:lnTo>
                      <a:pt x="720" y="326"/>
                    </a:lnTo>
                    <a:lnTo>
                      <a:pt x="722" y="326"/>
                    </a:lnTo>
                    <a:lnTo>
                      <a:pt x="722" y="328"/>
                    </a:lnTo>
                    <a:lnTo>
                      <a:pt x="724" y="328"/>
                    </a:lnTo>
                    <a:lnTo>
                      <a:pt x="724" y="330"/>
                    </a:lnTo>
                    <a:lnTo>
                      <a:pt x="724" y="332"/>
                    </a:lnTo>
                    <a:lnTo>
                      <a:pt x="724" y="334"/>
                    </a:lnTo>
                    <a:close/>
                    <a:moveTo>
                      <a:pt x="248" y="703"/>
                    </a:moveTo>
                    <a:lnTo>
                      <a:pt x="249" y="701"/>
                    </a:lnTo>
                    <a:lnTo>
                      <a:pt x="248" y="701"/>
                    </a:lnTo>
                    <a:lnTo>
                      <a:pt x="246" y="701"/>
                    </a:lnTo>
                    <a:lnTo>
                      <a:pt x="244" y="699"/>
                    </a:lnTo>
                    <a:lnTo>
                      <a:pt x="244" y="701"/>
                    </a:lnTo>
                    <a:lnTo>
                      <a:pt x="244" y="703"/>
                    </a:lnTo>
                    <a:lnTo>
                      <a:pt x="242" y="703"/>
                    </a:lnTo>
                    <a:lnTo>
                      <a:pt x="242" y="705"/>
                    </a:lnTo>
                    <a:lnTo>
                      <a:pt x="240" y="705"/>
                    </a:lnTo>
                    <a:lnTo>
                      <a:pt x="238" y="705"/>
                    </a:lnTo>
                    <a:lnTo>
                      <a:pt x="238" y="703"/>
                    </a:lnTo>
                    <a:lnTo>
                      <a:pt x="236" y="705"/>
                    </a:lnTo>
                    <a:lnTo>
                      <a:pt x="234" y="705"/>
                    </a:lnTo>
                    <a:lnTo>
                      <a:pt x="234" y="707"/>
                    </a:lnTo>
                    <a:lnTo>
                      <a:pt x="234" y="709"/>
                    </a:lnTo>
                    <a:lnTo>
                      <a:pt x="234" y="711"/>
                    </a:lnTo>
                    <a:lnTo>
                      <a:pt x="234" y="713"/>
                    </a:lnTo>
                    <a:lnTo>
                      <a:pt x="232" y="713"/>
                    </a:lnTo>
                    <a:lnTo>
                      <a:pt x="230" y="713"/>
                    </a:lnTo>
                    <a:lnTo>
                      <a:pt x="230" y="711"/>
                    </a:lnTo>
                    <a:lnTo>
                      <a:pt x="230" y="713"/>
                    </a:lnTo>
                    <a:lnTo>
                      <a:pt x="230" y="715"/>
                    </a:lnTo>
                    <a:lnTo>
                      <a:pt x="228" y="715"/>
                    </a:lnTo>
                    <a:lnTo>
                      <a:pt x="228" y="717"/>
                    </a:lnTo>
                    <a:lnTo>
                      <a:pt x="228" y="719"/>
                    </a:lnTo>
                    <a:lnTo>
                      <a:pt x="230" y="719"/>
                    </a:lnTo>
                    <a:lnTo>
                      <a:pt x="232" y="719"/>
                    </a:lnTo>
                    <a:lnTo>
                      <a:pt x="232" y="721"/>
                    </a:lnTo>
                    <a:lnTo>
                      <a:pt x="234" y="721"/>
                    </a:lnTo>
                    <a:lnTo>
                      <a:pt x="236" y="721"/>
                    </a:lnTo>
                    <a:lnTo>
                      <a:pt x="236" y="722"/>
                    </a:lnTo>
                    <a:lnTo>
                      <a:pt x="238" y="724"/>
                    </a:lnTo>
                    <a:lnTo>
                      <a:pt x="236" y="726"/>
                    </a:lnTo>
                    <a:lnTo>
                      <a:pt x="236" y="728"/>
                    </a:lnTo>
                    <a:lnTo>
                      <a:pt x="236" y="730"/>
                    </a:lnTo>
                    <a:lnTo>
                      <a:pt x="238" y="730"/>
                    </a:lnTo>
                    <a:lnTo>
                      <a:pt x="240" y="730"/>
                    </a:lnTo>
                    <a:lnTo>
                      <a:pt x="242" y="730"/>
                    </a:lnTo>
                    <a:lnTo>
                      <a:pt x="242" y="732"/>
                    </a:lnTo>
                    <a:lnTo>
                      <a:pt x="244" y="734"/>
                    </a:lnTo>
                    <a:lnTo>
                      <a:pt x="244" y="736"/>
                    </a:lnTo>
                    <a:lnTo>
                      <a:pt x="242" y="736"/>
                    </a:lnTo>
                    <a:lnTo>
                      <a:pt x="242" y="738"/>
                    </a:lnTo>
                    <a:lnTo>
                      <a:pt x="244" y="740"/>
                    </a:lnTo>
                    <a:lnTo>
                      <a:pt x="242" y="740"/>
                    </a:lnTo>
                    <a:lnTo>
                      <a:pt x="242" y="742"/>
                    </a:lnTo>
                    <a:lnTo>
                      <a:pt x="240" y="744"/>
                    </a:lnTo>
                    <a:lnTo>
                      <a:pt x="240" y="746"/>
                    </a:lnTo>
                    <a:lnTo>
                      <a:pt x="238" y="746"/>
                    </a:lnTo>
                    <a:lnTo>
                      <a:pt x="240" y="746"/>
                    </a:lnTo>
                    <a:lnTo>
                      <a:pt x="240" y="747"/>
                    </a:lnTo>
                    <a:lnTo>
                      <a:pt x="236" y="749"/>
                    </a:lnTo>
                    <a:lnTo>
                      <a:pt x="236" y="747"/>
                    </a:lnTo>
                    <a:lnTo>
                      <a:pt x="234" y="747"/>
                    </a:lnTo>
                    <a:lnTo>
                      <a:pt x="232" y="747"/>
                    </a:lnTo>
                    <a:lnTo>
                      <a:pt x="232" y="749"/>
                    </a:lnTo>
                    <a:lnTo>
                      <a:pt x="230" y="751"/>
                    </a:lnTo>
                    <a:lnTo>
                      <a:pt x="228" y="753"/>
                    </a:lnTo>
                    <a:lnTo>
                      <a:pt x="226" y="753"/>
                    </a:lnTo>
                    <a:lnTo>
                      <a:pt x="224" y="753"/>
                    </a:lnTo>
                    <a:lnTo>
                      <a:pt x="224" y="755"/>
                    </a:lnTo>
                    <a:lnTo>
                      <a:pt x="226" y="755"/>
                    </a:lnTo>
                    <a:lnTo>
                      <a:pt x="224" y="757"/>
                    </a:lnTo>
                    <a:lnTo>
                      <a:pt x="224" y="759"/>
                    </a:lnTo>
                    <a:lnTo>
                      <a:pt x="226" y="759"/>
                    </a:lnTo>
                    <a:lnTo>
                      <a:pt x="224" y="761"/>
                    </a:lnTo>
                    <a:lnTo>
                      <a:pt x="226" y="763"/>
                    </a:lnTo>
                    <a:lnTo>
                      <a:pt x="228" y="763"/>
                    </a:lnTo>
                    <a:lnTo>
                      <a:pt x="228" y="761"/>
                    </a:lnTo>
                    <a:lnTo>
                      <a:pt x="230" y="761"/>
                    </a:lnTo>
                    <a:lnTo>
                      <a:pt x="230" y="763"/>
                    </a:lnTo>
                    <a:lnTo>
                      <a:pt x="232" y="763"/>
                    </a:lnTo>
                    <a:lnTo>
                      <a:pt x="234" y="765"/>
                    </a:lnTo>
                    <a:lnTo>
                      <a:pt x="234" y="767"/>
                    </a:lnTo>
                    <a:lnTo>
                      <a:pt x="236" y="767"/>
                    </a:lnTo>
                    <a:lnTo>
                      <a:pt x="236" y="769"/>
                    </a:lnTo>
                    <a:lnTo>
                      <a:pt x="238" y="769"/>
                    </a:lnTo>
                    <a:lnTo>
                      <a:pt x="238" y="771"/>
                    </a:lnTo>
                    <a:lnTo>
                      <a:pt x="240" y="771"/>
                    </a:lnTo>
                    <a:lnTo>
                      <a:pt x="240" y="772"/>
                    </a:lnTo>
                    <a:lnTo>
                      <a:pt x="242" y="771"/>
                    </a:lnTo>
                    <a:lnTo>
                      <a:pt x="242" y="772"/>
                    </a:lnTo>
                    <a:lnTo>
                      <a:pt x="242" y="771"/>
                    </a:lnTo>
                    <a:lnTo>
                      <a:pt x="242" y="772"/>
                    </a:lnTo>
                    <a:lnTo>
                      <a:pt x="242" y="771"/>
                    </a:lnTo>
                    <a:lnTo>
                      <a:pt x="242" y="772"/>
                    </a:lnTo>
                    <a:lnTo>
                      <a:pt x="244" y="772"/>
                    </a:lnTo>
                    <a:lnTo>
                      <a:pt x="246" y="772"/>
                    </a:lnTo>
                    <a:lnTo>
                      <a:pt x="246" y="774"/>
                    </a:lnTo>
                    <a:lnTo>
                      <a:pt x="246" y="772"/>
                    </a:lnTo>
                    <a:lnTo>
                      <a:pt x="248" y="769"/>
                    </a:lnTo>
                    <a:lnTo>
                      <a:pt x="248" y="767"/>
                    </a:lnTo>
                    <a:lnTo>
                      <a:pt x="248" y="765"/>
                    </a:lnTo>
                    <a:lnTo>
                      <a:pt x="249" y="763"/>
                    </a:lnTo>
                    <a:lnTo>
                      <a:pt x="249" y="761"/>
                    </a:lnTo>
                    <a:lnTo>
                      <a:pt x="249" y="759"/>
                    </a:lnTo>
                    <a:lnTo>
                      <a:pt x="251" y="759"/>
                    </a:lnTo>
                    <a:lnTo>
                      <a:pt x="251" y="757"/>
                    </a:lnTo>
                    <a:lnTo>
                      <a:pt x="251" y="755"/>
                    </a:lnTo>
                    <a:lnTo>
                      <a:pt x="251" y="753"/>
                    </a:lnTo>
                    <a:lnTo>
                      <a:pt x="253" y="751"/>
                    </a:lnTo>
                    <a:lnTo>
                      <a:pt x="253" y="753"/>
                    </a:lnTo>
                    <a:lnTo>
                      <a:pt x="255" y="755"/>
                    </a:lnTo>
                    <a:lnTo>
                      <a:pt x="257" y="755"/>
                    </a:lnTo>
                    <a:lnTo>
                      <a:pt x="259" y="755"/>
                    </a:lnTo>
                    <a:lnTo>
                      <a:pt x="259" y="753"/>
                    </a:lnTo>
                    <a:lnTo>
                      <a:pt x="259" y="751"/>
                    </a:lnTo>
                    <a:lnTo>
                      <a:pt x="261" y="751"/>
                    </a:lnTo>
                    <a:lnTo>
                      <a:pt x="263" y="751"/>
                    </a:lnTo>
                    <a:lnTo>
                      <a:pt x="263" y="749"/>
                    </a:lnTo>
                    <a:lnTo>
                      <a:pt x="265" y="749"/>
                    </a:lnTo>
                    <a:lnTo>
                      <a:pt x="267" y="749"/>
                    </a:lnTo>
                    <a:lnTo>
                      <a:pt x="269" y="749"/>
                    </a:lnTo>
                    <a:lnTo>
                      <a:pt x="269" y="751"/>
                    </a:lnTo>
                    <a:lnTo>
                      <a:pt x="267" y="753"/>
                    </a:lnTo>
                    <a:lnTo>
                      <a:pt x="267" y="755"/>
                    </a:lnTo>
                    <a:lnTo>
                      <a:pt x="267" y="757"/>
                    </a:lnTo>
                    <a:lnTo>
                      <a:pt x="267" y="759"/>
                    </a:lnTo>
                    <a:lnTo>
                      <a:pt x="269" y="761"/>
                    </a:lnTo>
                    <a:lnTo>
                      <a:pt x="269" y="763"/>
                    </a:lnTo>
                    <a:lnTo>
                      <a:pt x="269" y="765"/>
                    </a:lnTo>
                    <a:lnTo>
                      <a:pt x="269" y="767"/>
                    </a:lnTo>
                    <a:lnTo>
                      <a:pt x="269" y="769"/>
                    </a:lnTo>
                    <a:lnTo>
                      <a:pt x="269" y="771"/>
                    </a:lnTo>
                    <a:lnTo>
                      <a:pt x="271" y="771"/>
                    </a:lnTo>
                    <a:lnTo>
                      <a:pt x="271" y="772"/>
                    </a:lnTo>
                    <a:lnTo>
                      <a:pt x="273" y="772"/>
                    </a:lnTo>
                    <a:lnTo>
                      <a:pt x="274" y="772"/>
                    </a:lnTo>
                    <a:lnTo>
                      <a:pt x="276" y="772"/>
                    </a:lnTo>
                    <a:lnTo>
                      <a:pt x="276" y="774"/>
                    </a:lnTo>
                    <a:lnTo>
                      <a:pt x="278" y="774"/>
                    </a:lnTo>
                    <a:lnTo>
                      <a:pt x="280" y="774"/>
                    </a:lnTo>
                    <a:lnTo>
                      <a:pt x="280" y="776"/>
                    </a:lnTo>
                    <a:lnTo>
                      <a:pt x="280" y="778"/>
                    </a:lnTo>
                    <a:lnTo>
                      <a:pt x="282" y="778"/>
                    </a:lnTo>
                    <a:lnTo>
                      <a:pt x="282" y="780"/>
                    </a:lnTo>
                    <a:lnTo>
                      <a:pt x="282" y="782"/>
                    </a:lnTo>
                    <a:lnTo>
                      <a:pt x="282" y="784"/>
                    </a:lnTo>
                    <a:lnTo>
                      <a:pt x="282" y="786"/>
                    </a:lnTo>
                    <a:lnTo>
                      <a:pt x="284" y="788"/>
                    </a:lnTo>
                    <a:lnTo>
                      <a:pt x="284" y="790"/>
                    </a:lnTo>
                    <a:lnTo>
                      <a:pt x="286" y="790"/>
                    </a:lnTo>
                    <a:lnTo>
                      <a:pt x="286" y="792"/>
                    </a:lnTo>
                    <a:lnTo>
                      <a:pt x="286" y="790"/>
                    </a:lnTo>
                    <a:lnTo>
                      <a:pt x="288" y="790"/>
                    </a:lnTo>
                    <a:lnTo>
                      <a:pt x="288" y="788"/>
                    </a:lnTo>
                    <a:lnTo>
                      <a:pt x="290" y="788"/>
                    </a:lnTo>
                    <a:lnTo>
                      <a:pt x="290" y="790"/>
                    </a:lnTo>
                    <a:lnTo>
                      <a:pt x="292" y="790"/>
                    </a:lnTo>
                    <a:lnTo>
                      <a:pt x="292" y="788"/>
                    </a:lnTo>
                    <a:lnTo>
                      <a:pt x="290" y="788"/>
                    </a:lnTo>
                    <a:lnTo>
                      <a:pt x="290" y="786"/>
                    </a:lnTo>
                    <a:lnTo>
                      <a:pt x="290" y="784"/>
                    </a:lnTo>
                    <a:lnTo>
                      <a:pt x="288" y="780"/>
                    </a:lnTo>
                    <a:lnTo>
                      <a:pt x="288" y="778"/>
                    </a:lnTo>
                    <a:lnTo>
                      <a:pt x="288" y="776"/>
                    </a:lnTo>
                    <a:lnTo>
                      <a:pt x="288" y="774"/>
                    </a:lnTo>
                    <a:lnTo>
                      <a:pt x="288" y="772"/>
                    </a:lnTo>
                    <a:lnTo>
                      <a:pt x="288" y="771"/>
                    </a:lnTo>
                    <a:lnTo>
                      <a:pt x="290" y="771"/>
                    </a:lnTo>
                    <a:lnTo>
                      <a:pt x="290" y="769"/>
                    </a:lnTo>
                    <a:lnTo>
                      <a:pt x="292" y="769"/>
                    </a:lnTo>
                    <a:lnTo>
                      <a:pt x="292" y="767"/>
                    </a:lnTo>
                    <a:lnTo>
                      <a:pt x="294" y="767"/>
                    </a:lnTo>
                    <a:lnTo>
                      <a:pt x="296" y="767"/>
                    </a:lnTo>
                    <a:lnTo>
                      <a:pt x="297" y="767"/>
                    </a:lnTo>
                    <a:lnTo>
                      <a:pt x="299" y="767"/>
                    </a:lnTo>
                    <a:lnTo>
                      <a:pt x="299" y="765"/>
                    </a:lnTo>
                    <a:lnTo>
                      <a:pt x="301" y="765"/>
                    </a:lnTo>
                    <a:lnTo>
                      <a:pt x="301" y="767"/>
                    </a:lnTo>
                    <a:lnTo>
                      <a:pt x="301" y="765"/>
                    </a:lnTo>
                    <a:lnTo>
                      <a:pt x="303" y="765"/>
                    </a:lnTo>
                    <a:lnTo>
                      <a:pt x="303" y="767"/>
                    </a:lnTo>
                    <a:lnTo>
                      <a:pt x="303" y="765"/>
                    </a:lnTo>
                    <a:lnTo>
                      <a:pt x="305" y="765"/>
                    </a:lnTo>
                    <a:lnTo>
                      <a:pt x="305" y="767"/>
                    </a:lnTo>
                    <a:lnTo>
                      <a:pt x="307" y="767"/>
                    </a:lnTo>
                    <a:lnTo>
                      <a:pt x="307" y="765"/>
                    </a:lnTo>
                    <a:lnTo>
                      <a:pt x="307" y="767"/>
                    </a:lnTo>
                    <a:lnTo>
                      <a:pt x="307" y="769"/>
                    </a:lnTo>
                    <a:lnTo>
                      <a:pt x="305" y="771"/>
                    </a:lnTo>
                    <a:lnTo>
                      <a:pt x="305" y="772"/>
                    </a:lnTo>
                    <a:lnTo>
                      <a:pt x="303" y="772"/>
                    </a:lnTo>
                    <a:lnTo>
                      <a:pt x="301" y="772"/>
                    </a:lnTo>
                    <a:lnTo>
                      <a:pt x="303" y="774"/>
                    </a:lnTo>
                    <a:lnTo>
                      <a:pt x="303" y="776"/>
                    </a:lnTo>
                    <a:lnTo>
                      <a:pt x="303" y="778"/>
                    </a:lnTo>
                    <a:lnTo>
                      <a:pt x="305" y="778"/>
                    </a:lnTo>
                    <a:lnTo>
                      <a:pt x="305" y="780"/>
                    </a:lnTo>
                    <a:lnTo>
                      <a:pt x="307" y="780"/>
                    </a:lnTo>
                    <a:lnTo>
                      <a:pt x="307" y="778"/>
                    </a:lnTo>
                    <a:lnTo>
                      <a:pt x="307" y="780"/>
                    </a:lnTo>
                    <a:lnTo>
                      <a:pt x="309" y="780"/>
                    </a:lnTo>
                    <a:lnTo>
                      <a:pt x="309" y="782"/>
                    </a:lnTo>
                    <a:lnTo>
                      <a:pt x="309" y="784"/>
                    </a:lnTo>
                    <a:lnTo>
                      <a:pt x="311" y="784"/>
                    </a:lnTo>
                    <a:lnTo>
                      <a:pt x="313" y="786"/>
                    </a:lnTo>
                    <a:lnTo>
                      <a:pt x="311" y="786"/>
                    </a:lnTo>
                    <a:lnTo>
                      <a:pt x="311" y="788"/>
                    </a:lnTo>
                    <a:lnTo>
                      <a:pt x="313" y="788"/>
                    </a:lnTo>
                    <a:lnTo>
                      <a:pt x="313" y="790"/>
                    </a:lnTo>
                    <a:lnTo>
                      <a:pt x="315" y="792"/>
                    </a:lnTo>
                    <a:lnTo>
                      <a:pt x="317" y="794"/>
                    </a:lnTo>
                    <a:lnTo>
                      <a:pt x="317" y="796"/>
                    </a:lnTo>
                    <a:lnTo>
                      <a:pt x="319" y="796"/>
                    </a:lnTo>
                    <a:lnTo>
                      <a:pt x="319" y="797"/>
                    </a:lnTo>
                    <a:lnTo>
                      <a:pt x="321" y="797"/>
                    </a:lnTo>
                    <a:lnTo>
                      <a:pt x="319" y="797"/>
                    </a:lnTo>
                    <a:lnTo>
                      <a:pt x="319" y="799"/>
                    </a:lnTo>
                    <a:lnTo>
                      <a:pt x="321" y="799"/>
                    </a:lnTo>
                    <a:lnTo>
                      <a:pt x="321" y="801"/>
                    </a:lnTo>
                    <a:lnTo>
                      <a:pt x="321" y="803"/>
                    </a:lnTo>
                    <a:lnTo>
                      <a:pt x="322" y="803"/>
                    </a:lnTo>
                    <a:lnTo>
                      <a:pt x="322" y="805"/>
                    </a:lnTo>
                    <a:lnTo>
                      <a:pt x="324" y="805"/>
                    </a:lnTo>
                    <a:lnTo>
                      <a:pt x="326" y="807"/>
                    </a:lnTo>
                    <a:lnTo>
                      <a:pt x="328" y="809"/>
                    </a:lnTo>
                    <a:lnTo>
                      <a:pt x="330" y="807"/>
                    </a:lnTo>
                    <a:lnTo>
                      <a:pt x="332" y="807"/>
                    </a:lnTo>
                    <a:lnTo>
                      <a:pt x="332" y="805"/>
                    </a:lnTo>
                    <a:lnTo>
                      <a:pt x="334" y="805"/>
                    </a:lnTo>
                    <a:lnTo>
                      <a:pt x="334" y="803"/>
                    </a:lnTo>
                    <a:lnTo>
                      <a:pt x="336" y="803"/>
                    </a:lnTo>
                    <a:lnTo>
                      <a:pt x="336" y="801"/>
                    </a:lnTo>
                    <a:lnTo>
                      <a:pt x="336" y="799"/>
                    </a:lnTo>
                    <a:lnTo>
                      <a:pt x="338" y="799"/>
                    </a:lnTo>
                    <a:lnTo>
                      <a:pt x="338" y="797"/>
                    </a:lnTo>
                    <a:lnTo>
                      <a:pt x="338" y="796"/>
                    </a:lnTo>
                    <a:lnTo>
                      <a:pt x="338" y="794"/>
                    </a:lnTo>
                    <a:lnTo>
                      <a:pt x="340" y="794"/>
                    </a:lnTo>
                    <a:lnTo>
                      <a:pt x="340" y="792"/>
                    </a:lnTo>
                    <a:lnTo>
                      <a:pt x="342" y="792"/>
                    </a:lnTo>
                    <a:lnTo>
                      <a:pt x="344" y="790"/>
                    </a:lnTo>
                    <a:lnTo>
                      <a:pt x="344" y="788"/>
                    </a:lnTo>
                    <a:lnTo>
                      <a:pt x="346" y="788"/>
                    </a:lnTo>
                    <a:lnTo>
                      <a:pt x="346" y="786"/>
                    </a:lnTo>
                    <a:lnTo>
                      <a:pt x="346" y="784"/>
                    </a:lnTo>
                    <a:lnTo>
                      <a:pt x="346" y="782"/>
                    </a:lnTo>
                    <a:lnTo>
                      <a:pt x="347" y="782"/>
                    </a:lnTo>
                    <a:lnTo>
                      <a:pt x="349" y="782"/>
                    </a:lnTo>
                    <a:lnTo>
                      <a:pt x="351" y="780"/>
                    </a:lnTo>
                    <a:lnTo>
                      <a:pt x="353" y="780"/>
                    </a:lnTo>
                    <a:lnTo>
                      <a:pt x="351" y="780"/>
                    </a:lnTo>
                    <a:lnTo>
                      <a:pt x="351" y="778"/>
                    </a:lnTo>
                    <a:lnTo>
                      <a:pt x="353" y="776"/>
                    </a:lnTo>
                    <a:lnTo>
                      <a:pt x="353" y="772"/>
                    </a:lnTo>
                    <a:lnTo>
                      <a:pt x="353" y="771"/>
                    </a:lnTo>
                    <a:lnTo>
                      <a:pt x="353" y="769"/>
                    </a:lnTo>
                    <a:lnTo>
                      <a:pt x="353" y="767"/>
                    </a:lnTo>
                    <a:lnTo>
                      <a:pt x="355" y="765"/>
                    </a:lnTo>
                    <a:lnTo>
                      <a:pt x="355" y="763"/>
                    </a:lnTo>
                    <a:lnTo>
                      <a:pt x="355" y="761"/>
                    </a:lnTo>
                    <a:lnTo>
                      <a:pt x="357" y="761"/>
                    </a:lnTo>
                    <a:lnTo>
                      <a:pt x="357" y="759"/>
                    </a:lnTo>
                    <a:lnTo>
                      <a:pt x="357" y="757"/>
                    </a:lnTo>
                    <a:lnTo>
                      <a:pt x="357" y="755"/>
                    </a:lnTo>
                    <a:lnTo>
                      <a:pt x="357" y="753"/>
                    </a:lnTo>
                    <a:lnTo>
                      <a:pt x="359" y="751"/>
                    </a:lnTo>
                    <a:lnTo>
                      <a:pt x="359" y="749"/>
                    </a:lnTo>
                    <a:lnTo>
                      <a:pt x="361" y="749"/>
                    </a:lnTo>
                    <a:lnTo>
                      <a:pt x="363" y="749"/>
                    </a:lnTo>
                    <a:lnTo>
                      <a:pt x="363" y="747"/>
                    </a:lnTo>
                    <a:lnTo>
                      <a:pt x="365" y="747"/>
                    </a:lnTo>
                    <a:lnTo>
                      <a:pt x="365" y="746"/>
                    </a:lnTo>
                    <a:lnTo>
                      <a:pt x="365" y="744"/>
                    </a:lnTo>
                    <a:lnTo>
                      <a:pt x="363" y="744"/>
                    </a:lnTo>
                    <a:lnTo>
                      <a:pt x="361" y="744"/>
                    </a:lnTo>
                    <a:lnTo>
                      <a:pt x="361" y="742"/>
                    </a:lnTo>
                    <a:lnTo>
                      <a:pt x="359" y="742"/>
                    </a:lnTo>
                    <a:lnTo>
                      <a:pt x="359" y="740"/>
                    </a:lnTo>
                    <a:lnTo>
                      <a:pt x="357" y="738"/>
                    </a:lnTo>
                    <a:lnTo>
                      <a:pt x="357" y="736"/>
                    </a:lnTo>
                    <a:lnTo>
                      <a:pt x="359" y="736"/>
                    </a:lnTo>
                    <a:lnTo>
                      <a:pt x="359" y="734"/>
                    </a:lnTo>
                    <a:lnTo>
                      <a:pt x="357" y="734"/>
                    </a:lnTo>
                    <a:lnTo>
                      <a:pt x="357" y="736"/>
                    </a:lnTo>
                    <a:lnTo>
                      <a:pt x="355" y="738"/>
                    </a:lnTo>
                    <a:lnTo>
                      <a:pt x="355" y="740"/>
                    </a:lnTo>
                    <a:lnTo>
                      <a:pt x="353" y="740"/>
                    </a:lnTo>
                    <a:lnTo>
                      <a:pt x="349" y="736"/>
                    </a:lnTo>
                    <a:lnTo>
                      <a:pt x="347" y="734"/>
                    </a:lnTo>
                    <a:lnTo>
                      <a:pt x="349" y="734"/>
                    </a:lnTo>
                    <a:lnTo>
                      <a:pt x="349" y="732"/>
                    </a:lnTo>
                    <a:lnTo>
                      <a:pt x="351" y="730"/>
                    </a:lnTo>
                    <a:lnTo>
                      <a:pt x="349" y="728"/>
                    </a:lnTo>
                    <a:lnTo>
                      <a:pt x="349" y="726"/>
                    </a:lnTo>
                    <a:lnTo>
                      <a:pt x="349" y="724"/>
                    </a:lnTo>
                    <a:lnTo>
                      <a:pt x="349" y="722"/>
                    </a:lnTo>
                    <a:lnTo>
                      <a:pt x="347" y="721"/>
                    </a:lnTo>
                    <a:lnTo>
                      <a:pt x="346" y="721"/>
                    </a:lnTo>
                    <a:lnTo>
                      <a:pt x="344" y="721"/>
                    </a:lnTo>
                    <a:lnTo>
                      <a:pt x="344" y="722"/>
                    </a:lnTo>
                    <a:lnTo>
                      <a:pt x="344" y="724"/>
                    </a:lnTo>
                    <a:lnTo>
                      <a:pt x="344" y="726"/>
                    </a:lnTo>
                    <a:lnTo>
                      <a:pt x="342" y="726"/>
                    </a:lnTo>
                    <a:lnTo>
                      <a:pt x="344" y="726"/>
                    </a:lnTo>
                    <a:lnTo>
                      <a:pt x="344" y="728"/>
                    </a:lnTo>
                    <a:lnTo>
                      <a:pt x="346" y="728"/>
                    </a:lnTo>
                    <a:lnTo>
                      <a:pt x="344" y="732"/>
                    </a:lnTo>
                    <a:lnTo>
                      <a:pt x="342" y="734"/>
                    </a:lnTo>
                    <a:lnTo>
                      <a:pt x="342" y="736"/>
                    </a:lnTo>
                    <a:lnTo>
                      <a:pt x="340" y="734"/>
                    </a:lnTo>
                    <a:lnTo>
                      <a:pt x="338" y="732"/>
                    </a:lnTo>
                    <a:lnTo>
                      <a:pt x="336" y="732"/>
                    </a:lnTo>
                    <a:lnTo>
                      <a:pt x="336" y="734"/>
                    </a:lnTo>
                    <a:lnTo>
                      <a:pt x="334" y="734"/>
                    </a:lnTo>
                    <a:lnTo>
                      <a:pt x="332" y="732"/>
                    </a:lnTo>
                    <a:lnTo>
                      <a:pt x="332" y="734"/>
                    </a:lnTo>
                    <a:lnTo>
                      <a:pt x="330" y="734"/>
                    </a:lnTo>
                    <a:lnTo>
                      <a:pt x="328" y="734"/>
                    </a:lnTo>
                    <a:lnTo>
                      <a:pt x="328" y="736"/>
                    </a:lnTo>
                    <a:lnTo>
                      <a:pt x="326" y="736"/>
                    </a:lnTo>
                    <a:lnTo>
                      <a:pt x="324" y="736"/>
                    </a:lnTo>
                    <a:lnTo>
                      <a:pt x="322" y="738"/>
                    </a:lnTo>
                    <a:lnTo>
                      <a:pt x="321" y="738"/>
                    </a:lnTo>
                    <a:lnTo>
                      <a:pt x="319" y="738"/>
                    </a:lnTo>
                    <a:lnTo>
                      <a:pt x="317" y="740"/>
                    </a:lnTo>
                    <a:lnTo>
                      <a:pt x="317" y="738"/>
                    </a:lnTo>
                    <a:lnTo>
                      <a:pt x="315" y="738"/>
                    </a:lnTo>
                    <a:lnTo>
                      <a:pt x="313" y="740"/>
                    </a:lnTo>
                    <a:lnTo>
                      <a:pt x="313" y="738"/>
                    </a:lnTo>
                    <a:lnTo>
                      <a:pt x="313" y="736"/>
                    </a:lnTo>
                    <a:lnTo>
                      <a:pt x="313" y="734"/>
                    </a:lnTo>
                    <a:lnTo>
                      <a:pt x="313" y="732"/>
                    </a:lnTo>
                    <a:lnTo>
                      <a:pt x="313" y="730"/>
                    </a:lnTo>
                    <a:lnTo>
                      <a:pt x="311" y="730"/>
                    </a:lnTo>
                    <a:lnTo>
                      <a:pt x="309" y="730"/>
                    </a:lnTo>
                    <a:lnTo>
                      <a:pt x="307" y="728"/>
                    </a:lnTo>
                    <a:lnTo>
                      <a:pt x="305" y="728"/>
                    </a:lnTo>
                    <a:lnTo>
                      <a:pt x="305" y="726"/>
                    </a:lnTo>
                    <a:lnTo>
                      <a:pt x="303" y="726"/>
                    </a:lnTo>
                    <a:lnTo>
                      <a:pt x="305" y="724"/>
                    </a:lnTo>
                    <a:lnTo>
                      <a:pt x="303" y="724"/>
                    </a:lnTo>
                    <a:lnTo>
                      <a:pt x="303" y="722"/>
                    </a:lnTo>
                    <a:lnTo>
                      <a:pt x="301" y="722"/>
                    </a:lnTo>
                    <a:lnTo>
                      <a:pt x="301" y="721"/>
                    </a:lnTo>
                    <a:lnTo>
                      <a:pt x="299" y="721"/>
                    </a:lnTo>
                    <a:lnTo>
                      <a:pt x="299" y="719"/>
                    </a:lnTo>
                    <a:lnTo>
                      <a:pt x="299" y="717"/>
                    </a:lnTo>
                    <a:lnTo>
                      <a:pt x="301" y="717"/>
                    </a:lnTo>
                    <a:lnTo>
                      <a:pt x="299" y="715"/>
                    </a:lnTo>
                    <a:lnTo>
                      <a:pt x="299" y="713"/>
                    </a:lnTo>
                    <a:lnTo>
                      <a:pt x="297" y="711"/>
                    </a:lnTo>
                    <a:lnTo>
                      <a:pt x="297" y="709"/>
                    </a:lnTo>
                    <a:lnTo>
                      <a:pt x="297" y="707"/>
                    </a:lnTo>
                    <a:lnTo>
                      <a:pt x="297" y="705"/>
                    </a:lnTo>
                    <a:lnTo>
                      <a:pt x="297" y="703"/>
                    </a:lnTo>
                    <a:lnTo>
                      <a:pt x="297" y="701"/>
                    </a:lnTo>
                    <a:lnTo>
                      <a:pt x="297" y="699"/>
                    </a:lnTo>
                    <a:lnTo>
                      <a:pt x="297" y="697"/>
                    </a:lnTo>
                    <a:lnTo>
                      <a:pt x="296" y="697"/>
                    </a:lnTo>
                    <a:lnTo>
                      <a:pt x="296" y="696"/>
                    </a:lnTo>
                    <a:lnTo>
                      <a:pt x="294" y="696"/>
                    </a:lnTo>
                    <a:lnTo>
                      <a:pt x="290" y="697"/>
                    </a:lnTo>
                    <a:lnTo>
                      <a:pt x="290" y="699"/>
                    </a:lnTo>
                    <a:lnTo>
                      <a:pt x="290" y="701"/>
                    </a:lnTo>
                    <a:lnTo>
                      <a:pt x="288" y="705"/>
                    </a:lnTo>
                    <a:lnTo>
                      <a:pt x="286" y="703"/>
                    </a:lnTo>
                    <a:lnTo>
                      <a:pt x="284" y="703"/>
                    </a:lnTo>
                    <a:lnTo>
                      <a:pt x="282" y="705"/>
                    </a:lnTo>
                    <a:lnTo>
                      <a:pt x="280" y="705"/>
                    </a:lnTo>
                    <a:lnTo>
                      <a:pt x="280" y="707"/>
                    </a:lnTo>
                    <a:lnTo>
                      <a:pt x="280" y="709"/>
                    </a:lnTo>
                    <a:lnTo>
                      <a:pt x="280" y="711"/>
                    </a:lnTo>
                    <a:lnTo>
                      <a:pt x="278" y="713"/>
                    </a:lnTo>
                    <a:lnTo>
                      <a:pt x="276" y="713"/>
                    </a:lnTo>
                    <a:lnTo>
                      <a:pt x="276" y="715"/>
                    </a:lnTo>
                    <a:lnTo>
                      <a:pt x="274" y="715"/>
                    </a:lnTo>
                    <a:lnTo>
                      <a:pt x="274" y="717"/>
                    </a:lnTo>
                    <a:lnTo>
                      <a:pt x="273" y="717"/>
                    </a:lnTo>
                    <a:lnTo>
                      <a:pt x="271" y="717"/>
                    </a:lnTo>
                    <a:lnTo>
                      <a:pt x="271" y="715"/>
                    </a:lnTo>
                    <a:lnTo>
                      <a:pt x="271" y="717"/>
                    </a:lnTo>
                    <a:lnTo>
                      <a:pt x="269" y="717"/>
                    </a:lnTo>
                    <a:lnTo>
                      <a:pt x="269" y="719"/>
                    </a:lnTo>
                    <a:lnTo>
                      <a:pt x="271" y="721"/>
                    </a:lnTo>
                    <a:lnTo>
                      <a:pt x="271" y="722"/>
                    </a:lnTo>
                    <a:lnTo>
                      <a:pt x="271" y="724"/>
                    </a:lnTo>
                    <a:lnTo>
                      <a:pt x="271" y="726"/>
                    </a:lnTo>
                    <a:lnTo>
                      <a:pt x="271" y="728"/>
                    </a:lnTo>
                    <a:lnTo>
                      <a:pt x="269" y="728"/>
                    </a:lnTo>
                    <a:lnTo>
                      <a:pt x="265" y="728"/>
                    </a:lnTo>
                    <a:lnTo>
                      <a:pt x="265" y="726"/>
                    </a:lnTo>
                    <a:lnTo>
                      <a:pt x="265" y="724"/>
                    </a:lnTo>
                    <a:lnTo>
                      <a:pt x="265" y="722"/>
                    </a:lnTo>
                    <a:lnTo>
                      <a:pt x="263" y="722"/>
                    </a:lnTo>
                    <a:lnTo>
                      <a:pt x="263" y="721"/>
                    </a:lnTo>
                    <a:lnTo>
                      <a:pt x="263" y="719"/>
                    </a:lnTo>
                    <a:lnTo>
                      <a:pt x="261" y="715"/>
                    </a:lnTo>
                    <a:lnTo>
                      <a:pt x="261" y="713"/>
                    </a:lnTo>
                    <a:lnTo>
                      <a:pt x="259" y="713"/>
                    </a:lnTo>
                    <a:lnTo>
                      <a:pt x="257" y="713"/>
                    </a:lnTo>
                    <a:lnTo>
                      <a:pt x="255" y="713"/>
                    </a:lnTo>
                    <a:lnTo>
                      <a:pt x="253" y="713"/>
                    </a:lnTo>
                    <a:lnTo>
                      <a:pt x="253" y="711"/>
                    </a:lnTo>
                    <a:lnTo>
                      <a:pt x="251" y="711"/>
                    </a:lnTo>
                    <a:lnTo>
                      <a:pt x="251" y="709"/>
                    </a:lnTo>
                    <a:lnTo>
                      <a:pt x="249" y="709"/>
                    </a:lnTo>
                    <a:lnTo>
                      <a:pt x="249" y="711"/>
                    </a:lnTo>
                    <a:lnTo>
                      <a:pt x="248" y="709"/>
                    </a:lnTo>
                    <a:lnTo>
                      <a:pt x="248" y="707"/>
                    </a:lnTo>
                    <a:lnTo>
                      <a:pt x="248" y="70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1" name="Freeform 26"/>
              <p:cNvSpPr>
                <a:spLocks/>
              </p:cNvSpPr>
              <p:nvPr/>
            </p:nvSpPr>
            <p:spPr bwMode="auto">
              <a:xfrm>
                <a:off x="1040261" y="2395754"/>
                <a:ext cx="228843" cy="165180"/>
              </a:xfrm>
              <a:custGeom>
                <a:avLst/>
                <a:gdLst>
                  <a:gd name="T0" fmla="*/ 112 w 133"/>
                  <a:gd name="T1" fmla="*/ 67 h 96"/>
                  <a:gd name="T2" fmla="*/ 108 w 133"/>
                  <a:gd name="T3" fmla="*/ 77 h 96"/>
                  <a:gd name="T4" fmla="*/ 98 w 133"/>
                  <a:gd name="T5" fmla="*/ 77 h 96"/>
                  <a:gd name="T6" fmla="*/ 95 w 133"/>
                  <a:gd name="T7" fmla="*/ 79 h 96"/>
                  <a:gd name="T8" fmla="*/ 93 w 133"/>
                  <a:gd name="T9" fmla="*/ 85 h 96"/>
                  <a:gd name="T10" fmla="*/ 87 w 133"/>
                  <a:gd name="T11" fmla="*/ 92 h 96"/>
                  <a:gd name="T12" fmla="*/ 77 w 133"/>
                  <a:gd name="T13" fmla="*/ 94 h 96"/>
                  <a:gd name="T14" fmla="*/ 73 w 133"/>
                  <a:gd name="T15" fmla="*/ 92 h 96"/>
                  <a:gd name="T16" fmla="*/ 68 w 133"/>
                  <a:gd name="T17" fmla="*/ 87 h 96"/>
                  <a:gd name="T18" fmla="*/ 62 w 133"/>
                  <a:gd name="T19" fmla="*/ 89 h 96"/>
                  <a:gd name="T20" fmla="*/ 58 w 133"/>
                  <a:gd name="T21" fmla="*/ 87 h 96"/>
                  <a:gd name="T22" fmla="*/ 60 w 133"/>
                  <a:gd name="T23" fmla="*/ 79 h 96"/>
                  <a:gd name="T24" fmla="*/ 56 w 133"/>
                  <a:gd name="T25" fmla="*/ 75 h 96"/>
                  <a:gd name="T26" fmla="*/ 47 w 133"/>
                  <a:gd name="T27" fmla="*/ 71 h 96"/>
                  <a:gd name="T28" fmla="*/ 41 w 133"/>
                  <a:gd name="T29" fmla="*/ 67 h 96"/>
                  <a:gd name="T30" fmla="*/ 35 w 133"/>
                  <a:gd name="T31" fmla="*/ 64 h 96"/>
                  <a:gd name="T32" fmla="*/ 33 w 133"/>
                  <a:gd name="T33" fmla="*/ 60 h 96"/>
                  <a:gd name="T34" fmla="*/ 31 w 133"/>
                  <a:gd name="T35" fmla="*/ 52 h 96"/>
                  <a:gd name="T36" fmla="*/ 22 w 133"/>
                  <a:gd name="T37" fmla="*/ 50 h 96"/>
                  <a:gd name="T38" fmla="*/ 16 w 133"/>
                  <a:gd name="T39" fmla="*/ 50 h 96"/>
                  <a:gd name="T40" fmla="*/ 10 w 133"/>
                  <a:gd name="T41" fmla="*/ 48 h 96"/>
                  <a:gd name="T42" fmla="*/ 6 w 133"/>
                  <a:gd name="T43" fmla="*/ 42 h 96"/>
                  <a:gd name="T44" fmla="*/ 8 w 133"/>
                  <a:gd name="T45" fmla="*/ 35 h 96"/>
                  <a:gd name="T46" fmla="*/ 12 w 133"/>
                  <a:gd name="T47" fmla="*/ 27 h 96"/>
                  <a:gd name="T48" fmla="*/ 6 w 133"/>
                  <a:gd name="T49" fmla="*/ 19 h 96"/>
                  <a:gd name="T50" fmla="*/ 0 w 133"/>
                  <a:gd name="T51" fmla="*/ 19 h 96"/>
                  <a:gd name="T52" fmla="*/ 4 w 133"/>
                  <a:gd name="T53" fmla="*/ 16 h 96"/>
                  <a:gd name="T54" fmla="*/ 12 w 133"/>
                  <a:gd name="T55" fmla="*/ 10 h 96"/>
                  <a:gd name="T56" fmla="*/ 14 w 133"/>
                  <a:gd name="T57" fmla="*/ 8 h 96"/>
                  <a:gd name="T58" fmla="*/ 22 w 133"/>
                  <a:gd name="T59" fmla="*/ 8 h 96"/>
                  <a:gd name="T60" fmla="*/ 27 w 133"/>
                  <a:gd name="T61" fmla="*/ 4 h 96"/>
                  <a:gd name="T62" fmla="*/ 35 w 133"/>
                  <a:gd name="T63" fmla="*/ 6 h 96"/>
                  <a:gd name="T64" fmla="*/ 39 w 133"/>
                  <a:gd name="T65" fmla="*/ 6 h 96"/>
                  <a:gd name="T66" fmla="*/ 43 w 133"/>
                  <a:gd name="T67" fmla="*/ 4 h 96"/>
                  <a:gd name="T68" fmla="*/ 47 w 133"/>
                  <a:gd name="T69" fmla="*/ 8 h 96"/>
                  <a:gd name="T70" fmla="*/ 52 w 133"/>
                  <a:gd name="T71" fmla="*/ 8 h 96"/>
                  <a:gd name="T72" fmla="*/ 58 w 133"/>
                  <a:gd name="T73" fmla="*/ 12 h 96"/>
                  <a:gd name="T74" fmla="*/ 64 w 133"/>
                  <a:gd name="T75" fmla="*/ 16 h 96"/>
                  <a:gd name="T76" fmla="*/ 72 w 133"/>
                  <a:gd name="T77" fmla="*/ 14 h 96"/>
                  <a:gd name="T78" fmla="*/ 81 w 133"/>
                  <a:gd name="T79" fmla="*/ 14 h 96"/>
                  <a:gd name="T80" fmla="*/ 89 w 133"/>
                  <a:gd name="T81" fmla="*/ 12 h 96"/>
                  <a:gd name="T82" fmla="*/ 93 w 133"/>
                  <a:gd name="T83" fmla="*/ 6 h 96"/>
                  <a:gd name="T84" fmla="*/ 98 w 133"/>
                  <a:gd name="T85" fmla="*/ 4 h 96"/>
                  <a:gd name="T86" fmla="*/ 102 w 133"/>
                  <a:gd name="T87" fmla="*/ 14 h 96"/>
                  <a:gd name="T88" fmla="*/ 102 w 133"/>
                  <a:gd name="T89" fmla="*/ 19 h 96"/>
                  <a:gd name="T90" fmla="*/ 108 w 133"/>
                  <a:gd name="T91" fmla="*/ 21 h 96"/>
                  <a:gd name="T92" fmla="*/ 114 w 133"/>
                  <a:gd name="T93" fmla="*/ 21 h 96"/>
                  <a:gd name="T94" fmla="*/ 121 w 133"/>
                  <a:gd name="T95" fmla="*/ 25 h 96"/>
                  <a:gd name="T96" fmla="*/ 125 w 133"/>
                  <a:gd name="T97" fmla="*/ 23 h 96"/>
                  <a:gd name="T98" fmla="*/ 125 w 133"/>
                  <a:gd name="T99" fmla="*/ 29 h 96"/>
                  <a:gd name="T100" fmla="*/ 120 w 133"/>
                  <a:gd name="T101" fmla="*/ 33 h 96"/>
                  <a:gd name="T102" fmla="*/ 116 w 133"/>
                  <a:gd name="T103" fmla="*/ 39 h 96"/>
                  <a:gd name="T104" fmla="*/ 127 w 133"/>
                  <a:gd name="T105" fmla="*/ 44 h 96"/>
                  <a:gd name="T106" fmla="*/ 133 w 133"/>
                  <a:gd name="T107" fmla="*/ 35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 h="96">
                    <a:moveTo>
                      <a:pt x="129" y="46"/>
                    </a:moveTo>
                    <a:lnTo>
                      <a:pt x="123" y="50"/>
                    </a:lnTo>
                    <a:lnTo>
                      <a:pt x="121" y="52"/>
                    </a:lnTo>
                    <a:lnTo>
                      <a:pt x="121" y="54"/>
                    </a:lnTo>
                    <a:lnTo>
                      <a:pt x="118" y="58"/>
                    </a:lnTo>
                    <a:lnTo>
                      <a:pt x="114" y="64"/>
                    </a:lnTo>
                    <a:lnTo>
                      <a:pt x="112" y="67"/>
                    </a:lnTo>
                    <a:lnTo>
                      <a:pt x="112" y="71"/>
                    </a:lnTo>
                    <a:lnTo>
                      <a:pt x="112" y="75"/>
                    </a:lnTo>
                    <a:lnTo>
                      <a:pt x="110" y="77"/>
                    </a:lnTo>
                    <a:lnTo>
                      <a:pt x="108" y="79"/>
                    </a:lnTo>
                    <a:lnTo>
                      <a:pt x="108" y="77"/>
                    </a:lnTo>
                    <a:lnTo>
                      <a:pt x="108" y="75"/>
                    </a:lnTo>
                    <a:lnTo>
                      <a:pt x="108" y="77"/>
                    </a:lnTo>
                    <a:lnTo>
                      <a:pt x="106" y="77"/>
                    </a:lnTo>
                    <a:lnTo>
                      <a:pt x="104" y="77"/>
                    </a:lnTo>
                    <a:lnTo>
                      <a:pt x="102" y="77"/>
                    </a:lnTo>
                    <a:lnTo>
                      <a:pt x="102" y="75"/>
                    </a:lnTo>
                    <a:lnTo>
                      <a:pt x="100" y="75"/>
                    </a:lnTo>
                    <a:lnTo>
                      <a:pt x="100" y="77"/>
                    </a:lnTo>
                    <a:lnTo>
                      <a:pt x="98" y="77"/>
                    </a:lnTo>
                    <a:lnTo>
                      <a:pt x="98" y="75"/>
                    </a:lnTo>
                    <a:lnTo>
                      <a:pt x="96" y="75"/>
                    </a:lnTo>
                    <a:lnTo>
                      <a:pt x="96" y="77"/>
                    </a:lnTo>
                    <a:lnTo>
                      <a:pt x="95" y="77"/>
                    </a:lnTo>
                    <a:lnTo>
                      <a:pt x="95" y="79"/>
                    </a:lnTo>
                    <a:lnTo>
                      <a:pt x="93" y="79"/>
                    </a:lnTo>
                    <a:lnTo>
                      <a:pt x="95" y="79"/>
                    </a:lnTo>
                    <a:lnTo>
                      <a:pt x="93" y="79"/>
                    </a:lnTo>
                    <a:lnTo>
                      <a:pt x="93" y="81"/>
                    </a:lnTo>
                    <a:lnTo>
                      <a:pt x="91" y="81"/>
                    </a:lnTo>
                    <a:lnTo>
                      <a:pt x="91" y="83"/>
                    </a:lnTo>
                    <a:lnTo>
                      <a:pt x="91" y="85"/>
                    </a:lnTo>
                    <a:lnTo>
                      <a:pt x="93" y="87"/>
                    </a:lnTo>
                    <a:lnTo>
                      <a:pt x="93" y="85"/>
                    </a:lnTo>
                    <a:lnTo>
                      <a:pt x="93" y="87"/>
                    </a:lnTo>
                    <a:lnTo>
                      <a:pt x="93" y="89"/>
                    </a:lnTo>
                    <a:lnTo>
                      <a:pt x="91" y="89"/>
                    </a:lnTo>
                    <a:lnTo>
                      <a:pt x="91" y="91"/>
                    </a:lnTo>
                    <a:lnTo>
                      <a:pt x="89" y="91"/>
                    </a:lnTo>
                    <a:lnTo>
                      <a:pt x="87" y="91"/>
                    </a:lnTo>
                    <a:lnTo>
                      <a:pt x="87" y="92"/>
                    </a:lnTo>
                    <a:lnTo>
                      <a:pt x="89" y="92"/>
                    </a:lnTo>
                    <a:lnTo>
                      <a:pt x="87" y="94"/>
                    </a:lnTo>
                    <a:lnTo>
                      <a:pt x="87" y="96"/>
                    </a:lnTo>
                    <a:lnTo>
                      <a:pt x="83" y="94"/>
                    </a:lnTo>
                    <a:lnTo>
                      <a:pt x="79" y="92"/>
                    </a:lnTo>
                    <a:lnTo>
                      <a:pt x="79" y="94"/>
                    </a:lnTo>
                    <a:lnTo>
                      <a:pt x="77" y="94"/>
                    </a:lnTo>
                    <a:lnTo>
                      <a:pt x="77" y="92"/>
                    </a:lnTo>
                    <a:lnTo>
                      <a:pt x="77" y="94"/>
                    </a:lnTo>
                    <a:lnTo>
                      <a:pt x="75" y="94"/>
                    </a:lnTo>
                    <a:lnTo>
                      <a:pt x="77" y="94"/>
                    </a:lnTo>
                    <a:lnTo>
                      <a:pt x="75" y="94"/>
                    </a:lnTo>
                    <a:lnTo>
                      <a:pt x="75" y="92"/>
                    </a:lnTo>
                    <a:lnTo>
                      <a:pt x="73" y="92"/>
                    </a:lnTo>
                    <a:lnTo>
                      <a:pt x="73" y="91"/>
                    </a:lnTo>
                    <a:lnTo>
                      <a:pt x="72" y="91"/>
                    </a:lnTo>
                    <a:lnTo>
                      <a:pt x="72" y="89"/>
                    </a:lnTo>
                    <a:lnTo>
                      <a:pt x="70" y="89"/>
                    </a:lnTo>
                    <a:lnTo>
                      <a:pt x="70" y="87"/>
                    </a:lnTo>
                    <a:lnTo>
                      <a:pt x="68" y="89"/>
                    </a:lnTo>
                    <a:lnTo>
                      <a:pt x="68" y="87"/>
                    </a:lnTo>
                    <a:lnTo>
                      <a:pt x="66" y="87"/>
                    </a:lnTo>
                    <a:lnTo>
                      <a:pt x="66" y="85"/>
                    </a:lnTo>
                    <a:lnTo>
                      <a:pt x="66" y="87"/>
                    </a:lnTo>
                    <a:lnTo>
                      <a:pt x="64" y="87"/>
                    </a:lnTo>
                    <a:lnTo>
                      <a:pt x="64" y="89"/>
                    </a:lnTo>
                    <a:lnTo>
                      <a:pt x="62" y="87"/>
                    </a:lnTo>
                    <a:lnTo>
                      <a:pt x="62" y="89"/>
                    </a:lnTo>
                    <a:lnTo>
                      <a:pt x="60" y="89"/>
                    </a:lnTo>
                    <a:lnTo>
                      <a:pt x="58" y="89"/>
                    </a:lnTo>
                    <a:lnTo>
                      <a:pt x="58" y="87"/>
                    </a:lnTo>
                    <a:lnTo>
                      <a:pt x="60" y="87"/>
                    </a:lnTo>
                    <a:lnTo>
                      <a:pt x="58" y="87"/>
                    </a:lnTo>
                    <a:lnTo>
                      <a:pt x="56" y="87"/>
                    </a:lnTo>
                    <a:lnTo>
                      <a:pt x="58" y="87"/>
                    </a:lnTo>
                    <a:lnTo>
                      <a:pt x="58" y="85"/>
                    </a:lnTo>
                    <a:lnTo>
                      <a:pt x="58" y="83"/>
                    </a:lnTo>
                    <a:lnTo>
                      <a:pt x="60" y="83"/>
                    </a:lnTo>
                    <a:lnTo>
                      <a:pt x="60" y="81"/>
                    </a:lnTo>
                    <a:lnTo>
                      <a:pt x="60" y="83"/>
                    </a:lnTo>
                    <a:lnTo>
                      <a:pt x="60" y="81"/>
                    </a:lnTo>
                    <a:lnTo>
                      <a:pt x="60" y="79"/>
                    </a:lnTo>
                    <a:lnTo>
                      <a:pt x="60" y="77"/>
                    </a:lnTo>
                    <a:lnTo>
                      <a:pt x="62" y="77"/>
                    </a:lnTo>
                    <a:lnTo>
                      <a:pt x="60" y="77"/>
                    </a:lnTo>
                    <a:lnTo>
                      <a:pt x="60" y="75"/>
                    </a:lnTo>
                    <a:lnTo>
                      <a:pt x="58" y="75"/>
                    </a:lnTo>
                    <a:lnTo>
                      <a:pt x="58" y="77"/>
                    </a:lnTo>
                    <a:lnTo>
                      <a:pt x="56" y="75"/>
                    </a:lnTo>
                    <a:lnTo>
                      <a:pt x="54" y="75"/>
                    </a:lnTo>
                    <a:lnTo>
                      <a:pt x="54" y="73"/>
                    </a:lnTo>
                    <a:lnTo>
                      <a:pt x="52" y="73"/>
                    </a:lnTo>
                    <a:lnTo>
                      <a:pt x="50" y="73"/>
                    </a:lnTo>
                    <a:lnTo>
                      <a:pt x="50" y="71"/>
                    </a:lnTo>
                    <a:lnTo>
                      <a:pt x="48" y="71"/>
                    </a:lnTo>
                    <a:lnTo>
                      <a:pt x="47" y="71"/>
                    </a:lnTo>
                    <a:lnTo>
                      <a:pt x="47" y="69"/>
                    </a:lnTo>
                    <a:lnTo>
                      <a:pt x="45" y="69"/>
                    </a:lnTo>
                    <a:lnTo>
                      <a:pt x="45" y="67"/>
                    </a:lnTo>
                    <a:lnTo>
                      <a:pt x="45" y="69"/>
                    </a:lnTo>
                    <a:lnTo>
                      <a:pt x="45" y="67"/>
                    </a:lnTo>
                    <a:lnTo>
                      <a:pt x="43" y="67"/>
                    </a:lnTo>
                    <a:lnTo>
                      <a:pt x="41" y="67"/>
                    </a:lnTo>
                    <a:lnTo>
                      <a:pt x="41" y="66"/>
                    </a:lnTo>
                    <a:lnTo>
                      <a:pt x="39" y="66"/>
                    </a:lnTo>
                    <a:lnTo>
                      <a:pt x="37" y="66"/>
                    </a:lnTo>
                    <a:lnTo>
                      <a:pt x="37" y="64"/>
                    </a:lnTo>
                    <a:lnTo>
                      <a:pt x="37" y="66"/>
                    </a:lnTo>
                    <a:lnTo>
                      <a:pt x="37" y="64"/>
                    </a:lnTo>
                    <a:lnTo>
                      <a:pt x="35" y="64"/>
                    </a:lnTo>
                    <a:lnTo>
                      <a:pt x="35" y="62"/>
                    </a:lnTo>
                    <a:lnTo>
                      <a:pt x="37" y="62"/>
                    </a:lnTo>
                    <a:lnTo>
                      <a:pt x="35" y="62"/>
                    </a:lnTo>
                    <a:lnTo>
                      <a:pt x="35" y="60"/>
                    </a:lnTo>
                    <a:lnTo>
                      <a:pt x="33" y="60"/>
                    </a:lnTo>
                    <a:lnTo>
                      <a:pt x="31" y="60"/>
                    </a:lnTo>
                    <a:lnTo>
                      <a:pt x="33" y="60"/>
                    </a:lnTo>
                    <a:lnTo>
                      <a:pt x="33" y="58"/>
                    </a:lnTo>
                    <a:lnTo>
                      <a:pt x="31" y="60"/>
                    </a:lnTo>
                    <a:lnTo>
                      <a:pt x="31" y="58"/>
                    </a:lnTo>
                    <a:lnTo>
                      <a:pt x="33" y="58"/>
                    </a:lnTo>
                    <a:lnTo>
                      <a:pt x="31" y="56"/>
                    </a:lnTo>
                    <a:lnTo>
                      <a:pt x="31" y="54"/>
                    </a:lnTo>
                    <a:lnTo>
                      <a:pt x="31" y="52"/>
                    </a:lnTo>
                    <a:lnTo>
                      <a:pt x="29" y="52"/>
                    </a:lnTo>
                    <a:lnTo>
                      <a:pt x="27" y="52"/>
                    </a:lnTo>
                    <a:lnTo>
                      <a:pt x="27" y="50"/>
                    </a:lnTo>
                    <a:lnTo>
                      <a:pt x="25" y="50"/>
                    </a:lnTo>
                    <a:lnTo>
                      <a:pt x="23" y="48"/>
                    </a:lnTo>
                    <a:lnTo>
                      <a:pt x="23" y="50"/>
                    </a:lnTo>
                    <a:lnTo>
                      <a:pt x="22" y="50"/>
                    </a:lnTo>
                    <a:lnTo>
                      <a:pt x="20" y="50"/>
                    </a:lnTo>
                    <a:lnTo>
                      <a:pt x="22" y="50"/>
                    </a:lnTo>
                    <a:lnTo>
                      <a:pt x="20" y="50"/>
                    </a:lnTo>
                    <a:lnTo>
                      <a:pt x="20" y="52"/>
                    </a:lnTo>
                    <a:lnTo>
                      <a:pt x="20" y="50"/>
                    </a:lnTo>
                    <a:lnTo>
                      <a:pt x="18" y="50"/>
                    </a:lnTo>
                    <a:lnTo>
                      <a:pt x="16" y="50"/>
                    </a:lnTo>
                    <a:lnTo>
                      <a:pt x="14" y="50"/>
                    </a:lnTo>
                    <a:lnTo>
                      <a:pt x="14" y="52"/>
                    </a:lnTo>
                    <a:lnTo>
                      <a:pt x="12" y="52"/>
                    </a:lnTo>
                    <a:lnTo>
                      <a:pt x="10" y="52"/>
                    </a:lnTo>
                    <a:lnTo>
                      <a:pt x="10" y="50"/>
                    </a:lnTo>
                    <a:lnTo>
                      <a:pt x="8" y="48"/>
                    </a:lnTo>
                    <a:lnTo>
                      <a:pt x="10" y="48"/>
                    </a:lnTo>
                    <a:lnTo>
                      <a:pt x="8" y="48"/>
                    </a:lnTo>
                    <a:lnTo>
                      <a:pt x="8" y="46"/>
                    </a:lnTo>
                    <a:lnTo>
                      <a:pt x="6" y="46"/>
                    </a:lnTo>
                    <a:lnTo>
                      <a:pt x="4" y="46"/>
                    </a:lnTo>
                    <a:lnTo>
                      <a:pt x="4" y="44"/>
                    </a:lnTo>
                    <a:lnTo>
                      <a:pt x="6" y="44"/>
                    </a:lnTo>
                    <a:lnTo>
                      <a:pt x="6" y="42"/>
                    </a:lnTo>
                    <a:lnTo>
                      <a:pt x="6" y="41"/>
                    </a:lnTo>
                    <a:lnTo>
                      <a:pt x="6" y="39"/>
                    </a:lnTo>
                    <a:lnTo>
                      <a:pt x="8" y="39"/>
                    </a:lnTo>
                    <a:lnTo>
                      <a:pt x="8" y="37"/>
                    </a:lnTo>
                    <a:lnTo>
                      <a:pt x="6" y="37"/>
                    </a:lnTo>
                    <a:lnTo>
                      <a:pt x="6" y="35"/>
                    </a:lnTo>
                    <a:lnTo>
                      <a:pt x="8" y="35"/>
                    </a:lnTo>
                    <a:lnTo>
                      <a:pt x="10" y="35"/>
                    </a:lnTo>
                    <a:lnTo>
                      <a:pt x="10" y="33"/>
                    </a:lnTo>
                    <a:lnTo>
                      <a:pt x="10" y="31"/>
                    </a:lnTo>
                    <a:lnTo>
                      <a:pt x="12" y="29"/>
                    </a:lnTo>
                    <a:lnTo>
                      <a:pt x="14" y="29"/>
                    </a:lnTo>
                    <a:lnTo>
                      <a:pt x="14" y="27"/>
                    </a:lnTo>
                    <a:lnTo>
                      <a:pt x="12" y="27"/>
                    </a:lnTo>
                    <a:lnTo>
                      <a:pt x="12" y="25"/>
                    </a:lnTo>
                    <a:lnTo>
                      <a:pt x="10" y="25"/>
                    </a:lnTo>
                    <a:lnTo>
                      <a:pt x="10" y="23"/>
                    </a:lnTo>
                    <a:lnTo>
                      <a:pt x="10" y="21"/>
                    </a:lnTo>
                    <a:lnTo>
                      <a:pt x="8" y="21"/>
                    </a:lnTo>
                    <a:lnTo>
                      <a:pt x="6" y="21"/>
                    </a:lnTo>
                    <a:lnTo>
                      <a:pt x="6" y="19"/>
                    </a:lnTo>
                    <a:lnTo>
                      <a:pt x="6" y="21"/>
                    </a:lnTo>
                    <a:lnTo>
                      <a:pt x="4" y="21"/>
                    </a:lnTo>
                    <a:lnTo>
                      <a:pt x="2" y="21"/>
                    </a:lnTo>
                    <a:lnTo>
                      <a:pt x="2" y="23"/>
                    </a:lnTo>
                    <a:lnTo>
                      <a:pt x="2" y="21"/>
                    </a:lnTo>
                    <a:lnTo>
                      <a:pt x="0" y="21"/>
                    </a:lnTo>
                    <a:lnTo>
                      <a:pt x="0" y="19"/>
                    </a:lnTo>
                    <a:lnTo>
                      <a:pt x="0" y="17"/>
                    </a:lnTo>
                    <a:lnTo>
                      <a:pt x="2" y="17"/>
                    </a:lnTo>
                    <a:lnTo>
                      <a:pt x="2" y="16"/>
                    </a:lnTo>
                    <a:lnTo>
                      <a:pt x="4" y="16"/>
                    </a:lnTo>
                    <a:lnTo>
                      <a:pt x="4" y="14"/>
                    </a:lnTo>
                    <a:lnTo>
                      <a:pt x="6" y="14"/>
                    </a:lnTo>
                    <a:lnTo>
                      <a:pt x="4" y="16"/>
                    </a:lnTo>
                    <a:lnTo>
                      <a:pt x="6" y="16"/>
                    </a:lnTo>
                    <a:lnTo>
                      <a:pt x="6" y="14"/>
                    </a:lnTo>
                    <a:lnTo>
                      <a:pt x="6" y="12"/>
                    </a:lnTo>
                    <a:lnTo>
                      <a:pt x="8" y="12"/>
                    </a:lnTo>
                    <a:lnTo>
                      <a:pt x="10" y="12"/>
                    </a:lnTo>
                    <a:lnTo>
                      <a:pt x="12" y="12"/>
                    </a:lnTo>
                    <a:lnTo>
                      <a:pt x="12" y="10"/>
                    </a:lnTo>
                    <a:lnTo>
                      <a:pt x="14" y="8"/>
                    </a:lnTo>
                    <a:lnTo>
                      <a:pt x="12" y="8"/>
                    </a:lnTo>
                    <a:lnTo>
                      <a:pt x="14" y="8"/>
                    </a:lnTo>
                    <a:lnTo>
                      <a:pt x="14" y="6"/>
                    </a:lnTo>
                    <a:lnTo>
                      <a:pt x="16" y="6"/>
                    </a:lnTo>
                    <a:lnTo>
                      <a:pt x="16" y="8"/>
                    </a:lnTo>
                    <a:lnTo>
                      <a:pt x="14" y="8"/>
                    </a:lnTo>
                    <a:lnTo>
                      <a:pt x="16" y="10"/>
                    </a:lnTo>
                    <a:lnTo>
                      <a:pt x="16" y="8"/>
                    </a:lnTo>
                    <a:lnTo>
                      <a:pt x="18" y="6"/>
                    </a:lnTo>
                    <a:lnTo>
                      <a:pt x="20" y="8"/>
                    </a:lnTo>
                    <a:lnTo>
                      <a:pt x="20" y="6"/>
                    </a:lnTo>
                    <a:lnTo>
                      <a:pt x="22" y="6"/>
                    </a:lnTo>
                    <a:lnTo>
                      <a:pt x="22" y="8"/>
                    </a:lnTo>
                    <a:lnTo>
                      <a:pt x="23" y="6"/>
                    </a:lnTo>
                    <a:lnTo>
                      <a:pt x="23" y="8"/>
                    </a:lnTo>
                    <a:lnTo>
                      <a:pt x="23" y="10"/>
                    </a:lnTo>
                    <a:lnTo>
                      <a:pt x="25" y="8"/>
                    </a:lnTo>
                    <a:lnTo>
                      <a:pt x="25" y="6"/>
                    </a:lnTo>
                    <a:lnTo>
                      <a:pt x="25" y="4"/>
                    </a:lnTo>
                    <a:lnTo>
                      <a:pt x="27" y="4"/>
                    </a:lnTo>
                    <a:lnTo>
                      <a:pt x="29" y="4"/>
                    </a:lnTo>
                    <a:lnTo>
                      <a:pt x="29" y="6"/>
                    </a:lnTo>
                    <a:lnTo>
                      <a:pt x="31" y="6"/>
                    </a:lnTo>
                    <a:lnTo>
                      <a:pt x="33" y="6"/>
                    </a:lnTo>
                    <a:lnTo>
                      <a:pt x="33" y="4"/>
                    </a:lnTo>
                    <a:lnTo>
                      <a:pt x="33" y="6"/>
                    </a:lnTo>
                    <a:lnTo>
                      <a:pt x="35" y="6"/>
                    </a:lnTo>
                    <a:lnTo>
                      <a:pt x="35" y="8"/>
                    </a:lnTo>
                    <a:lnTo>
                      <a:pt x="37" y="8"/>
                    </a:lnTo>
                    <a:lnTo>
                      <a:pt x="39" y="6"/>
                    </a:lnTo>
                    <a:lnTo>
                      <a:pt x="39" y="8"/>
                    </a:lnTo>
                    <a:lnTo>
                      <a:pt x="39" y="6"/>
                    </a:lnTo>
                    <a:lnTo>
                      <a:pt x="39" y="8"/>
                    </a:lnTo>
                    <a:lnTo>
                      <a:pt x="39" y="6"/>
                    </a:lnTo>
                    <a:lnTo>
                      <a:pt x="39" y="8"/>
                    </a:lnTo>
                    <a:lnTo>
                      <a:pt x="39" y="6"/>
                    </a:lnTo>
                    <a:lnTo>
                      <a:pt x="41" y="6"/>
                    </a:lnTo>
                    <a:lnTo>
                      <a:pt x="39" y="6"/>
                    </a:lnTo>
                    <a:lnTo>
                      <a:pt x="39" y="4"/>
                    </a:lnTo>
                    <a:lnTo>
                      <a:pt x="41" y="4"/>
                    </a:lnTo>
                    <a:lnTo>
                      <a:pt x="43" y="4"/>
                    </a:lnTo>
                    <a:lnTo>
                      <a:pt x="43" y="6"/>
                    </a:lnTo>
                    <a:lnTo>
                      <a:pt x="43" y="4"/>
                    </a:lnTo>
                    <a:lnTo>
                      <a:pt x="43" y="6"/>
                    </a:lnTo>
                    <a:lnTo>
                      <a:pt x="45" y="4"/>
                    </a:lnTo>
                    <a:lnTo>
                      <a:pt x="45" y="6"/>
                    </a:lnTo>
                    <a:lnTo>
                      <a:pt x="45" y="8"/>
                    </a:lnTo>
                    <a:lnTo>
                      <a:pt x="47" y="8"/>
                    </a:lnTo>
                    <a:lnTo>
                      <a:pt x="48" y="8"/>
                    </a:lnTo>
                    <a:lnTo>
                      <a:pt x="48" y="10"/>
                    </a:lnTo>
                    <a:lnTo>
                      <a:pt x="48" y="8"/>
                    </a:lnTo>
                    <a:lnTo>
                      <a:pt x="48" y="10"/>
                    </a:lnTo>
                    <a:lnTo>
                      <a:pt x="48" y="8"/>
                    </a:lnTo>
                    <a:lnTo>
                      <a:pt x="50" y="8"/>
                    </a:lnTo>
                    <a:lnTo>
                      <a:pt x="52" y="8"/>
                    </a:lnTo>
                    <a:lnTo>
                      <a:pt x="52" y="10"/>
                    </a:lnTo>
                    <a:lnTo>
                      <a:pt x="54" y="10"/>
                    </a:lnTo>
                    <a:lnTo>
                      <a:pt x="54" y="12"/>
                    </a:lnTo>
                    <a:lnTo>
                      <a:pt x="54" y="10"/>
                    </a:lnTo>
                    <a:lnTo>
                      <a:pt x="56" y="10"/>
                    </a:lnTo>
                    <a:lnTo>
                      <a:pt x="58" y="10"/>
                    </a:lnTo>
                    <a:lnTo>
                      <a:pt x="58" y="12"/>
                    </a:lnTo>
                    <a:lnTo>
                      <a:pt x="60" y="12"/>
                    </a:lnTo>
                    <a:lnTo>
                      <a:pt x="60" y="10"/>
                    </a:lnTo>
                    <a:lnTo>
                      <a:pt x="60" y="12"/>
                    </a:lnTo>
                    <a:lnTo>
                      <a:pt x="62" y="12"/>
                    </a:lnTo>
                    <a:lnTo>
                      <a:pt x="62" y="14"/>
                    </a:lnTo>
                    <a:lnTo>
                      <a:pt x="64" y="14"/>
                    </a:lnTo>
                    <a:lnTo>
                      <a:pt x="64" y="16"/>
                    </a:lnTo>
                    <a:lnTo>
                      <a:pt x="66" y="16"/>
                    </a:lnTo>
                    <a:lnTo>
                      <a:pt x="66" y="14"/>
                    </a:lnTo>
                    <a:lnTo>
                      <a:pt x="68" y="14"/>
                    </a:lnTo>
                    <a:lnTo>
                      <a:pt x="70" y="14"/>
                    </a:lnTo>
                    <a:lnTo>
                      <a:pt x="72" y="14"/>
                    </a:lnTo>
                    <a:lnTo>
                      <a:pt x="72" y="12"/>
                    </a:lnTo>
                    <a:lnTo>
                      <a:pt x="72" y="14"/>
                    </a:lnTo>
                    <a:lnTo>
                      <a:pt x="73" y="14"/>
                    </a:lnTo>
                    <a:lnTo>
                      <a:pt x="75" y="14"/>
                    </a:lnTo>
                    <a:lnTo>
                      <a:pt x="77" y="14"/>
                    </a:lnTo>
                    <a:lnTo>
                      <a:pt x="77" y="16"/>
                    </a:lnTo>
                    <a:lnTo>
                      <a:pt x="79" y="16"/>
                    </a:lnTo>
                    <a:lnTo>
                      <a:pt x="79" y="14"/>
                    </a:lnTo>
                    <a:lnTo>
                      <a:pt x="81" y="14"/>
                    </a:lnTo>
                    <a:lnTo>
                      <a:pt x="83" y="14"/>
                    </a:lnTo>
                    <a:lnTo>
                      <a:pt x="83" y="16"/>
                    </a:lnTo>
                    <a:lnTo>
                      <a:pt x="85" y="16"/>
                    </a:lnTo>
                    <a:lnTo>
                      <a:pt x="87" y="16"/>
                    </a:lnTo>
                    <a:lnTo>
                      <a:pt x="87" y="14"/>
                    </a:lnTo>
                    <a:lnTo>
                      <a:pt x="89" y="14"/>
                    </a:lnTo>
                    <a:lnTo>
                      <a:pt x="89" y="12"/>
                    </a:lnTo>
                    <a:lnTo>
                      <a:pt x="87" y="12"/>
                    </a:lnTo>
                    <a:lnTo>
                      <a:pt x="89" y="12"/>
                    </a:lnTo>
                    <a:lnTo>
                      <a:pt x="89" y="10"/>
                    </a:lnTo>
                    <a:lnTo>
                      <a:pt x="91" y="10"/>
                    </a:lnTo>
                    <a:lnTo>
                      <a:pt x="91" y="8"/>
                    </a:lnTo>
                    <a:lnTo>
                      <a:pt x="91" y="6"/>
                    </a:lnTo>
                    <a:lnTo>
                      <a:pt x="93" y="6"/>
                    </a:lnTo>
                    <a:lnTo>
                      <a:pt x="93" y="4"/>
                    </a:lnTo>
                    <a:lnTo>
                      <a:pt x="93" y="2"/>
                    </a:lnTo>
                    <a:lnTo>
                      <a:pt x="95" y="2"/>
                    </a:lnTo>
                    <a:lnTo>
                      <a:pt x="95" y="0"/>
                    </a:lnTo>
                    <a:lnTo>
                      <a:pt x="96" y="0"/>
                    </a:lnTo>
                    <a:lnTo>
                      <a:pt x="96" y="2"/>
                    </a:lnTo>
                    <a:lnTo>
                      <a:pt x="98" y="4"/>
                    </a:lnTo>
                    <a:lnTo>
                      <a:pt x="98" y="6"/>
                    </a:lnTo>
                    <a:lnTo>
                      <a:pt x="100" y="6"/>
                    </a:lnTo>
                    <a:lnTo>
                      <a:pt x="100" y="8"/>
                    </a:lnTo>
                    <a:lnTo>
                      <a:pt x="100" y="10"/>
                    </a:lnTo>
                    <a:lnTo>
                      <a:pt x="100" y="12"/>
                    </a:lnTo>
                    <a:lnTo>
                      <a:pt x="100" y="14"/>
                    </a:lnTo>
                    <a:lnTo>
                      <a:pt x="102" y="14"/>
                    </a:lnTo>
                    <a:lnTo>
                      <a:pt x="102" y="16"/>
                    </a:lnTo>
                    <a:lnTo>
                      <a:pt x="100" y="16"/>
                    </a:lnTo>
                    <a:lnTo>
                      <a:pt x="102" y="17"/>
                    </a:lnTo>
                    <a:lnTo>
                      <a:pt x="104" y="17"/>
                    </a:lnTo>
                    <a:lnTo>
                      <a:pt x="102" y="17"/>
                    </a:lnTo>
                    <a:lnTo>
                      <a:pt x="104" y="17"/>
                    </a:lnTo>
                    <a:lnTo>
                      <a:pt x="102" y="19"/>
                    </a:lnTo>
                    <a:lnTo>
                      <a:pt x="104" y="19"/>
                    </a:lnTo>
                    <a:lnTo>
                      <a:pt x="104" y="21"/>
                    </a:lnTo>
                    <a:lnTo>
                      <a:pt x="104" y="19"/>
                    </a:lnTo>
                    <a:lnTo>
                      <a:pt x="106" y="21"/>
                    </a:lnTo>
                    <a:lnTo>
                      <a:pt x="104" y="21"/>
                    </a:lnTo>
                    <a:lnTo>
                      <a:pt x="106" y="21"/>
                    </a:lnTo>
                    <a:lnTo>
                      <a:pt x="108" y="21"/>
                    </a:lnTo>
                    <a:lnTo>
                      <a:pt x="108" y="23"/>
                    </a:lnTo>
                    <a:lnTo>
                      <a:pt x="108" y="21"/>
                    </a:lnTo>
                    <a:lnTo>
                      <a:pt x="110" y="21"/>
                    </a:lnTo>
                    <a:lnTo>
                      <a:pt x="110" y="23"/>
                    </a:lnTo>
                    <a:lnTo>
                      <a:pt x="110" y="21"/>
                    </a:lnTo>
                    <a:lnTo>
                      <a:pt x="112" y="21"/>
                    </a:lnTo>
                    <a:lnTo>
                      <a:pt x="114" y="21"/>
                    </a:lnTo>
                    <a:lnTo>
                      <a:pt x="116" y="21"/>
                    </a:lnTo>
                    <a:lnTo>
                      <a:pt x="114" y="21"/>
                    </a:lnTo>
                    <a:lnTo>
                      <a:pt x="116" y="21"/>
                    </a:lnTo>
                    <a:lnTo>
                      <a:pt x="118" y="23"/>
                    </a:lnTo>
                    <a:lnTo>
                      <a:pt x="120" y="23"/>
                    </a:lnTo>
                    <a:lnTo>
                      <a:pt x="121" y="23"/>
                    </a:lnTo>
                    <a:lnTo>
                      <a:pt x="121" y="25"/>
                    </a:lnTo>
                    <a:lnTo>
                      <a:pt x="121" y="23"/>
                    </a:lnTo>
                    <a:lnTo>
                      <a:pt x="123" y="23"/>
                    </a:lnTo>
                    <a:lnTo>
                      <a:pt x="123" y="21"/>
                    </a:lnTo>
                    <a:lnTo>
                      <a:pt x="125" y="21"/>
                    </a:lnTo>
                    <a:lnTo>
                      <a:pt x="125" y="23"/>
                    </a:lnTo>
                    <a:lnTo>
                      <a:pt x="127" y="23"/>
                    </a:lnTo>
                    <a:lnTo>
                      <a:pt x="125" y="23"/>
                    </a:lnTo>
                    <a:lnTo>
                      <a:pt x="125" y="25"/>
                    </a:lnTo>
                    <a:lnTo>
                      <a:pt x="127" y="25"/>
                    </a:lnTo>
                    <a:lnTo>
                      <a:pt x="127" y="27"/>
                    </a:lnTo>
                    <a:lnTo>
                      <a:pt x="125" y="27"/>
                    </a:lnTo>
                    <a:lnTo>
                      <a:pt x="125" y="29"/>
                    </a:lnTo>
                    <a:lnTo>
                      <a:pt x="123" y="29"/>
                    </a:lnTo>
                    <a:lnTo>
                      <a:pt x="125" y="29"/>
                    </a:lnTo>
                    <a:lnTo>
                      <a:pt x="123" y="29"/>
                    </a:lnTo>
                    <a:lnTo>
                      <a:pt x="125" y="29"/>
                    </a:lnTo>
                    <a:lnTo>
                      <a:pt x="123" y="29"/>
                    </a:lnTo>
                    <a:lnTo>
                      <a:pt x="123" y="31"/>
                    </a:lnTo>
                    <a:lnTo>
                      <a:pt x="121" y="31"/>
                    </a:lnTo>
                    <a:lnTo>
                      <a:pt x="121" y="33"/>
                    </a:lnTo>
                    <a:lnTo>
                      <a:pt x="120" y="33"/>
                    </a:lnTo>
                    <a:lnTo>
                      <a:pt x="121" y="33"/>
                    </a:lnTo>
                    <a:lnTo>
                      <a:pt x="121" y="35"/>
                    </a:lnTo>
                    <a:lnTo>
                      <a:pt x="120" y="35"/>
                    </a:lnTo>
                    <a:lnTo>
                      <a:pt x="120" y="37"/>
                    </a:lnTo>
                    <a:lnTo>
                      <a:pt x="118" y="37"/>
                    </a:lnTo>
                    <a:lnTo>
                      <a:pt x="118" y="39"/>
                    </a:lnTo>
                    <a:lnTo>
                      <a:pt x="116" y="39"/>
                    </a:lnTo>
                    <a:lnTo>
                      <a:pt x="118" y="41"/>
                    </a:lnTo>
                    <a:lnTo>
                      <a:pt x="118" y="42"/>
                    </a:lnTo>
                    <a:lnTo>
                      <a:pt x="118" y="44"/>
                    </a:lnTo>
                    <a:lnTo>
                      <a:pt x="121" y="44"/>
                    </a:lnTo>
                    <a:lnTo>
                      <a:pt x="125" y="46"/>
                    </a:lnTo>
                    <a:lnTo>
                      <a:pt x="125" y="44"/>
                    </a:lnTo>
                    <a:lnTo>
                      <a:pt x="127" y="44"/>
                    </a:lnTo>
                    <a:lnTo>
                      <a:pt x="127" y="42"/>
                    </a:lnTo>
                    <a:lnTo>
                      <a:pt x="129" y="42"/>
                    </a:lnTo>
                    <a:lnTo>
                      <a:pt x="129" y="41"/>
                    </a:lnTo>
                    <a:lnTo>
                      <a:pt x="131" y="41"/>
                    </a:lnTo>
                    <a:lnTo>
                      <a:pt x="131" y="39"/>
                    </a:lnTo>
                    <a:lnTo>
                      <a:pt x="131" y="37"/>
                    </a:lnTo>
                    <a:lnTo>
                      <a:pt x="133" y="35"/>
                    </a:lnTo>
                    <a:lnTo>
                      <a:pt x="133" y="37"/>
                    </a:lnTo>
                    <a:lnTo>
                      <a:pt x="131" y="39"/>
                    </a:lnTo>
                    <a:lnTo>
                      <a:pt x="131" y="41"/>
                    </a:lnTo>
                    <a:lnTo>
                      <a:pt x="129" y="42"/>
                    </a:lnTo>
                    <a:lnTo>
                      <a:pt x="127" y="44"/>
                    </a:lnTo>
                    <a:lnTo>
                      <a:pt x="129"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2" name="Freeform 27"/>
              <p:cNvSpPr>
                <a:spLocks/>
              </p:cNvSpPr>
              <p:nvPr/>
            </p:nvSpPr>
            <p:spPr bwMode="auto">
              <a:xfrm>
                <a:off x="364056" y="3851404"/>
                <a:ext cx="170342" cy="122165"/>
              </a:xfrm>
              <a:custGeom>
                <a:avLst/>
                <a:gdLst>
                  <a:gd name="T0" fmla="*/ 84 w 99"/>
                  <a:gd name="T1" fmla="*/ 38 h 71"/>
                  <a:gd name="T2" fmla="*/ 84 w 99"/>
                  <a:gd name="T3" fmla="*/ 44 h 71"/>
                  <a:gd name="T4" fmla="*/ 86 w 99"/>
                  <a:gd name="T5" fmla="*/ 42 h 71"/>
                  <a:gd name="T6" fmla="*/ 86 w 99"/>
                  <a:gd name="T7" fmla="*/ 46 h 71"/>
                  <a:gd name="T8" fmla="*/ 84 w 99"/>
                  <a:gd name="T9" fmla="*/ 54 h 71"/>
                  <a:gd name="T10" fmla="*/ 78 w 99"/>
                  <a:gd name="T11" fmla="*/ 58 h 71"/>
                  <a:gd name="T12" fmla="*/ 75 w 99"/>
                  <a:gd name="T13" fmla="*/ 62 h 71"/>
                  <a:gd name="T14" fmla="*/ 76 w 99"/>
                  <a:gd name="T15" fmla="*/ 56 h 71"/>
                  <a:gd name="T16" fmla="*/ 67 w 99"/>
                  <a:gd name="T17" fmla="*/ 60 h 71"/>
                  <a:gd name="T18" fmla="*/ 69 w 99"/>
                  <a:gd name="T19" fmla="*/ 54 h 71"/>
                  <a:gd name="T20" fmla="*/ 65 w 99"/>
                  <a:gd name="T21" fmla="*/ 54 h 71"/>
                  <a:gd name="T22" fmla="*/ 61 w 99"/>
                  <a:gd name="T23" fmla="*/ 63 h 71"/>
                  <a:gd name="T24" fmla="*/ 55 w 99"/>
                  <a:gd name="T25" fmla="*/ 62 h 71"/>
                  <a:gd name="T26" fmla="*/ 53 w 99"/>
                  <a:gd name="T27" fmla="*/ 60 h 71"/>
                  <a:gd name="T28" fmla="*/ 51 w 99"/>
                  <a:gd name="T29" fmla="*/ 54 h 71"/>
                  <a:gd name="T30" fmla="*/ 48 w 99"/>
                  <a:gd name="T31" fmla="*/ 58 h 71"/>
                  <a:gd name="T32" fmla="*/ 46 w 99"/>
                  <a:gd name="T33" fmla="*/ 62 h 71"/>
                  <a:gd name="T34" fmla="*/ 38 w 99"/>
                  <a:gd name="T35" fmla="*/ 65 h 71"/>
                  <a:gd name="T36" fmla="*/ 36 w 99"/>
                  <a:gd name="T37" fmla="*/ 67 h 71"/>
                  <a:gd name="T38" fmla="*/ 30 w 99"/>
                  <a:gd name="T39" fmla="*/ 71 h 71"/>
                  <a:gd name="T40" fmla="*/ 26 w 99"/>
                  <a:gd name="T41" fmla="*/ 67 h 71"/>
                  <a:gd name="T42" fmla="*/ 21 w 99"/>
                  <a:gd name="T43" fmla="*/ 71 h 71"/>
                  <a:gd name="T44" fmla="*/ 19 w 99"/>
                  <a:gd name="T45" fmla="*/ 65 h 71"/>
                  <a:gd name="T46" fmla="*/ 17 w 99"/>
                  <a:gd name="T47" fmla="*/ 60 h 71"/>
                  <a:gd name="T48" fmla="*/ 15 w 99"/>
                  <a:gd name="T49" fmla="*/ 54 h 71"/>
                  <a:gd name="T50" fmla="*/ 17 w 99"/>
                  <a:gd name="T51" fmla="*/ 48 h 71"/>
                  <a:gd name="T52" fmla="*/ 13 w 99"/>
                  <a:gd name="T53" fmla="*/ 44 h 71"/>
                  <a:gd name="T54" fmla="*/ 9 w 99"/>
                  <a:gd name="T55" fmla="*/ 38 h 71"/>
                  <a:gd name="T56" fmla="*/ 5 w 99"/>
                  <a:gd name="T57" fmla="*/ 40 h 71"/>
                  <a:gd name="T58" fmla="*/ 1 w 99"/>
                  <a:gd name="T59" fmla="*/ 37 h 71"/>
                  <a:gd name="T60" fmla="*/ 0 w 99"/>
                  <a:gd name="T61" fmla="*/ 31 h 71"/>
                  <a:gd name="T62" fmla="*/ 0 w 99"/>
                  <a:gd name="T63" fmla="*/ 27 h 71"/>
                  <a:gd name="T64" fmla="*/ 3 w 99"/>
                  <a:gd name="T65" fmla="*/ 21 h 71"/>
                  <a:gd name="T66" fmla="*/ 7 w 99"/>
                  <a:gd name="T67" fmla="*/ 17 h 71"/>
                  <a:gd name="T68" fmla="*/ 11 w 99"/>
                  <a:gd name="T69" fmla="*/ 12 h 71"/>
                  <a:gd name="T70" fmla="*/ 13 w 99"/>
                  <a:gd name="T71" fmla="*/ 10 h 71"/>
                  <a:gd name="T72" fmla="*/ 21 w 99"/>
                  <a:gd name="T73" fmla="*/ 8 h 71"/>
                  <a:gd name="T74" fmla="*/ 25 w 99"/>
                  <a:gd name="T75" fmla="*/ 8 h 71"/>
                  <a:gd name="T76" fmla="*/ 26 w 99"/>
                  <a:gd name="T77" fmla="*/ 2 h 71"/>
                  <a:gd name="T78" fmla="*/ 32 w 99"/>
                  <a:gd name="T79" fmla="*/ 2 h 71"/>
                  <a:gd name="T80" fmla="*/ 36 w 99"/>
                  <a:gd name="T81" fmla="*/ 4 h 71"/>
                  <a:gd name="T82" fmla="*/ 42 w 99"/>
                  <a:gd name="T83" fmla="*/ 2 h 71"/>
                  <a:gd name="T84" fmla="*/ 48 w 99"/>
                  <a:gd name="T85" fmla="*/ 6 h 71"/>
                  <a:gd name="T86" fmla="*/ 53 w 99"/>
                  <a:gd name="T87" fmla="*/ 4 h 71"/>
                  <a:gd name="T88" fmla="*/ 51 w 99"/>
                  <a:gd name="T89" fmla="*/ 15 h 71"/>
                  <a:gd name="T90" fmla="*/ 57 w 99"/>
                  <a:gd name="T91" fmla="*/ 14 h 71"/>
                  <a:gd name="T92" fmla="*/ 63 w 99"/>
                  <a:gd name="T93" fmla="*/ 17 h 71"/>
                  <a:gd name="T94" fmla="*/ 65 w 99"/>
                  <a:gd name="T95" fmla="*/ 21 h 71"/>
                  <a:gd name="T96" fmla="*/ 69 w 99"/>
                  <a:gd name="T97" fmla="*/ 19 h 71"/>
                  <a:gd name="T98" fmla="*/ 76 w 99"/>
                  <a:gd name="T99" fmla="*/ 15 h 71"/>
                  <a:gd name="T100" fmla="*/ 80 w 99"/>
                  <a:gd name="T101" fmla="*/ 14 h 71"/>
                  <a:gd name="T102" fmla="*/ 82 w 99"/>
                  <a:gd name="T103" fmla="*/ 17 h 71"/>
                  <a:gd name="T104" fmla="*/ 88 w 99"/>
                  <a:gd name="T105" fmla="*/ 27 h 71"/>
                  <a:gd name="T106" fmla="*/ 96 w 99"/>
                  <a:gd name="T107" fmla="*/ 25 h 71"/>
                  <a:gd name="T108" fmla="*/ 98 w 99"/>
                  <a:gd name="T109" fmla="*/ 25 h 71"/>
                  <a:gd name="T110" fmla="*/ 90 w 99"/>
                  <a:gd name="T111"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9" h="71">
                    <a:moveTo>
                      <a:pt x="86" y="35"/>
                    </a:moveTo>
                    <a:lnTo>
                      <a:pt x="86" y="33"/>
                    </a:lnTo>
                    <a:lnTo>
                      <a:pt x="84" y="37"/>
                    </a:lnTo>
                    <a:lnTo>
                      <a:pt x="84" y="38"/>
                    </a:lnTo>
                    <a:lnTo>
                      <a:pt x="82" y="40"/>
                    </a:lnTo>
                    <a:lnTo>
                      <a:pt x="82" y="42"/>
                    </a:lnTo>
                    <a:lnTo>
                      <a:pt x="84" y="42"/>
                    </a:lnTo>
                    <a:lnTo>
                      <a:pt x="84" y="44"/>
                    </a:lnTo>
                    <a:lnTo>
                      <a:pt x="86" y="44"/>
                    </a:lnTo>
                    <a:lnTo>
                      <a:pt x="86" y="42"/>
                    </a:lnTo>
                    <a:lnTo>
                      <a:pt x="86" y="44"/>
                    </a:lnTo>
                    <a:lnTo>
                      <a:pt x="86" y="42"/>
                    </a:lnTo>
                    <a:lnTo>
                      <a:pt x="86" y="44"/>
                    </a:lnTo>
                    <a:lnTo>
                      <a:pt x="88" y="44"/>
                    </a:lnTo>
                    <a:lnTo>
                      <a:pt x="88" y="46"/>
                    </a:lnTo>
                    <a:lnTo>
                      <a:pt x="86" y="46"/>
                    </a:lnTo>
                    <a:lnTo>
                      <a:pt x="86" y="48"/>
                    </a:lnTo>
                    <a:lnTo>
                      <a:pt x="84" y="50"/>
                    </a:lnTo>
                    <a:lnTo>
                      <a:pt x="84" y="52"/>
                    </a:lnTo>
                    <a:lnTo>
                      <a:pt x="84" y="54"/>
                    </a:lnTo>
                    <a:lnTo>
                      <a:pt x="82" y="54"/>
                    </a:lnTo>
                    <a:lnTo>
                      <a:pt x="82" y="56"/>
                    </a:lnTo>
                    <a:lnTo>
                      <a:pt x="80" y="58"/>
                    </a:lnTo>
                    <a:lnTo>
                      <a:pt x="78" y="58"/>
                    </a:lnTo>
                    <a:lnTo>
                      <a:pt x="78" y="60"/>
                    </a:lnTo>
                    <a:lnTo>
                      <a:pt x="76" y="60"/>
                    </a:lnTo>
                    <a:lnTo>
                      <a:pt x="76" y="62"/>
                    </a:lnTo>
                    <a:lnTo>
                      <a:pt x="75" y="62"/>
                    </a:lnTo>
                    <a:lnTo>
                      <a:pt x="76" y="60"/>
                    </a:lnTo>
                    <a:lnTo>
                      <a:pt x="75" y="60"/>
                    </a:lnTo>
                    <a:lnTo>
                      <a:pt x="76" y="58"/>
                    </a:lnTo>
                    <a:lnTo>
                      <a:pt x="76" y="56"/>
                    </a:lnTo>
                    <a:lnTo>
                      <a:pt x="75" y="56"/>
                    </a:lnTo>
                    <a:lnTo>
                      <a:pt x="73" y="58"/>
                    </a:lnTo>
                    <a:lnTo>
                      <a:pt x="71" y="58"/>
                    </a:lnTo>
                    <a:lnTo>
                      <a:pt x="67" y="60"/>
                    </a:lnTo>
                    <a:lnTo>
                      <a:pt x="67" y="58"/>
                    </a:lnTo>
                    <a:lnTo>
                      <a:pt x="69" y="58"/>
                    </a:lnTo>
                    <a:lnTo>
                      <a:pt x="69" y="56"/>
                    </a:lnTo>
                    <a:lnTo>
                      <a:pt x="69" y="54"/>
                    </a:lnTo>
                    <a:lnTo>
                      <a:pt x="69" y="52"/>
                    </a:lnTo>
                    <a:lnTo>
                      <a:pt x="67" y="52"/>
                    </a:lnTo>
                    <a:lnTo>
                      <a:pt x="67" y="54"/>
                    </a:lnTo>
                    <a:lnTo>
                      <a:pt x="65" y="54"/>
                    </a:lnTo>
                    <a:lnTo>
                      <a:pt x="63" y="56"/>
                    </a:lnTo>
                    <a:lnTo>
                      <a:pt x="61" y="56"/>
                    </a:lnTo>
                    <a:lnTo>
                      <a:pt x="61" y="62"/>
                    </a:lnTo>
                    <a:lnTo>
                      <a:pt x="61" y="63"/>
                    </a:lnTo>
                    <a:lnTo>
                      <a:pt x="59" y="63"/>
                    </a:lnTo>
                    <a:lnTo>
                      <a:pt x="57" y="63"/>
                    </a:lnTo>
                    <a:lnTo>
                      <a:pt x="55" y="65"/>
                    </a:lnTo>
                    <a:lnTo>
                      <a:pt x="55" y="62"/>
                    </a:lnTo>
                    <a:lnTo>
                      <a:pt x="57" y="62"/>
                    </a:lnTo>
                    <a:lnTo>
                      <a:pt x="57" y="58"/>
                    </a:lnTo>
                    <a:lnTo>
                      <a:pt x="55" y="60"/>
                    </a:lnTo>
                    <a:lnTo>
                      <a:pt x="53" y="60"/>
                    </a:lnTo>
                    <a:lnTo>
                      <a:pt x="53" y="58"/>
                    </a:lnTo>
                    <a:lnTo>
                      <a:pt x="53" y="56"/>
                    </a:lnTo>
                    <a:lnTo>
                      <a:pt x="53" y="54"/>
                    </a:lnTo>
                    <a:lnTo>
                      <a:pt x="51" y="54"/>
                    </a:lnTo>
                    <a:lnTo>
                      <a:pt x="51" y="56"/>
                    </a:lnTo>
                    <a:lnTo>
                      <a:pt x="50" y="56"/>
                    </a:lnTo>
                    <a:lnTo>
                      <a:pt x="50" y="58"/>
                    </a:lnTo>
                    <a:lnTo>
                      <a:pt x="48" y="58"/>
                    </a:lnTo>
                    <a:lnTo>
                      <a:pt x="48" y="60"/>
                    </a:lnTo>
                    <a:lnTo>
                      <a:pt x="46" y="60"/>
                    </a:lnTo>
                    <a:lnTo>
                      <a:pt x="44" y="62"/>
                    </a:lnTo>
                    <a:lnTo>
                      <a:pt x="46" y="62"/>
                    </a:lnTo>
                    <a:lnTo>
                      <a:pt x="44" y="63"/>
                    </a:lnTo>
                    <a:lnTo>
                      <a:pt x="42" y="63"/>
                    </a:lnTo>
                    <a:lnTo>
                      <a:pt x="40" y="63"/>
                    </a:lnTo>
                    <a:lnTo>
                      <a:pt x="38" y="65"/>
                    </a:lnTo>
                    <a:lnTo>
                      <a:pt x="36" y="65"/>
                    </a:lnTo>
                    <a:lnTo>
                      <a:pt x="36" y="67"/>
                    </a:lnTo>
                    <a:lnTo>
                      <a:pt x="36" y="65"/>
                    </a:lnTo>
                    <a:lnTo>
                      <a:pt x="36" y="67"/>
                    </a:lnTo>
                    <a:lnTo>
                      <a:pt x="34" y="69"/>
                    </a:lnTo>
                    <a:lnTo>
                      <a:pt x="32" y="69"/>
                    </a:lnTo>
                    <a:lnTo>
                      <a:pt x="32" y="71"/>
                    </a:lnTo>
                    <a:lnTo>
                      <a:pt x="30" y="71"/>
                    </a:lnTo>
                    <a:lnTo>
                      <a:pt x="30" y="69"/>
                    </a:lnTo>
                    <a:lnTo>
                      <a:pt x="28" y="69"/>
                    </a:lnTo>
                    <a:lnTo>
                      <a:pt x="28" y="67"/>
                    </a:lnTo>
                    <a:lnTo>
                      <a:pt x="26" y="67"/>
                    </a:lnTo>
                    <a:lnTo>
                      <a:pt x="25" y="69"/>
                    </a:lnTo>
                    <a:lnTo>
                      <a:pt x="23" y="71"/>
                    </a:lnTo>
                    <a:lnTo>
                      <a:pt x="23" y="69"/>
                    </a:lnTo>
                    <a:lnTo>
                      <a:pt x="21" y="71"/>
                    </a:lnTo>
                    <a:lnTo>
                      <a:pt x="21" y="69"/>
                    </a:lnTo>
                    <a:lnTo>
                      <a:pt x="21" y="67"/>
                    </a:lnTo>
                    <a:lnTo>
                      <a:pt x="19" y="67"/>
                    </a:lnTo>
                    <a:lnTo>
                      <a:pt x="19" y="65"/>
                    </a:lnTo>
                    <a:lnTo>
                      <a:pt x="17" y="65"/>
                    </a:lnTo>
                    <a:lnTo>
                      <a:pt x="17" y="63"/>
                    </a:lnTo>
                    <a:lnTo>
                      <a:pt x="17" y="62"/>
                    </a:lnTo>
                    <a:lnTo>
                      <a:pt x="17" y="60"/>
                    </a:lnTo>
                    <a:lnTo>
                      <a:pt x="17" y="58"/>
                    </a:lnTo>
                    <a:lnTo>
                      <a:pt x="15" y="58"/>
                    </a:lnTo>
                    <a:lnTo>
                      <a:pt x="15" y="56"/>
                    </a:lnTo>
                    <a:lnTo>
                      <a:pt x="15" y="54"/>
                    </a:lnTo>
                    <a:lnTo>
                      <a:pt x="15" y="52"/>
                    </a:lnTo>
                    <a:lnTo>
                      <a:pt x="17" y="52"/>
                    </a:lnTo>
                    <a:lnTo>
                      <a:pt x="17" y="50"/>
                    </a:lnTo>
                    <a:lnTo>
                      <a:pt x="17" y="48"/>
                    </a:lnTo>
                    <a:lnTo>
                      <a:pt x="15" y="48"/>
                    </a:lnTo>
                    <a:lnTo>
                      <a:pt x="15" y="46"/>
                    </a:lnTo>
                    <a:lnTo>
                      <a:pt x="15" y="44"/>
                    </a:lnTo>
                    <a:lnTo>
                      <a:pt x="13" y="44"/>
                    </a:lnTo>
                    <a:lnTo>
                      <a:pt x="13" y="42"/>
                    </a:lnTo>
                    <a:lnTo>
                      <a:pt x="11" y="42"/>
                    </a:lnTo>
                    <a:lnTo>
                      <a:pt x="11" y="40"/>
                    </a:lnTo>
                    <a:lnTo>
                      <a:pt x="9" y="38"/>
                    </a:lnTo>
                    <a:lnTo>
                      <a:pt x="9" y="40"/>
                    </a:lnTo>
                    <a:lnTo>
                      <a:pt x="7" y="38"/>
                    </a:lnTo>
                    <a:lnTo>
                      <a:pt x="5" y="38"/>
                    </a:lnTo>
                    <a:lnTo>
                      <a:pt x="5" y="40"/>
                    </a:lnTo>
                    <a:lnTo>
                      <a:pt x="5" y="38"/>
                    </a:lnTo>
                    <a:lnTo>
                      <a:pt x="3" y="38"/>
                    </a:lnTo>
                    <a:lnTo>
                      <a:pt x="3" y="37"/>
                    </a:lnTo>
                    <a:lnTo>
                      <a:pt x="1" y="37"/>
                    </a:lnTo>
                    <a:lnTo>
                      <a:pt x="1" y="35"/>
                    </a:lnTo>
                    <a:lnTo>
                      <a:pt x="1" y="33"/>
                    </a:lnTo>
                    <a:lnTo>
                      <a:pt x="0" y="33"/>
                    </a:lnTo>
                    <a:lnTo>
                      <a:pt x="0" y="31"/>
                    </a:lnTo>
                    <a:lnTo>
                      <a:pt x="1" y="31"/>
                    </a:lnTo>
                    <a:lnTo>
                      <a:pt x="1" y="29"/>
                    </a:lnTo>
                    <a:lnTo>
                      <a:pt x="0" y="29"/>
                    </a:lnTo>
                    <a:lnTo>
                      <a:pt x="0" y="27"/>
                    </a:lnTo>
                    <a:lnTo>
                      <a:pt x="1" y="27"/>
                    </a:lnTo>
                    <a:lnTo>
                      <a:pt x="1" y="25"/>
                    </a:lnTo>
                    <a:lnTo>
                      <a:pt x="3" y="23"/>
                    </a:lnTo>
                    <a:lnTo>
                      <a:pt x="3" y="21"/>
                    </a:lnTo>
                    <a:lnTo>
                      <a:pt x="5" y="21"/>
                    </a:lnTo>
                    <a:lnTo>
                      <a:pt x="5" y="19"/>
                    </a:lnTo>
                    <a:lnTo>
                      <a:pt x="7" y="19"/>
                    </a:lnTo>
                    <a:lnTo>
                      <a:pt x="7" y="17"/>
                    </a:lnTo>
                    <a:lnTo>
                      <a:pt x="9" y="17"/>
                    </a:lnTo>
                    <a:lnTo>
                      <a:pt x="9" y="15"/>
                    </a:lnTo>
                    <a:lnTo>
                      <a:pt x="11" y="14"/>
                    </a:lnTo>
                    <a:lnTo>
                      <a:pt x="11" y="12"/>
                    </a:lnTo>
                    <a:lnTo>
                      <a:pt x="13" y="12"/>
                    </a:lnTo>
                    <a:lnTo>
                      <a:pt x="13" y="10"/>
                    </a:lnTo>
                    <a:lnTo>
                      <a:pt x="13" y="12"/>
                    </a:lnTo>
                    <a:lnTo>
                      <a:pt x="13" y="10"/>
                    </a:lnTo>
                    <a:lnTo>
                      <a:pt x="13" y="8"/>
                    </a:lnTo>
                    <a:lnTo>
                      <a:pt x="15" y="8"/>
                    </a:lnTo>
                    <a:lnTo>
                      <a:pt x="17" y="8"/>
                    </a:lnTo>
                    <a:lnTo>
                      <a:pt x="21" y="8"/>
                    </a:lnTo>
                    <a:lnTo>
                      <a:pt x="23" y="8"/>
                    </a:lnTo>
                    <a:lnTo>
                      <a:pt x="25" y="8"/>
                    </a:lnTo>
                    <a:lnTo>
                      <a:pt x="25" y="6"/>
                    </a:lnTo>
                    <a:lnTo>
                      <a:pt x="25" y="8"/>
                    </a:lnTo>
                    <a:lnTo>
                      <a:pt x="25" y="6"/>
                    </a:lnTo>
                    <a:lnTo>
                      <a:pt x="26" y="6"/>
                    </a:lnTo>
                    <a:lnTo>
                      <a:pt x="26" y="4"/>
                    </a:lnTo>
                    <a:lnTo>
                      <a:pt x="26" y="2"/>
                    </a:lnTo>
                    <a:lnTo>
                      <a:pt x="28" y="2"/>
                    </a:lnTo>
                    <a:lnTo>
                      <a:pt x="28" y="0"/>
                    </a:lnTo>
                    <a:lnTo>
                      <a:pt x="30" y="0"/>
                    </a:lnTo>
                    <a:lnTo>
                      <a:pt x="32" y="2"/>
                    </a:lnTo>
                    <a:lnTo>
                      <a:pt x="32" y="4"/>
                    </a:lnTo>
                    <a:lnTo>
                      <a:pt x="34" y="4"/>
                    </a:lnTo>
                    <a:lnTo>
                      <a:pt x="36" y="6"/>
                    </a:lnTo>
                    <a:lnTo>
                      <a:pt x="36" y="4"/>
                    </a:lnTo>
                    <a:lnTo>
                      <a:pt x="36" y="2"/>
                    </a:lnTo>
                    <a:lnTo>
                      <a:pt x="38" y="2"/>
                    </a:lnTo>
                    <a:lnTo>
                      <a:pt x="40" y="2"/>
                    </a:lnTo>
                    <a:lnTo>
                      <a:pt x="42" y="2"/>
                    </a:lnTo>
                    <a:lnTo>
                      <a:pt x="44" y="2"/>
                    </a:lnTo>
                    <a:lnTo>
                      <a:pt x="46" y="4"/>
                    </a:lnTo>
                    <a:lnTo>
                      <a:pt x="48" y="4"/>
                    </a:lnTo>
                    <a:lnTo>
                      <a:pt x="48" y="6"/>
                    </a:lnTo>
                    <a:lnTo>
                      <a:pt x="50" y="4"/>
                    </a:lnTo>
                    <a:lnTo>
                      <a:pt x="51" y="2"/>
                    </a:lnTo>
                    <a:lnTo>
                      <a:pt x="53" y="2"/>
                    </a:lnTo>
                    <a:lnTo>
                      <a:pt x="53" y="4"/>
                    </a:lnTo>
                    <a:lnTo>
                      <a:pt x="53" y="6"/>
                    </a:lnTo>
                    <a:lnTo>
                      <a:pt x="51" y="10"/>
                    </a:lnTo>
                    <a:lnTo>
                      <a:pt x="51" y="12"/>
                    </a:lnTo>
                    <a:lnTo>
                      <a:pt x="51" y="15"/>
                    </a:lnTo>
                    <a:lnTo>
                      <a:pt x="51" y="14"/>
                    </a:lnTo>
                    <a:lnTo>
                      <a:pt x="53" y="14"/>
                    </a:lnTo>
                    <a:lnTo>
                      <a:pt x="55" y="14"/>
                    </a:lnTo>
                    <a:lnTo>
                      <a:pt x="57" y="14"/>
                    </a:lnTo>
                    <a:lnTo>
                      <a:pt x="59" y="14"/>
                    </a:lnTo>
                    <a:lnTo>
                      <a:pt x="61" y="15"/>
                    </a:lnTo>
                    <a:lnTo>
                      <a:pt x="61" y="17"/>
                    </a:lnTo>
                    <a:lnTo>
                      <a:pt x="63" y="17"/>
                    </a:lnTo>
                    <a:lnTo>
                      <a:pt x="63" y="19"/>
                    </a:lnTo>
                    <a:lnTo>
                      <a:pt x="65" y="19"/>
                    </a:lnTo>
                    <a:lnTo>
                      <a:pt x="67" y="19"/>
                    </a:lnTo>
                    <a:lnTo>
                      <a:pt x="65" y="21"/>
                    </a:lnTo>
                    <a:lnTo>
                      <a:pt x="67" y="21"/>
                    </a:lnTo>
                    <a:lnTo>
                      <a:pt x="67" y="23"/>
                    </a:lnTo>
                    <a:lnTo>
                      <a:pt x="69" y="21"/>
                    </a:lnTo>
                    <a:lnTo>
                      <a:pt x="69" y="19"/>
                    </a:lnTo>
                    <a:lnTo>
                      <a:pt x="71" y="19"/>
                    </a:lnTo>
                    <a:lnTo>
                      <a:pt x="73" y="15"/>
                    </a:lnTo>
                    <a:lnTo>
                      <a:pt x="75" y="15"/>
                    </a:lnTo>
                    <a:lnTo>
                      <a:pt x="76" y="15"/>
                    </a:lnTo>
                    <a:lnTo>
                      <a:pt x="78" y="14"/>
                    </a:lnTo>
                    <a:lnTo>
                      <a:pt x="78" y="15"/>
                    </a:lnTo>
                    <a:lnTo>
                      <a:pt x="78" y="14"/>
                    </a:lnTo>
                    <a:lnTo>
                      <a:pt x="80" y="14"/>
                    </a:lnTo>
                    <a:lnTo>
                      <a:pt x="80" y="15"/>
                    </a:lnTo>
                    <a:lnTo>
                      <a:pt x="82" y="15"/>
                    </a:lnTo>
                    <a:lnTo>
                      <a:pt x="80" y="15"/>
                    </a:lnTo>
                    <a:lnTo>
                      <a:pt x="82" y="17"/>
                    </a:lnTo>
                    <a:lnTo>
                      <a:pt x="88" y="21"/>
                    </a:lnTo>
                    <a:lnTo>
                      <a:pt x="86" y="23"/>
                    </a:lnTo>
                    <a:lnTo>
                      <a:pt x="88" y="25"/>
                    </a:lnTo>
                    <a:lnTo>
                      <a:pt x="88" y="27"/>
                    </a:lnTo>
                    <a:lnTo>
                      <a:pt x="90" y="27"/>
                    </a:lnTo>
                    <a:lnTo>
                      <a:pt x="92" y="25"/>
                    </a:lnTo>
                    <a:lnTo>
                      <a:pt x="94" y="25"/>
                    </a:lnTo>
                    <a:lnTo>
                      <a:pt x="96" y="25"/>
                    </a:lnTo>
                    <a:lnTo>
                      <a:pt x="96" y="23"/>
                    </a:lnTo>
                    <a:lnTo>
                      <a:pt x="98" y="23"/>
                    </a:lnTo>
                    <a:lnTo>
                      <a:pt x="99" y="23"/>
                    </a:lnTo>
                    <a:lnTo>
                      <a:pt x="98" y="25"/>
                    </a:lnTo>
                    <a:lnTo>
                      <a:pt x="96" y="29"/>
                    </a:lnTo>
                    <a:lnTo>
                      <a:pt x="94" y="27"/>
                    </a:lnTo>
                    <a:lnTo>
                      <a:pt x="92" y="29"/>
                    </a:lnTo>
                    <a:lnTo>
                      <a:pt x="90" y="29"/>
                    </a:lnTo>
                    <a:lnTo>
                      <a:pt x="86" y="3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3" name="Freeform 28"/>
              <p:cNvSpPr>
                <a:spLocks noEditPoints="1"/>
              </p:cNvSpPr>
              <p:nvPr/>
            </p:nvSpPr>
            <p:spPr bwMode="auto">
              <a:xfrm>
                <a:off x="193800" y="1915701"/>
                <a:ext cx="175504" cy="166901"/>
              </a:xfrm>
              <a:custGeom>
                <a:avLst/>
                <a:gdLst>
                  <a:gd name="T0" fmla="*/ 4 w 102"/>
                  <a:gd name="T1" fmla="*/ 18 h 97"/>
                  <a:gd name="T2" fmla="*/ 12 w 102"/>
                  <a:gd name="T3" fmla="*/ 16 h 97"/>
                  <a:gd name="T4" fmla="*/ 12 w 102"/>
                  <a:gd name="T5" fmla="*/ 16 h 97"/>
                  <a:gd name="T6" fmla="*/ 4 w 102"/>
                  <a:gd name="T7" fmla="*/ 18 h 97"/>
                  <a:gd name="T8" fmla="*/ 50 w 102"/>
                  <a:gd name="T9" fmla="*/ 20 h 97"/>
                  <a:gd name="T10" fmla="*/ 54 w 102"/>
                  <a:gd name="T11" fmla="*/ 25 h 97"/>
                  <a:gd name="T12" fmla="*/ 60 w 102"/>
                  <a:gd name="T13" fmla="*/ 31 h 97"/>
                  <a:gd name="T14" fmla="*/ 66 w 102"/>
                  <a:gd name="T15" fmla="*/ 27 h 97"/>
                  <a:gd name="T16" fmla="*/ 72 w 102"/>
                  <a:gd name="T17" fmla="*/ 22 h 97"/>
                  <a:gd name="T18" fmla="*/ 75 w 102"/>
                  <a:gd name="T19" fmla="*/ 18 h 97"/>
                  <a:gd name="T20" fmla="*/ 75 w 102"/>
                  <a:gd name="T21" fmla="*/ 20 h 97"/>
                  <a:gd name="T22" fmla="*/ 77 w 102"/>
                  <a:gd name="T23" fmla="*/ 16 h 97"/>
                  <a:gd name="T24" fmla="*/ 83 w 102"/>
                  <a:gd name="T25" fmla="*/ 16 h 97"/>
                  <a:gd name="T26" fmla="*/ 81 w 102"/>
                  <a:gd name="T27" fmla="*/ 20 h 97"/>
                  <a:gd name="T28" fmla="*/ 83 w 102"/>
                  <a:gd name="T29" fmla="*/ 27 h 97"/>
                  <a:gd name="T30" fmla="*/ 83 w 102"/>
                  <a:gd name="T31" fmla="*/ 33 h 97"/>
                  <a:gd name="T32" fmla="*/ 87 w 102"/>
                  <a:gd name="T33" fmla="*/ 41 h 97"/>
                  <a:gd name="T34" fmla="*/ 87 w 102"/>
                  <a:gd name="T35" fmla="*/ 47 h 97"/>
                  <a:gd name="T36" fmla="*/ 95 w 102"/>
                  <a:gd name="T37" fmla="*/ 50 h 97"/>
                  <a:gd name="T38" fmla="*/ 100 w 102"/>
                  <a:gd name="T39" fmla="*/ 54 h 97"/>
                  <a:gd name="T40" fmla="*/ 100 w 102"/>
                  <a:gd name="T41" fmla="*/ 62 h 97"/>
                  <a:gd name="T42" fmla="*/ 100 w 102"/>
                  <a:gd name="T43" fmla="*/ 64 h 97"/>
                  <a:gd name="T44" fmla="*/ 100 w 102"/>
                  <a:gd name="T45" fmla="*/ 70 h 97"/>
                  <a:gd name="T46" fmla="*/ 98 w 102"/>
                  <a:gd name="T47" fmla="*/ 73 h 97"/>
                  <a:gd name="T48" fmla="*/ 95 w 102"/>
                  <a:gd name="T49" fmla="*/ 75 h 97"/>
                  <a:gd name="T50" fmla="*/ 89 w 102"/>
                  <a:gd name="T51" fmla="*/ 79 h 97"/>
                  <a:gd name="T52" fmla="*/ 83 w 102"/>
                  <a:gd name="T53" fmla="*/ 83 h 97"/>
                  <a:gd name="T54" fmla="*/ 77 w 102"/>
                  <a:gd name="T55" fmla="*/ 91 h 97"/>
                  <a:gd name="T56" fmla="*/ 64 w 102"/>
                  <a:gd name="T57" fmla="*/ 87 h 97"/>
                  <a:gd name="T58" fmla="*/ 56 w 102"/>
                  <a:gd name="T59" fmla="*/ 81 h 97"/>
                  <a:gd name="T60" fmla="*/ 43 w 102"/>
                  <a:gd name="T61" fmla="*/ 70 h 97"/>
                  <a:gd name="T62" fmla="*/ 37 w 102"/>
                  <a:gd name="T63" fmla="*/ 64 h 97"/>
                  <a:gd name="T64" fmla="*/ 33 w 102"/>
                  <a:gd name="T65" fmla="*/ 58 h 97"/>
                  <a:gd name="T66" fmla="*/ 24 w 102"/>
                  <a:gd name="T67" fmla="*/ 48 h 97"/>
                  <a:gd name="T68" fmla="*/ 14 w 102"/>
                  <a:gd name="T69" fmla="*/ 35 h 97"/>
                  <a:gd name="T70" fmla="*/ 4 w 102"/>
                  <a:gd name="T71" fmla="*/ 23 h 97"/>
                  <a:gd name="T72" fmla="*/ 10 w 102"/>
                  <a:gd name="T73" fmla="*/ 23 h 97"/>
                  <a:gd name="T74" fmla="*/ 16 w 102"/>
                  <a:gd name="T75" fmla="*/ 20 h 97"/>
                  <a:gd name="T76" fmla="*/ 22 w 102"/>
                  <a:gd name="T77" fmla="*/ 23 h 97"/>
                  <a:gd name="T78" fmla="*/ 25 w 102"/>
                  <a:gd name="T79" fmla="*/ 25 h 97"/>
                  <a:gd name="T80" fmla="*/ 27 w 102"/>
                  <a:gd name="T81" fmla="*/ 23 h 97"/>
                  <a:gd name="T82" fmla="*/ 31 w 102"/>
                  <a:gd name="T83" fmla="*/ 25 h 97"/>
                  <a:gd name="T84" fmla="*/ 29 w 102"/>
                  <a:gd name="T85" fmla="*/ 22 h 97"/>
                  <a:gd name="T86" fmla="*/ 25 w 102"/>
                  <a:gd name="T87" fmla="*/ 20 h 97"/>
                  <a:gd name="T88" fmla="*/ 24 w 102"/>
                  <a:gd name="T89" fmla="*/ 14 h 97"/>
                  <a:gd name="T90" fmla="*/ 18 w 102"/>
                  <a:gd name="T91" fmla="*/ 16 h 97"/>
                  <a:gd name="T92" fmla="*/ 22 w 102"/>
                  <a:gd name="T93" fmla="*/ 12 h 97"/>
                  <a:gd name="T94" fmla="*/ 29 w 102"/>
                  <a:gd name="T95" fmla="*/ 4 h 97"/>
                  <a:gd name="T96" fmla="*/ 33 w 102"/>
                  <a:gd name="T97" fmla="*/ 2 h 97"/>
                  <a:gd name="T98" fmla="*/ 39 w 102"/>
                  <a:gd name="T99" fmla="*/ 8 h 97"/>
                  <a:gd name="T100" fmla="*/ 45 w 102"/>
                  <a:gd name="T101" fmla="*/ 12 h 97"/>
                  <a:gd name="T102" fmla="*/ 52 w 102"/>
                  <a:gd name="T103" fmla="*/ 12 h 97"/>
                  <a:gd name="T104" fmla="*/ 68 w 102"/>
                  <a:gd name="T105" fmla="*/ 10 h 97"/>
                  <a:gd name="T106" fmla="*/ 72 w 102"/>
                  <a:gd name="T107" fmla="*/ 8 h 97"/>
                  <a:gd name="T108" fmla="*/ 64 w 102"/>
                  <a:gd name="T109" fmla="*/ 10 h 97"/>
                  <a:gd name="T110" fmla="*/ 56 w 102"/>
                  <a:gd name="T111" fmla="*/ 12 h 97"/>
                  <a:gd name="T112" fmla="*/ 50 w 102"/>
                  <a:gd name="T11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2" h="97">
                    <a:moveTo>
                      <a:pt x="4" y="18"/>
                    </a:moveTo>
                    <a:lnTo>
                      <a:pt x="2" y="18"/>
                    </a:lnTo>
                    <a:lnTo>
                      <a:pt x="0" y="18"/>
                    </a:lnTo>
                    <a:lnTo>
                      <a:pt x="2" y="18"/>
                    </a:lnTo>
                    <a:lnTo>
                      <a:pt x="4" y="18"/>
                    </a:lnTo>
                    <a:lnTo>
                      <a:pt x="6" y="18"/>
                    </a:lnTo>
                    <a:lnTo>
                      <a:pt x="8" y="18"/>
                    </a:lnTo>
                    <a:lnTo>
                      <a:pt x="8" y="16"/>
                    </a:lnTo>
                    <a:lnTo>
                      <a:pt x="10" y="16"/>
                    </a:lnTo>
                    <a:lnTo>
                      <a:pt x="12" y="16"/>
                    </a:lnTo>
                    <a:lnTo>
                      <a:pt x="14" y="16"/>
                    </a:lnTo>
                    <a:lnTo>
                      <a:pt x="16" y="14"/>
                    </a:lnTo>
                    <a:lnTo>
                      <a:pt x="16" y="16"/>
                    </a:lnTo>
                    <a:lnTo>
                      <a:pt x="14" y="16"/>
                    </a:lnTo>
                    <a:lnTo>
                      <a:pt x="12" y="16"/>
                    </a:lnTo>
                    <a:lnTo>
                      <a:pt x="10" y="16"/>
                    </a:lnTo>
                    <a:lnTo>
                      <a:pt x="10" y="18"/>
                    </a:lnTo>
                    <a:lnTo>
                      <a:pt x="8" y="18"/>
                    </a:lnTo>
                    <a:lnTo>
                      <a:pt x="6" y="18"/>
                    </a:lnTo>
                    <a:lnTo>
                      <a:pt x="4" y="18"/>
                    </a:lnTo>
                    <a:close/>
                    <a:moveTo>
                      <a:pt x="47" y="16"/>
                    </a:moveTo>
                    <a:lnTo>
                      <a:pt x="49" y="16"/>
                    </a:lnTo>
                    <a:lnTo>
                      <a:pt x="49" y="18"/>
                    </a:lnTo>
                    <a:lnTo>
                      <a:pt x="49" y="20"/>
                    </a:lnTo>
                    <a:lnTo>
                      <a:pt x="50" y="20"/>
                    </a:lnTo>
                    <a:lnTo>
                      <a:pt x="52" y="20"/>
                    </a:lnTo>
                    <a:lnTo>
                      <a:pt x="52" y="22"/>
                    </a:lnTo>
                    <a:lnTo>
                      <a:pt x="52" y="23"/>
                    </a:lnTo>
                    <a:lnTo>
                      <a:pt x="52" y="25"/>
                    </a:lnTo>
                    <a:lnTo>
                      <a:pt x="54" y="25"/>
                    </a:lnTo>
                    <a:lnTo>
                      <a:pt x="54" y="27"/>
                    </a:lnTo>
                    <a:lnTo>
                      <a:pt x="56" y="27"/>
                    </a:lnTo>
                    <a:lnTo>
                      <a:pt x="56" y="29"/>
                    </a:lnTo>
                    <a:lnTo>
                      <a:pt x="58" y="29"/>
                    </a:lnTo>
                    <a:lnTo>
                      <a:pt x="60" y="31"/>
                    </a:lnTo>
                    <a:lnTo>
                      <a:pt x="62" y="31"/>
                    </a:lnTo>
                    <a:lnTo>
                      <a:pt x="64" y="31"/>
                    </a:lnTo>
                    <a:lnTo>
                      <a:pt x="64" y="29"/>
                    </a:lnTo>
                    <a:lnTo>
                      <a:pt x="66" y="29"/>
                    </a:lnTo>
                    <a:lnTo>
                      <a:pt x="66" y="27"/>
                    </a:lnTo>
                    <a:lnTo>
                      <a:pt x="68" y="25"/>
                    </a:lnTo>
                    <a:lnTo>
                      <a:pt x="68" y="23"/>
                    </a:lnTo>
                    <a:lnTo>
                      <a:pt x="70" y="23"/>
                    </a:lnTo>
                    <a:lnTo>
                      <a:pt x="70" y="22"/>
                    </a:lnTo>
                    <a:lnTo>
                      <a:pt x="72" y="22"/>
                    </a:lnTo>
                    <a:lnTo>
                      <a:pt x="72" y="20"/>
                    </a:lnTo>
                    <a:lnTo>
                      <a:pt x="73" y="18"/>
                    </a:lnTo>
                    <a:lnTo>
                      <a:pt x="73" y="16"/>
                    </a:lnTo>
                    <a:lnTo>
                      <a:pt x="73" y="18"/>
                    </a:lnTo>
                    <a:lnTo>
                      <a:pt x="75" y="18"/>
                    </a:lnTo>
                    <a:lnTo>
                      <a:pt x="73" y="18"/>
                    </a:lnTo>
                    <a:lnTo>
                      <a:pt x="75" y="18"/>
                    </a:lnTo>
                    <a:lnTo>
                      <a:pt x="75" y="20"/>
                    </a:lnTo>
                    <a:lnTo>
                      <a:pt x="75" y="18"/>
                    </a:lnTo>
                    <a:lnTo>
                      <a:pt x="75" y="20"/>
                    </a:lnTo>
                    <a:lnTo>
                      <a:pt x="75" y="18"/>
                    </a:lnTo>
                    <a:lnTo>
                      <a:pt x="75" y="20"/>
                    </a:lnTo>
                    <a:lnTo>
                      <a:pt x="77" y="18"/>
                    </a:lnTo>
                    <a:lnTo>
                      <a:pt x="79" y="18"/>
                    </a:lnTo>
                    <a:lnTo>
                      <a:pt x="77" y="16"/>
                    </a:lnTo>
                    <a:lnTo>
                      <a:pt x="79" y="16"/>
                    </a:lnTo>
                    <a:lnTo>
                      <a:pt x="79" y="18"/>
                    </a:lnTo>
                    <a:lnTo>
                      <a:pt x="79" y="16"/>
                    </a:lnTo>
                    <a:lnTo>
                      <a:pt x="81" y="16"/>
                    </a:lnTo>
                    <a:lnTo>
                      <a:pt x="83" y="16"/>
                    </a:lnTo>
                    <a:lnTo>
                      <a:pt x="83" y="18"/>
                    </a:lnTo>
                    <a:lnTo>
                      <a:pt x="83" y="16"/>
                    </a:lnTo>
                    <a:lnTo>
                      <a:pt x="83" y="18"/>
                    </a:lnTo>
                    <a:lnTo>
                      <a:pt x="83" y="20"/>
                    </a:lnTo>
                    <a:lnTo>
                      <a:pt x="81" y="20"/>
                    </a:lnTo>
                    <a:lnTo>
                      <a:pt x="81" y="22"/>
                    </a:lnTo>
                    <a:lnTo>
                      <a:pt x="81" y="23"/>
                    </a:lnTo>
                    <a:lnTo>
                      <a:pt x="81" y="25"/>
                    </a:lnTo>
                    <a:lnTo>
                      <a:pt x="83" y="25"/>
                    </a:lnTo>
                    <a:lnTo>
                      <a:pt x="83" y="27"/>
                    </a:lnTo>
                    <a:lnTo>
                      <a:pt x="85" y="27"/>
                    </a:lnTo>
                    <a:lnTo>
                      <a:pt x="85" y="29"/>
                    </a:lnTo>
                    <a:lnTo>
                      <a:pt x="85" y="31"/>
                    </a:lnTo>
                    <a:lnTo>
                      <a:pt x="85" y="33"/>
                    </a:lnTo>
                    <a:lnTo>
                      <a:pt x="83" y="33"/>
                    </a:lnTo>
                    <a:lnTo>
                      <a:pt x="85" y="33"/>
                    </a:lnTo>
                    <a:lnTo>
                      <a:pt x="85" y="35"/>
                    </a:lnTo>
                    <a:lnTo>
                      <a:pt x="85" y="37"/>
                    </a:lnTo>
                    <a:lnTo>
                      <a:pt x="87" y="39"/>
                    </a:lnTo>
                    <a:lnTo>
                      <a:pt x="87" y="41"/>
                    </a:lnTo>
                    <a:lnTo>
                      <a:pt x="89" y="41"/>
                    </a:lnTo>
                    <a:lnTo>
                      <a:pt x="89" y="43"/>
                    </a:lnTo>
                    <a:lnTo>
                      <a:pt x="87" y="43"/>
                    </a:lnTo>
                    <a:lnTo>
                      <a:pt x="87" y="45"/>
                    </a:lnTo>
                    <a:lnTo>
                      <a:pt x="87" y="47"/>
                    </a:lnTo>
                    <a:lnTo>
                      <a:pt x="89" y="47"/>
                    </a:lnTo>
                    <a:lnTo>
                      <a:pt x="91" y="47"/>
                    </a:lnTo>
                    <a:lnTo>
                      <a:pt x="93" y="47"/>
                    </a:lnTo>
                    <a:lnTo>
                      <a:pt x="95" y="48"/>
                    </a:lnTo>
                    <a:lnTo>
                      <a:pt x="95" y="50"/>
                    </a:lnTo>
                    <a:lnTo>
                      <a:pt x="97" y="50"/>
                    </a:lnTo>
                    <a:lnTo>
                      <a:pt x="97" y="52"/>
                    </a:lnTo>
                    <a:lnTo>
                      <a:pt x="98" y="52"/>
                    </a:lnTo>
                    <a:lnTo>
                      <a:pt x="98" y="54"/>
                    </a:lnTo>
                    <a:lnTo>
                      <a:pt x="100" y="54"/>
                    </a:lnTo>
                    <a:lnTo>
                      <a:pt x="102" y="54"/>
                    </a:lnTo>
                    <a:lnTo>
                      <a:pt x="102" y="56"/>
                    </a:lnTo>
                    <a:lnTo>
                      <a:pt x="100" y="58"/>
                    </a:lnTo>
                    <a:lnTo>
                      <a:pt x="100" y="60"/>
                    </a:lnTo>
                    <a:lnTo>
                      <a:pt x="100" y="62"/>
                    </a:lnTo>
                    <a:lnTo>
                      <a:pt x="98" y="62"/>
                    </a:lnTo>
                    <a:lnTo>
                      <a:pt x="100" y="62"/>
                    </a:lnTo>
                    <a:lnTo>
                      <a:pt x="98" y="62"/>
                    </a:lnTo>
                    <a:lnTo>
                      <a:pt x="100" y="62"/>
                    </a:lnTo>
                    <a:lnTo>
                      <a:pt x="100" y="64"/>
                    </a:lnTo>
                    <a:lnTo>
                      <a:pt x="100" y="66"/>
                    </a:lnTo>
                    <a:lnTo>
                      <a:pt x="100" y="68"/>
                    </a:lnTo>
                    <a:lnTo>
                      <a:pt x="100" y="66"/>
                    </a:lnTo>
                    <a:lnTo>
                      <a:pt x="100" y="68"/>
                    </a:lnTo>
                    <a:lnTo>
                      <a:pt x="100" y="70"/>
                    </a:lnTo>
                    <a:lnTo>
                      <a:pt x="100" y="72"/>
                    </a:lnTo>
                    <a:lnTo>
                      <a:pt x="98" y="72"/>
                    </a:lnTo>
                    <a:lnTo>
                      <a:pt x="100" y="72"/>
                    </a:lnTo>
                    <a:lnTo>
                      <a:pt x="100" y="73"/>
                    </a:lnTo>
                    <a:lnTo>
                      <a:pt x="98" y="73"/>
                    </a:lnTo>
                    <a:lnTo>
                      <a:pt x="98" y="75"/>
                    </a:lnTo>
                    <a:lnTo>
                      <a:pt x="97" y="75"/>
                    </a:lnTo>
                    <a:lnTo>
                      <a:pt x="95" y="75"/>
                    </a:lnTo>
                    <a:lnTo>
                      <a:pt x="95" y="77"/>
                    </a:lnTo>
                    <a:lnTo>
                      <a:pt x="95" y="75"/>
                    </a:lnTo>
                    <a:lnTo>
                      <a:pt x="93" y="75"/>
                    </a:lnTo>
                    <a:lnTo>
                      <a:pt x="91" y="75"/>
                    </a:lnTo>
                    <a:lnTo>
                      <a:pt x="89" y="75"/>
                    </a:lnTo>
                    <a:lnTo>
                      <a:pt x="89" y="77"/>
                    </a:lnTo>
                    <a:lnTo>
                      <a:pt x="89" y="79"/>
                    </a:lnTo>
                    <a:lnTo>
                      <a:pt x="87" y="79"/>
                    </a:lnTo>
                    <a:lnTo>
                      <a:pt x="87" y="81"/>
                    </a:lnTo>
                    <a:lnTo>
                      <a:pt x="85" y="81"/>
                    </a:lnTo>
                    <a:lnTo>
                      <a:pt x="83" y="81"/>
                    </a:lnTo>
                    <a:lnTo>
                      <a:pt x="83" y="83"/>
                    </a:lnTo>
                    <a:lnTo>
                      <a:pt x="81" y="83"/>
                    </a:lnTo>
                    <a:lnTo>
                      <a:pt x="79" y="85"/>
                    </a:lnTo>
                    <a:lnTo>
                      <a:pt x="79" y="87"/>
                    </a:lnTo>
                    <a:lnTo>
                      <a:pt x="77" y="89"/>
                    </a:lnTo>
                    <a:lnTo>
                      <a:pt x="77" y="91"/>
                    </a:lnTo>
                    <a:lnTo>
                      <a:pt x="75" y="95"/>
                    </a:lnTo>
                    <a:lnTo>
                      <a:pt x="75" y="97"/>
                    </a:lnTo>
                    <a:lnTo>
                      <a:pt x="72" y="93"/>
                    </a:lnTo>
                    <a:lnTo>
                      <a:pt x="66" y="89"/>
                    </a:lnTo>
                    <a:lnTo>
                      <a:pt x="64" y="87"/>
                    </a:lnTo>
                    <a:lnTo>
                      <a:pt x="62" y="87"/>
                    </a:lnTo>
                    <a:lnTo>
                      <a:pt x="62" y="85"/>
                    </a:lnTo>
                    <a:lnTo>
                      <a:pt x="60" y="83"/>
                    </a:lnTo>
                    <a:lnTo>
                      <a:pt x="58" y="83"/>
                    </a:lnTo>
                    <a:lnTo>
                      <a:pt x="56" y="81"/>
                    </a:lnTo>
                    <a:lnTo>
                      <a:pt x="54" y="79"/>
                    </a:lnTo>
                    <a:lnTo>
                      <a:pt x="52" y="77"/>
                    </a:lnTo>
                    <a:lnTo>
                      <a:pt x="49" y="75"/>
                    </a:lnTo>
                    <a:lnTo>
                      <a:pt x="45" y="72"/>
                    </a:lnTo>
                    <a:lnTo>
                      <a:pt x="43" y="70"/>
                    </a:lnTo>
                    <a:lnTo>
                      <a:pt x="41" y="68"/>
                    </a:lnTo>
                    <a:lnTo>
                      <a:pt x="39" y="68"/>
                    </a:lnTo>
                    <a:lnTo>
                      <a:pt x="39" y="66"/>
                    </a:lnTo>
                    <a:lnTo>
                      <a:pt x="39" y="64"/>
                    </a:lnTo>
                    <a:lnTo>
                      <a:pt x="37" y="64"/>
                    </a:lnTo>
                    <a:lnTo>
                      <a:pt x="37" y="62"/>
                    </a:lnTo>
                    <a:lnTo>
                      <a:pt x="35" y="62"/>
                    </a:lnTo>
                    <a:lnTo>
                      <a:pt x="35" y="60"/>
                    </a:lnTo>
                    <a:lnTo>
                      <a:pt x="33" y="60"/>
                    </a:lnTo>
                    <a:lnTo>
                      <a:pt x="33" y="58"/>
                    </a:lnTo>
                    <a:lnTo>
                      <a:pt x="31" y="56"/>
                    </a:lnTo>
                    <a:lnTo>
                      <a:pt x="29" y="56"/>
                    </a:lnTo>
                    <a:lnTo>
                      <a:pt x="27" y="50"/>
                    </a:lnTo>
                    <a:lnTo>
                      <a:pt x="25" y="50"/>
                    </a:lnTo>
                    <a:lnTo>
                      <a:pt x="24" y="48"/>
                    </a:lnTo>
                    <a:lnTo>
                      <a:pt x="24" y="47"/>
                    </a:lnTo>
                    <a:lnTo>
                      <a:pt x="22" y="47"/>
                    </a:lnTo>
                    <a:lnTo>
                      <a:pt x="22" y="45"/>
                    </a:lnTo>
                    <a:lnTo>
                      <a:pt x="18" y="41"/>
                    </a:lnTo>
                    <a:lnTo>
                      <a:pt x="14" y="35"/>
                    </a:lnTo>
                    <a:lnTo>
                      <a:pt x="12" y="33"/>
                    </a:lnTo>
                    <a:lnTo>
                      <a:pt x="10" y="29"/>
                    </a:lnTo>
                    <a:lnTo>
                      <a:pt x="8" y="27"/>
                    </a:lnTo>
                    <a:lnTo>
                      <a:pt x="6" y="25"/>
                    </a:lnTo>
                    <a:lnTo>
                      <a:pt x="4" y="23"/>
                    </a:lnTo>
                    <a:lnTo>
                      <a:pt x="4" y="22"/>
                    </a:lnTo>
                    <a:lnTo>
                      <a:pt x="6" y="22"/>
                    </a:lnTo>
                    <a:lnTo>
                      <a:pt x="8" y="22"/>
                    </a:lnTo>
                    <a:lnTo>
                      <a:pt x="8" y="23"/>
                    </a:lnTo>
                    <a:lnTo>
                      <a:pt x="10" y="23"/>
                    </a:lnTo>
                    <a:lnTo>
                      <a:pt x="12" y="23"/>
                    </a:lnTo>
                    <a:lnTo>
                      <a:pt x="12" y="22"/>
                    </a:lnTo>
                    <a:lnTo>
                      <a:pt x="14" y="22"/>
                    </a:lnTo>
                    <a:lnTo>
                      <a:pt x="14" y="20"/>
                    </a:lnTo>
                    <a:lnTo>
                      <a:pt x="16" y="20"/>
                    </a:lnTo>
                    <a:lnTo>
                      <a:pt x="16" y="22"/>
                    </a:lnTo>
                    <a:lnTo>
                      <a:pt x="16" y="23"/>
                    </a:lnTo>
                    <a:lnTo>
                      <a:pt x="18" y="23"/>
                    </a:lnTo>
                    <a:lnTo>
                      <a:pt x="20" y="23"/>
                    </a:lnTo>
                    <a:lnTo>
                      <a:pt x="22" y="23"/>
                    </a:lnTo>
                    <a:lnTo>
                      <a:pt x="24" y="23"/>
                    </a:lnTo>
                    <a:lnTo>
                      <a:pt x="24" y="25"/>
                    </a:lnTo>
                    <a:lnTo>
                      <a:pt x="25" y="25"/>
                    </a:lnTo>
                    <a:lnTo>
                      <a:pt x="25" y="23"/>
                    </a:lnTo>
                    <a:lnTo>
                      <a:pt x="25" y="25"/>
                    </a:lnTo>
                    <a:lnTo>
                      <a:pt x="25" y="23"/>
                    </a:lnTo>
                    <a:lnTo>
                      <a:pt x="25" y="25"/>
                    </a:lnTo>
                    <a:lnTo>
                      <a:pt x="27" y="23"/>
                    </a:lnTo>
                    <a:lnTo>
                      <a:pt x="25" y="23"/>
                    </a:lnTo>
                    <a:lnTo>
                      <a:pt x="27" y="23"/>
                    </a:lnTo>
                    <a:lnTo>
                      <a:pt x="27" y="25"/>
                    </a:lnTo>
                    <a:lnTo>
                      <a:pt x="29" y="25"/>
                    </a:lnTo>
                    <a:lnTo>
                      <a:pt x="29" y="23"/>
                    </a:lnTo>
                    <a:lnTo>
                      <a:pt x="31" y="23"/>
                    </a:lnTo>
                    <a:lnTo>
                      <a:pt x="31" y="25"/>
                    </a:lnTo>
                    <a:lnTo>
                      <a:pt x="33" y="25"/>
                    </a:lnTo>
                    <a:lnTo>
                      <a:pt x="31" y="25"/>
                    </a:lnTo>
                    <a:lnTo>
                      <a:pt x="31" y="23"/>
                    </a:lnTo>
                    <a:lnTo>
                      <a:pt x="29" y="23"/>
                    </a:lnTo>
                    <a:lnTo>
                      <a:pt x="29" y="22"/>
                    </a:lnTo>
                    <a:lnTo>
                      <a:pt x="27" y="22"/>
                    </a:lnTo>
                    <a:lnTo>
                      <a:pt x="27" y="20"/>
                    </a:lnTo>
                    <a:lnTo>
                      <a:pt x="25" y="20"/>
                    </a:lnTo>
                    <a:lnTo>
                      <a:pt x="27" y="20"/>
                    </a:lnTo>
                    <a:lnTo>
                      <a:pt x="25" y="20"/>
                    </a:lnTo>
                    <a:lnTo>
                      <a:pt x="24" y="20"/>
                    </a:lnTo>
                    <a:lnTo>
                      <a:pt x="22" y="20"/>
                    </a:lnTo>
                    <a:lnTo>
                      <a:pt x="22" y="18"/>
                    </a:lnTo>
                    <a:lnTo>
                      <a:pt x="24" y="16"/>
                    </a:lnTo>
                    <a:lnTo>
                      <a:pt x="24" y="14"/>
                    </a:lnTo>
                    <a:lnTo>
                      <a:pt x="22" y="12"/>
                    </a:lnTo>
                    <a:lnTo>
                      <a:pt x="22" y="14"/>
                    </a:lnTo>
                    <a:lnTo>
                      <a:pt x="20" y="14"/>
                    </a:lnTo>
                    <a:lnTo>
                      <a:pt x="18" y="14"/>
                    </a:lnTo>
                    <a:lnTo>
                      <a:pt x="18" y="16"/>
                    </a:lnTo>
                    <a:lnTo>
                      <a:pt x="16" y="16"/>
                    </a:lnTo>
                    <a:lnTo>
                      <a:pt x="16" y="14"/>
                    </a:lnTo>
                    <a:lnTo>
                      <a:pt x="18" y="14"/>
                    </a:lnTo>
                    <a:lnTo>
                      <a:pt x="20" y="14"/>
                    </a:lnTo>
                    <a:lnTo>
                      <a:pt x="22" y="12"/>
                    </a:lnTo>
                    <a:lnTo>
                      <a:pt x="24" y="10"/>
                    </a:lnTo>
                    <a:lnTo>
                      <a:pt x="25" y="8"/>
                    </a:lnTo>
                    <a:lnTo>
                      <a:pt x="27" y="6"/>
                    </a:lnTo>
                    <a:lnTo>
                      <a:pt x="27" y="4"/>
                    </a:lnTo>
                    <a:lnTo>
                      <a:pt x="29" y="4"/>
                    </a:lnTo>
                    <a:lnTo>
                      <a:pt x="29" y="2"/>
                    </a:lnTo>
                    <a:lnTo>
                      <a:pt x="31" y="2"/>
                    </a:lnTo>
                    <a:lnTo>
                      <a:pt x="33" y="2"/>
                    </a:lnTo>
                    <a:lnTo>
                      <a:pt x="33" y="0"/>
                    </a:lnTo>
                    <a:lnTo>
                      <a:pt x="33" y="2"/>
                    </a:lnTo>
                    <a:lnTo>
                      <a:pt x="35" y="2"/>
                    </a:lnTo>
                    <a:lnTo>
                      <a:pt x="35" y="4"/>
                    </a:lnTo>
                    <a:lnTo>
                      <a:pt x="37" y="6"/>
                    </a:lnTo>
                    <a:lnTo>
                      <a:pt x="39" y="6"/>
                    </a:lnTo>
                    <a:lnTo>
                      <a:pt x="39" y="8"/>
                    </a:lnTo>
                    <a:lnTo>
                      <a:pt x="41" y="8"/>
                    </a:lnTo>
                    <a:lnTo>
                      <a:pt x="41" y="10"/>
                    </a:lnTo>
                    <a:lnTo>
                      <a:pt x="41" y="12"/>
                    </a:lnTo>
                    <a:lnTo>
                      <a:pt x="43" y="12"/>
                    </a:lnTo>
                    <a:lnTo>
                      <a:pt x="45" y="12"/>
                    </a:lnTo>
                    <a:lnTo>
                      <a:pt x="47" y="12"/>
                    </a:lnTo>
                    <a:lnTo>
                      <a:pt x="49" y="12"/>
                    </a:lnTo>
                    <a:lnTo>
                      <a:pt x="50" y="14"/>
                    </a:lnTo>
                    <a:lnTo>
                      <a:pt x="50" y="12"/>
                    </a:lnTo>
                    <a:lnTo>
                      <a:pt x="52" y="12"/>
                    </a:lnTo>
                    <a:lnTo>
                      <a:pt x="54" y="12"/>
                    </a:lnTo>
                    <a:lnTo>
                      <a:pt x="58" y="12"/>
                    </a:lnTo>
                    <a:lnTo>
                      <a:pt x="62" y="10"/>
                    </a:lnTo>
                    <a:lnTo>
                      <a:pt x="66" y="10"/>
                    </a:lnTo>
                    <a:lnTo>
                      <a:pt x="68" y="10"/>
                    </a:lnTo>
                    <a:lnTo>
                      <a:pt x="72" y="8"/>
                    </a:lnTo>
                    <a:lnTo>
                      <a:pt x="73" y="8"/>
                    </a:lnTo>
                    <a:lnTo>
                      <a:pt x="72" y="8"/>
                    </a:lnTo>
                    <a:lnTo>
                      <a:pt x="72" y="10"/>
                    </a:lnTo>
                    <a:lnTo>
                      <a:pt x="72" y="8"/>
                    </a:lnTo>
                    <a:lnTo>
                      <a:pt x="70" y="8"/>
                    </a:lnTo>
                    <a:lnTo>
                      <a:pt x="70" y="10"/>
                    </a:lnTo>
                    <a:lnTo>
                      <a:pt x="68" y="10"/>
                    </a:lnTo>
                    <a:lnTo>
                      <a:pt x="66" y="10"/>
                    </a:lnTo>
                    <a:lnTo>
                      <a:pt x="64" y="10"/>
                    </a:lnTo>
                    <a:lnTo>
                      <a:pt x="64" y="12"/>
                    </a:lnTo>
                    <a:lnTo>
                      <a:pt x="62" y="12"/>
                    </a:lnTo>
                    <a:lnTo>
                      <a:pt x="60" y="12"/>
                    </a:lnTo>
                    <a:lnTo>
                      <a:pt x="58" y="12"/>
                    </a:lnTo>
                    <a:lnTo>
                      <a:pt x="56" y="12"/>
                    </a:lnTo>
                    <a:lnTo>
                      <a:pt x="56" y="14"/>
                    </a:lnTo>
                    <a:lnTo>
                      <a:pt x="54" y="14"/>
                    </a:lnTo>
                    <a:lnTo>
                      <a:pt x="52" y="12"/>
                    </a:lnTo>
                    <a:lnTo>
                      <a:pt x="52" y="14"/>
                    </a:lnTo>
                    <a:lnTo>
                      <a:pt x="50" y="14"/>
                    </a:lnTo>
                    <a:lnTo>
                      <a:pt x="49" y="14"/>
                    </a:lnTo>
                    <a:lnTo>
                      <a:pt x="47" y="14"/>
                    </a:lnTo>
                    <a:lnTo>
                      <a:pt x="47"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4" name="Freeform 29"/>
              <p:cNvSpPr>
                <a:spLocks noEditPoints="1"/>
              </p:cNvSpPr>
              <p:nvPr/>
            </p:nvSpPr>
            <p:spPr bwMode="auto">
              <a:xfrm>
                <a:off x="16489" y="1943231"/>
                <a:ext cx="22369" cy="12045"/>
              </a:xfrm>
              <a:custGeom>
                <a:avLst/>
                <a:gdLst>
                  <a:gd name="T0" fmla="*/ 0 w 13"/>
                  <a:gd name="T1" fmla="*/ 0 h 7"/>
                  <a:gd name="T2" fmla="*/ 0 w 13"/>
                  <a:gd name="T3" fmla="*/ 0 h 7"/>
                  <a:gd name="T4" fmla="*/ 0 w 13"/>
                  <a:gd name="T5" fmla="*/ 0 h 7"/>
                  <a:gd name="T6" fmla="*/ 0 w 13"/>
                  <a:gd name="T7" fmla="*/ 0 h 7"/>
                  <a:gd name="T8" fmla="*/ 0 w 13"/>
                  <a:gd name="T9" fmla="*/ 0 h 7"/>
                  <a:gd name="T10" fmla="*/ 2 w 13"/>
                  <a:gd name="T11" fmla="*/ 0 h 7"/>
                  <a:gd name="T12" fmla="*/ 2 w 13"/>
                  <a:gd name="T13" fmla="*/ 0 h 7"/>
                  <a:gd name="T14" fmla="*/ 0 w 13"/>
                  <a:gd name="T15" fmla="*/ 0 h 7"/>
                  <a:gd name="T16" fmla="*/ 0 w 13"/>
                  <a:gd name="T17" fmla="*/ 0 h 7"/>
                  <a:gd name="T18" fmla="*/ 6 w 13"/>
                  <a:gd name="T19" fmla="*/ 4 h 7"/>
                  <a:gd name="T20" fmla="*/ 6 w 13"/>
                  <a:gd name="T21" fmla="*/ 4 h 7"/>
                  <a:gd name="T22" fmla="*/ 6 w 13"/>
                  <a:gd name="T23" fmla="*/ 4 h 7"/>
                  <a:gd name="T24" fmla="*/ 6 w 13"/>
                  <a:gd name="T25" fmla="*/ 4 h 7"/>
                  <a:gd name="T26" fmla="*/ 6 w 13"/>
                  <a:gd name="T27" fmla="*/ 4 h 7"/>
                  <a:gd name="T28" fmla="*/ 6 w 13"/>
                  <a:gd name="T29" fmla="*/ 4 h 7"/>
                  <a:gd name="T30" fmla="*/ 6 w 13"/>
                  <a:gd name="T31" fmla="*/ 4 h 7"/>
                  <a:gd name="T32" fmla="*/ 8 w 13"/>
                  <a:gd name="T33" fmla="*/ 4 h 7"/>
                  <a:gd name="T34" fmla="*/ 8 w 13"/>
                  <a:gd name="T35" fmla="*/ 4 h 7"/>
                  <a:gd name="T36" fmla="*/ 8 w 13"/>
                  <a:gd name="T37" fmla="*/ 4 h 7"/>
                  <a:gd name="T38" fmla="*/ 8 w 13"/>
                  <a:gd name="T39" fmla="*/ 4 h 7"/>
                  <a:gd name="T40" fmla="*/ 8 w 13"/>
                  <a:gd name="T41" fmla="*/ 4 h 7"/>
                  <a:gd name="T42" fmla="*/ 8 w 13"/>
                  <a:gd name="T43" fmla="*/ 4 h 7"/>
                  <a:gd name="T44" fmla="*/ 6 w 13"/>
                  <a:gd name="T45" fmla="*/ 4 h 7"/>
                  <a:gd name="T46" fmla="*/ 6 w 13"/>
                  <a:gd name="T47" fmla="*/ 4 h 7"/>
                  <a:gd name="T48" fmla="*/ 11 w 13"/>
                  <a:gd name="T49" fmla="*/ 6 h 7"/>
                  <a:gd name="T50" fmla="*/ 11 w 13"/>
                  <a:gd name="T51" fmla="*/ 6 h 7"/>
                  <a:gd name="T52" fmla="*/ 13 w 13"/>
                  <a:gd name="T53" fmla="*/ 7 h 7"/>
                  <a:gd name="T54" fmla="*/ 13 w 13"/>
                  <a:gd name="T55" fmla="*/ 7 h 7"/>
                  <a:gd name="T56" fmla="*/ 11 w 13"/>
                  <a:gd name="T57" fmla="*/ 6 h 7"/>
                  <a:gd name="T58" fmla="*/ 11 w 13"/>
                  <a:gd name="T59" fmla="*/ 6 h 7"/>
                  <a:gd name="T60" fmla="*/ 11 w 13"/>
                  <a:gd name="T61" fmla="*/ 6 h 7"/>
                  <a:gd name="T62" fmla="*/ 9 w 13"/>
                  <a:gd name="T63" fmla="*/ 4 h 7"/>
                  <a:gd name="T64" fmla="*/ 11 w 13"/>
                  <a:gd name="T65" fmla="*/ 6 h 7"/>
                  <a:gd name="T66" fmla="*/ 9 w 13"/>
                  <a:gd name="T67" fmla="*/ 4 h 7"/>
                  <a:gd name="T68" fmla="*/ 9 w 13"/>
                  <a:gd name="T69" fmla="*/ 4 h 7"/>
                  <a:gd name="T70" fmla="*/ 9 w 13"/>
                  <a:gd name="T71" fmla="*/ 4 h 7"/>
                  <a:gd name="T72" fmla="*/ 9 w 13"/>
                  <a:gd name="T73" fmla="*/ 4 h 7"/>
                  <a:gd name="T74" fmla="*/ 9 w 13"/>
                  <a:gd name="T75" fmla="*/ 4 h 7"/>
                  <a:gd name="T76" fmla="*/ 9 w 13"/>
                  <a:gd name="T77" fmla="*/ 4 h 7"/>
                  <a:gd name="T78" fmla="*/ 9 w 13"/>
                  <a:gd name="T79" fmla="*/ 4 h 7"/>
                  <a:gd name="T80" fmla="*/ 8 w 13"/>
                  <a:gd name="T81" fmla="*/ 4 h 7"/>
                  <a:gd name="T82" fmla="*/ 8 w 13"/>
                  <a:gd name="T83" fmla="*/ 4 h 7"/>
                  <a:gd name="T84" fmla="*/ 9 w 13"/>
                  <a:gd name="T85" fmla="*/ 4 h 7"/>
                  <a:gd name="T86" fmla="*/ 9 w 13"/>
                  <a:gd name="T87" fmla="*/ 4 h 7"/>
                  <a:gd name="T88" fmla="*/ 9 w 13"/>
                  <a:gd name="T89" fmla="*/ 4 h 7"/>
                  <a:gd name="T90" fmla="*/ 9 w 13"/>
                  <a:gd name="T9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7">
                    <a:moveTo>
                      <a:pt x="0" y="0"/>
                    </a:moveTo>
                    <a:lnTo>
                      <a:pt x="0" y="0"/>
                    </a:lnTo>
                    <a:lnTo>
                      <a:pt x="0" y="0"/>
                    </a:lnTo>
                    <a:lnTo>
                      <a:pt x="0" y="0"/>
                    </a:lnTo>
                    <a:lnTo>
                      <a:pt x="0" y="0"/>
                    </a:lnTo>
                    <a:lnTo>
                      <a:pt x="2" y="0"/>
                    </a:lnTo>
                    <a:lnTo>
                      <a:pt x="2" y="0"/>
                    </a:lnTo>
                    <a:lnTo>
                      <a:pt x="0" y="0"/>
                    </a:lnTo>
                    <a:lnTo>
                      <a:pt x="0" y="0"/>
                    </a:lnTo>
                    <a:close/>
                    <a:moveTo>
                      <a:pt x="6" y="4"/>
                    </a:moveTo>
                    <a:lnTo>
                      <a:pt x="6" y="4"/>
                    </a:lnTo>
                    <a:lnTo>
                      <a:pt x="6" y="4"/>
                    </a:lnTo>
                    <a:lnTo>
                      <a:pt x="6" y="4"/>
                    </a:lnTo>
                    <a:lnTo>
                      <a:pt x="6" y="4"/>
                    </a:lnTo>
                    <a:lnTo>
                      <a:pt x="6" y="4"/>
                    </a:lnTo>
                    <a:lnTo>
                      <a:pt x="6" y="4"/>
                    </a:lnTo>
                    <a:lnTo>
                      <a:pt x="8" y="4"/>
                    </a:lnTo>
                    <a:lnTo>
                      <a:pt x="8" y="4"/>
                    </a:lnTo>
                    <a:lnTo>
                      <a:pt x="8" y="4"/>
                    </a:lnTo>
                    <a:lnTo>
                      <a:pt x="8" y="4"/>
                    </a:lnTo>
                    <a:lnTo>
                      <a:pt x="8" y="4"/>
                    </a:lnTo>
                    <a:lnTo>
                      <a:pt x="8" y="4"/>
                    </a:lnTo>
                    <a:lnTo>
                      <a:pt x="6" y="4"/>
                    </a:lnTo>
                    <a:lnTo>
                      <a:pt x="6" y="4"/>
                    </a:lnTo>
                    <a:close/>
                    <a:moveTo>
                      <a:pt x="11" y="6"/>
                    </a:moveTo>
                    <a:lnTo>
                      <a:pt x="11" y="6"/>
                    </a:lnTo>
                    <a:lnTo>
                      <a:pt x="13" y="7"/>
                    </a:lnTo>
                    <a:lnTo>
                      <a:pt x="13" y="7"/>
                    </a:lnTo>
                    <a:lnTo>
                      <a:pt x="11" y="6"/>
                    </a:lnTo>
                    <a:lnTo>
                      <a:pt x="11" y="6"/>
                    </a:lnTo>
                    <a:lnTo>
                      <a:pt x="11" y="6"/>
                    </a:lnTo>
                    <a:close/>
                    <a:moveTo>
                      <a:pt x="9" y="4"/>
                    </a:moveTo>
                    <a:lnTo>
                      <a:pt x="11" y="6"/>
                    </a:lnTo>
                    <a:lnTo>
                      <a:pt x="9" y="4"/>
                    </a:lnTo>
                    <a:lnTo>
                      <a:pt x="9" y="4"/>
                    </a:lnTo>
                    <a:lnTo>
                      <a:pt x="9" y="4"/>
                    </a:lnTo>
                    <a:lnTo>
                      <a:pt x="9" y="4"/>
                    </a:lnTo>
                    <a:lnTo>
                      <a:pt x="9" y="4"/>
                    </a:lnTo>
                    <a:lnTo>
                      <a:pt x="9" y="4"/>
                    </a:lnTo>
                    <a:lnTo>
                      <a:pt x="9" y="4"/>
                    </a:lnTo>
                    <a:lnTo>
                      <a:pt x="8" y="4"/>
                    </a:lnTo>
                    <a:lnTo>
                      <a:pt x="8" y="4"/>
                    </a:lnTo>
                    <a:lnTo>
                      <a:pt x="9" y="4"/>
                    </a:lnTo>
                    <a:lnTo>
                      <a:pt x="9" y="4"/>
                    </a:lnTo>
                    <a:lnTo>
                      <a:pt x="9" y="4"/>
                    </a:lnTo>
                    <a:lnTo>
                      <a:pt x="9"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5" name="Freeform 30"/>
              <p:cNvSpPr>
                <a:spLocks noEditPoints="1"/>
              </p:cNvSpPr>
              <p:nvPr/>
            </p:nvSpPr>
            <p:spPr bwMode="auto">
              <a:xfrm>
                <a:off x="19930" y="1943231"/>
                <a:ext cx="18928" cy="12045"/>
              </a:xfrm>
              <a:custGeom>
                <a:avLst/>
                <a:gdLst>
                  <a:gd name="T0" fmla="*/ 0 w 11"/>
                  <a:gd name="T1" fmla="*/ 2 h 7"/>
                  <a:gd name="T2" fmla="*/ 0 w 11"/>
                  <a:gd name="T3" fmla="*/ 2 h 7"/>
                  <a:gd name="T4" fmla="*/ 0 w 11"/>
                  <a:gd name="T5" fmla="*/ 2 h 7"/>
                  <a:gd name="T6" fmla="*/ 0 w 11"/>
                  <a:gd name="T7" fmla="*/ 0 h 7"/>
                  <a:gd name="T8" fmla="*/ 2 w 11"/>
                  <a:gd name="T9" fmla="*/ 2 h 7"/>
                  <a:gd name="T10" fmla="*/ 0 w 11"/>
                  <a:gd name="T11" fmla="*/ 2 h 7"/>
                  <a:gd name="T12" fmla="*/ 2 w 11"/>
                  <a:gd name="T13" fmla="*/ 2 h 7"/>
                  <a:gd name="T14" fmla="*/ 0 w 11"/>
                  <a:gd name="T15" fmla="*/ 2 h 7"/>
                  <a:gd name="T16" fmla="*/ 0 w 11"/>
                  <a:gd name="T17" fmla="*/ 2 h 7"/>
                  <a:gd name="T18" fmla="*/ 0 w 11"/>
                  <a:gd name="T19" fmla="*/ 0 h 7"/>
                  <a:gd name="T20" fmla="*/ 0 w 11"/>
                  <a:gd name="T21" fmla="*/ 0 h 7"/>
                  <a:gd name="T22" fmla="*/ 0 w 11"/>
                  <a:gd name="T23" fmla="*/ 2 h 7"/>
                  <a:gd name="T24" fmla="*/ 0 w 11"/>
                  <a:gd name="T25" fmla="*/ 2 h 7"/>
                  <a:gd name="T26" fmla="*/ 0 w 11"/>
                  <a:gd name="T27" fmla="*/ 2 h 7"/>
                  <a:gd name="T28" fmla="*/ 2 w 11"/>
                  <a:gd name="T29" fmla="*/ 2 h 7"/>
                  <a:gd name="T30" fmla="*/ 2 w 11"/>
                  <a:gd name="T31" fmla="*/ 2 h 7"/>
                  <a:gd name="T32" fmla="*/ 11 w 11"/>
                  <a:gd name="T33" fmla="*/ 7 h 7"/>
                  <a:gd name="T34" fmla="*/ 11 w 11"/>
                  <a:gd name="T35" fmla="*/ 7 h 7"/>
                  <a:gd name="T36" fmla="*/ 11 w 11"/>
                  <a:gd name="T37" fmla="*/ 7 h 7"/>
                  <a:gd name="T38" fmla="*/ 11 w 11"/>
                  <a:gd name="T39" fmla="*/ 7 h 7"/>
                  <a:gd name="T40" fmla="*/ 11 w 11"/>
                  <a:gd name="T41" fmla="*/ 7 h 7"/>
                  <a:gd name="T42" fmla="*/ 11 w 11"/>
                  <a:gd name="T43" fmla="*/ 7 h 7"/>
                  <a:gd name="T44" fmla="*/ 11 w 11"/>
                  <a:gd name="T45" fmla="*/ 7 h 7"/>
                  <a:gd name="T46" fmla="*/ 11 w 11"/>
                  <a:gd name="T47" fmla="*/ 7 h 7"/>
                  <a:gd name="T48" fmla="*/ 11 w 11"/>
                  <a:gd name="T49" fmla="*/ 7 h 7"/>
                  <a:gd name="T50" fmla="*/ 11 w 11"/>
                  <a:gd name="T51" fmla="*/ 7 h 7"/>
                  <a:gd name="T52" fmla="*/ 11 w 11"/>
                  <a:gd name="T53" fmla="*/ 7 h 7"/>
                  <a:gd name="T54" fmla="*/ 11 w 11"/>
                  <a:gd name="T55" fmla="*/ 7 h 7"/>
                  <a:gd name="T56" fmla="*/ 11 w 11"/>
                  <a:gd name="T57" fmla="*/ 7 h 7"/>
                  <a:gd name="T58" fmla="*/ 11 w 11"/>
                  <a:gd name="T59" fmla="*/ 7 h 7"/>
                  <a:gd name="T60" fmla="*/ 11 w 11"/>
                  <a:gd name="T6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7">
                    <a:moveTo>
                      <a:pt x="0" y="2"/>
                    </a:moveTo>
                    <a:lnTo>
                      <a:pt x="0" y="2"/>
                    </a:lnTo>
                    <a:lnTo>
                      <a:pt x="0" y="2"/>
                    </a:lnTo>
                    <a:lnTo>
                      <a:pt x="0" y="0"/>
                    </a:lnTo>
                    <a:lnTo>
                      <a:pt x="2" y="2"/>
                    </a:lnTo>
                    <a:lnTo>
                      <a:pt x="0" y="2"/>
                    </a:lnTo>
                    <a:close/>
                    <a:moveTo>
                      <a:pt x="2" y="2"/>
                    </a:moveTo>
                    <a:lnTo>
                      <a:pt x="0" y="2"/>
                    </a:lnTo>
                    <a:lnTo>
                      <a:pt x="0" y="2"/>
                    </a:lnTo>
                    <a:lnTo>
                      <a:pt x="0" y="0"/>
                    </a:lnTo>
                    <a:lnTo>
                      <a:pt x="0" y="0"/>
                    </a:lnTo>
                    <a:lnTo>
                      <a:pt x="0" y="2"/>
                    </a:lnTo>
                    <a:lnTo>
                      <a:pt x="0" y="2"/>
                    </a:lnTo>
                    <a:lnTo>
                      <a:pt x="0" y="2"/>
                    </a:lnTo>
                    <a:lnTo>
                      <a:pt x="2" y="2"/>
                    </a:lnTo>
                    <a:lnTo>
                      <a:pt x="2" y="2"/>
                    </a:lnTo>
                    <a:close/>
                    <a:moveTo>
                      <a:pt x="11" y="7"/>
                    </a:moveTo>
                    <a:lnTo>
                      <a:pt x="11" y="7"/>
                    </a:lnTo>
                    <a:lnTo>
                      <a:pt x="11" y="7"/>
                    </a:lnTo>
                    <a:lnTo>
                      <a:pt x="11" y="7"/>
                    </a:lnTo>
                    <a:lnTo>
                      <a:pt x="11" y="7"/>
                    </a:lnTo>
                    <a:lnTo>
                      <a:pt x="11" y="7"/>
                    </a:lnTo>
                    <a:lnTo>
                      <a:pt x="11" y="7"/>
                    </a:lnTo>
                    <a:lnTo>
                      <a:pt x="11" y="7"/>
                    </a:lnTo>
                    <a:close/>
                    <a:moveTo>
                      <a:pt x="11" y="7"/>
                    </a:moveTo>
                    <a:lnTo>
                      <a:pt x="11" y="7"/>
                    </a:lnTo>
                    <a:lnTo>
                      <a:pt x="11" y="7"/>
                    </a:lnTo>
                    <a:lnTo>
                      <a:pt x="11" y="7"/>
                    </a:lnTo>
                    <a:lnTo>
                      <a:pt x="11" y="7"/>
                    </a:lnTo>
                    <a:lnTo>
                      <a:pt x="11" y="7"/>
                    </a:lnTo>
                    <a:lnTo>
                      <a:pt x="11"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6" name="Freeform 31"/>
              <p:cNvSpPr>
                <a:spLocks/>
              </p:cNvSpPr>
              <p:nvPr/>
            </p:nvSpPr>
            <p:spPr bwMode="auto">
              <a:xfrm>
                <a:off x="577413" y="2452536"/>
                <a:ext cx="249491" cy="184108"/>
              </a:xfrm>
              <a:custGeom>
                <a:avLst/>
                <a:gdLst>
                  <a:gd name="T0" fmla="*/ 131 w 145"/>
                  <a:gd name="T1" fmla="*/ 65 h 107"/>
                  <a:gd name="T2" fmla="*/ 123 w 145"/>
                  <a:gd name="T3" fmla="*/ 69 h 107"/>
                  <a:gd name="T4" fmla="*/ 118 w 145"/>
                  <a:gd name="T5" fmla="*/ 69 h 107"/>
                  <a:gd name="T6" fmla="*/ 116 w 145"/>
                  <a:gd name="T7" fmla="*/ 75 h 107"/>
                  <a:gd name="T8" fmla="*/ 110 w 145"/>
                  <a:gd name="T9" fmla="*/ 82 h 107"/>
                  <a:gd name="T10" fmla="*/ 102 w 145"/>
                  <a:gd name="T11" fmla="*/ 81 h 107"/>
                  <a:gd name="T12" fmla="*/ 97 w 145"/>
                  <a:gd name="T13" fmla="*/ 77 h 107"/>
                  <a:gd name="T14" fmla="*/ 89 w 145"/>
                  <a:gd name="T15" fmla="*/ 79 h 107"/>
                  <a:gd name="T16" fmla="*/ 81 w 145"/>
                  <a:gd name="T17" fmla="*/ 75 h 107"/>
                  <a:gd name="T18" fmla="*/ 77 w 145"/>
                  <a:gd name="T19" fmla="*/ 79 h 107"/>
                  <a:gd name="T20" fmla="*/ 77 w 145"/>
                  <a:gd name="T21" fmla="*/ 82 h 107"/>
                  <a:gd name="T22" fmla="*/ 70 w 145"/>
                  <a:gd name="T23" fmla="*/ 86 h 107"/>
                  <a:gd name="T24" fmla="*/ 64 w 145"/>
                  <a:gd name="T25" fmla="*/ 92 h 107"/>
                  <a:gd name="T26" fmla="*/ 62 w 145"/>
                  <a:gd name="T27" fmla="*/ 98 h 107"/>
                  <a:gd name="T28" fmla="*/ 54 w 145"/>
                  <a:gd name="T29" fmla="*/ 102 h 107"/>
                  <a:gd name="T30" fmla="*/ 47 w 145"/>
                  <a:gd name="T31" fmla="*/ 106 h 107"/>
                  <a:gd name="T32" fmla="*/ 39 w 145"/>
                  <a:gd name="T33" fmla="*/ 104 h 107"/>
                  <a:gd name="T34" fmla="*/ 27 w 145"/>
                  <a:gd name="T35" fmla="*/ 107 h 107"/>
                  <a:gd name="T36" fmla="*/ 20 w 145"/>
                  <a:gd name="T37" fmla="*/ 102 h 107"/>
                  <a:gd name="T38" fmla="*/ 10 w 145"/>
                  <a:gd name="T39" fmla="*/ 92 h 107"/>
                  <a:gd name="T40" fmla="*/ 10 w 145"/>
                  <a:gd name="T41" fmla="*/ 81 h 107"/>
                  <a:gd name="T42" fmla="*/ 14 w 145"/>
                  <a:gd name="T43" fmla="*/ 75 h 107"/>
                  <a:gd name="T44" fmla="*/ 14 w 145"/>
                  <a:gd name="T45" fmla="*/ 69 h 107"/>
                  <a:gd name="T46" fmla="*/ 16 w 145"/>
                  <a:gd name="T47" fmla="*/ 59 h 107"/>
                  <a:gd name="T48" fmla="*/ 16 w 145"/>
                  <a:gd name="T49" fmla="*/ 52 h 107"/>
                  <a:gd name="T50" fmla="*/ 10 w 145"/>
                  <a:gd name="T51" fmla="*/ 48 h 107"/>
                  <a:gd name="T52" fmla="*/ 6 w 145"/>
                  <a:gd name="T53" fmla="*/ 44 h 107"/>
                  <a:gd name="T54" fmla="*/ 8 w 145"/>
                  <a:gd name="T55" fmla="*/ 42 h 107"/>
                  <a:gd name="T56" fmla="*/ 4 w 145"/>
                  <a:gd name="T57" fmla="*/ 34 h 107"/>
                  <a:gd name="T58" fmla="*/ 2 w 145"/>
                  <a:gd name="T59" fmla="*/ 29 h 107"/>
                  <a:gd name="T60" fmla="*/ 8 w 145"/>
                  <a:gd name="T61" fmla="*/ 27 h 107"/>
                  <a:gd name="T62" fmla="*/ 14 w 145"/>
                  <a:gd name="T63" fmla="*/ 21 h 107"/>
                  <a:gd name="T64" fmla="*/ 20 w 145"/>
                  <a:gd name="T65" fmla="*/ 15 h 107"/>
                  <a:gd name="T66" fmla="*/ 24 w 145"/>
                  <a:gd name="T67" fmla="*/ 11 h 107"/>
                  <a:gd name="T68" fmla="*/ 29 w 145"/>
                  <a:gd name="T69" fmla="*/ 6 h 107"/>
                  <a:gd name="T70" fmla="*/ 39 w 145"/>
                  <a:gd name="T71" fmla="*/ 11 h 107"/>
                  <a:gd name="T72" fmla="*/ 45 w 145"/>
                  <a:gd name="T73" fmla="*/ 21 h 107"/>
                  <a:gd name="T74" fmla="*/ 54 w 145"/>
                  <a:gd name="T75" fmla="*/ 15 h 107"/>
                  <a:gd name="T76" fmla="*/ 58 w 145"/>
                  <a:gd name="T77" fmla="*/ 17 h 107"/>
                  <a:gd name="T78" fmla="*/ 66 w 145"/>
                  <a:gd name="T79" fmla="*/ 21 h 107"/>
                  <a:gd name="T80" fmla="*/ 73 w 145"/>
                  <a:gd name="T81" fmla="*/ 11 h 107"/>
                  <a:gd name="T82" fmla="*/ 79 w 145"/>
                  <a:gd name="T83" fmla="*/ 9 h 107"/>
                  <a:gd name="T84" fmla="*/ 87 w 145"/>
                  <a:gd name="T85" fmla="*/ 6 h 107"/>
                  <a:gd name="T86" fmla="*/ 91 w 145"/>
                  <a:gd name="T87" fmla="*/ 6 h 107"/>
                  <a:gd name="T88" fmla="*/ 100 w 145"/>
                  <a:gd name="T89" fmla="*/ 2 h 107"/>
                  <a:gd name="T90" fmla="*/ 110 w 145"/>
                  <a:gd name="T91" fmla="*/ 0 h 107"/>
                  <a:gd name="T92" fmla="*/ 118 w 145"/>
                  <a:gd name="T93" fmla="*/ 9 h 107"/>
                  <a:gd name="T94" fmla="*/ 120 w 145"/>
                  <a:gd name="T95" fmla="*/ 19 h 107"/>
                  <a:gd name="T96" fmla="*/ 127 w 145"/>
                  <a:gd name="T97" fmla="*/ 17 h 107"/>
                  <a:gd name="T98" fmla="*/ 135 w 145"/>
                  <a:gd name="T99" fmla="*/ 19 h 107"/>
                  <a:gd name="T100" fmla="*/ 139 w 145"/>
                  <a:gd name="T101" fmla="*/ 23 h 107"/>
                  <a:gd name="T102" fmla="*/ 141 w 145"/>
                  <a:gd name="T103" fmla="*/ 31 h 107"/>
                  <a:gd name="T104" fmla="*/ 145 w 145"/>
                  <a:gd name="T105" fmla="*/ 33 h 107"/>
                  <a:gd name="T106" fmla="*/ 143 w 145"/>
                  <a:gd name="T107" fmla="*/ 42 h 107"/>
                  <a:gd name="T108" fmla="*/ 141 w 145"/>
                  <a:gd name="T109" fmla="*/ 52 h 107"/>
                  <a:gd name="T110" fmla="*/ 137 w 145"/>
                  <a:gd name="T111" fmla="*/ 5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5" h="107">
                    <a:moveTo>
                      <a:pt x="139" y="58"/>
                    </a:moveTo>
                    <a:lnTo>
                      <a:pt x="139" y="59"/>
                    </a:lnTo>
                    <a:lnTo>
                      <a:pt x="137" y="59"/>
                    </a:lnTo>
                    <a:lnTo>
                      <a:pt x="135" y="61"/>
                    </a:lnTo>
                    <a:lnTo>
                      <a:pt x="135" y="63"/>
                    </a:lnTo>
                    <a:lnTo>
                      <a:pt x="133" y="63"/>
                    </a:lnTo>
                    <a:lnTo>
                      <a:pt x="133" y="65"/>
                    </a:lnTo>
                    <a:lnTo>
                      <a:pt x="131" y="65"/>
                    </a:lnTo>
                    <a:lnTo>
                      <a:pt x="131" y="67"/>
                    </a:lnTo>
                    <a:lnTo>
                      <a:pt x="129" y="69"/>
                    </a:lnTo>
                    <a:lnTo>
                      <a:pt x="127" y="69"/>
                    </a:lnTo>
                    <a:lnTo>
                      <a:pt x="125" y="71"/>
                    </a:lnTo>
                    <a:lnTo>
                      <a:pt x="123" y="73"/>
                    </a:lnTo>
                    <a:lnTo>
                      <a:pt x="123" y="71"/>
                    </a:lnTo>
                    <a:lnTo>
                      <a:pt x="121" y="71"/>
                    </a:lnTo>
                    <a:lnTo>
                      <a:pt x="123" y="69"/>
                    </a:lnTo>
                    <a:lnTo>
                      <a:pt x="123" y="67"/>
                    </a:lnTo>
                    <a:lnTo>
                      <a:pt x="121" y="67"/>
                    </a:lnTo>
                    <a:lnTo>
                      <a:pt x="121" y="65"/>
                    </a:lnTo>
                    <a:lnTo>
                      <a:pt x="120" y="67"/>
                    </a:lnTo>
                    <a:lnTo>
                      <a:pt x="120" y="65"/>
                    </a:lnTo>
                    <a:lnTo>
                      <a:pt x="120" y="67"/>
                    </a:lnTo>
                    <a:lnTo>
                      <a:pt x="118" y="67"/>
                    </a:lnTo>
                    <a:lnTo>
                      <a:pt x="118" y="69"/>
                    </a:lnTo>
                    <a:lnTo>
                      <a:pt x="116" y="71"/>
                    </a:lnTo>
                    <a:lnTo>
                      <a:pt x="116" y="69"/>
                    </a:lnTo>
                    <a:lnTo>
                      <a:pt x="114" y="71"/>
                    </a:lnTo>
                    <a:lnTo>
                      <a:pt x="114" y="73"/>
                    </a:lnTo>
                    <a:lnTo>
                      <a:pt x="112" y="73"/>
                    </a:lnTo>
                    <a:lnTo>
                      <a:pt x="112" y="75"/>
                    </a:lnTo>
                    <a:lnTo>
                      <a:pt x="114" y="75"/>
                    </a:lnTo>
                    <a:lnTo>
                      <a:pt x="116" y="75"/>
                    </a:lnTo>
                    <a:lnTo>
                      <a:pt x="114" y="75"/>
                    </a:lnTo>
                    <a:lnTo>
                      <a:pt x="116" y="77"/>
                    </a:lnTo>
                    <a:lnTo>
                      <a:pt x="114" y="77"/>
                    </a:lnTo>
                    <a:lnTo>
                      <a:pt x="114" y="79"/>
                    </a:lnTo>
                    <a:lnTo>
                      <a:pt x="112" y="79"/>
                    </a:lnTo>
                    <a:lnTo>
                      <a:pt x="112" y="81"/>
                    </a:lnTo>
                    <a:lnTo>
                      <a:pt x="110" y="81"/>
                    </a:lnTo>
                    <a:lnTo>
                      <a:pt x="110" y="82"/>
                    </a:lnTo>
                    <a:lnTo>
                      <a:pt x="110" y="84"/>
                    </a:lnTo>
                    <a:lnTo>
                      <a:pt x="108" y="82"/>
                    </a:lnTo>
                    <a:lnTo>
                      <a:pt x="106" y="82"/>
                    </a:lnTo>
                    <a:lnTo>
                      <a:pt x="104" y="82"/>
                    </a:lnTo>
                    <a:lnTo>
                      <a:pt x="104" y="81"/>
                    </a:lnTo>
                    <a:lnTo>
                      <a:pt x="104" y="82"/>
                    </a:lnTo>
                    <a:lnTo>
                      <a:pt x="102" y="82"/>
                    </a:lnTo>
                    <a:lnTo>
                      <a:pt x="102" y="81"/>
                    </a:lnTo>
                    <a:lnTo>
                      <a:pt x="104" y="81"/>
                    </a:lnTo>
                    <a:lnTo>
                      <a:pt x="102" y="81"/>
                    </a:lnTo>
                    <a:lnTo>
                      <a:pt x="102" y="79"/>
                    </a:lnTo>
                    <a:lnTo>
                      <a:pt x="102" y="77"/>
                    </a:lnTo>
                    <a:lnTo>
                      <a:pt x="100" y="79"/>
                    </a:lnTo>
                    <a:lnTo>
                      <a:pt x="100" y="77"/>
                    </a:lnTo>
                    <a:lnTo>
                      <a:pt x="98" y="77"/>
                    </a:lnTo>
                    <a:lnTo>
                      <a:pt x="97" y="77"/>
                    </a:lnTo>
                    <a:lnTo>
                      <a:pt x="97" y="75"/>
                    </a:lnTo>
                    <a:lnTo>
                      <a:pt x="97" y="77"/>
                    </a:lnTo>
                    <a:lnTo>
                      <a:pt x="95" y="77"/>
                    </a:lnTo>
                    <a:lnTo>
                      <a:pt x="93" y="77"/>
                    </a:lnTo>
                    <a:lnTo>
                      <a:pt x="91" y="79"/>
                    </a:lnTo>
                    <a:lnTo>
                      <a:pt x="91" y="77"/>
                    </a:lnTo>
                    <a:lnTo>
                      <a:pt x="89" y="77"/>
                    </a:lnTo>
                    <a:lnTo>
                      <a:pt x="89" y="79"/>
                    </a:lnTo>
                    <a:lnTo>
                      <a:pt x="89" y="77"/>
                    </a:lnTo>
                    <a:lnTo>
                      <a:pt x="89" y="75"/>
                    </a:lnTo>
                    <a:lnTo>
                      <a:pt x="87" y="75"/>
                    </a:lnTo>
                    <a:lnTo>
                      <a:pt x="85" y="75"/>
                    </a:lnTo>
                    <a:lnTo>
                      <a:pt x="85" y="77"/>
                    </a:lnTo>
                    <a:lnTo>
                      <a:pt x="83" y="77"/>
                    </a:lnTo>
                    <a:lnTo>
                      <a:pt x="83" y="75"/>
                    </a:lnTo>
                    <a:lnTo>
                      <a:pt x="81" y="75"/>
                    </a:lnTo>
                    <a:lnTo>
                      <a:pt x="81" y="73"/>
                    </a:lnTo>
                    <a:lnTo>
                      <a:pt x="79" y="73"/>
                    </a:lnTo>
                    <a:lnTo>
                      <a:pt x="79" y="75"/>
                    </a:lnTo>
                    <a:lnTo>
                      <a:pt x="77" y="75"/>
                    </a:lnTo>
                    <a:lnTo>
                      <a:pt x="77" y="77"/>
                    </a:lnTo>
                    <a:lnTo>
                      <a:pt x="79" y="77"/>
                    </a:lnTo>
                    <a:lnTo>
                      <a:pt x="79" y="79"/>
                    </a:lnTo>
                    <a:lnTo>
                      <a:pt x="77" y="79"/>
                    </a:lnTo>
                    <a:lnTo>
                      <a:pt x="77" y="77"/>
                    </a:lnTo>
                    <a:lnTo>
                      <a:pt x="79" y="77"/>
                    </a:lnTo>
                    <a:lnTo>
                      <a:pt x="77" y="77"/>
                    </a:lnTo>
                    <a:lnTo>
                      <a:pt x="77" y="79"/>
                    </a:lnTo>
                    <a:lnTo>
                      <a:pt x="79" y="79"/>
                    </a:lnTo>
                    <a:lnTo>
                      <a:pt x="81" y="81"/>
                    </a:lnTo>
                    <a:lnTo>
                      <a:pt x="79" y="82"/>
                    </a:lnTo>
                    <a:lnTo>
                      <a:pt x="77" y="82"/>
                    </a:lnTo>
                    <a:lnTo>
                      <a:pt x="75" y="82"/>
                    </a:lnTo>
                    <a:lnTo>
                      <a:pt x="75" y="84"/>
                    </a:lnTo>
                    <a:lnTo>
                      <a:pt x="73" y="84"/>
                    </a:lnTo>
                    <a:lnTo>
                      <a:pt x="73" y="86"/>
                    </a:lnTo>
                    <a:lnTo>
                      <a:pt x="73" y="88"/>
                    </a:lnTo>
                    <a:lnTo>
                      <a:pt x="72" y="88"/>
                    </a:lnTo>
                    <a:lnTo>
                      <a:pt x="72" y="86"/>
                    </a:lnTo>
                    <a:lnTo>
                      <a:pt x="70" y="86"/>
                    </a:lnTo>
                    <a:lnTo>
                      <a:pt x="68" y="86"/>
                    </a:lnTo>
                    <a:lnTo>
                      <a:pt x="66" y="88"/>
                    </a:lnTo>
                    <a:lnTo>
                      <a:pt x="66" y="90"/>
                    </a:lnTo>
                    <a:lnTo>
                      <a:pt x="64" y="90"/>
                    </a:lnTo>
                    <a:lnTo>
                      <a:pt x="64" y="88"/>
                    </a:lnTo>
                    <a:lnTo>
                      <a:pt x="62" y="88"/>
                    </a:lnTo>
                    <a:lnTo>
                      <a:pt x="62" y="90"/>
                    </a:lnTo>
                    <a:lnTo>
                      <a:pt x="64" y="92"/>
                    </a:lnTo>
                    <a:lnTo>
                      <a:pt x="62" y="92"/>
                    </a:lnTo>
                    <a:lnTo>
                      <a:pt x="62" y="94"/>
                    </a:lnTo>
                    <a:lnTo>
                      <a:pt x="60" y="92"/>
                    </a:lnTo>
                    <a:lnTo>
                      <a:pt x="60" y="94"/>
                    </a:lnTo>
                    <a:lnTo>
                      <a:pt x="60" y="96"/>
                    </a:lnTo>
                    <a:lnTo>
                      <a:pt x="58" y="98"/>
                    </a:lnTo>
                    <a:lnTo>
                      <a:pt x="60" y="98"/>
                    </a:lnTo>
                    <a:lnTo>
                      <a:pt x="62" y="98"/>
                    </a:lnTo>
                    <a:lnTo>
                      <a:pt x="60" y="98"/>
                    </a:lnTo>
                    <a:lnTo>
                      <a:pt x="60" y="100"/>
                    </a:lnTo>
                    <a:lnTo>
                      <a:pt x="62" y="100"/>
                    </a:lnTo>
                    <a:lnTo>
                      <a:pt x="60" y="102"/>
                    </a:lnTo>
                    <a:lnTo>
                      <a:pt x="58" y="102"/>
                    </a:lnTo>
                    <a:lnTo>
                      <a:pt x="56" y="102"/>
                    </a:lnTo>
                    <a:lnTo>
                      <a:pt x="56" y="104"/>
                    </a:lnTo>
                    <a:lnTo>
                      <a:pt x="54" y="102"/>
                    </a:lnTo>
                    <a:lnTo>
                      <a:pt x="56" y="102"/>
                    </a:lnTo>
                    <a:lnTo>
                      <a:pt x="54" y="102"/>
                    </a:lnTo>
                    <a:lnTo>
                      <a:pt x="52" y="102"/>
                    </a:lnTo>
                    <a:lnTo>
                      <a:pt x="50" y="102"/>
                    </a:lnTo>
                    <a:lnTo>
                      <a:pt x="48" y="102"/>
                    </a:lnTo>
                    <a:lnTo>
                      <a:pt x="48" y="104"/>
                    </a:lnTo>
                    <a:lnTo>
                      <a:pt x="47" y="104"/>
                    </a:lnTo>
                    <a:lnTo>
                      <a:pt x="47" y="106"/>
                    </a:lnTo>
                    <a:lnTo>
                      <a:pt x="45" y="106"/>
                    </a:lnTo>
                    <a:lnTo>
                      <a:pt x="45" y="104"/>
                    </a:lnTo>
                    <a:lnTo>
                      <a:pt x="45" y="102"/>
                    </a:lnTo>
                    <a:lnTo>
                      <a:pt x="43" y="100"/>
                    </a:lnTo>
                    <a:lnTo>
                      <a:pt x="43" y="102"/>
                    </a:lnTo>
                    <a:lnTo>
                      <a:pt x="41" y="102"/>
                    </a:lnTo>
                    <a:lnTo>
                      <a:pt x="39" y="102"/>
                    </a:lnTo>
                    <a:lnTo>
                      <a:pt x="39" y="104"/>
                    </a:lnTo>
                    <a:lnTo>
                      <a:pt x="37" y="104"/>
                    </a:lnTo>
                    <a:lnTo>
                      <a:pt x="35" y="102"/>
                    </a:lnTo>
                    <a:lnTo>
                      <a:pt x="33" y="102"/>
                    </a:lnTo>
                    <a:lnTo>
                      <a:pt x="33" y="104"/>
                    </a:lnTo>
                    <a:lnTo>
                      <a:pt x="31" y="104"/>
                    </a:lnTo>
                    <a:lnTo>
                      <a:pt x="31" y="106"/>
                    </a:lnTo>
                    <a:lnTo>
                      <a:pt x="29" y="104"/>
                    </a:lnTo>
                    <a:lnTo>
                      <a:pt x="27" y="107"/>
                    </a:lnTo>
                    <a:lnTo>
                      <a:pt x="25" y="106"/>
                    </a:lnTo>
                    <a:lnTo>
                      <a:pt x="24" y="106"/>
                    </a:lnTo>
                    <a:lnTo>
                      <a:pt x="22" y="107"/>
                    </a:lnTo>
                    <a:lnTo>
                      <a:pt x="20" y="107"/>
                    </a:lnTo>
                    <a:lnTo>
                      <a:pt x="22" y="107"/>
                    </a:lnTo>
                    <a:lnTo>
                      <a:pt x="20" y="106"/>
                    </a:lnTo>
                    <a:lnTo>
                      <a:pt x="20" y="104"/>
                    </a:lnTo>
                    <a:lnTo>
                      <a:pt x="20" y="102"/>
                    </a:lnTo>
                    <a:lnTo>
                      <a:pt x="18" y="100"/>
                    </a:lnTo>
                    <a:lnTo>
                      <a:pt x="18" y="98"/>
                    </a:lnTo>
                    <a:lnTo>
                      <a:pt x="18" y="96"/>
                    </a:lnTo>
                    <a:lnTo>
                      <a:pt x="16" y="96"/>
                    </a:lnTo>
                    <a:lnTo>
                      <a:pt x="16" y="94"/>
                    </a:lnTo>
                    <a:lnTo>
                      <a:pt x="14" y="94"/>
                    </a:lnTo>
                    <a:lnTo>
                      <a:pt x="12" y="92"/>
                    </a:lnTo>
                    <a:lnTo>
                      <a:pt x="10" y="92"/>
                    </a:lnTo>
                    <a:lnTo>
                      <a:pt x="10" y="90"/>
                    </a:lnTo>
                    <a:lnTo>
                      <a:pt x="8" y="90"/>
                    </a:lnTo>
                    <a:lnTo>
                      <a:pt x="8" y="88"/>
                    </a:lnTo>
                    <a:lnTo>
                      <a:pt x="8" y="86"/>
                    </a:lnTo>
                    <a:lnTo>
                      <a:pt x="8" y="84"/>
                    </a:lnTo>
                    <a:lnTo>
                      <a:pt x="10" y="84"/>
                    </a:lnTo>
                    <a:lnTo>
                      <a:pt x="10" y="82"/>
                    </a:lnTo>
                    <a:lnTo>
                      <a:pt x="10" y="81"/>
                    </a:lnTo>
                    <a:lnTo>
                      <a:pt x="10" y="79"/>
                    </a:lnTo>
                    <a:lnTo>
                      <a:pt x="12" y="79"/>
                    </a:lnTo>
                    <a:lnTo>
                      <a:pt x="10" y="79"/>
                    </a:lnTo>
                    <a:lnTo>
                      <a:pt x="12" y="79"/>
                    </a:lnTo>
                    <a:lnTo>
                      <a:pt x="12" y="77"/>
                    </a:lnTo>
                    <a:lnTo>
                      <a:pt x="14" y="77"/>
                    </a:lnTo>
                    <a:lnTo>
                      <a:pt x="12" y="75"/>
                    </a:lnTo>
                    <a:lnTo>
                      <a:pt x="14" y="75"/>
                    </a:lnTo>
                    <a:lnTo>
                      <a:pt x="14" y="73"/>
                    </a:lnTo>
                    <a:lnTo>
                      <a:pt x="16" y="73"/>
                    </a:lnTo>
                    <a:lnTo>
                      <a:pt x="14" y="73"/>
                    </a:lnTo>
                    <a:lnTo>
                      <a:pt x="16" y="73"/>
                    </a:lnTo>
                    <a:lnTo>
                      <a:pt x="14" y="73"/>
                    </a:lnTo>
                    <a:lnTo>
                      <a:pt x="16" y="71"/>
                    </a:lnTo>
                    <a:lnTo>
                      <a:pt x="16" y="69"/>
                    </a:lnTo>
                    <a:lnTo>
                      <a:pt x="14" y="69"/>
                    </a:lnTo>
                    <a:lnTo>
                      <a:pt x="14" y="67"/>
                    </a:lnTo>
                    <a:lnTo>
                      <a:pt x="16" y="67"/>
                    </a:lnTo>
                    <a:lnTo>
                      <a:pt x="16" y="65"/>
                    </a:lnTo>
                    <a:lnTo>
                      <a:pt x="14" y="65"/>
                    </a:lnTo>
                    <a:lnTo>
                      <a:pt x="14" y="63"/>
                    </a:lnTo>
                    <a:lnTo>
                      <a:pt x="16" y="63"/>
                    </a:lnTo>
                    <a:lnTo>
                      <a:pt x="16" y="61"/>
                    </a:lnTo>
                    <a:lnTo>
                      <a:pt x="16" y="59"/>
                    </a:lnTo>
                    <a:lnTo>
                      <a:pt x="16" y="58"/>
                    </a:lnTo>
                    <a:lnTo>
                      <a:pt x="14" y="58"/>
                    </a:lnTo>
                    <a:lnTo>
                      <a:pt x="16" y="56"/>
                    </a:lnTo>
                    <a:lnTo>
                      <a:pt x="18" y="54"/>
                    </a:lnTo>
                    <a:lnTo>
                      <a:pt x="16" y="54"/>
                    </a:lnTo>
                    <a:lnTo>
                      <a:pt x="18" y="54"/>
                    </a:lnTo>
                    <a:lnTo>
                      <a:pt x="18" y="52"/>
                    </a:lnTo>
                    <a:lnTo>
                      <a:pt x="16" y="52"/>
                    </a:lnTo>
                    <a:lnTo>
                      <a:pt x="14" y="52"/>
                    </a:lnTo>
                    <a:lnTo>
                      <a:pt x="14" y="50"/>
                    </a:lnTo>
                    <a:lnTo>
                      <a:pt x="14" y="52"/>
                    </a:lnTo>
                    <a:lnTo>
                      <a:pt x="12" y="52"/>
                    </a:lnTo>
                    <a:lnTo>
                      <a:pt x="12" y="50"/>
                    </a:lnTo>
                    <a:lnTo>
                      <a:pt x="10" y="52"/>
                    </a:lnTo>
                    <a:lnTo>
                      <a:pt x="10" y="50"/>
                    </a:lnTo>
                    <a:lnTo>
                      <a:pt x="10" y="48"/>
                    </a:lnTo>
                    <a:lnTo>
                      <a:pt x="10" y="50"/>
                    </a:lnTo>
                    <a:lnTo>
                      <a:pt x="10" y="48"/>
                    </a:lnTo>
                    <a:lnTo>
                      <a:pt x="8" y="48"/>
                    </a:lnTo>
                    <a:lnTo>
                      <a:pt x="8" y="50"/>
                    </a:lnTo>
                    <a:lnTo>
                      <a:pt x="8" y="48"/>
                    </a:lnTo>
                    <a:lnTo>
                      <a:pt x="6" y="48"/>
                    </a:lnTo>
                    <a:lnTo>
                      <a:pt x="6" y="46"/>
                    </a:lnTo>
                    <a:lnTo>
                      <a:pt x="6" y="44"/>
                    </a:lnTo>
                    <a:lnTo>
                      <a:pt x="4" y="44"/>
                    </a:lnTo>
                    <a:lnTo>
                      <a:pt x="6" y="44"/>
                    </a:lnTo>
                    <a:lnTo>
                      <a:pt x="6" y="42"/>
                    </a:lnTo>
                    <a:lnTo>
                      <a:pt x="8" y="42"/>
                    </a:lnTo>
                    <a:lnTo>
                      <a:pt x="8" y="44"/>
                    </a:lnTo>
                    <a:lnTo>
                      <a:pt x="8" y="42"/>
                    </a:lnTo>
                    <a:lnTo>
                      <a:pt x="8" y="40"/>
                    </a:lnTo>
                    <a:lnTo>
                      <a:pt x="8" y="42"/>
                    </a:lnTo>
                    <a:lnTo>
                      <a:pt x="10" y="40"/>
                    </a:lnTo>
                    <a:lnTo>
                      <a:pt x="8" y="40"/>
                    </a:lnTo>
                    <a:lnTo>
                      <a:pt x="8" y="38"/>
                    </a:lnTo>
                    <a:lnTo>
                      <a:pt x="8" y="36"/>
                    </a:lnTo>
                    <a:lnTo>
                      <a:pt x="8" y="34"/>
                    </a:lnTo>
                    <a:lnTo>
                      <a:pt x="6" y="34"/>
                    </a:lnTo>
                    <a:lnTo>
                      <a:pt x="6" y="33"/>
                    </a:lnTo>
                    <a:lnTo>
                      <a:pt x="4" y="34"/>
                    </a:lnTo>
                    <a:lnTo>
                      <a:pt x="4" y="33"/>
                    </a:lnTo>
                    <a:lnTo>
                      <a:pt x="2" y="33"/>
                    </a:lnTo>
                    <a:lnTo>
                      <a:pt x="2" y="31"/>
                    </a:lnTo>
                    <a:lnTo>
                      <a:pt x="0" y="31"/>
                    </a:lnTo>
                    <a:lnTo>
                      <a:pt x="2" y="31"/>
                    </a:lnTo>
                    <a:lnTo>
                      <a:pt x="2" y="29"/>
                    </a:lnTo>
                    <a:lnTo>
                      <a:pt x="0" y="29"/>
                    </a:lnTo>
                    <a:lnTo>
                      <a:pt x="2" y="29"/>
                    </a:lnTo>
                    <a:lnTo>
                      <a:pt x="2" y="27"/>
                    </a:lnTo>
                    <a:lnTo>
                      <a:pt x="4" y="27"/>
                    </a:lnTo>
                    <a:lnTo>
                      <a:pt x="4" y="29"/>
                    </a:lnTo>
                    <a:lnTo>
                      <a:pt x="4" y="27"/>
                    </a:lnTo>
                    <a:lnTo>
                      <a:pt x="6" y="29"/>
                    </a:lnTo>
                    <a:lnTo>
                      <a:pt x="8" y="29"/>
                    </a:lnTo>
                    <a:lnTo>
                      <a:pt x="6" y="27"/>
                    </a:lnTo>
                    <a:lnTo>
                      <a:pt x="8" y="27"/>
                    </a:lnTo>
                    <a:lnTo>
                      <a:pt x="8" y="25"/>
                    </a:lnTo>
                    <a:lnTo>
                      <a:pt x="10" y="25"/>
                    </a:lnTo>
                    <a:lnTo>
                      <a:pt x="10" y="23"/>
                    </a:lnTo>
                    <a:lnTo>
                      <a:pt x="10" y="25"/>
                    </a:lnTo>
                    <a:lnTo>
                      <a:pt x="12" y="25"/>
                    </a:lnTo>
                    <a:lnTo>
                      <a:pt x="12" y="23"/>
                    </a:lnTo>
                    <a:lnTo>
                      <a:pt x="14" y="23"/>
                    </a:lnTo>
                    <a:lnTo>
                      <a:pt x="14" y="21"/>
                    </a:lnTo>
                    <a:lnTo>
                      <a:pt x="16" y="21"/>
                    </a:lnTo>
                    <a:lnTo>
                      <a:pt x="16" y="19"/>
                    </a:lnTo>
                    <a:lnTo>
                      <a:pt x="18" y="19"/>
                    </a:lnTo>
                    <a:lnTo>
                      <a:pt x="18" y="21"/>
                    </a:lnTo>
                    <a:lnTo>
                      <a:pt x="18" y="19"/>
                    </a:lnTo>
                    <a:lnTo>
                      <a:pt x="20" y="19"/>
                    </a:lnTo>
                    <a:lnTo>
                      <a:pt x="20" y="17"/>
                    </a:lnTo>
                    <a:lnTo>
                      <a:pt x="20" y="15"/>
                    </a:lnTo>
                    <a:lnTo>
                      <a:pt x="20" y="13"/>
                    </a:lnTo>
                    <a:lnTo>
                      <a:pt x="20" y="11"/>
                    </a:lnTo>
                    <a:lnTo>
                      <a:pt x="20" y="13"/>
                    </a:lnTo>
                    <a:lnTo>
                      <a:pt x="22" y="13"/>
                    </a:lnTo>
                    <a:lnTo>
                      <a:pt x="22" y="11"/>
                    </a:lnTo>
                    <a:lnTo>
                      <a:pt x="22" y="9"/>
                    </a:lnTo>
                    <a:lnTo>
                      <a:pt x="22" y="11"/>
                    </a:lnTo>
                    <a:lnTo>
                      <a:pt x="24" y="11"/>
                    </a:lnTo>
                    <a:lnTo>
                      <a:pt x="25" y="11"/>
                    </a:lnTo>
                    <a:lnTo>
                      <a:pt x="25" y="9"/>
                    </a:lnTo>
                    <a:lnTo>
                      <a:pt x="24" y="9"/>
                    </a:lnTo>
                    <a:lnTo>
                      <a:pt x="25" y="8"/>
                    </a:lnTo>
                    <a:lnTo>
                      <a:pt x="27" y="8"/>
                    </a:lnTo>
                    <a:lnTo>
                      <a:pt x="27" y="6"/>
                    </a:lnTo>
                    <a:lnTo>
                      <a:pt x="29" y="8"/>
                    </a:lnTo>
                    <a:lnTo>
                      <a:pt x="29" y="6"/>
                    </a:lnTo>
                    <a:lnTo>
                      <a:pt x="31" y="6"/>
                    </a:lnTo>
                    <a:lnTo>
                      <a:pt x="31" y="8"/>
                    </a:lnTo>
                    <a:lnTo>
                      <a:pt x="33" y="8"/>
                    </a:lnTo>
                    <a:lnTo>
                      <a:pt x="33" y="9"/>
                    </a:lnTo>
                    <a:lnTo>
                      <a:pt x="35" y="9"/>
                    </a:lnTo>
                    <a:lnTo>
                      <a:pt x="37" y="9"/>
                    </a:lnTo>
                    <a:lnTo>
                      <a:pt x="37" y="11"/>
                    </a:lnTo>
                    <a:lnTo>
                      <a:pt x="39" y="11"/>
                    </a:lnTo>
                    <a:lnTo>
                      <a:pt x="39" y="13"/>
                    </a:lnTo>
                    <a:lnTo>
                      <a:pt x="41" y="13"/>
                    </a:lnTo>
                    <a:lnTo>
                      <a:pt x="41" y="15"/>
                    </a:lnTo>
                    <a:lnTo>
                      <a:pt x="41" y="17"/>
                    </a:lnTo>
                    <a:lnTo>
                      <a:pt x="41" y="19"/>
                    </a:lnTo>
                    <a:lnTo>
                      <a:pt x="43" y="19"/>
                    </a:lnTo>
                    <a:lnTo>
                      <a:pt x="43" y="21"/>
                    </a:lnTo>
                    <a:lnTo>
                      <a:pt x="45" y="21"/>
                    </a:lnTo>
                    <a:lnTo>
                      <a:pt x="48" y="23"/>
                    </a:lnTo>
                    <a:lnTo>
                      <a:pt x="48" y="21"/>
                    </a:lnTo>
                    <a:lnTo>
                      <a:pt x="50" y="21"/>
                    </a:lnTo>
                    <a:lnTo>
                      <a:pt x="50" y="19"/>
                    </a:lnTo>
                    <a:lnTo>
                      <a:pt x="52" y="19"/>
                    </a:lnTo>
                    <a:lnTo>
                      <a:pt x="54" y="17"/>
                    </a:lnTo>
                    <a:lnTo>
                      <a:pt x="56" y="15"/>
                    </a:lnTo>
                    <a:lnTo>
                      <a:pt x="54" y="15"/>
                    </a:lnTo>
                    <a:lnTo>
                      <a:pt x="54" y="13"/>
                    </a:lnTo>
                    <a:lnTo>
                      <a:pt x="52" y="13"/>
                    </a:lnTo>
                    <a:lnTo>
                      <a:pt x="54" y="11"/>
                    </a:lnTo>
                    <a:lnTo>
                      <a:pt x="54" y="13"/>
                    </a:lnTo>
                    <a:lnTo>
                      <a:pt x="56" y="13"/>
                    </a:lnTo>
                    <a:lnTo>
                      <a:pt x="56" y="15"/>
                    </a:lnTo>
                    <a:lnTo>
                      <a:pt x="58" y="15"/>
                    </a:lnTo>
                    <a:lnTo>
                      <a:pt x="58" y="17"/>
                    </a:lnTo>
                    <a:lnTo>
                      <a:pt x="60" y="17"/>
                    </a:lnTo>
                    <a:lnTo>
                      <a:pt x="60" y="19"/>
                    </a:lnTo>
                    <a:lnTo>
                      <a:pt x="62" y="19"/>
                    </a:lnTo>
                    <a:lnTo>
                      <a:pt x="62" y="17"/>
                    </a:lnTo>
                    <a:lnTo>
                      <a:pt x="64" y="17"/>
                    </a:lnTo>
                    <a:lnTo>
                      <a:pt x="64" y="19"/>
                    </a:lnTo>
                    <a:lnTo>
                      <a:pt x="66" y="19"/>
                    </a:lnTo>
                    <a:lnTo>
                      <a:pt x="66" y="21"/>
                    </a:lnTo>
                    <a:lnTo>
                      <a:pt x="66" y="19"/>
                    </a:lnTo>
                    <a:lnTo>
                      <a:pt x="68" y="19"/>
                    </a:lnTo>
                    <a:lnTo>
                      <a:pt x="70" y="17"/>
                    </a:lnTo>
                    <a:lnTo>
                      <a:pt x="72" y="17"/>
                    </a:lnTo>
                    <a:lnTo>
                      <a:pt x="72" y="15"/>
                    </a:lnTo>
                    <a:lnTo>
                      <a:pt x="72" y="13"/>
                    </a:lnTo>
                    <a:lnTo>
                      <a:pt x="73" y="13"/>
                    </a:lnTo>
                    <a:lnTo>
                      <a:pt x="73" y="11"/>
                    </a:lnTo>
                    <a:lnTo>
                      <a:pt x="73" y="9"/>
                    </a:lnTo>
                    <a:lnTo>
                      <a:pt x="75" y="9"/>
                    </a:lnTo>
                    <a:lnTo>
                      <a:pt x="77" y="9"/>
                    </a:lnTo>
                    <a:lnTo>
                      <a:pt x="77" y="8"/>
                    </a:lnTo>
                    <a:lnTo>
                      <a:pt x="77" y="9"/>
                    </a:lnTo>
                    <a:lnTo>
                      <a:pt x="77" y="11"/>
                    </a:lnTo>
                    <a:lnTo>
                      <a:pt x="79" y="11"/>
                    </a:lnTo>
                    <a:lnTo>
                      <a:pt x="79" y="9"/>
                    </a:lnTo>
                    <a:lnTo>
                      <a:pt x="81" y="9"/>
                    </a:lnTo>
                    <a:lnTo>
                      <a:pt x="83" y="9"/>
                    </a:lnTo>
                    <a:lnTo>
                      <a:pt x="85" y="9"/>
                    </a:lnTo>
                    <a:lnTo>
                      <a:pt x="85" y="8"/>
                    </a:lnTo>
                    <a:lnTo>
                      <a:pt x="87" y="8"/>
                    </a:lnTo>
                    <a:lnTo>
                      <a:pt x="85" y="8"/>
                    </a:lnTo>
                    <a:lnTo>
                      <a:pt x="87" y="8"/>
                    </a:lnTo>
                    <a:lnTo>
                      <a:pt x="87" y="6"/>
                    </a:lnTo>
                    <a:lnTo>
                      <a:pt x="87" y="8"/>
                    </a:lnTo>
                    <a:lnTo>
                      <a:pt x="89" y="8"/>
                    </a:lnTo>
                    <a:lnTo>
                      <a:pt x="89" y="6"/>
                    </a:lnTo>
                    <a:lnTo>
                      <a:pt x="89" y="8"/>
                    </a:lnTo>
                    <a:lnTo>
                      <a:pt x="89" y="6"/>
                    </a:lnTo>
                    <a:lnTo>
                      <a:pt x="89" y="8"/>
                    </a:lnTo>
                    <a:lnTo>
                      <a:pt x="91" y="8"/>
                    </a:lnTo>
                    <a:lnTo>
                      <a:pt x="91" y="6"/>
                    </a:lnTo>
                    <a:lnTo>
                      <a:pt x="93" y="6"/>
                    </a:lnTo>
                    <a:lnTo>
                      <a:pt x="95" y="6"/>
                    </a:lnTo>
                    <a:lnTo>
                      <a:pt x="95" y="4"/>
                    </a:lnTo>
                    <a:lnTo>
                      <a:pt x="97" y="4"/>
                    </a:lnTo>
                    <a:lnTo>
                      <a:pt x="95" y="4"/>
                    </a:lnTo>
                    <a:lnTo>
                      <a:pt x="97" y="2"/>
                    </a:lnTo>
                    <a:lnTo>
                      <a:pt x="98" y="2"/>
                    </a:lnTo>
                    <a:lnTo>
                      <a:pt x="100" y="2"/>
                    </a:lnTo>
                    <a:lnTo>
                      <a:pt x="100" y="0"/>
                    </a:lnTo>
                    <a:lnTo>
                      <a:pt x="102" y="0"/>
                    </a:lnTo>
                    <a:lnTo>
                      <a:pt x="102" y="2"/>
                    </a:lnTo>
                    <a:lnTo>
                      <a:pt x="104" y="2"/>
                    </a:lnTo>
                    <a:lnTo>
                      <a:pt x="106" y="2"/>
                    </a:lnTo>
                    <a:lnTo>
                      <a:pt x="108" y="4"/>
                    </a:lnTo>
                    <a:lnTo>
                      <a:pt x="108" y="2"/>
                    </a:lnTo>
                    <a:lnTo>
                      <a:pt x="110" y="0"/>
                    </a:lnTo>
                    <a:lnTo>
                      <a:pt x="110" y="2"/>
                    </a:lnTo>
                    <a:lnTo>
                      <a:pt x="112" y="4"/>
                    </a:lnTo>
                    <a:lnTo>
                      <a:pt x="114" y="4"/>
                    </a:lnTo>
                    <a:lnTo>
                      <a:pt x="114" y="6"/>
                    </a:lnTo>
                    <a:lnTo>
                      <a:pt x="114" y="8"/>
                    </a:lnTo>
                    <a:lnTo>
                      <a:pt x="114" y="9"/>
                    </a:lnTo>
                    <a:lnTo>
                      <a:pt x="116" y="9"/>
                    </a:lnTo>
                    <a:lnTo>
                      <a:pt x="118" y="9"/>
                    </a:lnTo>
                    <a:lnTo>
                      <a:pt x="118" y="11"/>
                    </a:lnTo>
                    <a:lnTo>
                      <a:pt x="118" y="13"/>
                    </a:lnTo>
                    <a:lnTo>
                      <a:pt x="120" y="13"/>
                    </a:lnTo>
                    <a:lnTo>
                      <a:pt x="120" y="15"/>
                    </a:lnTo>
                    <a:lnTo>
                      <a:pt x="121" y="15"/>
                    </a:lnTo>
                    <a:lnTo>
                      <a:pt x="120" y="15"/>
                    </a:lnTo>
                    <a:lnTo>
                      <a:pt x="120" y="17"/>
                    </a:lnTo>
                    <a:lnTo>
                      <a:pt x="120" y="19"/>
                    </a:lnTo>
                    <a:lnTo>
                      <a:pt x="121" y="17"/>
                    </a:lnTo>
                    <a:lnTo>
                      <a:pt x="123" y="17"/>
                    </a:lnTo>
                    <a:lnTo>
                      <a:pt x="123" y="19"/>
                    </a:lnTo>
                    <a:lnTo>
                      <a:pt x="125" y="19"/>
                    </a:lnTo>
                    <a:lnTo>
                      <a:pt x="125" y="21"/>
                    </a:lnTo>
                    <a:lnTo>
                      <a:pt x="125" y="19"/>
                    </a:lnTo>
                    <a:lnTo>
                      <a:pt x="127" y="19"/>
                    </a:lnTo>
                    <a:lnTo>
                      <a:pt x="127" y="17"/>
                    </a:lnTo>
                    <a:lnTo>
                      <a:pt x="129" y="19"/>
                    </a:lnTo>
                    <a:lnTo>
                      <a:pt x="129" y="17"/>
                    </a:lnTo>
                    <a:lnTo>
                      <a:pt x="131" y="17"/>
                    </a:lnTo>
                    <a:lnTo>
                      <a:pt x="131" y="15"/>
                    </a:lnTo>
                    <a:lnTo>
                      <a:pt x="133" y="15"/>
                    </a:lnTo>
                    <a:lnTo>
                      <a:pt x="133" y="17"/>
                    </a:lnTo>
                    <a:lnTo>
                      <a:pt x="135" y="17"/>
                    </a:lnTo>
                    <a:lnTo>
                      <a:pt x="135" y="19"/>
                    </a:lnTo>
                    <a:lnTo>
                      <a:pt x="137" y="17"/>
                    </a:lnTo>
                    <a:lnTo>
                      <a:pt x="137" y="15"/>
                    </a:lnTo>
                    <a:lnTo>
                      <a:pt x="139" y="15"/>
                    </a:lnTo>
                    <a:lnTo>
                      <a:pt x="139" y="17"/>
                    </a:lnTo>
                    <a:lnTo>
                      <a:pt x="139" y="19"/>
                    </a:lnTo>
                    <a:lnTo>
                      <a:pt x="137" y="21"/>
                    </a:lnTo>
                    <a:lnTo>
                      <a:pt x="137" y="23"/>
                    </a:lnTo>
                    <a:lnTo>
                      <a:pt x="139" y="23"/>
                    </a:lnTo>
                    <a:lnTo>
                      <a:pt x="139" y="21"/>
                    </a:lnTo>
                    <a:lnTo>
                      <a:pt x="139" y="23"/>
                    </a:lnTo>
                    <a:lnTo>
                      <a:pt x="139" y="25"/>
                    </a:lnTo>
                    <a:lnTo>
                      <a:pt x="141" y="25"/>
                    </a:lnTo>
                    <a:lnTo>
                      <a:pt x="141" y="27"/>
                    </a:lnTo>
                    <a:lnTo>
                      <a:pt x="141" y="29"/>
                    </a:lnTo>
                    <a:lnTo>
                      <a:pt x="139" y="29"/>
                    </a:lnTo>
                    <a:lnTo>
                      <a:pt x="141" y="31"/>
                    </a:lnTo>
                    <a:lnTo>
                      <a:pt x="141" y="29"/>
                    </a:lnTo>
                    <a:lnTo>
                      <a:pt x="143" y="31"/>
                    </a:lnTo>
                    <a:lnTo>
                      <a:pt x="143" y="29"/>
                    </a:lnTo>
                    <a:lnTo>
                      <a:pt x="145" y="29"/>
                    </a:lnTo>
                    <a:lnTo>
                      <a:pt x="145" y="31"/>
                    </a:lnTo>
                    <a:lnTo>
                      <a:pt x="145" y="29"/>
                    </a:lnTo>
                    <a:lnTo>
                      <a:pt x="145" y="31"/>
                    </a:lnTo>
                    <a:lnTo>
                      <a:pt x="145" y="33"/>
                    </a:lnTo>
                    <a:lnTo>
                      <a:pt x="145" y="34"/>
                    </a:lnTo>
                    <a:lnTo>
                      <a:pt x="145" y="36"/>
                    </a:lnTo>
                    <a:lnTo>
                      <a:pt x="145" y="38"/>
                    </a:lnTo>
                    <a:lnTo>
                      <a:pt x="143" y="38"/>
                    </a:lnTo>
                    <a:lnTo>
                      <a:pt x="145" y="38"/>
                    </a:lnTo>
                    <a:lnTo>
                      <a:pt x="145" y="40"/>
                    </a:lnTo>
                    <a:lnTo>
                      <a:pt x="145" y="42"/>
                    </a:lnTo>
                    <a:lnTo>
                      <a:pt x="143" y="42"/>
                    </a:lnTo>
                    <a:lnTo>
                      <a:pt x="143" y="44"/>
                    </a:lnTo>
                    <a:lnTo>
                      <a:pt x="141" y="44"/>
                    </a:lnTo>
                    <a:lnTo>
                      <a:pt x="141" y="46"/>
                    </a:lnTo>
                    <a:lnTo>
                      <a:pt x="141" y="48"/>
                    </a:lnTo>
                    <a:lnTo>
                      <a:pt x="141" y="50"/>
                    </a:lnTo>
                    <a:lnTo>
                      <a:pt x="139" y="50"/>
                    </a:lnTo>
                    <a:lnTo>
                      <a:pt x="141" y="50"/>
                    </a:lnTo>
                    <a:lnTo>
                      <a:pt x="141" y="52"/>
                    </a:lnTo>
                    <a:lnTo>
                      <a:pt x="139" y="52"/>
                    </a:lnTo>
                    <a:lnTo>
                      <a:pt x="141" y="52"/>
                    </a:lnTo>
                    <a:lnTo>
                      <a:pt x="139" y="52"/>
                    </a:lnTo>
                    <a:lnTo>
                      <a:pt x="139" y="54"/>
                    </a:lnTo>
                    <a:lnTo>
                      <a:pt x="137" y="54"/>
                    </a:lnTo>
                    <a:lnTo>
                      <a:pt x="137" y="56"/>
                    </a:lnTo>
                    <a:lnTo>
                      <a:pt x="137" y="58"/>
                    </a:lnTo>
                    <a:lnTo>
                      <a:pt x="137" y="56"/>
                    </a:lnTo>
                    <a:lnTo>
                      <a:pt x="139" y="58"/>
                    </a:lnTo>
                    <a:lnTo>
                      <a:pt x="137" y="58"/>
                    </a:lnTo>
                    <a:lnTo>
                      <a:pt x="139" y="5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7" name="Freeform 32"/>
              <p:cNvSpPr>
                <a:spLocks noEditPoints="1"/>
              </p:cNvSpPr>
              <p:nvPr/>
            </p:nvSpPr>
            <p:spPr bwMode="auto">
              <a:xfrm>
                <a:off x="7315382" y="1747079"/>
                <a:ext cx="452525" cy="328640"/>
              </a:xfrm>
              <a:custGeom>
                <a:avLst/>
                <a:gdLst>
                  <a:gd name="T0" fmla="*/ 221 w 263"/>
                  <a:gd name="T1" fmla="*/ 170 h 191"/>
                  <a:gd name="T2" fmla="*/ 225 w 263"/>
                  <a:gd name="T3" fmla="*/ 166 h 191"/>
                  <a:gd name="T4" fmla="*/ 227 w 263"/>
                  <a:gd name="T5" fmla="*/ 168 h 191"/>
                  <a:gd name="T6" fmla="*/ 230 w 263"/>
                  <a:gd name="T7" fmla="*/ 173 h 191"/>
                  <a:gd name="T8" fmla="*/ 236 w 263"/>
                  <a:gd name="T9" fmla="*/ 177 h 191"/>
                  <a:gd name="T10" fmla="*/ 244 w 263"/>
                  <a:gd name="T11" fmla="*/ 179 h 191"/>
                  <a:gd name="T12" fmla="*/ 248 w 263"/>
                  <a:gd name="T13" fmla="*/ 179 h 191"/>
                  <a:gd name="T14" fmla="*/ 251 w 263"/>
                  <a:gd name="T15" fmla="*/ 181 h 191"/>
                  <a:gd name="T16" fmla="*/ 257 w 263"/>
                  <a:gd name="T17" fmla="*/ 183 h 191"/>
                  <a:gd name="T18" fmla="*/ 261 w 263"/>
                  <a:gd name="T19" fmla="*/ 187 h 191"/>
                  <a:gd name="T20" fmla="*/ 261 w 263"/>
                  <a:gd name="T21" fmla="*/ 191 h 191"/>
                  <a:gd name="T22" fmla="*/ 257 w 263"/>
                  <a:gd name="T23" fmla="*/ 189 h 191"/>
                  <a:gd name="T24" fmla="*/ 251 w 263"/>
                  <a:gd name="T25" fmla="*/ 185 h 191"/>
                  <a:gd name="T26" fmla="*/ 250 w 263"/>
                  <a:gd name="T27" fmla="*/ 187 h 191"/>
                  <a:gd name="T28" fmla="*/ 250 w 263"/>
                  <a:gd name="T29" fmla="*/ 187 h 191"/>
                  <a:gd name="T30" fmla="*/ 246 w 263"/>
                  <a:gd name="T31" fmla="*/ 189 h 191"/>
                  <a:gd name="T32" fmla="*/ 242 w 263"/>
                  <a:gd name="T33" fmla="*/ 187 h 191"/>
                  <a:gd name="T34" fmla="*/ 236 w 263"/>
                  <a:gd name="T35" fmla="*/ 185 h 191"/>
                  <a:gd name="T36" fmla="*/ 232 w 263"/>
                  <a:gd name="T37" fmla="*/ 183 h 191"/>
                  <a:gd name="T38" fmla="*/ 228 w 263"/>
                  <a:gd name="T39" fmla="*/ 179 h 191"/>
                  <a:gd name="T40" fmla="*/ 223 w 263"/>
                  <a:gd name="T41" fmla="*/ 177 h 191"/>
                  <a:gd name="T42" fmla="*/ 215 w 263"/>
                  <a:gd name="T43" fmla="*/ 177 h 191"/>
                  <a:gd name="T44" fmla="*/ 213 w 263"/>
                  <a:gd name="T45" fmla="*/ 175 h 191"/>
                  <a:gd name="T46" fmla="*/ 215 w 263"/>
                  <a:gd name="T47" fmla="*/ 170 h 191"/>
                  <a:gd name="T48" fmla="*/ 13 w 263"/>
                  <a:gd name="T49" fmla="*/ 4 h 191"/>
                  <a:gd name="T50" fmla="*/ 15 w 263"/>
                  <a:gd name="T51" fmla="*/ 6 h 191"/>
                  <a:gd name="T52" fmla="*/ 21 w 263"/>
                  <a:gd name="T53" fmla="*/ 8 h 191"/>
                  <a:gd name="T54" fmla="*/ 23 w 263"/>
                  <a:gd name="T55" fmla="*/ 14 h 191"/>
                  <a:gd name="T56" fmla="*/ 27 w 263"/>
                  <a:gd name="T57" fmla="*/ 20 h 191"/>
                  <a:gd name="T58" fmla="*/ 23 w 263"/>
                  <a:gd name="T59" fmla="*/ 23 h 191"/>
                  <a:gd name="T60" fmla="*/ 21 w 263"/>
                  <a:gd name="T61" fmla="*/ 31 h 191"/>
                  <a:gd name="T62" fmla="*/ 19 w 263"/>
                  <a:gd name="T63" fmla="*/ 33 h 191"/>
                  <a:gd name="T64" fmla="*/ 17 w 263"/>
                  <a:gd name="T65" fmla="*/ 39 h 191"/>
                  <a:gd name="T66" fmla="*/ 15 w 263"/>
                  <a:gd name="T67" fmla="*/ 45 h 191"/>
                  <a:gd name="T68" fmla="*/ 15 w 263"/>
                  <a:gd name="T69" fmla="*/ 52 h 191"/>
                  <a:gd name="T70" fmla="*/ 15 w 263"/>
                  <a:gd name="T71" fmla="*/ 60 h 191"/>
                  <a:gd name="T72" fmla="*/ 13 w 263"/>
                  <a:gd name="T73" fmla="*/ 62 h 191"/>
                  <a:gd name="T74" fmla="*/ 13 w 263"/>
                  <a:gd name="T75" fmla="*/ 58 h 191"/>
                  <a:gd name="T76" fmla="*/ 13 w 263"/>
                  <a:gd name="T77" fmla="*/ 50 h 191"/>
                  <a:gd name="T78" fmla="*/ 9 w 263"/>
                  <a:gd name="T79" fmla="*/ 43 h 191"/>
                  <a:gd name="T80" fmla="*/ 7 w 263"/>
                  <a:gd name="T81" fmla="*/ 37 h 191"/>
                  <a:gd name="T82" fmla="*/ 6 w 263"/>
                  <a:gd name="T83" fmla="*/ 31 h 191"/>
                  <a:gd name="T84" fmla="*/ 4 w 263"/>
                  <a:gd name="T85" fmla="*/ 25 h 191"/>
                  <a:gd name="T86" fmla="*/ 2 w 263"/>
                  <a:gd name="T87" fmla="*/ 29 h 191"/>
                  <a:gd name="T88" fmla="*/ 2 w 263"/>
                  <a:gd name="T89" fmla="*/ 27 h 191"/>
                  <a:gd name="T90" fmla="*/ 6 w 263"/>
                  <a:gd name="T91" fmla="*/ 21 h 191"/>
                  <a:gd name="T92" fmla="*/ 7 w 263"/>
                  <a:gd name="T93" fmla="*/ 16 h 191"/>
                  <a:gd name="T94" fmla="*/ 7 w 263"/>
                  <a:gd name="T95" fmla="*/ 8 h 191"/>
                  <a:gd name="T96" fmla="*/ 9 w 263"/>
                  <a:gd name="T97" fmla="*/ 2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3" h="191">
                    <a:moveTo>
                      <a:pt x="215" y="170"/>
                    </a:moveTo>
                    <a:lnTo>
                      <a:pt x="217" y="170"/>
                    </a:lnTo>
                    <a:lnTo>
                      <a:pt x="219" y="170"/>
                    </a:lnTo>
                    <a:lnTo>
                      <a:pt x="221" y="170"/>
                    </a:lnTo>
                    <a:lnTo>
                      <a:pt x="221" y="168"/>
                    </a:lnTo>
                    <a:lnTo>
                      <a:pt x="223" y="168"/>
                    </a:lnTo>
                    <a:lnTo>
                      <a:pt x="223" y="166"/>
                    </a:lnTo>
                    <a:lnTo>
                      <a:pt x="225" y="166"/>
                    </a:lnTo>
                    <a:lnTo>
                      <a:pt x="227" y="166"/>
                    </a:lnTo>
                    <a:lnTo>
                      <a:pt x="227" y="168"/>
                    </a:lnTo>
                    <a:lnTo>
                      <a:pt x="225" y="168"/>
                    </a:lnTo>
                    <a:lnTo>
                      <a:pt x="227" y="168"/>
                    </a:lnTo>
                    <a:lnTo>
                      <a:pt x="227" y="170"/>
                    </a:lnTo>
                    <a:lnTo>
                      <a:pt x="228" y="171"/>
                    </a:lnTo>
                    <a:lnTo>
                      <a:pt x="228" y="173"/>
                    </a:lnTo>
                    <a:lnTo>
                      <a:pt x="230" y="173"/>
                    </a:lnTo>
                    <a:lnTo>
                      <a:pt x="232" y="175"/>
                    </a:lnTo>
                    <a:lnTo>
                      <a:pt x="234" y="175"/>
                    </a:lnTo>
                    <a:lnTo>
                      <a:pt x="236" y="175"/>
                    </a:lnTo>
                    <a:lnTo>
                      <a:pt x="236" y="177"/>
                    </a:lnTo>
                    <a:lnTo>
                      <a:pt x="238" y="177"/>
                    </a:lnTo>
                    <a:lnTo>
                      <a:pt x="240" y="177"/>
                    </a:lnTo>
                    <a:lnTo>
                      <a:pt x="242" y="179"/>
                    </a:lnTo>
                    <a:lnTo>
                      <a:pt x="244" y="179"/>
                    </a:lnTo>
                    <a:lnTo>
                      <a:pt x="244" y="181"/>
                    </a:lnTo>
                    <a:lnTo>
                      <a:pt x="246" y="181"/>
                    </a:lnTo>
                    <a:lnTo>
                      <a:pt x="248" y="181"/>
                    </a:lnTo>
                    <a:lnTo>
                      <a:pt x="248" y="179"/>
                    </a:lnTo>
                    <a:lnTo>
                      <a:pt x="250" y="181"/>
                    </a:lnTo>
                    <a:lnTo>
                      <a:pt x="250" y="179"/>
                    </a:lnTo>
                    <a:lnTo>
                      <a:pt x="251" y="179"/>
                    </a:lnTo>
                    <a:lnTo>
                      <a:pt x="251" y="181"/>
                    </a:lnTo>
                    <a:lnTo>
                      <a:pt x="253" y="181"/>
                    </a:lnTo>
                    <a:lnTo>
                      <a:pt x="255" y="181"/>
                    </a:lnTo>
                    <a:lnTo>
                      <a:pt x="255" y="183"/>
                    </a:lnTo>
                    <a:lnTo>
                      <a:pt x="257" y="183"/>
                    </a:lnTo>
                    <a:lnTo>
                      <a:pt x="257" y="185"/>
                    </a:lnTo>
                    <a:lnTo>
                      <a:pt x="259" y="185"/>
                    </a:lnTo>
                    <a:lnTo>
                      <a:pt x="259" y="187"/>
                    </a:lnTo>
                    <a:lnTo>
                      <a:pt x="261" y="187"/>
                    </a:lnTo>
                    <a:lnTo>
                      <a:pt x="261" y="189"/>
                    </a:lnTo>
                    <a:lnTo>
                      <a:pt x="263" y="189"/>
                    </a:lnTo>
                    <a:lnTo>
                      <a:pt x="263" y="191"/>
                    </a:lnTo>
                    <a:lnTo>
                      <a:pt x="261" y="191"/>
                    </a:lnTo>
                    <a:lnTo>
                      <a:pt x="261" y="189"/>
                    </a:lnTo>
                    <a:lnTo>
                      <a:pt x="259" y="189"/>
                    </a:lnTo>
                    <a:lnTo>
                      <a:pt x="259" y="191"/>
                    </a:lnTo>
                    <a:lnTo>
                      <a:pt x="257" y="189"/>
                    </a:lnTo>
                    <a:lnTo>
                      <a:pt x="255" y="189"/>
                    </a:lnTo>
                    <a:lnTo>
                      <a:pt x="253" y="189"/>
                    </a:lnTo>
                    <a:lnTo>
                      <a:pt x="253" y="187"/>
                    </a:lnTo>
                    <a:lnTo>
                      <a:pt x="251" y="185"/>
                    </a:lnTo>
                    <a:lnTo>
                      <a:pt x="251" y="187"/>
                    </a:lnTo>
                    <a:lnTo>
                      <a:pt x="250" y="187"/>
                    </a:lnTo>
                    <a:lnTo>
                      <a:pt x="251" y="187"/>
                    </a:lnTo>
                    <a:lnTo>
                      <a:pt x="250" y="187"/>
                    </a:lnTo>
                    <a:lnTo>
                      <a:pt x="250" y="189"/>
                    </a:lnTo>
                    <a:lnTo>
                      <a:pt x="250" y="187"/>
                    </a:lnTo>
                    <a:lnTo>
                      <a:pt x="250" y="189"/>
                    </a:lnTo>
                    <a:lnTo>
                      <a:pt x="250" y="187"/>
                    </a:lnTo>
                    <a:lnTo>
                      <a:pt x="248" y="187"/>
                    </a:lnTo>
                    <a:lnTo>
                      <a:pt x="250" y="189"/>
                    </a:lnTo>
                    <a:lnTo>
                      <a:pt x="248" y="189"/>
                    </a:lnTo>
                    <a:lnTo>
                      <a:pt x="246" y="189"/>
                    </a:lnTo>
                    <a:lnTo>
                      <a:pt x="246" y="187"/>
                    </a:lnTo>
                    <a:lnTo>
                      <a:pt x="246" y="189"/>
                    </a:lnTo>
                    <a:lnTo>
                      <a:pt x="244" y="187"/>
                    </a:lnTo>
                    <a:lnTo>
                      <a:pt x="242" y="187"/>
                    </a:lnTo>
                    <a:lnTo>
                      <a:pt x="240" y="187"/>
                    </a:lnTo>
                    <a:lnTo>
                      <a:pt x="238" y="187"/>
                    </a:lnTo>
                    <a:lnTo>
                      <a:pt x="238" y="185"/>
                    </a:lnTo>
                    <a:lnTo>
                      <a:pt x="236" y="185"/>
                    </a:lnTo>
                    <a:lnTo>
                      <a:pt x="234" y="185"/>
                    </a:lnTo>
                    <a:lnTo>
                      <a:pt x="232" y="183"/>
                    </a:lnTo>
                    <a:lnTo>
                      <a:pt x="232" y="185"/>
                    </a:lnTo>
                    <a:lnTo>
                      <a:pt x="232" y="183"/>
                    </a:lnTo>
                    <a:lnTo>
                      <a:pt x="230" y="183"/>
                    </a:lnTo>
                    <a:lnTo>
                      <a:pt x="230" y="181"/>
                    </a:lnTo>
                    <a:lnTo>
                      <a:pt x="228" y="181"/>
                    </a:lnTo>
                    <a:lnTo>
                      <a:pt x="228" y="179"/>
                    </a:lnTo>
                    <a:lnTo>
                      <a:pt x="227" y="179"/>
                    </a:lnTo>
                    <a:lnTo>
                      <a:pt x="225" y="179"/>
                    </a:lnTo>
                    <a:lnTo>
                      <a:pt x="223" y="179"/>
                    </a:lnTo>
                    <a:lnTo>
                      <a:pt x="223" y="177"/>
                    </a:lnTo>
                    <a:lnTo>
                      <a:pt x="221" y="177"/>
                    </a:lnTo>
                    <a:lnTo>
                      <a:pt x="219" y="177"/>
                    </a:lnTo>
                    <a:lnTo>
                      <a:pt x="217" y="177"/>
                    </a:lnTo>
                    <a:lnTo>
                      <a:pt x="215" y="177"/>
                    </a:lnTo>
                    <a:lnTo>
                      <a:pt x="215" y="179"/>
                    </a:lnTo>
                    <a:lnTo>
                      <a:pt x="213" y="179"/>
                    </a:lnTo>
                    <a:lnTo>
                      <a:pt x="213" y="177"/>
                    </a:lnTo>
                    <a:lnTo>
                      <a:pt x="213" y="175"/>
                    </a:lnTo>
                    <a:lnTo>
                      <a:pt x="215" y="175"/>
                    </a:lnTo>
                    <a:lnTo>
                      <a:pt x="215" y="173"/>
                    </a:lnTo>
                    <a:lnTo>
                      <a:pt x="215" y="171"/>
                    </a:lnTo>
                    <a:lnTo>
                      <a:pt x="215" y="170"/>
                    </a:lnTo>
                    <a:close/>
                    <a:moveTo>
                      <a:pt x="9" y="2"/>
                    </a:moveTo>
                    <a:lnTo>
                      <a:pt x="11" y="2"/>
                    </a:lnTo>
                    <a:lnTo>
                      <a:pt x="11" y="4"/>
                    </a:lnTo>
                    <a:lnTo>
                      <a:pt x="13" y="4"/>
                    </a:lnTo>
                    <a:lnTo>
                      <a:pt x="13" y="2"/>
                    </a:lnTo>
                    <a:lnTo>
                      <a:pt x="13" y="4"/>
                    </a:lnTo>
                    <a:lnTo>
                      <a:pt x="15" y="4"/>
                    </a:lnTo>
                    <a:lnTo>
                      <a:pt x="15" y="6"/>
                    </a:lnTo>
                    <a:lnTo>
                      <a:pt x="17" y="6"/>
                    </a:lnTo>
                    <a:lnTo>
                      <a:pt x="19" y="6"/>
                    </a:lnTo>
                    <a:lnTo>
                      <a:pt x="19" y="8"/>
                    </a:lnTo>
                    <a:lnTo>
                      <a:pt x="21" y="8"/>
                    </a:lnTo>
                    <a:lnTo>
                      <a:pt x="21" y="10"/>
                    </a:lnTo>
                    <a:lnTo>
                      <a:pt x="23" y="10"/>
                    </a:lnTo>
                    <a:lnTo>
                      <a:pt x="23" y="12"/>
                    </a:lnTo>
                    <a:lnTo>
                      <a:pt x="23" y="14"/>
                    </a:lnTo>
                    <a:lnTo>
                      <a:pt x="25" y="14"/>
                    </a:lnTo>
                    <a:lnTo>
                      <a:pt x="27" y="16"/>
                    </a:lnTo>
                    <a:lnTo>
                      <a:pt x="27" y="18"/>
                    </a:lnTo>
                    <a:lnTo>
                      <a:pt x="27" y="20"/>
                    </a:lnTo>
                    <a:lnTo>
                      <a:pt x="25" y="20"/>
                    </a:lnTo>
                    <a:lnTo>
                      <a:pt x="25" y="21"/>
                    </a:lnTo>
                    <a:lnTo>
                      <a:pt x="23" y="21"/>
                    </a:lnTo>
                    <a:lnTo>
                      <a:pt x="23" y="23"/>
                    </a:lnTo>
                    <a:lnTo>
                      <a:pt x="21" y="25"/>
                    </a:lnTo>
                    <a:lnTo>
                      <a:pt x="21" y="27"/>
                    </a:lnTo>
                    <a:lnTo>
                      <a:pt x="21" y="29"/>
                    </a:lnTo>
                    <a:lnTo>
                      <a:pt x="21" y="31"/>
                    </a:lnTo>
                    <a:lnTo>
                      <a:pt x="19" y="29"/>
                    </a:lnTo>
                    <a:lnTo>
                      <a:pt x="19" y="31"/>
                    </a:lnTo>
                    <a:lnTo>
                      <a:pt x="17" y="33"/>
                    </a:lnTo>
                    <a:lnTo>
                      <a:pt x="19" y="33"/>
                    </a:lnTo>
                    <a:lnTo>
                      <a:pt x="19" y="35"/>
                    </a:lnTo>
                    <a:lnTo>
                      <a:pt x="17" y="35"/>
                    </a:lnTo>
                    <a:lnTo>
                      <a:pt x="17" y="37"/>
                    </a:lnTo>
                    <a:lnTo>
                      <a:pt x="17" y="39"/>
                    </a:lnTo>
                    <a:lnTo>
                      <a:pt x="17" y="41"/>
                    </a:lnTo>
                    <a:lnTo>
                      <a:pt x="17" y="43"/>
                    </a:lnTo>
                    <a:lnTo>
                      <a:pt x="15" y="43"/>
                    </a:lnTo>
                    <a:lnTo>
                      <a:pt x="15" y="45"/>
                    </a:lnTo>
                    <a:lnTo>
                      <a:pt x="15" y="46"/>
                    </a:lnTo>
                    <a:lnTo>
                      <a:pt x="15" y="48"/>
                    </a:lnTo>
                    <a:lnTo>
                      <a:pt x="15" y="50"/>
                    </a:lnTo>
                    <a:lnTo>
                      <a:pt x="15" y="52"/>
                    </a:lnTo>
                    <a:lnTo>
                      <a:pt x="15" y="54"/>
                    </a:lnTo>
                    <a:lnTo>
                      <a:pt x="15" y="56"/>
                    </a:lnTo>
                    <a:lnTo>
                      <a:pt x="15" y="58"/>
                    </a:lnTo>
                    <a:lnTo>
                      <a:pt x="15" y="60"/>
                    </a:lnTo>
                    <a:lnTo>
                      <a:pt x="17" y="62"/>
                    </a:lnTo>
                    <a:lnTo>
                      <a:pt x="17" y="64"/>
                    </a:lnTo>
                    <a:lnTo>
                      <a:pt x="15" y="62"/>
                    </a:lnTo>
                    <a:lnTo>
                      <a:pt x="13" y="62"/>
                    </a:lnTo>
                    <a:lnTo>
                      <a:pt x="13" y="60"/>
                    </a:lnTo>
                    <a:lnTo>
                      <a:pt x="11" y="60"/>
                    </a:lnTo>
                    <a:lnTo>
                      <a:pt x="11" y="58"/>
                    </a:lnTo>
                    <a:lnTo>
                      <a:pt x="13" y="58"/>
                    </a:lnTo>
                    <a:lnTo>
                      <a:pt x="13" y="56"/>
                    </a:lnTo>
                    <a:lnTo>
                      <a:pt x="13" y="54"/>
                    </a:lnTo>
                    <a:lnTo>
                      <a:pt x="13" y="52"/>
                    </a:lnTo>
                    <a:lnTo>
                      <a:pt x="13" y="50"/>
                    </a:lnTo>
                    <a:lnTo>
                      <a:pt x="11" y="48"/>
                    </a:lnTo>
                    <a:lnTo>
                      <a:pt x="11" y="46"/>
                    </a:lnTo>
                    <a:lnTo>
                      <a:pt x="11" y="45"/>
                    </a:lnTo>
                    <a:lnTo>
                      <a:pt x="9" y="43"/>
                    </a:lnTo>
                    <a:lnTo>
                      <a:pt x="9" y="41"/>
                    </a:lnTo>
                    <a:lnTo>
                      <a:pt x="9" y="39"/>
                    </a:lnTo>
                    <a:lnTo>
                      <a:pt x="7" y="39"/>
                    </a:lnTo>
                    <a:lnTo>
                      <a:pt x="7" y="37"/>
                    </a:lnTo>
                    <a:lnTo>
                      <a:pt x="6" y="37"/>
                    </a:lnTo>
                    <a:lnTo>
                      <a:pt x="6" y="35"/>
                    </a:lnTo>
                    <a:lnTo>
                      <a:pt x="6" y="33"/>
                    </a:lnTo>
                    <a:lnTo>
                      <a:pt x="6" y="31"/>
                    </a:lnTo>
                    <a:lnTo>
                      <a:pt x="4" y="31"/>
                    </a:lnTo>
                    <a:lnTo>
                      <a:pt x="4" y="29"/>
                    </a:lnTo>
                    <a:lnTo>
                      <a:pt x="4" y="27"/>
                    </a:lnTo>
                    <a:lnTo>
                      <a:pt x="4" y="25"/>
                    </a:lnTo>
                    <a:lnTo>
                      <a:pt x="2" y="27"/>
                    </a:lnTo>
                    <a:lnTo>
                      <a:pt x="0" y="27"/>
                    </a:lnTo>
                    <a:lnTo>
                      <a:pt x="0" y="29"/>
                    </a:lnTo>
                    <a:lnTo>
                      <a:pt x="2" y="29"/>
                    </a:lnTo>
                    <a:lnTo>
                      <a:pt x="0" y="29"/>
                    </a:lnTo>
                    <a:lnTo>
                      <a:pt x="0" y="31"/>
                    </a:lnTo>
                    <a:lnTo>
                      <a:pt x="0" y="29"/>
                    </a:lnTo>
                    <a:lnTo>
                      <a:pt x="2" y="27"/>
                    </a:lnTo>
                    <a:lnTo>
                      <a:pt x="2" y="25"/>
                    </a:lnTo>
                    <a:lnTo>
                      <a:pt x="4" y="23"/>
                    </a:lnTo>
                    <a:lnTo>
                      <a:pt x="6" y="23"/>
                    </a:lnTo>
                    <a:lnTo>
                      <a:pt x="6" y="21"/>
                    </a:lnTo>
                    <a:lnTo>
                      <a:pt x="6" y="20"/>
                    </a:lnTo>
                    <a:lnTo>
                      <a:pt x="6" y="18"/>
                    </a:lnTo>
                    <a:lnTo>
                      <a:pt x="7" y="18"/>
                    </a:lnTo>
                    <a:lnTo>
                      <a:pt x="7" y="16"/>
                    </a:lnTo>
                    <a:lnTo>
                      <a:pt x="7" y="14"/>
                    </a:lnTo>
                    <a:lnTo>
                      <a:pt x="9" y="12"/>
                    </a:lnTo>
                    <a:lnTo>
                      <a:pt x="7" y="10"/>
                    </a:lnTo>
                    <a:lnTo>
                      <a:pt x="7" y="8"/>
                    </a:lnTo>
                    <a:lnTo>
                      <a:pt x="7" y="6"/>
                    </a:lnTo>
                    <a:lnTo>
                      <a:pt x="9" y="6"/>
                    </a:lnTo>
                    <a:lnTo>
                      <a:pt x="9" y="4"/>
                    </a:lnTo>
                    <a:lnTo>
                      <a:pt x="9" y="2"/>
                    </a:lnTo>
                    <a:lnTo>
                      <a:pt x="9" y="0"/>
                    </a:lnTo>
                    <a:lnTo>
                      <a:pt x="9"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8" name="Freeform 33"/>
              <p:cNvSpPr>
                <a:spLocks noEditPoints="1"/>
              </p:cNvSpPr>
              <p:nvPr/>
            </p:nvSpPr>
            <p:spPr bwMode="auto">
              <a:xfrm>
                <a:off x="6871461" y="1148302"/>
                <a:ext cx="717502" cy="1655242"/>
              </a:xfrm>
              <a:custGeom>
                <a:avLst/>
                <a:gdLst>
                  <a:gd name="T0" fmla="*/ 135 w 417"/>
                  <a:gd name="T1" fmla="*/ 256 h 962"/>
                  <a:gd name="T2" fmla="*/ 96 w 417"/>
                  <a:gd name="T3" fmla="*/ 246 h 962"/>
                  <a:gd name="T4" fmla="*/ 356 w 417"/>
                  <a:gd name="T5" fmla="*/ 43 h 962"/>
                  <a:gd name="T6" fmla="*/ 352 w 417"/>
                  <a:gd name="T7" fmla="*/ 72 h 962"/>
                  <a:gd name="T8" fmla="*/ 350 w 417"/>
                  <a:gd name="T9" fmla="*/ 95 h 962"/>
                  <a:gd name="T10" fmla="*/ 356 w 417"/>
                  <a:gd name="T11" fmla="*/ 120 h 962"/>
                  <a:gd name="T12" fmla="*/ 352 w 417"/>
                  <a:gd name="T13" fmla="*/ 164 h 962"/>
                  <a:gd name="T14" fmla="*/ 344 w 417"/>
                  <a:gd name="T15" fmla="*/ 196 h 962"/>
                  <a:gd name="T16" fmla="*/ 329 w 417"/>
                  <a:gd name="T17" fmla="*/ 185 h 962"/>
                  <a:gd name="T18" fmla="*/ 312 w 417"/>
                  <a:gd name="T19" fmla="*/ 193 h 962"/>
                  <a:gd name="T20" fmla="*/ 273 w 417"/>
                  <a:gd name="T21" fmla="*/ 243 h 962"/>
                  <a:gd name="T22" fmla="*/ 260 w 417"/>
                  <a:gd name="T23" fmla="*/ 264 h 962"/>
                  <a:gd name="T24" fmla="*/ 242 w 417"/>
                  <a:gd name="T25" fmla="*/ 271 h 962"/>
                  <a:gd name="T26" fmla="*/ 248 w 417"/>
                  <a:gd name="T27" fmla="*/ 318 h 962"/>
                  <a:gd name="T28" fmla="*/ 221 w 417"/>
                  <a:gd name="T29" fmla="*/ 321 h 962"/>
                  <a:gd name="T30" fmla="*/ 223 w 417"/>
                  <a:gd name="T31" fmla="*/ 364 h 962"/>
                  <a:gd name="T32" fmla="*/ 233 w 417"/>
                  <a:gd name="T33" fmla="*/ 383 h 962"/>
                  <a:gd name="T34" fmla="*/ 241 w 417"/>
                  <a:gd name="T35" fmla="*/ 408 h 962"/>
                  <a:gd name="T36" fmla="*/ 254 w 417"/>
                  <a:gd name="T37" fmla="*/ 460 h 962"/>
                  <a:gd name="T38" fmla="*/ 273 w 417"/>
                  <a:gd name="T39" fmla="*/ 473 h 962"/>
                  <a:gd name="T40" fmla="*/ 283 w 417"/>
                  <a:gd name="T41" fmla="*/ 454 h 962"/>
                  <a:gd name="T42" fmla="*/ 308 w 417"/>
                  <a:gd name="T43" fmla="*/ 485 h 962"/>
                  <a:gd name="T44" fmla="*/ 363 w 417"/>
                  <a:gd name="T45" fmla="*/ 523 h 962"/>
                  <a:gd name="T46" fmla="*/ 350 w 417"/>
                  <a:gd name="T47" fmla="*/ 519 h 962"/>
                  <a:gd name="T48" fmla="*/ 327 w 417"/>
                  <a:gd name="T49" fmla="*/ 560 h 962"/>
                  <a:gd name="T50" fmla="*/ 348 w 417"/>
                  <a:gd name="T51" fmla="*/ 548 h 962"/>
                  <a:gd name="T52" fmla="*/ 377 w 417"/>
                  <a:gd name="T53" fmla="*/ 619 h 962"/>
                  <a:gd name="T54" fmla="*/ 379 w 417"/>
                  <a:gd name="T55" fmla="*/ 667 h 962"/>
                  <a:gd name="T56" fmla="*/ 385 w 417"/>
                  <a:gd name="T57" fmla="*/ 739 h 962"/>
                  <a:gd name="T58" fmla="*/ 392 w 417"/>
                  <a:gd name="T59" fmla="*/ 748 h 962"/>
                  <a:gd name="T60" fmla="*/ 396 w 417"/>
                  <a:gd name="T61" fmla="*/ 777 h 962"/>
                  <a:gd name="T62" fmla="*/ 371 w 417"/>
                  <a:gd name="T63" fmla="*/ 802 h 962"/>
                  <a:gd name="T64" fmla="*/ 390 w 417"/>
                  <a:gd name="T65" fmla="*/ 829 h 962"/>
                  <a:gd name="T66" fmla="*/ 411 w 417"/>
                  <a:gd name="T67" fmla="*/ 864 h 962"/>
                  <a:gd name="T68" fmla="*/ 413 w 417"/>
                  <a:gd name="T69" fmla="*/ 937 h 962"/>
                  <a:gd name="T70" fmla="*/ 363 w 417"/>
                  <a:gd name="T71" fmla="*/ 906 h 962"/>
                  <a:gd name="T72" fmla="*/ 333 w 417"/>
                  <a:gd name="T73" fmla="*/ 875 h 962"/>
                  <a:gd name="T74" fmla="*/ 287 w 417"/>
                  <a:gd name="T75" fmla="*/ 827 h 962"/>
                  <a:gd name="T76" fmla="*/ 206 w 417"/>
                  <a:gd name="T77" fmla="*/ 741 h 962"/>
                  <a:gd name="T78" fmla="*/ 162 w 417"/>
                  <a:gd name="T79" fmla="*/ 658 h 962"/>
                  <a:gd name="T80" fmla="*/ 160 w 417"/>
                  <a:gd name="T81" fmla="*/ 621 h 962"/>
                  <a:gd name="T82" fmla="*/ 175 w 417"/>
                  <a:gd name="T83" fmla="*/ 619 h 962"/>
                  <a:gd name="T84" fmla="*/ 143 w 417"/>
                  <a:gd name="T85" fmla="*/ 569 h 962"/>
                  <a:gd name="T86" fmla="*/ 177 w 417"/>
                  <a:gd name="T87" fmla="*/ 541 h 962"/>
                  <a:gd name="T88" fmla="*/ 168 w 417"/>
                  <a:gd name="T89" fmla="*/ 471 h 962"/>
                  <a:gd name="T90" fmla="*/ 164 w 417"/>
                  <a:gd name="T91" fmla="*/ 394 h 962"/>
                  <a:gd name="T92" fmla="*/ 162 w 417"/>
                  <a:gd name="T93" fmla="*/ 323 h 962"/>
                  <a:gd name="T94" fmla="*/ 175 w 417"/>
                  <a:gd name="T95" fmla="*/ 281 h 962"/>
                  <a:gd name="T96" fmla="*/ 143 w 417"/>
                  <a:gd name="T97" fmla="*/ 229 h 962"/>
                  <a:gd name="T98" fmla="*/ 152 w 417"/>
                  <a:gd name="T99" fmla="*/ 189 h 962"/>
                  <a:gd name="T100" fmla="*/ 150 w 417"/>
                  <a:gd name="T101" fmla="*/ 179 h 962"/>
                  <a:gd name="T102" fmla="*/ 171 w 417"/>
                  <a:gd name="T103" fmla="*/ 139 h 962"/>
                  <a:gd name="T104" fmla="*/ 169 w 417"/>
                  <a:gd name="T105" fmla="*/ 133 h 962"/>
                  <a:gd name="T106" fmla="*/ 144 w 417"/>
                  <a:gd name="T107" fmla="*/ 171 h 962"/>
                  <a:gd name="T108" fmla="*/ 89 w 417"/>
                  <a:gd name="T109" fmla="*/ 196 h 962"/>
                  <a:gd name="T110" fmla="*/ 56 w 417"/>
                  <a:gd name="T111" fmla="*/ 193 h 962"/>
                  <a:gd name="T112" fmla="*/ 22 w 417"/>
                  <a:gd name="T113" fmla="*/ 135 h 962"/>
                  <a:gd name="T114" fmla="*/ 16 w 417"/>
                  <a:gd name="T115" fmla="*/ 77 h 962"/>
                  <a:gd name="T116" fmla="*/ 100 w 417"/>
                  <a:gd name="T117" fmla="*/ 37 h 962"/>
                  <a:gd name="T118" fmla="*/ 181 w 417"/>
                  <a:gd name="T119" fmla="*/ 73 h 962"/>
                  <a:gd name="T120" fmla="*/ 260 w 417"/>
                  <a:gd name="T121" fmla="*/ 83 h 962"/>
                  <a:gd name="T122" fmla="*/ 300 w 417"/>
                  <a:gd name="T123" fmla="*/ 31 h 962"/>
                  <a:gd name="T124" fmla="*/ 356 w 417"/>
                  <a:gd name="T125" fmla="*/ 16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7" h="962">
                    <a:moveTo>
                      <a:pt x="96" y="218"/>
                    </a:moveTo>
                    <a:lnTo>
                      <a:pt x="98" y="218"/>
                    </a:lnTo>
                    <a:lnTo>
                      <a:pt x="98" y="216"/>
                    </a:lnTo>
                    <a:lnTo>
                      <a:pt x="100" y="216"/>
                    </a:lnTo>
                    <a:lnTo>
                      <a:pt x="100" y="214"/>
                    </a:lnTo>
                    <a:lnTo>
                      <a:pt x="102" y="214"/>
                    </a:lnTo>
                    <a:lnTo>
                      <a:pt x="102" y="216"/>
                    </a:lnTo>
                    <a:lnTo>
                      <a:pt x="104" y="216"/>
                    </a:lnTo>
                    <a:lnTo>
                      <a:pt x="106" y="216"/>
                    </a:lnTo>
                    <a:lnTo>
                      <a:pt x="108" y="216"/>
                    </a:lnTo>
                    <a:lnTo>
                      <a:pt x="108" y="218"/>
                    </a:lnTo>
                    <a:lnTo>
                      <a:pt x="106" y="218"/>
                    </a:lnTo>
                    <a:lnTo>
                      <a:pt x="106" y="220"/>
                    </a:lnTo>
                    <a:lnTo>
                      <a:pt x="106" y="221"/>
                    </a:lnTo>
                    <a:lnTo>
                      <a:pt x="106" y="223"/>
                    </a:lnTo>
                    <a:lnTo>
                      <a:pt x="106" y="225"/>
                    </a:lnTo>
                    <a:lnTo>
                      <a:pt x="106" y="227"/>
                    </a:lnTo>
                    <a:lnTo>
                      <a:pt x="108" y="227"/>
                    </a:lnTo>
                    <a:lnTo>
                      <a:pt x="108" y="229"/>
                    </a:lnTo>
                    <a:lnTo>
                      <a:pt x="110" y="229"/>
                    </a:lnTo>
                    <a:lnTo>
                      <a:pt x="110" y="231"/>
                    </a:lnTo>
                    <a:lnTo>
                      <a:pt x="112" y="231"/>
                    </a:lnTo>
                    <a:lnTo>
                      <a:pt x="112" y="233"/>
                    </a:lnTo>
                    <a:lnTo>
                      <a:pt x="114" y="233"/>
                    </a:lnTo>
                    <a:lnTo>
                      <a:pt x="114" y="235"/>
                    </a:lnTo>
                    <a:lnTo>
                      <a:pt x="114" y="233"/>
                    </a:lnTo>
                    <a:lnTo>
                      <a:pt x="116" y="233"/>
                    </a:lnTo>
                    <a:lnTo>
                      <a:pt x="116" y="235"/>
                    </a:lnTo>
                    <a:lnTo>
                      <a:pt x="116" y="237"/>
                    </a:lnTo>
                    <a:lnTo>
                      <a:pt x="116" y="239"/>
                    </a:lnTo>
                    <a:lnTo>
                      <a:pt x="118" y="239"/>
                    </a:lnTo>
                    <a:lnTo>
                      <a:pt x="116" y="239"/>
                    </a:lnTo>
                    <a:lnTo>
                      <a:pt x="116" y="241"/>
                    </a:lnTo>
                    <a:lnTo>
                      <a:pt x="118" y="241"/>
                    </a:lnTo>
                    <a:lnTo>
                      <a:pt x="118" y="243"/>
                    </a:lnTo>
                    <a:lnTo>
                      <a:pt x="119" y="243"/>
                    </a:lnTo>
                    <a:lnTo>
                      <a:pt x="118" y="243"/>
                    </a:lnTo>
                    <a:lnTo>
                      <a:pt x="119" y="245"/>
                    </a:lnTo>
                    <a:lnTo>
                      <a:pt x="119" y="243"/>
                    </a:lnTo>
                    <a:lnTo>
                      <a:pt x="119" y="245"/>
                    </a:lnTo>
                    <a:lnTo>
                      <a:pt x="119" y="246"/>
                    </a:lnTo>
                    <a:lnTo>
                      <a:pt x="119" y="248"/>
                    </a:lnTo>
                    <a:lnTo>
                      <a:pt x="121" y="248"/>
                    </a:lnTo>
                    <a:lnTo>
                      <a:pt x="121" y="250"/>
                    </a:lnTo>
                    <a:lnTo>
                      <a:pt x="123" y="250"/>
                    </a:lnTo>
                    <a:lnTo>
                      <a:pt x="125" y="250"/>
                    </a:lnTo>
                    <a:lnTo>
                      <a:pt x="127" y="250"/>
                    </a:lnTo>
                    <a:lnTo>
                      <a:pt x="129" y="250"/>
                    </a:lnTo>
                    <a:lnTo>
                      <a:pt x="129" y="248"/>
                    </a:lnTo>
                    <a:lnTo>
                      <a:pt x="131" y="248"/>
                    </a:lnTo>
                    <a:lnTo>
                      <a:pt x="133" y="248"/>
                    </a:lnTo>
                    <a:lnTo>
                      <a:pt x="133" y="250"/>
                    </a:lnTo>
                    <a:lnTo>
                      <a:pt x="135" y="250"/>
                    </a:lnTo>
                    <a:lnTo>
                      <a:pt x="135" y="252"/>
                    </a:lnTo>
                    <a:lnTo>
                      <a:pt x="133" y="252"/>
                    </a:lnTo>
                    <a:lnTo>
                      <a:pt x="133" y="254"/>
                    </a:lnTo>
                    <a:lnTo>
                      <a:pt x="135" y="254"/>
                    </a:lnTo>
                    <a:lnTo>
                      <a:pt x="135" y="256"/>
                    </a:lnTo>
                    <a:lnTo>
                      <a:pt x="133" y="256"/>
                    </a:lnTo>
                    <a:lnTo>
                      <a:pt x="133" y="254"/>
                    </a:lnTo>
                    <a:lnTo>
                      <a:pt x="133" y="256"/>
                    </a:lnTo>
                    <a:lnTo>
                      <a:pt x="133" y="258"/>
                    </a:lnTo>
                    <a:lnTo>
                      <a:pt x="133" y="260"/>
                    </a:lnTo>
                    <a:lnTo>
                      <a:pt x="135" y="260"/>
                    </a:lnTo>
                    <a:lnTo>
                      <a:pt x="135" y="262"/>
                    </a:lnTo>
                    <a:lnTo>
                      <a:pt x="135" y="264"/>
                    </a:lnTo>
                    <a:lnTo>
                      <a:pt x="133" y="264"/>
                    </a:lnTo>
                    <a:lnTo>
                      <a:pt x="133" y="262"/>
                    </a:lnTo>
                    <a:lnTo>
                      <a:pt x="131" y="262"/>
                    </a:lnTo>
                    <a:lnTo>
                      <a:pt x="129" y="262"/>
                    </a:lnTo>
                    <a:lnTo>
                      <a:pt x="127" y="262"/>
                    </a:lnTo>
                    <a:lnTo>
                      <a:pt x="127" y="260"/>
                    </a:lnTo>
                    <a:lnTo>
                      <a:pt x="127" y="258"/>
                    </a:lnTo>
                    <a:lnTo>
                      <a:pt x="125" y="258"/>
                    </a:lnTo>
                    <a:lnTo>
                      <a:pt x="123" y="258"/>
                    </a:lnTo>
                    <a:lnTo>
                      <a:pt x="123" y="256"/>
                    </a:lnTo>
                    <a:lnTo>
                      <a:pt x="121" y="258"/>
                    </a:lnTo>
                    <a:lnTo>
                      <a:pt x="119" y="260"/>
                    </a:lnTo>
                    <a:lnTo>
                      <a:pt x="119" y="262"/>
                    </a:lnTo>
                    <a:lnTo>
                      <a:pt x="119" y="264"/>
                    </a:lnTo>
                    <a:lnTo>
                      <a:pt x="121" y="264"/>
                    </a:lnTo>
                    <a:lnTo>
                      <a:pt x="123" y="264"/>
                    </a:lnTo>
                    <a:lnTo>
                      <a:pt x="125" y="264"/>
                    </a:lnTo>
                    <a:lnTo>
                      <a:pt x="125" y="266"/>
                    </a:lnTo>
                    <a:lnTo>
                      <a:pt x="125" y="264"/>
                    </a:lnTo>
                    <a:lnTo>
                      <a:pt x="123" y="264"/>
                    </a:lnTo>
                    <a:lnTo>
                      <a:pt x="123" y="266"/>
                    </a:lnTo>
                    <a:lnTo>
                      <a:pt x="121" y="266"/>
                    </a:lnTo>
                    <a:lnTo>
                      <a:pt x="119" y="266"/>
                    </a:lnTo>
                    <a:lnTo>
                      <a:pt x="116" y="266"/>
                    </a:lnTo>
                    <a:lnTo>
                      <a:pt x="114" y="266"/>
                    </a:lnTo>
                    <a:lnTo>
                      <a:pt x="114" y="264"/>
                    </a:lnTo>
                    <a:lnTo>
                      <a:pt x="112" y="262"/>
                    </a:lnTo>
                    <a:lnTo>
                      <a:pt x="112" y="264"/>
                    </a:lnTo>
                    <a:lnTo>
                      <a:pt x="110" y="264"/>
                    </a:lnTo>
                    <a:lnTo>
                      <a:pt x="110" y="262"/>
                    </a:lnTo>
                    <a:lnTo>
                      <a:pt x="110" y="260"/>
                    </a:lnTo>
                    <a:lnTo>
                      <a:pt x="108" y="260"/>
                    </a:lnTo>
                    <a:lnTo>
                      <a:pt x="108" y="258"/>
                    </a:lnTo>
                    <a:lnTo>
                      <a:pt x="106" y="260"/>
                    </a:lnTo>
                    <a:lnTo>
                      <a:pt x="106" y="258"/>
                    </a:lnTo>
                    <a:lnTo>
                      <a:pt x="104" y="256"/>
                    </a:lnTo>
                    <a:lnTo>
                      <a:pt x="102" y="256"/>
                    </a:lnTo>
                    <a:lnTo>
                      <a:pt x="100" y="256"/>
                    </a:lnTo>
                    <a:lnTo>
                      <a:pt x="100" y="254"/>
                    </a:lnTo>
                    <a:lnTo>
                      <a:pt x="100" y="252"/>
                    </a:lnTo>
                    <a:lnTo>
                      <a:pt x="102" y="252"/>
                    </a:lnTo>
                    <a:lnTo>
                      <a:pt x="104" y="252"/>
                    </a:lnTo>
                    <a:lnTo>
                      <a:pt x="104" y="250"/>
                    </a:lnTo>
                    <a:lnTo>
                      <a:pt x="102" y="248"/>
                    </a:lnTo>
                    <a:lnTo>
                      <a:pt x="102" y="246"/>
                    </a:lnTo>
                    <a:lnTo>
                      <a:pt x="100" y="246"/>
                    </a:lnTo>
                    <a:lnTo>
                      <a:pt x="100" y="245"/>
                    </a:lnTo>
                    <a:lnTo>
                      <a:pt x="98" y="245"/>
                    </a:lnTo>
                    <a:lnTo>
                      <a:pt x="96" y="245"/>
                    </a:lnTo>
                    <a:lnTo>
                      <a:pt x="96" y="246"/>
                    </a:lnTo>
                    <a:lnTo>
                      <a:pt x="95" y="246"/>
                    </a:lnTo>
                    <a:lnTo>
                      <a:pt x="93" y="246"/>
                    </a:lnTo>
                    <a:lnTo>
                      <a:pt x="91" y="246"/>
                    </a:lnTo>
                    <a:lnTo>
                      <a:pt x="89" y="246"/>
                    </a:lnTo>
                    <a:lnTo>
                      <a:pt x="89" y="245"/>
                    </a:lnTo>
                    <a:lnTo>
                      <a:pt x="89" y="243"/>
                    </a:lnTo>
                    <a:lnTo>
                      <a:pt x="91" y="243"/>
                    </a:lnTo>
                    <a:lnTo>
                      <a:pt x="91" y="241"/>
                    </a:lnTo>
                    <a:lnTo>
                      <a:pt x="91" y="239"/>
                    </a:lnTo>
                    <a:lnTo>
                      <a:pt x="91" y="237"/>
                    </a:lnTo>
                    <a:lnTo>
                      <a:pt x="93" y="237"/>
                    </a:lnTo>
                    <a:lnTo>
                      <a:pt x="93" y="235"/>
                    </a:lnTo>
                    <a:lnTo>
                      <a:pt x="93" y="233"/>
                    </a:lnTo>
                    <a:lnTo>
                      <a:pt x="95" y="233"/>
                    </a:lnTo>
                    <a:lnTo>
                      <a:pt x="96" y="233"/>
                    </a:lnTo>
                    <a:lnTo>
                      <a:pt x="96" y="231"/>
                    </a:lnTo>
                    <a:lnTo>
                      <a:pt x="96" y="229"/>
                    </a:lnTo>
                    <a:lnTo>
                      <a:pt x="96" y="227"/>
                    </a:lnTo>
                    <a:lnTo>
                      <a:pt x="95" y="227"/>
                    </a:lnTo>
                    <a:lnTo>
                      <a:pt x="95" y="225"/>
                    </a:lnTo>
                    <a:lnTo>
                      <a:pt x="93" y="225"/>
                    </a:lnTo>
                    <a:lnTo>
                      <a:pt x="93" y="223"/>
                    </a:lnTo>
                    <a:lnTo>
                      <a:pt x="91" y="223"/>
                    </a:lnTo>
                    <a:lnTo>
                      <a:pt x="89" y="220"/>
                    </a:lnTo>
                    <a:lnTo>
                      <a:pt x="91" y="220"/>
                    </a:lnTo>
                    <a:lnTo>
                      <a:pt x="93" y="220"/>
                    </a:lnTo>
                    <a:lnTo>
                      <a:pt x="95" y="220"/>
                    </a:lnTo>
                    <a:lnTo>
                      <a:pt x="95" y="218"/>
                    </a:lnTo>
                    <a:lnTo>
                      <a:pt x="96" y="218"/>
                    </a:lnTo>
                    <a:close/>
                    <a:moveTo>
                      <a:pt x="348" y="29"/>
                    </a:moveTo>
                    <a:lnTo>
                      <a:pt x="348" y="31"/>
                    </a:lnTo>
                    <a:lnTo>
                      <a:pt x="350" y="31"/>
                    </a:lnTo>
                    <a:lnTo>
                      <a:pt x="352" y="31"/>
                    </a:lnTo>
                    <a:lnTo>
                      <a:pt x="354" y="31"/>
                    </a:lnTo>
                    <a:lnTo>
                      <a:pt x="352" y="31"/>
                    </a:lnTo>
                    <a:lnTo>
                      <a:pt x="354" y="31"/>
                    </a:lnTo>
                    <a:lnTo>
                      <a:pt x="356" y="31"/>
                    </a:lnTo>
                    <a:lnTo>
                      <a:pt x="354" y="31"/>
                    </a:lnTo>
                    <a:lnTo>
                      <a:pt x="354" y="33"/>
                    </a:lnTo>
                    <a:lnTo>
                      <a:pt x="356" y="33"/>
                    </a:lnTo>
                    <a:lnTo>
                      <a:pt x="356" y="35"/>
                    </a:lnTo>
                    <a:lnTo>
                      <a:pt x="356" y="33"/>
                    </a:lnTo>
                    <a:lnTo>
                      <a:pt x="358" y="35"/>
                    </a:lnTo>
                    <a:lnTo>
                      <a:pt x="358" y="33"/>
                    </a:lnTo>
                    <a:lnTo>
                      <a:pt x="358" y="31"/>
                    </a:lnTo>
                    <a:lnTo>
                      <a:pt x="358" y="33"/>
                    </a:lnTo>
                    <a:lnTo>
                      <a:pt x="358" y="35"/>
                    </a:lnTo>
                    <a:lnTo>
                      <a:pt x="358" y="37"/>
                    </a:lnTo>
                    <a:lnTo>
                      <a:pt x="360" y="37"/>
                    </a:lnTo>
                    <a:lnTo>
                      <a:pt x="358" y="37"/>
                    </a:lnTo>
                    <a:lnTo>
                      <a:pt x="360" y="37"/>
                    </a:lnTo>
                    <a:lnTo>
                      <a:pt x="360" y="39"/>
                    </a:lnTo>
                    <a:lnTo>
                      <a:pt x="358" y="39"/>
                    </a:lnTo>
                    <a:lnTo>
                      <a:pt x="358" y="41"/>
                    </a:lnTo>
                    <a:lnTo>
                      <a:pt x="358" y="43"/>
                    </a:lnTo>
                    <a:lnTo>
                      <a:pt x="358" y="45"/>
                    </a:lnTo>
                    <a:lnTo>
                      <a:pt x="358" y="43"/>
                    </a:lnTo>
                    <a:lnTo>
                      <a:pt x="356" y="43"/>
                    </a:lnTo>
                    <a:lnTo>
                      <a:pt x="356" y="45"/>
                    </a:lnTo>
                    <a:lnTo>
                      <a:pt x="354" y="45"/>
                    </a:lnTo>
                    <a:lnTo>
                      <a:pt x="352" y="45"/>
                    </a:lnTo>
                    <a:lnTo>
                      <a:pt x="350" y="45"/>
                    </a:lnTo>
                    <a:lnTo>
                      <a:pt x="348" y="47"/>
                    </a:lnTo>
                    <a:lnTo>
                      <a:pt x="348" y="45"/>
                    </a:lnTo>
                    <a:lnTo>
                      <a:pt x="348" y="43"/>
                    </a:lnTo>
                    <a:lnTo>
                      <a:pt x="346" y="43"/>
                    </a:lnTo>
                    <a:lnTo>
                      <a:pt x="348" y="43"/>
                    </a:lnTo>
                    <a:lnTo>
                      <a:pt x="348" y="45"/>
                    </a:lnTo>
                    <a:lnTo>
                      <a:pt x="346" y="45"/>
                    </a:lnTo>
                    <a:lnTo>
                      <a:pt x="348" y="45"/>
                    </a:lnTo>
                    <a:lnTo>
                      <a:pt x="348" y="47"/>
                    </a:lnTo>
                    <a:lnTo>
                      <a:pt x="346" y="47"/>
                    </a:lnTo>
                    <a:lnTo>
                      <a:pt x="348" y="47"/>
                    </a:lnTo>
                    <a:lnTo>
                      <a:pt x="346" y="47"/>
                    </a:lnTo>
                    <a:lnTo>
                      <a:pt x="344" y="47"/>
                    </a:lnTo>
                    <a:lnTo>
                      <a:pt x="342" y="47"/>
                    </a:lnTo>
                    <a:lnTo>
                      <a:pt x="340" y="47"/>
                    </a:lnTo>
                    <a:lnTo>
                      <a:pt x="340" y="45"/>
                    </a:lnTo>
                    <a:lnTo>
                      <a:pt x="342" y="47"/>
                    </a:lnTo>
                    <a:lnTo>
                      <a:pt x="344" y="47"/>
                    </a:lnTo>
                    <a:lnTo>
                      <a:pt x="346" y="47"/>
                    </a:lnTo>
                    <a:lnTo>
                      <a:pt x="348" y="47"/>
                    </a:lnTo>
                    <a:lnTo>
                      <a:pt x="346" y="47"/>
                    </a:lnTo>
                    <a:lnTo>
                      <a:pt x="348" y="47"/>
                    </a:lnTo>
                    <a:lnTo>
                      <a:pt x="348" y="48"/>
                    </a:lnTo>
                    <a:lnTo>
                      <a:pt x="348" y="47"/>
                    </a:lnTo>
                    <a:lnTo>
                      <a:pt x="348" y="48"/>
                    </a:lnTo>
                    <a:lnTo>
                      <a:pt x="348" y="47"/>
                    </a:lnTo>
                    <a:lnTo>
                      <a:pt x="348" y="48"/>
                    </a:lnTo>
                    <a:lnTo>
                      <a:pt x="350" y="48"/>
                    </a:lnTo>
                    <a:lnTo>
                      <a:pt x="350" y="50"/>
                    </a:lnTo>
                    <a:lnTo>
                      <a:pt x="352" y="50"/>
                    </a:lnTo>
                    <a:lnTo>
                      <a:pt x="352" y="52"/>
                    </a:lnTo>
                    <a:lnTo>
                      <a:pt x="354" y="52"/>
                    </a:lnTo>
                    <a:lnTo>
                      <a:pt x="354" y="54"/>
                    </a:lnTo>
                    <a:lnTo>
                      <a:pt x="356" y="54"/>
                    </a:lnTo>
                    <a:lnTo>
                      <a:pt x="356" y="56"/>
                    </a:lnTo>
                    <a:lnTo>
                      <a:pt x="356" y="58"/>
                    </a:lnTo>
                    <a:lnTo>
                      <a:pt x="354" y="58"/>
                    </a:lnTo>
                    <a:lnTo>
                      <a:pt x="354" y="60"/>
                    </a:lnTo>
                    <a:lnTo>
                      <a:pt x="352" y="60"/>
                    </a:lnTo>
                    <a:lnTo>
                      <a:pt x="354" y="60"/>
                    </a:lnTo>
                    <a:lnTo>
                      <a:pt x="354" y="62"/>
                    </a:lnTo>
                    <a:lnTo>
                      <a:pt x="356" y="62"/>
                    </a:lnTo>
                    <a:lnTo>
                      <a:pt x="356" y="64"/>
                    </a:lnTo>
                    <a:lnTo>
                      <a:pt x="358" y="64"/>
                    </a:lnTo>
                    <a:lnTo>
                      <a:pt x="358" y="66"/>
                    </a:lnTo>
                    <a:lnTo>
                      <a:pt x="358" y="68"/>
                    </a:lnTo>
                    <a:lnTo>
                      <a:pt x="356" y="68"/>
                    </a:lnTo>
                    <a:lnTo>
                      <a:pt x="358" y="68"/>
                    </a:lnTo>
                    <a:lnTo>
                      <a:pt x="356" y="70"/>
                    </a:lnTo>
                    <a:lnTo>
                      <a:pt x="358" y="70"/>
                    </a:lnTo>
                    <a:lnTo>
                      <a:pt x="356" y="70"/>
                    </a:lnTo>
                    <a:lnTo>
                      <a:pt x="356" y="72"/>
                    </a:lnTo>
                    <a:lnTo>
                      <a:pt x="354" y="72"/>
                    </a:lnTo>
                    <a:lnTo>
                      <a:pt x="352" y="72"/>
                    </a:lnTo>
                    <a:lnTo>
                      <a:pt x="350" y="72"/>
                    </a:lnTo>
                    <a:lnTo>
                      <a:pt x="350" y="73"/>
                    </a:lnTo>
                    <a:lnTo>
                      <a:pt x="350" y="72"/>
                    </a:lnTo>
                    <a:lnTo>
                      <a:pt x="348" y="72"/>
                    </a:lnTo>
                    <a:lnTo>
                      <a:pt x="346" y="72"/>
                    </a:lnTo>
                    <a:lnTo>
                      <a:pt x="346" y="73"/>
                    </a:lnTo>
                    <a:lnTo>
                      <a:pt x="346" y="72"/>
                    </a:lnTo>
                    <a:lnTo>
                      <a:pt x="346" y="73"/>
                    </a:lnTo>
                    <a:lnTo>
                      <a:pt x="344" y="73"/>
                    </a:lnTo>
                    <a:lnTo>
                      <a:pt x="346" y="73"/>
                    </a:lnTo>
                    <a:lnTo>
                      <a:pt x="346" y="72"/>
                    </a:lnTo>
                    <a:lnTo>
                      <a:pt x="348" y="72"/>
                    </a:lnTo>
                    <a:lnTo>
                      <a:pt x="346" y="73"/>
                    </a:lnTo>
                    <a:lnTo>
                      <a:pt x="348" y="73"/>
                    </a:lnTo>
                    <a:lnTo>
                      <a:pt x="348" y="72"/>
                    </a:lnTo>
                    <a:lnTo>
                      <a:pt x="348" y="73"/>
                    </a:lnTo>
                    <a:lnTo>
                      <a:pt x="346" y="75"/>
                    </a:lnTo>
                    <a:lnTo>
                      <a:pt x="346" y="77"/>
                    </a:lnTo>
                    <a:lnTo>
                      <a:pt x="348" y="77"/>
                    </a:lnTo>
                    <a:lnTo>
                      <a:pt x="346" y="77"/>
                    </a:lnTo>
                    <a:lnTo>
                      <a:pt x="346" y="75"/>
                    </a:lnTo>
                    <a:lnTo>
                      <a:pt x="346" y="77"/>
                    </a:lnTo>
                    <a:lnTo>
                      <a:pt x="346" y="79"/>
                    </a:lnTo>
                    <a:lnTo>
                      <a:pt x="346" y="77"/>
                    </a:lnTo>
                    <a:lnTo>
                      <a:pt x="344" y="79"/>
                    </a:lnTo>
                    <a:lnTo>
                      <a:pt x="344" y="77"/>
                    </a:lnTo>
                    <a:lnTo>
                      <a:pt x="344" y="79"/>
                    </a:lnTo>
                    <a:lnTo>
                      <a:pt x="346" y="77"/>
                    </a:lnTo>
                    <a:lnTo>
                      <a:pt x="346" y="79"/>
                    </a:lnTo>
                    <a:lnTo>
                      <a:pt x="348" y="79"/>
                    </a:lnTo>
                    <a:lnTo>
                      <a:pt x="348" y="77"/>
                    </a:lnTo>
                    <a:lnTo>
                      <a:pt x="348" y="79"/>
                    </a:lnTo>
                    <a:lnTo>
                      <a:pt x="348" y="77"/>
                    </a:lnTo>
                    <a:lnTo>
                      <a:pt x="350" y="77"/>
                    </a:lnTo>
                    <a:lnTo>
                      <a:pt x="352" y="77"/>
                    </a:lnTo>
                    <a:lnTo>
                      <a:pt x="354" y="77"/>
                    </a:lnTo>
                    <a:lnTo>
                      <a:pt x="352" y="77"/>
                    </a:lnTo>
                    <a:lnTo>
                      <a:pt x="354" y="77"/>
                    </a:lnTo>
                    <a:lnTo>
                      <a:pt x="356" y="77"/>
                    </a:lnTo>
                    <a:lnTo>
                      <a:pt x="356" y="79"/>
                    </a:lnTo>
                    <a:lnTo>
                      <a:pt x="356" y="77"/>
                    </a:lnTo>
                    <a:lnTo>
                      <a:pt x="358" y="77"/>
                    </a:lnTo>
                    <a:lnTo>
                      <a:pt x="358" y="79"/>
                    </a:lnTo>
                    <a:lnTo>
                      <a:pt x="358" y="81"/>
                    </a:lnTo>
                    <a:lnTo>
                      <a:pt x="356" y="81"/>
                    </a:lnTo>
                    <a:lnTo>
                      <a:pt x="356" y="83"/>
                    </a:lnTo>
                    <a:lnTo>
                      <a:pt x="356" y="85"/>
                    </a:lnTo>
                    <a:lnTo>
                      <a:pt x="356" y="87"/>
                    </a:lnTo>
                    <a:lnTo>
                      <a:pt x="356" y="89"/>
                    </a:lnTo>
                    <a:lnTo>
                      <a:pt x="356" y="91"/>
                    </a:lnTo>
                    <a:lnTo>
                      <a:pt x="358" y="91"/>
                    </a:lnTo>
                    <a:lnTo>
                      <a:pt x="356" y="91"/>
                    </a:lnTo>
                    <a:lnTo>
                      <a:pt x="356" y="93"/>
                    </a:lnTo>
                    <a:lnTo>
                      <a:pt x="354" y="93"/>
                    </a:lnTo>
                    <a:lnTo>
                      <a:pt x="352" y="93"/>
                    </a:lnTo>
                    <a:lnTo>
                      <a:pt x="352" y="95"/>
                    </a:lnTo>
                    <a:lnTo>
                      <a:pt x="350" y="93"/>
                    </a:lnTo>
                    <a:lnTo>
                      <a:pt x="350" y="95"/>
                    </a:lnTo>
                    <a:lnTo>
                      <a:pt x="350" y="93"/>
                    </a:lnTo>
                    <a:lnTo>
                      <a:pt x="348" y="95"/>
                    </a:lnTo>
                    <a:lnTo>
                      <a:pt x="350" y="95"/>
                    </a:lnTo>
                    <a:lnTo>
                      <a:pt x="348" y="95"/>
                    </a:lnTo>
                    <a:lnTo>
                      <a:pt x="348" y="96"/>
                    </a:lnTo>
                    <a:lnTo>
                      <a:pt x="350" y="96"/>
                    </a:lnTo>
                    <a:lnTo>
                      <a:pt x="352" y="96"/>
                    </a:lnTo>
                    <a:lnTo>
                      <a:pt x="354" y="96"/>
                    </a:lnTo>
                    <a:lnTo>
                      <a:pt x="354" y="98"/>
                    </a:lnTo>
                    <a:lnTo>
                      <a:pt x="354" y="100"/>
                    </a:lnTo>
                    <a:lnTo>
                      <a:pt x="352" y="100"/>
                    </a:lnTo>
                    <a:lnTo>
                      <a:pt x="350" y="100"/>
                    </a:lnTo>
                    <a:lnTo>
                      <a:pt x="352" y="100"/>
                    </a:lnTo>
                    <a:lnTo>
                      <a:pt x="352" y="102"/>
                    </a:lnTo>
                    <a:lnTo>
                      <a:pt x="354" y="100"/>
                    </a:lnTo>
                    <a:lnTo>
                      <a:pt x="354" y="98"/>
                    </a:lnTo>
                    <a:lnTo>
                      <a:pt x="356" y="98"/>
                    </a:lnTo>
                    <a:lnTo>
                      <a:pt x="356" y="100"/>
                    </a:lnTo>
                    <a:lnTo>
                      <a:pt x="358" y="100"/>
                    </a:lnTo>
                    <a:lnTo>
                      <a:pt x="358" y="102"/>
                    </a:lnTo>
                    <a:lnTo>
                      <a:pt x="358" y="100"/>
                    </a:lnTo>
                    <a:lnTo>
                      <a:pt x="358" y="98"/>
                    </a:lnTo>
                    <a:lnTo>
                      <a:pt x="358" y="100"/>
                    </a:lnTo>
                    <a:lnTo>
                      <a:pt x="358" y="98"/>
                    </a:lnTo>
                    <a:lnTo>
                      <a:pt x="358" y="100"/>
                    </a:lnTo>
                    <a:lnTo>
                      <a:pt x="360" y="100"/>
                    </a:lnTo>
                    <a:lnTo>
                      <a:pt x="360" y="102"/>
                    </a:lnTo>
                    <a:lnTo>
                      <a:pt x="360" y="104"/>
                    </a:lnTo>
                    <a:lnTo>
                      <a:pt x="358" y="104"/>
                    </a:lnTo>
                    <a:lnTo>
                      <a:pt x="358" y="106"/>
                    </a:lnTo>
                    <a:lnTo>
                      <a:pt x="356" y="106"/>
                    </a:lnTo>
                    <a:lnTo>
                      <a:pt x="354" y="106"/>
                    </a:lnTo>
                    <a:lnTo>
                      <a:pt x="352" y="106"/>
                    </a:lnTo>
                    <a:lnTo>
                      <a:pt x="350" y="106"/>
                    </a:lnTo>
                    <a:lnTo>
                      <a:pt x="348" y="106"/>
                    </a:lnTo>
                    <a:lnTo>
                      <a:pt x="348" y="108"/>
                    </a:lnTo>
                    <a:lnTo>
                      <a:pt x="350" y="108"/>
                    </a:lnTo>
                    <a:lnTo>
                      <a:pt x="348" y="108"/>
                    </a:lnTo>
                    <a:lnTo>
                      <a:pt x="350" y="108"/>
                    </a:lnTo>
                    <a:lnTo>
                      <a:pt x="352" y="108"/>
                    </a:lnTo>
                    <a:lnTo>
                      <a:pt x="352" y="110"/>
                    </a:lnTo>
                    <a:lnTo>
                      <a:pt x="352" y="108"/>
                    </a:lnTo>
                    <a:lnTo>
                      <a:pt x="354" y="108"/>
                    </a:lnTo>
                    <a:lnTo>
                      <a:pt x="356" y="108"/>
                    </a:lnTo>
                    <a:lnTo>
                      <a:pt x="356" y="110"/>
                    </a:lnTo>
                    <a:lnTo>
                      <a:pt x="358" y="110"/>
                    </a:lnTo>
                    <a:lnTo>
                      <a:pt x="358" y="112"/>
                    </a:lnTo>
                    <a:lnTo>
                      <a:pt x="358" y="114"/>
                    </a:lnTo>
                    <a:lnTo>
                      <a:pt x="358" y="116"/>
                    </a:lnTo>
                    <a:lnTo>
                      <a:pt x="360" y="116"/>
                    </a:lnTo>
                    <a:lnTo>
                      <a:pt x="360" y="118"/>
                    </a:lnTo>
                    <a:lnTo>
                      <a:pt x="360" y="116"/>
                    </a:lnTo>
                    <a:lnTo>
                      <a:pt x="360" y="118"/>
                    </a:lnTo>
                    <a:lnTo>
                      <a:pt x="360" y="120"/>
                    </a:lnTo>
                    <a:lnTo>
                      <a:pt x="360" y="118"/>
                    </a:lnTo>
                    <a:lnTo>
                      <a:pt x="358" y="118"/>
                    </a:lnTo>
                    <a:lnTo>
                      <a:pt x="356" y="118"/>
                    </a:lnTo>
                    <a:lnTo>
                      <a:pt x="356" y="120"/>
                    </a:lnTo>
                    <a:lnTo>
                      <a:pt x="358" y="120"/>
                    </a:lnTo>
                    <a:lnTo>
                      <a:pt x="358" y="121"/>
                    </a:lnTo>
                    <a:lnTo>
                      <a:pt x="358" y="123"/>
                    </a:lnTo>
                    <a:lnTo>
                      <a:pt x="356" y="123"/>
                    </a:lnTo>
                    <a:lnTo>
                      <a:pt x="354" y="123"/>
                    </a:lnTo>
                    <a:lnTo>
                      <a:pt x="354" y="125"/>
                    </a:lnTo>
                    <a:lnTo>
                      <a:pt x="352" y="125"/>
                    </a:lnTo>
                    <a:lnTo>
                      <a:pt x="354" y="125"/>
                    </a:lnTo>
                    <a:lnTo>
                      <a:pt x="354" y="123"/>
                    </a:lnTo>
                    <a:lnTo>
                      <a:pt x="354" y="125"/>
                    </a:lnTo>
                    <a:lnTo>
                      <a:pt x="352" y="125"/>
                    </a:lnTo>
                    <a:lnTo>
                      <a:pt x="352" y="123"/>
                    </a:lnTo>
                    <a:lnTo>
                      <a:pt x="354" y="123"/>
                    </a:lnTo>
                    <a:lnTo>
                      <a:pt x="354" y="121"/>
                    </a:lnTo>
                    <a:lnTo>
                      <a:pt x="352" y="121"/>
                    </a:lnTo>
                    <a:lnTo>
                      <a:pt x="352" y="123"/>
                    </a:lnTo>
                    <a:lnTo>
                      <a:pt x="350" y="123"/>
                    </a:lnTo>
                    <a:lnTo>
                      <a:pt x="350" y="121"/>
                    </a:lnTo>
                    <a:lnTo>
                      <a:pt x="348" y="121"/>
                    </a:lnTo>
                    <a:lnTo>
                      <a:pt x="348" y="120"/>
                    </a:lnTo>
                    <a:lnTo>
                      <a:pt x="348" y="121"/>
                    </a:lnTo>
                    <a:lnTo>
                      <a:pt x="348" y="123"/>
                    </a:lnTo>
                    <a:lnTo>
                      <a:pt x="350" y="123"/>
                    </a:lnTo>
                    <a:lnTo>
                      <a:pt x="352" y="123"/>
                    </a:lnTo>
                    <a:lnTo>
                      <a:pt x="352" y="125"/>
                    </a:lnTo>
                    <a:lnTo>
                      <a:pt x="352" y="123"/>
                    </a:lnTo>
                    <a:lnTo>
                      <a:pt x="354" y="123"/>
                    </a:lnTo>
                    <a:lnTo>
                      <a:pt x="352" y="125"/>
                    </a:lnTo>
                    <a:lnTo>
                      <a:pt x="354" y="125"/>
                    </a:lnTo>
                    <a:lnTo>
                      <a:pt x="354" y="123"/>
                    </a:lnTo>
                    <a:lnTo>
                      <a:pt x="354" y="125"/>
                    </a:lnTo>
                    <a:lnTo>
                      <a:pt x="352" y="125"/>
                    </a:lnTo>
                    <a:lnTo>
                      <a:pt x="354" y="125"/>
                    </a:lnTo>
                    <a:lnTo>
                      <a:pt x="354" y="127"/>
                    </a:lnTo>
                    <a:lnTo>
                      <a:pt x="354" y="129"/>
                    </a:lnTo>
                    <a:lnTo>
                      <a:pt x="354" y="131"/>
                    </a:lnTo>
                    <a:lnTo>
                      <a:pt x="356" y="131"/>
                    </a:lnTo>
                    <a:lnTo>
                      <a:pt x="356" y="133"/>
                    </a:lnTo>
                    <a:lnTo>
                      <a:pt x="356" y="135"/>
                    </a:lnTo>
                    <a:lnTo>
                      <a:pt x="354" y="135"/>
                    </a:lnTo>
                    <a:lnTo>
                      <a:pt x="354" y="137"/>
                    </a:lnTo>
                    <a:lnTo>
                      <a:pt x="354" y="139"/>
                    </a:lnTo>
                    <a:lnTo>
                      <a:pt x="354" y="141"/>
                    </a:lnTo>
                    <a:lnTo>
                      <a:pt x="356" y="141"/>
                    </a:lnTo>
                    <a:lnTo>
                      <a:pt x="356" y="143"/>
                    </a:lnTo>
                    <a:lnTo>
                      <a:pt x="356" y="145"/>
                    </a:lnTo>
                    <a:lnTo>
                      <a:pt x="356" y="146"/>
                    </a:lnTo>
                    <a:lnTo>
                      <a:pt x="356" y="148"/>
                    </a:lnTo>
                    <a:lnTo>
                      <a:pt x="356" y="150"/>
                    </a:lnTo>
                    <a:lnTo>
                      <a:pt x="354" y="150"/>
                    </a:lnTo>
                    <a:lnTo>
                      <a:pt x="354" y="152"/>
                    </a:lnTo>
                    <a:lnTo>
                      <a:pt x="352" y="154"/>
                    </a:lnTo>
                    <a:lnTo>
                      <a:pt x="354" y="156"/>
                    </a:lnTo>
                    <a:lnTo>
                      <a:pt x="352" y="156"/>
                    </a:lnTo>
                    <a:lnTo>
                      <a:pt x="352" y="158"/>
                    </a:lnTo>
                    <a:lnTo>
                      <a:pt x="352" y="160"/>
                    </a:lnTo>
                    <a:lnTo>
                      <a:pt x="352" y="162"/>
                    </a:lnTo>
                    <a:lnTo>
                      <a:pt x="352" y="164"/>
                    </a:lnTo>
                    <a:lnTo>
                      <a:pt x="352" y="166"/>
                    </a:lnTo>
                    <a:lnTo>
                      <a:pt x="352" y="168"/>
                    </a:lnTo>
                    <a:lnTo>
                      <a:pt x="350" y="168"/>
                    </a:lnTo>
                    <a:lnTo>
                      <a:pt x="350" y="170"/>
                    </a:lnTo>
                    <a:lnTo>
                      <a:pt x="352" y="170"/>
                    </a:lnTo>
                    <a:lnTo>
                      <a:pt x="352" y="171"/>
                    </a:lnTo>
                    <a:lnTo>
                      <a:pt x="354" y="171"/>
                    </a:lnTo>
                    <a:lnTo>
                      <a:pt x="354" y="170"/>
                    </a:lnTo>
                    <a:lnTo>
                      <a:pt x="354" y="171"/>
                    </a:lnTo>
                    <a:lnTo>
                      <a:pt x="356" y="171"/>
                    </a:lnTo>
                    <a:lnTo>
                      <a:pt x="356" y="173"/>
                    </a:lnTo>
                    <a:lnTo>
                      <a:pt x="356" y="175"/>
                    </a:lnTo>
                    <a:lnTo>
                      <a:pt x="354" y="175"/>
                    </a:lnTo>
                    <a:lnTo>
                      <a:pt x="354" y="177"/>
                    </a:lnTo>
                    <a:lnTo>
                      <a:pt x="354" y="179"/>
                    </a:lnTo>
                    <a:lnTo>
                      <a:pt x="356" y="181"/>
                    </a:lnTo>
                    <a:lnTo>
                      <a:pt x="358" y="183"/>
                    </a:lnTo>
                    <a:lnTo>
                      <a:pt x="356" y="181"/>
                    </a:lnTo>
                    <a:lnTo>
                      <a:pt x="356" y="179"/>
                    </a:lnTo>
                    <a:lnTo>
                      <a:pt x="354" y="179"/>
                    </a:lnTo>
                    <a:lnTo>
                      <a:pt x="354" y="177"/>
                    </a:lnTo>
                    <a:lnTo>
                      <a:pt x="352" y="177"/>
                    </a:lnTo>
                    <a:lnTo>
                      <a:pt x="350" y="177"/>
                    </a:lnTo>
                    <a:lnTo>
                      <a:pt x="350" y="179"/>
                    </a:lnTo>
                    <a:lnTo>
                      <a:pt x="352" y="179"/>
                    </a:lnTo>
                    <a:lnTo>
                      <a:pt x="354" y="179"/>
                    </a:lnTo>
                    <a:lnTo>
                      <a:pt x="352" y="179"/>
                    </a:lnTo>
                    <a:lnTo>
                      <a:pt x="354" y="179"/>
                    </a:lnTo>
                    <a:lnTo>
                      <a:pt x="356" y="179"/>
                    </a:lnTo>
                    <a:lnTo>
                      <a:pt x="356" y="181"/>
                    </a:lnTo>
                    <a:lnTo>
                      <a:pt x="354" y="183"/>
                    </a:lnTo>
                    <a:lnTo>
                      <a:pt x="356" y="183"/>
                    </a:lnTo>
                    <a:lnTo>
                      <a:pt x="358" y="183"/>
                    </a:lnTo>
                    <a:lnTo>
                      <a:pt x="358" y="185"/>
                    </a:lnTo>
                    <a:lnTo>
                      <a:pt x="360" y="185"/>
                    </a:lnTo>
                    <a:lnTo>
                      <a:pt x="360" y="187"/>
                    </a:lnTo>
                    <a:lnTo>
                      <a:pt x="362" y="189"/>
                    </a:lnTo>
                    <a:lnTo>
                      <a:pt x="363" y="189"/>
                    </a:lnTo>
                    <a:lnTo>
                      <a:pt x="363" y="191"/>
                    </a:lnTo>
                    <a:lnTo>
                      <a:pt x="363" y="193"/>
                    </a:lnTo>
                    <a:lnTo>
                      <a:pt x="365" y="193"/>
                    </a:lnTo>
                    <a:lnTo>
                      <a:pt x="365" y="195"/>
                    </a:lnTo>
                    <a:lnTo>
                      <a:pt x="365" y="196"/>
                    </a:lnTo>
                    <a:lnTo>
                      <a:pt x="365" y="198"/>
                    </a:lnTo>
                    <a:lnTo>
                      <a:pt x="363" y="198"/>
                    </a:lnTo>
                    <a:lnTo>
                      <a:pt x="362" y="198"/>
                    </a:lnTo>
                    <a:lnTo>
                      <a:pt x="360" y="200"/>
                    </a:lnTo>
                    <a:lnTo>
                      <a:pt x="358" y="200"/>
                    </a:lnTo>
                    <a:lnTo>
                      <a:pt x="358" y="198"/>
                    </a:lnTo>
                    <a:lnTo>
                      <a:pt x="358" y="196"/>
                    </a:lnTo>
                    <a:lnTo>
                      <a:pt x="356" y="196"/>
                    </a:lnTo>
                    <a:lnTo>
                      <a:pt x="354" y="196"/>
                    </a:lnTo>
                    <a:lnTo>
                      <a:pt x="354" y="198"/>
                    </a:lnTo>
                    <a:lnTo>
                      <a:pt x="352" y="198"/>
                    </a:lnTo>
                    <a:lnTo>
                      <a:pt x="350" y="198"/>
                    </a:lnTo>
                    <a:lnTo>
                      <a:pt x="348" y="196"/>
                    </a:lnTo>
                    <a:lnTo>
                      <a:pt x="346" y="196"/>
                    </a:lnTo>
                    <a:lnTo>
                      <a:pt x="344" y="196"/>
                    </a:lnTo>
                    <a:lnTo>
                      <a:pt x="344" y="195"/>
                    </a:lnTo>
                    <a:lnTo>
                      <a:pt x="342" y="195"/>
                    </a:lnTo>
                    <a:lnTo>
                      <a:pt x="342" y="193"/>
                    </a:lnTo>
                    <a:lnTo>
                      <a:pt x="342" y="195"/>
                    </a:lnTo>
                    <a:lnTo>
                      <a:pt x="342" y="193"/>
                    </a:lnTo>
                    <a:lnTo>
                      <a:pt x="344" y="193"/>
                    </a:lnTo>
                    <a:lnTo>
                      <a:pt x="342" y="193"/>
                    </a:lnTo>
                    <a:lnTo>
                      <a:pt x="344" y="191"/>
                    </a:lnTo>
                    <a:lnTo>
                      <a:pt x="344" y="189"/>
                    </a:lnTo>
                    <a:lnTo>
                      <a:pt x="346" y="189"/>
                    </a:lnTo>
                    <a:lnTo>
                      <a:pt x="344" y="189"/>
                    </a:lnTo>
                    <a:lnTo>
                      <a:pt x="344" y="191"/>
                    </a:lnTo>
                    <a:lnTo>
                      <a:pt x="342" y="191"/>
                    </a:lnTo>
                    <a:lnTo>
                      <a:pt x="340" y="191"/>
                    </a:lnTo>
                    <a:lnTo>
                      <a:pt x="340" y="193"/>
                    </a:lnTo>
                    <a:lnTo>
                      <a:pt x="342" y="193"/>
                    </a:lnTo>
                    <a:lnTo>
                      <a:pt x="340" y="193"/>
                    </a:lnTo>
                    <a:lnTo>
                      <a:pt x="338" y="193"/>
                    </a:lnTo>
                    <a:lnTo>
                      <a:pt x="337" y="193"/>
                    </a:lnTo>
                    <a:lnTo>
                      <a:pt x="337" y="191"/>
                    </a:lnTo>
                    <a:lnTo>
                      <a:pt x="335" y="191"/>
                    </a:lnTo>
                    <a:lnTo>
                      <a:pt x="333" y="191"/>
                    </a:lnTo>
                    <a:lnTo>
                      <a:pt x="333" y="189"/>
                    </a:lnTo>
                    <a:lnTo>
                      <a:pt x="331" y="187"/>
                    </a:lnTo>
                    <a:lnTo>
                      <a:pt x="329" y="187"/>
                    </a:lnTo>
                    <a:lnTo>
                      <a:pt x="327" y="189"/>
                    </a:lnTo>
                    <a:lnTo>
                      <a:pt x="325" y="189"/>
                    </a:lnTo>
                    <a:lnTo>
                      <a:pt x="327" y="187"/>
                    </a:lnTo>
                    <a:lnTo>
                      <a:pt x="329" y="187"/>
                    </a:lnTo>
                    <a:lnTo>
                      <a:pt x="329" y="185"/>
                    </a:lnTo>
                    <a:lnTo>
                      <a:pt x="329" y="187"/>
                    </a:lnTo>
                    <a:lnTo>
                      <a:pt x="327" y="187"/>
                    </a:lnTo>
                    <a:lnTo>
                      <a:pt x="329" y="185"/>
                    </a:lnTo>
                    <a:lnTo>
                      <a:pt x="329" y="183"/>
                    </a:lnTo>
                    <a:lnTo>
                      <a:pt x="331" y="183"/>
                    </a:lnTo>
                    <a:lnTo>
                      <a:pt x="331" y="181"/>
                    </a:lnTo>
                    <a:lnTo>
                      <a:pt x="329" y="181"/>
                    </a:lnTo>
                    <a:lnTo>
                      <a:pt x="327" y="181"/>
                    </a:lnTo>
                    <a:lnTo>
                      <a:pt x="327" y="179"/>
                    </a:lnTo>
                    <a:lnTo>
                      <a:pt x="329" y="179"/>
                    </a:lnTo>
                    <a:lnTo>
                      <a:pt x="327" y="179"/>
                    </a:lnTo>
                    <a:lnTo>
                      <a:pt x="325" y="179"/>
                    </a:lnTo>
                    <a:lnTo>
                      <a:pt x="325" y="177"/>
                    </a:lnTo>
                    <a:lnTo>
                      <a:pt x="325" y="175"/>
                    </a:lnTo>
                    <a:lnTo>
                      <a:pt x="325" y="177"/>
                    </a:lnTo>
                    <a:lnTo>
                      <a:pt x="325" y="175"/>
                    </a:lnTo>
                    <a:lnTo>
                      <a:pt x="325" y="177"/>
                    </a:lnTo>
                    <a:lnTo>
                      <a:pt x="325" y="179"/>
                    </a:lnTo>
                    <a:lnTo>
                      <a:pt x="327" y="179"/>
                    </a:lnTo>
                    <a:lnTo>
                      <a:pt x="329" y="179"/>
                    </a:lnTo>
                    <a:lnTo>
                      <a:pt x="327" y="179"/>
                    </a:lnTo>
                    <a:lnTo>
                      <a:pt x="327" y="181"/>
                    </a:lnTo>
                    <a:lnTo>
                      <a:pt x="329" y="181"/>
                    </a:lnTo>
                    <a:lnTo>
                      <a:pt x="331" y="183"/>
                    </a:lnTo>
                    <a:lnTo>
                      <a:pt x="329" y="183"/>
                    </a:lnTo>
                    <a:lnTo>
                      <a:pt x="329" y="185"/>
                    </a:lnTo>
                    <a:lnTo>
                      <a:pt x="329" y="183"/>
                    </a:lnTo>
                    <a:lnTo>
                      <a:pt x="329" y="185"/>
                    </a:lnTo>
                    <a:lnTo>
                      <a:pt x="327" y="185"/>
                    </a:lnTo>
                    <a:lnTo>
                      <a:pt x="327" y="187"/>
                    </a:lnTo>
                    <a:lnTo>
                      <a:pt x="325" y="187"/>
                    </a:lnTo>
                    <a:lnTo>
                      <a:pt x="325" y="189"/>
                    </a:lnTo>
                    <a:lnTo>
                      <a:pt x="323" y="189"/>
                    </a:lnTo>
                    <a:lnTo>
                      <a:pt x="321" y="189"/>
                    </a:lnTo>
                    <a:lnTo>
                      <a:pt x="319" y="189"/>
                    </a:lnTo>
                    <a:lnTo>
                      <a:pt x="317" y="189"/>
                    </a:lnTo>
                    <a:lnTo>
                      <a:pt x="315" y="191"/>
                    </a:lnTo>
                    <a:lnTo>
                      <a:pt x="314" y="191"/>
                    </a:lnTo>
                    <a:lnTo>
                      <a:pt x="315" y="191"/>
                    </a:lnTo>
                    <a:lnTo>
                      <a:pt x="315" y="189"/>
                    </a:lnTo>
                    <a:lnTo>
                      <a:pt x="315" y="191"/>
                    </a:lnTo>
                    <a:lnTo>
                      <a:pt x="315" y="189"/>
                    </a:lnTo>
                    <a:lnTo>
                      <a:pt x="317" y="189"/>
                    </a:lnTo>
                    <a:lnTo>
                      <a:pt x="317" y="187"/>
                    </a:lnTo>
                    <a:lnTo>
                      <a:pt x="315" y="187"/>
                    </a:lnTo>
                    <a:lnTo>
                      <a:pt x="317" y="187"/>
                    </a:lnTo>
                    <a:lnTo>
                      <a:pt x="315" y="187"/>
                    </a:lnTo>
                    <a:lnTo>
                      <a:pt x="314" y="187"/>
                    </a:lnTo>
                    <a:lnTo>
                      <a:pt x="314" y="185"/>
                    </a:lnTo>
                    <a:lnTo>
                      <a:pt x="314" y="187"/>
                    </a:lnTo>
                    <a:lnTo>
                      <a:pt x="312" y="187"/>
                    </a:lnTo>
                    <a:lnTo>
                      <a:pt x="310" y="187"/>
                    </a:lnTo>
                    <a:lnTo>
                      <a:pt x="308" y="187"/>
                    </a:lnTo>
                    <a:lnTo>
                      <a:pt x="308" y="185"/>
                    </a:lnTo>
                    <a:lnTo>
                      <a:pt x="308" y="187"/>
                    </a:lnTo>
                    <a:lnTo>
                      <a:pt x="310" y="187"/>
                    </a:lnTo>
                    <a:lnTo>
                      <a:pt x="312" y="189"/>
                    </a:lnTo>
                    <a:lnTo>
                      <a:pt x="312" y="191"/>
                    </a:lnTo>
                    <a:lnTo>
                      <a:pt x="314" y="191"/>
                    </a:lnTo>
                    <a:lnTo>
                      <a:pt x="312" y="191"/>
                    </a:lnTo>
                    <a:lnTo>
                      <a:pt x="310" y="191"/>
                    </a:lnTo>
                    <a:lnTo>
                      <a:pt x="310" y="193"/>
                    </a:lnTo>
                    <a:lnTo>
                      <a:pt x="308" y="193"/>
                    </a:lnTo>
                    <a:lnTo>
                      <a:pt x="310" y="193"/>
                    </a:lnTo>
                    <a:lnTo>
                      <a:pt x="308" y="193"/>
                    </a:lnTo>
                    <a:lnTo>
                      <a:pt x="310" y="193"/>
                    </a:lnTo>
                    <a:lnTo>
                      <a:pt x="310" y="191"/>
                    </a:lnTo>
                    <a:lnTo>
                      <a:pt x="312" y="191"/>
                    </a:lnTo>
                    <a:lnTo>
                      <a:pt x="312" y="193"/>
                    </a:lnTo>
                    <a:lnTo>
                      <a:pt x="310" y="191"/>
                    </a:lnTo>
                    <a:lnTo>
                      <a:pt x="310" y="193"/>
                    </a:lnTo>
                    <a:lnTo>
                      <a:pt x="308" y="193"/>
                    </a:lnTo>
                    <a:lnTo>
                      <a:pt x="306" y="193"/>
                    </a:lnTo>
                    <a:lnTo>
                      <a:pt x="308" y="193"/>
                    </a:lnTo>
                    <a:lnTo>
                      <a:pt x="308" y="195"/>
                    </a:lnTo>
                    <a:lnTo>
                      <a:pt x="306" y="195"/>
                    </a:lnTo>
                    <a:lnTo>
                      <a:pt x="304" y="195"/>
                    </a:lnTo>
                    <a:lnTo>
                      <a:pt x="304" y="196"/>
                    </a:lnTo>
                    <a:lnTo>
                      <a:pt x="304" y="198"/>
                    </a:lnTo>
                    <a:lnTo>
                      <a:pt x="304" y="196"/>
                    </a:lnTo>
                    <a:lnTo>
                      <a:pt x="306" y="196"/>
                    </a:lnTo>
                    <a:lnTo>
                      <a:pt x="306" y="195"/>
                    </a:lnTo>
                    <a:lnTo>
                      <a:pt x="308" y="195"/>
                    </a:lnTo>
                    <a:lnTo>
                      <a:pt x="308" y="193"/>
                    </a:lnTo>
                    <a:lnTo>
                      <a:pt x="310" y="193"/>
                    </a:lnTo>
                    <a:lnTo>
                      <a:pt x="312" y="193"/>
                    </a:lnTo>
                    <a:lnTo>
                      <a:pt x="312" y="191"/>
                    </a:lnTo>
                    <a:lnTo>
                      <a:pt x="314" y="191"/>
                    </a:lnTo>
                    <a:lnTo>
                      <a:pt x="310" y="193"/>
                    </a:lnTo>
                    <a:lnTo>
                      <a:pt x="308" y="195"/>
                    </a:lnTo>
                    <a:lnTo>
                      <a:pt x="306" y="196"/>
                    </a:lnTo>
                    <a:lnTo>
                      <a:pt x="302" y="200"/>
                    </a:lnTo>
                    <a:lnTo>
                      <a:pt x="302" y="202"/>
                    </a:lnTo>
                    <a:lnTo>
                      <a:pt x="300" y="202"/>
                    </a:lnTo>
                    <a:lnTo>
                      <a:pt x="298" y="202"/>
                    </a:lnTo>
                    <a:lnTo>
                      <a:pt x="296" y="202"/>
                    </a:lnTo>
                    <a:lnTo>
                      <a:pt x="294" y="204"/>
                    </a:lnTo>
                    <a:lnTo>
                      <a:pt x="292" y="206"/>
                    </a:lnTo>
                    <a:lnTo>
                      <a:pt x="290" y="208"/>
                    </a:lnTo>
                    <a:lnTo>
                      <a:pt x="290" y="210"/>
                    </a:lnTo>
                    <a:lnTo>
                      <a:pt x="289" y="210"/>
                    </a:lnTo>
                    <a:lnTo>
                      <a:pt x="289" y="212"/>
                    </a:lnTo>
                    <a:lnTo>
                      <a:pt x="289" y="214"/>
                    </a:lnTo>
                    <a:lnTo>
                      <a:pt x="287" y="214"/>
                    </a:lnTo>
                    <a:lnTo>
                      <a:pt x="287" y="216"/>
                    </a:lnTo>
                    <a:lnTo>
                      <a:pt x="287" y="218"/>
                    </a:lnTo>
                    <a:lnTo>
                      <a:pt x="287" y="220"/>
                    </a:lnTo>
                    <a:lnTo>
                      <a:pt x="285" y="221"/>
                    </a:lnTo>
                    <a:lnTo>
                      <a:pt x="283" y="220"/>
                    </a:lnTo>
                    <a:lnTo>
                      <a:pt x="281" y="220"/>
                    </a:lnTo>
                    <a:lnTo>
                      <a:pt x="283" y="220"/>
                    </a:lnTo>
                    <a:lnTo>
                      <a:pt x="283" y="221"/>
                    </a:lnTo>
                    <a:lnTo>
                      <a:pt x="285" y="223"/>
                    </a:lnTo>
                    <a:lnTo>
                      <a:pt x="285" y="221"/>
                    </a:lnTo>
                    <a:lnTo>
                      <a:pt x="285" y="223"/>
                    </a:lnTo>
                    <a:lnTo>
                      <a:pt x="283" y="223"/>
                    </a:lnTo>
                    <a:lnTo>
                      <a:pt x="283" y="225"/>
                    </a:lnTo>
                    <a:lnTo>
                      <a:pt x="285" y="225"/>
                    </a:lnTo>
                    <a:lnTo>
                      <a:pt x="283" y="227"/>
                    </a:lnTo>
                    <a:lnTo>
                      <a:pt x="285" y="227"/>
                    </a:lnTo>
                    <a:lnTo>
                      <a:pt x="283" y="227"/>
                    </a:lnTo>
                    <a:lnTo>
                      <a:pt x="283" y="229"/>
                    </a:lnTo>
                    <a:lnTo>
                      <a:pt x="283" y="231"/>
                    </a:lnTo>
                    <a:lnTo>
                      <a:pt x="281" y="231"/>
                    </a:lnTo>
                    <a:lnTo>
                      <a:pt x="281" y="233"/>
                    </a:lnTo>
                    <a:lnTo>
                      <a:pt x="279" y="235"/>
                    </a:lnTo>
                    <a:lnTo>
                      <a:pt x="279" y="233"/>
                    </a:lnTo>
                    <a:lnTo>
                      <a:pt x="277" y="233"/>
                    </a:lnTo>
                    <a:lnTo>
                      <a:pt x="279" y="235"/>
                    </a:lnTo>
                    <a:lnTo>
                      <a:pt x="281" y="235"/>
                    </a:lnTo>
                    <a:lnTo>
                      <a:pt x="281" y="237"/>
                    </a:lnTo>
                    <a:lnTo>
                      <a:pt x="279" y="237"/>
                    </a:lnTo>
                    <a:lnTo>
                      <a:pt x="279" y="239"/>
                    </a:lnTo>
                    <a:lnTo>
                      <a:pt x="279" y="241"/>
                    </a:lnTo>
                    <a:lnTo>
                      <a:pt x="279" y="243"/>
                    </a:lnTo>
                    <a:lnTo>
                      <a:pt x="277" y="243"/>
                    </a:lnTo>
                    <a:lnTo>
                      <a:pt x="275" y="243"/>
                    </a:lnTo>
                    <a:lnTo>
                      <a:pt x="273" y="243"/>
                    </a:lnTo>
                    <a:lnTo>
                      <a:pt x="273" y="241"/>
                    </a:lnTo>
                    <a:lnTo>
                      <a:pt x="271" y="241"/>
                    </a:lnTo>
                    <a:lnTo>
                      <a:pt x="271" y="243"/>
                    </a:lnTo>
                    <a:lnTo>
                      <a:pt x="271" y="241"/>
                    </a:lnTo>
                    <a:lnTo>
                      <a:pt x="271" y="243"/>
                    </a:lnTo>
                    <a:lnTo>
                      <a:pt x="273" y="243"/>
                    </a:lnTo>
                    <a:lnTo>
                      <a:pt x="273" y="245"/>
                    </a:lnTo>
                    <a:lnTo>
                      <a:pt x="275" y="245"/>
                    </a:lnTo>
                    <a:lnTo>
                      <a:pt x="277" y="245"/>
                    </a:lnTo>
                    <a:lnTo>
                      <a:pt x="277" y="246"/>
                    </a:lnTo>
                    <a:lnTo>
                      <a:pt x="275" y="248"/>
                    </a:lnTo>
                    <a:lnTo>
                      <a:pt x="275" y="250"/>
                    </a:lnTo>
                    <a:lnTo>
                      <a:pt x="277" y="252"/>
                    </a:lnTo>
                    <a:lnTo>
                      <a:pt x="275" y="252"/>
                    </a:lnTo>
                    <a:lnTo>
                      <a:pt x="277" y="252"/>
                    </a:lnTo>
                    <a:lnTo>
                      <a:pt x="277" y="254"/>
                    </a:lnTo>
                    <a:lnTo>
                      <a:pt x="275" y="254"/>
                    </a:lnTo>
                    <a:lnTo>
                      <a:pt x="275" y="256"/>
                    </a:lnTo>
                    <a:lnTo>
                      <a:pt x="273" y="256"/>
                    </a:lnTo>
                    <a:lnTo>
                      <a:pt x="275" y="256"/>
                    </a:lnTo>
                    <a:lnTo>
                      <a:pt x="275" y="254"/>
                    </a:lnTo>
                    <a:lnTo>
                      <a:pt x="277" y="254"/>
                    </a:lnTo>
                    <a:lnTo>
                      <a:pt x="277" y="256"/>
                    </a:lnTo>
                    <a:lnTo>
                      <a:pt x="277" y="258"/>
                    </a:lnTo>
                    <a:lnTo>
                      <a:pt x="277" y="260"/>
                    </a:lnTo>
                    <a:lnTo>
                      <a:pt x="279" y="262"/>
                    </a:lnTo>
                    <a:lnTo>
                      <a:pt x="279" y="264"/>
                    </a:lnTo>
                    <a:lnTo>
                      <a:pt x="279" y="266"/>
                    </a:lnTo>
                    <a:lnTo>
                      <a:pt x="279" y="268"/>
                    </a:lnTo>
                    <a:lnTo>
                      <a:pt x="279" y="270"/>
                    </a:lnTo>
                    <a:lnTo>
                      <a:pt x="279" y="271"/>
                    </a:lnTo>
                    <a:lnTo>
                      <a:pt x="279" y="273"/>
                    </a:lnTo>
                    <a:lnTo>
                      <a:pt x="279" y="275"/>
                    </a:lnTo>
                    <a:lnTo>
                      <a:pt x="279" y="277"/>
                    </a:lnTo>
                    <a:lnTo>
                      <a:pt x="279" y="279"/>
                    </a:lnTo>
                    <a:lnTo>
                      <a:pt x="281" y="281"/>
                    </a:lnTo>
                    <a:lnTo>
                      <a:pt x="281" y="283"/>
                    </a:lnTo>
                    <a:lnTo>
                      <a:pt x="281" y="285"/>
                    </a:lnTo>
                    <a:lnTo>
                      <a:pt x="281" y="287"/>
                    </a:lnTo>
                    <a:lnTo>
                      <a:pt x="279" y="289"/>
                    </a:lnTo>
                    <a:lnTo>
                      <a:pt x="279" y="291"/>
                    </a:lnTo>
                    <a:lnTo>
                      <a:pt x="277" y="291"/>
                    </a:lnTo>
                    <a:lnTo>
                      <a:pt x="277" y="289"/>
                    </a:lnTo>
                    <a:lnTo>
                      <a:pt x="275" y="289"/>
                    </a:lnTo>
                    <a:lnTo>
                      <a:pt x="275" y="287"/>
                    </a:lnTo>
                    <a:lnTo>
                      <a:pt x="273" y="287"/>
                    </a:lnTo>
                    <a:lnTo>
                      <a:pt x="273" y="285"/>
                    </a:lnTo>
                    <a:lnTo>
                      <a:pt x="273" y="283"/>
                    </a:lnTo>
                    <a:lnTo>
                      <a:pt x="271" y="283"/>
                    </a:lnTo>
                    <a:lnTo>
                      <a:pt x="271" y="281"/>
                    </a:lnTo>
                    <a:lnTo>
                      <a:pt x="271" y="279"/>
                    </a:lnTo>
                    <a:lnTo>
                      <a:pt x="269" y="279"/>
                    </a:lnTo>
                    <a:lnTo>
                      <a:pt x="269" y="277"/>
                    </a:lnTo>
                    <a:lnTo>
                      <a:pt x="267" y="277"/>
                    </a:lnTo>
                    <a:lnTo>
                      <a:pt x="267" y="275"/>
                    </a:lnTo>
                    <a:lnTo>
                      <a:pt x="267" y="273"/>
                    </a:lnTo>
                    <a:lnTo>
                      <a:pt x="265" y="273"/>
                    </a:lnTo>
                    <a:lnTo>
                      <a:pt x="265" y="271"/>
                    </a:lnTo>
                    <a:lnTo>
                      <a:pt x="265" y="270"/>
                    </a:lnTo>
                    <a:lnTo>
                      <a:pt x="265" y="268"/>
                    </a:lnTo>
                    <a:lnTo>
                      <a:pt x="264" y="266"/>
                    </a:lnTo>
                    <a:lnTo>
                      <a:pt x="262" y="266"/>
                    </a:lnTo>
                    <a:lnTo>
                      <a:pt x="262" y="264"/>
                    </a:lnTo>
                    <a:lnTo>
                      <a:pt x="260" y="264"/>
                    </a:lnTo>
                    <a:lnTo>
                      <a:pt x="260" y="262"/>
                    </a:lnTo>
                    <a:lnTo>
                      <a:pt x="258" y="262"/>
                    </a:lnTo>
                    <a:lnTo>
                      <a:pt x="258" y="260"/>
                    </a:lnTo>
                    <a:lnTo>
                      <a:pt x="256" y="260"/>
                    </a:lnTo>
                    <a:lnTo>
                      <a:pt x="256" y="258"/>
                    </a:lnTo>
                    <a:lnTo>
                      <a:pt x="254" y="258"/>
                    </a:lnTo>
                    <a:lnTo>
                      <a:pt x="256" y="258"/>
                    </a:lnTo>
                    <a:lnTo>
                      <a:pt x="256" y="260"/>
                    </a:lnTo>
                    <a:lnTo>
                      <a:pt x="256" y="258"/>
                    </a:lnTo>
                    <a:lnTo>
                      <a:pt x="258" y="258"/>
                    </a:lnTo>
                    <a:lnTo>
                      <a:pt x="258" y="256"/>
                    </a:lnTo>
                    <a:lnTo>
                      <a:pt x="258" y="254"/>
                    </a:lnTo>
                    <a:lnTo>
                      <a:pt x="256" y="254"/>
                    </a:lnTo>
                    <a:lnTo>
                      <a:pt x="254" y="254"/>
                    </a:lnTo>
                    <a:lnTo>
                      <a:pt x="256" y="252"/>
                    </a:lnTo>
                    <a:lnTo>
                      <a:pt x="254" y="252"/>
                    </a:lnTo>
                    <a:lnTo>
                      <a:pt x="254" y="254"/>
                    </a:lnTo>
                    <a:lnTo>
                      <a:pt x="252" y="254"/>
                    </a:lnTo>
                    <a:lnTo>
                      <a:pt x="250" y="256"/>
                    </a:lnTo>
                    <a:lnTo>
                      <a:pt x="250" y="258"/>
                    </a:lnTo>
                    <a:lnTo>
                      <a:pt x="252" y="256"/>
                    </a:lnTo>
                    <a:lnTo>
                      <a:pt x="250" y="258"/>
                    </a:lnTo>
                    <a:lnTo>
                      <a:pt x="250" y="260"/>
                    </a:lnTo>
                    <a:lnTo>
                      <a:pt x="248" y="260"/>
                    </a:lnTo>
                    <a:lnTo>
                      <a:pt x="248" y="262"/>
                    </a:lnTo>
                    <a:lnTo>
                      <a:pt x="248" y="264"/>
                    </a:lnTo>
                    <a:lnTo>
                      <a:pt x="250" y="266"/>
                    </a:lnTo>
                    <a:lnTo>
                      <a:pt x="250" y="268"/>
                    </a:lnTo>
                    <a:lnTo>
                      <a:pt x="248" y="268"/>
                    </a:lnTo>
                    <a:lnTo>
                      <a:pt x="250" y="268"/>
                    </a:lnTo>
                    <a:lnTo>
                      <a:pt x="250" y="266"/>
                    </a:lnTo>
                    <a:lnTo>
                      <a:pt x="250" y="264"/>
                    </a:lnTo>
                    <a:lnTo>
                      <a:pt x="248" y="262"/>
                    </a:lnTo>
                    <a:lnTo>
                      <a:pt x="248" y="260"/>
                    </a:lnTo>
                    <a:lnTo>
                      <a:pt x="250" y="260"/>
                    </a:lnTo>
                    <a:lnTo>
                      <a:pt x="250" y="262"/>
                    </a:lnTo>
                    <a:lnTo>
                      <a:pt x="250" y="264"/>
                    </a:lnTo>
                    <a:lnTo>
                      <a:pt x="250" y="266"/>
                    </a:lnTo>
                    <a:lnTo>
                      <a:pt x="250" y="268"/>
                    </a:lnTo>
                    <a:lnTo>
                      <a:pt x="248" y="270"/>
                    </a:lnTo>
                    <a:lnTo>
                      <a:pt x="248" y="271"/>
                    </a:lnTo>
                    <a:lnTo>
                      <a:pt x="250" y="271"/>
                    </a:lnTo>
                    <a:lnTo>
                      <a:pt x="250" y="273"/>
                    </a:lnTo>
                    <a:lnTo>
                      <a:pt x="248" y="275"/>
                    </a:lnTo>
                    <a:lnTo>
                      <a:pt x="248" y="277"/>
                    </a:lnTo>
                    <a:lnTo>
                      <a:pt x="248" y="279"/>
                    </a:lnTo>
                    <a:lnTo>
                      <a:pt x="246" y="281"/>
                    </a:lnTo>
                    <a:lnTo>
                      <a:pt x="246" y="283"/>
                    </a:lnTo>
                    <a:lnTo>
                      <a:pt x="244" y="283"/>
                    </a:lnTo>
                    <a:lnTo>
                      <a:pt x="244" y="281"/>
                    </a:lnTo>
                    <a:lnTo>
                      <a:pt x="242" y="281"/>
                    </a:lnTo>
                    <a:lnTo>
                      <a:pt x="242" y="279"/>
                    </a:lnTo>
                    <a:lnTo>
                      <a:pt x="242" y="277"/>
                    </a:lnTo>
                    <a:lnTo>
                      <a:pt x="242" y="275"/>
                    </a:lnTo>
                    <a:lnTo>
                      <a:pt x="241" y="275"/>
                    </a:lnTo>
                    <a:lnTo>
                      <a:pt x="242" y="275"/>
                    </a:lnTo>
                    <a:lnTo>
                      <a:pt x="242" y="273"/>
                    </a:lnTo>
                    <a:lnTo>
                      <a:pt x="242" y="271"/>
                    </a:lnTo>
                    <a:lnTo>
                      <a:pt x="242" y="270"/>
                    </a:lnTo>
                    <a:lnTo>
                      <a:pt x="242" y="271"/>
                    </a:lnTo>
                    <a:lnTo>
                      <a:pt x="242" y="273"/>
                    </a:lnTo>
                    <a:lnTo>
                      <a:pt x="242" y="275"/>
                    </a:lnTo>
                    <a:lnTo>
                      <a:pt x="241" y="275"/>
                    </a:lnTo>
                    <a:lnTo>
                      <a:pt x="242" y="275"/>
                    </a:lnTo>
                    <a:lnTo>
                      <a:pt x="241" y="275"/>
                    </a:lnTo>
                    <a:lnTo>
                      <a:pt x="242" y="277"/>
                    </a:lnTo>
                    <a:lnTo>
                      <a:pt x="242" y="279"/>
                    </a:lnTo>
                    <a:lnTo>
                      <a:pt x="242" y="277"/>
                    </a:lnTo>
                    <a:lnTo>
                      <a:pt x="241" y="277"/>
                    </a:lnTo>
                    <a:lnTo>
                      <a:pt x="242" y="277"/>
                    </a:lnTo>
                    <a:lnTo>
                      <a:pt x="242" y="279"/>
                    </a:lnTo>
                    <a:lnTo>
                      <a:pt x="242" y="281"/>
                    </a:lnTo>
                    <a:lnTo>
                      <a:pt x="244" y="281"/>
                    </a:lnTo>
                    <a:lnTo>
                      <a:pt x="244" y="283"/>
                    </a:lnTo>
                    <a:lnTo>
                      <a:pt x="246" y="283"/>
                    </a:lnTo>
                    <a:lnTo>
                      <a:pt x="246" y="285"/>
                    </a:lnTo>
                    <a:lnTo>
                      <a:pt x="244" y="287"/>
                    </a:lnTo>
                    <a:lnTo>
                      <a:pt x="244" y="289"/>
                    </a:lnTo>
                    <a:lnTo>
                      <a:pt x="244" y="291"/>
                    </a:lnTo>
                    <a:lnTo>
                      <a:pt x="244" y="293"/>
                    </a:lnTo>
                    <a:lnTo>
                      <a:pt x="244" y="295"/>
                    </a:lnTo>
                    <a:lnTo>
                      <a:pt x="244" y="293"/>
                    </a:lnTo>
                    <a:lnTo>
                      <a:pt x="242" y="295"/>
                    </a:lnTo>
                    <a:lnTo>
                      <a:pt x="242" y="293"/>
                    </a:lnTo>
                    <a:lnTo>
                      <a:pt x="241" y="293"/>
                    </a:lnTo>
                    <a:lnTo>
                      <a:pt x="241" y="295"/>
                    </a:lnTo>
                    <a:lnTo>
                      <a:pt x="242" y="295"/>
                    </a:lnTo>
                    <a:lnTo>
                      <a:pt x="242" y="296"/>
                    </a:lnTo>
                    <a:lnTo>
                      <a:pt x="241" y="296"/>
                    </a:lnTo>
                    <a:lnTo>
                      <a:pt x="241" y="295"/>
                    </a:lnTo>
                    <a:lnTo>
                      <a:pt x="241" y="296"/>
                    </a:lnTo>
                    <a:lnTo>
                      <a:pt x="239" y="296"/>
                    </a:lnTo>
                    <a:lnTo>
                      <a:pt x="241" y="296"/>
                    </a:lnTo>
                    <a:lnTo>
                      <a:pt x="241" y="298"/>
                    </a:lnTo>
                    <a:lnTo>
                      <a:pt x="242" y="298"/>
                    </a:lnTo>
                    <a:lnTo>
                      <a:pt x="242" y="300"/>
                    </a:lnTo>
                    <a:lnTo>
                      <a:pt x="242" y="298"/>
                    </a:lnTo>
                    <a:lnTo>
                      <a:pt x="242" y="296"/>
                    </a:lnTo>
                    <a:lnTo>
                      <a:pt x="244" y="295"/>
                    </a:lnTo>
                    <a:lnTo>
                      <a:pt x="244" y="296"/>
                    </a:lnTo>
                    <a:lnTo>
                      <a:pt x="244" y="298"/>
                    </a:lnTo>
                    <a:lnTo>
                      <a:pt x="246" y="298"/>
                    </a:lnTo>
                    <a:lnTo>
                      <a:pt x="248" y="298"/>
                    </a:lnTo>
                    <a:lnTo>
                      <a:pt x="248" y="300"/>
                    </a:lnTo>
                    <a:lnTo>
                      <a:pt x="250" y="302"/>
                    </a:lnTo>
                    <a:lnTo>
                      <a:pt x="250" y="304"/>
                    </a:lnTo>
                    <a:lnTo>
                      <a:pt x="252" y="304"/>
                    </a:lnTo>
                    <a:lnTo>
                      <a:pt x="252" y="306"/>
                    </a:lnTo>
                    <a:lnTo>
                      <a:pt x="252" y="308"/>
                    </a:lnTo>
                    <a:lnTo>
                      <a:pt x="252" y="310"/>
                    </a:lnTo>
                    <a:lnTo>
                      <a:pt x="250" y="310"/>
                    </a:lnTo>
                    <a:lnTo>
                      <a:pt x="250" y="312"/>
                    </a:lnTo>
                    <a:lnTo>
                      <a:pt x="250" y="314"/>
                    </a:lnTo>
                    <a:lnTo>
                      <a:pt x="250" y="316"/>
                    </a:lnTo>
                    <a:lnTo>
                      <a:pt x="250" y="318"/>
                    </a:lnTo>
                    <a:lnTo>
                      <a:pt x="248" y="318"/>
                    </a:lnTo>
                    <a:lnTo>
                      <a:pt x="248" y="316"/>
                    </a:lnTo>
                    <a:lnTo>
                      <a:pt x="246" y="316"/>
                    </a:lnTo>
                    <a:lnTo>
                      <a:pt x="246" y="314"/>
                    </a:lnTo>
                    <a:lnTo>
                      <a:pt x="244" y="314"/>
                    </a:lnTo>
                    <a:lnTo>
                      <a:pt x="244" y="312"/>
                    </a:lnTo>
                    <a:lnTo>
                      <a:pt x="242" y="312"/>
                    </a:lnTo>
                    <a:lnTo>
                      <a:pt x="242" y="310"/>
                    </a:lnTo>
                    <a:lnTo>
                      <a:pt x="241" y="310"/>
                    </a:lnTo>
                    <a:lnTo>
                      <a:pt x="239" y="310"/>
                    </a:lnTo>
                    <a:lnTo>
                      <a:pt x="239" y="308"/>
                    </a:lnTo>
                    <a:lnTo>
                      <a:pt x="237" y="308"/>
                    </a:lnTo>
                    <a:lnTo>
                      <a:pt x="235" y="308"/>
                    </a:lnTo>
                    <a:lnTo>
                      <a:pt x="235" y="310"/>
                    </a:lnTo>
                    <a:lnTo>
                      <a:pt x="233" y="310"/>
                    </a:lnTo>
                    <a:lnTo>
                      <a:pt x="235" y="310"/>
                    </a:lnTo>
                    <a:lnTo>
                      <a:pt x="233" y="308"/>
                    </a:lnTo>
                    <a:lnTo>
                      <a:pt x="231" y="308"/>
                    </a:lnTo>
                    <a:lnTo>
                      <a:pt x="229" y="308"/>
                    </a:lnTo>
                    <a:lnTo>
                      <a:pt x="227" y="308"/>
                    </a:lnTo>
                    <a:lnTo>
                      <a:pt x="225" y="308"/>
                    </a:lnTo>
                    <a:lnTo>
                      <a:pt x="225" y="310"/>
                    </a:lnTo>
                    <a:lnTo>
                      <a:pt x="225" y="312"/>
                    </a:lnTo>
                    <a:lnTo>
                      <a:pt x="225" y="310"/>
                    </a:lnTo>
                    <a:lnTo>
                      <a:pt x="227" y="312"/>
                    </a:lnTo>
                    <a:lnTo>
                      <a:pt x="225" y="312"/>
                    </a:lnTo>
                    <a:lnTo>
                      <a:pt x="225" y="310"/>
                    </a:lnTo>
                    <a:lnTo>
                      <a:pt x="225" y="312"/>
                    </a:lnTo>
                    <a:lnTo>
                      <a:pt x="225" y="314"/>
                    </a:lnTo>
                    <a:lnTo>
                      <a:pt x="227" y="314"/>
                    </a:lnTo>
                    <a:lnTo>
                      <a:pt x="227" y="316"/>
                    </a:lnTo>
                    <a:lnTo>
                      <a:pt x="229" y="316"/>
                    </a:lnTo>
                    <a:lnTo>
                      <a:pt x="227" y="316"/>
                    </a:lnTo>
                    <a:lnTo>
                      <a:pt x="227" y="314"/>
                    </a:lnTo>
                    <a:lnTo>
                      <a:pt x="227" y="316"/>
                    </a:lnTo>
                    <a:lnTo>
                      <a:pt x="229" y="316"/>
                    </a:lnTo>
                    <a:lnTo>
                      <a:pt x="227" y="320"/>
                    </a:lnTo>
                    <a:lnTo>
                      <a:pt x="227" y="321"/>
                    </a:lnTo>
                    <a:lnTo>
                      <a:pt x="227" y="323"/>
                    </a:lnTo>
                    <a:lnTo>
                      <a:pt x="227" y="325"/>
                    </a:lnTo>
                    <a:lnTo>
                      <a:pt x="229" y="325"/>
                    </a:lnTo>
                    <a:lnTo>
                      <a:pt x="231" y="325"/>
                    </a:lnTo>
                    <a:lnTo>
                      <a:pt x="233" y="325"/>
                    </a:lnTo>
                    <a:lnTo>
                      <a:pt x="231" y="325"/>
                    </a:lnTo>
                    <a:lnTo>
                      <a:pt x="229" y="325"/>
                    </a:lnTo>
                    <a:lnTo>
                      <a:pt x="229" y="327"/>
                    </a:lnTo>
                    <a:lnTo>
                      <a:pt x="227" y="327"/>
                    </a:lnTo>
                    <a:lnTo>
                      <a:pt x="227" y="325"/>
                    </a:lnTo>
                    <a:lnTo>
                      <a:pt x="227" y="323"/>
                    </a:lnTo>
                    <a:lnTo>
                      <a:pt x="227" y="321"/>
                    </a:lnTo>
                    <a:lnTo>
                      <a:pt x="227" y="320"/>
                    </a:lnTo>
                    <a:lnTo>
                      <a:pt x="227" y="318"/>
                    </a:lnTo>
                    <a:lnTo>
                      <a:pt x="225" y="318"/>
                    </a:lnTo>
                    <a:lnTo>
                      <a:pt x="225" y="320"/>
                    </a:lnTo>
                    <a:lnTo>
                      <a:pt x="223" y="320"/>
                    </a:lnTo>
                    <a:lnTo>
                      <a:pt x="223" y="321"/>
                    </a:lnTo>
                    <a:lnTo>
                      <a:pt x="221" y="321"/>
                    </a:lnTo>
                    <a:lnTo>
                      <a:pt x="221" y="320"/>
                    </a:lnTo>
                    <a:lnTo>
                      <a:pt x="221" y="321"/>
                    </a:lnTo>
                    <a:lnTo>
                      <a:pt x="219" y="321"/>
                    </a:lnTo>
                    <a:lnTo>
                      <a:pt x="219" y="320"/>
                    </a:lnTo>
                    <a:lnTo>
                      <a:pt x="219" y="321"/>
                    </a:lnTo>
                    <a:lnTo>
                      <a:pt x="217" y="323"/>
                    </a:lnTo>
                    <a:lnTo>
                      <a:pt x="217" y="325"/>
                    </a:lnTo>
                    <a:lnTo>
                      <a:pt x="217" y="323"/>
                    </a:lnTo>
                    <a:lnTo>
                      <a:pt x="216" y="323"/>
                    </a:lnTo>
                    <a:lnTo>
                      <a:pt x="217" y="323"/>
                    </a:lnTo>
                    <a:lnTo>
                      <a:pt x="216" y="323"/>
                    </a:lnTo>
                    <a:lnTo>
                      <a:pt x="216" y="325"/>
                    </a:lnTo>
                    <a:lnTo>
                      <a:pt x="214" y="325"/>
                    </a:lnTo>
                    <a:lnTo>
                      <a:pt x="212" y="327"/>
                    </a:lnTo>
                    <a:lnTo>
                      <a:pt x="214" y="327"/>
                    </a:lnTo>
                    <a:lnTo>
                      <a:pt x="212" y="327"/>
                    </a:lnTo>
                    <a:lnTo>
                      <a:pt x="212" y="329"/>
                    </a:lnTo>
                    <a:lnTo>
                      <a:pt x="212" y="327"/>
                    </a:lnTo>
                    <a:lnTo>
                      <a:pt x="212" y="329"/>
                    </a:lnTo>
                    <a:lnTo>
                      <a:pt x="212" y="327"/>
                    </a:lnTo>
                    <a:lnTo>
                      <a:pt x="212" y="329"/>
                    </a:lnTo>
                    <a:lnTo>
                      <a:pt x="214" y="329"/>
                    </a:lnTo>
                    <a:lnTo>
                      <a:pt x="216" y="329"/>
                    </a:lnTo>
                    <a:lnTo>
                      <a:pt x="216" y="331"/>
                    </a:lnTo>
                    <a:lnTo>
                      <a:pt x="216" y="329"/>
                    </a:lnTo>
                    <a:lnTo>
                      <a:pt x="217" y="329"/>
                    </a:lnTo>
                    <a:lnTo>
                      <a:pt x="217" y="327"/>
                    </a:lnTo>
                    <a:lnTo>
                      <a:pt x="217" y="325"/>
                    </a:lnTo>
                    <a:lnTo>
                      <a:pt x="216" y="325"/>
                    </a:lnTo>
                    <a:lnTo>
                      <a:pt x="217" y="325"/>
                    </a:lnTo>
                    <a:lnTo>
                      <a:pt x="217" y="327"/>
                    </a:lnTo>
                    <a:lnTo>
                      <a:pt x="217" y="329"/>
                    </a:lnTo>
                    <a:lnTo>
                      <a:pt x="217" y="331"/>
                    </a:lnTo>
                    <a:lnTo>
                      <a:pt x="219" y="331"/>
                    </a:lnTo>
                    <a:lnTo>
                      <a:pt x="219" y="333"/>
                    </a:lnTo>
                    <a:lnTo>
                      <a:pt x="219" y="335"/>
                    </a:lnTo>
                    <a:lnTo>
                      <a:pt x="217" y="335"/>
                    </a:lnTo>
                    <a:lnTo>
                      <a:pt x="216" y="335"/>
                    </a:lnTo>
                    <a:lnTo>
                      <a:pt x="216" y="337"/>
                    </a:lnTo>
                    <a:lnTo>
                      <a:pt x="214" y="337"/>
                    </a:lnTo>
                    <a:lnTo>
                      <a:pt x="216" y="339"/>
                    </a:lnTo>
                    <a:lnTo>
                      <a:pt x="216" y="341"/>
                    </a:lnTo>
                    <a:lnTo>
                      <a:pt x="216" y="343"/>
                    </a:lnTo>
                    <a:lnTo>
                      <a:pt x="216" y="344"/>
                    </a:lnTo>
                    <a:lnTo>
                      <a:pt x="216" y="346"/>
                    </a:lnTo>
                    <a:lnTo>
                      <a:pt x="217" y="348"/>
                    </a:lnTo>
                    <a:lnTo>
                      <a:pt x="219" y="348"/>
                    </a:lnTo>
                    <a:lnTo>
                      <a:pt x="219" y="350"/>
                    </a:lnTo>
                    <a:lnTo>
                      <a:pt x="221" y="350"/>
                    </a:lnTo>
                    <a:lnTo>
                      <a:pt x="223" y="352"/>
                    </a:lnTo>
                    <a:lnTo>
                      <a:pt x="223" y="356"/>
                    </a:lnTo>
                    <a:lnTo>
                      <a:pt x="221" y="358"/>
                    </a:lnTo>
                    <a:lnTo>
                      <a:pt x="221" y="360"/>
                    </a:lnTo>
                    <a:lnTo>
                      <a:pt x="221" y="362"/>
                    </a:lnTo>
                    <a:lnTo>
                      <a:pt x="223" y="362"/>
                    </a:lnTo>
                    <a:lnTo>
                      <a:pt x="223" y="360"/>
                    </a:lnTo>
                    <a:lnTo>
                      <a:pt x="223" y="362"/>
                    </a:lnTo>
                    <a:lnTo>
                      <a:pt x="223" y="364"/>
                    </a:lnTo>
                    <a:lnTo>
                      <a:pt x="225" y="364"/>
                    </a:lnTo>
                    <a:lnTo>
                      <a:pt x="223" y="364"/>
                    </a:lnTo>
                    <a:lnTo>
                      <a:pt x="223" y="366"/>
                    </a:lnTo>
                    <a:lnTo>
                      <a:pt x="223" y="364"/>
                    </a:lnTo>
                    <a:lnTo>
                      <a:pt x="223" y="366"/>
                    </a:lnTo>
                    <a:lnTo>
                      <a:pt x="221" y="366"/>
                    </a:lnTo>
                    <a:lnTo>
                      <a:pt x="223" y="366"/>
                    </a:lnTo>
                    <a:lnTo>
                      <a:pt x="223" y="364"/>
                    </a:lnTo>
                    <a:lnTo>
                      <a:pt x="225" y="364"/>
                    </a:lnTo>
                    <a:lnTo>
                      <a:pt x="223" y="364"/>
                    </a:lnTo>
                    <a:lnTo>
                      <a:pt x="223" y="362"/>
                    </a:lnTo>
                    <a:lnTo>
                      <a:pt x="223" y="364"/>
                    </a:lnTo>
                    <a:lnTo>
                      <a:pt x="225" y="364"/>
                    </a:lnTo>
                    <a:lnTo>
                      <a:pt x="227" y="364"/>
                    </a:lnTo>
                    <a:lnTo>
                      <a:pt x="229" y="364"/>
                    </a:lnTo>
                    <a:lnTo>
                      <a:pt x="229" y="366"/>
                    </a:lnTo>
                    <a:lnTo>
                      <a:pt x="231" y="366"/>
                    </a:lnTo>
                    <a:lnTo>
                      <a:pt x="233" y="366"/>
                    </a:lnTo>
                    <a:lnTo>
                      <a:pt x="233" y="368"/>
                    </a:lnTo>
                    <a:lnTo>
                      <a:pt x="235" y="368"/>
                    </a:lnTo>
                    <a:lnTo>
                      <a:pt x="235" y="369"/>
                    </a:lnTo>
                    <a:lnTo>
                      <a:pt x="237" y="371"/>
                    </a:lnTo>
                    <a:lnTo>
                      <a:pt x="237" y="373"/>
                    </a:lnTo>
                    <a:lnTo>
                      <a:pt x="237" y="375"/>
                    </a:lnTo>
                    <a:lnTo>
                      <a:pt x="237" y="377"/>
                    </a:lnTo>
                    <a:lnTo>
                      <a:pt x="237" y="375"/>
                    </a:lnTo>
                    <a:lnTo>
                      <a:pt x="237" y="373"/>
                    </a:lnTo>
                    <a:lnTo>
                      <a:pt x="237" y="371"/>
                    </a:lnTo>
                    <a:lnTo>
                      <a:pt x="235" y="371"/>
                    </a:lnTo>
                    <a:lnTo>
                      <a:pt x="235" y="373"/>
                    </a:lnTo>
                    <a:lnTo>
                      <a:pt x="233" y="373"/>
                    </a:lnTo>
                    <a:lnTo>
                      <a:pt x="233" y="375"/>
                    </a:lnTo>
                    <a:lnTo>
                      <a:pt x="231" y="377"/>
                    </a:lnTo>
                    <a:lnTo>
                      <a:pt x="231" y="379"/>
                    </a:lnTo>
                    <a:lnTo>
                      <a:pt x="233" y="379"/>
                    </a:lnTo>
                    <a:lnTo>
                      <a:pt x="233" y="381"/>
                    </a:lnTo>
                    <a:lnTo>
                      <a:pt x="235" y="381"/>
                    </a:lnTo>
                    <a:lnTo>
                      <a:pt x="237" y="381"/>
                    </a:lnTo>
                    <a:lnTo>
                      <a:pt x="239" y="381"/>
                    </a:lnTo>
                    <a:lnTo>
                      <a:pt x="241" y="381"/>
                    </a:lnTo>
                    <a:lnTo>
                      <a:pt x="242" y="383"/>
                    </a:lnTo>
                    <a:lnTo>
                      <a:pt x="242" y="385"/>
                    </a:lnTo>
                    <a:lnTo>
                      <a:pt x="244" y="385"/>
                    </a:lnTo>
                    <a:lnTo>
                      <a:pt x="244" y="387"/>
                    </a:lnTo>
                    <a:lnTo>
                      <a:pt x="242" y="389"/>
                    </a:lnTo>
                    <a:lnTo>
                      <a:pt x="242" y="387"/>
                    </a:lnTo>
                    <a:lnTo>
                      <a:pt x="244" y="387"/>
                    </a:lnTo>
                    <a:lnTo>
                      <a:pt x="244" y="385"/>
                    </a:lnTo>
                    <a:lnTo>
                      <a:pt x="242" y="385"/>
                    </a:lnTo>
                    <a:lnTo>
                      <a:pt x="242" y="383"/>
                    </a:lnTo>
                    <a:lnTo>
                      <a:pt x="241" y="385"/>
                    </a:lnTo>
                    <a:lnTo>
                      <a:pt x="239" y="385"/>
                    </a:lnTo>
                    <a:lnTo>
                      <a:pt x="237" y="385"/>
                    </a:lnTo>
                    <a:lnTo>
                      <a:pt x="239" y="385"/>
                    </a:lnTo>
                    <a:lnTo>
                      <a:pt x="239" y="383"/>
                    </a:lnTo>
                    <a:lnTo>
                      <a:pt x="237" y="383"/>
                    </a:lnTo>
                    <a:lnTo>
                      <a:pt x="237" y="385"/>
                    </a:lnTo>
                    <a:lnTo>
                      <a:pt x="235" y="385"/>
                    </a:lnTo>
                    <a:lnTo>
                      <a:pt x="235" y="383"/>
                    </a:lnTo>
                    <a:lnTo>
                      <a:pt x="233" y="383"/>
                    </a:lnTo>
                    <a:lnTo>
                      <a:pt x="235" y="383"/>
                    </a:lnTo>
                    <a:lnTo>
                      <a:pt x="235" y="385"/>
                    </a:lnTo>
                    <a:lnTo>
                      <a:pt x="233" y="385"/>
                    </a:lnTo>
                    <a:lnTo>
                      <a:pt x="231" y="385"/>
                    </a:lnTo>
                    <a:lnTo>
                      <a:pt x="229" y="385"/>
                    </a:lnTo>
                    <a:lnTo>
                      <a:pt x="231" y="385"/>
                    </a:lnTo>
                    <a:lnTo>
                      <a:pt x="233" y="385"/>
                    </a:lnTo>
                    <a:lnTo>
                      <a:pt x="235" y="385"/>
                    </a:lnTo>
                    <a:lnTo>
                      <a:pt x="235" y="387"/>
                    </a:lnTo>
                    <a:lnTo>
                      <a:pt x="233" y="387"/>
                    </a:lnTo>
                    <a:lnTo>
                      <a:pt x="235" y="387"/>
                    </a:lnTo>
                    <a:lnTo>
                      <a:pt x="233" y="387"/>
                    </a:lnTo>
                    <a:lnTo>
                      <a:pt x="233" y="389"/>
                    </a:lnTo>
                    <a:lnTo>
                      <a:pt x="235" y="389"/>
                    </a:lnTo>
                    <a:lnTo>
                      <a:pt x="235" y="391"/>
                    </a:lnTo>
                    <a:lnTo>
                      <a:pt x="237" y="391"/>
                    </a:lnTo>
                    <a:lnTo>
                      <a:pt x="239" y="393"/>
                    </a:lnTo>
                    <a:lnTo>
                      <a:pt x="241" y="393"/>
                    </a:lnTo>
                    <a:lnTo>
                      <a:pt x="242" y="393"/>
                    </a:lnTo>
                    <a:lnTo>
                      <a:pt x="242" y="391"/>
                    </a:lnTo>
                    <a:lnTo>
                      <a:pt x="241" y="391"/>
                    </a:lnTo>
                    <a:lnTo>
                      <a:pt x="242" y="391"/>
                    </a:lnTo>
                    <a:lnTo>
                      <a:pt x="242" y="393"/>
                    </a:lnTo>
                    <a:lnTo>
                      <a:pt x="242" y="394"/>
                    </a:lnTo>
                    <a:lnTo>
                      <a:pt x="242" y="396"/>
                    </a:lnTo>
                    <a:lnTo>
                      <a:pt x="242" y="398"/>
                    </a:lnTo>
                    <a:lnTo>
                      <a:pt x="241" y="398"/>
                    </a:lnTo>
                    <a:lnTo>
                      <a:pt x="241" y="400"/>
                    </a:lnTo>
                    <a:lnTo>
                      <a:pt x="242" y="402"/>
                    </a:lnTo>
                    <a:lnTo>
                      <a:pt x="241" y="402"/>
                    </a:lnTo>
                    <a:lnTo>
                      <a:pt x="241" y="400"/>
                    </a:lnTo>
                    <a:lnTo>
                      <a:pt x="241" y="398"/>
                    </a:lnTo>
                    <a:lnTo>
                      <a:pt x="241" y="400"/>
                    </a:lnTo>
                    <a:lnTo>
                      <a:pt x="241" y="398"/>
                    </a:lnTo>
                    <a:lnTo>
                      <a:pt x="242" y="398"/>
                    </a:lnTo>
                    <a:lnTo>
                      <a:pt x="242" y="396"/>
                    </a:lnTo>
                    <a:lnTo>
                      <a:pt x="241" y="396"/>
                    </a:lnTo>
                    <a:lnTo>
                      <a:pt x="241" y="394"/>
                    </a:lnTo>
                    <a:lnTo>
                      <a:pt x="241" y="396"/>
                    </a:lnTo>
                    <a:lnTo>
                      <a:pt x="241" y="394"/>
                    </a:lnTo>
                    <a:lnTo>
                      <a:pt x="241" y="396"/>
                    </a:lnTo>
                    <a:lnTo>
                      <a:pt x="241" y="394"/>
                    </a:lnTo>
                    <a:lnTo>
                      <a:pt x="241" y="396"/>
                    </a:lnTo>
                    <a:lnTo>
                      <a:pt x="239" y="396"/>
                    </a:lnTo>
                    <a:lnTo>
                      <a:pt x="241" y="396"/>
                    </a:lnTo>
                    <a:lnTo>
                      <a:pt x="241" y="398"/>
                    </a:lnTo>
                    <a:lnTo>
                      <a:pt x="241" y="396"/>
                    </a:lnTo>
                    <a:lnTo>
                      <a:pt x="241" y="398"/>
                    </a:lnTo>
                    <a:lnTo>
                      <a:pt x="241" y="400"/>
                    </a:lnTo>
                    <a:lnTo>
                      <a:pt x="241" y="402"/>
                    </a:lnTo>
                    <a:lnTo>
                      <a:pt x="241" y="404"/>
                    </a:lnTo>
                    <a:lnTo>
                      <a:pt x="241" y="402"/>
                    </a:lnTo>
                    <a:lnTo>
                      <a:pt x="241" y="404"/>
                    </a:lnTo>
                    <a:lnTo>
                      <a:pt x="241" y="406"/>
                    </a:lnTo>
                    <a:lnTo>
                      <a:pt x="239" y="404"/>
                    </a:lnTo>
                    <a:lnTo>
                      <a:pt x="239" y="406"/>
                    </a:lnTo>
                    <a:lnTo>
                      <a:pt x="241" y="406"/>
                    </a:lnTo>
                    <a:lnTo>
                      <a:pt x="241" y="408"/>
                    </a:lnTo>
                    <a:lnTo>
                      <a:pt x="242" y="408"/>
                    </a:lnTo>
                    <a:lnTo>
                      <a:pt x="242" y="406"/>
                    </a:lnTo>
                    <a:lnTo>
                      <a:pt x="241" y="406"/>
                    </a:lnTo>
                    <a:lnTo>
                      <a:pt x="242" y="406"/>
                    </a:lnTo>
                    <a:lnTo>
                      <a:pt x="242" y="404"/>
                    </a:lnTo>
                    <a:lnTo>
                      <a:pt x="242" y="406"/>
                    </a:lnTo>
                    <a:lnTo>
                      <a:pt x="242" y="408"/>
                    </a:lnTo>
                    <a:lnTo>
                      <a:pt x="242" y="410"/>
                    </a:lnTo>
                    <a:lnTo>
                      <a:pt x="241" y="410"/>
                    </a:lnTo>
                    <a:lnTo>
                      <a:pt x="241" y="412"/>
                    </a:lnTo>
                    <a:lnTo>
                      <a:pt x="241" y="414"/>
                    </a:lnTo>
                    <a:lnTo>
                      <a:pt x="241" y="412"/>
                    </a:lnTo>
                    <a:lnTo>
                      <a:pt x="239" y="412"/>
                    </a:lnTo>
                    <a:lnTo>
                      <a:pt x="241" y="414"/>
                    </a:lnTo>
                    <a:lnTo>
                      <a:pt x="241" y="412"/>
                    </a:lnTo>
                    <a:lnTo>
                      <a:pt x="241" y="414"/>
                    </a:lnTo>
                    <a:lnTo>
                      <a:pt x="239" y="414"/>
                    </a:lnTo>
                    <a:lnTo>
                      <a:pt x="239" y="416"/>
                    </a:lnTo>
                    <a:lnTo>
                      <a:pt x="239" y="414"/>
                    </a:lnTo>
                    <a:lnTo>
                      <a:pt x="241" y="414"/>
                    </a:lnTo>
                    <a:lnTo>
                      <a:pt x="241" y="416"/>
                    </a:lnTo>
                    <a:lnTo>
                      <a:pt x="241" y="418"/>
                    </a:lnTo>
                    <a:lnTo>
                      <a:pt x="241" y="419"/>
                    </a:lnTo>
                    <a:lnTo>
                      <a:pt x="241" y="418"/>
                    </a:lnTo>
                    <a:lnTo>
                      <a:pt x="239" y="418"/>
                    </a:lnTo>
                    <a:lnTo>
                      <a:pt x="239" y="419"/>
                    </a:lnTo>
                    <a:lnTo>
                      <a:pt x="239" y="418"/>
                    </a:lnTo>
                    <a:lnTo>
                      <a:pt x="237" y="418"/>
                    </a:lnTo>
                    <a:lnTo>
                      <a:pt x="239" y="418"/>
                    </a:lnTo>
                    <a:lnTo>
                      <a:pt x="239" y="419"/>
                    </a:lnTo>
                    <a:lnTo>
                      <a:pt x="241" y="419"/>
                    </a:lnTo>
                    <a:lnTo>
                      <a:pt x="241" y="418"/>
                    </a:lnTo>
                    <a:lnTo>
                      <a:pt x="241" y="416"/>
                    </a:lnTo>
                    <a:lnTo>
                      <a:pt x="241" y="414"/>
                    </a:lnTo>
                    <a:lnTo>
                      <a:pt x="241" y="412"/>
                    </a:lnTo>
                    <a:lnTo>
                      <a:pt x="241" y="414"/>
                    </a:lnTo>
                    <a:lnTo>
                      <a:pt x="241" y="416"/>
                    </a:lnTo>
                    <a:lnTo>
                      <a:pt x="241" y="418"/>
                    </a:lnTo>
                    <a:lnTo>
                      <a:pt x="241" y="419"/>
                    </a:lnTo>
                    <a:lnTo>
                      <a:pt x="241" y="421"/>
                    </a:lnTo>
                    <a:lnTo>
                      <a:pt x="241" y="423"/>
                    </a:lnTo>
                    <a:lnTo>
                      <a:pt x="242" y="427"/>
                    </a:lnTo>
                    <a:lnTo>
                      <a:pt x="242" y="429"/>
                    </a:lnTo>
                    <a:lnTo>
                      <a:pt x="242" y="431"/>
                    </a:lnTo>
                    <a:lnTo>
                      <a:pt x="244" y="435"/>
                    </a:lnTo>
                    <a:lnTo>
                      <a:pt x="246" y="441"/>
                    </a:lnTo>
                    <a:lnTo>
                      <a:pt x="246" y="443"/>
                    </a:lnTo>
                    <a:lnTo>
                      <a:pt x="246" y="444"/>
                    </a:lnTo>
                    <a:lnTo>
                      <a:pt x="248" y="444"/>
                    </a:lnTo>
                    <a:lnTo>
                      <a:pt x="248" y="446"/>
                    </a:lnTo>
                    <a:lnTo>
                      <a:pt x="248" y="448"/>
                    </a:lnTo>
                    <a:lnTo>
                      <a:pt x="250" y="448"/>
                    </a:lnTo>
                    <a:lnTo>
                      <a:pt x="250" y="450"/>
                    </a:lnTo>
                    <a:lnTo>
                      <a:pt x="250" y="452"/>
                    </a:lnTo>
                    <a:lnTo>
                      <a:pt x="252" y="454"/>
                    </a:lnTo>
                    <a:lnTo>
                      <a:pt x="252" y="456"/>
                    </a:lnTo>
                    <a:lnTo>
                      <a:pt x="254" y="458"/>
                    </a:lnTo>
                    <a:lnTo>
                      <a:pt x="254" y="460"/>
                    </a:lnTo>
                    <a:lnTo>
                      <a:pt x="256" y="460"/>
                    </a:lnTo>
                    <a:lnTo>
                      <a:pt x="256" y="462"/>
                    </a:lnTo>
                    <a:lnTo>
                      <a:pt x="256" y="460"/>
                    </a:lnTo>
                    <a:lnTo>
                      <a:pt x="254" y="460"/>
                    </a:lnTo>
                    <a:lnTo>
                      <a:pt x="254" y="458"/>
                    </a:lnTo>
                    <a:lnTo>
                      <a:pt x="252" y="458"/>
                    </a:lnTo>
                    <a:lnTo>
                      <a:pt x="250" y="458"/>
                    </a:lnTo>
                    <a:lnTo>
                      <a:pt x="250" y="456"/>
                    </a:lnTo>
                    <a:lnTo>
                      <a:pt x="248" y="456"/>
                    </a:lnTo>
                    <a:lnTo>
                      <a:pt x="248" y="458"/>
                    </a:lnTo>
                    <a:lnTo>
                      <a:pt x="248" y="456"/>
                    </a:lnTo>
                    <a:lnTo>
                      <a:pt x="248" y="458"/>
                    </a:lnTo>
                    <a:lnTo>
                      <a:pt x="248" y="456"/>
                    </a:lnTo>
                    <a:lnTo>
                      <a:pt x="250" y="456"/>
                    </a:lnTo>
                    <a:lnTo>
                      <a:pt x="248" y="456"/>
                    </a:lnTo>
                    <a:lnTo>
                      <a:pt x="250" y="456"/>
                    </a:lnTo>
                    <a:lnTo>
                      <a:pt x="250" y="458"/>
                    </a:lnTo>
                    <a:lnTo>
                      <a:pt x="252" y="458"/>
                    </a:lnTo>
                    <a:lnTo>
                      <a:pt x="254" y="458"/>
                    </a:lnTo>
                    <a:lnTo>
                      <a:pt x="254" y="460"/>
                    </a:lnTo>
                    <a:lnTo>
                      <a:pt x="256" y="460"/>
                    </a:lnTo>
                    <a:lnTo>
                      <a:pt x="256" y="462"/>
                    </a:lnTo>
                    <a:lnTo>
                      <a:pt x="258" y="462"/>
                    </a:lnTo>
                    <a:lnTo>
                      <a:pt x="258" y="464"/>
                    </a:lnTo>
                    <a:lnTo>
                      <a:pt x="258" y="466"/>
                    </a:lnTo>
                    <a:lnTo>
                      <a:pt x="258" y="468"/>
                    </a:lnTo>
                    <a:lnTo>
                      <a:pt x="260" y="468"/>
                    </a:lnTo>
                    <a:lnTo>
                      <a:pt x="258" y="468"/>
                    </a:lnTo>
                    <a:lnTo>
                      <a:pt x="258" y="466"/>
                    </a:lnTo>
                    <a:lnTo>
                      <a:pt x="260" y="466"/>
                    </a:lnTo>
                    <a:lnTo>
                      <a:pt x="260" y="468"/>
                    </a:lnTo>
                    <a:lnTo>
                      <a:pt x="262" y="468"/>
                    </a:lnTo>
                    <a:lnTo>
                      <a:pt x="260" y="466"/>
                    </a:lnTo>
                    <a:lnTo>
                      <a:pt x="258" y="464"/>
                    </a:lnTo>
                    <a:lnTo>
                      <a:pt x="260" y="464"/>
                    </a:lnTo>
                    <a:lnTo>
                      <a:pt x="260" y="466"/>
                    </a:lnTo>
                    <a:lnTo>
                      <a:pt x="260" y="464"/>
                    </a:lnTo>
                    <a:lnTo>
                      <a:pt x="258" y="464"/>
                    </a:lnTo>
                    <a:lnTo>
                      <a:pt x="260" y="464"/>
                    </a:lnTo>
                    <a:lnTo>
                      <a:pt x="262" y="466"/>
                    </a:lnTo>
                    <a:lnTo>
                      <a:pt x="262" y="468"/>
                    </a:lnTo>
                    <a:lnTo>
                      <a:pt x="264" y="468"/>
                    </a:lnTo>
                    <a:lnTo>
                      <a:pt x="265" y="469"/>
                    </a:lnTo>
                    <a:lnTo>
                      <a:pt x="267" y="469"/>
                    </a:lnTo>
                    <a:lnTo>
                      <a:pt x="269" y="469"/>
                    </a:lnTo>
                    <a:lnTo>
                      <a:pt x="267" y="469"/>
                    </a:lnTo>
                    <a:lnTo>
                      <a:pt x="267" y="471"/>
                    </a:lnTo>
                    <a:lnTo>
                      <a:pt x="269" y="471"/>
                    </a:lnTo>
                    <a:lnTo>
                      <a:pt x="269" y="473"/>
                    </a:lnTo>
                    <a:lnTo>
                      <a:pt x="267" y="473"/>
                    </a:lnTo>
                    <a:lnTo>
                      <a:pt x="269" y="473"/>
                    </a:lnTo>
                    <a:lnTo>
                      <a:pt x="271" y="473"/>
                    </a:lnTo>
                    <a:lnTo>
                      <a:pt x="271" y="475"/>
                    </a:lnTo>
                    <a:lnTo>
                      <a:pt x="271" y="473"/>
                    </a:lnTo>
                    <a:lnTo>
                      <a:pt x="271" y="475"/>
                    </a:lnTo>
                    <a:lnTo>
                      <a:pt x="271" y="473"/>
                    </a:lnTo>
                    <a:lnTo>
                      <a:pt x="273" y="475"/>
                    </a:lnTo>
                    <a:lnTo>
                      <a:pt x="273" y="473"/>
                    </a:lnTo>
                    <a:lnTo>
                      <a:pt x="273" y="471"/>
                    </a:lnTo>
                    <a:lnTo>
                      <a:pt x="271" y="471"/>
                    </a:lnTo>
                    <a:lnTo>
                      <a:pt x="271" y="469"/>
                    </a:lnTo>
                    <a:lnTo>
                      <a:pt x="271" y="471"/>
                    </a:lnTo>
                    <a:lnTo>
                      <a:pt x="271" y="469"/>
                    </a:lnTo>
                    <a:lnTo>
                      <a:pt x="271" y="471"/>
                    </a:lnTo>
                    <a:lnTo>
                      <a:pt x="271" y="473"/>
                    </a:lnTo>
                    <a:lnTo>
                      <a:pt x="269" y="471"/>
                    </a:lnTo>
                    <a:lnTo>
                      <a:pt x="269" y="469"/>
                    </a:lnTo>
                    <a:lnTo>
                      <a:pt x="271" y="469"/>
                    </a:lnTo>
                    <a:lnTo>
                      <a:pt x="273" y="469"/>
                    </a:lnTo>
                    <a:lnTo>
                      <a:pt x="275" y="469"/>
                    </a:lnTo>
                    <a:lnTo>
                      <a:pt x="277" y="469"/>
                    </a:lnTo>
                    <a:lnTo>
                      <a:pt x="277" y="468"/>
                    </a:lnTo>
                    <a:lnTo>
                      <a:pt x="279" y="468"/>
                    </a:lnTo>
                    <a:lnTo>
                      <a:pt x="281" y="468"/>
                    </a:lnTo>
                    <a:lnTo>
                      <a:pt x="279" y="468"/>
                    </a:lnTo>
                    <a:lnTo>
                      <a:pt x="279" y="469"/>
                    </a:lnTo>
                    <a:lnTo>
                      <a:pt x="279" y="468"/>
                    </a:lnTo>
                    <a:lnTo>
                      <a:pt x="281" y="469"/>
                    </a:lnTo>
                    <a:lnTo>
                      <a:pt x="281" y="471"/>
                    </a:lnTo>
                    <a:lnTo>
                      <a:pt x="281" y="473"/>
                    </a:lnTo>
                    <a:lnTo>
                      <a:pt x="281" y="475"/>
                    </a:lnTo>
                    <a:lnTo>
                      <a:pt x="281" y="473"/>
                    </a:lnTo>
                    <a:lnTo>
                      <a:pt x="279" y="473"/>
                    </a:lnTo>
                    <a:lnTo>
                      <a:pt x="277" y="473"/>
                    </a:lnTo>
                    <a:lnTo>
                      <a:pt x="279" y="473"/>
                    </a:lnTo>
                    <a:lnTo>
                      <a:pt x="281" y="473"/>
                    </a:lnTo>
                    <a:lnTo>
                      <a:pt x="279" y="473"/>
                    </a:lnTo>
                    <a:lnTo>
                      <a:pt x="279" y="475"/>
                    </a:lnTo>
                    <a:lnTo>
                      <a:pt x="279" y="473"/>
                    </a:lnTo>
                    <a:lnTo>
                      <a:pt x="281" y="475"/>
                    </a:lnTo>
                    <a:lnTo>
                      <a:pt x="283" y="475"/>
                    </a:lnTo>
                    <a:lnTo>
                      <a:pt x="283" y="473"/>
                    </a:lnTo>
                    <a:lnTo>
                      <a:pt x="283" y="471"/>
                    </a:lnTo>
                    <a:lnTo>
                      <a:pt x="283" y="469"/>
                    </a:lnTo>
                    <a:lnTo>
                      <a:pt x="283" y="468"/>
                    </a:lnTo>
                    <a:lnTo>
                      <a:pt x="283" y="466"/>
                    </a:lnTo>
                    <a:lnTo>
                      <a:pt x="281" y="466"/>
                    </a:lnTo>
                    <a:lnTo>
                      <a:pt x="281" y="468"/>
                    </a:lnTo>
                    <a:lnTo>
                      <a:pt x="281" y="466"/>
                    </a:lnTo>
                    <a:lnTo>
                      <a:pt x="279" y="466"/>
                    </a:lnTo>
                    <a:lnTo>
                      <a:pt x="279" y="464"/>
                    </a:lnTo>
                    <a:lnTo>
                      <a:pt x="277" y="462"/>
                    </a:lnTo>
                    <a:lnTo>
                      <a:pt x="277" y="460"/>
                    </a:lnTo>
                    <a:lnTo>
                      <a:pt x="275" y="460"/>
                    </a:lnTo>
                    <a:lnTo>
                      <a:pt x="277" y="458"/>
                    </a:lnTo>
                    <a:lnTo>
                      <a:pt x="275" y="458"/>
                    </a:lnTo>
                    <a:lnTo>
                      <a:pt x="275" y="456"/>
                    </a:lnTo>
                    <a:lnTo>
                      <a:pt x="277" y="456"/>
                    </a:lnTo>
                    <a:lnTo>
                      <a:pt x="277" y="454"/>
                    </a:lnTo>
                    <a:lnTo>
                      <a:pt x="279" y="454"/>
                    </a:lnTo>
                    <a:lnTo>
                      <a:pt x="279" y="452"/>
                    </a:lnTo>
                    <a:lnTo>
                      <a:pt x="279" y="454"/>
                    </a:lnTo>
                    <a:lnTo>
                      <a:pt x="281" y="454"/>
                    </a:lnTo>
                    <a:lnTo>
                      <a:pt x="281" y="452"/>
                    </a:lnTo>
                    <a:lnTo>
                      <a:pt x="283" y="452"/>
                    </a:lnTo>
                    <a:lnTo>
                      <a:pt x="283" y="454"/>
                    </a:lnTo>
                    <a:lnTo>
                      <a:pt x="283" y="452"/>
                    </a:lnTo>
                    <a:lnTo>
                      <a:pt x="285" y="452"/>
                    </a:lnTo>
                    <a:lnTo>
                      <a:pt x="287" y="452"/>
                    </a:lnTo>
                    <a:lnTo>
                      <a:pt x="289" y="452"/>
                    </a:lnTo>
                    <a:lnTo>
                      <a:pt x="290" y="452"/>
                    </a:lnTo>
                    <a:lnTo>
                      <a:pt x="292" y="452"/>
                    </a:lnTo>
                    <a:lnTo>
                      <a:pt x="294" y="452"/>
                    </a:lnTo>
                    <a:lnTo>
                      <a:pt x="294" y="450"/>
                    </a:lnTo>
                    <a:lnTo>
                      <a:pt x="296" y="450"/>
                    </a:lnTo>
                    <a:lnTo>
                      <a:pt x="298" y="450"/>
                    </a:lnTo>
                    <a:lnTo>
                      <a:pt x="300" y="450"/>
                    </a:lnTo>
                    <a:lnTo>
                      <a:pt x="300" y="452"/>
                    </a:lnTo>
                    <a:lnTo>
                      <a:pt x="302" y="452"/>
                    </a:lnTo>
                    <a:lnTo>
                      <a:pt x="304" y="452"/>
                    </a:lnTo>
                    <a:lnTo>
                      <a:pt x="302" y="452"/>
                    </a:lnTo>
                    <a:lnTo>
                      <a:pt x="302" y="454"/>
                    </a:lnTo>
                    <a:lnTo>
                      <a:pt x="304" y="454"/>
                    </a:lnTo>
                    <a:lnTo>
                      <a:pt x="304" y="456"/>
                    </a:lnTo>
                    <a:lnTo>
                      <a:pt x="304" y="458"/>
                    </a:lnTo>
                    <a:lnTo>
                      <a:pt x="306" y="458"/>
                    </a:lnTo>
                    <a:lnTo>
                      <a:pt x="306" y="460"/>
                    </a:lnTo>
                    <a:lnTo>
                      <a:pt x="306" y="462"/>
                    </a:lnTo>
                    <a:lnTo>
                      <a:pt x="306" y="464"/>
                    </a:lnTo>
                    <a:lnTo>
                      <a:pt x="306" y="466"/>
                    </a:lnTo>
                    <a:lnTo>
                      <a:pt x="308" y="469"/>
                    </a:lnTo>
                    <a:lnTo>
                      <a:pt x="308" y="471"/>
                    </a:lnTo>
                    <a:lnTo>
                      <a:pt x="308" y="473"/>
                    </a:lnTo>
                    <a:lnTo>
                      <a:pt x="306" y="473"/>
                    </a:lnTo>
                    <a:lnTo>
                      <a:pt x="306" y="475"/>
                    </a:lnTo>
                    <a:lnTo>
                      <a:pt x="306" y="477"/>
                    </a:lnTo>
                    <a:lnTo>
                      <a:pt x="306" y="479"/>
                    </a:lnTo>
                    <a:lnTo>
                      <a:pt x="306" y="481"/>
                    </a:lnTo>
                    <a:lnTo>
                      <a:pt x="306" y="483"/>
                    </a:lnTo>
                    <a:lnTo>
                      <a:pt x="306" y="485"/>
                    </a:lnTo>
                    <a:lnTo>
                      <a:pt x="304" y="485"/>
                    </a:lnTo>
                    <a:lnTo>
                      <a:pt x="304" y="487"/>
                    </a:lnTo>
                    <a:lnTo>
                      <a:pt x="302" y="487"/>
                    </a:lnTo>
                    <a:lnTo>
                      <a:pt x="300" y="487"/>
                    </a:lnTo>
                    <a:lnTo>
                      <a:pt x="298" y="487"/>
                    </a:lnTo>
                    <a:lnTo>
                      <a:pt x="298" y="489"/>
                    </a:lnTo>
                    <a:lnTo>
                      <a:pt x="298" y="491"/>
                    </a:lnTo>
                    <a:lnTo>
                      <a:pt x="296" y="491"/>
                    </a:lnTo>
                    <a:lnTo>
                      <a:pt x="296" y="489"/>
                    </a:lnTo>
                    <a:lnTo>
                      <a:pt x="296" y="491"/>
                    </a:lnTo>
                    <a:lnTo>
                      <a:pt x="294" y="491"/>
                    </a:lnTo>
                    <a:lnTo>
                      <a:pt x="296" y="491"/>
                    </a:lnTo>
                    <a:lnTo>
                      <a:pt x="296" y="489"/>
                    </a:lnTo>
                    <a:lnTo>
                      <a:pt x="296" y="491"/>
                    </a:lnTo>
                    <a:lnTo>
                      <a:pt x="298" y="491"/>
                    </a:lnTo>
                    <a:lnTo>
                      <a:pt x="298" y="489"/>
                    </a:lnTo>
                    <a:lnTo>
                      <a:pt x="298" y="487"/>
                    </a:lnTo>
                    <a:lnTo>
                      <a:pt x="300" y="487"/>
                    </a:lnTo>
                    <a:lnTo>
                      <a:pt x="302" y="487"/>
                    </a:lnTo>
                    <a:lnTo>
                      <a:pt x="304" y="487"/>
                    </a:lnTo>
                    <a:lnTo>
                      <a:pt x="304" y="485"/>
                    </a:lnTo>
                    <a:lnTo>
                      <a:pt x="306" y="485"/>
                    </a:lnTo>
                    <a:lnTo>
                      <a:pt x="306" y="483"/>
                    </a:lnTo>
                    <a:lnTo>
                      <a:pt x="308" y="485"/>
                    </a:lnTo>
                    <a:lnTo>
                      <a:pt x="308" y="487"/>
                    </a:lnTo>
                    <a:lnTo>
                      <a:pt x="310" y="489"/>
                    </a:lnTo>
                    <a:lnTo>
                      <a:pt x="312" y="489"/>
                    </a:lnTo>
                    <a:lnTo>
                      <a:pt x="312" y="491"/>
                    </a:lnTo>
                    <a:lnTo>
                      <a:pt x="314" y="491"/>
                    </a:lnTo>
                    <a:lnTo>
                      <a:pt x="314" y="493"/>
                    </a:lnTo>
                    <a:lnTo>
                      <a:pt x="315" y="493"/>
                    </a:lnTo>
                    <a:lnTo>
                      <a:pt x="315" y="494"/>
                    </a:lnTo>
                    <a:lnTo>
                      <a:pt x="317" y="494"/>
                    </a:lnTo>
                    <a:lnTo>
                      <a:pt x="319" y="496"/>
                    </a:lnTo>
                    <a:lnTo>
                      <a:pt x="321" y="496"/>
                    </a:lnTo>
                    <a:lnTo>
                      <a:pt x="321" y="498"/>
                    </a:lnTo>
                    <a:lnTo>
                      <a:pt x="323" y="500"/>
                    </a:lnTo>
                    <a:lnTo>
                      <a:pt x="323" y="502"/>
                    </a:lnTo>
                    <a:lnTo>
                      <a:pt x="325" y="504"/>
                    </a:lnTo>
                    <a:lnTo>
                      <a:pt x="325" y="506"/>
                    </a:lnTo>
                    <a:lnTo>
                      <a:pt x="327" y="508"/>
                    </a:lnTo>
                    <a:lnTo>
                      <a:pt x="327" y="510"/>
                    </a:lnTo>
                    <a:lnTo>
                      <a:pt x="329" y="510"/>
                    </a:lnTo>
                    <a:lnTo>
                      <a:pt x="329" y="512"/>
                    </a:lnTo>
                    <a:lnTo>
                      <a:pt x="331" y="512"/>
                    </a:lnTo>
                    <a:lnTo>
                      <a:pt x="331" y="514"/>
                    </a:lnTo>
                    <a:lnTo>
                      <a:pt x="333" y="514"/>
                    </a:lnTo>
                    <a:lnTo>
                      <a:pt x="335" y="514"/>
                    </a:lnTo>
                    <a:lnTo>
                      <a:pt x="337" y="514"/>
                    </a:lnTo>
                    <a:lnTo>
                      <a:pt x="338" y="514"/>
                    </a:lnTo>
                    <a:lnTo>
                      <a:pt x="337" y="514"/>
                    </a:lnTo>
                    <a:lnTo>
                      <a:pt x="337" y="516"/>
                    </a:lnTo>
                    <a:lnTo>
                      <a:pt x="335" y="516"/>
                    </a:lnTo>
                    <a:lnTo>
                      <a:pt x="337" y="516"/>
                    </a:lnTo>
                    <a:lnTo>
                      <a:pt x="338" y="516"/>
                    </a:lnTo>
                    <a:lnTo>
                      <a:pt x="338" y="514"/>
                    </a:lnTo>
                    <a:lnTo>
                      <a:pt x="338" y="512"/>
                    </a:lnTo>
                    <a:lnTo>
                      <a:pt x="338" y="510"/>
                    </a:lnTo>
                    <a:lnTo>
                      <a:pt x="340" y="510"/>
                    </a:lnTo>
                    <a:lnTo>
                      <a:pt x="338" y="510"/>
                    </a:lnTo>
                    <a:lnTo>
                      <a:pt x="338" y="508"/>
                    </a:lnTo>
                    <a:lnTo>
                      <a:pt x="340" y="508"/>
                    </a:lnTo>
                    <a:lnTo>
                      <a:pt x="342" y="508"/>
                    </a:lnTo>
                    <a:lnTo>
                      <a:pt x="342" y="506"/>
                    </a:lnTo>
                    <a:lnTo>
                      <a:pt x="344" y="506"/>
                    </a:lnTo>
                    <a:lnTo>
                      <a:pt x="344" y="508"/>
                    </a:lnTo>
                    <a:lnTo>
                      <a:pt x="346" y="508"/>
                    </a:lnTo>
                    <a:lnTo>
                      <a:pt x="348" y="508"/>
                    </a:lnTo>
                    <a:lnTo>
                      <a:pt x="348" y="510"/>
                    </a:lnTo>
                    <a:lnTo>
                      <a:pt x="348" y="512"/>
                    </a:lnTo>
                    <a:lnTo>
                      <a:pt x="350" y="512"/>
                    </a:lnTo>
                    <a:lnTo>
                      <a:pt x="350" y="514"/>
                    </a:lnTo>
                    <a:lnTo>
                      <a:pt x="352" y="514"/>
                    </a:lnTo>
                    <a:lnTo>
                      <a:pt x="352" y="516"/>
                    </a:lnTo>
                    <a:lnTo>
                      <a:pt x="354" y="516"/>
                    </a:lnTo>
                    <a:lnTo>
                      <a:pt x="354" y="518"/>
                    </a:lnTo>
                    <a:lnTo>
                      <a:pt x="356" y="518"/>
                    </a:lnTo>
                    <a:lnTo>
                      <a:pt x="356" y="519"/>
                    </a:lnTo>
                    <a:lnTo>
                      <a:pt x="358" y="521"/>
                    </a:lnTo>
                    <a:lnTo>
                      <a:pt x="360" y="521"/>
                    </a:lnTo>
                    <a:lnTo>
                      <a:pt x="362" y="523"/>
                    </a:lnTo>
                    <a:lnTo>
                      <a:pt x="363" y="523"/>
                    </a:lnTo>
                    <a:lnTo>
                      <a:pt x="363" y="525"/>
                    </a:lnTo>
                    <a:lnTo>
                      <a:pt x="365" y="525"/>
                    </a:lnTo>
                    <a:lnTo>
                      <a:pt x="365" y="527"/>
                    </a:lnTo>
                    <a:lnTo>
                      <a:pt x="367" y="527"/>
                    </a:lnTo>
                    <a:lnTo>
                      <a:pt x="367" y="529"/>
                    </a:lnTo>
                    <a:lnTo>
                      <a:pt x="369" y="529"/>
                    </a:lnTo>
                    <a:lnTo>
                      <a:pt x="369" y="531"/>
                    </a:lnTo>
                    <a:lnTo>
                      <a:pt x="371" y="531"/>
                    </a:lnTo>
                    <a:lnTo>
                      <a:pt x="371" y="533"/>
                    </a:lnTo>
                    <a:lnTo>
                      <a:pt x="371" y="535"/>
                    </a:lnTo>
                    <a:lnTo>
                      <a:pt x="369" y="537"/>
                    </a:lnTo>
                    <a:lnTo>
                      <a:pt x="369" y="539"/>
                    </a:lnTo>
                    <a:lnTo>
                      <a:pt x="369" y="541"/>
                    </a:lnTo>
                    <a:lnTo>
                      <a:pt x="369" y="543"/>
                    </a:lnTo>
                    <a:lnTo>
                      <a:pt x="369" y="544"/>
                    </a:lnTo>
                    <a:lnTo>
                      <a:pt x="369" y="546"/>
                    </a:lnTo>
                    <a:lnTo>
                      <a:pt x="371" y="546"/>
                    </a:lnTo>
                    <a:lnTo>
                      <a:pt x="371" y="548"/>
                    </a:lnTo>
                    <a:lnTo>
                      <a:pt x="369" y="548"/>
                    </a:lnTo>
                    <a:lnTo>
                      <a:pt x="367" y="548"/>
                    </a:lnTo>
                    <a:lnTo>
                      <a:pt x="367" y="550"/>
                    </a:lnTo>
                    <a:lnTo>
                      <a:pt x="365" y="550"/>
                    </a:lnTo>
                    <a:lnTo>
                      <a:pt x="363" y="550"/>
                    </a:lnTo>
                    <a:lnTo>
                      <a:pt x="362" y="550"/>
                    </a:lnTo>
                    <a:lnTo>
                      <a:pt x="362" y="548"/>
                    </a:lnTo>
                    <a:lnTo>
                      <a:pt x="360" y="548"/>
                    </a:lnTo>
                    <a:lnTo>
                      <a:pt x="358" y="548"/>
                    </a:lnTo>
                    <a:lnTo>
                      <a:pt x="358" y="546"/>
                    </a:lnTo>
                    <a:lnTo>
                      <a:pt x="356" y="546"/>
                    </a:lnTo>
                    <a:lnTo>
                      <a:pt x="354" y="546"/>
                    </a:lnTo>
                    <a:lnTo>
                      <a:pt x="352" y="546"/>
                    </a:lnTo>
                    <a:lnTo>
                      <a:pt x="352" y="544"/>
                    </a:lnTo>
                    <a:lnTo>
                      <a:pt x="350" y="544"/>
                    </a:lnTo>
                    <a:lnTo>
                      <a:pt x="348" y="546"/>
                    </a:lnTo>
                    <a:lnTo>
                      <a:pt x="348" y="548"/>
                    </a:lnTo>
                    <a:lnTo>
                      <a:pt x="348" y="546"/>
                    </a:lnTo>
                    <a:lnTo>
                      <a:pt x="350" y="544"/>
                    </a:lnTo>
                    <a:lnTo>
                      <a:pt x="350" y="543"/>
                    </a:lnTo>
                    <a:lnTo>
                      <a:pt x="350" y="541"/>
                    </a:lnTo>
                    <a:lnTo>
                      <a:pt x="350" y="539"/>
                    </a:lnTo>
                    <a:lnTo>
                      <a:pt x="350" y="537"/>
                    </a:lnTo>
                    <a:lnTo>
                      <a:pt x="348" y="537"/>
                    </a:lnTo>
                    <a:lnTo>
                      <a:pt x="348" y="535"/>
                    </a:lnTo>
                    <a:lnTo>
                      <a:pt x="350" y="535"/>
                    </a:lnTo>
                    <a:lnTo>
                      <a:pt x="350" y="533"/>
                    </a:lnTo>
                    <a:lnTo>
                      <a:pt x="352" y="533"/>
                    </a:lnTo>
                    <a:lnTo>
                      <a:pt x="352" y="531"/>
                    </a:lnTo>
                    <a:lnTo>
                      <a:pt x="352" y="529"/>
                    </a:lnTo>
                    <a:lnTo>
                      <a:pt x="350" y="529"/>
                    </a:lnTo>
                    <a:lnTo>
                      <a:pt x="350" y="527"/>
                    </a:lnTo>
                    <a:lnTo>
                      <a:pt x="352" y="527"/>
                    </a:lnTo>
                    <a:lnTo>
                      <a:pt x="352" y="525"/>
                    </a:lnTo>
                    <a:lnTo>
                      <a:pt x="350" y="525"/>
                    </a:lnTo>
                    <a:lnTo>
                      <a:pt x="352" y="525"/>
                    </a:lnTo>
                    <a:lnTo>
                      <a:pt x="352" y="523"/>
                    </a:lnTo>
                    <a:lnTo>
                      <a:pt x="352" y="521"/>
                    </a:lnTo>
                    <a:lnTo>
                      <a:pt x="350" y="521"/>
                    </a:lnTo>
                    <a:lnTo>
                      <a:pt x="350" y="519"/>
                    </a:lnTo>
                    <a:lnTo>
                      <a:pt x="348" y="519"/>
                    </a:lnTo>
                    <a:lnTo>
                      <a:pt x="348" y="521"/>
                    </a:lnTo>
                    <a:lnTo>
                      <a:pt x="346" y="521"/>
                    </a:lnTo>
                    <a:lnTo>
                      <a:pt x="346" y="519"/>
                    </a:lnTo>
                    <a:lnTo>
                      <a:pt x="346" y="521"/>
                    </a:lnTo>
                    <a:lnTo>
                      <a:pt x="346" y="523"/>
                    </a:lnTo>
                    <a:lnTo>
                      <a:pt x="348" y="525"/>
                    </a:lnTo>
                    <a:lnTo>
                      <a:pt x="348" y="527"/>
                    </a:lnTo>
                    <a:lnTo>
                      <a:pt x="350" y="527"/>
                    </a:lnTo>
                    <a:lnTo>
                      <a:pt x="348" y="527"/>
                    </a:lnTo>
                    <a:lnTo>
                      <a:pt x="348" y="529"/>
                    </a:lnTo>
                    <a:lnTo>
                      <a:pt x="350" y="529"/>
                    </a:lnTo>
                    <a:lnTo>
                      <a:pt x="348" y="529"/>
                    </a:lnTo>
                    <a:lnTo>
                      <a:pt x="346" y="529"/>
                    </a:lnTo>
                    <a:lnTo>
                      <a:pt x="344" y="529"/>
                    </a:lnTo>
                    <a:lnTo>
                      <a:pt x="342" y="529"/>
                    </a:lnTo>
                    <a:lnTo>
                      <a:pt x="340" y="531"/>
                    </a:lnTo>
                    <a:lnTo>
                      <a:pt x="340" y="533"/>
                    </a:lnTo>
                    <a:lnTo>
                      <a:pt x="340" y="535"/>
                    </a:lnTo>
                    <a:lnTo>
                      <a:pt x="340" y="537"/>
                    </a:lnTo>
                    <a:lnTo>
                      <a:pt x="338" y="537"/>
                    </a:lnTo>
                    <a:lnTo>
                      <a:pt x="338" y="539"/>
                    </a:lnTo>
                    <a:lnTo>
                      <a:pt x="340" y="539"/>
                    </a:lnTo>
                    <a:lnTo>
                      <a:pt x="338" y="539"/>
                    </a:lnTo>
                    <a:lnTo>
                      <a:pt x="338" y="541"/>
                    </a:lnTo>
                    <a:lnTo>
                      <a:pt x="338" y="543"/>
                    </a:lnTo>
                    <a:lnTo>
                      <a:pt x="340" y="543"/>
                    </a:lnTo>
                    <a:lnTo>
                      <a:pt x="342" y="543"/>
                    </a:lnTo>
                    <a:lnTo>
                      <a:pt x="344" y="543"/>
                    </a:lnTo>
                    <a:lnTo>
                      <a:pt x="344" y="544"/>
                    </a:lnTo>
                    <a:lnTo>
                      <a:pt x="346" y="543"/>
                    </a:lnTo>
                    <a:lnTo>
                      <a:pt x="348" y="543"/>
                    </a:lnTo>
                    <a:lnTo>
                      <a:pt x="348" y="544"/>
                    </a:lnTo>
                    <a:lnTo>
                      <a:pt x="348" y="546"/>
                    </a:lnTo>
                    <a:lnTo>
                      <a:pt x="346" y="546"/>
                    </a:lnTo>
                    <a:lnTo>
                      <a:pt x="344" y="546"/>
                    </a:lnTo>
                    <a:lnTo>
                      <a:pt x="344" y="548"/>
                    </a:lnTo>
                    <a:lnTo>
                      <a:pt x="344" y="546"/>
                    </a:lnTo>
                    <a:lnTo>
                      <a:pt x="344" y="548"/>
                    </a:lnTo>
                    <a:lnTo>
                      <a:pt x="342" y="548"/>
                    </a:lnTo>
                    <a:lnTo>
                      <a:pt x="342" y="550"/>
                    </a:lnTo>
                    <a:lnTo>
                      <a:pt x="340" y="550"/>
                    </a:lnTo>
                    <a:lnTo>
                      <a:pt x="338" y="550"/>
                    </a:lnTo>
                    <a:lnTo>
                      <a:pt x="338" y="552"/>
                    </a:lnTo>
                    <a:lnTo>
                      <a:pt x="338" y="550"/>
                    </a:lnTo>
                    <a:lnTo>
                      <a:pt x="338" y="552"/>
                    </a:lnTo>
                    <a:lnTo>
                      <a:pt x="337" y="552"/>
                    </a:lnTo>
                    <a:lnTo>
                      <a:pt x="337" y="554"/>
                    </a:lnTo>
                    <a:lnTo>
                      <a:pt x="337" y="556"/>
                    </a:lnTo>
                    <a:lnTo>
                      <a:pt x="335" y="556"/>
                    </a:lnTo>
                    <a:lnTo>
                      <a:pt x="337" y="556"/>
                    </a:lnTo>
                    <a:lnTo>
                      <a:pt x="335" y="556"/>
                    </a:lnTo>
                    <a:lnTo>
                      <a:pt x="335" y="558"/>
                    </a:lnTo>
                    <a:lnTo>
                      <a:pt x="335" y="560"/>
                    </a:lnTo>
                    <a:lnTo>
                      <a:pt x="333" y="560"/>
                    </a:lnTo>
                    <a:lnTo>
                      <a:pt x="331" y="560"/>
                    </a:lnTo>
                    <a:lnTo>
                      <a:pt x="329" y="560"/>
                    </a:lnTo>
                    <a:lnTo>
                      <a:pt x="327" y="560"/>
                    </a:lnTo>
                    <a:lnTo>
                      <a:pt x="327" y="562"/>
                    </a:lnTo>
                    <a:lnTo>
                      <a:pt x="325" y="562"/>
                    </a:lnTo>
                    <a:lnTo>
                      <a:pt x="323" y="562"/>
                    </a:lnTo>
                    <a:lnTo>
                      <a:pt x="321" y="564"/>
                    </a:lnTo>
                    <a:lnTo>
                      <a:pt x="319" y="564"/>
                    </a:lnTo>
                    <a:lnTo>
                      <a:pt x="319" y="566"/>
                    </a:lnTo>
                    <a:lnTo>
                      <a:pt x="317" y="564"/>
                    </a:lnTo>
                    <a:lnTo>
                      <a:pt x="317" y="566"/>
                    </a:lnTo>
                    <a:lnTo>
                      <a:pt x="315" y="566"/>
                    </a:lnTo>
                    <a:lnTo>
                      <a:pt x="315" y="564"/>
                    </a:lnTo>
                    <a:lnTo>
                      <a:pt x="315" y="566"/>
                    </a:lnTo>
                    <a:lnTo>
                      <a:pt x="317" y="566"/>
                    </a:lnTo>
                    <a:lnTo>
                      <a:pt x="319" y="566"/>
                    </a:lnTo>
                    <a:lnTo>
                      <a:pt x="319" y="564"/>
                    </a:lnTo>
                    <a:lnTo>
                      <a:pt x="321" y="564"/>
                    </a:lnTo>
                    <a:lnTo>
                      <a:pt x="323" y="564"/>
                    </a:lnTo>
                    <a:lnTo>
                      <a:pt x="323" y="562"/>
                    </a:lnTo>
                    <a:lnTo>
                      <a:pt x="325" y="562"/>
                    </a:lnTo>
                    <a:lnTo>
                      <a:pt x="327" y="562"/>
                    </a:lnTo>
                    <a:lnTo>
                      <a:pt x="327" y="560"/>
                    </a:lnTo>
                    <a:lnTo>
                      <a:pt x="329" y="560"/>
                    </a:lnTo>
                    <a:lnTo>
                      <a:pt x="331" y="560"/>
                    </a:lnTo>
                    <a:lnTo>
                      <a:pt x="333" y="560"/>
                    </a:lnTo>
                    <a:lnTo>
                      <a:pt x="335" y="560"/>
                    </a:lnTo>
                    <a:lnTo>
                      <a:pt x="335" y="558"/>
                    </a:lnTo>
                    <a:lnTo>
                      <a:pt x="337" y="558"/>
                    </a:lnTo>
                    <a:lnTo>
                      <a:pt x="337" y="556"/>
                    </a:lnTo>
                    <a:lnTo>
                      <a:pt x="337" y="558"/>
                    </a:lnTo>
                    <a:lnTo>
                      <a:pt x="337" y="556"/>
                    </a:lnTo>
                    <a:lnTo>
                      <a:pt x="338" y="556"/>
                    </a:lnTo>
                    <a:lnTo>
                      <a:pt x="338" y="554"/>
                    </a:lnTo>
                    <a:lnTo>
                      <a:pt x="338" y="552"/>
                    </a:lnTo>
                    <a:lnTo>
                      <a:pt x="340" y="552"/>
                    </a:lnTo>
                    <a:lnTo>
                      <a:pt x="340" y="550"/>
                    </a:lnTo>
                    <a:lnTo>
                      <a:pt x="342" y="550"/>
                    </a:lnTo>
                    <a:lnTo>
                      <a:pt x="342" y="548"/>
                    </a:lnTo>
                    <a:lnTo>
                      <a:pt x="344" y="548"/>
                    </a:lnTo>
                    <a:lnTo>
                      <a:pt x="346" y="548"/>
                    </a:lnTo>
                    <a:lnTo>
                      <a:pt x="348" y="548"/>
                    </a:lnTo>
                    <a:lnTo>
                      <a:pt x="346" y="550"/>
                    </a:lnTo>
                    <a:lnTo>
                      <a:pt x="346" y="548"/>
                    </a:lnTo>
                    <a:lnTo>
                      <a:pt x="346" y="550"/>
                    </a:lnTo>
                    <a:lnTo>
                      <a:pt x="344" y="552"/>
                    </a:lnTo>
                    <a:lnTo>
                      <a:pt x="346" y="550"/>
                    </a:lnTo>
                    <a:lnTo>
                      <a:pt x="346" y="552"/>
                    </a:lnTo>
                    <a:lnTo>
                      <a:pt x="344" y="552"/>
                    </a:lnTo>
                    <a:lnTo>
                      <a:pt x="346" y="550"/>
                    </a:lnTo>
                    <a:lnTo>
                      <a:pt x="346" y="552"/>
                    </a:lnTo>
                    <a:lnTo>
                      <a:pt x="344" y="552"/>
                    </a:lnTo>
                    <a:lnTo>
                      <a:pt x="346" y="552"/>
                    </a:lnTo>
                    <a:lnTo>
                      <a:pt x="344" y="554"/>
                    </a:lnTo>
                    <a:lnTo>
                      <a:pt x="344" y="556"/>
                    </a:lnTo>
                    <a:lnTo>
                      <a:pt x="344" y="554"/>
                    </a:lnTo>
                    <a:lnTo>
                      <a:pt x="346" y="552"/>
                    </a:lnTo>
                    <a:lnTo>
                      <a:pt x="344" y="554"/>
                    </a:lnTo>
                    <a:lnTo>
                      <a:pt x="346" y="552"/>
                    </a:lnTo>
                    <a:lnTo>
                      <a:pt x="346" y="550"/>
                    </a:lnTo>
                    <a:lnTo>
                      <a:pt x="348" y="548"/>
                    </a:lnTo>
                    <a:lnTo>
                      <a:pt x="348" y="550"/>
                    </a:lnTo>
                    <a:lnTo>
                      <a:pt x="346" y="550"/>
                    </a:lnTo>
                    <a:lnTo>
                      <a:pt x="346" y="552"/>
                    </a:lnTo>
                    <a:lnTo>
                      <a:pt x="344" y="554"/>
                    </a:lnTo>
                    <a:lnTo>
                      <a:pt x="344" y="556"/>
                    </a:lnTo>
                    <a:lnTo>
                      <a:pt x="344" y="558"/>
                    </a:lnTo>
                    <a:lnTo>
                      <a:pt x="342" y="560"/>
                    </a:lnTo>
                    <a:lnTo>
                      <a:pt x="342" y="562"/>
                    </a:lnTo>
                    <a:lnTo>
                      <a:pt x="342" y="564"/>
                    </a:lnTo>
                    <a:lnTo>
                      <a:pt x="342" y="566"/>
                    </a:lnTo>
                    <a:lnTo>
                      <a:pt x="344" y="566"/>
                    </a:lnTo>
                    <a:lnTo>
                      <a:pt x="344" y="568"/>
                    </a:lnTo>
                    <a:lnTo>
                      <a:pt x="346" y="568"/>
                    </a:lnTo>
                    <a:lnTo>
                      <a:pt x="346" y="569"/>
                    </a:lnTo>
                    <a:lnTo>
                      <a:pt x="346" y="571"/>
                    </a:lnTo>
                    <a:lnTo>
                      <a:pt x="348" y="571"/>
                    </a:lnTo>
                    <a:lnTo>
                      <a:pt x="348" y="573"/>
                    </a:lnTo>
                    <a:lnTo>
                      <a:pt x="348" y="575"/>
                    </a:lnTo>
                    <a:lnTo>
                      <a:pt x="348" y="577"/>
                    </a:lnTo>
                    <a:lnTo>
                      <a:pt x="350" y="579"/>
                    </a:lnTo>
                    <a:lnTo>
                      <a:pt x="350" y="581"/>
                    </a:lnTo>
                    <a:lnTo>
                      <a:pt x="352" y="583"/>
                    </a:lnTo>
                    <a:lnTo>
                      <a:pt x="352" y="585"/>
                    </a:lnTo>
                    <a:lnTo>
                      <a:pt x="352" y="587"/>
                    </a:lnTo>
                    <a:lnTo>
                      <a:pt x="352" y="589"/>
                    </a:lnTo>
                    <a:lnTo>
                      <a:pt x="354" y="589"/>
                    </a:lnTo>
                    <a:lnTo>
                      <a:pt x="354" y="591"/>
                    </a:lnTo>
                    <a:lnTo>
                      <a:pt x="354" y="592"/>
                    </a:lnTo>
                    <a:lnTo>
                      <a:pt x="356" y="594"/>
                    </a:lnTo>
                    <a:lnTo>
                      <a:pt x="356" y="596"/>
                    </a:lnTo>
                    <a:lnTo>
                      <a:pt x="358" y="598"/>
                    </a:lnTo>
                    <a:lnTo>
                      <a:pt x="360" y="602"/>
                    </a:lnTo>
                    <a:lnTo>
                      <a:pt x="362" y="604"/>
                    </a:lnTo>
                    <a:lnTo>
                      <a:pt x="362" y="606"/>
                    </a:lnTo>
                    <a:lnTo>
                      <a:pt x="363" y="606"/>
                    </a:lnTo>
                    <a:lnTo>
                      <a:pt x="363" y="608"/>
                    </a:lnTo>
                    <a:lnTo>
                      <a:pt x="362" y="608"/>
                    </a:lnTo>
                    <a:lnTo>
                      <a:pt x="362" y="610"/>
                    </a:lnTo>
                    <a:lnTo>
                      <a:pt x="360" y="610"/>
                    </a:lnTo>
                    <a:lnTo>
                      <a:pt x="358" y="610"/>
                    </a:lnTo>
                    <a:lnTo>
                      <a:pt x="358" y="612"/>
                    </a:lnTo>
                    <a:lnTo>
                      <a:pt x="358" y="610"/>
                    </a:lnTo>
                    <a:lnTo>
                      <a:pt x="360" y="610"/>
                    </a:lnTo>
                    <a:lnTo>
                      <a:pt x="362" y="610"/>
                    </a:lnTo>
                    <a:lnTo>
                      <a:pt x="362" y="608"/>
                    </a:lnTo>
                    <a:lnTo>
                      <a:pt x="363" y="608"/>
                    </a:lnTo>
                    <a:lnTo>
                      <a:pt x="362" y="608"/>
                    </a:lnTo>
                    <a:lnTo>
                      <a:pt x="363" y="608"/>
                    </a:lnTo>
                    <a:lnTo>
                      <a:pt x="365" y="608"/>
                    </a:lnTo>
                    <a:lnTo>
                      <a:pt x="365" y="610"/>
                    </a:lnTo>
                    <a:lnTo>
                      <a:pt x="367" y="610"/>
                    </a:lnTo>
                    <a:lnTo>
                      <a:pt x="367" y="612"/>
                    </a:lnTo>
                    <a:lnTo>
                      <a:pt x="369" y="612"/>
                    </a:lnTo>
                    <a:lnTo>
                      <a:pt x="369" y="614"/>
                    </a:lnTo>
                    <a:lnTo>
                      <a:pt x="373" y="616"/>
                    </a:lnTo>
                    <a:lnTo>
                      <a:pt x="373" y="617"/>
                    </a:lnTo>
                    <a:lnTo>
                      <a:pt x="375" y="617"/>
                    </a:lnTo>
                    <a:lnTo>
                      <a:pt x="377" y="619"/>
                    </a:lnTo>
                    <a:lnTo>
                      <a:pt x="379" y="619"/>
                    </a:lnTo>
                    <a:lnTo>
                      <a:pt x="379" y="621"/>
                    </a:lnTo>
                    <a:lnTo>
                      <a:pt x="381" y="621"/>
                    </a:lnTo>
                    <a:lnTo>
                      <a:pt x="381" y="623"/>
                    </a:lnTo>
                    <a:lnTo>
                      <a:pt x="381" y="621"/>
                    </a:lnTo>
                    <a:lnTo>
                      <a:pt x="383" y="621"/>
                    </a:lnTo>
                    <a:lnTo>
                      <a:pt x="385" y="621"/>
                    </a:lnTo>
                    <a:lnTo>
                      <a:pt x="385" y="623"/>
                    </a:lnTo>
                    <a:lnTo>
                      <a:pt x="387" y="623"/>
                    </a:lnTo>
                    <a:lnTo>
                      <a:pt x="388" y="623"/>
                    </a:lnTo>
                    <a:lnTo>
                      <a:pt x="390" y="625"/>
                    </a:lnTo>
                    <a:lnTo>
                      <a:pt x="392" y="625"/>
                    </a:lnTo>
                    <a:lnTo>
                      <a:pt x="392" y="627"/>
                    </a:lnTo>
                    <a:lnTo>
                      <a:pt x="394" y="627"/>
                    </a:lnTo>
                    <a:lnTo>
                      <a:pt x="396" y="627"/>
                    </a:lnTo>
                    <a:lnTo>
                      <a:pt x="398" y="627"/>
                    </a:lnTo>
                    <a:lnTo>
                      <a:pt x="398" y="629"/>
                    </a:lnTo>
                    <a:lnTo>
                      <a:pt x="398" y="631"/>
                    </a:lnTo>
                    <a:lnTo>
                      <a:pt x="400" y="631"/>
                    </a:lnTo>
                    <a:lnTo>
                      <a:pt x="400" y="633"/>
                    </a:lnTo>
                    <a:lnTo>
                      <a:pt x="402" y="633"/>
                    </a:lnTo>
                    <a:lnTo>
                      <a:pt x="402" y="635"/>
                    </a:lnTo>
                    <a:lnTo>
                      <a:pt x="400" y="635"/>
                    </a:lnTo>
                    <a:lnTo>
                      <a:pt x="400" y="637"/>
                    </a:lnTo>
                    <a:lnTo>
                      <a:pt x="402" y="637"/>
                    </a:lnTo>
                    <a:lnTo>
                      <a:pt x="402" y="639"/>
                    </a:lnTo>
                    <a:lnTo>
                      <a:pt x="400" y="639"/>
                    </a:lnTo>
                    <a:lnTo>
                      <a:pt x="400" y="641"/>
                    </a:lnTo>
                    <a:lnTo>
                      <a:pt x="402" y="641"/>
                    </a:lnTo>
                    <a:lnTo>
                      <a:pt x="402" y="642"/>
                    </a:lnTo>
                    <a:lnTo>
                      <a:pt x="402" y="644"/>
                    </a:lnTo>
                    <a:lnTo>
                      <a:pt x="400" y="644"/>
                    </a:lnTo>
                    <a:lnTo>
                      <a:pt x="400" y="646"/>
                    </a:lnTo>
                    <a:lnTo>
                      <a:pt x="400" y="648"/>
                    </a:lnTo>
                    <a:lnTo>
                      <a:pt x="400" y="650"/>
                    </a:lnTo>
                    <a:lnTo>
                      <a:pt x="402" y="650"/>
                    </a:lnTo>
                    <a:lnTo>
                      <a:pt x="402" y="652"/>
                    </a:lnTo>
                    <a:lnTo>
                      <a:pt x="402" y="654"/>
                    </a:lnTo>
                    <a:lnTo>
                      <a:pt x="402" y="656"/>
                    </a:lnTo>
                    <a:lnTo>
                      <a:pt x="400" y="656"/>
                    </a:lnTo>
                    <a:lnTo>
                      <a:pt x="398" y="656"/>
                    </a:lnTo>
                    <a:lnTo>
                      <a:pt x="398" y="658"/>
                    </a:lnTo>
                    <a:lnTo>
                      <a:pt x="396" y="658"/>
                    </a:lnTo>
                    <a:lnTo>
                      <a:pt x="396" y="660"/>
                    </a:lnTo>
                    <a:lnTo>
                      <a:pt x="394" y="660"/>
                    </a:lnTo>
                    <a:lnTo>
                      <a:pt x="394" y="662"/>
                    </a:lnTo>
                    <a:lnTo>
                      <a:pt x="392" y="664"/>
                    </a:lnTo>
                    <a:lnTo>
                      <a:pt x="390" y="666"/>
                    </a:lnTo>
                    <a:lnTo>
                      <a:pt x="388" y="666"/>
                    </a:lnTo>
                    <a:lnTo>
                      <a:pt x="387" y="666"/>
                    </a:lnTo>
                    <a:lnTo>
                      <a:pt x="387" y="664"/>
                    </a:lnTo>
                    <a:lnTo>
                      <a:pt x="385" y="664"/>
                    </a:lnTo>
                    <a:lnTo>
                      <a:pt x="385" y="662"/>
                    </a:lnTo>
                    <a:lnTo>
                      <a:pt x="383" y="662"/>
                    </a:lnTo>
                    <a:lnTo>
                      <a:pt x="383" y="664"/>
                    </a:lnTo>
                    <a:lnTo>
                      <a:pt x="381" y="664"/>
                    </a:lnTo>
                    <a:lnTo>
                      <a:pt x="379" y="666"/>
                    </a:lnTo>
                    <a:lnTo>
                      <a:pt x="379" y="667"/>
                    </a:lnTo>
                    <a:lnTo>
                      <a:pt x="377" y="667"/>
                    </a:lnTo>
                    <a:lnTo>
                      <a:pt x="377" y="669"/>
                    </a:lnTo>
                    <a:lnTo>
                      <a:pt x="377" y="671"/>
                    </a:lnTo>
                    <a:lnTo>
                      <a:pt x="375" y="671"/>
                    </a:lnTo>
                    <a:lnTo>
                      <a:pt x="375" y="675"/>
                    </a:lnTo>
                    <a:lnTo>
                      <a:pt x="373" y="677"/>
                    </a:lnTo>
                    <a:lnTo>
                      <a:pt x="375" y="679"/>
                    </a:lnTo>
                    <a:lnTo>
                      <a:pt x="373" y="677"/>
                    </a:lnTo>
                    <a:lnTo>
                      <a:pt x="373" y="679"/>
                    </a:lnTo>
                    <a:lnTo>
                      <a:pt x="373" y="681"/>
                    </a:lnTo>
                    <a:lnTo>
                      <a:pt x="373" y="687"/>
                    </a:lnTo>
                    <a:lnTo>
                      <a:pt x="373" y="689"/>
                    </a:lnTo>
                    <a:lnTo>
                      <a:pt x="373" y="691"/>
                    </a:lnTo>
                    <a:lnTo>
                      <a:pt x="371" y="691"/>
                    </a:lnTo>
                    <a:lnTo>
                      <a:pt x="373" y="692"/>
                    </a:lnTo>
                    <a:lnTo>
                      <a:pt x="373" y="694"/>
                    </a:lnTo>
                    <a:lnTo>
                      <a:pt x="373" y="696"/>
                    </a:lnTo>
                    <a:lnTo>
                      <a:pt x="373" y="698"/>
                    </a:lnTo>
                    <a:lnTo>
                      <a:pt x="373" y="700"/>
                    </a:lnTo>
                    <a:lnTo>
                      <a:pt x="371" y="700"/>
                    </a:lnTo>
                    <a:lnTo>
                      <a:pt x="373" y="700"/>
                    </a:lnTo>
                    <a:lnTo>
                      <a:pt x="371" y="700"/>
                    </a:lnTo>
                    <a:lnTo>
                      <a:pt x="371" y="702"/>
                    </a:lnTo>
                    <a:lnTo>
                      <a:pt x="371" y="704"/>
                    </a:lnTo>
                    <a:lnTo>
                      <a:pt x="371" y="706"/>
                    </a:lnTo>
                    <a:lnTo>
                      <a:pt x="371" y="708"/>
                    </a:lnTo>
                    <a:lnTo>
                      <a:pt x="371" y="710"/>
                    </a:lnTo>
                    <a:lnTo>
                      <a:pt x="371" y="712"/>
                    </a:lnTo>
                    <a:lnTo>
                      <a:pt x="373" y="714"/>
                    </a:lnTo>
                    <a:lnTo>
                      <a:pt x="371" y="714"/>
                    </a:lnTo>
                    <a:lnTo>
                      <a:pt x="371" y="712"/>
                    </a:lnTo>
                    <a:lnTo>
                      <a:pt x="371" y="710"/>
                    </a:lnTo>
                    <a:lnTo>
                      <a:pt x="369" y="710"/>
                    </a:lnTo>
                    <a:lnTo>
                      <a:pt x="371" y="710"/>
                    </a:lnTo>
                    <a:lnTo>
                      <a:pt x="371" y="712"/>
                    </a:lnTo>
                    <a:lnTo>
                      <a:pt x="371" y="714"/>
                    </a:lnTo>
                    <a:lnTo>
                      <a:pt x="373" y="714"/>
                    </a:lnTo>
                    <a:lnTo>
                      <a:pt x="373" y="716"/>
                    </a:lnTo>
                    <a:lnTo>
                      <a:pt x="373" y="714"/>
                    </a:lnTo>
                    <a:lnTo>
                      <a:pt x="373" y="716"/>
                    </a:lnTo>
                    <a:lnTo>
                      <a:pt x="373" y="717"/>
                    </a:lnTo>
                    <a:lnTo>
                      <a:pt x="375" y="717"/>
                    </a:lnTo>
                    <a:lnTo>
                      <a:pt x="375" y="719"/>
                    </a:lnTo>
                    <a:lnTo>
                      <a:pt x="375" y="721"/>
                    </a:lnTo>
                    <a:lnTo>
                      <a:pt x="377" y="723"/>
                    </a:lnTo>
                    <a:lnTo>
                      <a:pt x="377" y="725"/>
                    </a:lnTo>
                    <a:lnTo>
                      <a:pt x="377" y="727"/>
                    </a:lnTo>
                    <a:lnTo>
                      <a:pt x="379" y="727"/>
                    </a:lnTo>
                    <a:lnTo>
                      <a:pt x="379" y="729"/>
                    </a:lnTo>
                    <a:lnTo>
                      <a:pt x="381" y="731"/>
                    </a:lnTo>
                    <a:lnTo>
                      <a:pt x="381" y="733"/>
                    </a:lnTo>
                    <a:lnTo>
                      <a:pt x="383" y="735"/>
                    </a:lnTo>
                    <a:lnTo>
                      <a:pt x="385" y="737"/>
                    </a:lnTo>
                    <a:lnTo>
                      <a:pt x="387" y="739"/>
                    </a:lnTo>
                    <a:lnTo>
                      <a:pt x="385" y="739"/>
                    </a:lnTo>
                    <a:lnTo>
                      <a:pt x="387" y="739"/>
                    </a:lnTo>
                    <a:lnTo>
                      <a:pt x="387" y="741"/>
                    </a:lnTo>
                    <a:lnTo>
                      <a:pt x="385" y="739"/>
                    </a:lnTo>
                    <a:lnTo>
                      <a:pt x="383" y="739"/>
                    </a:lnTo>
                    <a:lnTo>
                      <a:pt x="381" y="739"/>
                    </a:lnTo>
                    <a:lnTo>
                      <a:pt x="379" y="739"/>
                    </a:lnTo>
                    <a:lnTo>
                      <a:pt x="377" y="739"/>
                    </a:lnTo>
                    <a:lnTo>
                      <a:pt x="377" y="741"/>
                    </a:lnTo>
                    <a:lnTo>
                      <a:pt x="375" y="741"/>
                    </a:lnTo>
                    <a:lnTo>
                      <a:pt x="375" y="742"/>
                    </a:lnTo>
                    <a:lnTo>
                      <a:pt x="377" y="742"/>
                    </a:lnTo>
                    <a:lnTo>
                      <a:pt x="377" y="744"/>
                    </a:lnTo>
                    <a:lnTo>
                      <a:pt x="375" y="744"/>
                    </a:lnTo>
                    <a:lnTo>
                      <a:pt x="373" y="744"/>
                    </a:lnTo>
                    <a:lnTo>
                      <a:pt x="373" y="746"/>
                    </a:lnTo>
                    <a:lnTo>
                      <a:pt x="371" y="746"/>
                    </a:lnTo>
                    <a:lnTo>
                      <a:pt x="371" y="748"/>
                    </a:lnTo>
                    <a:lnTo>
                      <a:pt x="371" y="746"/>
                    </a:lnTo>
                    <a:lnTo>
                      <a:pt x="373" y="746"/>
                    </a:lnTo>
                    <a:lnTo>
                      <a:pt x="375" y="744"/>
                    </a:lnTo>
                    <a:lnTo>
                      <a:pt x="377" y="744"/>
                    </a:lnTo>
                    <a:lnTo>
                      <a:pt x="377" y="742"/>
                    </a:lnTo>
                    <a:lnTo>
                      <a:pt x="377" y="741"/>
                    </a:lnTo>
                    <a:lnTo>
                      <a:pt x="379" y="741"/>
                    </a:lnTo>
                    <a:lnTo>
                      <a:pt x="377" y="741"/>
                    </a:lnTo>
                    <a:lnTo>
                      <a:pt x="377" y="739"/>
                    </a:lnTo>
                    <a:lnTo>
                      <a:pt x="379" y="739"/>
                    </a:lnTo>
                    <a:lnTo>
                      <a:pt x="381" y="739"/>
                    </a:lnTo>
                    <a:lnTo>
                      <a:pt x="383" y="739"/>
                    </a:lnTo>
                    <a:lnTo>
                      <a:pt x="385" y="739"/>
                    </a:lnTo>
                    <a:lnTo>
                      <a:pt x="387" y="741"/>
                    </a:lnTo>
                    <a:lnTo>
                      <a:pt x="385" y="741"/>
                    </a:lnTo>
                    <a:lnTo>
                      <a:pt x="387" y="741"/>
                    </a:lnTo>
                    <a:lnTo>
                      <a:pt x="387" y="742"/>
                    </a:lnTo>
                    <a:lnTo>
                      <a:pt x="388" y="742"/>
                    </a:lnTo>
                    <a:lnTo>
                      <a:pt x="387" y="742"/>
                    </a:lnTo>
                    <a:lnTo>
                      <a:pt x="387" y="741"/>
                    </a:lnTo>
                    <a:lnTo>
                      <a:pt x="388" y="741"/>
                    </a:lnTo>
                    <a:lnTo>
                      <a:pt x="388" y="742"/>
                    </a:lnTo>
                    <a:lnTo>
                      <a:pt x="390" y="742"/>
                    </a:lnTo>
                    <a:lnTo>
                      <a:pt x="392" y="742"/>
                    </a:lnTo>
                    <a:lnTo>
                      <a:pt x="392" y="744"/>
                    </a:lnTo>
                    <a:lnTo>
                      <a:pt x="392" y="742"/>
                    </a:lnTo>
                    <a:lnTo>
                      <a:pt x="390" y="742"/>
                    </a:lnTo>
                    <a:lnTo>
                      <a:pt x="390" y="741"/>
                    </a:lnTo>
                    <a:lnTo>
                      <a:pt x="388" y="741"/>
                    </a:lnTo>
                    <a:lnTo>
                      <a:pt x="387" y="741"/>
                    </a:lnTo>
                    <a:lnTo>
                      <a:pt x="388" y="741"/>
                    </a:lnTo>
                    <a:lnTo>
                      <a:pt x="388" y="739"/>
                    </a:lnTo>
                    <a:lnTo>
                      <a:pt x="388" y="741"/>
                    </a:lnTo>
                    <a:lnTo>
                      <a:pt x="390" y="741"/>
                    </a:lnTo>
                    <a:lnTo>
                      <a:pt x="392" y="742"/>
                    </a:lnTo>
                    <a:lnTo>
                      <a:pt x="394" y="742"/>
                    </a:lnTo>
                    <a:lnTo>
                      <a:pt x="394" y="744"/>
                    </a:lnTo>
                    <a:lnTo>
                      <a:pt x="396" y="744"/>
                    </a:lnTo>
                    <a:lnTo>
                      <a:pt x="396" y="746"/>
                    </a:lnTo>
                    <a:lnTo>
                      <a:pt x="398" y="746"/>
                    </a:lnTo>
                    <a:lnTo>
                      <a:pt x="398" y="748"/>
                    </a:lnTo>
                    <a:lnTo>
                      <a:pt x="396" y="748"/>
                    </a:lnTo>
                    <a:lnTo>
                      <a:pt x="394" y="748"/>
                    </a:lnTo>
                    <a:lnTo>
                      <a:pt x="392" y="748"/>
                    </a:lnTo>
                    <a:lnTo>
                      <a:pt x="392" y="750"/>
                    </a:lnTo>
                    <a:lnTo>
                      <a:pt x="394" y="750"/>
                    </a:lnTo>
                    <a:lnTo>
                      <a:pt x="394" y="752"/>
                    </a:lnTo>
                    <a:lnTo>
                      <a:pt x="394" y="750"/>
                    </a:lnTo>
                    <a:lnTo>
                      <a:pt x="396" y="750"/>
                    </a:lnTo>
                    <a:lnTo>
                      <a:pt x="396" y="748"/>
                    </a:lnTo>
                    <a:lnTo>
                      <a:pt x="396" y="750"/>
                    </a:lnTo>
                    <a:lnTo>
                      <a:pt x="396" y="752"/>
                    </a:lnTo>
                    <a:lnTo>
                      <a:pt x="398" y="754"/>
                    </a:lnTo>
                    <a:lnTo>
                      <a:pt x="400" y="754"/>
                    </a:lnTo>
                    <a:lnTo>
                      <a:pt x="402" y="754"/>
                    </a:lnTo>
                    <a:lnTo>
                      <a:pt x="402" y="756"/>
                    </a:lnTo>
                    <a:lnTo>
                      <a:pt x="402" y="758"/>
                    </a:lnTo>
                    <a:lnTo>
                      <a:pt x="404" y="758"/>
                    </a:lnTo>
                    <a:lnTo>
                      <a:pt x="404" y="756"/>
                    </a:lnTo>
                    <a:lnTo>
                      <a:pt x="406" y="756"/>
                    </a:lnTo>
                    <a:lnTo>
                      <a:pt x="406" y="758"/>
                    </a:lnTo>
                    <a:lnTo>
                      <a:pt x="406" y="760"/>
                    </a:lnTo>
                    <a:lnTo>
                      <a:pt x="406" y="762"/>
                    </a:lnTo>
                    <a:lnTo>
                      <a:pt x="408" y="762"/>
                    </a:lnTo>
                    <a:lnTo>
                      <a:pt x="410" y="764"/>
                    </a:lnTo>
                    <a:lnTo>
                      <a:pt x="410" y="762"/>
                    </a:lnTo>
                    <a:lnTo>
                      <a:pt x="408" y="762"/>
                    </a:lnTo>
                    <a:lnTo>
                      <a:pt x="408" y="760"/>
                    </a:lnTo>
                    <a:lnTo>
                      <a:pt x="408" y="758"/>
                    </a:lnTo>
                    <a:lnTo>
                      <a:pt x="410" y="758"/>
                    </a:lnTo>
                    <a:lnTo>
                      <a:pt x="410" y="760"/>
                    </a:lnTo>
                    <a:lnTo>
                      <a:pt x="410" y="762"/>
                    </a:lnTo>
                    <a:lnTo>
                      <a:pt x="410" y="760"/>
                    </a:lnTo>
                    <a:lnTo>
                      <a:pt x="411" y="760"/>
                    </a:lnTo>
                    <a:lnTo>
                      <a:pt x="411" y="762"/>
                    </a:lnTo>
                    <a:lnTo>
                      <a:pt x="413" y="762"/>
                    </a:lnTo>
                    <a:lnTo>
                      <a:pt x="413" y="764"/>
                    </a:lnTo>
                    <a:lnTo>
                      <a:pt x="415" y="764"/>
                    </a:lnTo>
                    <a:lnTo>
                      <a:pt x="415" y="766"/>
                    </a:lnTo>
                    <a:lnTo>
                      <a:pt x="415" y="767"/>
                    </a:lnTo>
                    <a:lnTo>
                      <a:pt x="413" y="767"/>
                    </a:lnTo>
                    <a:lnTo>
                      <a:pt x="411" y="767"/>
                    </a:lnTo>
                    <a:lnTo>
                      <a:pt x="410" y="767"/>
                    </a:lnTo>
                    <a:lnTo>
                      <a:pt x="408" y="767"/>
                    </a:lnTo>
                    <a:lnTo>
                      <a:pt x="406" y="767"/>
                    </a:lnTo>
                    <a:lnTo>
                      <a:pt x="404" y="767"/>
                    </a:lnTo>
                    <a:lnTo>
                      <a:pt x="404" y="766"/>
                    </a:lnTo>
                    <a:lnTo>
                      <a:pt x="402" y="766"/>
                    </a:lnTo>
                    <a:lnTo>
                      <a:pt x="404" y="766"/>
                    </a:lnTo>
                    <a:lnTo>
                      <a:pt x="404" y="764"/>
                    </a:lnTo>
                    <a:lnTo>
                      <a:pt x="404" y="762"/>
                    </a:lnTo>
                    <a:lnTo>
                      <a:pt x="402" y="762"/>
                    </a:lnTo>
                    <a:lnTo>
                      <a:pt x="402" y="764"/>
                    </a:lnTo>
                    <a:lnTo>
                      <a:pt x="402" y="766"/>
                    </a:lnTo>
                    <a:lnTo>
                      <a:pt x="402" y="767"/>
                    </a:lnTo>
                    <a:lnTo>
                      <a:pt x="400" y="767"/>
                    </a:lnTo>
                    <a:lnTo>
                      <a:pt x="398" y="767"/>
                    </a:lnTo>
                    <a:lnTo>
                      <a:pt x="396" y="769"/>
                    </a:lnTo>
                    <a:lnTo>
                      <a:pt x="396" y="771"/>
                    </a:lnTo>
                    <a:lnTo>
                      <a:pt x="396" y="773"/>
                    </a:lnTo>
                    <a:lnTo>
                      <a:pt x="396" y="775"/>
                    </a:lnTo>
                    <a:lnTo>
                      <a:pt x="396" y="777"/>
                    </a:lnTo>
                    <a:lnTo>
                      <a:pt x="396" y="779"/>
                    </a:lnTo>
                    <a:lnTo>
                      <a:pt x="394" y="777"/>
                    </a:lnTo>
                    <a:lnTo>
                      <a:pt x="394" y="779"/>
                    </a:lnTo>
                    <a:lnTo>
                      <a:pt x="392" y="779"/>
                    </a:lnTo>
                    <a:lnTo>
                      <a:pt x="392" y="781"/>
                    </a:lnTo>
                    <a:lnTo>
                      <a:pt x="392" y="783"/>
                    </a:lnTo>
                    <a:lnTo>
                      <a:pt x="390" y="785"/>
                    </a:lnTo>
                    <a:lnTo>
                      <a:pt x="390" y="787"/>
                    </a:lnTo>
                    <a:lnTo>
                      <a:pt x="388" y="789"/>
                    </a:lnTo>
                    <a:lnTo>
                      <a:pt x="388" y="792"/>
                    </a:lnTo>
                    <a:lnTo>
                      <a:pt x="388" y="794"/>
                    </a:lnTo>
                    <a:lnTo>
                      <a:pt x="388" y="796"/>
                    </a:lnTo>
                    <a:lnTo>
                      <a:pt x="388" y="800"/>
                    </a:lnTo>
                    <a:lnTo>
                      <a:pt x="388" y="802"/>
                    </a:lnTo>
                    <a:lnTo>
                      <a:pt x="388" y="804"/>
                    </a:lnTo>
                    <a:lnTo>
                      <a:pt x="388" y="806"/>
                    </a:lnTo>
                    <a:lnTo>
                      <a:pt x="388" y="808"/>
                    </a:lnTo>
                    <a:lnTo>
                      <a:pt x="388" y="806"/>
                    </a:lnTo>
                    <a:lnTo>
                      <a:pt x="387" y="806"/>
                    </a:lnTo>
                    <a:lnTo>
                      <a:pt x="387" y="804"/>
                    </a:lnTo>
                    <a:lnTo>
                      <a:pt x="385" y="804"/>
                    </a:lnTo>
                    <a:lnTo>
                      <a:pt x="383" y="804"/>
                    </a:lnTo>
                    <a:lnTo>
                      <a:pt x="385" y="804"/>
                    </a:lnTo>
                    <a:lnTo>
                      <a:pt x="385" y="802"/>
                    </a:lnTo>
                    <a:lnTo>
                      <a:pt x="387" y="802"/>
                    </a:lnTo>
                    <a:lnTo>
                      <a:pt x="385" y="802"/>
                    </a:lnTo>
                    <a:lnTo>
                      <a:pt x="385" y="804"/>
                    </a:lnTo>
                    <a:lnTo>
                      <a:pt x="385" y="802"/>
                    </a:lnTo>
                    <a:lnTo>
                      <a:pt x="383" y="802"/>
                    </a:lnTo>
                    <a:lnTo>
                      <a:pt x="385" y="802"/>
                    </a:lnTo>
                    <a:lnTo>
                      <a:pt x="383" y="802"/>
                    </a:lnTo>
                    <a:lnTo>
                      <a:pt x="381" y="802"/>
                    </a:lnTo>
                    <a:lnTo>
                      <a:pt x="381" y="800"/>
                    </a:lnTo>
                    <a:lnTo>
                      <a:pt x="381" y="802"/>
                    </a:lnTo>
                    <a:lnTo>
                      <a:pt x="381" y="800"/>
                    </a:lnTo>
                    <a:lnTo>
                      <a:pt x="379" y="800"/>
                    </a:lnTo>
                    <a:lnTo>
                      <a:pt x="377" y="800"/>
                    </a:lnTo>
                    <a:lnTo>
                      <a:pt x="375" y="800"/>
                    </a:lnTo>
                    <a:lnTo>
                      <a:pt x="375" y="802"/>
                    </a:lnTo>
                    <a:lnTo>
                      <a:pt x="375" y="800"/>
                    </a:lnTo>
                    <a:lnTo>
                      <a:pt x="375" y="802"/>
                    </a:lnTo>
                    <a:lnTo>
                      <a:pt x="377" y="802"/>
                    </a:lnTo>
                    <a:lnTo>
                      <a:pt x="375" y="802"/>
                    </a:lnTo>
                    <a:lnTo>
                      <a:pt x="373" y="802"/>
                    </a:lnTo>
                    <a:lnTo>
                      <a:pt x="375" y="802"/>
                    </a:lnTo>
                    <a:lnTo>
                      <a:pt x="375" y="804"/>
                    </a:lnTo>
                    <a:lnTo>
                      <a:pt x="373" y="802"/>
                    </a:lnTo>
                    <a:lnTo>
                      <a:pt x="371" y="802"/>
                    </a:lnTo>
                    <a:lnTo>
                      <a:pt x="373" y="802"/>
                    </a:lnTo>
                    <a:lnTo>
                      <a:pt x="371" y="802"/>
                    </a:lnTo>
                    <a:lnTo>
                      <a:pt x="371" y="800"/>
                    </a:lnTo>
                    <a:lnTo>
                      <a:pt x="369" y="800"/>
                    </a:lnTo>
                    <a:lnTo>
                      <a:pt x="367" y="800"/>
                    </a:lnTo>
                    <a:lnTo>
                      <a:pt x="369" y="800"/>
                    </a:lnTo>
                    <a:lnTo>
                      <a:pt x="371" y="800"/>
                    </a:lnTo>
                    <a:lnTo>
                      <a:pt x="371" y="802"/>
                    </a:lnTo>
                    <a:lnTo>
                      <a:pt x="373" y="802"/>
                    </a:lnTo>
                    <a:lnTo>
                      <a:pt x="371" y="802"/>
                    </a:lnTo>
                    <a:lnTo>
                      <a:pt x="373" y="802"/>
                    </a:lnTo>
                    <a:lnTo>
                      <a:pt x="373" y="804"/>
                    </a:lnTo>
                    <a:lnTo>
                      <a:pt x="375" y="804"/>
                    </a:lnTo>
                    <a:lnTo>
                      <a:pt x="375" y="802"/>
                    </a:lnTo>
                    <a:lnTo>
                      <a:pt x="377" y="802"/>
                    </a:lnTo>
                    <a:lnTo>
                      <a:pt x="377" y="804"/>
                    </a:lnTo>
                    <a:lnTo>
                      <a:pt x="375" y="804"/>
                    </a:lnTo>
                    <a:lnTo>
                      <a:pt x="375" y="806"/>
                    </a:lnTo>
                    <a:lnTo>
                      <a:pt x="375" y="808"/>
                    </a:lnTo>
                    <a:lnTo>
                      <a:pt x="377" y="808"/>
                    </a:lnTo>
                    <a:lnTo>
                      <a:pt x="379" y="808"/>
                    </a:lnTo>
                    <a:lnTo>
                      <a:pt x="377" y="810"/>
                    </a:lnTo>
                    <a:lnTo>
                      <a:pt x="379" y="810"/>
                    </a:lnTo>
                    <a:lnTo>
                      <a:pt x="379" y="812"/>
                    </a:lnTo>
                    <a:lnTo>
                      <a:pt x="381" y="812"/>
                    </a:lnTo>
                    <a:lnTo>
                      <a:pt x="383" y="812"/>
                    </a:lnTo>
                    <a:lnTo>
                      <a:pt x="383" y="810"/>
                    </a:lnTo>
                    <a:lnTo>
                      <a:pt x="385" y="810"/>
                    </a:lnTo>
                    <a:lnTo>
                      <a:pt x="383" y="810"/>
                    </a:lnTo>
                    <a:lnTo>
                      <a:pt x="381" y="810"/>
                    </a:lnTo>
                    <a:lnTo>
                      <a:pt x="381" y="808"/>
                    </a:lnTo>
                    <a:lnTo>
                      <a:pt x="383" y="808"/>
                    </a:lnTo>
                    <a:lnTo>
                      <a:pt x="383" y="810"/>
                    </a:lnTo>
                    <a:lnTo>
                      <a:pt x="383" y="808"/>
                    </a:lnTo>
                    <a:lnTo>
                      <a:pt x="385" y="808"/>
                    </a:lnTo>
                    <a:lnTo>
                      <a:pt x="383" y="808"/>
                    </a:lnTo>
                    <a:lnTo>
                      <a:pt x="385" y="808"/>
                    </a:lnTo>
                    <a:lnTo>
                      <a:pt x="385" y="806"/>
                    </a:lnTo>
                    <a:lnTo>
                      <a:pt x="385" y="808"/>
                    </a:lnTo>
                    <a:lnTo>
                      <a:pt x="387" y="808"/>
                    </a:lnTo>
                    <a:lnTo>
                      <a:pt x="387" y="810"/>
                    </a:lnTo>
                    <a:lnTo>
                      <a:pt x="388" y="810"/>
                    </a:lnTo>
                    <a:lnTo>
                      <a:pt x="388" y="812"/>
                    </a:lnTo>
                    <a:lnTo>
                      <a:pt x="388" y="814"/>
                    </a:lnTo>
                    <a:lnTo>
                      <a:pt x="388" y="816"/>
                    </a:lnTo>
                    <a:lnTo>
                      <a:pt x="388" y="817"/>
                    </a:lnTo>
                    <a:lnTo>
                      <a:pt x="387" y="817"/>
                    </a:lnTo>
                    <a:lnTo>
                      <a:pt x="387" y="816"/>
                    </a:lnTo>
                    <a:lnTo>
                      <a:pt x="387" y="817"/>
                    </a:lnTo>
                    <a:lnTo>
                      <a:pt x="388" y="819"/>
                    </a:lnTo>
                    <a:lnTo>
                      <a:pt x="390" y="819"/>
                    </a:lnTo>
                    <a:lnTo>
                      <a:pt x="392" y="819"/>
                    </a:lnTo>
                    <a:lnTo>
                      <a:pt x="394" y="819"/>
                    </a:lnTo>
                    <a:lnTo>
                      <a:pt x="394" y="821"/>
                    </a:lnTo>
                    <a:lnTo>
                      <a:pt x="392" y="821"/>
                    </a:lnTo>
                    <a:lnTo>
                      <a:pt x="394" y="821"/>
                    </a:lnTo>
                    <a:lnTo>
                      <a:pt x="394" y="823"/>
                    </a:lnTo>
                    <a:lnTo>
                      <a:pt x="392" y="823"/>
                    </a:lnTo>
                    <a:lnTo>
                      <a:pt x="394" y="823"/>
                    </a:lnTo>
                    <a:lnTo>
                      <a:pt x="394" y="825"/>
                    </a:lnTo>
                    <a:lnTo>
                      <a:pt x="392" y="825"/>
                    </a:lnTo>
                    <a:lnTo>
                      <a:pt x="390" y="825"/>
                    </a:lnTo>
                    <a:lnTo>
                      <a:pt x="388" y="825"/>
                    </a:lnTo>
                    <a:lnTo>
                      <a:pt x="388" y="827"/>
                    </a:lnTo>
                    <a:lnTo>
                      <a:pt x="390" y="827"/>
                    </a:lnTo>
                    <a:lnTo>
                      <a:pt x="392" y="827"/>
                    </a:lnTo>
                    <a:lnTo>
                      <a:pt x="390" y="827"/>
                    </a:lnTo>
                    <a:lnTo>
                      <a:pt x="390" y="829"/>
                    </a:lnTo>
                    <a:lnTo>
                      <a:pt x="392" y="827"/>
                    </a:lnTo>
                    <a:lnTo>
                      <a:pt x="392" y="829"/>
                    </a:lnTo>
                    <a:lnTo>
                      <a:pt x="394" y="829"/>
                    </a:lnTo>
                    <a:lnTo>
                      <a:pt x="396" y="829"/>
                    </a:lnTo>
                    <a:lnTo>
                      <a:pt x="398" y="829"/>
                    </a:lnTo>
                    <a:lnTo>
                      <a:pt x="398" y="831"/>
                    </a:lnTo>
                    <a:lnTo>
                      <a:pt x="398" y="833"/>
                    </a:lnTo>
                    <a:lnTo>
                      <a:pt x="400" y="833"/>
                    </a:lnTo>
                    <a:lnTo>
                      <a:pt x="400" y="835"/>
                    </a:lnTo>
                    <a:lnTo>
                      <a:pt x="400" y="837"/>
                    </a:lnTo>
                    <a:lnTo>
                      <a:pt x="400" y="835"/>
                    </a:lnTo>
                    <a:lnTo>
                      <a:pt x="400" y="837"/>
                    </a:lnTo>
                    <a:lnTo>
                      <a:pt x="400" y="835"/>
                    </a:lnTo>
                    <a:lnTo>
                      <a:pt x="400" y="837"/>
                    </a:lnTo>
                    <a:lnTo>
                      <a:pt x="400" y="839"/>
                    </a:lnTo>
                    <a:lnTo>
                      <a:pt x="400" y="840"/>
                    </a:lnTo>
                    <a:lnTo>
                      <a:pt x="400" y="839"/>
                    </a:lnTo>
                    <a:lnTo>
                      <a:pt x="402" y="837"/>
                    </a:lnTo>
                    <a:lnTo>
                      <a:pt x="404" y="837"/>
                    </a:lnTo>
                    <a:lnTo>
                      <a:pt x="406" y="837"/>
                    </a:lnTo>
                    <a:lnTo>
                      <a:pt x="406" y="839"/>
                    </a:lnTo>
                    <a:lnTo>
                      <a:pt x="406" y="840"/>
                    </a:lnTo>
                    <a:lnTo>
                      <a:pt x="404" y="840"/>
                    </a:lnTo>
                    <a:lnTo>
                      <a:pt x="406" y="842"/>
                    </a:lnTo>
                    <a:lnTo>
                      <a:pt x="406" y="840"/>
                    </a:lnTo>
                    <a:lnTo>
                      <a:pt x="408" y="840"/>
                    </a:lnTo>
                    <a:lnTo>
                      <a:pt x="408" y="842"/>
                    </a:lnTo>
                    <a:lnTo>
                      <a:pt x="410" y="842"/>
                    </a:lnTo>
                    <a:lnTo>
                      <a:pt x="408" y="844"/>
                    </a:lnTo>
                    <a:lnTo>
                      <a:pt x="410" y="844"/>
                    </a:lnTo>
                    <a:lnTo>
                      <a:pt x="408" y="844"/>
                    </a:lnTo>
                    <a:lnTo>
                      <a:pt x="408" y="846"/>
                    </a:lnTo>
                    <a:lnTo>
                      <a:pt x="406" y="846"/>
                    </a:lnTo>
                    <a:lnTo>
                      <a:pt x="408" y="846"/>
                    </a:lnTo>
                    <a:lnTo>
                      <a:pt x="408" y="848"/>
                    </a:lnTo>
                    <a:lnTo>
                      <a:pt x="408" y="850"/>
                    </a:lnTo>
                    <a:lnTo>
                      <a:pt x="406" y="850"/>
                    </a:lnTo>
                    <a:lnTo>
                      <a:pt x="406" y="852"/>
                    </a:lnTo>
                    <a:lnTo>
                      <a:pt x="408" y="852"/>
                    </a:lnTo>
                    <a:lnTo>
                      <a:pt x="408" y="850"/>
                    </a:lnTo>
                    <a:lnTo>
                      <a:pt x="408" y="852"/>
                    </a:lnTo>
                    <a:lnTo>
                      <a:pt x="410" y="852"/>
                    </a:lnTo>
                    <a:lnTo>
                      <a:pt x="410" y="854"/>
                    </a:lnTo>
                    <a:lnTo>
                      <a:pt x="410" y="856"/>
                    </a:lnTo>
                    <a:lnTo>
                      <a:pt x="410" y="858"/>
                    </a:lnTo>
                    <a:lnTo>
                      <a:pt x="408" y="856"/>
                    </a:lnTo>
                    <a:lnTo>
                      <a:pt x="410" y="856"/>
                    </a:lnTo>
                    <a:lnTo>
                      <a:pt x="408" y="856"/>
                    </a:lnTo>
                    <a:lnTo>
                      <a:pt x="408" y="854"/>
                    </a:lnTo>
                    <a:lnTo>
                      <a:pt x="408" y="856"/>
                    </a:lnTo>
                    <a:lnTo>
                      <a:pt x="410" y="856"/>
                    </a:lnTo>
                    <a:lnTo>
                      <a:pt x="408" y="856"/>
                    </a:lnTo>
                    <a:lnTo>
                      <a:pt x="408" y="858"/>
                    </a:lnTo>
                    <a:lnTo>
                      <a:pt x="410" y="858"/>
                    </a:lnTo>
                    <a:lnTo>
                      <a:pt x="410" y="860"/>
                    </a:lnTo>
                    <a:lnTo>
                      <a:pt x="411" y="860"/>
                    </a:lnTo>
                    <a:lnTo>
                      <a:pt x="411" y="862"/>
                    </a:lnTo>
                    <a:lnTo>
                      <a:pt x="411" y="864"/>
                    </a:lnTo>
                    <a:lnTo>
                      <a:pt x="413" y="864"/>
                    </a:lnTo>
                    <a:lnTo>
                      <a:pt x="411" y="864"/>
                    </a:lnTo>
                    <a:lnTo>
                      <a:pt x="413" y="865"/>
                    </a:lnTo>
                    <a:lnTo>
                      <a:pt x="415" y="867"/>
                    </a:lnTo>
                    <a:lnTo>
                      <a:pt x="413" y="869"/>
                    </a:lnTo>
                    <a:lnTo>
                      <a:pt x="415" y="871"/>
                    </a:lnTo>
                    <a:lnTo>
                      <a:pt x="415" y="873"/>
                    </a:lnTo>
                    <a:lnTo>
                      <a:pt x="415" y="875"/>
                    </a:lnTo>
                    <a:lnTo>
                      <a:pt x="415" y="877"/>
                    </a:lnTo>
                    <a:lnTo>
                      <a:pt x="415" y="879"/>
                    </a:lnTo>
                    <a:lnTo>
                      <a:pt x="415" y="881"/>
                    </a:lnTo>
                    <a:lnTo>
                      <a:pt x="413" y="881"/>
                    </a:lnTo>
                    <a:lnTo>
                      <a:pt x="413" y="883"/>
                    </a:lnTo>
                    <a:lnTo>
                      <a:pt x="411" y="881"/>
                    </a:lnTo>
                    <a:lnTo>
                      <a:pt x="413" y="883"/>
                    </a:lnTo>
                    <a:lnTo>
                      <a:pt x="413" y="881"/>
                    </a:lnTo>
                    <a:lnTo>
                      <a:pt x="415" y="881"/>
                    </a:lnTo>
                    <a:lnTo>
                      <a:pt x="415" y="883"/>
                    </a:lnTo>
                    <a:lnTo>
                      <a:pt x="415" y="885"/>
                    </a:lnTo>
                    <a:lnTo>
                      <a:pt x="415" y="887"/>
                    </a:lnTo>
                    <a:lnTo>
                      <a:pt x="417" y="889"/>
                    </a:lnTo>
                    <a:lnTo>
                      <a:pt x="417" y="890"/>
                    </a:lnTo>
                    <a:lnTo>
                      <a:pt x="417" y="892"/>
                    </a:lnTo>
                    <a:lnTo>
                      <a:pt x="417" y="894"/>
                    </a:lnTo>
                    <a:lnTo>
                      <a:pt x="417" y="896"/>
                    </a:lnTo>
                    <a:lnTo>
                      <a:pt x="417" y="898"/>
                    </a:lnTo>
                    <a:lnTo>
                      <a:pt x="417" y="900"/>
                    </a:lnTo>
                    <a:lnTo>
                      <a:pt x="417" y="902"/>
                    </a:lnTo>
                    <a:lnTo>
                      <a:pt x="415" y="902"/>
                    </a:lnTo>
                    <a:lnTo>
                      <a:pt x="415" y="904"/>
                    </a:lnTo>
                    <a:lnTo>
                      <a:pt x="413" y="904"/>
                    </a:lnTo>
                    <a:lnTo>
                      <a:pt x="413" y="906"/>
                    </a:lnTo>
                    <a:lnTo>
                      <a:pt x="413" y="908"/>
                    </a:lnTo>
                    <a:lnTo>
                      <a:pt x="413" y="910"/>
                    </a:lnTo>
                    <a:lnTo>
                      <a:pt x="413" y="912"/>
                    </a:lnTo>
                    <a:lnTo>
                      <a:pt x="413" y="914"/>
                    </a:lnTo>
                    <a:lnTo>
                      <a:pt x="415" y="915"/>
                    </a:lnTo>
                    <a:lnTo>
                      <a:pt x="415" y="917"/>
                    </a:lnTo>
                    <a:lnTo>
                      <a:pt x="417" y="917"/>
                    </a:lnTo>
                    <a:lnTo>
                      <a:pt x="415" y="917"/>
                    </a:lnTo>
                    <a:lnTo>
                      <a:pt x="415" y="919"/>
                    </a:lnTo>
                    <a:lnTo>
                      <a:pt x="413" y="919"/>
                    </a:lnTo>
                    <a:lnTo>
                      <a:pt x="413" y="921"/>
                    </a:lnTo>
                    <a:lnTo>
                      <a:pt x="413" y="923"/>
                    </a:lnTo>
                    <a:lnTo>
                      <a:pt x="415" y="923"/>
                    </a:lnTo>
                    <a:lnTo>
                      <a:pt x="413" y="923"/>
                    </a:lnTo>
                    <a:lnTo>
                      <a:pt x="413" y="925"/>
                    </a:lnTo>
                    <a:lnTo>
                      <a:pt x="415" y="925"/>
                    </a:lnTo>
                    <a:lnTo>
                      <a:pt x="415" y="927"/>
                    </a:lnTo>
                    <a:lnTo>
                      <a:pt x="413" y="927"/>
                    </a:lnTo>
                    <a:lnTo>
                      <a:pt x="415" y="927"/>
                    </a:lnTo>
                    <a:lnTo>
                      <a:pt x="415" y="929"/>
                    </a:lnTo>
                    <a:lnTo>
                      <a:pt x="415" y="931"/>
                    </a:lnTo>
                    <a:lnTo>
                      <a:pt x="415" y="933"/>
                    </a:lnTo>
                    <a:lnTo>
                      <a:pt x="413" y="933"/>
                    </a:lnTo>
                    <a:lnTo>
                      <a:pt x="415" y="935"/>
                    </a:lnTo>
                    <a:lnTo>
                      <a:pt x="415" y="937"/>
                    </a:lnTo>
                    <a:lnTo>
                      <a:pt x="413" y="937"/>
                    </a:lnTo>
                    <a:lnTo>
                      <a:pt x="413" y="939"/>
                    </a:lnTo>
                    <a:lnTo>
                      <a:pt x="413" y="940"/>
                    </a:lnTo>
                    <a:lnTo>
                      <a:pt x="413" y="942"/>
                    </a:lnTo>
                    <a:lnTo>
                      <a:pt x="413" y="944"/>
                    </a:lnTo>
                    <a:lnTo>
                      <a:pt x="413" y="946"/>
                    </a:lnTo>
                    <a:lnTo>
                      <a:pt x="413" y="948"/>
                    </a:lnTo>
                    <a:lnTo>
                      <a:pt x="413" y="950"/>
                    </a:lnTo>
                    <a:lnTo>
                      <a:pt x="413" y="952"/>
                    </a:lnTo>
                    <a:lnTo>
                      <a:pt x="413" y="954"/>
                    </a:lnTo>
                    <a:lnTo>
                      <a:pt x="413" y="956"/>
                    </a:lnTo>
                    <a:lnTo>
                      <a:pt x="413" y="958"/>
                    </a:lnTo>
                    <a:lnTo>
                      <a:pt x="413" y="960"/>
                    </a:lnTo>
                    <a:lnTo>
                      <a:pt x="413" y="962"/>
                    </a:lnTo>
                    <a:lnTo>
                      <a:pt x="411" y="962"/>
                    </a:lnTo>
                    <a:lnTo>
                      <a:pt x="411" y="960"/>
                    </a:lnTo>
                    <a:lnTo>
                      <a:pt x="411" y="958"/>
                    </a:lnTo>
                    <a:lnTo>
                      <a:pt x="411" y="956"/>
                    </a:lnTo>
                    <a:lnTo>
                      <a:pt x="411" y="954"/>
                    </a:lnTo>
                    <a:lnTo>
                      <a:pt x="410" y="952"/>
                    </a:lnTo>
                    <a:lnTo>
                      <a:pt x="410" y="950"/>
                    </a:lnTo>
                    <a:lnTo>
                      <a:pt x="408" y="950"/>
                    </a:lnTo>
                    <a:lnTo>
                      <a:pt x="408" y="948"/>
                    </a:lnTo>
                    <a:lnTo>
                      <a:pt x="406" y="948"/>
                    </a:lnTo>
                    <a:lnTo>
                      <a:pt x="406" y="950"/>
                    </a:lnTo>
                    <a:lnTo>
                      <a:pt x="404" y="948"/>
                    </a:lnTo>
                    <a:lnTo>
                      <a:pt x="404" y="946"/>
                    </a:lnTo>
                    <a:lnTo>
                      <a:pt x="402" y="944"/>
                    </a:lnTo>
                    <a:lnTo>
                      <a:pt x="402" y="942"/>
                    </a:lnTo>
                    <a:lnTo>
                      <a:pt x="400" y="942"/>
                    </a:lnTo>
                    <a:lnTo>
                      <a:pt x="398" y="942"/>
                    </a:lnTo>
                    <a:lnTo>
                      <a:pt x="396" y="940"/>
                    </a:lnTo>
                    <a:lnTo>
                      <a:pt x="396" y="942"/>
                    </a:lnTo>
                    <a:lnTo>
                      <a:pt x="394" y="942"/>
                    </a:lnTo>
                    <a:lnTo>
                      <a:pt x="392" y="942"/>
                    </a:lnTo>
                    <a:lnTo>
                      <a:pt x="392" y="940"/>
                    </a:lnTo>
                    <a:lnTo>
                      <a:pt x="390" y="940"/>
                    </a:lnTo>
                    <a:lnTo>
                      <a:pt x="390" y="939"/>
                    </a:lnTo>
                    <a:lnTo>
                      <a:pt x="388" y="939"/>
                    </a:lnTo>
                    <a:lnTo>
                      <a:pt x="388" y="937"/>
                    </a:lnTo>
                    <a:lnTo>
                      <a:pt x="387" y="935"/>
                    </a:lnTo>
                    <a:lnTo>
                      <a:pt x="385" y="933"/>
                    </a:lnTo>
                    <a:lnTo>
                      <a:pt x="383" y="931"/>
                    </a:lnTo>
                    <a:lnTo>
                      <a:pt x="381" y="931"/>
                    </a:lnTo>
                    <a:lnTo>
                      <a:pt x="381" y="929"/>
                    </a:lnTo>
                    <a:lnTo>
                      <a:pt x="379" y="927"/>
                    </a:lnTo>
                    <a:lnTo>
                      <a:pt x="381" y="927"/>
                    </a:lnTo>
                    <a:lnTo>
                      <a:pt x="379" y="927"/>
                    </a:lnTo>
                    <a:lnTo>
                      <a:pt x="379" y="925"/>
                    </a:lnTo>
                    <a:lnTo>
                      <a:pt x="377" y="925"/>
                    </a:lnTo>
                    <a:lnTo>
                      <a:pt x="377" y="923"/>
                    </a:lnTo>
                    <a:lnTo>
                      <a:pt x="375" y="921"/>
                    </a:lnTo>
                    <a:lnTo>
                      <a:pt x="373" y="917"/>
                    </a:lnTo>
                    <a:lnTo>
                      <a:pt x="371" y="915"/>
                    </a:lnTo>
                    <a:lnTo>
                      <a:pt x="369" y="912"/>
                    </a:lnTo>
                    <a:lnTo>
                      <a:pt x="367" y="910"/>
                    </a:lnTo>
                    <a:lnTo>
                      <a:pt x="365" y="908"/>
                    </a:lnTo>
                    <a:lnTo>
                      <a:pt x="365" y="906"/>
                    </a:lnTo>
                    <a:lnTo>
                      <a:pt x="363" y="906"/>
                    </a:lnTo>
                    <a:lnTo>
                      <a:pt x="363" y="904"/>
                    </a:lnTo>
                    <a:lnTo>
                      <a:pt x="362" y="902"/>
                    </a:lnTo>
                    <a:lnTo>
                      <a:pt x="360" y="900"/>
                    </a:lnTo>
                    <a:lnTo>
                      <a:pt x="360" y="898"/>
                    </a:lnTo>
                    <a:lnTo>
                      <a:pt x="358" y="896"/>
                    </a:lnTo>
                    <a:lnTo>
                      <a:pt x="356" y="896"/>
                    </a:lnTo>
                    <a:lnTo>
                      <a:pt x="356" y="894"/>
                    </a:lnTo>
                    <a:lnTo>
                      <a:pt x="358" y="894"/>
                    </a:lnTo>
                    <a:lnTo>
                      <a:pt x="358" y="892"/>
                    </a:lnTo>
                    <a:lnTo>
                      <a:pt x="358" y="890"/>
                    </a:lnTo>
                    <a:lnTo>
                      <a:pt x="358" y="889"/>
                    </a:lnTo>
                    <a:lnTo>
                      <a:pt x="358" y="890"/>
                    </a:lnTo>
                    <a:lnTo>
                      <a:pt x="358" y="892"/>
                    </a:lnTo>
                    <a:lnTo>
                      <a:pt x="358" y="894"/>
                    </a:lnTo>
                    <a:lnTo>
                      <a:pt x="356" y="894"/>
                    </a:lnTo>
                    <a:lnTo>
                      <a:pt x="356" y="896"/>
                    </a:lnTo>
                    <a:lnTo>
                      <a:pt x="358" y="896"/>
                    </a:lnTo>
                    <a:lnTo>
                      <a:pt x="358" y="898"/>
                    </a:lnTo>
                    <a:lnTo>
                      <a:pt x="360" y="898"/>
                    </a:lnTo>
                    <a:lnTo>
                      <a:pt x="360" y="900"/>
                    </a:lnTo>
                    <a:lnTo>
                      <a:pt x="362" y="902"/>
                    </a:lnTo>
                    <a:lnTo>
                      <a:pt x="362" y="904"/>
                    </a:lnTo>
                    <a:lnTo>
                      <a:pt x="363" y="904"/>
                    </a:lnTo>
                    <a:lnTo>
                      <a:pt x="363" y="906"/>
                    </a:lnTo>
                    <a:lnTo>
                      <a:pt x="362" y="904"/>
                    </a:lnTo>
                    <a:lnTo>
                      <a:pt x="362" y="902"/>
                    </a:lnTo>
                    <a:lnTo>
                      <a:pt x="360" y="900"/>
                    </a:lnTo>
                    <a:lnTo>
                      <a:pt x="356" y="896"/>
                    </a:lnTo>
                    <a:lnTo>
                      <a:pt x="356" y="894"/>
                    </a:lnTo>
                    <a:lnTo>
                      <a:pt x="354" y="894"/>
                    </a:lnTo>
                    <a:lnTo>
                      <a:pt x="354" y="892"/>
                    </a:lnTo>
                    <a:lnTo>
                      <a:pt x="352" y="892"/>
                    </a:lnTo>
                    <a:lnTo>
                      <a:pt x="352" y="890"/>
                    </a:lnTo>
                    <a:lnTo>
                      <a:pt x="350" y="890"/>
                    </a:lnTo>
                    <a:lnTo>
                      <a:pt x="348" y="889"/>
                    </a:lnTo>
                    <a:lnTo>
                      <a:pt x="348" y="887"/>
                    </a:lnTo>
                    <a:lnTo>
                      <a:pt x="346" y="885"/>
                    </a:lnTo>
                    <a:lnTo>
                      <a:pt x="342" y="883"/>
                    </a:lnTo>
                    <a:lnTo>
                      <a:pt x="340" y="881"/>
                    </a:lnTo>
                    <a:lnTo>
                      <a:pt x="338" y="881"/>
                    </a:lnTo>
                    <a:lnTo>
                      <a:pt x="338" y="879"/>
                    </a:lnTo>
                    <a:lnTo>
                      <a:pt x="337" y="879"/>
                    </a:lnTo>
                    <a:lnTo>
                      <a:pt x="337" y="877"/>
                    </a:lnTo>
                    <a:lnTo>
                      <a:pt x="335" y="877"/>
                    </a:lnTo>
                    <a:lnTo>
                      <a:pt x="337" y="877"/>
                    </a:lnTo>
                    <a:lnTo>
                      <a:pt x="338" y="877"/>
                    </a:lnTo>
                    <a:lnTo>
                      <a:pt x="340" y="877"/>
                    </a:lnTo>
                    <a:lnTo>
                      <a:pt x="340" y="879"/>
                    </a:lnTo>
                    <a:lnTo>
                      <a:pt x="340" y="881"/>
                    </a:lnTo>
                    <a:lnTo>
                      <a:pt x="340" y="879"/>
                    </a:lnTo>
                    <a:lnTo>
                      <a:pt x="340" y="877"/>
                    </a:lnTo>
                    <a:lnTo>
                      <a:pt x="340" y="875"/>
                    </a:lnTo>
                    <a:lnTo>
                      <a:pt x="340" y="873"/>
                    </a:lnTo>
                    <a:lnTo>
                      <a:pt x="338" y="873"/>
                    </a:lnTo>
                    <a:lnTo>
                      <a:pt x="338" y="875"/>
                    </a:lnTo>
                    <a:lnTo>
                      <a:pt x="337" y="875"/>
                    </a:lnTo>
                    <a:lnTo>
                      <a:pt x="335" y="875"/>
                    </a:lnTo>
                    <a:lnTo>
                      <a:pt x="333" y="875"/>
                    </a:lnTo>
                    <a:lnTo>
                      <a:pt x="333" y="873"/>
                    </a:lnTo>
                    <a:lnTo>
                      <a:pt x="331" y="871"/>
                    </a:lnTo>
                    <a:lnTo>
                      <a:pt x="329" y="871"/>
                    </a:lnTo>
                    <a:lnTo>
                      <a:pt x="331" y="871"/>
                    </a:lnTo>
                    <a:lnTo>
                      <a:pt x="329" y="871"/>
                    </a:lnTo>
                    <a:lnTo>
                      <a:pt x="327" y="869"/>
                    </a:lnTo>
                    <a:lnTo>
                      <a:pt x="327" y="867"/>
                    </a:lnTo>
                    <a:lnTo>
                      <a:pt x="325" y="867"/>
                    </a:lnTo>
                    <a:lnTo>
                      <a:pt x="325" y="865"/>
                    </a:lnTo>
                    <a:lnTo>
                      <a:pt x="325" y="864"/>
                    </a:lnTo>
                    <a:lnTo>
                      <a:pt x="325" y="865"/>
                    </a:lnTo>
                    <a:lnTo>
                      <a:pt x="325" y="867"/>
                    </a:lnTo>
                    <a:lnTo>
                      <a:pt x="323" y="867"/>
                    </a:lnTo>
                    <a:lnTo>
                      <a:pt x="323" y="865"/>
                    </a:lnTo>
                    <a:lnTo>
                      <a:pt x="321" y="865"/>
                    </a:lnTo>
                    <a:lnTo>
                      <a:pt x="321" y="864"/>
                    </a:lnTo>
                    <a:lnTo>
                      <a:pt x="321" y="865"/>
                    </a:lnTo>
                    <a:lnTo>
                      <a:pt x="323" y="865"/>
                    </a:lnTo>
                    <a:lnTo>
                      <a:pt x="323" y="867"/>
                    </a:lnTo>
                    <a:lnTo>
                      <a:pt x="325" y="869"/>
                    </a:lnTo>
                    <a:lnTo>
                      <a:pt x="327" y="869"/>
                    </a:lnTo>
                    <a:lnTo>
                      <a:pt x="329" y="871"/>
                    </a:lnTo>
                    <a:lnTo>
                      <a:pt x="331" y="873"/>
                    </a:lnTo>
                    <a:lnTo>
                      <a:pt x="333" y="873"/>
                    </a:lnTo>
                    <a:lnTo>
                      <a:pt x="333" y="875"/>
                    </a:lnTo>
                    <a:lnTo>
                      <a:pt x="335" y="877"/>
                    </a:lnTo>
                    <a:lnTo>
                      <a:pt x="337" y="877"/>
                    </a:lnTo>
                    <a:lnTo>
                      <a:pt x="337" y="879"/>
                    </a:lnTo>
                    <a:lnTo>
                      <a:pt x="337" y="877"/>
                    </a:lnTo>
                    <a:lnTo>
                      <a:pt x="335" y="877"/>
                    </a:lnTo>
                    <a:lnTo>
                      <a:pt x="333" y="875"/>
                    </a:lnTo>
                    <a:lnTo>
                      <a:pt x="331" y="873"/>
                    </a:lnTo>
                    <a:lnTo>
                      <a:pt x="329" y="871"/>
                    </a:lnTo>
                    <a:lnTo>
                      <a:pt x="325" y="867"/>
                    </a:lnTo>
                    <a:lnTo>
                      <a:pt x="323" y="867"/>
                    </a:lnTo>
                    <a:lnTo>
                      <a:pt x="321" y="865"/>
                    </a:lnTo>
                    <a:lnTo>
                      <a:pt x="319" y="864"/>
                    </a:lnTo>
                    <a:lnTo>
                      <a:pt x="317" y="864"/>
                    </a:lnTo>
                    <a:lnTo>
                      <a:pt x="317" y="862"/>
                    </a:lnTo>
                    <a:lnTo>
                      <a:pt x="315" y="860"/>
                    </a:lnTo>
                    <a:lnTo>
                      <a:pt x="314" y="858"/>
                    </a:lnTo>
                    <a:lnTo>
                      <a:pt x="312" y="854"/>
                    </a:lnTo>
                    <a:lnTo>
                      <a:pt x="310" y="854"/>
                    </a:lnTo>
                    <a:lnTo>
                      <a:pt x="310" y="852"/>
                    </a:lnTo>
                    <a:lnTo>
                      <a:pt x="308" y="852"/>
                    </a:lnTo>
                    <a:lnTo>
                      <a:pt x="308" y="850"/>
                    </a:lnTo>
                    <a:lnTo>
                      <a:pt x="306" y="848"/>
                    </a:lnTo>
                    <a:lnTo>
                      <a:pt x="304" y="846"/>
                    </a:lnTo>
                    <a:lnTo>
                      <a:pt x="302" y="844"/>
                    </a:lnTo>
                    <a:lnTo>
                      <a:pt x="300" y="842"/>
                    </a:lnTo>
                    <a:lnTo>
                      <a:pt x="300" y="840"/>
                    </a:lnTo>
                    <a:lnTo>
                      <a:pt x="294" y="835"/>
                    </a:lnTo>
                    <a:lnTo>
                      <a:pt x="292" y="835"/>
                    </a:lnTo>
                    <a:lnTo>
                      <a:pt x="292" y="833"/>
                    </a:lnTo>
                    <a:lnTo>
                      <a:pt x="290" y="831"/>
                    </a:lnTo>
                    <a:lnTo>
                      <a:pt x="289" y="831"/>
                    </a:lnTo>
                    <a:lnTo>
                      <a:pt x="289" y="829"/>
                    </a:lnTo>
                    <a:lnTo>
                      <a:pt x="287" y="827"/>
                    </a:lnTo>
                    <a:lnTo>
                      <a:pt x="287" y="825"/>
                    </a:lnTo>
                    <a:lnTo>
                      <a:pt x="285" y="825"/>
                    </a:lnTo>
                    <a:lnTo>
                      <a:pt x="283" y="823"/>
                    </a:lnTo>
                    <a:lnTo>
                      <a:pt x="283" y="821"/>
                    </a:lnTo>
                    <a:lnTo>
                      <a:pt x="281" y="819"/>
                    </a:lnTo>
                    <a:lnTo>
                      <a:pt x="279" y="819"/>
                    </a:lnTo>
                    <a:lnTo>
                      <a:pt x="279" y="817"/>
                    </a:lnTo>
                    <a:lnTo>
                      <a:pt x="277" y="817"/>
                    </a:lnTo>
                    <a:lnTo>
                      <a:pt x="277" y="816"/>
                    </a:lnTo>
                    <a:lnTo>
                      <a:pt x="275" y="816"/>
                    </a:lnTo>
                    <a:lnTo>
                      <a:pt x="275" y="814"/>
                    </a:lnTo>
                    <a:lnTo>
                      <a:pt x="273" y="812"/>
                    </a:lnTo>
                    <a:lnTo>
                      <a:pt x="271" y="810"/>
                    </a:lnTo>
                    <a:lnTo>
                      <a:pt x="269" y="808"/>
                    </a:lnTo>
                    <a:lnTo>
                      <a:pt x="267" y="806"/>
                    </a:lnTo>
                    <a:lnTo>
                      <a:pt x="265" y="804"/>
                    </a:lnTo>
                    <a:lnTo>
                      <a:pt x="264" y="802"/>
                    </a:lnTo>
                    <a:lnTo>
                      <a:pt x="262" y="800"/>
                    </a:lnTo>
                    <a:lnTo>
                      <a:pt x="260" y="798"/>
                    </a:lnTo>
                    <a:lnTo>
                      <a:pt x="258" y="796"/>
                    </a:lnTo>
                    <a:lnTo>
                      <a:pt x="256" y="794"/>
                    </a:lnTo>
                    <a:lnTo>
                      <a:pt x="254" y="792"/>
                    </a:lnTo>
                    <a:lnTo>
                      <a:pt x="252" y="791"/>
                    </a:lnTo>
                    <a:lnTo>
                      <a:pt x="250" y="791"/>
                    </a:lnTo>
                    <a:lnTo>
                      <a:pt x="250" y="789"/>
                    </a:lnTo>
                    <a:lnTo>
                      <a:pt x="248" y="787"/>
                    </a:lnTo>
                    <a:lnTo>
                      <a:pt x="246" y="787"/>
                    </a:lnTo>
                    <a:lnTo>
                      <a:pt x="246" y="785"/>
                    </a:lnTo>
                    <a:lnTo>
                      <a:pt x="244" y="783"/>
                    </a:lnTo>
                    <a:lnTo>
                      <a:pt x="242" y="783"/>
                    </a:lnTo>
                    <a:lnTo>
                      <a:pt x="242" y="781"/>
                    </a:lnTo>
                    <a:lnTo>
                      <a:pt x="241" y="779"/>
                    </a:lnTo>
                    <a:lnTo>
                      <a:pt x="239" y="777"/>
                    </a:lnTo>
                    <a:lnTo>
                      <a:pt x="237" y="775"/>
                    </a:lnTo>
                    <a:lnTo>
                      <a:pt x="235" y="773"/>
                    </a:lnTo>
                    <a:lnTo>
                      <a:pt x="233" y="771"/>
                    </a:lnTo>
                    <a:lnTo>
                      <a:pt x="231" y="769"/>
                    </a:lnTo>
                    <a:lnTo>
                      <a:pt x="229" y="767"/>
                    </a:lnTo>
                    <a:lnTo>
                      <a:pt x="227" y="766"/>
                    </a:lnTo>
                    <a:lnTo>
                      <a:pt x="227" y="764"/>
                    </a:lnTo>
                    <a:lnTo>
                      <a:pt x="225" y="764"/>
                    </a:lnTo>
                    <a:lnTo>
                      <a:pt x="223" y="762"/>
                    </a:lnTo>
                    <a:lnTo>
                      <a:pt x="223" y="760"/>
                    </a:lnTo>
                    <a:lnTo>
                      <a:pt x="221" y="760"/>
                    </a:lnTo>
                    <a:lnTo>
                      <a:pt x="221" y="758"/>
                    </a:lnTo>
                    <a:lnTo>
                      <a:pt x="219" y="756"/>
                    </a:lnTo>
                    <a:lnTo>
                      <a:pt x="217" y="754"/>
                    </a:lnTo>
                    <a:lnTo>
                      <a:pt x="217" y="752"/>
                    </a:lnTo>
                    <a:lnTo>
                      <a:pt x="216" y="752"/>
                    </a:lnTo>
                    <a:lnTo>
                      <a:pt x="216" y="750"/>
                    </a:lnTo>
                    <a:lnTo>
                      <a:pt x="214" y="750"/>
                    </a:lnTo>
                    <a:lnTo>
                      <a:pt x="214" y="748"/>
                    </a:lnTo>
                    <a:lnTo>
                      <a:pt x="212" y="748"/>
                    </a:lnTo>
                    <a:lnTo>
                      <a:pt x="212" y="746"/>
                    </a:lnTo>
                    <a:lnTo>
                      <a:pt x="210" y="746"/>
                    </a:lnTo>
                    <a:lnTo>
                      <a:pt x="210" y="744"/>
                    </a:lnTo>
                    <a:lnTo>
                      <a:pt x="208" y="742"/>
                    </a:lnTo>
                    <a:lnTo>
                      <a:pt x="206" y="741"/>
                    </a:lnTo>
                    <a:lnTo>
                      <a:pt x="206" y="739"/>
                    </a:lnTo>
                    <a:lnTo>
                      <a:pt x="204" y="739"/>
                    </a:lnTo>
                    <a:lnTo>
                      <a:pt x="204" y="737"/>
                    </a:lnTo>
                    <a:lnTo>
                      <a:pt x="202" y="737"/>
                    </a:lnTo>
                    <a:lnTo>
                      <a:pt x="202" y="735"/>
                    </a:lnTo>
                    <a:lnTo>
                      <a:pt x="200" y="733"/>
                    </a:lnTo>
                    <a:lnTo>
                      <a:pt x="198" y="731"/>
                    </a:lnTo>
                    <a:lnTo>
                      <a:pt x="198" y="729"/>
                    </a:lnTo>
                    <a:lnTo>
                      <a:pt x="198" y="727"/>
                    </a:lnTo>
                    <a:lnTo>
                      <a:pt x="196" y="725"/>
                    </a:lnTo>
                    <a:lnTo>
                      <a:pt x="196" y="723"/>
                    </a:lnTo>
                    <a:lnTo>
                      <a:pt x="194" y="721"/>
                    </a:lnTo>
                    <a:lnTo>
                      <a:pt x="192" y="719"/>
                    </a:lnTo>
                    <a:lnTo>
                      <a:pt x="192" y="717"/>
                    </a:lnTo>
                    <a:lnTo>
                      <a:pt x="191" y="716"/>
                    </a:lnTo>
                    <a:lnTo>
                      <a:pt x="191" y="714"/>
                    </a:lnTo>
                    <a:lnTo>
                      <a:pt x="189" y="712"/>
                    </a:lnTo>
                    <a:lnTo>
                      <a:pt x="189" y="710"/>
                    </a:lnTo>
                    <a:lnTo>
                      <a:pt x="187" y="710"/>
                    </a:lnTo>
                    <a:lnTo>
                      <a:pt x="187" y="708"/>
                    </a:lnTo>
                    <a:lnTo>
                      <a:pt x="185" y="706"/>
                    </a:lnTo>
                    <a:lnTo>
                      <a:pt x="183" y="702"/>
                    </a:lnTo>
                    <a:lnTo>
                      <a:pt x="181" y="700"/>
                    </a:lnTo>
                    <a:lnTo>
                      <a:pt x="179" y="698"/>
                    </a:lnTo>
                    <a:lnTo>
                      <a:pt x="179" y="696"/>
                    </a:lnTo>
                    <a:lnTo>
                      <a:pt x="179" y="694"/>
                    </a:lnTo>
                    <a:lnTo>
                      <a:pt x="177" y="692"/>
                    </a:lnTo>
                    <a:lnTo>
                      <a:pt x="179" y="692"/>
                    </a:lnTo>
                    <a:lnTo>
                      <a:pt x="179" y="694"/>
                    </a:lnTo>
                    <a:lnTo>
                      <a:pt x="179" y="692"/>
                    </a:lnTo>
                    <a:lnTo>
                      <a:pt x="177" y="692"/>
                    </a:lnTo>
                    <a:lnTo>
                      <a:pt x="177" y="691"/>
                    </a:lnTo>
                    <a:lnTo>
                      <a:pt x="179" y="691"/>
                    </a:lnTo>
                    <a:lnTo>
                      <a:pt x="177" y="691"/>
                    </a:lnTo>
                    <a:lnTo>
                      <a:pt x="177" y="689"/>
                    </a:lnTo>
                    <a:lnTo>
                      <a:pt x="179" y="689"/>
                    </a:lnTo>
                    <a:lnTo>
                      <a:pt x="181" y="689"/>
                    </a:lnTo>
                    <a:lnTo>
                      <a:pt x="179" y="687"/>
                    </a:lnTo>
                    <a:lnTo>
                      <a:pt x="179" y="689"/>
                    </a:lnTo>
                    <a:lnTo>
                      <a:pt x="177" y="689"/>
                    </a:lnTo>
                    <a:lnTo>
                      <a:pt x="175" y="687"/>
                    </a:lnTo>
                    <a:lnTo>
                      <a:pt x="175" y="685"/>
                    </a:lnTo>
                    <a:lnTo>
                      <a:pt x="173" y="683"/>
                    </a:lnTo>
                    <a:lnTo>
                      <a:pt x="173" y="681"/>
                    </a:lnTo>
                    <a:lnTo>
                      <a:pt x="173" y="679"/>
                    </a:lnTo>
                    <a:lnTo>
                      <a:pt x="171" y="679"/>
                    </a:lnTo>
                    <a:lnTo>
                      <a:pt x="171" y="677"/>
                    </a:lnTo>
                    <a:lnTo>
                      <a:pt x="171" y="675"/>
                    </a:lnTo>
                    <a:lnTo>
                      <a:pt x="169" y="673"/>
                    </a:lnTo>
                    <a:lnTo>
                      <a:pt x="169" y="671"/>
                    </a:lnTo>
                    <a:lnTo>
                      <a:pt x="168" y="669"/>
                    </a:lnTo>
                    <a:lnTo>
                      <a:pt x="168" y="667"/>
                    </a:lnTo>
                    <a:lnTo>
                      <a:pt x="168" y="666"/>
                    </a:lnTo>
                    <a:lnTo>
                      <a:pt x="166" y="666"/>
                    </a:lnTo>
                    <a:lnTo>
                      <a:pt x="166" y="664"/>
                    </a:lnTo>
                    <a:lnTo>
                      <a:pt x="164" y="660"/>
                    </a:lnTo>
                    <a:lnTo>
                      <a:pt x="164" y="658"/>
                    </a:lnTo>
                    <a:lnTo>
                      <a:pt x="162" y="658"/>
                    </a:lnTo>
                    <a:lnTo>
                      <a:pt x="162" y="654"/>
                    </a:lnTo>
                    <a:lnTo>
                      <a:pt x="162" y="652"/>
                    </a:lnTo>
                    <a:lnTo>
                      <a:pt x="160" y="652"/>
                    </a:lnTo>
                    <a:lnTo>
                      <a:pt x="160" y="650"/>
                    </a:lnTo>
                    <a:lnTo>
                      <a:pt x="160" y="648"/>
                    </a:lnTo>
                    <a:lnTo>
                      <a:pt x="160" y="644"/>
                    </a:lnTo>
                    <a:lnTo>
                      <a:pt x="160" y="642"/>
                    </a:lnTo>
                    <a:lnTo>
                      <a:pt x="160" y="641"/>
                    </a:lnTo>
                    <a:lnTo>
                      <a:pt x="160" y="642"/>
                    </a:lnTo>
                    <a:lnTo>
                      <a:pt x="160" y="644"/>
                    </a:lnTo>
                    <a:lnTo>
                      <a:pt x="160" y="646"/>
                    </a:lnTo>
                    <a:lnTo>
                      <a:pt x="160" y="648"/>
                    </a:lnTo>
                    <a:lnTo>
                      <a:pt x="162" y="648"/>
                    </a:lnTo>
                    <a:lnTo>
                      <a:pt x="162" y="650"/>
                    </a:lnTo>
                    <a:lnTo>
                      <a:pt x="164" y="652"/>
                    </a:lnTo>
                    <a:lnTo>
                      <a:pt x="164" y="654"/>
                    </a:lnTo>
                    <a:lnTo>
                      <a:pt x="166" y="654"/>
                    </a:lnTo>
                    <a:lnTo>
                      <a:pt x="166" y="656"/>
                    </a:lnTo>
                    <a:lnTo>
                      <a:pt x="168" y="656"/>
                    </a:lnTo>
                    <a:lnTo>
                      <a:pt x="168" y="658"/>
                    </a:lnTo>
                    <a:lnTo>
                      <a:pt x="166" y="658"/>
                    </a:lnTo>
                    <a:lnTo>
                      <a:pt x="168" y="658"/>
                    </a:lnTo>
                    <a:lnTo>
                      <a:pt x="168" y="660"/>
                    </a:lnTo>
                    <a:lnTo>
                      <a:pt x="169" y="660"/>
                    </a:lnTo>
                    <a:lnTo>
                      <a:pt x="171" y="660"/>
                    </a:lnTo>
                    <a:lnTo>
                      <a:pt x="169" y="660"/>
                    </a:lnTo>
                    <a:lnTo>
                      <a:pt x="168" y="660"/>
                    </a:lnTo>
                    <a:lnTo>
                      <a:pt x="168" y="658"/>
                    </a:lnTo>
                    <a:lnTo>
                      <a:pt x="166" y="658"/>
                    </a:lnTo>
                    <a:lnTo>
                      <a:pt x="168" y="658"/>
                    </a:lnTo>
                    <a:lnTo>
                      <a:pt x="168" y="656"/>
                    </a:lnTo>
                    <a:lnTo>
                      <a:pt x="166" y="656"/>
                    </a:lnTo>
                    <a:lnTo>
                      <a:pt x="166" y="654"/>
                    </a:lnTo>
                    <a:lnTo>
                      <a:pt x="164" y="654"/>
                    </a:lnTo>
                    <a:lnTo>
                      <a:pt x="164" y="652"/>
                    </a:lnTo>
                    <a:lnTo>
                      <a:pt x="164" y="650"/>
                    </a:lnTo>
                    <a:lnTo>
                      <a:pt x="164" y="652"/>
                    </a:lnTo>
                    <a:lnTo>
                      <a:pt x="164" y="650"/>
                    </a:lnTo>
                    <a:lnTo>
                      <a:pt x="162" y="650"/>
                    </a:lnTo>
                    <a:lnTo>
                      <a:pt x="162" y="648"/>
                    </a:lnTo>
                    <a:lnTo>
                      <a:pt x="160" y="648"/>
                    </a:lnTo>
                    <a:lnTo>
                      <a:pt x="160" y="646"/>
                    </a:lnTo>
                    <a:lnTo>
                      <a:pt x="162" y="646"/>
                    </a:lnTo>
                    <a:lnTo>
                      <a:pt x="160" y="646"/>
                    </a:lnTo>
                    <a:lnTo>
                      <a:pt x="160" y="644"/>
                    </a:lnTo>
                    <a:lnTo>
                      <a:pt x="160" y="642"/>
                    </a:lnTo>
                    <a:lnTo>
                      <a:pt x="162" y="642"/>
                    </a:lnTo>
                    <a:lnTo>
                      <a:pt x="162" y="641"/>
                    </a:lnTo>
                    <a:lnTo>
                      <a:pt x="160" y="639"/>
                    </a:lnTo>
                    <a:lnTo>
                      <a:pt x="160" y="637"/>
                    </a:lnTo>
                    <a:lnTo>
                      <a:pt x="162" y="635"/>
                    </a:lnTo>
                    <a:lnTo>
                      <a:pt x="162" y="633"/>
                    </a:lnTo>
                    <a:lnTo>
                      <a:pt x="162" y="631"/>
                    </a:lnTo>
                    <a:lnTo>
                      <a:pt x="162" y="629"/>
                    </a:lnTo>
                    <a:lnTo>
                      <a:pt x="162" y="627"/>
                    </a:lnTo>
                    <a:lnTo>
                      <a:pt x="162" y="625"/>
                    </a:lnTo>
                    <a:lnTo>
                      <a:pt x="162" y="623"/>
                    </a:lnTo>
                    <a:lnTo>
                      <a:pt x="160" y="621"/>
                    </a:lnTo>
                    <a:lnTo>
                      <a:pt x="160" y="619"/>
                    </a:lnTo>
                    <a:lnTo>
                      <a:pt x="158" y="619"/>
                    </a:lnTo>
                    <a:lnTo>
                      <a:pt x="158" y="617"/>
                    </a:lnTo>
                    <a:lnTo>
                      <a:pt x="160" y="617"/>
                    </a:lnTo>
                    <a:lnTo>
                      <a:pt x="162" y="617"/>
                    </a:lnTo>
                    <a:lnTo>
                      <a:pt x="164" y="617"/>
                    </a:lnTo>
                    <a:lnTo>
                      <a:pt x="164" y="619"/>
                    </a:lnTo>
                    <a:lnTo>
                      <a:pt x="164" y="621"/>
                    </a:lnTo>
                    <a:lnTo>
                      <a:pt x="166" y="621"/>
                    </a:lnTo>
                    <a:lnTo>
                      <a:pt x="166" y="623"/>
                    </a:lnTo>
                    <a:lnTo>
                      <a:pt x="166" y="621"/>
                    </a:lnTo>
                    <a:lnTo>
                      <a:pt x="166" y="619"/>
                    </a:lnTo>
                    <a:lnTo>
                      <a:pt x="166" y="621"/>
                    </a:lnTo>
                    <a:lnTo>
                      <a:pt x="164" y="621"/>
                    </a:lnTo>
                    <a:lnTo>
                      <a:pt x="164" y="619"/>
                    </a:lnTo>
                    <a:lnTo>
                      <a:pt x="166" y="619"/>
                    </a:lnTo>
                    <a:lnTo>
                      <a:pt x="164" y="619"/>
                    </a:lnTo>
                    <a:lnTo>
                      <a:pt x="164" y="617"/>
                    </a:lnTo>
                    <a:lnTo>
                      <a:pt x="164" y="616"/>
                    </a:lnTo>
                    <a:lnTo>
                      <a:pt x="166" y="616"/>
                    </a:lnTo>
                    <a:lnTo>
                      <a:pt x="168" y="616"/>
                    </a:lnTo>
                    <a:lnTo>
                      <a:pt x="169" y="616"/>
                    </a:lnTo>
                    <a:lnTo>
                      <a:pt x="168" y="617"/>
                    </a:lnTo>
                    <a:lnTo>
                      <a:pt x="168" y="616"/>
                    </a:lnTo>
                    <a:lnTo>
                      <a:pt x="168" y="617"/>
                    </a:lnTo>
                    <a:lnTo>
                      <a:pt x="169" y="617"/>
                    </a:lnTo>
                    <a:lnTo>
                      <a:pt x="168" y="617"/>
                    </a:lnTo>
                    <a:lnTo>
                      <a:pt x="169" y="617"/>
                    </a:lnTo>
                    <a:lnTo>
                      <a:pt x="169" y="619"/>
                    </a:lnTo>
                    <a:lnTo>
                      <a:pt x="171" y="619"/>
                    </a:lnTo>
                    <a:lnTo>
                      <a:pt x="173" y="619"/>
                    </a:lnTo>
                    <a:lnTo>
                      <a:pt x="173" y="621"/>
                    </a:lnTo>
                    <a:lnTo>
                      <a:pt x="175" y="621"/>
                    </a:lnTo>
                    <a:lnTo>
                      <a:pt x="175" y="619"/>
                    </a:lnTo>
                    <a:lnTo>
                      <a:pt x="175" y="621"/>
                    </a:lnTo>
                    <a:lnTo>
                      <a:pt x="177" y="621"/>
                    </a:lnTo>
                    <a:lnTo>
                      <a:pt x="177" y="623"/>
                    </a:lnTo>
                    <a:lnTo>
                      <a:pt x="179" y="623"/>
                    </a:lnTo>
                    <a:lnTo>
                      <a:pt x="181" y="623"/>
                    </a:lnTo>
                    <a:lnTo>
                      <a:pt x="183" y="623"/>
                    </a:lnTo>
                    <a:lnTo>
                      <a:pt x="185" y="623"/>
                    </a:lnTo>
                    <a:lnTo>
                      <a:pt x="187" y="623"/>
                    </a:lnTo>
                    <a:lnTo>
                      <a:pt x="187" y="625"/>
                    </a:lnTo>
                    <a:lnTo>
                      <a:pt x="189" y="627"/>
                    </a:lnTo>
                    <a:lnTo>
                      <a:pt x="189" y="625"/>
                    </a:lnTo>
                    <a:lnTo>
                      <a:pt x="191" y="625"/>
                    </a:lnTo>
                    <a:lnTo>
                      <a:pt x="189" y="625"/>
                    </a:lnTo>
                    <a:lnTo>
                      <a:pt x="189" y="627"/>
                    </a:lnTo>
                    <a:lnTo>
                      <a:pt x="189" y="625"/>
                    </a:lnTo>
                    <a:lnTo>
                      <a:pt x="189" y="627"/>
                    </a:lnTo>
                    <a:lnTo>
                      <a:pt x="187" y="625"/>
                    </a:lnTo>
                    <a:lnTo>
                      <a:pt x="185" y="623"/>
                    </a:lnTo>
                    <a:lnTo>
                      <a:pt x="183" y="623"/>
                    </a:lnTo>
                    <a:lnTo>
                      <a:pt x="181" y="623"/>
                    </a:lnTo>
                    <a:lnTo>
                      <a:pt x="179" y="623"/>
                    </a:lnTo>
                    <a:lnTo>
                      <a:pt x="177" y="621"/>
                    </a:lnTo>
                    <a:lnTo>
                      <a:pt x="175" y="621"/>
                    </a:lnTo>
                    <a:lnTo>
                      <a:pt x="175" y="619"/>
                    </a:lnTo>
                    <a:lnTo>
                      <a:pt x="175" y="621"/>
                    </a:lnTo>
                    <a:lnTo>
                      <a:pt x="175" y="619"/>
                    </a:lnTo>
                    <a:lnTo>
                      <a:pt x="173" y="621"/>
                    </a:lnTo>
                    <a:lnTo>
                      <a:pt x="175" y="621"/>
                    </a:lnTo>
                    <a:lnTo>
                      <a:pt x="173" y="621"/>
                    </a:lnTo>
                    <a:lnTo>
                      <a:pt x="173" y="619"/>
                    </a:lnTo>
                    <a:lnTo>
                      <a:pt x="171" y="619"/>
                    </a:lnTo>
                    <a:lnTo>
                      <a:pt x="169" y="617"/>
                    </a:lnTo>
                    <a:lnTo>
                      <a:pt x="168" y="617"/>
                    </a:lnTo>
                    <a:lnTo>
                      <a:pt x="169" y="617"/>
                    </a:lnTo>
                    <a:lnTo>
                      <a:pt x="169" y="616"/>
                    </a:lnTo>
                    <a:lnTo>
                      <a:pt x="168" y="616"/>
                    </a:lnTo>
                    <a:lnTo>
                      <a:pt x="166" y="616"/>
                    </a:lnTo>
                    <a:lnTo>
                      <a:pt x="164" y="616"/>
                    </a:lnTo>
                    <a:lnTo>
                      <a:pt x="164" y="614"/>
                    </a:lnTo>
                    <a:lnTo>
                      <a:pt x="162" y="614"/>
                    </a:lnTo>
                    <a:lnTo>
                      <a:pt x="164" y="614"/>
                    </a:lnTo>
                    <a:lnTo>
                      <a:pt x="162" y="612"/>
                    </a:lnTo>
                    <a:lnTo>
                      <a:pt x="162" y="610"/>
                    </a:lnTo>
                    <a:lnTo>
                      <a:pt x="162" y="608"/>
                    </a:lnTo>
                    <a:lnTo>
                      <a:pt x="162" y="606"/>
                    </a:lnTo>
                    <a:lnTo>
                      <a:pt x="162" y="604"/>
                    </a:lnTo>
                    <a:lnTo>
                      <a:pt x="160" y="602"/>
                    </a:lnTo>
                    <a:lnTo>
                      <a:pt x="160" y="600"/>
                    </a:lnTo>
                    <a:lnTo>
                      <a:pt x="160" y="598"/>
                    </a:lnTo>
                    <a:lnTo>
                      <a:pt x="158" y="596"/>
                    </a:lnTo>
                    <a:lnTo>
                      <a:pt x="158" y="594"/>
                    </a:lnTo>
                    <a:lnTo>
                      <a:pt x="158" y="591"/>
                    </a:lnTo>
                    <a:lnTo>
                      <a:pt x="156" y="591"/>
                    </a:lnTo>
                    <a:lnTo>
                      <a:pt x="156" y="589"/>
                    </a:lnTo>
                    <a:lnTo>
                      <a:pt x="154" y="587"/>
                    </a:lnTo>
                    <a:lnTo>
                      <a:pt x="152" y="587"/>
                    </a:lnTo>
                    <a:lnTo>
                      <a:pt x="150" y="583"/>
                    </a:lnTo>
                    <a:lnTo>
                      <a:pt x="148" y="583"/>
                    </a:lnTo>
                    <a:lnTo>
                      <a:pt x="148" y="581"/>
                    </a:lnTo>
                    <a:lnTo>
                      <a:pt x="148" y="583"/>
                    </a:lnTo>
                    <a:lnTo>
                      <a:pt x="146" y="581"/>
                    </a:lnTo>
                    <a:lnTo>
                      <a:pt x="144" y="581"/>
                    </a:lnTo>
                    <a:lnTo>
                      <a:pt x="144" y="579"/>
                    </a:lnTo>
                    <a:lnTo>
                      <a:pt x="143" y="579"/>
                    </a:lnTo>
                    <a:lnTo>
                      <a:pt x="144" y="579"/>
                    </a:lnTo>
                    <a:lnTo>
                      <a:pt x="146" y="577"/>
                    </a:lnTo>
                    <a:lnTo>
                      <a:pt x="144" y="577"/>
                    </a:lnTo>
                    <a:lnTo>
                      <a:pt x="144" y="579"/>
                    </a:lnTo>
                    <a:lnTo>
                      <a:pt x="143" y="579"/>
                    </a:lnTo>
                    <a:lnTo>
                      <a:pt x="141" y="579"/>
                    </a:lnTo>
                    <a:lnTo>
                      <a:pt x="139" y="579"/>
                    </a:lnTo>
                    <a:lnTo>
                      <a:pt x="139" y="577"/>
                    </a:lnTo>
                    <a:lnTo>
                      <a:pt x="139" y="575"/>
                    </a:lnTo>
                    <a:lnTo>
                      <a:pt x="141" y="575"/>
                    </a:lnTo>
                    <a:lnTo>
                      <a:pt x="139" y="575"/>
                    </a:lnTo>
                    <a:lnTo>
                      <a:pt x="139" y="573"/>
                    </a:lnTo>
                    <a:lnTo>
                      <a:pt x="141" y="573"/>
                    </a:lnTo>
                    <a:lnTo>
                      <a:pt x="141" y="571"/>
                    </a:lnTo>
                    <a:lnTo>
                      <a:pt x="141" y="569"/>
                    </a:lnTo>
                    <a:lnTo>
                      <a:pt x="141" y="568"/>
                    </a:lnTo>
                    <a:lnTo>
                      <a:pt x="141" y="569"/>
                    </a:lnTo>
                    <a:lnTo>
                      <a:pt x="143" y="569"/>
                    </a:lnTo>
                    <a:lnTo>
                      <a:pt x="144" y="571"/>
                    </a:lnTo>
                    <a:lnTo>
                      <a:pt x="146" y="569"/>
                    </a:lnTo>
                    <a:lnTo>
                      <a:pt x="146" y="571"/>
                    </a:lnTo>
                    <a:lnTo>
                      <a:pt x="148" y="571"/>
                    </a:lnTo>
                    <a:lnTo>
                      <a:pt x="150" y="571"/>
                    </a:lnTo>
                    <a:lnTo>
                      <a:pt x="148" y="571"/>
                    </a:lnTo>
                    <a:lnTo>
                      <a:pt x="148" y="569"/>
                    </a:lnTo>
                    <a:lnTo>
                      <a:pt x="146" y="571"/>
                    </a:lnTo>
                    <a:lnTo>
                      <a:pt x="146" y="569"/>
                    </a:lnTo>
                    <a:lnTo>
                      <a:pt x="148" y="569"/>
                    </a:lnTo>
                    <a:lnTo>
                      <a:pt x="150" y="569"/>
                    </a:lnTo>
                    <a:lnTo>
                      <a:pt x="150" y="568"/>
                    </a:lnTo>
                    <a:lnTo>
                      <a:pt x="152" y="568"/>
                    </a:lnTo>
                    <a:lnTo>
                      <a:pt x="152" y="566"/>
                    </a:lnTo>
                    <a:lnTo>
                      <a:pt x="154" y="566"/>
                    </a:lnTo>
                    <a:lnTo>
                      <a:pt x="154" y="564"/>
                    </a:lnTo>
                    <a:lnTo>
                      <a:pt x="154" y="562"/>
                    </a:lnTo>
                    <a:lnTo>
                      <a:pt x="154" y="560"/>
                    </a:lnTo>
                    <a:lnTo>
                      <a:pt x="154" y="558"/>
                    </a:lnTo>
                    <a:lnTo>
                      <a:pt x="154" y="556"/>
                    </a:lnTo>
                    <a:lnTo>
                      <a:pt x="154" y="554"/>
                    </a:lnTo>
                    <a:lnTo>
                      <a:pt x="152" y="554"/>
                    </a:lnTo>
                    <a:lnTo>
                      <a:pt x="152" y="552"/>
                    </a:lnTo>
                    <a:lnTo>
                      <a:pt x="152" y="550"/>
                    </a:lnTo>
                    <a:lnTo>
                      <a:pt x="152" y="548"/>
                    </a:lnTo>
                    <a:lnTo>
                      <a:pt x="150" y="548"/>
                    </a:lnTo>
                    <a:lnTo>
                      <a:pt x="150" y="546"/>
                    </a:lnTo>
                    <a:lnTo>
                      <a:pt x="152" y="546"/>
                    </a:lnTo>
                    <a:lnTo>
                      <a:pt x="152" y="544"/>
                    </a:lnTo>
                    <a:lnTo>
                      <a:pt x="152" y="546"/>
                    </a:lnTo>
                    <a:lnTo>
                      <a:pt x="154" y="546"/>
                    </a:lnTo>
                    <a:lnTo>
                      <a:pt x="156" y="546"/>
                    </a:lnTo>
                    <a:lnTo>
                      <a:pt x="158" y="544"/>
                    </a:lnTo>
                    <a:lnTo>
                      <a:pt x="160" y="544"/>
                    </a:lnTo>
                    <a:lnTo>
                      <a:pt x="160" y="543"/>
                    </a:lnTo>
                    <a:lnTo>
                      <a:pt x="162" y="543"/>
                    </a:lnTo>
                    <a:lnTo>
                      <a:pt x="162" y="541"/>
                    </a:lnTo>
                    <a:lnTo>
                      <a:pt x="164" y="539"/>
                    </a:lnTo>
                    <a:lnTo>
                      <a:pt x="164" y="537"/>
                    </a:lnTo>
                    <a:lnTo>
                      <a:pt x="166" y="537"/>
                    </a:lnTo>
                    <a:lnTo>
                      <a:pt x="166" y="535"/>
                    </a:lnTo>
                    <a:lnTo>
                      <a:pt x="168" y="537"/>
                    </a:lnTo>
                    <a:lnTo>
                      <a:pt x="169" y="537"/>
                    </a:lnTo>
                    <a:lnTo>
                      <a:pt x="171" y="537"/>
                    </a:lnTo>
                    <a:lnTo>
                      <a:pt x="171" y="539"/>
                    </a:lnTo>
                    <a:lnTo>
                      <a:pt x="171" y="541"/>
                    </a:lnTo>
                    <a:lnTo>
                      <a:pt x="171" y="539"/>
                    </a:lnTo>
                    <a:lnTo>
                      <a:pt x="169" y="537"/>
                    </a:lnTo>
                    <a:lnTo>
                      <a:pt x="171" y="537"/>
                    </a:lnTo>
                    <a:lnTo>
                      <a:pt x="173" y="537"/>
                    </a:lnTo>
                    <a:lnTo>
                      <a:pt x="173" y="539"/>
                    </a:lnTo>
                    <a:lnTo>
                      <a:pt x="175" y="539"/>
                    </a:lnTo>
                    <a:lnTo>
                      <a:pt x="177" y="539"/>
                    </a:lnTo>
                    <a:lnTo>
                      <a:pt x="177" y="541"/>
                    </a:lnTo>
                    <a:lnTo>
                      <a:pt x="179" y="541"/>
                    </a:lnTo>
                    <a:lnTo>
                      <a:pt x="181" y="541"/>
                    </a:lnTo>
                    <a:lnTo>
                      <a:pt x="179" y="541"/>
                    </a:lnTo>
                    <a:lnTo>
                      <a:pt x="177" y="541"/>
                    </a:lnTo>
                    <a:lnTo>
                      <a:pt x="177" y="539"/>
                    </a:lnTo>
                    <a:lnTo>
                      <a:pt x="175" y="539"/>
                    </a:lnTo>
                    <a:lnTo>
                      <a:pt x="173" y="539"/>
                    </a:lnTo>
                    <a:lnTo>
                      <a:pt x="173" y="537"/>
                    </a:lnTo>
                    <a:lnTo>
                      <a:pt x="171" y="537"/>
                    </a:lnTo>
                    <a:lnTo>
                      <a:pt x="169" y="537"/>
                    </a:lnTo>
                    <a:lnTo>
                      <a:pt x="168" y="537"/>
                    </a:lnTo>
                    <a:lnTo>
                      <a:pt x="168" y="535"/>
                    </a:lnTo>
                    <a:lnTo>
                      <a:pt x="166" y="535"/>
                    </a:lnTo>
                    <a:lnTo>
                      <a:pt x="164" y="535"/>
                    </a:lnTo>
                    <a:lnTo>
                      <a:pt x="164" y="537"/>
                    </a:lnTo>
                    <a:lnTo>
                      <a:pt x="164" y="535"/>
                    </a:lnTo>
                    <a:lnTo>
                      <a:pt x="166" y="533"/>
                    </a:lnTo>
                    <a:lnTo>
                      <a:pt x="166" y="531"/>
                    </a:lnTo>
                    <a:lnTo>
                      <a:pt x="166" y="529"/>
                    </a:lnTo>
                    <a:lnTo>
                      <a:pt x="166" y="527"/>
                    </a:lnTo>
                    <a:lnTo>
                      <a:pt x="166" y="521"/>
                    </a:lnTo>
                    <a:lnTo>
                      <a:pt x="166" y="519"/>
                    </a:lnTo>
                    <a:lnTo>
                      <a:pt x="166" y="518"/>
                    </a:lnTo>
                    <a:lnTo>
                      <a:pt x="166" y="516"/>
                    </a:lnTo>
                    <a:lnTo>
                      <a:pt x="166" y="514"/>
                    </a:lnTo>
                    <a:lnTo>
                      <a:pt x="166" y="512"/>
                    </a:lnTo>
                    <a:lnTo>
                      <a:pt x="168" y="510"/>
                    </a:lnTo>
                    <a:lnTo>
                      <a:pt x="168" y="508"/>
                    </a:lnTo>
                    <a:lnTo>
                      <a:pt x="168" y="506"/>
                    </a:lnTo>
                    <a:lnTo>
                      <a:pt x="168" y="504"/>
                    </a:lnTo>
                    <a:lnTo>
                      <a:pt x="169" y="502"/>
                    </a:lnTo>
                    <a:lnTo>
                      <a:pt x="169" y="500"/>
                    </a:lnTo>
                    <a:lnTo>
                      <a:pt x="169" y="498"/>
                    </a:lnTo>
                    <a:lnTo>
                      <a:pt x="169" y="496"/>
                    </a:lnTo>
                    <a:lnTo>
                      <a:pt x="169" y="494"/>
                    </a:lnTo>
                    <a:lnTo>
                      <a:pt x="168" y="493"/>
                    </a:lnTo>
                    <a:lnTo>
                      <a:pt x="169" y="493"/>
                    </a:lnTo>
                    <a:lnTo>
                      <a:pt x="171" y="493"/>
                    </a:lnTo>
                    <a:lnTo>
                      <a:pt x="171" y="494"/>
                    </a:lnTo>
                    <a:lnTo>
                      <a:pt x="173" y="494"/>
                    </a:lnTo>
                    <a:lnTo>
                      <a:pt x="171" y="494"/>
                    </a:lnTo>
                    <a:lnTo>
                      <a:pt x="173" y="494"/>
                    </a:lnTo>
                    <a:lnTo>
                      <a:pt x="171" y="494"/>
                    </a:lnTo>
                    <a:lnTo>
                      <a:pt x="171" y="493"/>
                    </a:lnTo>
                    <a:lnTo>
                      <a:pt x="173" y="493"/>
                    </a:lnTo>
                    <a:lnTo>
                      <a:pt x="173" y="494"/>
                    </a:lnTo>
                    <a:lnTo>
                      <a:pt x="173" y="493"/>
                    </a:lnTo>
                    <a:lnTo>
                      <a:pt x="173" y="494"/>
                    </a:lnTo>
                    <a:lnTo>
                      <a:pt x="173" y="493"/>
                    </a:lnTo>
                    <a:lnTo>
                      <a:pt x="171" y="493"/>
                    </a:lnTo>
                    <a:lnTo>
                      <a:pt x="169" y="493"/>
                    </a:lnTo>
                    <a:lnTo>
                      <a:pt x="168" y="493"/>
                    </a:lnTo>
                    <a:lnTo>
                      <a:pt x="168" y="491"/>
                    </a:lnTo>
                    <a:lnTo>
                      <a:pt x="168" y="489"/>
                    </a:lnTo>
                    <a:lnTo>
                      <a:pt x="168" y="487"/>
                    </a:lnTo>
                    <a:lnTo>
                      <a:pt x="168" y="485"/>
                    </a:lnTo>
                    <a:lnTo>
                      <a:pt x="168" y="483"/>
                    </a:lnTo>
                    <a:lnTo>
                      <a:pt x="168" y="479"/>
                    </a:lnTo>
                    <a:lnTo>
                      <a:pt x="168" y="477"/>
                    </a:lnTo>
                    <a:lnTo>
                      <a:pt x="168" y="475"/>
                    </a:lnTo>
                    <a:lnTo>
                      <a:pt x="168" y="473"/>
                    </a:lnTo>
                    <a:lnTo>
                      <a:pt x="168" y="471"/>
                    </a:lnTo>
                    <a:lnTo>
                      <a:pt x="168" y="469"/>
                    </a:lnTo>
                    <a:lnTo>
                      <a:pt x="168" y="468"/>
                    </a:lnTo>
                    <a:lnTo>
                      <a:pt x="166" y="468"/>
                    </a:lnTo>
                    <a:lnTo>
                      <a:pt x="168" y="468"/>
                    </a:lnTo>
                    <a:lnTo>
                      <a:pt x="166" y="466"/>
                    </a:lnTo>
                    <a:lnTo>
                      <a:pt x="168" y="466"/>
                    </a:lnTo>
                    <a:lnTo>
                      <a:pt x="168" y="464"/>
                    </a:lnTo>
                    <a:lnTo>
                      <a:pt x="168" y="462"/>
                    </a:lnTo>
                    <a:lnTo>
                      <a:pt x="166" y="460"/>
                    </a:lnTo>
                    <a:lnTo>
                      <a:pt x="166" y="458"/>
                    </a:lnTo>
                    <a:lnTo>
                      <a:pt x="164" y="458"/>
                    </a:lnTo>
                    <a:lnTo>
                      <a:pt x="164" y="456"/>
                    </a:lnTo>
                    <a:lnTo>
                      <a:pt x="162" y="458"/>
                    </a:lnTo>
                    <a:lnTo>
                      <a:pt x="162" y="456"/>
                    </a:lnTo>
                    <a:lnTo>
                      <a:pt x="162" y="454"/>
                    </a:lnTo>
                    <a:lnTo>
                      <a:pt x="162" y="452"/>
                    </a:lnTo>
                    <a:lnTo>
                      <a:pt x="162" y="450"/>
                    </a:lnTo>
                    <a:lnTo>
                      <a:pt x="160" y="448"/>
                    </a:lnTo>
                    <a:lnTo>
                      <a:pt x="160" y="446"/>
                    </a:lnTo>
                    <a:lnTo>
                      <a:pt x="160" y="444"/>
                    </a:lnTo>
                    <a:lnTo>
                      <a:pt x="160" y="443"/>
                    </a:lnTo>
                    <a:lnTo>
                      <a:pt x="160" y="441"/>
                    </a:lnTo>
                    <a:lnTo>
                      <a:pt x="160" y="439"/>
                    </a:lnTo>
                    <a:lnTo>
                      <a:pt x="160" y="437"/>
                    </a:lnTo>
                    <a:lnTo>
                      <a:pt x="160" y="435"/>
                    </a:lnTo>
                    <a:lnTo>
                      <a:pt x="160" y="433"/>
                    </a:lnTo>
                    <a:lnTo>
                      <a:pt x="160" y="431"/>
                    </a:lnTo>
                    <a:lnTo>
                      <a:pt x="160" y="429"/>
                    </a:lnTo>
                    <a:lnTo>
                      <a:pt x="162" y="429"/>
                    </a:lnTo>
                    <a:lnTo>
                      <a:pt x="162" y="427"/>
                    </a:lnTo>
                    <a:lnTo>
                      <a:pt x="162" y="425"/>
                    </a:lnTo>
                    <a:lnTo>
                      <a:pt x="162" y="423"/>
                    </a:lnTo>
                    <a:lnTo>
                      <a:pt x="162" y="421"/>
                    </a:lnTo>
                    <a:lnTo>
                      <a:pt x="162" y="419"/>
                    </a:lnTo>
                    <a:lnTo>
                      <a:pt x="160" y="419"/>
                    </a:lnTo>
                    <a:lnTo>
                      <a:pt x="160" y="418"/>
                    </a:lnTo>
                    <a:lnTo>
                      <a:pt x="160" y="416"/>
                    </a:lnTo>
                    <a:lnTo>
                      <a:pt x="162" y="416"/>
                    </a:lnTo>
                    <a:lnTo>
                      <a:pt x="160" y="416"/>
                    </a:lnTo>
                    <a:lnTo>
                      <a:pt x="158" y="414"/>
                    </a:lnTo>
                    <a:lnTo>
                      <a:pt x="158" y="412"/>
                    </a:lnTo>
                    <a:lnTo>
                      <a:pt x="158" y="414"/>
                    </a:lnTo>
                    <a:lnTo>
                      <a:pt x="158" y="412"/>
                    </a:lnTo>
                    <a:lnTo>
                      <a:pt x="160" y="410"/>
                    </a:lnTo>
                    <a:lnTo>
                      <a:pt x="160" y="408"/>
                    </a:lnTo>
                    <a:lnTo>
                      <a:pt x="162" y="408"/>
                    </a:lnTo>
                    <a:lnTo>
                      <a:pt x="162" y="406"/>
                    </a:lnTo>
                    <a:lnTo>
                      <a:pt x="160" y="406"/>
                    </a:lnTo>
                    <a:lnTo>
                      <a:pt x="162" y="406"/>
                    </a:lnTo>
                    <a:lnTo>
                      <a:pt x="162" y="404"/>
                    </a:lnTo>
                    <a:lnTo>
                      <a:pt x="164" y="404"/>
                    </a:lnTo>
                    <a:lnTo>
                      <a:pt x="164" y="402"/>
                    </a:lnTo>
                    <a:lnTo>
                      <a:pt x="164" y="400"/>
                    </a:lnTo>
                    <a:lnTo>
                      <a:pt x="164" y="398"/>
                    </a:lnTo>
                    <a:lnTo>
                      <a:pt x="164" y="396"/>
                    </a:lnTo>
                    <a:lnTo>
                      <a:pt x="162" y="396"/>
                    </a:lnTo>
                    <a:lnTo>
                      <a:pt x="162" y="394"/>
                    </a:lnTo>
                    <a:lnTo>
                      <a:pt x="164" y="394"/>
                    </a:lnTo>
                    <a:lnTo>
                      <a:pt x="164" y="393"/>
                    </a:lnTo>
                    <a:lnTo>
                      <a:pt x="164" y="391"/>
                    </a:lnTo>
                    <a:lnTo>
                      <a:pt x="164" y="389"/>
                    </a:lnTo>
                    <a:lnTo>
                      <a:pt x="164" y="387"/>
                    </a:lnTo>
                    <a:lnTo>
                      <a:pt x="164" y="385"/>
                    </a:lnTo>
                    <a:lnTo>
                      <a:pt x="164" y="383"/>
                    </a:lnTo>
                    <a:lnTo>
                      <a:pt x="164" y="381"/>
                    </a:lnTo>
                    <a:lnTo>
                      <a:pt x="164" y="379"/>
                    </a:lnTo>
                    <a:lnTo>
                      <a:pt x="162" y="379"/>
                    </a:lnTo>
                    <a:lnTo>
                      <a:pt x="162" y="377"/>
                    </a:lnTo>
                    <a:lnTo>
                      <a:pt x="162" y="375"/>
                    </a:lnTo>
                    <a:lnTo>
                      <a:pt x="162" y="373"/>
                    </a:lnTo>
                    <a:lnTo>
                      <a:pt x="162" y="371"/>
                    </a:lnTo>
                    <a:lnTo>
                      <a:pt x="162" y="369"/>
                    </a:lnTo>
                    <a:lnTo>
                      <a:pt x="162" y="368"/>
                    </a:lnTo>
                    <a:lnTo>
                      <a:pt x="162" y="366"/>
                    </a:lnTo>
                    <a:lnTo>
                      <a:pt x="162" y="368"/>
                    </a:lnTo>
                    <a:lnTo>
                      <a:pt x="164" y="368"/>
                    </a:lnTo>
                    <a:lnTo>
                      <a:pt x="162" y="368"/>
                    </a:lnTo>
                    <a:lnTo>
                      <a:pt x="162" y="366"/>
                    </a:lnTo>
                    <a:lnTo>
                      <a:pt x="162" y="364"/>
                    </a:lnTo>
                    <a:lnTo>
                      <a:pt x="164" y="362"/>
                    </a:lnTo>
                    <a:lnTo>
                      <a:pt x="164" y="360"/>
                    </a:lnTo>
                    <a:lnTo>
                      <a:pt x="164" y="358"/>
                    </a:lnTo>
                    <a:lnTo>
                      <a:pt x="164" y="356"/>
                    </a:lnTo>
                    <a:lnTo>
                      <a:pt x="164" y="358"/>
                    </a:lnTo>
                    <a:lnTo>
                      <a:pt x="164" y="356"/>
                    </a:lnTo>
                    <a:lnTo>
                      <a:pt x="164" y="354"/>
                    </a:lnTo>
                    <a:lnTo>
                      <a:pt x="164" y="352"/>
                    </a:lnTo>
                    <a:lnTo>
                      <a:pt x="164" y="350"/>
                    </a:lnTo>
                    <a:lnTo>
                      <a:pt x="162" y="348"/>
                    </a:lnTo>
                    <a:lnTo>
                      <a:pt x="162" y="346"/>
                    </a:lnTo>
                    <a:lnTo>
                      <a:pt x="160" y="346"/>
                    </a:lnTo>
                    <a:lnTo>
                      <a:pt x="160" y="344"/>
                    </a:lnTo>
                    <a:lnTo>
                      <a:pt x="160" y="346"/>
                    </a:lnTo>
                    <a:lnTo>
                      <a:pt x="158" y="344"/>
                    </a:lnTo>
                    <a:lnTo>
                      <a:pt x="158" y="343"/>
                    </a:lnTo>
                    <a:lnTo>
                      <a:pt x="158" y="344"/>
                    </a:lnTo>
                    <a:lnTo>
                      <a:pt x="158" y="343"/>
                    </a:lnTo>
                    <a:lnTo>
                      <a:pt x="156" y="343"/>
                    </a:lnTo>
                    <a:lnTo>
                      <a:pt x="156" y="341"/>
                    </a:lnTo>
                    <a:lnTo>
                      <a:pt x="156" y="339"/>
                    </a:lnTo>
                    <a:lnTo>
                      <a:pt x="156" y="341"/>
                    </a:lnTo>
                    <a:lnTo>
                      <a:pt x="156" y="339"/>
                    </a:lnTo>
                    <a:lnTo>
                      <a:pt x="158" y="339"/>
                    </a:lnTo>
                    <a:lnTo>
                      <a:pt x="158" y="337"/>
                    </a:lnTo>
                    <a:lnTo>
                      <a:pt x="156" y="337"/>
                    </a:lnTo>
                    <a:lnTo>
                      <a:pt x="158" y="337"/>
                    </a:lnTo>
                    <a:lnTo>
                      <a:pt x="156" y="335"/>
                    </a:lnTo>
                    <a:lnTo>
                      <a:pt x="158" y="335"/>
                    </a:lnTo>
                    <a:lnTo>
                      <a:pt x="158" y="333"/>
                    </a:lnTo>
                    <a:lnTo>
                      <a:pt x="158" y="331"/>
                    </a:lnTo>
                    <a:lnTo>
                      <a:pt x="158" y="329"/>
                    </a:lnTo>
                    <a:lnTo>
                      <a:pt x="158" y="327"/>
                    </a:lnTo>
                    <a:lnTo>
                      <a:pt x="160" y="327"/>
                    </a:lnTo>
                    <a:lnTo>
                      <a:pt x="160" y="325"/>
                    </a:lnTo>
                    <a:lnTo>
                      <a:pt x="162" y="325"/>
                    </a:lnTo>
                    <a:lnTo>
                      <a:pt x="162" y="323"/>
                    </a:lnTo>
                    <a:lnTo>
                      <a:pt x="162" y="321"/>
                    </a:lnTo>
                    <a:lnTo>
                      <a:pt x="162" y="320"/>
                    </a:lnTo>
                    <a:lnTo>
                      <a:pt x="162" y="318"/>
                    </a:lnTo>
                    <a:lnTo>
                      <a:pt x="162" y="320"/>
                    </a:lnTo>
                    <a:lnTo>
                      <a:pt x="162" y="318"/>
                    </a:lnTo>
                    <a:lnTo>
                      <a:pt x="164" y="318"/>
                    </a:lnTo>
                    <a:lnTo>
                      <a:pt x="166" y="316"/>
                    </a:lnTo>
                    <a:lnTo>
                      <a:pt x="166" y="314"/>
                    </a:lnTo>
                    <a:lnTo>
                      <a:pt x="166" y="312"/>
                    </a:lnTo>
                    <a:lnTo>
                      <a:pt x="166" y="310"/>
                    </a:lnTo>
                    <a:lnTo>
                      <a:pt x="164" y="310"/>
                    </a:lnTo>
                    <a:lnTo>
                      <a:pt x="166" y="310"/>
                    </a:lnTo>
                    <a:lnTo>
                      <a:pt x="166" y="308"/>
                    </a:lnTo>
                    <a:lnTo>
                      <a:pt x="164" y="306"/>
                    </a:lnTo>
                    <a:lnTo>
                      <a:pt x="164" y="304"/>
                    </a:lnTo>
                    <a:lnTo>
                      <a:pt x="164" y="302"/>
                    </a:lnTo>
                    <a:lnTo>
                      <a:pt x="166" y="302"/>
                    </a:lnTo>
                    <a:lnTo>
                      <a:pt x="168" y="302"/>
                    </a:lnTo>
                    <a:lnTo>
                      <a:pt x="168" y="300"/>
                    </a:lnTo>
                    <a:lnTo>
                      <a:pt x="169" y="300"/>
                    </a:lnTo>
                    <a:lnTo>
                      <a:pt x="168" y="300"/>
                    </a:lnTo>
                    <a:lnTo>
                      <a:pt x="168" y="298"/>
                    </a:lnTo>
                    <a:lnTo>
                      <a:pt x="168" y="296"/>
                    </a:lnTo>
                    <a:lnTo>
                      <a:pt x="169" y="296"/>
                    </a:lnTo>
                    <a:lnTo>
                      <a:pt x="171" y="295"/>
                    </a:lnTo>
                    <a:lnTo>
                      <a:pt x="169" y="296"/>
                    </a:lnTo>
                    <a:lnTo>
                      <a:pt x="171" y="295"/>
                    </a:lnTo>
                    <a:lnTo>
                      <a:pt x="173" y="295"/>
                    </a:lnTo>
                    <a:lnTo>
                      <a:pt x="173" y="296"/>
                    </a:lnTo>
                    <a:lnTo>
                      <a:pt x="173" y="298"/>
                    </a:lnTo>
                    <a:lnTo>
                      <a:pt x="175" y="298"/>
                    </a:lnTo>
                    <a:lnTo>
                      <a:pt x="173" y="298"/>
                    </a:lnTo>
                    <a:lnTo>
                      <a:pt x="175" y="298"/>
                    </a:lnTo>
                    <a:lnTo>
                      <a:pt x="175" y="300"/>
                    </a:lnTo>
                    <a:lnTo>
                      <a:pt x="177" y="300"/>
                    </a:lnTo>
                    <a:lnTo>
                      <a:pt x="175" y="300"/>
                    </a:lnTo>
                    <a:lnTo>
                      <a:pt x="175" y="298"/>
                    </a:lnTo>
                    <a:lnTo>
                      <a:pt x="173" y="298"/>
                    </a:lnTo>
                    <a:lnTo>
                      <a:pt x="173" y="296"/>
                    </a:lnTo>
                    <a:lnTo>
                      <a:pt x="173" y="295"/>
                    </a:lnTo>
                    <a:lnTo>
                      <a:pt x="173" y="293"/>
                    </a:lnTo>
                    <a:lnTo>
                      <a:pt x="173" y="291"/>
                    </a:lnTo>
                    <a:lnTo>
                      <a:pt x="173" y="289"/>
                    </a:lnTo>
                    <a:lnTo>
                      <a:pt x="173" y="287"/>
                    </a:lnTo>
                    <a:lnTo>
                      <a:pt x="175" y="287"/>
                    </a:lnTo>
                    <a:lnTo>
                      <a:pt x="175" y="285"/>
                    </a:lnTo>
                    <a:lnTo>
                      <a:pt x="177" y="285"/>
                    </a:lnTo>
                    <a:lnTo>
                      <a:pt x="179" y="285"/>
                    </a:lnTo>
                    <a:lnTo>
                      <a:pt x="179" y="283"/>
                    </a:lnTo>
                    <a:lnTo>
                      <a:pt x="181" y="283"/>
                    </a:lnTo>
                    <a:lnTo>
                      <a:pt x="179" y="283"/>
                    </a:lnTo>
                    <a:lnTo>
                      <a:pt x="179" y="285"/>
                    </a:lnTo>
                    <a:lnTo>
                      <a:pt x="177" y="285"/>
                    </a:lnTo>
                    <a:lnTo>
                      <a:pt x="177" y="283"/>
                    </a:lnTo>
                    <a:lnTo>
                      <a:pt x="175" y="283"/>
                    </a:lnTo>
                    <a:lnTo>
                      <a:pt x="175" y="281"/>
                    </a:lnTo>
                    <a:lnTo>
                      <a:pt x="175" y="283"/>
                    </a:lnTo>
                    <a:lnTo>
                      <a:pt x="175" y="281"/>
                    </a:lnTo>
                    <a:lnTo>
                      <a:pt x="173" y="281"/>
                    </a:lnTo>
                    <a:lnTo>
                      <a:pt x="171" y="281"/>
                    </a:lnTo>
                    <a:lnTo>
                      <a:pt x="169" y="281"/>
                    </a:lnTo>
                    <a:lnTo>
                      <a:pt x="168" y="281"/>
                    </a:lnTo>
                    <a:lnTo>
                      <a:pt x="166" y="281"/>
                    </a:lnTo>
                    <a:lnTo>
                      <a:pt x="166" y="279"/>
                    </a:lnTo>
                    <a:lnTo>
                      <a:pt x="166" y="277"/>
                    </a:lnTo>
                    <a:lnTo>
                      <a:pt x="168" y="277"/>
                    </a:lnTo>
                    <a:lnTo>
                      <a:pt x="168" y="275"/>
                    </a:lnTo>
                    <a:lnTo>
                      <a:pt x="166" y="275"/>
                    </a:lnTo>
                    <a:lnTo>
                      <a:pt x="168" y="275"/>
                    </a:lnTo>
                    <a:lnTo>
                      <a:pt x="166" y="273"/>
                    </a:lnTo>
                    <a:lnTo>
                      <a:pt x="166" y="271"/>
                    </a:lnTo>
                    <a:lnTo>
                      <a:pt x="166" y="270"/>
                    </a:lnTo>
                    <a:lnTo>
                      <a:pt x="166" y="268"/>
                    </a:lnTo>
                    <a:lnTo>
                      <a:pt x="166" y="266"/>
                    </a:lnTo>
                    <a:lnTo>
                      <a:pt x="166" y="264"/>
                    </a:lnTo>
                    <a:lnTo>
                      <a:pt x="168" y="264"/>
                    </a:lnTo>
                    <a:lnTo>
                      <a:pt x="168" y="262"/>
                    </a:lnTo>
                    <a:lnTo>
                      <a:pt x="168" y="260"/>
                    </a:lnTo>
                    <a:lnTo>
                      <a:pt x="166" y="260"/>
                    </a:lnTo>
                    <a:lnTo>
                      <a:pt x="166" y="258"/>
                    </a:lnTo>
                    <a:lnTo>
                      <a:pt x="166" y="256"/>
                    </a:lnTo>
                    <a:lnTo>
                      <a:pt x="164" y="254"/>
                    </a:lnTo>
                    <a:lnTo>
                      <a:pt x="164" y="252"/>
                    </a:lnTo>
                    <a:lnTo>
                      <a:pt x="162" y="252"/>
                    </a:lnTo>
                    <a:lnTo>
                      <a:pt x="160" y="250"/>
                    </a:lnTo>
                    <a:lnTo>
                      <a:pt x="158" y="250"/>
                    </a:lnTo>
                    <a:lnTo>
                      <a:pt x="156" y="250"/>
                    </a:lnTo>
                    <a:lnTo>
                      <a:pt x="156" y="252"/>
                    </a:lnTo>
                    <a:lnTo>
                      <a:pt x="154" y="252"/>
                    </a:lnTo>
                    <a:lnTo>
                      <a:pt x="156" y="254"/>
                    </a:lnTo>
                    <a:lnTo>
                      <a:pt x="154" y="254"/>
                    </a:lnTo>
                    <a:lnTo>
                      <a:pt x="154" y="252"/>
                    </a:lnTo>
                    <a:lnTo>
                      <a:pt x="152" y="252"/>
                    </a:lnTo>
                    <a:lnTo>
                      <a:pt x="152" y="250"/>
                    </a:lnTo>
                    <a:lnTo>
                      <a:pt x="152" y="248"/>
                    </a:lnTo>
                    <a:lnTo>
                      <a:pt x="152" y="250"/>
                    </a:lnTo>
                    <a:lnTo>
                      <a:pt x="152" y="248"/>
                    </a:lnTo>
                    <a:lnTo>
                      <a:pt x="150" y="246"/>
                    </a:lnTo>
                    <a:lnTo>
                      <a:pt x="150" y="245"/>
                    </a:lnTo>
                    <a:lnTo>
                      <a:pt x="148" y="245"/>
                    </a:lnTo>
                    <a:lnTo>
                      <a:pt x="148" y="243"/>
                    </a:lnTo>
                    <a:lnTo>
                      <a:pt x="148" y="241"/>
                    </a:lnTo>
                    <a:lnTo>
                      <a:pt x="148" y="239"/>
                    </a:lnTo>
                    <a:lnTo>
                      <a:pt x="150" y="239"/>
                    </a:lnTo>
                    <a:lnTo>
                      <a:pt x="150" y="237"/>
                    </a:lnTo>
                    <a:lnTo>
                      <a:pt x="150" y="239"/>
                    </a:lnTo>
                    <a:lnTo>
                      <a:pt x="150" y="237"/>
                    </a:lnTo>
                    <a:lnTo>
                      <a:pt x="150" y="239"/>
                    </a:lnTo>
                    <a:lnTo>
                      <a:pt x="150" y="237"/>
                    </a:lnTo>
                    <a:lnTo>
                      <a:pt x="150" y="235"/>
                    </a:lnTo>
                    <a:lnTo>
                      <a:pt x="148" y="235"/>
                    </a:lnTo>
                    <a:lnTo>
                      <a:pt x="148" y="233"/>
                    </a:lnTo>
                    <a:lnTo>
                      <a:pt x="146" y="231"/>
                    </a:lnTo>
                    <a:lnTo>
                      <a:pt x="146" y="229"/>
                    </a:lnTo>
                    <a:lnTo>
                      <a:pt x="144" y="229"/>
                    </a:lnTo>
                    <a:lnTo>
                      <a:pt x="143" y="229"/>
                    </a:lnTo>
                    <a:lnTo>
                      <a:pt x="143" y="227"/>
                    </a:lnTo>
                    <a:lnTo>
                      <a:pt x="143" y="225"/>
                    </a:lnTo>
                    <a:lnTo>
                      <a:pt x="143" y="223"/>
                    </a:lnTo>
                    <a:lnTo>
                      <a:pt x="141" y="223"/>
                    </a:lnTo>
                    <a:lnTo>
                      <a:pt x="141" y="221"/>
                    </a:lnTo>
                    <a:lnTo>
                      <a:pt x="139" y="221"/>
                    </a:lnTo>
                    <a:lnTo>
                      <a:pt x="137" y="220"/>
                    </a:lnTo>
                    <a:lnTo>
                      <a:pt x="137" y="218"/>
                    </a:lnTo>
                    <a:lnTo>
                      <a:pt x="135" y="216"/>
                    </a:lnTo>
                    <a:lnTo>
                      <a:pt x="133" y="216"/>
                    </a:lnTo>
                    <a:lnTo>
                      <a:pt x="133" y="214"/>
                    </a:lnTo>
                    <a:lnTo>
                      <a:pt x="133" y="212"/>
                    </a:lnTo>
                    <a:lnTo>
                      <a:pt x="131" y="212"/>
                    </a:lnTo>
                    <a:lnTo>
                      <a:pt x="131" y="210"/>
                    </a:lnTo>
                    <a:lnTo>
                      <a:pt x="131" y="212"/>
                    </a:lnTo>
                    <a:lnTo>
                      <a:pt x="131" y="210"/>
                    </a:lnTo>
                    <a:lnTo>
                      <a:pt x="129" y="208"/>
                    </a:lnTo>
                    <a:lnTo>
                      <a:pt x="129" y="206"/>
                    </a:lnTo>
                    <a:lnTo>
                      <a:pt x="127" y="206"/>
                    </a:lnTo>
                    <a:lnTo>
                      <a:pt x="127" y="204"/>
                    </a:lnTo>
                    <a:lnTo>
                      <a:pt x="127" y="202"/>
                    </a:lnTo>
                    <a:lnTo>
                      <a:pt x="127" y="200"/>
                    </a:lnTo>
                    <a:lnTo>
                      <a:pt x="129" y="198"/>
                    </a:lnTo>
                    <a:lnTo>
                      <a:pt x="129" y="196"/>
                    </a:lnTo>
                    <a:lnTo>
                      <a:pt x="129" y="195"/>
                    </a:lnTo>
                    <a:lnTo>
                      <a:pt x="129" y="193"/>
                    </a:lnTo>
                    <a:lnTo>
                      <a:pt x="129" y="191"/>
                    </a:lnTo>
                    <a:lnTo>
                      <a:pt x="129" y="189"/>
                    </a:lnTo>
                    <a:lnTo>
                      <a:pt x="129" y="187"/>
                    </a:lnTo>
                    <a:lnTo>
                      <a:pt x="131" y="187"/>
                    </a:lnTo>
                    <a:lnTo>
                      <a:pt x="133" y="185"/>
                    </a:lnTo>
                    <a:lnTo>
                      <a:pt x="135" y="185"/>
                    </a:lnTo>
                    <a:lnTo>
                      <a:pt x="137" y="183"/>
                    </a:lnTo>
                    <a:lnTo>
                      <a:pt x="139" y="183"/>
                    </a:lnTo>
                    <a:lnTo>
                      <a:pt x="139" y="181"/>
                    </a:lnTo>
                    <a:lnTo>
                      <a:pt x="141" y="181"/>
                    </a:lnTo>
                    <a:lnTo>
                      <a:pt x="143" y="181"/>
                    </a:lnTo>
                    <a:lnTo>
                      <a:pt x="143" y="179"/>
                    </a:lnTo>
                    <a:lnTo>
                      <a:pt x="144" y="179"/>
                    </a:lnTo>
                    <a:lnTo>
                      <a:pt x="146" y="179"/>
                    </a:lnTo>
                    <a:lnTo>
                      <a:pt x="148" y="179"/>
                    </a:lnTo>
                    <a:lnTo>
                      <a:pt x="150" y="179"/>
                    </a:lnTo>
                    <a:lnTo>
                      <a:pt x="150" y="181"/>
                    </a:lnTo>
                    <a:lnTo>
                      <a:pt x="150" y="179"/>
                    </a:lnTo>
                    <a:lnTo>
                      <a:pt x="148" y="179"/>
                    </a:lnTo>
                    <a:lnTo>
                      <a:pt x="150" y="179"/>
                    </a:lnTo>
                    <a:lnTo>
                      <a:pt x="150" y="181"/>
                    </a:lnTo>
                    <a:lnTo>
                      <a:pt x="152" y="181"/>
                    </a:lnTo>
                    <a:lnTo>
                      <a:pt x="154" y="181"/>
                    </a:lnTo>
                    <a:lnTo>
                      <a:pt x="152" y="181"/>
                    </a:lnTo>
                    <a:lnTo>
                      <a:pt x="154" y="181"/>
                    </a:lnTo>
                    <a:lnTo>
                      <a:pt x="154" y="183"/>
                    </a:lnTo>
                    <a:lnTo>
                      <a:pt x="154" y="185"/>
                    </a:lnTo>
                    <a:lnTo>
                      <a:pt x="154" y="187"/>
                    </a:lnTo>
                    <a:lnTo>
                      <a:pt x="156" y="187"/>
                    </a:lnTo>
                    <a:lnTo>
                      <a:pt x="154" y="187"/>
                    </a:lnTo>
                    <a:lnTo>
                      <a:pt x="154" y="189"/>
                    </a:lnTo>
                    <a:lnTo>
                      <a:pt x="152" y="189"/>
                    </a:lnTo>
                    <a:lnTo>
                      <a:pt x="152" y="191"/>
                    </a:lnTo>
                    <a:lnTo>
                      <a:pt x="152" y="193"/>
                    </a:lnTo>
                    <a:lnTo>
                      <a:pt x="152" y="195"/>
                    </a:lnTo>
                    <a:lnTo>
                      <a:pt x="154" y="195"/>
                    </a:lnTo>
                    <a:lnTo>
                      <a:pt x="154" y="193"/>
                    </a:lnTo>
                    <a:lnTo>
                      <a:pt x="156" y="193"/>
                    </a:lnTo>
                    <a:lnTo>
                      <a:pt x="156" y="195"/>
                    </a:lnTo>
                    <a:lnTo>
                      <a:pt x="158" y="195"/>
                    </a:lnTo>
                    <a:lnTo>
                      <a:pt x="158" y="196"/>
                    </a:lnTo>
                    <a:lnTo>
                      <a:pt x="158" y="198"/>
                    </a:lnTo>
                    <a:lnTo>
                      <a:pt x="160" y="196"/>
                    </a:lnTo>
                    <a:lnTo>
                      <a:pt x="160" y="195"/>
                    </a:lnTo>
                    <a:lnTo>
                      <a:pt x="162" y="193"/>
                    </a:lnTo>
                    <a:lnTo>
                      <a:pt x="162" y="195"/>
                    </a:lnTo>
                    <a:lnTo>
                      <a:pt x="164" y="195"/>
                    </a:lnTo>
                    <a:lnTo>
                      <a:pt x="166" y="195"/>
                    </a:lnTo>
                    <a:lnTo>
                      <a:pt x="166" y="196"/>
                    </a:lnTo>
                    <a:lnTo>
                      <a:pt x="168" y="196"/>
                    </a:lnTo>
                    <a:lnTo>
                      <a:pt x="168" y="198"/>
                    </a:lnTo>
                    <a:lnTo>
                      <a:pt x="169" y="198"/>
                    </a:lnTo>
                    <a:lnTo>
                      <a:pt x="169" y="196"/>
                    </a:lnTo>
                    <a:lnTo>
                      <a:pt x="171" y="196"/>
                    </a:lnTo>
                    <a:lnTo>
                      <a:pt x="173" y="196"/>
                    </a:lnTo>
                    <a:lnTo>
                      <a:pt x="171" y="196"/>
                    </a:lnTo>
                    <a:lnTo>
                      <a:pt x="169" y="196"/>
                    </a:lnTo>
                    <a:lnTo>
                      <a:pt x="169" y="198"/>
                    </a:lnTo>
                    <a:lnTo>
                      <a:pt x="168" y="198"/>
                    </a:lnTo>
                    <a:lnTo>
                      <a:pt x="168" y="196"/>
                    </a:lnTo>
                    <a:lnTo>
                      <a:pt x="166" y="195"/>
                    </a:lnTo>
                    <a:lnTo>
                      <a:pt x="164" y="195"/>
                    </a:lnTo>
                    <a:lnTo>
                      <a:pt x="162" y="195"/>
                    </a:lnTo>
                    <a:lnTo>
                      <a:pt x="162" y="193"/>
                    </a:lnTo>
                    <a:lnTo>
                      <a:pt x="160" y="195"/>
                    </a:lnTo>
                    <a:lnTo>
                      <a:pt x="160" y="196"/>
                    </a:lnTo>
                    <a:lnTo>
                      <a:pt x="158" y="196"/>
                    </a:lnTo>
                    <a:lnTo>
                      <a:pt x="158" y="198"/>
                    </a:lnTo>
                    <a:lnTo>
                      <a:pt x="158" y="196"/>
                    </a:lnTo>
                    <a:lnTo>
                      <a:pt x="158" y="195"/>
                    </a:lnTo>
                    <a:lnTo>
                      <a:pt x="156" y="195"/>
                    </a:lnTo>
                    <a:lnTo>
                      <a:pt x="156" y="193"/>
                    </a:lnTo>
                    <a:lnTo>
                      <a:pt x="154" y="193"/>
                    </a:lnTo>
                    <a:lnTo>
                      <a:pt x="154" y="195"/>
                    </a:lnTo>
                    <a:lnTo>
                      <a:pt x="154" y="193"/>
                    </a:lnTo>
                    <a:lnTo>
                      <a:pt x="152" y="195"/>
                    </a:lnTo>
                    <a:lnTo>
                      <a:pt x="152" y="193"/>
                    </a:lnTo>
                    <a:lnTo>
                      <a:pt x="152" y="191"/>
                    </a:lnTo>
                    <a:lnTo>
                      <a:pt x="152" y="189"/>
                    </a:lnTo>
                    <a:lnTo>
                      <a:pt x="154" y="189"/>
                    </a:lnTo>
                    <a:lnTo>
                      <a:pt x="154" y="187"/>
                    </a:lnTo>
                    <a:lnTo>
                      <a:pt x="156" y="187"/>
                    </a:lnTo>
                    <a:lnTo>
                      <a:pt x="154" y="187"/>
                    </a:lnTo>
                    <a:lnTo>
                      <a:pt x="154" y="185"/>
                    </a:lnTo>
                    <a:lnTo>
                      <a:pt x="156" y="185"/>
                    </a:lnTo>
                    <a:lnTo>
                      <a:pt x="154" y="183"/>
                    </a:lnTo>
                    <a:lnTo>
                      <a:pt x="154" y="181"/>
                    </a:lnTo>
                    <a:lnTo>
                      <a:pt x="152" y="181"/>
                    </a:lnTo>
                    <a:lnTo>
                      <a:pt x="150" y="181"/>
                    </a:lnTo>
                    <a:lnTo>
                      <a:pt x="150" y="179"/>
                    </a:lnTo>
                    <a:lnTo>
                      <a:pt x="148" y="179"/>
                    </a:lnTo>
                    <a:lnTo>
                      <a:pt x="146" y="179"/>
                    </a:lnTo>
                    <a:lnTo>
                      <a:pt x="144" y="179"/>
                    </a:lnTo>
                    <a:lnTo>
                      <a:pt x="143" y="179"/>
                    </a:lnTo>
                    <a:lnTo>
                      <a:pt x="141" y="179"/>
                    </a:lnTo>
                    <a:lnTo>
                      <a:pt x="141" y="177"/>
                    </a:lnTo>
                    <a:lnTo>
                      <a:pt x="143" y="175"/>
                    </a:lnTo>
                    <a:lnTo>
                      <a:pt x="144" y="175"/>
                    </a:lnTo>
                    <a:lnTo>
                      <a:pt x="144" y="173"/>
                    </a:lnTo>
                    <a:lnTo>
                      <a:pt x="146" y="173"/>
                    </a:lnTo>
                    <a:lnTo>
                      <a:pt x="144" y="173"/>
                    </a:lnTo>
                    <a:lnTo>
                      <a:pt x="144" y="171"/>
                    </a:lnTo>
                    <a:lnTo>
                      <a:pt x="146" y="171"/>
                    </a:lnTo>
                    <a:lnTo>
                      <a:pt x="148" y="171"/>
                    </a:lnTo>
                    <a:lnTo>
                      <a:pt x="150" y="170"/>
                    </a:lnTo>
                    <a:lnTo>
                      <a:pt x="152" y="170"/>
                    </a:lnTo>
                    <a:lnTo>
                      <a:pt x="150" y="170"/>
                    </a:lnTo>
                    <a:lnTo>
                      <a:pt x="152" y="170"/>
                    </a:lnTo>
                    <a:lnTo>
                      <a:pt x="154" y="170"/>
                    </a:lnTo>
                    <a:lnTo>
                      <a:pt x="154" y="168"/>
                    </a:lnTo>
                    <a:lnTo>
                      <a:pt x="156" y="166"/>
                    </a:lnTo>
                    <a:lnTo>
                      <a:pt x="158" y="166"/>
                    </a:lnTo>
                    <a:lnTo>
                      <a:pt x="158" y="164"/>
                    </a:lnTo>
                    <a:lnTo>
                      <a:pt x="160" y="164"/>
                    </a:lnTo>
                    <a:lnTo>
                      <a:pt x="162" y="164"/>
                    </a:lnTo>
                    <a:lnTo>
                      <a:pt x="162" y="162"/>
                    </a:lnTo>
                    <a:lnTo>
                      <a:pt x="162" y="160"/>
                    </a:lnTo>
                    <a:lnTo>
                      <a:pt x="164" y="160"/>
                    </a:lnTo>
                    <a:lnTo>
                      <a:pt x="166" y="160"/>
                    </a:lnTo>
                    <a:lnTo>
                      <a:pt x="166" y="158"/>
                    </a:lnTo>
                    <a:lnTo>
                      <a:pt x="164" y="158"/>
                    </a:lnTo>
                    <a:lnTo>
                      <a:pt x="166" y="158"/>
                    </a:lnTo>
                    <a:lnTo>
                      <a:pt x="164" y="156"/>
                    </a:lnTo>
                    <a:lnTo>
                      <a:pt x="164" y="154"/>
                    </a:lnTo>
                    <a:lnTo>
                      <a:pt x="164" y="156"/>
                    </a:lnTo>
                    <a:lnTo>
                      <a:pt x="164" y="154"/>
                    </a:lnTo>
                    <a:lnTo>
                      <a:pt x="164" y="152"/>
                    </a:lnTo>
                    <a:lnTo>
                      <a:pt x="164" y="154"/>
                    </a:lnTo>
                    <a:lnTo>
                      <a:pt x="164" y="152"/>
                    </a:lnTo>
                    <a:lnTo>
                      <a:pt x="166" y="152"/>
                    </a:lnTo>
                    <a:lnTo>
                      <a:pt x="164" y="152"/>
                    </a:lnTo>
                    <a:lnTo>
                      <a:pt x="166" y="152"/>
                    </a:lnTo>
                    <a:lnTo>
                      <a:pt x="164" y="152"/>
                    </a:lnTo>
                    <a:lnTo>
                      <a:pt x="164" y="150"/>
                    </a:lnTo>
                    <a:lnTo>
                      <a:pt x="166" y="150"/>
                    </a:lnTo>
                    <a:lnTo>
                      <a:pt x="166" y="148"/>
                    </a:lnTo>
                    <a:lnTo>
                      <a:pt x="164" y="148"/>
                    </a:lnTo>
                    <a:lnTo>
                      <a:pt x="164" y="146"/>
                    </a:lnTo>
                    <a:lnTo>
                      <a:pt x="166" y="146"/>
                    </a:lnTo>
                    <a:lnTo>
                      <a:pt x="168" y="146"/>
                    </a:lnTo>
                    <a:lnTo>
                      <a:pt x="168" y="145"/>
                    </a:lnTo>
                    <a:lnTo>
                      <a:pt x="168" y="146"/>
                    </a:lnTo>
                    <a:lnTo>
                      <a:pt x="169" y="146"/>
                    </a:lnTo>
                    <a:lnTo>
                      <a:pt x="169" y="145"/>
                    </a:lnTo>
                    <a:lnTo>
                      <a:pt x="169" y="143"/>
                    </a:lnTo>
                    <a:lnTo>
                      <a:pt x="171" y="143"/>
                    </a:lnTo>
                    <a:lnTo>
                      <a:pt x="171" y="141"/>
                    </a:lnTo>
                    <a:lnTo>
                      <a:pt x="171" y="139"/>
                    </a:lnTo>
                    <a:lnTo>
                      <a:pt x="171" y="137"/>
                    </a:lnTo>
                    <a:lnTo>
                      <a:pt x="169" y="137"/>
                    </a:lnTo>
                    <a:lnTo>
                      <a:pt x="171" y="137"/>
                    </a:lnTo>
                    <a:lnTo>
                      <a:pt x="171" y="135"/>
                    </a:lnTo>
                    <a:lnTo>
                      <a:pt x="169" y="135"/>
                    </a:lnTo>
                    <a:lnTo>
                      <a:pt x="171" y="135"/>
                    </a:lnTo>
                    <a:lnTo>
                      <a:pt x="169" y="135"/>
                    </a:lnTo>
                    <a:lnTo>
                      <a:pt x="169" y="133"/>
                    </a:lnTo>
                    <a:lnTo>
                      <a:pt x="169" y="135"/>
                    </a:lnTo>
                    <a:lnTo>
                      <a:pt x="169" y="133"/>
                    </a:lnTo>
                    <a:lnTo>
                      <a:pt x="171" y="133"/>
                    </a:lnTo>
                    <a:lnTo>
                      <a:pt x="171" y="131"/>
                    </a:lnTo>
                    <a:lnTo>
                      <a:pt x="171" y="129"/>
                    </a:lnTo>
                    <a:lnTo>
                      <a:pt x="169" y="129"/>
                    </a:lnTo>
                    <a:lnTo>
                      <a:pt x="169" y="127"/>
                    </a:lnTo>
                    <a:lnTo>
                      <a:pt x="169" y="125"/>
                    </a:lnTo>
                    <a:lnTo>
                      <a:pt x="168" y="125"/>
                    </a:lnTo>
                    <a:lnTo>
                      <a:pt x="168" y="123"/>
                    </a:lnTo>
                    <a:lnTo>
                      <a:pt x="168" y="121"/>
                    </a:lnTo>
                    <a:lnTo>
                      <a:pt x="168" y="120"/>
                    </a:lnTo>
                    <a:lnTo>
                      <a:pt x="166" y="121"/>
                    </a:lnTo>
                    <a:lnTo>
                      <a:pt x="166" y="120"/>
                    </a:lnTo>
                    <a:lnTo>
                      <a:pt x="166" y="118"/>
                    </a:lnTo>
                    <a:lnTo>
                      <a:pt x="164" y="118"/>
                    </a:lnTo>
                    <a:lnTo>
                      <a:pt x="164" y="116"/>
                    </a:lnTo>
                    <a:lnTo>
                      <a:pt x="166" y="116"/>
                    </a:lnTo>
                    <a:lnTo>
                      <a:pt x="166" y="114"/>
                    </a:lnTo>
                    <a:lnTo>
                      <a:pt x="164" y="114"/>
                    </a:lnTo>
                    <a:lnTo>
                      <a:pt x="166" y="114"/>
                    </a:lnTo>
                    <a:lnTo>
                      <a:pt x="164" y="116"/>
                    </a:lnTo>
                    <a:lnTo>
                      <a:pt x="166" y="116"/>
                    </a:lnTo>
                    <a:lnTo>
                      <a:pt x="164" y="116"/>
                    </a:lnTo>
                    <a:lnTo>
                      <a:pt x="164" y="118"/>
                    </a:lnTo>
                    <a:lnTo>
                      <a:pt x="164" y="116"/>
                    </a:lnTo>
                    <a:lnTo>
                      <a:pt x="162" y="116"/>
                    </a:lnTo>
                    <a:lnTo>
                      <a:pt x="162" y="114"/>
                    </a:lnTo>
                    <a:lnTo>
                      <a:pt x="162" y="112"/>
                    </a:lnTo>
                    <a:lnTo>
                      <a:pt x="164" y="112"/>
                    </a:lnTo>
                    <a:lnTo>
                      <a:pt x="164" y="110"/>
                    </a:lnTo>
                    <a:lnTo>
                      <a:pt x="164" y="112"/>
                    </a:lnTo>
                    <a:lnTo>
                      <a:pt x="162" y="112"/>
                    </a:lnTo>
                    <a:lnTo>
                      <a:pt x="162" y="114"/>
                    </a:lnTo>
                    <a:lnTo>
                      <a:pt x="162" y="116"/>
                    </a:lnTo>
                    <a:lnTo>
                      <a:pt x="164" y="116"/>
                    </a:lnTo>
                    <a:lnTo>
                      <a:pt x="164" y="118"/>
                    </a:lnTo>
                    <a:lnTo>
                      <a:pt x="166" y="118"/>
                    </a:lnTo>
                    <a:lnTo>
                      <a:pt x="166" y="120"/>
                    </a:lnTo>
                    <a:lnTo>
                      <a:pt x="166" y="121"/>
                    </a:lnTo>
                    <a:lnTo>
                      <a:pt x="168" y="121"/>
                    </a:lnTo>
                    <a:lnTo>
                      <a:pt x="168" y="123"/>
                    </a:lnTo>
                    <a:lnTo>
                      <a:pt x="168" y="125"/>
                    </a:lnTo>
                    <a:lnTo>
                      <a:pt x="169" y="125"/>
                    </a:lnTo>
                    <a:lnTo>
                      <a:pt x="169" y="127"/>
                    </a:lnTo>
                    <a:lnTo>
                      <a:pt x="169" y="129"/>
                    </a:lnTo>
                    <a:lnTo>
                      <a:pt x="171" y="129"/>
                    </a:lnTo>
                    <a:lnTo>
                      <a:pt x="171" y="131"/>
                    </a:lnTo>
                    <a:lnTo>
                      <a:pt x="171" y="133"/>
                    </a:lnTo>
                    <a:lnTo>
                      <a:pt x="169" y="133"/>
                    </a:lnTo>
                    <a:lnTo>
                      <a:pt x="169" y="135"/>
                    </a:lnTo>
                    <a:lnTo>
                      <a:pt x="171" y="135"/>
                    </a:lnTo>
                    <a:lnTo>
                      <a:pt x="169" y="135"/>
                    </a:lnTo>
                    <a:lnTo>
                      <a:pt x="169" y="137"/>
                    </a:lnTo>
                    <a:lnTo>
                      <a:pt x="171" y="139"/>
                    </a:lnTo>
                    <a:lnTo>
                      <a:pt x="171" y="141"/>
                    </a:lnTo>
                    <a:lnTo>
                      <a:pt x="171" y="143"/>
                    </a:lnTo>
                    <a:lnTo>
                      <a:pt x="169" y="143"/>
                    </a:lnTo>
                    <a:lnTo>
                      <a:pt x="169" y="145"/>
                    </a:lnTo>
                    <a:lnTo>
                      <a:pt x="168" y="146"/>
                    </a:lnTo>
                    <a:lnTo>
                      <a:pt x="168" y="145"/>
                    </a:lnTo>
                    <a:lnTo>
                      <a:pt x="168" y="146"/>
                    </a:lnTo>
                    <a:lnTo>
                      <a:pt x="168" y="145"/>
                    </a:lnTo>
                    <a:lnTo>
                      <a:pt x="168" y="146"/>
                    </a:lnTo>
                    <a:lnTo>
                      <a:pt x="166" y="146"/>
                    </a:lnTo>
                    <a:lnTo>
                      <a:pt x="164" y="146"/>
                    </a:lnTo>
                    <a:lnTo>
                      <a:pt x="164" y="148"/>
                    </a:lnTo>
                    <a:lnTo>
                      <a:pt x="166" y="148"/>
                    </a:lnTo>
                    <a:lnTo>
                      <a:pt x="164" y="148"/>
                    </a:lnTo>
                    <a:lnTo>
                      <a:pt x="166" y="150"/>
                    </a:lnTo>
                    <a:lnTo>
                      <a:pt x="164" y="150"/>
                    </a:lnTo>
                    <a:lnTo>
                      <a:pt x="166" y="150"/>
                    </a:lnTo>
                    <a:lnTo>
                      <a:pt x="164" y="150"/>
                    </a:lnTo>
                    <a:lnTo>
                      <a:pt x="164" y="148"/>
                    </a:lnTo>
                    <a:lnTo>
                      <a:pt x="164" y="150"/>
                    </a:lnTo>
                    <a:lnTo>
                      <a:pt x="164" y="152"/>
                    </a:lnTo>
                    <a:lnTo>
                      <a:pt x="166" y="152"/>
                    </a:lnTo>
                    <a:lnTo>
                      <a:pt x="164" y="152"/>
                    </a:lnTo>
                    <a:lnTo>
                      <a:pt x="166" y="152"/>
                    </a:lnTo>
                    <a:lnTo>
                      <a:pt x="164" y="152"/>
                    </a:lnTo>
                    <a:lnTo>
                      <a:pt x="166" y="152"/>
                    </a:lnTo>
                    <a:lnTo>
                      <a:pt x="164" y="152"/>
                    </a:lnTo>
                    <a:lnTo>
                      <a:pt x="164" y="154"/>
                    </a:lnTo>
                    <a:lnTo>
                      <a:pt x="164" y="156"/>
                    </a:lnTo>
                    <a:lnTo>
                      <a:pt x="164" y="158"/>
                    </a:lnTo>
                    <a:lnTo>
                      <a:pt x="166" y="158"/>
                    </a:lnTo>
                    <a:lnTo>
                      <a:pt x="164" y="160"/>
                    </a:lnTo>
                    <a:lnTo>
                      <a:pt x="162" y="160"/>
                    </a:lnTo>
                    <a:lnTo>
                      <a:pt x="162" y="162"/>
                    </a:lnTo>
                    <a:lnTo>
                      <a:pt x="160" y="162"/>
                    </a:lnTo>
                    <a:lnTo>
                      <a:pt x="160" y="164"/>
                    </a:lnTo>
                    <a:lnTo>
                      <a:pt x="160" y="162"/>
                    </a:lnTo>
                    <a:lnTo>
                      <a:pt x="160" y="164"/>
                    </a:lnTo>
                    <a:lnTo>
                      <a:pt x="158" y="164"/>
                    </a:lnTo>
                    <a:lnTo>
                      <a:pt x="156" y="166"/>
                    </a:lnTo>
                    <a:lnTo>
                      <a:pt x="158" y="166"/>
                    </a:lnTo>
                    <a:lnTo>
                      <a:pt x="156" y="166"/>
                    </a:lnTo>
                    <a:lnTo>
                      <a:pt x="154" y="168"/>
                    </a:lnTo>
                    <a:lnTo>
                      <a:pt x="154" y="166"/>
                    </a:lnTo>
                    <a:lnTo>
                      <a:pt x="154" y="168"/>
                    </a:lnTo>
                    <a:lnTo>
                      <a:pt x="152" y="170"/>
                    </a:lnTo>
                    <a:lnTo>
                      <a:pt x="150" y="170"/>
                    </a:lnTo>
                    <a:lnTo>
                      <a:pt x="152" y="170"/>
                    </a:lnTo>
                    <a:lnTo>
                      <a:pt x="150" y="170"/>
                    </a:lnTo>
                    <a:lnTo>
                      <a:pt x="148" y="170"/>
                    </a:lnTo>
                    <a:lnTo>
                      <a:pt x="148" y="171"/>
                    </a:lnTo>
                    <a:lnTo>
                      <a:pt x="146" y="171"/>
                    </a:lnTo>
                    <a:lnTo>
                      <a:pt x="144" y="171"/>
                    </a:lnTo>
                    <a:lnTo>
                      <a:pt x="144" y="173"/>
                    </a:lnTo>
                    <a:lnTo>
                      <a:pt x="143" y="173"/>
                    </a:lnTo>
                    <a:lnTo>
                      <a:pt x="141" y="175"/>
                    </a:lnTo>
                    <a:lnTo>
                      <a:pt x="139" y="175"/>
                    </a:lnTo>
                    <a:lnTo>
                      <a:pt x="139" y="177"/>
                    </a:lnTo>
                    <a:lnTo>
                      <a:pt x="137" y="177"/>
                    </a:lnTo>
                    <a:lnTo>
                      <a:pt x="135" y="177"/>
                    </a:lnTo>
                    <a:lnTo>
                      <a:pt x="133" y="177"/>
                    </a:lnTo>
                    <a:lnTo>
                      <a:pt x="131" y="177"/>
                    </a:lnTo>
                    <a:lnTo>
                      <a:pt x="129" y="179"/>
                    </a:lnTo>
                    <a:lnTo>
                      <a:pt x="127" y="179"/>
                    </a:lnTo>
                    <a:lnTo>
                      <a:pt x="125" y="179"/>
                    </a:lnTo>
                    <a:lnTo>
                      <a:pt x="125" y="177"/>
                    </a:lnTo>
                    <a:lnTo>
                      <a:pt x="123" y="177"/>
                    </a:lnTo>
                    <a:lnTo>
                      <a:pt x="121" y="177"/>
                    </a:lnTo>
                    <a:lnTo>
                      <a:pt x="121" y="175"/>
                    </a:lnTo>
                    <a:lnTo>
                      <a:pt x="119" y="175"/>
                    </a:lnTo>
                    <a:lnTo>
                      <a:pt x="119" y="177"/>
                    </a:lnTo>
                    <a:lnTo>
                      <a:pt x="118" y="177"/>
                    </a:lnTo>
                    <a:lnTo>
                      <a:pt x="118" y="179"/>
                    </a:lnTo>
                    <a:lnTo>
                      <a:pt x="118" y="177"/>
                    </a:lnTo>
                    <a:lnTo>
                      <a:pt x="116" y="179"/>
                    </a:lnTo>
                    <a:lnTo>
                      <a:pt x="114" y="179"/>
                    </a:lnTo>
                    <a:lnTo>
                      <a:pt x="114" y="181"/>
                    </a:lnTo>
                    <a:lnTo>
                      <a:pt x="114" y="183"/>
                    </a:lnTo>
                    <a:lnTo>
                      <a:pt x="112" y="185"/>
                    </a:lnTo>
                    <a:lnTo>
                      <a:pt x="112" y="183"/>
                    </a:lnTo>
                    <a:lnTo>
                      <a:pt x="112" y="185"/>
                    </a:lnTo>
                    <a:lnTo>
                      <a:pt x="112" y="183"/>
                    </a:lnTo>
                    <a:lnTo>
                      <a:pt x="112" y="185"/>
                    </a:lnTo>
                    <a:lnTo>
                      <a:pt x="110" y="185"/>
                    </a:lnTo>
                    <a:lnTo>
                      <a:pt x="112" y="185"/>
                    </a:lnTo>
                    <a:lnTo>
                      <a:pt x="110" y="185"/>
                    </a:lnTo>
                    <a:lnTo>
                      <a:pt x="112" y="185"/>
                    </a:lnTo>
                    <a:lnTo>
                      <a:pt x="110" y="187"/>
                    </a:lnTo>
                    <a:lnTo>
                      <a:pt x="108" y="189"/>
                    </a:lnTo>
                    <a:lnTo>
                      <a:pt x="108" y="191"/>
                    </a:lnTo>
                    <a:lnTo>
                      <a:pt x="110" y="193"/>
                    </a:lnTo>
                    <a:lnTo>
                      <a:pt x="110" y="195"/>
                    </a:lnTo>
                    <a:lnTo>
                      <a:pt x="108" y="195"/>
                    </a:lnTo>
                    <a:lnTo>
                      <a:pt x="108" y="193"/>
                    </a:lnTo>
                    <a:lnTo>
                      <a:pt x="106" y="195"/>
                    </a:lnTo>
                    <a:lnTo>
                      <a:pt x="104" y="196"/>
                    </a:lnTo>
                    <a:lnTo>
                      <a:pt x="104" y="198"/>
                    </a:lnTo>
                    <a:lnTo>
                      <a:pt x="102" y="198"/>
                    </a:lnTo>
                    <a:lnTo>
                      <a:pt x="102" y="200"/>
                    </a:lnTo>
                    <a:lnTo>
                      <a:pt x="102" y="202"/>
                    </a:lnTo>
                    <a:lnTo>
                      <a:pt x="100" y="204"/>
                    </a:lnTo>
                    <a:lnTo>
                      <a:pt x="98" y="204"/>
                    </a:lnTo>
                    <a:lnTo>
                      <a:pt x="98" y="202"/>
                    </a:lnTo>
                    <a:lnTo>
                      <a:pt x="96" y="202"/>
                    </a:lnTo>
                    <a:lnTo>
                      <a:pt x="95" y="202"/>
                    </a:lnTo>
                    <a:lnTo>
                      <a:pt x="95" y="200"/>
                    </a:lnTo>
                    <a:lnTo>
                      <a:pt x="93" y="200"/>
                    </a:lnTo>
                    <a:lnTo>
                      <a:pt x="91" y="200"/>
                    </a:lnTo>
                    <a:lnTo>
                      <a:pt x="89" y="200"/>
                    </a:lnTo>
                    <a:lnTo>
                      <a:pt x="89" y="198"/>
                    </a:lnTo>
                    <a:lnTo>
                      <a:pt x="89" y="196"/>
                    </a:lnTo>
                    <a:lnTo>
                      <a:pt x="89" y="198"/>
                    </a:lnTo>
                    <a:lnTo>
                      <a:pt x="89" y="200"/>
                    </a:lnTo>
                    <a:lnTo>
                      <a:pt x="91" y="200"/>
                    </a:lnTo>
                    <a:lnTo>
                      <a:pt x="93" y="200"/>
                    </a:lnTo>
                    <a:lnTo>
                      <a:pt x="95" y="200"/>
                    </a:lnTo>
                    <a:lnTo>
                      <a:pt x="95" y="202"/>
                    </a:lnTo>
                    <a:lnTo>
                      <a:pt x="96" y="202"/>
                    </a:lnTo>
                    <a:lnTo>
                      <a:pt x="98" y="202"/>
                    </a:lnTo>
                    <a:lnTo>
                      <a:pt x="98" y="204"/>
                    </a:lnTo>
                    <a:lnTo>
                      <a:pt x="100" y="204"/>
                    </a:lnTo>
                    <a:lnTo>
                      <a:pt x="98" y="204"/>
                    </a:lnTo>
                    <a:lnTo>
                      <a:pt x="100" y="204"/>
                    </a:lnTo>
                    <a:lnTo>
                      <a:pt x="98" y="206"/>
                    </a:lnTo>
                    <a:lnTo>
                      <a:pt x="98" y="208"/>
                    </a:lnTo>
                    <a:lnTo>
                      <a:pt x="98" y="210"/>
                    </a:lnTo>
                    <a:lnTo>
                      <a:pt x="96" y="210"/>
                    </a:lnTo>
                    <a:lnTo>
                      <a:pt x="98" y="210"/>
                    </a:lnTo>
                    <a:lnTo>
                      <a:pt x="100" y="212"/>
                    </a:lnTo>
                    <a:lnTo>
                      <a:pt x="100" y="214"/>
                    </a:lnTo>
                    <a:lnTo>
                      <a:pt x="98" y="214"/>
                    </a:lnTo>
                    <a:lnTo>
                      <a:pt x="100" y="214"/>
                    </a:lnTo>
                    <a:lnTo>
                      <a:pt x="100" y="216"/>
                    </a:lnTo>
                    <a:lnTo>
                      <a:pt x="98" y="216"/>
                    </a:lnTo>
                    <a:lnTo>
                      <a:pt x="98" y="218"/>
                    </a:lnTo>
                    <a:lnTo>
                      <a:pt x="96" y="218"/>
                    </a:lnTo>
                    <a:lnTo>
                      <a:pt x="95" y="218"/>
                    </a:lnTo>
                    <a:lnTo>
                      <a:pt x="95" y="220"/>
                    </a:lnTo>
                    <a:lnTo>
                      <a:pt x="93" y="220"/>
                    </a:lnTo>
                    <a:lnTo>
                      <a:pt x="91" y="220"/>
                    </a:lnTo>
                    <a:lnTo>
                      <a:pt x="89" y="220"/>
                    </a:lnTo>
                    <a:lnTo>
                      <a:pt x="87" y="220"/>
                    </a:lnTo>
                    <a:lnTo>
                      <a:pt x="85" y="218"/>
                    </a:lnTo>
                    <a:lnTo>
                      <a:pt x="83" y="218"/>
                    </a:lnTo>
                    <a:lnTo>
                      <a:pt x="83" y="216"/>
                    </a:lnTo>
                    <a:lnTo>
                      <a:pt x="81" y="214"/>
                    </a:lnTo>
                    <a:lnTo>
                      <a:pt x="83" y="214"/>
                    </a:lnTo>
                    <a:lnTo>
                      <a:pt x="83" y="212"/>
                    </a:lnTo>
                    <a:lnTo>
                      <a:pt x="81" y="210"/>
                    </a:lnTo>
                    <a:lnTo>
                      <a:pt x="81" y="208"/>
                    </a:lnTo>
                    <a:lnTo>
                      <a:pt x="79" y="208"/>
                    </a:lnTo>
                    <a:lnTo>
                      <a:pt x="77" y="210"/>
                    </a:lnTo>
                    <a:lnTo>
                      <a:pt x="73" y="208"/>
                    </a:lnTo>
                    <a:lnTo>
                      <a:pt x="71" y="206"/>
                    </a:lnTo>
                    <a:lnTo>
                      <a:pt x="68" y="206"/>
                    </a:lnTo>
                    <a:lnTo>
                      <a:pt x="66" y="206"/>
                    </a:lnTo>
                    <a:lnTo>
                      <a:pt x="64" y="206"/>
                    </a:lnTo>
                    <a:lnTo>
                      <a:pt x="62" y="206"/>
                    </a:lnTo>
                    <a:lnTo>
                      <a:pt x="60" y="208"/>
                    </a:lnTo>
                    <a:lnTo>
                      <a:pt x="60" y="206"/>
                    </a:lnTo>
                    <a:lnTo>
                      <a:pt x="58" y="204"/>
                    </a:lnTo>
                    <a:lnTo>
                      <a:pt x="58" y="202"/>
                    </a:lnTo>
                    <a:lnTo>
                      <a:pt x="56" y="202"/>
                    </a:lnTo>
                    <a:lnTo>
                      <a:pt x="56" y="200"/>
                    </a:lnTo>
                    <a:lnTo>
                      <a:pt x="54" y="198"/>
                    </a:lnTo>
                    <a:lnTo>
                      <a:pt x="54" y="196"/>
                    </a:lnTo>
                    <a:lnTo>
                      <a:pt x="54" y="195"/>
                    </a:lnTo>
                    <a:lnTo>
                      <a:pt x="56" y="195"/>
                    </a:lnTo>
                    <a:lnTo>
                      <a:pt x="56" y="193"/>
                    </a:lnTo>
                    <a:lnTo>
                      <a:pt x="58" y="193"/>
                    </a:lnTo>
                    <a:lnTo>
                      <a:pt x="58" y="191"/>
                    </a:lnTo>
                    <a:lnTo>
                      <a:pt x="56" y="191"/>
                    </a:lnTo>
                    <a:lnTo>
                      <a:pt x="56" y="189"/>
                    </a:lnTo>
                    <a:lnTo>
                      <a:pt x="58" y="189"/>
                    </a:lnTo>
                    <a:lnTo>
                      <a:pt x="58" y="187"/>
                    </a:lnTo>
                    <a:lnTo>
                      <a:pt x="60" y="185"/>
                    </a:lnTo>
                    <a:lnTo>
                      <a:pt x="58" y="183"/>
                    </a:lnTo>
                    <a:lnTo>
                      <a:pt x="58" y="181"/>
                    </a:lnTo>
                    <a:lnTo>
                      <a:pt x="56" y="181"/>
                    </a:lnTo>
                    <a:lnTo>
                      <a:pt x="54" y="179"/>
                    </a:lnTo>
                    <a:lnTo>
                      <a:pt x="54" y="177"/>
                    </a:lnTo>
                    <a:lnTo>
                      <a:pt x="52" y="177"/>
                    </a:lnTo>
                    <a:lnTo>
                      <a:pt x="50" y="177"/>
                    </a:lnTo>
                    <a:lnTo>
                      <a:pt x="48" y="177"/>
                    </a:lnTo>
                    <a:lnTo>
                      <a:pt x="48" y="175"/>
                    </a:lnTo>
                    <a:lnTo>
                      <a:pt x="50" y="175"/>
                    </a:lnTo>
                    <a:lnTo>
                      <a:pt x="50" y="173"/>
                    </a:lnTo>
                    <a:lnTo>
                      <a:pt x="50" y="171"/>
                    </a:lnTo>
                    <a:lnTo>
                      <a:pt x="52" y="171"/>
                    </a:lnTo>
                    <a:lnTo>
                      <a:pt x="52" y="170"/>
                    </a:lnTo>
                    <a:lnTo>
                      <a:pt x="52" y="168"/>
                    </a:lnTo>
                    <a:lnTo>
                      <a:pt x="52" y="166"/>
                    </a:lnTo>
                    <a:lnTo>
                      <a:pt x="50" y="166"/>
                    </a:lnTo>
                    <a:lnTo>
                      <a:pt x="48" y="164"/>
                    </a:lnTo>
                    <a:lnTo>
                      <a:pt x="48" y="162"/>
                    </a:lnTo>
                    <a:lnTo>
                      <a:pt x="46" y="160"/>
                    </a:lnTo>
                    <a:lnTo>
                      <a:pt x="46" y="158"/>
                    </a:lnTo>
                    <a:lnTo>
                      <a:pt x="45" y="158"/>
                    </a:lnTo>
                    <a:lnTo>
                      <a:pt x="43" y="158"/>
                    </a:lnTo>
                    <a:lnTo>
                      <a:pt x="41" y="158"/>
                    </a:lnTo>
                    <a:lnTo>
                      <a:pt x="41" y="156"/>
                    </a:lnTo>
                    <a:lnTo>
                      <a:pt x="39" y="156"/>
                    </a:lnTo>
                    <a:lnTo>
                      <a:pt x="37" y="156"/>
                    </a:lnTo>
                    <a:lnTo>
                      <a:pt x="39" y="158"/>
                    </a:lnTo>
                    <a:lnTo>
                      <a:pt x="37" y="158"/>
                    </a:lnTo>
                    <a:lnTo>
                      <a:pt x="35" y="158"/>
                    </a:lnTo>
                    <a:lnTo>
                      <a:pt x="35" y="156"/>
                    </a:lnTo>
                    <a:lnTo>
                      <a:pt x="35" y="154"/>
                    </a:lnTo>
                    <a:lnTo>
                      <a:pt x="33" y="154"/>
                    </a:lnTo>
                    <a:lnTo>
                      <a:pt x="31" y="154"/>
                    </a:lnTo>
                    <a:lnTo>
                      <a:pt x="31" y="152"/>
                    </a:lnTo>
                    <a:lnTo>
                      <a:pt x="33" y="150"/>
                    </a:lnTo>
                    <a:lnTo>
                      <a:pt x="33" y="148"/>
                    </a:lnTo>
                    <a:lnTo>
                      <a:pt x="35" y="148"/>
                    </a:lnTo>
                    <a:lnTo>
                      <a:pt x="35" y="146"/>
                    </a:lnTo>
                    <a:lnTo>
                      <a:pt x="33" y="146"/>
                    </a:lnTo>
                    <a:lnTo>
                      <a:pt x="33" y="145"/>
                    </a:lnTo>
                    <a:lnTo>
                      <a:pt x="31" y="145"/>
                    </a:lnTo>
                    <a:lnTo>
                      <a:pt x="31" y="143"/>
                    </a:lnTo>
                    <a:lnTo>
                      <a:pt x="29" y="143"/>
                    </a:lnTo>
                    <a:lnTo>
                      <a:pt x="27" y="143"/>
                    </a:lnTo>
                    <a:lnTo>
                      <a:pt x="27" y="141"/>
                    </a:lnTo>
                    <a:lnTo>
                      <a:pt x="25" y="141"/>
                    </a:lnTo>
                    <a:lnTo>
                      <a:pt x="25" y="139"/>
                    </a:lnTo>
                    <a:lnTo>
                      <a:pt x="23" y="139"/>
                    </a:lnTo>
                    <a:lnTo>
                      <a:pt x="22" y="137"/>
                    </a:lnTo>
                    <a:lnTo>
                      <a:pt x="22" y="135"/>
                    </a:lnTo>
                    <a:lnTo>
                      <a:pt x="22" y="133"/>
                    </a:lnTo>
                    <a:lnTo>
                      <a:pt x="23" y="133"/>
                    </a:lnTo>
                    <a:lnTo>
                      <a:pt x="22" y="133"/>
                    </a:lnTo>
                    <a:lnTo>
                      <a:pt x="23" y="133"/>
                    </a:lnTo>
                    <a:lnTo>
                      <a:pt x="23" y="131"/>
                    </a:lnTo>
                    <a:lnTo>
                      <a:pt x="23" y="129"/>
                    </a:lnTo>
                    <a:lnTo>
                      <a:pt x="25" y="131"/>
                    </a:lnTo>
                    <a:lnTo>
                      <a:pt x="27" y="129"/>
                    </a:lnTo>
                    <a:lnTo>
                      <a:pt x="27" y="127"/>
                    </a:lnTo>
                    <a:lnTo>
                      <a:pt x="27" y="125"/>
                    </a:lnTo>
                    <a:lnTo>
                      <a:pt x="25" y="125"/>
                    </a:lnTo>
                    <a:lnTo>
                      <a:pt x="25" y="123"/>
                    </a:lnTo>
                    <a:lnTo>
                      <a:pt x="25" y="121"/>
                    </a:lnTo>
                    <a:lnTo>
                      <a:pt x="23" y="121"/>
                    </a:lnTo>
                    <a:lnTo>
                      <a:pt x="23" y="120"/>
                    </a:lnTo>
                    <a:lnTo>
                      <a:pt x="25" y="120"/>
                    </a:lnTo>
                    <a:lnTo>
                      <a:pt x="25" y="118"/>
                    </a:lnTo>
                    <a:lnTo>
                      <a:pt x="25" y="116"/>
                    </a:lnTo>
                    <a:lnTo>
                      <a:pt x="27" y="114"/>
                    </a:lnTo>
                    <a:lnTo>
                      <a:pt x="25" y="114"/>
                    </a:lnTo>
                    <a:lnTo>
                      <a:pt x="23" y="114"/>
                    </a:lnTo>
                    <a:lnTo>
                      <a:pt x="23" y="112"/>
                    </a:lnTo>
                    <a:lnTo>
                      <a:pt x="22" y="112"/>
                    </a:lnTo>
                    <a:lnTo>
                      <a:pt x="22" y="110"/>
                    </a:lnTo>
                    <a:lnTo>
                      <a:pt x="20" y="110"/>
                    </a:lnTo>
                    <a:lnTo>
                      <a:pt x="18" y="110"/>
                    </a:lnTo>
                    <a:lnTo>
                      <a:pt x="16" y="110"/>
                    </a:lnTo>
                    <a:lnTo>
                      <a:pt x="14" y="110"/>
                    </a:lnTo>
                    <a:lnTo>
                      <a:pt x="12" y="110"/>
                    </a:lnTo>
                    <a:lnTo>
                      <a:pt x="12" y="108"/>
                    </a:lnTo>
                    <a:lnTo>
                      <a:pt x="10" y="108"/>
                    </a:lnTo>
                    <a:lnTo>
                      <a:pt x="10" y="106"/>
                    </a:lnTo>
                    <a:lnTo>
                      <a:pt x="10" y="104"/>
                    </a:lnTo>
                    <a:lnTo>
                      <a:pt x="10" y="102"/>
                    </a:lnTo>
                    <a:lnTo>
                      <a:pt x="8" y="102"/>
                    </a:lnTo>
                    <a:lnTo>
                      <a:pt x="8" y="100"/>
                    </a:lnTo>
                    <a:lnTo>
                      <a:pt x="6" y="100"/>
                    </a:lnTo>
                    <a:lnTo>
                      <a:pt x="4" y="100"/>
                    </a:lnTo>
                    <a:lnTo>
                      <a:pt x="2" y="98"/>
                    </a:lnTo>
                    <a:lnTo>
                      <a:pt x="2" y="100"/>
                    </a:lnTo>
                    <a:lnTo>
                      <a:pt x="0" y="98"/>
                    </a:lnTo>
                    <a:lnTo>
                      <a:pt x="0" y="96"/>
                    </a:lnTo>
                    <a:lnTo>
                      <a:pt x="2" y="96"/>
                    </a:lnTo>
                    <a:lnTo>
                      <a:pt x="4" y="95"/>
                    </a:lnTo>
                    <a:lnTo>
                      <a:pt x="4" y="93"/>
                    </a:lnTo>
                    <a:lnTo>
                      <a:pt x="4" y="91"/>
                    </a:lnTo>
                    <a:lnTo>
                      <a:pt x="4" y="89"/>
                    </a:lnTo>
                    <a:lnTo>
                      <a:pt x="4" y="87"/>
                    </a:lnTo>
                    <a:lnTo>
                      <a:pt x="4" y="85"/>
                    </a:lnTo>
                    <a:lnTo>
                      <a:pt x="4" y="83"/>
                    </a:lnTo>
                    <a:lnTo>
                      <a:pt x="6" y="85"/>
                    </a:lnTo>
                    <a:lnTo>
                      <a:pt x="8" y="85"/>
                    </a:lnTo>
                    <a:lnTo>
                      <a:pt x="10" y="83"/>
                    </a:lnTo>
                    <a:lnTo>
                      <a:pt x="10" y="81"/>
                    </a:lnTo>
                    <a:lnTo>
                      <a:pt x="14" y="83"/>
                    </a:lnTo>
                    <a:lnTo>
                      <a:pt x="16" y="81"/>
                    </a:lnTo>
                    <a:lnTo>
                      <a:pt x="16" y="79"/>
                    </a:lnTo>
                    <a:lnTo>
                      <a:pt x="16" y="77"/>
                    </a:lnTo>
                    <a:lnTo>
                      <a:pt x="18" y="77"/>
                    </a:lnTo>
                    <a:lnTo>
                      <a:pt x="18" y="75"/>
                    </a:lnTo>
                    <a:lnTo>
                      <a:pt x="16" y="75"/>
                    </a:lnTo>
                    <a:lnTo>
                      <a:pt x="16" y="73"/>
                    </a:lnTo>
                    <a:lnTo>
                      <a:pt x="18" y="73"/>
                    </a:lnTo>
                    <a:lnTo>
                      <a:pt x="22" y="73"/>
                    </a:lnTo>
                    <a:lnTo>
                      <a:pt x="25" y="72"/>
                    </a:lnTo>
                    <a:lnTo>
                      <a:pt x="27" y="72"/>
                    </a:lnTo>
                    <a:lnTo>
                      <a:pt x="31" y="72"/>
                    </a:lnTo>
                    <a:lnTo>
                      <a:pt x="33" y="72"/>
                    </a:lnTo>
                    <a:lnTo>
                      <a:pt x="35" y="72"/>
                    </a:lnTo>
                    <a:lnTo>
                      <a:pt x="37" y="72"/>
                    </a:lnTo>
                    <a:lnTo>
                      <a:pt x="39" y="72"/>
                    </a:lnTo>
                    <a:lnTo>
                      <a:pt x="41" y="73"/>
                    </a:lnTo>
                    <a:lnTo>
                      <a:pt x="43" y="73"/>
                    </a:lnTo>
                    <a:lnTo>
                      <a:pt x="43" y="72"/>
                    </a:lnTo>
                    <a:lnTo>
                      <a:pt x="45" y="72"/>
                    </a:lnTo>
                    <a:lnTo>
                      <a:pt x="43" y="70"/>
                    </a:lnTo>
                    <a:lnTo>
                      <a:pt x="43" y="68"/>
                    </a:lnTo>
                    <a:lnTo>
                      <a:pt x="41" y="68"/>
                    </a:lnTo>
                    <a:lnTo>
                      <a:pt x="41" y="66"/>
                    </a:lnTo>
                    <a:lnTo>
                      <a:pt x="39" y="64"/>
                    </a:lnTo>
                    <a:lnTo>
                      <a:pt x="39" y="62"/>
                    </a:lnTo>
                    <a:lnTo>
                      <a:pt x="41" y="60"/>
                    </a:lnTo>
                    <a:lnTo>
                      <a:pt x="43" y="58"/>
                    </a:lnTo>
                    <a:lnTo>
                      <a:pt x="46" y="60"/>
                    </a:lnTo>
                    <a:lnTo>
                      <a:pt x="46" y="62"/>
                    </a:lnTo>
                    <a:lnTo>
                      <a:pt x="50" y="60"/>
                    </a:lnTo>
                    <a:lnTo>
                      <a:pt x="52" y="60"/>
                    </a:lnTo>
                    <a:lnTo>
                      <a:pt x="52" y="58"/>
                    </a:lnTo>
                    <a:lnTo>
                      <a:pt x="54" y="56"/>
                    </a:lnTo>
                    <a:lnTo>
                      <a:pt x="58" y="56"/>
                    </a:lnTo>
                    <a:lnTo>
                      <a:pt x="58" y="58"/>
                    </a:lnTo>
                    <a:lnTo>
                      <a:pt x="60" y="58"/>
                    </a:lnTo>
                    <a:lnTo>
                      <a:pt x="62" y="58"/>
                    </a:lnTo>
                    <a:lnTo>
                      <a:pt x="66" y="58"/>
                    </a:lnTo>
                    <a:lnTo>
                      <a:pt x="66" y="60"/>
                    </a:lnTo>
                    <a:lnTo>
                      <a:pt x="66" y="62"/>
                    </a:lnTo>
                    <a:lnTo>
                      <a:pt x="68" y="62"/>
                    </a:lnTo>
                    <a:lnTo>
                      <a:pt x="70" y="60"/>
                    </a:lnTo>
                    <a:lnTo>
                      <a:pt x="71" y="58"/>
                    </a:lnTo>
                    <a:lnTo>
                      <a:pt x="71" y="56"/>
                    </a:lnTo>
                    <a:lnTo>
                      <a:pt x="71" y="54"/>
                    </a:lnTo>
                    <a:lnTo>
                      <a:pt x="73" y="52"/>
                    </a:lnTo>
                    <a:lnTo>
                      <a:pt x="77" y="50"/>
                    </a:lnTo>
                    <a:lnTo>
                      <a:pt x="83" y="48"/>
                    </a:lnTo>
                    <a:lnTo>
                      <a:pt x="85" y="47"/>
                    </a:lnTo>
                    <a:lnTo>
                      <a:pt x="87" y="47"/>
                    </a:lnTo>
                    <a:lnTo>
                      <a:pt x="87" y="45"/>
                    </a:lnTo>
                    <a:lnTo>
                      <a:pt x="89" y="45"/>
                    </a:lnTo>
                    <a:lnTo>
                      <a:pt x="89" y="43"/>
                    </a:lnTo>
                    <a:lnTo>
                      <a:pt x="91" y="43"/>
                    </a:lnTo>
                    <a:lnTo>
                      <a:pt x="91" y="37"/>
                    </a:lnTo>
                    <a:lnTo>
                      <a:pt x="93" y="33"/>
                    </a:lnTo>
                    <a:lnTo>
                      <a:pt x="95" y="35"/>
                    </a:lnTo>
                    <a:lnTo>
                      <a:pt x="96" y="35"/>
                    </a:lnTo>
                    <a:lnTo>
                      <a:pt x="98" y="37"/>
                    </a:lnTo>
                    <a:lnTo>
                      <a:pt x="100" y="37"/>
                    </a:lnTo>
                    <a:lnTo>
                      <a:pt x="100" y="39"/>
                    </a:lnTo>
                    <a:lnTo>
                      <a:pt x="102" y="37"/>
                    </a:lnTo>
                    <a:lnTo>
                      <a:pt x="104" y="37"/>
                    </a:lnTo>
                    <a:lnTo>
                      <a:pt x="108" y="37"/>
                    </a:lnTo>
                    <a:lnTo>
                      <a:pt x="112" y="39"/>
                    </a:lnTo>
                    <a:lnTo>
                      <a:pt x="116" y="37"/>
                    </a:lnTo>
                    <a:lnTo>
                      <a:pt x="121" y="37"/>
                    </a:lnTo>
                    <a:lnTo>
                      <a:pt x="123" y="33"/>
                    </a:lnTo>
                    <a:lnTo>
                      <a:pt x="125" y="33"/>
                    </a:lnTo>
                    <a:lnTo>
                      <a:pt x="123" y="31"/>
                    </a:lnTo>
                    <a:lnTo>
                      <a:pt x="123" y="29"/>
                    </a:lnTo>
                    <a:lnTo>
                      <a:pt x="127" y="29"/>
                    </a:lnTo>
                    <a:lnTo>
                      <a:pt x="129" y="25"/>
                    </a:lnTo>
                    <a:lnTo>
                      <a:pt x="131" y="25"/>
                    </a:lnTo>
                    <a:lnTo>
                      <a:pt x="133" y="27"/>
                    </a:lnTo>
                    <a:lnTo>
                      <a:pt x="139" y="29"/>
                    </a:lnTo>
                    <a:lnTo>
                      <a:pt x="143" y="27"/>
                    </a:lnTo>
                    <a:lnTo>
                      <a:pt x="146" y="29"/>
                    </a:lnTo>
                    <a:lnTo>
                      <a:pt x="148" y="31"/>
                    </a:lnTo>
                    <a:lnTo>
                      <a:pt x="150" y="31"/>
                    </a:lnTo>
                    <a:lnTo>
                      <a:pt x="150" y="33"/>
                    </a:lnTo>
                    <a:lnTo>
                      <a:pt x="152" y="33"/>
                    </a:lnTo>
                    <a:lnTo>
                      <a:pt x="154" y="33"/>
                    </a:lnTo>
                    <a:lnTo>
                      <a:pt x="156" y="31"/>
                    </a:lnTo>
                    <a:lnTo>
                      <a:pt x="158" y="31"/>
                    </a:lnTo>
                    <a:lnTo>
                      <a:pt x="160" y="31"/>
                    </a:lnTo>
                    <a:lnTo>
                      <a:pt x="160" y="29"/>
                    </a:lnTo>
                    <a:lnTo>
                      <a:pt x="162" y="27"/>
                    </a:lnTo>
                    <a:lnTo>
                      <a:pt x="164" y="27"/>
                    </a:lnTo>
                    <a:lnTo>
                      <a:pt x="166" y="27"/>
                    </a:lnTo>
                    <a:lnTo>
                      <a:pt x="168" y="29"/>
                    </a:lnTo>
                    <a:lnTo>
                      <a:pt x="169" y="29"/>
                    </a:lnTo>
                    <a:lnTo>
                      <a:pt x="173" y="29"/>
                    </a:lnTo>
                    <a:lnTo>
                      <a:pt x="175" y="29"/>
                    </a:lnTo>
                    <a:lnTo>
                      <a:pt x="175" y="31"/>
                    </a:lnTo>
                    <a:lnTo>
                      <a:pt x="177" y="31"/>
                    </a:lnTo>
                    <a:lnTo>
                      <a:pt x="177" y="33"/>
                    </a:lnTo>
                    <a:lnTo>
                      <a:pt x="179" y="33"/>
                    </a:lnTo>
                    <a:lnTo>
                      <a:pt x="179" y="35"/>
                    </a:lnTo>
                    <a:lnTo>
                      <a:pt x="181" y="35"/>
                    </a:lnTo>
                    <a:lnTo>
                      <a:pt x="181" y="37"/>
                    </a:lnTo>
                    <a:lnTo>
                      <a:pt x="183" y="39"/>
                    </a:lnTo>
                    <a:lnTo>
                      <a:pt x="183" y="41"/>
                    </a:lnTo>
                    <a:lnTo>
                      <a:pt x="183" y="43"/>
                    </a:lnTo>
                    <a:lnTo>
                      <a:pt x="181" y="45"/>
                    </a:lnTo>
                    <a:lnTo>
                      <a:pt x="181" y="47"/>
                    </a:lnTo>
                    <a:lnTo>
                      <a:pt x="181" y="48"/>
                    </a:lnTo>
                    <a:lnTo>
                      <a:pt x="179" y="50"/>
                    </a:lnTo>
                    <a:lnTo>
                      <a:pt x="181" y="52"/>
                    </a:lnTo>
                    <a:lnTo>
                      <a:pt x="181" y="56"/>
                    </a:lnTo>
                    <a:lnTo>
                      <a:pt x="181" y="58"/>
                    </a:lnTo>
                    <a:lnTo>
                      <a:pt x="181" y="64"/>
                    </a:lnTo>
                    <a:lnTo>
                      <a:pt x="181" y="66"/>
                    </a:lnTo>
                    <a:lnTo>
                      <a:pt x="181" y="68"/>
                    </a:lnTo>
                    <a:lnTo>
                      <a:pt x="183" y="70"/>
                    </a:lnTo>
                    <a:lnTo>
                      <a:pt x="183" y="72"/>
                    </a:lnTo>
                    <a:lnTo>
                      <a:pt x="181" y="72"/>
                    </a:lnTo>
                    <a:lnTo>
                      <a:pt x="181" y="73"/>
                    </a:lnTo>
                    <a:lnTo>
                      <a:pt x="183" y="73"/>
                    </a:lnTo>
                    <a:lnTo>
                      <a:pt x="185" y="73"/>
                    </a:lnTo>
                    <a:lnTo>
                      <a:pt x="185" y="75"/>
                    </a:lnTo>
                    <a:lnTo>
                      <a:pt x="183" y="75"/>
                    </a:lnTo>
                    <a:lnTo>
                      <a:pt x="183" y="77"/>
                    </a:lnTo>
                    <a:lnTo>
                      <a:pt x="183" y="79"/>
                    </a:lnTo>
                    <a:lnTo>
                      <a:pt x="183" y="83"/>
                    </a:lnTo>
                    <a:lnTo>
                      <a:pt x="183" y="85"/>
                    </a:lnTo>
                    <a:lnTo>
                      <a:pt x="187" y="85"/>
                    </a:lnTo>
                    <a:lnTo>
                      <a:pt x="189" y="85"/>
                    </a:lnTo>
                    <a:lnTo>
                      <a:pt x="189" y="83"/>
                    </a:lnTo>
                    <a:lnTo>
                      <a:pt x="191" y="83"/>
                    </a:lnTo>
                    <a:lnTo>
                      <a:pt x="196" y="83"/>
                    </a:lnTo>
                    <a:lnTo>
                      <a:pt x="198" y="81"/>
                    </a:lnTo>
                    <a:lnTo>
                      <a:pt x="200" y="83"/>
                    </a:lnTo>
                    <a:lnTo>
                      <a:pt x="200" y="77"/>
                    </a:lnTo>
                    <a:lnTo>
                      <a:pt x="202" y="77"/>
                    </a:lnTo>
                    <a:lnTo>
                      <a:pt x="204" y="77"/>
                    </a:lnTo>
                    <a:lnTo>
                      <a:pt x="208" y="77"/>
                    </a:lnTo>
                    <a:lnTo>
                      <a:pt x="210" y="77"/>
                    </a:lnTo>
                    <a:lnTo>
                      <a:pt x="212" y="77"/>
                    </a:lnTo>
                    <a:lnTo>
                      <a:pt x="214" y="77"/>
                    </a:lnTo>
                    <a:lnTo>
                      <a:pt x="216" y="77"/>
                    </a:lnTo>
                    <a:lnTo>
                      <a:pt x="219" y="77"/>
                    </a:lnTo>
                    <a:lnTo>
                      <a:pt x="221" y="77"/>
                    </a:lnTo>
                    <a:lnTo>
                      <a:pt x="221" y="79"/>
                    </a:lnTo>
                    <a:lnTo>
                      <a:pt x="223" y="79"/>
                    </a:lnTo>
                    <a:lnTo>
                      <a:pt x="225" y="79"/>
                    </a:lnTo>
                    <a:lnTo>
                      <a:pt x="225" y="77"/>
                    </a:lnTo>
                    <a:lnTo>
                      <a:pt x="229" y="77"/>
                    </a:lnTo>
                    <a:lnTo>
                      <a:pt x="231" y="77"/>
                    </a:lnTo>
                    <a:lnTo>
                      <a:pt x="231" y="75"/>
                    </a:lnTo>
                    <a:lnTo>
                      <a:pt x="233" y="75"/>
                    </a:lnTo>
                    <a:lnTo>
                      <a:pt x="233" y="73"/>
                    </a:lnTo>
                    <a:lnTo>
                      <a:pt x="237" y="73"/>
                    </a:lnTo>
                    <a:lnTo>
                      <a:pt x="237" y="75"/>
                    </a:lnTo>
                    <a:lnTo>
                      <a:pt x="239" y="79"/>
                    </a:lnTo>
                    <a:lnTo>
                      <a:pt x="239" y="81"/>
                    </a:lnTo>
                    <a:lnTo>
                      <a:pt x="241" y="81"/>
                    </a:lnTo>
                    <a:lnTo>
                      <a:pt x="241" y="79"/>
                    </a:lnTo>
                    <a:lnTo>
                      <a:pt x="241" y="81"/>
                    </a:lnTo>
                    <a:lnTo>
                      <a:pt x="242" y="81"/>
                    </a:lnTo>
                    <a:lnTo>
                      <a:pt x="244" y="81"/>
                    </a:lnTo>
                    <a:lnTo>
                      <a:pt x="244" y="83"/>
                    </a:lnTo>
                    <a:lnTo>
                      <a:pt x="244" y="85"/>
                    </a:lnTo>
                    <a:lnTo>
                      <a:pt x="246" y="85"/>
                    </a:lnTo>
                    <a:lnTo>
                      <a:pt x="246" y="83"/>
                    </a:lnTo>
                    <a:lnTo>
                      <a:pt x="248" y="83"/>
                    </a:lnTo>
                    <a:lnTo>
                      <a:pt x="248" y="85"/>
                    </a:lnTo>
                    <a:lnTo>
                      <a:pt x="250" y="85"/>
                    </a:lnTo>
                    <a:lnTo>
                      <a:pt x="250" y="87"/>
                    </a:lnTo>
                    <a:lnTo>
                      <a:pt x="252" y="87"/>
                    </a:lnTo>
                    <a:lnTo>
                      <a:pt x="252" y="85"/>
                    </a:lnTo>
                    <a:lnTo>
                      <a:pt x="254" y="87"/>
                    </a:lnTo>
                    <a:lnTo>
                      <a:pt x="256" y="87"/>
                    </a:lnTo>
                    <a:lnTo>
                      <a:pt x="258" y="85"/>
                    </a:lnTo>
                    <a:lnTo>
                      <a:pt x="258" y="83"/>
                    </a:lnTo>
                    <a:lnTo>
                      <a:pt x="260" y="83"/>
                    </a:lnTo>
                    <a:lnTo>
                      <a:pt x="262" y="83"/>
                    </a:lnTo>
                    <a:lnTo>
                      <a:pt x="262" y="81"/>
                    </a:lnTo>
                    <a:lnTo>
                      <a:pt x="264" y="81"/>
                    </a:lnTo>
                    <a:lnTo>
                      <a:pt x="265" y="79"/>
                    </a:lnTo>
                    <a:lnTo>
                      <a:pt x="267" y="79"/>
                    </a:lnTo>
                    <a:lnTo>
                      <a:pt x="269" y="77"/>
                    </a:lnTo>
                    <a:lnTo>
                      <a:pt x="269" y="75"/>
                    </a:lnTo>
                    <a:lnTo>
                      <a:pt x="269" y="73"/>
                    </a:lnTo>
                    <a:lnTo>
                      <a:pt x="271" y="73"/>
                    </a:lnTo>
                    <a:lnTo>
                      <a:pt x="273" y="72"/>
                    </a:lnTo>
                    <a:lnTo>
                      <a:pt x="273" y="70"/>
                    </a:lnTo>
                    <a:lnTo>
                      <a:pt x="271" y="70"/>
                    </a:lnTo>
                    <a:lnTo>
                      <a:pt x="271" y="68"/>
                    </a:lnTo>
                    <a:lnTo>
                      <a:pt x="271" y="66"/>
                    </a:lnTo>
                    <a:lnTo>
                      <a:pt x="273" y="66"/>
                    </a:lnTo>
                    <a:lnTo>
                      <a:pt x="271" y="64"/>
                    </a:lnTo>
                    <a:lnTo>
                      <a:pt x="271" y="62"/>
                    </a:lnTo>
                    <a:lnTo>
                      <a:pt x="273" y="62"/>
                    </a:lnTo>
                    <a:lnTo>
                      <a:pt x="273" y="64"/>
                    </a:lnTo>
                    <a:lnTo>
                      <a:pt x="273" y="66"/>
                    </a:lnTo>
                    <a:lnTo>
                      <a:pt x="275" y="66"/>
                    </a:lnTo>
                    <a:lnTo>
                      <a:pt x="277" y="64"/>
                    </a:lnTo>
                    <a:lnTo>
                      <a:pt x="275" y="64"/>
                    </a:lnTo>
                    <a:lnTo>
                      <a:pt x="275" y="62"/>
                    </a:lnTo>
                    <a:lnTo>
                      <a:pt x="277" y="62"/>
                    </a:lnTo>
                    <a:lnTo>
                      <a:pt x="279" y="64"/>
                    </a:lnTo>
                    <a:lnTo>
                      <a:pt x="279" y="62"/>
                    </a:lnTo>
                    <a:lnTo>
                      <a:pt x="281" y="62"/>
                    </a:lnTo>
                    <a:lnTo>
                      <a:pt x="281" y="60"/>
                    </a:lnTo>
                    <a:lnTo>
                      <a:pt x="283" y="60"/>
                    </a:lnTo>
                    <a:lnTo>
                      <a:pt x="283" y="58"/>
                    </a:lnTo>
                    <a:lnTo>
                      <a:pt x="281" y="56"/>
                    </a:lnTo>
                    <a:lnTo>
                      <a:pt x="283" y="56"/>
                    </a:lnTo>
                    <a:lnTo>
                      <a:pt x="283" y="54"/>
                    </a:lnTo>
                    <a:lnTo>
                      <a:pt x="285" y="54"/>
                    </a:lnTo>
                    <a:lnTo>
                      <a:pt x="285" y="52"/>
                    </a:lnTo>
                    <a:lnTo>
                      <a:pt x="287" y="50"/>
                    </a:lnTo>
                    <a:lnTo>
                      <a:pt x="285" y="50"/>
                    </a:lnTo>
                    <a:lnTo>
                      <a:pt x="283" y="50"/>
                    </a:lnTo>
                    <a:lnTo>
                      <a:pt x="283" y="48"/>
                    </a:lnTo>
                    <a:lnTo>
                      <a:pt x="285" y="48"/>
                    </a:lnTo>
                    <a:lnTo>
                      <a:pt x="285" y="47"/>
                    </a:lnTo>
                    <a:lnTo>
                      <a:pt x="285" y="45"/>
                    </a:lnTo>
                    <a:lnTo>
                      <a:pt x="283" y="45"/>
                    </a:lnTo>
                    <a:lnTo>
                      <a:pt x="285" y="43"/>
                    </a:lnTo>
                    <a:lnTo>
                      <a:pt x="287" y="41"/>
                    </a:lnTo>
                    <a:lnTo>
                      <a:pt x="289" y="41"/>
                    </a:lnTo>
                    <a:lnTo>
                      <a:pt x="290" y="41"/>
                    </a:lnTo>
                    <a:lnTo>
                      <a:pt x="290" y="43"/>
                    </a:lnTo>
                    <a:lnTo>
                      <a:pt x="292" y="43"/>
                    </a:lnTo>
                    <a:lnTo>
                      <a:pt x="294" y="43"/>
                    </a:lnTo>
                    <a:lnTo>
                      <a:pt x="294" y="41"/>
                    </a:lnTo>
                    <a:lnTo>
                      <a:pt x="294" y="37"/>
                    </a:lnTo>
                    <a:lnTo>
                      <a:pt x="294" y="35"/>
                    </a:lnTo>
                    <a:lnTo>
                      <a:pt x="296" y="33"/>
                    </a:lnTo>
                    <a:lnTo>
                      <a:pt x="298" y="33"/>
                    </a:lnTo>
                    <a:lnTo>
                      <a:pt x="300" y="33"/>
                    </a:lnTo>
                    <a:lnTo>
                      <a:pt x="300" y="31"/>
                    </a:lnTo>
                    <a:lnTo>
                      <a:pt x="302" y="31"/>
                    </a:lnTo>
                    <a:lnTo>
                      <a:pt x="302" y="33"/>
                    </a:lnTo>
                    <a:lnTo>
                      <a:pt x="304" y="33"/>
                    </a:lnTo>
                    <a:lnTo>
                      <a:pt x="306" y="31"/>
                    </a:lnTo>
                    <a:lnTo>
                      <a:pt x="306" y="29"/>
                    </a:lnTo>
                    <a:lnTo>
                      <a:pt x="306" y="27"/>
                    </a:lnTo>
                    <a:lnTo>
                      <a:pt x="308" y="27"/>
                    </a:lnTo>
                    <a:lnTo>
                      <a:pt x="308" y="25"/>
                    </a:lnTo>
                    <a:lnTo>
                      <a:pt x="308" y="23"/>
                    </a:lnTo>
                    <a:lnTo>
                      <a:pt x="308" y="22"/>
                    </a:lnTo>
                    <a:lnTo>
                      <a:pt x="308" y="20"/>
                    </a:lnTo>
                    <a:lnTo>
                      <a:pt x="310" y="20"/>
                    </a:lnTo>
                    <a:lnTo>
                      <a:pt x="310" y="18"/>
                    </a:lnTo>
                    <a:lnTo>
                      <a:pt x="310" y="16"/>
                    </a:lnTo>
                    <a:lnTo>
                      <a:pt x="310" y="14"/>
                    </a:lnTo>
                    <a:lnTo>
                      <a:pt x="310" y="12"/>
                    </a:lnTo>
                    <a:lnTo>
                      <a:pt x="310" y="10"/>
                    </a:lnTo>
                    <a:lnTo>
                      <a:pt x="312" y="10"/>
                    </a:lnTo>
                    <a:lnTo>
                      <a:pt x="314" y="10"/>
                    </a:lnTo>
                    <a:lnTo>
                      <a:pt x="314" y="6"/>
                    </a:lnTo>
                    <a:lnTo>
                      <a:pt x="315" y="6"/>
                    </a:lnTo>
                    <a:lnTo>
                      <a:pt x="315" y="8"/>
                    </a:lnTo>
                    <a:lnTo>
                      <a:pt x="315" y="6"/>
                    </a:lnTo>
                    <a:lnTo>
                      <a:pt x="317" y="6"/>
                    </a:lnTo>
                    <a:lnTo>
                      <a:pt x="317" y="4"/>
                    </a:lnTo>
                    <a:lnTo>
                      <a:pt x="319" y="4"/>
                    </a:lnTo>
                    <a:lnTo>
                      <a:pt x="319" y="6"/>
                    </a:lnTo>
                    <a:lnTo>
                      <a:pt x="321" y="6"/>
                    </a:lnTo>
                    <a:lnTo>
                      <a:pt x="323" y="6"/>
                    </a:lnTo>
                    <a:lnTo>
                      <a:pt x="323" y="4"/>
                    </a:lnTo>
                    <a:lnTo>
                      <a:pt x="325" y="0"/>
                    </a:lnTo>
                    <a:lnTo>
                      <a:pt x="327" y="0"/>
                    </a:lnTo>
                    <a:lnTo>
                      <a:pt x="327" y="2"/>
                    </a:lnTo>
                    <a:lnTo>
                      <a:pt x="329" y="2"/>
                    </a:lnTo>
                    <a:lnTo>
                      <a:pt x="331" y="2"/>
                    </a:lnTo>
                    <a:lnTo>
                      <a:pt x="331" y="4"/>
                    </a:lnTo>
                    <a:lnTo>
                      <a:pt x="333" y="4"/>
                    </a:lnTo>
                    <a:lnTo>
                      <a:pt x="331" y="6"/>
                    </a:lnTo>
                    <a:lnTo>
                      <a:pt x="331" y="8"/>
                    </a:lnTo>
                    <a:lnTo>
                      <a:pt x="331" y="10"/>
                    </a:lnTo>
                    <a:lnTo>
                      <a:pt x="331" y="12"/>
                    </a:lnTo>
                    <a:lnTo>
                      <a:pt x="333" y="12"/>
                    </a:lnTo>
                    <a:lnTo>
                      <a:pt x="335" y="12"/>
                    </a:lnTo>
                    <a:lnTo>
                      <a:pt x="337" y="12"/>
                    </a:lnTo>
                    <a:lnTo>
                      <a:pt x="338" y="12"/>
                    </a:lnTo>
                    <a:lnTo>
                      <a:pt x="338" y="14"/>
                    </a:lnTo>
                    <a:lnTo>
                      <a:pt x="340" y="16"/>
                    </a:lnTo>
                    <a:lnTo>
                      <a:pt x="342" y="16"/>
                    </a:lnTo>
                    <a:lnTo>
                      <a:pt x="344" y="18"/>
                    </a:lnTo>
                    <a:lnTo>
                      <a:pt x="346" y="18"/>
                    </a:lnTo>
                    <a:lnTo>
                      <a:pt x="346" y="16"/>
                    </a:lnTo>
                    <a:lnTo>
                      <a:pt x="346" y="14"/>
                    </a:lnTo>
                    <a:lnTo>
                      <a:pt x="348" y="14"/>
                    </a:lnTo>
                    <a:lnTo>
                      <a:pt x="350" y="16"/>
                    </a:lnTo>
                    <a:lnTo>
                      <a:pt x="352" y="14"/>
                    </a:lnTo>
                    <a:lnTo>
                      <a:pt x="354" y="14"/>
                    </a:lnTo>
                    <a:lnTo>
                      <a:pt x="354" y="16"/>
                    </a:lnTo>
                    <a:lnTo>
                      <a:pt x="356" y="16"/>
                    </a:lnTo>
                    <a:lnTo>
                      <a:pt x="356" y="18"/>
                    </a:lnTo>
                    <a:lnTo>
                      <a:pt x="358" y="18"/>
                    </a:lnTo>
                    <a:lnTo>
                      <a:pt x="358" y="20"/>
                    </a:lnTo>
                    <a:lnTo>
                      <a:pt x="360" y="20"/>
                    </a:lnTo>
                    <a:lnTo>
                      <a:pt x="362" y="20"/>
                    </a:lnTo>
                    <a:lnTo>
                      <a:pt x="362" y="22"/>
                    </a:lnTo>
                    <a:lnTo>
                      <a:pt x="363" y="22"/>
                    </a:lnTo>
                    <a:lnTo>
                      <a:pt x="362" y="22"/>
                    </a:lnTo>
                    <a:lnTo>
                      <a:pt x="362" y="23"/>
                    </a:lnTo>
                    <a:lnTo>
                      <a:pt x="363" y="23"/>
                    </a:lnTo>
                    <a:lnTo>
                      <a:pt x="362" y="23"/>
                    </a:lnTo>
                    <a:lnTo>
                      <a:pt x="362" y="25"/>
                    </a:lnTo>
                    <a:lnTo>
                      <a:pt x="362" y="27"/>
                    </a:lnTo>
                    <a:lnTo>
                      <a:pt x="360" y="27"/>
                    </a:lnTo>
                    <a:lnTo>
                      <a:pt x="360" y="29"/>
                    </a:lnTo>
                    <a:lnTo>
                      <a:pt x="358" y="31"/>
                    </a:lnTo>
                    <a:lnTo>
                      <a:pt x="360" y="29"/>
                    </a:lnTo>
                    <a:lnTo>
                      <a:pt x="358" y="29"/>
                    </a:lnTo>
                    <a:lnTo>
                      <a:pt x="356" y="29"/>
                    </a:lnTo>
                    <a:lnTo>
                      <a:pt x="356" y="31"/>
                    </a:lnTo>
                    <a:lnTo>
                      <a:pt x="354" y="31"/>
                    </a:lnTo>
                    <a:lnTo>
                      <a:pt x="352" y="31"/>
                    </a:lnTo>
                    <a:lnTo>
                      <a:pt x="350" y="31"/>
                    </a:lnTo>
                    <a:lnTo>
                      <a:pt x="348" y="29"/>
                    </a:lnTo>
                    <a:close/>
                    <a:moveTo>
                      <a:pt x="144" y="173"/>
                    </a:moveTo>
                    <a:lnTo>
                      <a:pt x="144" y="171"/>
                    </a:lnTo>
                    <a:lnTo>
                      <a:pt x="144" y="173"/>
                    </a:lnTo>
                    <a:close/>
                    <a:moveTo>
                      <a:pt x="235" y="418"/>
                    </a:moveTo>
                    <a:lnTo>
                      <a:pt x="237" y="418"/>
                    </a:lnTo>
                    <a:lnTo>
                      <a:pt x="235" y="418"/>
                    </a:lnTo>
                    <a:close/>
                    <a:moveTo>
                      <a:pt x="248" y="460"/>
                    </a:moveTo>
                    <a:lnTo>
                      <a:pt x="248" y="458"/>
                    </a:lnTo>
                    <a:lnTo>
                      <a:pt x="248" y="460"/>
                    </a:lnTo>
                    <a:lnTo>
                      <a:pt x="248" y="458"/>
                    </a:lnTo>
                    <a:lnTo>
                      <a:pt x="246" y="458"/>
                    </a:lnTo>
                    <a:lnTo>
                      <a:pt x="248" y="460"/>
                    </a:lnTo>
                    <a:close/>
                    <a:moveTo>
                      <a:pt x="171" y="660"/>
                    </a:moveTo>
                    <a:lnTo>
                      <a:pt x="171" y="662"/>
                    </a:lnTo>
                    <a:lnTo>
                      <a:pt x="173" y="660"/>
                    </a:lnTo>
                    <a:lnTo>
                      <a:pt x="171" y="660"/>
                    </a:lnTo>
                    <a:lnTo>
                      <a:pt x="171" y="662"/>
                    </a:lnTo>
                    <a:lnTo>
                      <a:pt x="171" y="660"/>
                    </a:lnTo>
                    <a:lnTo>
                      <a:pt x="171" y="662"/>
                    </a:lnTo>
                    <a:lnTo>
                      <a:pt x="171" y="66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59" name="Freeform 34"/>
              <p:cNvSpPr>
                <a:spLocks noEditPoints="1"/>
              </p:cNvSpPr>
              <p:nvPr/>
            </p:nvSpPr>
            <p:spPr bwMode="auto">
              <a:xfrm>
                <a:off x="7076214" y="1229170"/>
                <a:ext cx="767398" cy="1464253"/>
              </a:xfrm>
              <a:custGeom>
                <a:avLst/>
                <a:gdLst>
                  <a:gd name="T0" fmla="*/ 219 w 446"/>
                  <a:gd name="T1" fmla="*/ 828 h 851"/>
                  <a:gd name="T2" fmla="*/ 216 w 446"/>
                  <a:gd name="T3" fmla="*/ 830 h 851"/>
                  <a:gd name="T4" fmla="*/ 212 w 446"/>
                  <a:gd name="T5" fmla="*/ 826 h 851"/>
                  <a:gd name="T6" fmla="*/ 271 w 446"/>
                  <a:gd name="T7" fmla="*/ 769 h 851"/>
                  <a:gd name="T8" fmla="*/ 279 w 446"/>
                  <a:gd name="T9" fmla="*/ 724 h 851"/>
                  <a:gd name="T10" fmla="*/ 256 w 446"/>
                  <a:gd name="T11" fmla="*/ 695 h 851"/>
                  <a:gd name="T12" fmla="*/ 415 w 446"/>
                  <a:gd name="T13" fmla="*/ 463 h 851"/>
                  <a:gd name="T14" fmla="*/ 421 w 446"/>
                  <a:gd name="T15" fmla="*/ 465 h 851"/>
                  <a:gd name="T16" fmla="*/ 425 w 446"/>
                  <a:gd name="T17" fmla="*/ 463 h 851"/>
                  <a:gd name="T18" fmla="*/ 427 w 446"/>
                  <a:gd name="T19" fmla="*/ 465 h 851"/>
                  <a:gd name="T20" fmla="*/ 431 w 446"/>
                  <a:gd name="T21" fmla="*/ 465 h 851"/>
                  <a:gd name="T22" fmla="*/ 435 w 446"/>
                  <a:gd name="T23" fmla="*/ 465 h 851"/>
                  <a:gd name="T24" fmla="*/ 442 w 446"/>
                  <a:gd name="T25" fmla="*/ 467 h 851"/>
                  <a:gd name="T26" fmla="*/ 446 w 446"/>
                  <a:gd name="T27" fmla="*/ 467 h 851"/>
                  <a:gd name="T28" fmla="*/ 444 w 446"/>
                  <a:gd name="T29" fmla="*/ 469 h 851"/>
                  <a:gd name="T30" fmla="*/ 440 w 446"/>
                  <a:gd name="T31" fmla="*/ 469 h 851"/>
                  <a:gd name="T32" fmla="*/ 437 w 446"/>
                  <a:gd name="T33" fmla="*/ 467 h 851"/>
                  <a:gd name="T34" fmla="*/ 431 w 446"/>
                  <a:gd name="T35" fmla="*/ 469 h 851"/>
                  <a:gd name="T36" fmla="*/ 429 w 446"/>
                  <a:gd name="T37" fmla="*/ 467 h 851"/>
                  <a:gd name="T38" fmla="*/ 421 w 446"/>
                  <a:gd name="T39" fmla="*/ 467 h 851"/>
                  <a:gd name="T40" fmla="*/ 415 w 446"/>
                  <a:gd name="T41" fmla="*/ 465 h 851"/>
                  <a:gd name="T42" fmla="*/ 56 w 446"/>
                  <a:gd name="T43" fmla="*/ 642 h 851"/>
                  <a:gd name="T44" fmla="*/ 227 w 446"/>
                  <a:gd name="T45" fmla="*/ 505 h 851"/>
                  <a:gd name="T46" fmla="*/ 227 w 446"/>
                  <a:gd name="T47" fmla="*/ 499 h 851"/>
                  <a:gd name="T48" fmla="*/ 223 w 446"/>
                  <a:gd name="T49" fmla="*/ 501 h 851"/>
                  <a:gd name="T50" fmla="*/ 225 w 446"/>
                  <a:gd name="T51" fmla="*/ 501 h 851"/>
                  <a:gd name="T52" fmla="*/ 219 w 446"/>
                  <a:gd name="T53" fmla="*/ 507 h 851"/>
                  <a:gd name="T54" fmla="*/ 218 w 446"/>
                  <a:gd name="T55" fmla="*/ 505 h 851"/>
                  <a:gd name="T56" fmla="*/ 198 w 446"/>
                  <a:gd name="T57" fmla="*/ 519 h 851"/>
                  <a:gd name="T58" fmla="*/ 227 w 446"/>
                  <a:gd name="T59" fmla="*/ 488 h 851"/>
                  <a:gd name="T60" fmla="*/ 229 w 446"/>
                  <a:gd name="T61" fmla="*/ 490 h 851"/>
                  <a:gd name="T62" fmla="*/ 221 w 446"/>
                  <a:gd name="T63" fmla="*/ 494 h 851"/>
                  <a:gd name="T64" fmla="*/ 49 w 446"/>
                  <a:gd name="T65" fmla="*/ 569 h 851"/>
                  <a:gd name="T66" fmla="*/ 187 w 446"/>
                  <a:gd name="T67" fmla="*/ 436 h 851"/>
                  <a:gd name="T68" fmla="*/ 158 w 446"/>
                  <a:gd name="T69" fmla="*/ 417 h 851"/>
                  <a:gd name="T70" fmla="*/ 139 w 446"/>
                  <a:gd name="T71" fmla="*/ 417 h 851"/>
                  <a:gd name="T72" fmla="*/ 139 w 446"/>
                  <a:gd name="T73" fmla="*/ 417 h 851"/>
                  <a:gd name="T74" fmla="*/ 52 w 446"/>
                  <a:gd name="T75" fmla="*/ 447 h 851"/>
                  <a:gd name="T76" fmla="*/ 141 w 446"/>
                  <a:gd name="T77" fmla="*/ 328 h 851"/>
                  <a:gd name="T78" fmla="*/ 116 w 446"/>
                  <a:gd name="T79" fmla="*/ 338 h 851"/>
                  <a:gd name="T80" fmla="*/ 104 w 446"/>
                  <a:gd name="T81" fmla="*/ 315 h 851"/>
                  <a:gd name="T82" fmla="*/ 133 w 446"/>
                  <a:gd name="T83" fmla="*/ 282 h 851"/>
                  <a:gd name="T84" fmla="*/ 98 w 446"/>
                  <a:gd name="T85" fmla="*/ 280 h 851"/>
                  <a:gd name="T86" fmla="*/ 98 w 446"/>
                  <a:gd name="T87" fmla="*/ 278 h 851"/>
                  <a:gd name="T88" fmla="*/ 206 w 446"/>
                  <a:gd name="T89" fmla="*/ 140 h 851"/>
                  <a:gd name="T90" fmla="*/ 37 w 446"/>
                  <a:gd name="T91" fmla="*/ 288 h 851"/>
                  <a:gd name="T92" fmla="*/ 35 w 446"/>
                  <a:gd name="T93" fmla="*/ 282 h 851"/>
                  <a:gd name="T94" fmla="*/ 54 w 446"/>
                  <a:gd name="T95" fmla="*/ 249 h 851"/>
                  <a:gd name="T96" fmla="*/ 237 w 446"/>
                  <a:gd name="T97" fmla="*/ 49 h 851"/>
                  <a:gd name="T98" fmla="*/ 18 w 446"/>
                  <a:gd name="T99" fmla="*/ 219 h 851"/>
                  <a:gd name="T100" fmla="*/ 4 w 446"/>
                  <a:gd name="T101" fmla="*/ 223 h 851"/>
                  <a:gd name="T102" fmla="*/ 2 w 446"/>
                  <a:gd name="T103" fmla="*/ 224 h 851"/>
                  <a:gd name="T104" fmla="*/ 2 w 446"/>
                  <a:gd name="T105" fmla="*/ 221 h 851"/>
                  <a:gd name="T106" fmla="*/ 229 w 446"/>
                  <a:gd name="T107" fmla="*/ 0 h 851"/>
                  <a:gd name="T108" fmla="*/ 33 w 446"/>
                  <a:gd name="T109" fmla="*/ 123 h 851"/>
                  <a:gd name="T110" fmla="*/ 25 w 446"/>
                  <a:gd name="T111" fmla="*/ 126 h 851"/>
                  <a:gd name="T112" fmla="*/ 27 w 446"/>
                  <a:gd name="T113" fmla="*/ 124 h 851"/>
                  <a:gd name="T114" fmla="*/ 45 w 446"/>
                  <a:gd name="T115" fmla="*/ 101 h 851"/>
                  <a:gd name="T116" fmla="*/ 50 w 446"/>
                  <a:gd name="T117" fmla="*/ 9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46" h="851">
                    <a:moveTo>
                      <a:pt x="239" y="851"/>
                    </a:moveTo>
                    <a:lnTo>
                      <a:pt x="239" y="849"/>
                    </a:lnTo>
                    <a:lnTo>
                      <a:pt x="239" y="851"/>
                    </a:lnTo>
                    <a:close/>
                    <a:moveTo>
                      <a:pt x="219" y="828"/>
                    </a:moveTo>
                    <a:lnTo>
                      <a:pt x="219" y="830"/>
                    </a:lnTo>
                    <a:lnTo>
                      <a:pt x="219" y="828"/>
                    </a:lnTo>
                    <a:close/>
                    <a:moveTo>
                      <a:pt x="216" y="828"/>
                    </a:moveTo>
                    <a:lnTo>
                      <a:pt x="216" y="830"/>
                    </a:lnTo>
                    <a:lnTo>
                      <a:pt x="216" y="828"/>
                    </a:lnTo>
                    <a:close/>
                    <a:moveTo>
                      <a:pt x="214" y="828"/>
                    </a:moveTo>
                    <a:lnTo>
                      <a:pt x="214" y="826"/>
                    </a:lnTo>
                    <a:lnTo>
                      <a:pt x="212" y="826"/>
                    </a:lnTo>
                    <a:lnTo>
                      <a:pt x="214" y="826"/>
                    </a:lnTo>
                    <a:lnTo>
                      <a:pt x="214" y="828"/>
                    </a:lnTo>
                    <a:close/>
                    <a:moveTo>
                      <a:pt x="271" y="767"/>
                    </a:moveTo>
                    <a:lnTo>
                      <a:pt x="271" y="769"/>
                    </a:lnTo>
                    <a:lnTo>
                      <a:pt x="271" y="767"/>
                    </a:lnTo>
                    <a:close/>
                    <a:moveTo>
                      <a:pt x="279" y="724"/>
                    </a:moveTo>
                    <a:lnTo>
                      <a:pt x="277" y="724"/>
                    </a:lnTo>
                    <a:lnTo>
                      <a:pt x="279" y="724"/>
                    </a:lnTo>
                    <a:close/>
                    <a:moveTo>
                      <a:pt x="258" y="695"/>
                    </a:moveTo>
                    <a:lnTo>
                      <a:pt x="256" y="695"/>
                    </a:lnTo>
                    <a:lnTo>
                      <a:pt x="258" y="695"/>
                    </a:lnTo>
                    <a:lnTo>
                      <a:pt x="256" y="695"/>
                    </a:lnTo>
                    <a:lnTo>
                      <a:pt x="256" y="694"/>
                    </a:lnTo>
                    <a:lnTo>
                      <a:pt x="258" y="694"/>
                    </a:lnTo>
                    <a:lnTo>
                      <a:pt x="258" y="695"/>
                    </a:lnTo>
                    <a:close/>
                    <a:moveTo>
                      <a:pt x="415" y="463"/>
                    </a:moveTo>
                    <a:lnTo>
                      <a:pt x="417" y="463"/>
                    </a:lnTo>
                    <a:lnTo>
                      <a:pt x="417" y="465"/>
                    </a:lnTo>
                    <a:lnTo>
                      <a:pt x="419" y="465"/>
                    </a:lnTo>
                    <a:lnTo>
                      <a:pt x="421" y="465"/>
                    </a:lnTo>
                    <a:lnTo>
                      <a:pt x="421" y="463"/>
                    </a:lnTo>
                    <a:lnTo>
                      <a:pt x="423" y="463"/>
                    </a:lnTo>
                    <a:lnTo>
                      <a:pt x="423" y="465"/>
                    </a:lnTo>
                    <a:lnTo>
                      <a:pt x="425" y="463"/>
                    </a:lnTo>
                    <a:lnTo>
                      <a:pt x="427" y="463"/>
                    </a:lnTo>
                    <a:lnTo>
                      <a:pt x="427" y="465"/>
                    </a:lnTo>
                    <a:lnTo>
                      <a:pt x="427" y="463"/>
                    </a:lnTo>
                    <a:lnTo>
                      <a:pt x="427" y="465"/>
                    </a:lnTo>
                    <a:lnTo>
                      <a:pt x="429" y="465"/>
                    </a:lnTo>
                    <a:lnTo>
                      <a:pt x="431" y="465"/>
                    </a:lnTo>
                    <a:lnTo>
                      <a:pt x="431" y="463"/>
                    </a:lnTo>
                    <a:lnTo>
                      <a:pt x="431" y="465"/>
                    </a:lnTo>
                    <a:lnTo>
                      <a:pt x="433" y="465"/>
                    </a:lnTo>
                    <a:lnTo>
                      <a:pt x="435" y="465"/>
                    </a:lnTo>
                    <a:lnTo>
                      <a:pt x="435" y="463"/>
                    </a:lnTo>
                    <a:lnTo>
                      <a:pt x="435" y="465"/>
                    </a:lnTo>
                    <a:lnTo>
                      <a:pt x="437" y="465"/>
                    </a:lnTo>
                    <a:lnTo>
                      <a:pt x="439" y="467"/>
                    </a:lnTo>
                    <a:lnTo>
                      <a:pt x="440" y="467"/>
                    </a:lnTo>
                    <a:lnTo>
                      <a:pt x="442" y="467"/>
                    </a:lnTo>
                    <a:lnTo>
                      <a:pt x="444" y="467"/>
                    </a:lnTo>
                    <a:lnTo>
                      <a:pt x="446" y="467"/>
                    </a:lnTo>
                    <a:lnTo>
                      <a:pt x="446" y="469"/>
                    </a:lnTo>
                    <a:lnTo>
                      <a:pt x="446" y="467"/>
                    </a:lnTo>
                    <a:lnTo>
                      <a:pt x="444" y="467"/>
                    </a:lnTo>
                    <a:lnTo>
                      <a:pt x="444" y="469"/>
                    </a:lnTo>
                    <a:lnTo>
                      <a:pt x="444" y="467"/>
                    </a:lnTo>
                    <a:lnTo>
                      <a:pt x="444" y="469"/>
                    </a:lnTo>
                    <a:lnTo>
                      <a:pt x="444" y="467"/>
                    </a:lnTo>
                    <a:lnTo>
                      <a:pt x="442" y="467"/>
                    </a:lnTo>
                    <a:lnTo>
                      <a:pt x="440" y="467"/>
                    </a:lnTo>
                    <a:lnTo>
                      <a:pt x="440" y="469"/>
                    </a:lnTo>
                    <a:lnTo>
                      <a:pt x="440" y="467"/>
                    </a:lnTo>
                    <a:lnTo>
                      <a:pt x="439" y="469"/>
                    </a:lnTo>
                    <a:lnTo>
                      <a:pt x="439" y="467"/>
                    </a:lnTo>
                    <a:lnTo>
                      <a:pt x="437" y="467"/>
                    </a:lnTo>
                    <a:lnTo>
                      <a:pt x="435" y="467"/>
                    </a:lnTo>
                    <a:lnTo>
                      <a:pt x="433" y="467"/>
                    </a:lnTo>
                    <a:lnTo>
                      <a:pt x="431" y="467"/>
                    </a:lnTo>
                    <a:lnTo>
                      <a:pt x="431" y="469"/>
                    </a:lnTo>
                    <a:lnTo>
                      <a:pt x="431" y="467"/>
                    </a:lnTo>
                    <a:lnTo>
                      <a:pt x="429" y="467"/>
                    </a:lnTo>
                    <a:lnTo>
                      <a:pt x="427" y="467"/>
                    </a:lnTo>
                    <a:lnTo>
                      <a:pt x="429" y="467"/>
                    </a:lnTo>
                    <a:lnTo>
                      <a:pt x="427" y="467"/>
                    </a:lnTo>
                    <a:lnTo>
                      <a:pt x="425" y="467"/>
                    </a:lnTo>
                    <a:lnTo>
                      <a:pt x="423" y="467"/>
                    </a:lnTo>
                    <a:lnTo>
                      <a:pt x="421" y="467"/>
                    </a:lnTo>
                    <a:lnTo>
                      <a:pt x="419" y="467"/>
                    </a:lnTo>
                    <a:lnTo>
                      <a:pt x="417" y="467"/>
                    </a:lnTo>
                    <a:lnTo>
                      <a:pt x="415" y="467"/>
                    </a:lnTo>
                    <a:lnTo>
                      <a:pt x="415" y="465"/>
                    </a:lnTo>
                    <a:lnTo>
                      <a:pt x="414" y="465"/>
                    </a:lnTo>
                    <a:lnTo>
                      <a:pt x="414" y="463"/>
                    </a:lnTo>
                    <a:lnTo>
                      <a:pt x="415" y="463"/>
                    </a:lnTo>
                    <a:close/>
                    <a:moveTo>
                      <a:pt x="56" y="642"/>
                    </a:moveTo>
                    <a:lnTo>
                      <a:pt x="56" y="640"/>
                    </a:lnTo>
                    <a:lnTo>
                      <a:pt x="56" y="642"/>
                    </a:lnTo>
                    <a:close/>
                    <a:moveTo>
                      <a:pt x="227" y="503"/>
                    </a:moveTo>
                    <a:lnTo>
                      <a:pt x="227" y="505"/>
                    </a:lnTo>
                    <a:lnTo>
                      <a:pt x="227" y="503"/>
                    </a:lnTo>
                    <a:close/>
                    <a:moveTo>
                      <a:pt x="227" y="499"/>
                    </a:moveTo>
                    <a:lnTo>
                      <a:pt x="227" y="501"/>
                    </a:lnTo>
                    <a:lnTo>
                      <a:pt x="227" y="499"/>
                    </a:lnTo>
                    <a:close/>
                    <a:moveTo>
                      <a:pt x="231" y="497"/>
                    </a:moveTo>
                    <a:lnTo>
                      <a:pt x="229" y="497"/>
                    </a:lnTo>
                    <a:lnTo>
                      <a:pt x="231" y="497"/>
                    </a:lnTo>
                    <a:close/>
                    <a:moveTo>
                      <a:pt x="223" y="501"/>
                    </a:moveTo>
                    <a:lnTo>
                      <a:pt x="223" y="503"/>
                    </a:lnTo>
                    <a:lnTo>
                      <a:pt x="223" y="501"/>
                    </a:lnTo>
                    <a:close/>
                    <a:moveTo>
                      <a:pt x="223" y="501"/>
                    </a:moveTo>
                    <a:lnTo>
                      <a:pt x="225" y="501"/>
                    </a:lnTo>
                    <a:lnTo>
                      <a:pt x="223" y="501"/>
                    </a:lnTo>
                    <a:close/>
                    <a:moveTo>
                      <a:pt x="221" y="505"/>
                    </a:moveTo>
                    <a:lnTo>
                      <a:pt x="219" y="505"/>
                    </a:lnTo>
                    <a:lnTo>
                      <a:pt x="219" y="507"/>
                    </a:lnTo>
                    <a:lnTo>
                      <a:pt x="218" y="507"/>
                    </a:lnTo>
                    <a:lnTo>
                      <a:pt x="218" y="509"/>
                    </a:lnTo>
                    <a:lnTo>
                      <a:pt x="218" y="507"/>
                    </a:lnTo>
                    <a:lnTo>
                      <a:pt x="218" y="505"/>
                    </a:lnTo>
                    <a:lnTo>
                      <a:pt x="219" y="505"/>
                    </a:lnTo>
                    <a:lnTo>
                      <a:pt x="221" y="505"/>
                    </a:lnTo>
                    <a:close/>
                    <a:moveTo>
                      <a:pt x="198" y="517"/>
                    </a:moveTo>
                    <a:lnTo>
                      <a:pt x="198" y="519"/>
                    </a:lnTo>
                    <a:lnTo>
                      <a:pt x="198" y="517"/>
                    </a:lnTo>
                    <a:lnTo>
                      <a:pt x="198" y="519"/>
                    </a:lnTo>
                    <a:lnTo>
                      <a:pt x="198" y="517"/>
                    </a:lnTo>
                    <a:close/>
                    <a:moveTo>
                      <a:pt x="227" y="488"/>
                    </a:moveTo>
                    <a:lnTo>
                      <a:pt x="227" y="490"/>
                    </a:lnTo>
                    <a:lnTo>
                      <a:pt x="227" y="488"/>
                    </a:lnTo>
                    <a:lnTo>
                      <a:pt x="229" y="488"/>
                    </a:lnTo>
                    <a:lnTo>
                      <a:pt x="229" y="490"/>
                    </a:lnTo>
                    <a:lnTo>
                      <a:pt x="227" y="490"/>
                    </a:lnTo>
                    <a:lnTo>
                      <a:pt x="227" y="488"/>
                    </a:lnTo>
                    <a:close/>
                    <a:moveTo>
                      <a:pt x="219" y="494"/>
                    </a:moveTo>
                    <a:lnTo>
                      <a:pt x="221" y="494"/>
                    </a:lnTo>
                    <a:lnTo>
                      <a:pt x="223" y="494"/>
                    </a:lnTo>
                    <a:lnTo>
                      <a:pt x="221" y="494"/>
                    </a:lnTo>
                    <a:lnTo>
                      <a:pt x="219" y="494"/>
                    </a:lnTo>
                    <a:close/>
                    <a:moveTo>
                      <a:pt x="49" y="569"/>
                    </a:moveTo>
                    <a:lnTo>
                      <a:pt x="47" y="569"/>
                    </a:lnTo>
                    <a:lnTo>
                      <a:pt x="49" y="569"/>
                    </a:lnTo>
                    <a:close/>
                    <a:moveTo>
                      <a:pt x="187" y="438"/>
                    </a:moveTo>
                    <a:lnTo>
                      <a:pt x="187" y="436"/>
                    </a:lnTo>
                    <a:lnTo>
                      <a:pt x="187" y="438"/>
                    </a:lnTo>
                    <a:close/>
                    <a:moveTo>
                      <a:pt x="158" y="417"/>
                    </a:moveTo>
                    <a:lnTo>
                      <a:pt x="158" y="419"/>
                    </a:lnTo>
                    <a:lnTo>
                      <a:pt x="158" y="417"/>
                    </a:lnTo>
                    <a:close/>
                    <a:moveTo>
                      <a:pt x="141" y="419"/>
                    </a:moveTo>
                    <a:lnTo>
                      <a:pt x="139" y="419"/>
                    </a:lnTo>
                    <a:lnTo>
                      <a:pt x="141" y="419"/>
                    </a:lnTo>
                    <a:close/>
                    <a:moveTo>
                      <a:pt x="139" y="417"/>
                    </a:moveTo>
                    <a:lnTo>
                      <a:pt x="139" y="419"/>
                    </a:lnTo>
                    <a:lnTo>
                      <a:pt x="139" y="417"/>
                    </a:lnTo>
                    <a:close/>
                    <a:moveTo>
                      <a:pt x="139" y="415"/>
                    </a:moveTo>
                    <a:lnTo>
                      <a:pt x="139" y="417"/>
                    </a:lnTo>
                    <a:lnTo>
                      <a:pt x="139" y="415"/>
                    </a:lnTo>
                    <a:lnTo>
                      <a:pt x="137" y="415"/>
                    </a:lnTo>
                    <a:lnTo>
                      <a:pt x="139" y="415"/>
                    </a:lnTo>
                    <a:close/>
                    <a:moveTo>
                      <a:pt x="52" y="447"/>
                    </a:moveTo>
                    <a:lnTo>
                      <a:pt x="52" y="446"/>
                    </a:lnTo>
                    <a:lnTo>
                      <a:pt x="52" y="447"/>
                    </a:lnTo>
                    <a:close/>
                    <a:moveTo>
                      <a:pt x="143" y="328"/>
                    </a:moveTo>
                    <a:lnTo>
                      <a:pt x="141" y="328"/>
                    </a:lnTo>
                    <a:lnTo>
                      <a:pt x="143" y="328"/>
                    </a:lnTo>
                    <a:close/>
                    <a:moveTo>
                      <a:pt x="116" y="338"/>
                    </a:moveTo>
                    <a:lnTo>
                      <a:pt x="114" y="338"/>
                    </a:lnTo>
                    <a:lnTo>
                      <a:pt x="116" y="338"/>
                    </a:lnTo>
                    <a:close/>
                    <a:moveTo>
                      <a:pt x="104" y="315"/>
                    </a:moveTo>
                    <a:lnTo>
                      <a:pt x="102" y="315"/>
                    </a:lnTo>
                    <a:lnTo>
                      <a:pt x="102" y="313"/>
                    </a:lnTo>
                    <a:lnTo>
                      <a:pt x="104" y="315"/>
                    </a:lnTo>
                    <a:close/>
                    <a:moveTo>
                      <a:pt x="133" y="280"/>
                    </a:moveTo>
                    <a:lnTo>
                      <a:pt x="135" y="280"/>
                    </a:lnTo>
                    <a:lnTo>
                      <a:pt x="135" y="282"/>
                    </a:lnTo>
                    <a:lnTo>
                      <a:pt x="133" y="282"/>
                    </a:lnTo>
                    <a:lnTo>
                      <a:pt x="133" y="280"/>
                    </a:lnTo>
                    <a:close/>
                    <a:moveTo>
                      <a:pt x="98" y="280"/>
                    </a:moveTo>
                    <a:lnTo>
                      <a:pt x="97" y="280"/>
                    </a:lnTo>
                    <a:lnTo>
                      <a:pt x="98" y="280"/>
                    </a:lnTo>
                    <a:close/>
                    <a:moveTo>
                      <a:pt x="98" y="280"/>
                    </a:moveTo>
                    <a:lnTo>
                      <a:pt x="97" y="280"/>
                    </a:lnTo>
                    <a:lnTo>
                      <a:pt x="97" y="278"/>
                    </a:lnTo>
                    <a:lnTo>
                      <a:pt x="98" y="278"/>
                    </a:lnTo>
                    <a:lnTo>
                      <a:pt x="98" y="280"/>
                    </a:lnTo>
                    <a:close/>
                    <a:moveTo>
                      <a:pt x="208" y="140"/>
                    </a:moveTo>
                    <a:lnTo>
                      <a:pt x="206" y="142"/>
                    </a:lnTo>
                    <a:lnTo>
                      <a:pt x="206" y="140"/>
                    </a:lnTo>
                    <a:lnTo>
                      <a:pt x="208" y="140"/>
                    </a:lnTo>
                    <a:lnTo>
                      <a:pt x="206" y="140"/>
                    </a:lnTo>
                    <a:lnTo>
                      <a:pt x="208" y="140"/>
                    </a:lnTo>
                    <a:close/>
                    <a:moveTo>
                      <a:pt x="37" y="288"/>
                    </a:moveTo>
                    <a:lnTo>
                      <a:pt x="37" y="286"/>
                    </a:lnTo>
                    <a:lnTo>
                      <a:pt x="37" y="288"/>
                    </a:lnTo>
                    <a:close/>
                    <a:moveTo>
                      <a:pt x="37" y="282"/>
                    </a:moveTo>
                    <a:lnTo>
                      <a:pt x="35" y="282"/>
                    </a:lnTo>
                    <a:lnTo>
                      <a:pt x="37" y="282"/>
                    </a:lnTo>
                    <a:close/>
                    <a:moveTo>
                      <a:pt x="54" y="249"/>
                    </a:moveTo>
                    <a:lnTo>
                      <a:pt x="54" y="251"/>
                    </a:lnTo>
                    <a:lnTo>
                      <a:pt x="54" y="249"/>
                    </a:lnTo>
                    <a:close/>
                    <a:moveTo>
                      <a:pt x="49" y="244"/>
                    </a:moveTo>
                    <a:lnTo>
                      <a:pt x="49" y="246"/>
                    </a:lnTo>
                    <a:lnTo>
                      <a:pt x="49" y="244"/>
                    </a:lnTo>
                    <a:close/>
                    <a:moveTo>
                      <a:pt x="237" y="49"/>
                    </a:moveTo>
                    <a:lnTo>
                      <a:pt x="237" y="51"/>
                    </a:lnTo>
                    <a:lnTo>
                      <a:pt x="237" y="49"/>
                    </a:lnTo>
                    <a:close/>
                    <a:moveTo>
                      <a:pt x="18" y="221"/>
                    </a:moveTo>
                    <a:lnTo>
                      <a:pt x="18" y="219"/>
                    </a:lnTo>
                    <a:lnTo>
                      <a:pt x="18" y="221"/>
                    </a:lnTo>
                    <a:close/>
                    <a:moveTo>
                      <a:pt x="2" y="221"/>
                    </a:moveTo>
                    <a:lnTo>
                      <a:pt x="4" y="221"/>
                    </a:lnTo>
                    <a:lnTo>
                      <a:pt x="4" y="223"/>
                    </a:lnTo>
                    <a:lnTo>
                      <a:pt x="2" y="223"/>
                    </a:lnTo>
                    <a:lnTo>
                      <a:pt x="2" y="224"/>
                    </a:lnTo>
                    <a:lnTo>
                      <a:pt x="2" y="223"/>
                    </a:lnTo>
                    <a:lnTo>
                      <a:pt x="2" y="224"/>
                    </a:lnTo>
                    <a:lnTo>
                      <a:pt x="2" y="223"/>
                    </a:lnTo>
                    <a:lnTo>
                      <a:pt x="0" y="223"/>
                    </a:lnTo>
                    <a:lnTo>
                      <a:pt x="2" y="223"/>
                    </a:lnTo>
                    <a:lnTo>
                      <a:pt x="2" y="221"/>
                    </a:lnTo>
                    <a:close/>
                    <a:moveTo>
                      <a:pt x="227" y="0"/>
                    </a:moveTo>
                    <a:lnTo>
                      <a:pt x="229" y="0"/>
                    </a:lnTo>
                    <a:lnTo>
                      <a:pt x="227" y="0"/>
                    </a:lnTo>
                    <a:lnTo>
                      <a:pt x="229" y="0"/>
                    </a:lnTo>
                    <a:lnTo>
                      <a:pt x="227" y="0"/>
                    </a:lnTo>
                    <a:close/>
                    <a:moveTo>
                      <a:pt x="33" y="123"/>
                    </a:moveTo>
                    <a:lnTo>
                      <a:pt x="35" y="121"/>
                    </a:lnTo>
                    <a:lnTo>
                      <a:pt x="33" y="123"/>
                    </a:lnTo>
                    <a:close/>
                    <a:moveTo>
                      <a:pt x="25" y="126"/>
                    </a:moveTo>
                    <a:lnTo>
                      <a:pt x="25" y="128"/>
                    </a:lnTo>
                    <a:lnTo>
                      <a:pt x="24" y="128"/>
                    </a:lnTo>
                    <a:lnTo>
                      <a:pt x="25" y="126"/>
                    </a:lnTo>
                    <a:close/>
                    <a:moveTo>
                      <a:pt x="27" y="124"/>
                    </a:moveTo>
                    <a:lnTo>
                      <a:pt x="29" y="124"/>
                    </a:lnTo>
                    <a:lnTo>
                      <a:pt x="27" y="124"/>
                    </a:lnTo>
                    <a:close/>
                    <a:moveTo>
                      <a:pt x="27" y="124"/>
                    </a:moveTo>
                    <a:lnTo>
                      <a:pt x="29" y="124"/>
                    </a:lnTo>
                    <a:lnTo>
                      <a:pt x="27" y="124"/>
                    </a:lnTo>
                    <a:close/>
                    <a:moveTo>
                      <a:pt x="47" y="101"/>
                    </a:moveTo>
                    <a:lnTo>
                      <a:pt x="45" y="101"/>
                    </a:lnTo>
                    <a:lnTo>
                      <a:pt x="47" y="101"/>
                    </a:lnTo>
                    <a:close/>
                    <a:moveTo>
                      <a:pt x="50" y="96"/>
                    </a:moveTo>
                    <a:lnTo>
                      <a:pt x="52" y="96"/>
                    </a:lnTo>
                    <a:lnTo>
                      <a:pt x="50" y="9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0" name="Freeform 35"/>
              <p:cNvSpPr>
                <a:spLocks noEditPoints="1"/>
              </p:cNvSpPr>
              <p:nvPr/>
            </p:nvSpPr>
            <p:spPr bwMode="auto">
              <a:xfrm>
                <a:off x="7043523" y="1191317"/>
                <a:ext cx="745032" cy="1515872"/>
              </a:xfrm>
              <a:custGeom>
                <a:avLst/>
                <a:gdLst>
                  <a:gd name="T0" fmla="*/ 313 w 433"/>
                  <a:gd name="T1" fmla="*/ 856 h 881"/>
                  <a:gd name="T2" fmla="*/ 238 w 433"/>
                  <a:gd name="T3" fmla="*/ 852 h 881"/>
                  <a:gd name="T4" fmla="*/ 235 w 433"/>
                  <a:gd name="T5" fmla="*/ 850 h 881"/>
                  <a:gd name="T6" fmla="*/ 285 w 433"/>
                  <a:gd name="T7" fmla="*/ 714 h 881"/>
                  <a:gd name="T8" fmla="*/ 275 w 433"/>
                  <a:gd name="T9" fmla="*/ 719 h 881"/>
                  <a:gd name="T10" fmla="*/ 277 w 433"/>
                  <a:gd name="T11" fmla="*/ 719 h 881"/>
                  <a:gd name="T12" fmla="*/ 277 w 433"/>
                  <a:gd name="T13" fmla="*/ 719 h 881"/>
                  <a:gd name="T14" fmla="*/ 273 w 433"/>
                  <a:gd name="T15" fmla="*/ 719 h 881"/>
                  <a:gd name="T16" fmla="*/ 275 w 433"/>
                  <a:gd name="T17" fmla="*/ 719 h 881"/>
                  <a:gd name="T18" fmla="*/ 431 w 433"/>
                  <a:gd name="T19" fmla="*/ 485 h 881"/>
                  <a:gd name="T20" fmla="*/ 375 w 433"/>
                  <a:gd name="T21" fmla="*/ 506 h 881"/>
                  <a:gd name="T22" fmla="*/ 246 w 433"/>
                  <a:gd name="T23" fmla="*/ 525 h 881"/>
                  <a:gd name="T24" fmla="*/ 248 w 433"/>
                  <a:gd name="T25" fmla="*/ 521 h 881"/>
                  <a:gd name="T26" fmla="*/ 237 w 433"/>
                  <a:gd name="T27" fmla="*/ 527 h 881"/>
                  <a:gd name="T28" fmla="*/ 219 w 433"/>
                  <a:gd name="T29" fmla="*/ 541 h 881"/>
                  <a:gd name="T30" fmla="*/ 64 w 433"/>
                  <a:gd name="T31" fmla="*/ 627 h 881"/>
                  <a:gd name="T32" fmla="*/ 237 w 433"/>
                  <a:gd name="T33" fmla="*/ 491 h 881"/>
                  <a:gd name="T34" fmla="*/ 77 w 433"/>
                  <a:gd name="T35" fmla="*/ 598 h 881"/>
                  <a:gd name="T36" fmla="*/ 206 w 433"/>
                  <a:gd name="T37" fmla="*/ 458 h 881"/>
                  <a:gd name="T38" fmla="*/ 73 w 433"/>
                  <a:gd name="T39" fmla="*/ 512 h 881"/>
                  <a:gd name="T40" fmla="*/ 71 w 433"/>
                  <a:gd name="T41" fmla="*/ 469 h 881"/>
                  <a:gd name="T42" fmla="*/ 141 w 433"/>
                  <a:gd name="T43" fmla="*/ 387 h 881"/>
                  <a:gd name="T44" fmla="*/ 141 w 433"/>
                  <a:gd name="T45" fmla="*/ 377 h 881"/>
                  <a:gd name="T46" fmla="*/ 54 w 433"/>
                  <a:gd name="T47" fmla="*/ 343 h 881"/>
                  <a:gd name="T48" fmla="*/ 50 w 433"/>
                  <a:gd name="T49" fmla="*/ 344 h 881"/>
                  <a:gd name="T50" fmla="*/ 60 w 433"/>
                  <a:gd name="T51" fmla="*/ 323 h 881"/>
                  <a:gd name="T52" fmla="*/ 142 w 433"/>
                  <a:gd name="T53" fmla="*/ 254 h 881"/>
                  <a:gd name="T54" fmla="*/ 227 w 433"/>
                  <a:gd name="T55" fmla="*/ 162 h 881"/>
                  <a:gd name="T56" fmla="*/ 215 w 433"/>
                  <a:gd name="T57" fmla="*/ 164 h 881"/>
                  <a:gd name="T58" fmla="*/ 215 w 433"/>
                  <a:gd name="T59" fmla="*/ 162 h 881"/>
                  <a:gd name="T60" fmla="*/ 215 w 433"/>
                  <a:gd name="T61" fmla="*/ 162 h 881"/>
                  <a:gd name="T62" fmla="*/ 215 w 433"/>
                  <a:gd name="T63" fmla="*/ 164 h 881"/>
                  <a:gd name="T64" fmla="*/ 210 w 433"/>
                  <a:gd name="T65" fmla="*/ 168 h 881"/>
                  <a:gd name="T66" fmla="*/ 214 w 433"/>
                  <a:gd name="T67" fmla="*/ 162 h 881"/>
                  <a:gd name="T68" fmla="*/ 60 w 433"/>
                  <a:gd name="T69" fmla="*/ 298 h 881"/>
                  <a:gd name="T70" fmla="*/ 214 w 433"/>
                  <a:gd name="T71" fmla="*/ 164 h 881"/>
                  <a:gd name="T72" fmla="*/ 210 w 433"/>
                  <a:gd name="T73" fmla="*/ 166 h 881"/>
                  <a:gd name="T74" fmla="*/ 62 w 433"/>
                  <a:gd name="T75" fmla="*/ 296 h 881"/>
                  <a:gd name="T76" fmla="*/ 210 w 433"/>
                  <a:gd name="T77" fmla="*/ 162 h 881"/>
                  <a:gd name="T78" fmla="*/ 79 w 433"/>
                  <a:gd name="T79" fmla="*/ 260 h 881"/>
                  <a:gd name="T80" fmla="*/ 250 w 433"/>
                  <a:gd name="T81" fmla="*/ 48 h 881"/>
                  <a:gd name="T82" fmla="*/ 254 w 433"/>
                  <a:gd name="T83" fmla="*/ 35 h 881"/>
                  <a:gd name="T84" fmla="*/ 21 w 433"/>
                  <a:gd name="T85" fmla="*/ 243 h 881"/>
                  <a:gd name="T86" fmla="*/ 27 w 433"/>
                  <a:gd name="T87" fmla="*/ 225 h 881"/>
                  <a:gd name="T88" fmla="*/ 262 w 433"/>
                  <a:gd name="T89" fmla="*/ 0 h 881"/>
                  <a:gd name="T90" fmla="*/ 262 w 433"/>
                  <a:gd name="T91" fmla="*/ 0 h 881"/>
                  <a:gd name="T92" fmla="*/ 66 w 433"/>
                  <a:gd name="T93" fmla="*/ 135 h 881"/>
                  <a:gd name="T94" fmla="*/ 0 w 433"/>
                  <a:gd name="T95" fmla="*/ 191 h 881"/>
                  <a:gd name="T96" fmla="*/ 48 w 433"/>
                  <a:gd name="T97" fmla="*/ 146 h 881"/>
                  <a:gd name="T98" fmla="*/ 43 w 433"/>
                  <a:gd name="T99" fmla="*/ 148 h 881"/>
                  <a:gd name="T100" fmla="*/ 68 w 433"/>
                  <a:gd name="T101" fmla="*/ 95 h 881"/>
                  <a:gd name="T102" fmla="*/ 66 w 433"/>
                  <a:gd name="T103" fmla="*/ 95 h 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3" h="881">
                    <a:moveTo>
                      <a:pt x="317" y="881"/>
                    </a:moveTo>
                    <a:lnTo>
                      <a:pt x="317" y="879"/>
                    </a:lnTo>
                    <a:lnTo>
                      <a:pt x="317" y="881"/>
                    </a:lnTo>
                    <a:close/>
                    <a:moveTo>
                      <a:pt x="313" y="856"/>
                    </a:moveTo>
                    <a:lnTo>
                      <a:pt x="313" y="858"/>
                    </a:lnTo>
                    <a:lnTo>
                      <a:pt x="313" y="856"/>
                    </a:lnTo>
                    <a:close/>
                    <a:moveTo>
                      <a:pt x="240" y="852"/>
                    </a:moveTo>
                    <a:lnTo>
                      <a:pt x="238" y="852"/>
                    </a:lnTo>
                    <a:lnTo>
                      <a:pt x="240" y="852"/>
                    </a:lnTo>
                    <a:close/>
                    <a:moveTo>
                      <a:pt x="235" y="850"/>
                    </a:moveTo>
                    <a:lnTo>
                      <a:pt x="233" y="850"/>
                    </a:lnTo>
                    <a:lnTo>
                      <a:pt x="235" y="850"/>
                    </a:lnTo>
                    <a:close/>
                    <a:moveTo>
                      <a:pt x="292" y="716"/>
                    </a:moveTo>
                    <a:lnTo>
                      <a:pt x="290" y="716"/>
                    </a:lnTo>
                    <a:lnTo>
                      <a:pt x="292" y="716"/>
                    </a:lnTo>
                    <a:close/>
                    <a:moveTo>
                      <a:pt x="285" y="714"/>
                    </a:moveTo>
                    <a:lnTo>
                      <a:pt x="287" y="714"/>
                    </a:lnTo>
                    <a:lnTo>
                      <a:pt x="285" y="714"/>
                    </a:lnTo>
                    <a:close/>
                    <a:moveTo>
                      <a:pt x="277" y="719"/>
                    </a:moveTo>
                    <a:lnTo>
                      <a:pt x="275" y="719"/>
                    </a:lnTo>
                    <a:lnTo>
                      <a:pt x="277" y="719"/>
                    </a:lnTo>
                    <a:close/>
                    <a:moveTo>
                      <a:pt x="277" y="719"/>
                    </a:moveTo>
                    <a:lnTo>
                      <a:pt x="275" y="719"/>
                    </a:lnTo>
                    <a:lnTo>
                      <a:pt x="277" y="719"/>
                    </a:lnTo>
                    <a:close/>
                    <a:moveTo>
                      <a:pt x="277" y="719"/>
                    </a:moveTo>
                    <a:lnTo>
                      <a:pt x="275" y="719"/>
                    </a:lnTo>
                    <a:lnTo>
                      <a:pt x="277" y="719"/>
                    </a:lnTo>
                    <a:close/>
                    <a:moveTo>
                      <a:pt x="277" y="719"/>
                    </a:moveTo>
                    <a:lnTo>
                      <a:pt x="275" y="719"/>
                    </a:lnTo>
                    <a:lnTo>
                      <a:pt x="277" y="719"/>
                    </a:lnTo>
                    <a:close/>
                    <a:moveTo>
                      <a:pt x="273" y="721"/>
                    </a:moveTo>
                    <a:lnTo>
                      <a:pt x="273" y="719"/>
                    </a:lnTo>
                    <a:lnTo>
                      <a:pt x="273" y="721"/>
                    </a:lnTo>
                    <a:close/>
                    <a:moveTo>
                      <a:pt x="275" y="719"/>
                    </a:moveTo>
                    <a:lnTo>
                      <a:pt x="273" y="719"/>
                    </a:lnTo>
                    <a:lnTo>
                      <a:pt x="275" y="719"/>
                    </a:lnTo>
                    <a:close/>
                    <a:moveTo>
                      <a:pt x="277" y="716"/>
                    </a:moveTo>
                    <a:lnTo>
                      <a:pt x="277" y="714"/>
                    </a:lnTo>
                    <a:lnTo>
                      <a:pt x="277" y="716"/>
                    </a:lnTo>
                    <a:close/>
                    <a:moveTo>
                      <a:pt x="431" y="485"/>
                    </a:moveTo>
                    <a:lnTo>
                      <a:pt x="433" y="485"/>
                    </a:lnTo>
                    <a:lnTo>
                      <a:pt x="431" y="485"/>
                    </a:lnTo>
                    <a:close/>
                    <a:moveTo>
                      <a:pt x="375" y="504"/>
                    </a:moveTo>
                    <a:lnTo>
                      <a:pt x="375" y="506"/>
                    </a:lnTo>
                    <a:lnTo>
                      <a:pt x="375" y="504"/>
                    </a:lnTo>
                    <a:close/>
                    <a:moveTo>
                      <a:pt x="246" y="525"/>
                    </a:moveTo>
                    <a:lnTo>
                      <a:pt x="246" y="527"/>
                    </a:lnTo>
                    <a:lnTo>
                      <a:pt x="246" y="525"/>
                    </a:lnTo>
                    <a:close/>
                    <a:moveTo>
                      <a:pt x="248" y="521"/>
                    </a:moveTo>
                    <a:lnTo>
                      <a:pt x="248" y="523"/>
                    </a:lnTo>
                    <a:lnTo>
                      <a:pt x="248" y="521"/>
                    </a:lnTo>
                    <a:close/>
                    <a:moveTo>
                      <a:pt x="248" y="521"/>
                    </a:moveTo>
                    <a:lnTo>
                      <a:pt x="246" y="521"/>
                    </a:lnTo>
                    <a:lnTo>
                      <a:pt x="248" y="521"/>
                    </a:lnTo>
                    <a:close/>
                    <a:moveTo>
                      <a:pt x="237" y="529"/>
                    </a:moveTo>
                    <a:lnTo>
                      <a:pt x="237" y="527"/>
                    </a:lnTo>
                    <a:lnTo>
                      <a:pt x="237" y="529"/>
                    </a:lnTo>
                    <a:close/>
                    <a:moveTo>
                      <a:pt x="219" y="541"/>
                    </a:moveTo>
                    <a:lnTo>
                      <a:pt x="217" y="541"/>
                    </a:lnTo>
                    <a:lnTo>
                      <a:pt x="219" y="541"/>
                    </a:lnTo>
                    <a:close/>
                    <a:moveTo>
                      <a:pt x="66" y="629"/>
                    </a:moveTo>
                    <a:lnTo>
                      <a:pt x="66" y="631"/>
                    </a:lnTo>
                    <a:lnTo>
                      <a:pt x="66" y="629"/>
                    </a:lnTo>
                    <a:close/>
                    <a:moveTo>
                      <a:pt x="64" y="627"/>
                    </a:moveTo>
                    <a:lnTo>
                      <a:pt x="64" y="629"/>
                    </a:lnTo>
                    <a:lnTo>
                      <a:pt x="64" y="627"/>
                    </a:lnTo>
                    <a:close/>
                    <a:moveTo>
                      <a:pt x="238" y="489"/>
                    </a:moveTo>
                    <a:lnTo>
                      <a:pt x="237" y="491"/>
                    </a:lnTo>
                    <a:lnTo>
                      <a:pt x="237" y="489"/>
                    </a:lnTo>
                    <a:lnTo>
                      <a:pt x="238" y="489"/>
                    </a:lnTo>
                    <a:close/>
                    <a:moveTo>
                      <a:pt x="77" y="596"/>
                    </a:moveTo>
                    <a:lnTo>
                      <a:pt x="77" y="598"/>
                    </a:lnTo>
                    <a:lnTo>
                      <a:pt x="77" y="596"/>
                    </a:lnTo>
                    <a:close/>
                    <a:moveTo>
                      <a:pt x="206" y="458"/>
                    </a:moveTo>
                    <a:lnTo>
                      <a:pt x="206" y="460"/>
                    </a:lnTo>
                    <a:lnTo>
                      <a:pt x="206" y="458"/>
                    </a:lnTo>
                    <a:close/>
                    <a:moveTo>
                      <a:pt x="48" y="546"/>
                    </a:moveTo>
                    <a:lnTo>
                      <a:pt x="48" y="544"/>
                    </a:lnTo>
                    <a:lnTo>
                      <a:pt x="48" y="546"/>
                    </a:lnTo>
                    <a:close/>
                    <a:moveTo>
                      <a:pt x="73" y="512"/>
                    </a:moveTo>
                    <a:lnTo>
                      <a:pt x="73" y="514"/>
                    </a:lnTo>
                    <a:lnTo>
                      <a:pt x="73" y="512"/>
                    </a:lnTo>
                    <a:close/>
                    <a:moveTo>
                      <a:pt x="71" y="468"/>
                    </a:moveTo>
                    <a:lnTo>
                      <a:pt x="71" y="469"/>
                    </a:lnTo>
                    <a:lnTo>
                      <a:pt x="71" y="468"/>
                    </a:lnTo>
                    <a:close/>
                    <a:moveTo>
                      <a:pt x="141" y="387"/>
                    </a:moveTo>
                    <a:lnTo>
                      <a:pt x="139" y="387"/>
                    </a:lnTo>
                    <a:lnTo>
                      <a:pt x="141" y="387"/>
                    </a:lnTo>
                    <a:close/>
                    <a:moveTo>
                      <a:pt x="142" y="379"/>
                    </a:moveTo>
                    <a:lnTo>
                      <a:pt x="141" y="377"/>
                    </a:lnTo>
                    <a:lnTo>
                      <a:pt x="142" y="379"/>
                    </a:lnTo>
                    <a:close/>
                    <a:moveTo>
                      <a:pt x="141" y="377"/>
                    </a:moveTo>
                    <a:lnTo>
                      <a:pt x="142" y="377"/>
                    </a:lnTo>
                    <a:lnTo>
                      <a:pt x="141" y="377"/>
                    </a:lnTo>
                    <a:close/>
                    <a:moveTo>
                      <a:pt x="54" y="341"/>
                    </a:moveTo>
                    <a:lnTo>
                      <a:pt x="54" y="343"/>
                    </a:lnTo>
                    <a:lnTo>
                      <a:pt x="54" y="341"/>
                    </a:lnTo>
                    <a:close/>
                    <a:moveTo>
                      <a:pt x="50" y="344"/>
                    </a:moveTo>
                    <a:lnTo>
                      <a:pt x="48" y="344"/>
                    </a:lnTo>
                    <a:lnTo>
                      <a:pt x="50" y="344"/>
                    </a:lnTo>
                    <a:close/>
                    <a:moveTo>
                      <a:pt x="48" y="344"/>
                    </a:moveTo>
                    <a:lnTo>
                      <a:pt x="48" y="343"/>
                    </a:lnTo>
                    <a:lnTo>
                      <a:pt x="48" y="344"/>
                    </a:lnTo>
                    <a:close/>
                    <a:moveTo>
                      <a:pt x="60" y="323"/>
                    </a:moveTo>
                    <a:lnTo>
                      <a:pt x="60" y="325"/>
                    </a:lnTo>
                    <a:lnTo>
                      <a:pt x="60" y="323"/>
                    </a:lnTo>
                    <a:close/>
                    <a:moveTo>
                      <a:pt x="142" y="252"/>
                    </a:moveTo>
                    <a:lnTo>
                      <a:pt x="142" y="254"/>
                    </a:lnTo>
                    <a:lnTo>
                      <a:pt x="142" y="252"/>
                    </a:lnTo>
                    <a:close/>
                    <a:moveTo>
                      <a:pt x="227" y="162"/>
                    </a:moveTo>
                    <a:lnTo>
                      <a:pt x="227" y="164"/>
                    </a:lnTo>
                    <a:lnTo>
                      <a:pt x="227" y="162"/>
                    </a:lnTo>
                    <a:close/>
                    <a:moveTo>
                      <a:pt x="215" y="164"/>
                    </a:moveTo>
                    <a:lnTo>
                      <a:pt x="214" y="166"/>
                    </a:lnTo>
                    <a:lnTo>
                      <a:pt x="214" y="164"/>
                    </a:lnTo>
                    <a:lnTo>
                      <a:pt x="215" y="164"/>
                    </a:lnTo>
                    <a:close/>
                    <a:moveTo>
                      <a:pt x="215" y="164"/>
                    </a:moveTo>
                    <a:lnTo>
                      <a:pt x="214" y="164"/>
                    </a:lnTo>
                    <a:lnTo>
                      <a:pt x="215" y="164"/>
                    </a:lnTo>
                    <a:close/>
                    <a:moveTo>
                      <a:pt x="215" y="162"/>
                    </a:moveTo>
                    <a:lnTo>
                      <a:pt x="215" y="164"/>
                    </a:lnTo>
                    <a:lnTo>
                      <a:pt x="215" y="162"/>
                    </a:lnTo>
                    <a:lnTo>
                      <a:pt x="215" y="164"/>
                    </a:lnTo>
                    <a:lnTo>
                      <a:pt x="215" y="162"/>
                    </a:lnTo>
                    <a:close/>
                    <a:moveTo>
                      <a:pt x="215" y="162"/>
                    </a:moveTo>
                    <a:lnTo>
                      <a:pt x="215" y="164"/>
                    </a:lnTo>
                    <a:lnTo>
                      <a:pt x="215" y="162"/>
                    </a:lnTo>
                    <a:close/>
                    <a:moveTo>
                      <a:pt x="215" y="164"/>
                    </a:moveTo>
                    <a:lnTo>
                      <a:pt x="214" y="164"/>
                    </a:lnTo>
                    <a:lnTo>
                      <a:pt x="215" y="164"/>
                    </a:lnTo>
                    <a:close/>
                    <a:moveTo>
                      <a:pt x="212" y="168"/>
                    </a:moveTo>
                    <a:lnTo>
                      <a:pt x="210" y="168"/>
                    </a:lnTo>
                    <a:lnTo>
                      <a:pt x="212" y="168"/>
                    </a:lnTo>
                    <a:close/>
                    <a:moveTo>
                      <a:pt x="214" y="162"/>
                    </a:moveTo>
                    <a:lnTo>
                      <a:pt x="214" y="164"/>
                    </a:lnTo>
                    <a:lnTo>
                      <a:pt x="214" y="162"/>
                    </a:lnTo>
                    <a:close/>
                    <a:moveTo>
                      <a:pt x="214" y="162"/>
                    </a:moveTo>
                    <a:lnTo>
                      <a:pt x="214" y="164"/>
                    </a:lnTo>
                    <a:lnTo>
                      <a:pt x="214" y="162"/>
                    </a:lnTo>
                    <a:close/>
                    <a:moveTo>
                      <a:pt x="60" y="298"/>
                    </a:moveTo>
                    <a:lnTo>
                      <a:pt x="62" y="298"/>
                    </a:lnTo>
                    <a:lnTo>
                      <a:pt x="60" y="298"/>
                    </a:lnTo>
                    <a:close/>
                    <a:moveTo>
                      <a:pt x="214" y="162"/>
                    </a:moveTo>
                    <a:lnTo>
                      <a:pt x="214" y="164"/>
                    </a:lnTo>
                    <a:lnTo>
                      <a:pt x="214" y="162"/>
                    </a:lnTo>
                    <a:close/>
                    <a:moveTo>
                      <a:pt x="210" y="166"/>
                    </a:moveTo>
                    <a:lnTo>
                      <a:pt x="212" y="166"/>
                    </a:lnTo>
                    <a:lnTo>
                      <a:pt x="210" y="166"/>
                    </a:lnTo>
                    <a:lnTo>
                      <a:pt x="212" y="166"/>
                    </a:lnTo>
                    <a:lnTo>
                      <a:pt x="210" y="166"/>
                    </a:lnTo>
                    <a:close/>
                    <a:moveTo>
                      <a:pt x="62" y="295"/>
                    </a:moveTo>
                    <a:lnTo>
                      <a:pt x="62" y="296"/>
                    </a:lnTo>
                    <a:lnTo>
                      <a:pt x="62" y="295"/>
                    </a:lnTo>
                    <a:close/>
                    <a:moveTo>
                      <a:pt x="210" y="162"/>
                    </a:moveTo>
                    <a:lnTo>
                      <a:pt x="212" y="162"/>
                    </a:lnTo>
                    <a:lnTo>
                      <a:pt x="210" y="162"/>
                    </a:lnTo>
                    <a:close/>
                    <a:moveTo>
                      <a:pt x="73" y="271"/>
                    </a:moveTo>
                    <a:lnTo>
                      <a:pt x="73" y="273"/>
                    </a:lnTo>
                    <a:lnTo>
                      <a:pt x="73" y="271"/>
                    </a:lnTo>
                    <a:close/>
                    <a:moveTo>
                      <a:pt x="79" y="260"/>
                    </a:moveTo>
                    <a:lnTo>
                      <a:pt x="77" y="260"/>
                    </a:lnTo>
                    <a:lnTo>
                      <a:pt x="79" y="260"/>
                    </a:lnTo>
                    <a:close/>
                    <a:moveTo>
                      <a:pt x="250" y="47"/>
                    </a:moveTo>
                    <a:lnTo>
                      <a:pt x="250" y="48"/>
                    </a:lnTo>
                    <a:lnTo>
                      <a:pt x="250" y="47"/>
                    </a:lnTo>
                    <a:close/>
                    <a:moveTo>
                      <a:pt x="254" y="35"/>
                    </a:moveTo>
                    <a:lnTo>
                      <a:pt x="254" y="37"/>
                    </a:lnTo>
                    <a:lnTo>
                      <a:pt x="254" y="35"/>
                    </a:lnTo>
                    <a:close/>
                    <a:moveTo>
                      <a:pt x="254" y="35"/>
                    </a:moveTo>
                    <a:lnTo>
                      <a:pt x="252" y="35"/>
                    </a:lnTo>
                    <a:lnTo>
                      <a:pt x="254" y="35"/>
                    </a:lnTo>
                    <a:close/>
                    <a:moveTo>
                      <a:pt x="21" y="243"/>
                    </a:moveTo>
                    <a:lnTo>
                      <a:pt x="19" y="243"/>
                    </a:lnTo>
                    <a:lnTo>
                      <a:pt x="21" y="241"/>
                    </a:lnTo>
                    <a:lnTo>
                      <a:pt x="21" y="243"/>
                    </a:lnTo>
                    <a:close/>
                    <a:moveTo>
                      <a:pt x="27" y="225"/>
                    </a:moveTo>
                    <a:lnTo>
                      <a:pt x="27" y="223"/>
                    </a:lnTo>
                    <a:lnTo>
                      <a:pt x="27" y="225"/>
                    </a:lnTo>
                    <a:close/>
                    <a:moveTo>
                      <a:pt x="262" y="2"/>
                    </a:moveTo>
                    <a:lnTo>
                      <a:pt x="262" y="0"/>
                    </a:lnTo>
                    <a:lnTo>
                      <a:pt x="262" y="2"/>
                    </a:lnTo>
                    <a:close/>
                    <a:moveTo>
                      <a:pt x="262" y="0"/>
                    </a:moveTo>
                    <a:lnTo>
                      <a:pt x="262" y="2"/>
                    </a:lnTo>
                    <a:lnTo>
                      <a:pt x="262" y="0"/>
                    </a:lnTo>
                    <a:close/>
                    <a:moveTo>
                      <a:pt x="262" y="0"/>
                    </a:moveTo>
                    <a:lnTo>
                      <a:pt x="263" y="0"/>
                    </a:lnTo>
                    <a:lnTo>
                      <a:pt x="262" y="0"/>
                    </a:lnTo>
                    <a:close/>
                    <a:moveTo>
                      <a:pt x="66" y="135"/>
                    </a:moveTo>
                    <a:lnTo>
                      <a:pt x="64" y="135"/>
                    </a:lnTo>
                    <a:lnTo>
                      <a:pt x="66" y="133"/>
                    </a:lnTo>
                    <a:lnTo>
                      <a:pt x="66" y="135"/>
                    </a:lnTo>
                    <a:close/>
                    <a:moveTo>
                      <a:pt x="0" y="191"/>
                    </a:moveTo>
                    <a:lnTo>
                      <a:pt x="0" y="189"/>
                    </a:lnTo>
                    <a:lnTo>
                      <a:pt x="0" y="191"/>
                    </a:lnTo>
                    <a:close/>
                    <a:moveTo>
                      <a:pt x="48" y="145"/>
                    </a:moveTo>
                    <a:lnTo>
                      <a:pt x="48" y="146"/>
                    </a:lnTo>
                    <a:lnTo>
                      <a:pt x="48" y="145"/>
                    </a:lnTo>
                    <a:close/>
                    <a:moveTo>
                      <a:pt x="43" y="148"/>
                    </a:moveTo>
                    <a:lnTo>
                      <a:pt x="44" y="148"/>
                    </a:lnTo>
                    <a:lnTo>
                      <a:pt x="43" y="148"/>
                    </a:lnTo>
                    <a:close/>
                    <a:moveTo>
                      <a:pt x="19" y="152"/>
                    </a:moveTo>
                    <a:lnTo>
                      <a:pt x="19" y="154"/>
                    </a:lnTo>
                    <a:lnTo>
                      <a:pt x="19" y="152"/>
                    </a:lnTo>
                    <a:close/>
                    <a:moveTo>
                      <a:pt x="68" y="95"/>
                    </a:moveTo>
                    <a:lnTo>
                      <a:pt x="68" y="96"/>
                    </a:lnTo>
                    <a:lnTo>
                      <a:pt x="68" y="95"/>
                    </a:lnTo>
                    <a:close/>
                    <a:moveTo>
                      <a:pt x="66" y="93"/>
                    </a:moveTo>
                    <a:lnTo>
                      <a:pt x="66" y="95"/>
                    </a:lnTo>
                    <a:lnTo>
                      <a:pt x="66" y="9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1" name="Freeform 36"/>
              <p:cNvSpPr>
                <a:spLocks/>
              </p:cNvSpPr>
              <p:nvPr/>
            </p:nvSpPr>
            <p:spPr bwMode="auto">
              <a:xfrm>
                <a:off x="278024" y="3748166"/>
                <a:ext cx="161739" cy="153136"/>
              </a:xfrm>
              <a:custGeom>
                <a:avLst/>
                <a:gdLst>
                  <a:gd name="T0" fmla="*/ 76 w 94"/>
                  <a:gd name="T1" fmla="*/ 66 h 89"/>
                  <a:gd name="T2" fmla="*/ 73 w 94"/>
                  <a:gd name="T3" fmla="*/ 68 h 89"/>
                  <a:gd name="T4" fmla="*/ 63 w 94"/>
                  <a:gd name="T5" fmla="*/ 70 h 89"/>
                  <a:gd name="T6" fmla="*/ 61 w 94"/>
                  <a:gd name="T7" fmla="*/ 74 h 89"/>
                  <a:gd name="T8" fmla="*/ 55 w 94"/>
                  <a:gd name="T9" fmla="*/ 79 h 89"/>
                  <a:gd name="T10" fmla="*/ 51 w 94"/>
                  <a:gd name="T11" fmla="*/ 87 h 89"/>
                  <a:gd name="T12" fmla="*/ 46 w 94"/>
                  <a:gd name="T13" fmla="*/ 89 h 89"/>
                  <a:gd name="T14" fmla="*/ 44 w 94"/>
                  <a:gd name="T15" fmla="*/ 87 h 89"/>
                  <a:gd name="T16" fmla="*/ 36 w 94"/>
                  <a:gd name="T17" fmla="*/ 83 h 89"/>
                  <a:gd name="T18" fmla="*/ 32 w 94"/>
                  <a:gd name="T19" fmla="*/ 81 h 89"/>
                  <a:gd name="T20" fmla="*/ 28 w 94"/>
                  <a:gd name="T21" fmla="*/ 79 h 89"/>
                  <a:gd name="T22" fmla="*/ 25 w 94"/>
                  <a:gd name="T23" fmla="*/ 75 h 89"/>
                  <a:gd name="T24" fmla="*/ 19 w 94"/>
                  <a:gd name="T25" fmla="*/ 72 h 89"/>
                  <a:gd name="T26" fmla="*/ 17 w 94"/>
                  <a:gd name="T27" fmla="*/ 64 h 89"/>
                  <a:gd name="T28" fmla="*/ 13 w 94"/>
                  <a:gd name="T29" fmla="*/ 60 h 89"/>
                  <a:gd name="T30" fmla="*/ 9 w 94"/>
                  <a:gd name="T31" fmla="*/ 52 h 89"/>
                  <a:gd name="T32" fmla="*/ 5 w 94"/>
                  <a:gd name="T33" fmla="*/ 50 h 89"/>
                  <a:gd name="T34" fmla="*/ 3 w 94"/>
                  <a:gd name="T35" fmla="*/ 43 h 89"/>
                  <a:gd name="T36" fmla="*/ 0 w 94"/>
                  <a:gd name="T37" fmla="*/ 35 h 89"/>
                  <a:gd name="T38" fmla="*/ 3 w 94"/>
                  <a:gd name="T39" fmla="*/ 31 h 89"/>
                  <a:gd name="T40" fmla="*/ 5 w 94"/>
                  <a:gd name="T41" fmla="*/ 24 h 89"/>
                  <a:gd name="T42" fmla="*/ 9 w 94"/>
                  <a:gd name="T43" fmla="*/ 22 h 89"/>
                  <a:gd name="T44" fmla="*/ 13 w 94"/>
                  <a:gd name="T45" fmla="*/ 16 h 89"/>
                  <a:gd name="T46" fmla="*/ 21 w 94"/>
                  <a:gd name="T47" fmla="*/ 12 h 89"/>
                  <a:gd name="T48" fmla="*/ 25 w 94"/>
                  <a:gd name="T49" fmla="*/ 10 h 89"/>
                  <a:gd name="T50" fmla="*/ 27 w 94"/>
                  <a:gd name="T51" fmla="*/ 4 h 89"/>
                  <a:gd name="T52" fmla="*/ 32 w 94"/>
                  <a:gd name="T53" fmla="*/ 6 h 89"/>
                  <a:gd name="T54" fmla="*/ 36 w 94"/>
                  <a:gd name="T55" fmla="*/ 10 h 89"/>
                  <a:gd name="T56" fmla="*/ 40 w 94"/>
                  <a:gd name="T57" fmla="*/ 16 h 89"/>
                  <a:gd name="T58" fmla="*/ 36 w 94"/>
                  <a:gd name="T59" fmla="*/ 22 h 89"/>
                  <a:gd name="T60" fmla="*/ 40 w 94"/>
                  <a:gd name="T61" fmla="*/ 24 h 89"/>
                  <a:gd name="T62" fmla="*/ 46 w 94"/>
                  <a:gd name="T63" fmla="*/ 22 h 89"/>
                  <a:gd name="T64" fmla="*/ 50 w 94"/>
                  <a:gd name="T65" fmla="*/ 20 h 89"/>
                  <a:gd name="T66" fmla="*/ 57 w 94"/>
                  <a:gd name="T67" fmla="*/ 18 h 89"/>
                  <a:gd name="T68" fmla="*/ 63 w 94"/>
                  <a:gd name="T69" fmla="*/ 14 h 89"/>
                  <a:gd name="T70" fmla="*/ 65 w 94"/>
                  <a:gd name="T71" fmla="*/ 2 h 89"/>
                  <a:gd name="T72" fmla="*/ 71 w 94"/>
                  <a:gd name="T73" fmla="*/ 2 h 89"/>
                  <a:gd name="T74" fmla="*/ 75 w 94"/>
                  <a:gd name="T75" fmla="*/ 6 h 89"/>
                  <a:gd name="T76" fmla="*/ 75 w 94"/>
                  <a:gd name="T77" fmla="*/ 14 h 89"/>
                  <a:gd name="T78" fmla="*/ 82 w 94"/>
                  <a:gd name="T79" fmla="*/ 20 h 89"/>
                  <a:gd name="T80" fmla="*/ 84 w 94"/>
                  <a:gd name="T81" fmla="*/ 25 h 89"/>
                  <a:gd name="T82" fmla="*/ 92 w 94"/>
                  <a:gd name="T83" fmla="*/ 25 h 89"/>
                  <a:gd name="T84" fmla="*/ 94 w 94"/>
                  <a:gd name="T85" fmla="*/ 29 h 89"/>
                  <a:gd name="T86" fmla="*/ 88 w 94"/>
                  <a:gd name="T87" fmla="*/ 33 h 89"/>
                  <a:gd name="T88" fmla="*/ 82 w 94"/>
                  <a:gd name="T89" fmla="*/ 33 h 89"/>
                  <a:gd name="T90" fmla="*/ 76 w 94"/>
                  <a:gd name="T91" fmla="*/ 37 h 89"/>
                  <a:gd name="T92" fmla="*/ 75 w 94"/>
                  <a:gd name="T93" fmla="*/ 41 h 89"/>
                  <a:gd name="T94" fmla="*/ 78 w 94"/>
                  <a:gd name="T95" fmla="*/ 47 h 89"/>
                  <a:gd name="T96" fmla="*/ 84 w 94"/>
                  <a:gd name="T97" fmla="*/ 45 h 89"/>
                  <a:gd name="T98" fmla="*/ 82 w 94"/>
                  <a:gd name="T99" fmla="*/ 50 h 89"/>
                  <a:gd name="T100" fmla="*/ 82 w 94"/>
                  <a:gd name="T101" fmla="*/ 5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89">
                    <a:moveTo>
                      <a:pt x="78" y="60"/>
                    </a:moveTo>
                    <a:lnTo>
                      <a:pt x="78" y="62"/>
                    </a:lnTo>
                    <a:lnTo>
                      <a:pt x="76" y="62"/>
                    </a:lnTo>
                    <a:lnTo>
                      <a:pt x="76" y="64"/>
                    </a:lnTo>
                    <a:lnTo>
                      <a:pt x="76" y="66"/>
                    </a:lnTo>
                    <a:lnTo>
                      <a:pt x="75" y="66"/>
                    </a:lnTo>
                    <a:lnTo>
                      <a:pt x="75" y="68"/>
                    </a:lnTo>
                    <a:lnTo>
                      <a:pt x="75" y="66"/>
                    </a:lnTo>
                    <a:lnTo>
                      <a:pt x="75" y="68"/>
                    </a:lnTo>
                    <a:lnTo>
                      <a:pt x="73" y="68"/>
                    </a:lnTo>
                    <a:lnTo>
                      <a:pt x="71" y="68"/>
                    </a:lnTo>
                    <a:lnTo>
                      <a:pt x="67" y="68"/>
                    </a:lnTo>
                    <a:lnTo>
                      <a:pt x="65" y="68"/>
                    </a:lnTo>
                    <a:lnTo>
                      <a:pt x="63" y="68"/>
                    </a:lnTo>
                    <a:lnTo>
                      <a:pt x="63" y="70"/>
                    </a:lnTo>
                    <a:lnTo>
                      <a:pt x="63" y="72"/>
                    </a:lnTo>
                    <a:lnTo>
                      <a:pt x="63" y="70"/>
                    </a:lnTo>
                    <a:lnTo>
                      <a:pt x="63" y="72"/>
                    </a:lnTo>
                    <a:lnTo>
                      <a:pt x="61" y="72"/>
                    </a:lnTo>
                    <a:lnTo>
                      <a:pt x="61" y="74"/>
                    </a:lnTo>
                    <a:lnTo>
                      <a:pt x="59" y="75"/>
                    </a:lnTo>
                    <a:lnTo>
                      <a:pt x="59" y="77"/>
                    </a:lnTo>
                    <a:lnTo>
                      <a:pt x="57" y="77"/>
                    </a:lnTo>
                    <a:lnTo>
                      <a:pt x="57" y="79"/>
                    </a:lnTo>
                    <a:lnTo>
                      <a:pt x="55" y="79"/>
                    </a:lnTo>
                    <a:lnTo>
                      <a:pt x="55" y="81"/>
                    </a:lnTo>
                    <a:lnTo>
                      <a:pt x="53" y="81"/>
                    </a:lnTo>
                    <a:lnTo>
                      <a:pt x="53" y="83"/>
                    </a:lnTo>
                    <a:lnTo>
                      <a:pt x="51" y="85"/>
                    </a:lnTo>
                    <a:lnTo>
                      <a:pt x="51" y="87"/>
                    </a:lnTo>
                    <a:lnTo>
                      <a:pt x="50" y="87"/>
                    </a:lnTo>
                    <a:lnTo>
                      <a:pt x="50" y="89"/>
                    </a:lnTo>
                    <a:lnTo>
                      <a:pt x="48" y="87"/>
                    </a:lnTo>
                    <a:lnTo>
                      <a:pt x="48" y="89"/>
                    </a:lnTo>
                    <a:lnTo>
                      <a:pt x="46" y="89"/>
                    </a:lnTo>
                    <a:lnTo>
                      <a:pt x="46" y="87"/>
                    </a:lnTo>
                    <a:lnTo>
                      <a:pt x="44" y="89"/>
                    </a:lnTo>
                    <a:lnTo>
                      <a:pt x="44" y="87"/>
                    </a:lnTo>
                    <a:lnTo>
                      <a:pt x="42" y="87"/>
                    </a:lnTo>
                    <a:lnTo>
                      <a:pt x="44" y="87"/>
                    </a:lnTo>
                    <a:lnTo>
                      <a:pt x="42" y="85"/>
                    </a:lnTo>
                    <a:lnTo>
                      <a:pt x="40" y="85"/>
                    </a:lnTo>
                    <a:lnTo>
                      <a:pt x="38" y="85"/>
                    </a:lnTo>
                    <a:lnTo>
                      <a:pt x="38" y="83"/>
                    </a:lnTo>
                    <a:lnTo>
                      <a:pt x="36" y="83"/>
                    </a:lnTo>
                    <a:lnTo>
                      <a:pt x="36" y="85"/>
                    </a:lnTo>
                    <a:lnTo>
                      <a:pt x="34" y="85"/>
                    </a:lnTo>
                    <a:lnTo>
                      <a:pt x="34" y="83"/>
                    </a:lnTo>
                    <a:lnTo>
                      <a:pt x="34" y="81"/>
                    </a:lnTo>
                    <a:lnTo>
                      <a:pt x="32" y="81"/>
                    </a:lnTo>
                    <a:lnTo>
                      <a:pt x="32" y="79"/>
                    </a:lnTo>
                    <a:lnTo>
                      <a:pt x="30" y="79"/>
                    </a:lnTo>
                    <a:lnTo>
                      <a:pt x="30" y="77"/>
                    </a:lnTo>
                    <a:lnTo>
                      <a:pt x="28" y="77"/>
                    </a:lnTo>
                    <a:lnTo>
                      <a:pt x="28" y="79"/>
                    </a:lnTo>
                    <a:lnTo>
                      <a:pt x="28" y="77"/>
                    </a:lnTo>
                    <a:lnTo>
                      <a:pt x="27" y="77"/>
                    </a:lnTo>
                    <a:lnTo>
                      <a:pt x="25" y="75"/>
                    </a:lnTo>
                    <a:lnTo>
                      <a:pt x="25" y="74"/>
                    </a:lnTo>
                    <a:lnTo>
                      <a:pt x="25" y="75"/>
                    </a:lnTo>
                    <a:lnTo>
                      <a:pt x="23" y="75"/>
                    </a:lnTo>
                    <a:lnTo>
                      <a:pt x="23" y="74"/>
                    </a:lnTo>
                    <a:lnTo>
                      <a:pt x="21" y="74"/>
                    </a:lnTo>
                    <a:lnTo>
                      <a:pt x="21" y="72"/>
                    </a:lnTo>
                    <a:lnTo>
                      <a:pt x="19" y="72"/>
                    </a:lnTo>
                    <a:lnTo>
                      <a:pt x="19" y="70"/>
                    </a:lnTo>
                    <a:lnTo>
                      <a:pt x="19" y="68"/>
                    </a:lnTo>
                    <a:lnTo>
                      <a:pt x="19" y="66"/>
                    </a:lnTo>
                    <a:lnTo>
                      <a:pt x="17" y="66"/>
                    </a:lnTo>
                    <a:lnTo>
                      <a:pt x="17" y="64"/>
                    </a:lnTo>
                    <a:lnTo>
                      <a:pt x="17" y="62"/>
                    </a:lnTo>
                    <a:lnTo>
                      <a:pt x="17" y="60"/>
                    </a:lnTo>
                    <a:lnTo>
                      <a:pt x="17" y="58"/>
                    </a:lnTo>
                    <a:lnTo>
                      <a:pt x="15" y="60"/>
                    </a:lnTo>
                    <a:lnTo>
                      <a:pt x="13" y="60"/>
                    </a:lnTo>
                    <a:lnTo>
                      <a:pt x="13" y="58"/>
                    </a:lnTo>
                    <a:lnTo>
                      <a:pt x="11" y="56"/>
                    </a:lnTo>
                    <a:lnTo>
                      <a:pt x="11" y="54"/>
                    </a:lnTo>
                    <a:lnTo>
                      <a:pt x="9" y="54"/>
                    </a:lnTo>
                    <a:lnTo>
                      <a:pt x="9" y="52"/>
                    </a:lnTo>
                    <a:lnTo>
                      <a:pt x="9" y="50"/>
                    </a:lnTo>
                    <a:lnTo>
                      <a:pt x="7" y="50"/>
                    </a:lnTo>
                    <a:lnTo>
                      <a:pt x="7" y="52"/>
                    </a:lnTo>
                    <a:lnTo>
                      <a:pt x="7" y="50"/>
                    </a:lnTo>
                    <a:lnTo>
                      <a:pt x="5" y="50"/>
                    </a:lnTo>
                    <a:lnTo>
                      <a:pt x="5" y="49"/>
                    </a:lnTo>
                    <a:lnTo>
                      <a:pt x="5" y="47"/>
                    </a:lnTo>
                    <a:lnTo>
                      <a:pt x="3" y="47"/>
                    </a:lnTo>
                    <a:lnTo>
                      <a:pt x="3" y="45"/>
                    </a:lnTo>
                    <a:lnTo>
                      <a:pt x="3" y="43"/>
                    </a:lnTo>
                    <a:lnTo>
                      <a:pt x="3" y="41"/>
                    </a:lnTo>
                    <a:lnTo>
                      <a:pt x="2" y="41"/>
                    </a:lnTo>
                    <a:lnTo>
                      <a:pt x="2" y="39"/>
                    </a:lnTo>
                    <a:lnTo>
                      <a:pt x="0" y="37"/>
                    </a:lnTo>
                    <a:lnTo>
                      <a:pt x="0" y="35"/>
                    </a:lnTo>
                    <a:lnTo>
                      <a:pt x="2" y="33"/>
                    </a:lnTo>
                    <a:lnTo>
                      <a:pt x="2" y="31"/>
                    </a:lnTo>
                    <a:lnTo>
                      <a:pt x="2" y="33"/>
                    </a:lnTo>
                    <a:lnTo>
                      <a:pt x="2" y="31"/>
                    </a:lnTo>
                    <a:lnTo>
                      <a:pt x="3" y="31"/>
                    </a:lnTo>
                    <a:lnTo>
                      <a:pt x="3" y="29"/>
                    </a:lnTo>
                    <a:lnTo>
                      <a:pt x="3" y="27"/>
                    </a:lnTo>
                    <a:lnTo>
                      <a:pt x="5" y="27"/>
                    </a:lnTo>
                    <a:lnTo>
                      <a:pt x="5" y="25"/>
                    </a:lnTo>
                    <a:lnTo>
                      <a:pt x="5" y="24"/>
                    </a:lnTo>
                    <a:lnTo>
                      <a:pt x="5" y="22"/>
                    </a:lnTo>
                    <a:lnTo>
                      <a:pt x="7" y="22"/>
                    </a:lnTo>
                    <a:lnTo>
                      <a:pt x="7" y="24"/>
                    </a:lnTo>
                    <a:lnTo>
                      <a:pt x="9" y="24"/>
                    </a:lnTo>
                    <a:lnTo>
                      <a:pt x="9" y="22"/>
                    </a:lnTo>
                    <a:lnTo>
                      <a:pt x="9" y="20"/>
                    </a:lnTo>
                    <a:lnTo>
                      <a:pt x="11" y="20"/>
                    </a:lnTo>
                    <a:lnTo>
                      <a:pt x="11" y="18"/>
                    </a:lnTo>
                    <a:lnTo>
                      <a:pt x="13" y="18"/>
                    </a:lnTo>
                    <a:lnTo>
                      <a:pt x="13" y="16"/>
                    </a:lnTo>
                    <a:lnTo>
                      <a:pt x="15" y="16"/>
                    </a:lnTo>
                    <a:lnTo>
                      <a:pt x="15" y="14"/>
                    </a:lnTo>
                    <a:lnTo>
                      <a:pt x="17" y="14"/>
                    </a:lnTo>
                    <a:lnTo>
                      <a:pt x="19" y="14"/>
                    </a:lnTo>
                    <a:lnTo>
                      <a:pt x="21" y="12"/>
                    </a:lnTo>
                    <a:lnTo>
                      <a:pt x="21" y="14"/>
                    </a:lnTo>
                    <a:lnTo>
                      <a:pt x="23" y="14"/>
                    </a:lnTo>
                    <a:lnTo>
                      <a:pt x="25" y="14"/>
                    </a:lnTo>
                    <a:lnTo>
                      <a:pt x="25" y="12"/>
                    </a:lnTo>
                    <a:lnTo>
                      <a:pt x="25" y="10"/>
                    </a:lnTo>
                    <a:lnTo>
                      <a:pt x="25" y="8"/>
                    </a:lnTo>
                    <a:lnTo>
                      <a:pt x="27" y="8"/>
                    </a:lnTo>
                    <a:lnTo>
                      <a:pt x="25" y="6"/>
                    </a:lnTo>
                    <a:lnTo>
                      <a:pt x="27" y="6"/>
                    </a:lnTo>
                    <a:lnTo>
                      <a:pt x="27" y="4"/>
                    </a:lnTo>
                    <a:lnTo>
                      <a:pt x="28" y="2"/>
                    </a:lnTo>
                    <a:lnTo>
                      <a:pt x="28" y="4"/>
                    </a:lnTo>
                    <a:lnTo>
                      <a:pt x="30" y="4"/>
                    </a:lnTo>
                    <a:lnTo>
                      <a:pt x="30" y="6"/>
                    </a:lnTo>
                    <a:lnTo>
                      <a:pt x="32" y="6"/>
                    </a:lnTo>
                    <a:lnTo>
                      <a:pt x="32" y="8"/>
                    </a:lnTo>
                    <a:lnTo>
                      <a:pt x="32" y="10"/>
                    </a:lnTo>
                    <a:lnTo>
                      <a:pt x="34" y="10"/>
                    </a:lnTo>
                    <a:lnTo>
                      <a:pt x="34" y="8"/>
                    </a:lnTo>
                    <a:lnTo>
                      <a:pt x="36" y="10"/>
                    </a:lnTo>
                    <a:lnTo>
                      <a:pt x="34" y="12"/>
                    </a:lnTo>
                    <a:lnTo>
                      <a:pt x="36" y="12"/>
                    </a:lnTo>
                    <a:lnTo>
                      <a:pt x="38" y="12"/>
                    </a:lnTo>
                    <a:lnTo>
                      <a:pt x="40" y="14"/>
                    </a:lnTo>
                    <a:lnTo>
                      <a:pt x="40" y="16"/>
                    </a:lnTo>
                    <a:lnTo>
                      <a:pt x="38" y="16"/>
                    </a:lnTo>
                    <a:lnTo>
                      <a:pt x="38" y="18"/>
                    </a:lnTo>
                    <a:lnTo>
                      <a:pt x="36" y="18"/>
                    </a:lnTo>
                    <a:lnTo>
                      <a:pt x="36" y="20"/>
                    </a:lnTo>
                    <a:lnTo>
                      <a:pt x="36" y="22"/>
                    </a:lnTo>
                    <a:lnTo>
                      <a:pt x="38" y="22"/>
                    </a:lnTo>
                    <a:lnTo>
                      <a:pt x="40" y="22"/>
                    </a:lnTo>
                    <a:lnTo>
                      <a:pt x="40" y="20"/>
                    </a:lnTo>
                    <a:lnTo>
                      <a:pt x="40" y="22"/>
                    </a:lnTo>
                    <a:lnTo>
                      <a:pt x="40" y="24"/>
                    </a:lnTo>
                    <a:lnTo>
                      <a:pt x="42" y="24"/>
                    </a:lnTo>
                    <a:lnTo>
                      <a:pt x="44" y="24"/>
                    </a:lnTo>
                    <a:lnTo>
                      <a:pt x="44" y="22"/>
                    </a:lnTo>
                    <a:lnTo>
                      <a:pt x="46" y="20"/>
                    </a:lnTo>
                    <a:lnTo>
                      <a:pt x="46" y="22"/>
                    </a:lnTo>
                    <a:lnTo>
                      <a:pt x="46" y="24"/>
                    </a:lnTo>
                    <a:lnTo>
                      <a:pt x="48" y="24"/>
                    </a:lnTo>
                    <a:lnTo>
                      <a:pt x="48" y="22"/>
                    </a:lnTo>
                    <a:lnTo>
                      <a:pt x="48" y="20"/>
                    </a:lnTo>
                    <a:lnTo>
                      <a:pt x="50" y="20"/>
                    </a:lnTo>
                    <a:lnTo>
                      <a:pt x="51" y="20"/>
                    </a:lnTo>
                    <a:lnTo>
                      <a:pt x="53" y="20"/>
                    </a:lnTo>
                    <a:lnTo>
                      <a:pt x="55" y="20"/>
                    </a:lnTo>
                    <a:lnTo>
                      <a:pt x="55" y="18"/>
                    </a:lnTo>
                    <a:lnTo>
                      <a:pt x="57" y="18"/>
                    </a:lnTo>
                    <a:lnTo>
                      <a:pt x="59" y="18"/>
                    </a:lnTo>
                    <a:lnTo>
                      <a:pt x="59" y="16"/>
                    </a:lnTo>
                    <a:lnTo>
                      <a:pt x="61" y="16"/>
                    </a:lnTo>
                    <a:lnTo>
                      <a:pt x="61" y="14"/>
                    </a:lnTo>
                    <a:lnTo>
                      <a:pt x="63" y="14"/>
                    </a:lnTo>
                    <a:lnTo>
                      <a:pt x="63" y="8"/>
                    </a:lnTo>
                    <a:lnTo>
                      <a:pt x="61" y="4"/>
                    </a:lnTo>
                    <a:lnTo>
                      <a:pt x="63" y="4"/>
                    </a:lnTo>
                    <a:lnTo>
                      <a:pt x="63" y="2"/>
                    </a:lnTo>
                    <a:lnTo>
                      <a:pt x="65" y="2"/>
                    </a:lnTo>
                    <a:lnTo>
                      <a:pt x="65" y="4"/>
                    </a:lnTo>
                    <a:lnTo>
                      <a:pt x="67" y="2"/>
                    </a:lnTo>
                    <a:lnTo>
                      <a:pt x="69" y="2"/>
                    </a:lnTo>
                    <a:lnTo>
                      <a:pt x="69" y="0"/>
                    </a:lnTo>
                    <a:lnTo>
                      <a:pt x="71" y="2"/>
                    </a:lnTo>
                    <a:lnTo>
                      <a:pt x="73" y="2"/>
                    </a:lnTo>
                    <a:lnTo>
                      <a:pt x="75" y="2"/>
                    </a:lnTo>
                    <a:lnTo>
                      <a:pt x="76" y="4"/>
                    </a:lnTo>
                    <a:lnTo>
                      <a:pt x="76" y="6"/>
                    </a:lnTo>
                    <a:lnTo>
                      <a:pt x="75" y="6"/>
                    </a:lnTo>
                    <a:lnTo>
                      <a:pt x="75" y="8"/>
                    </a:lnTo>
                    <a:lnTo>
                      <a:pt x="75" y="10"/>
                    </a:lnTo>
                    <a:lnTo>
                      <a:pt x="75" y="12"/>
                    </a:lnTo>
                    <a:lnTo>
                      <a:pt x="76" y="14"/>
                    </a:lnTo>
                    <a:lnTo>
                      <a:pt x="75" y="14"/>
                    </a:lnTo>
                    <a:lnTo>
                      <a:pt x="76" y="14"/>
                    </a:lnTo>
                    <a:lnTo>
                      <a:pt x="78" y="16"/>
                    </a:lnTo>
                    <a:lnTo>
                      <a:pt x="80" y="18"/>
                    </a:lnTo>
                    <a:lnTo>
                      <a:pt x="82" y="18"/>
                    </a:lnTo>
                    <a:lnTo>
                      <a:pt x="82" y="20"/>
                    </a:lnTo>
                    <a:lnTo>
                      <a:pt x="84" y="22"/>
                    </a:lnTo>
                    <a:lnTo>
                      <a:pt x="84" y="24"/>
                    </a:lnTo>
                    <a:lnTo>
                      <a:pt x="86" y="24"/>
                    </a:lnTo>
                    <a:lnTo>
                      <a:pt x="84" y="24"/>
                    </a:lnTo>
                    <a:lnTo>
                      <a:pt x="84" y="25"/>
                    </a:lnTo>
                    <a:lnTo>
                      <a:pt x="84" y="27"/>
                    </a:lnTo>
                    <a:lnTo>
                      <a:pt x="86" y="27"/>
                    </a:lnTo>
                    <a:lnTo>
                      <a:pt x="88" y="24"/>
                    </a:lnTo>
                    <a:lnTo>
                      <a:pt x="90" y="25"/>
                    </a:lnTo>
                    <a:lnTo>
                      <a:pt x="92" y="25"/>
                    </a:lnTo>
                    <a:lnTo>
                      <a:pt x="92" y="24"/>
                    </a:lnTo>
                    <a:lnTo>
                      <a:pt x="94" y="24"/>
                    </a:lnTo>
                    <a:lnTo>
                      <a:pt x="94" y="25"/>
                    </a:lnTo>
                    <a:lnTo>
                      <a:pt x="94" y="27"/>
                    </a:lnTo>
                    <a:lnTo>
                      <a:pt x="94" y="29"/>
                    </a:lnTo>
                    <a:lnTo>
                      <a:pt x="94" y="31"/>
                    </a:lnTo>
                    <a:lnTo>
                      <a:pt x="90" y="31"/>
                    </a:lnTo>
                    <a:lnTo>
                      <a:pt x="90" y="33"/>
                    </a:lnTo>
                    <a:lnTo>
                      <a:pt x="88" y="31"/>
                    </a:lnTo>
                    <a:lnTo>
                      <a:pt x="88" y="33"/>
                    </a:lnTo>
                    <a:lnTo>
                      <a:pt x="86" y="33"/>
                    </a:lnTo>
                    <a:lnTo>
                      <a:pt x="86" y="31"/>
                    </a:lnTo>
                    <a:lnTo>
                      <a:pt x="86" y="33"/>
                    </a:lnTo>
                    <a:lnTo>
                      <a:pt x="84" y="33"/>
                    </a:lnTo>
                    <a:lnTo>
                      <a:pt x="82" y="33"/>
                    </a:lnTo>
                    <a:lnTo>
                      <a:pt x="80" y="33"/>
                    </a:lnTo>
                    <a:lnTo>
                      <a:pt x="78" y="33"/>
                    </a:lnTo>
                    <a:lnTo>
                      <a:pt x="78" y="35"/>
                    </a:lnTo>
                    <a:lnTo>
                      <a:pt x="76" y="35"/>
                    </a:lnTo>
                    <a:lnTo>
                      <a:pt x="76" y="37"/>
                    </a:lnTo>
                    <a:lnTo>
                      <a:pt x="75" y="37"/>
                    </a:lnTo>
                    <a:lnTo>
                      <a:pt x="75" y="39"/>
                    </a:lnTo>
                    <a:lnTo>
                      <a:pt x="75" y="41"/>
                    </a:lnTo>
                    <a:lnTo>
                      <a:pt x="76" y="39"/>
                    </a:lnTo>
                    <a:lnTo>
                      <a:pt x="75" y="41"/>
                    </a:lnTo>
                    <a:lnTo>
                      <a:pt x="75" y="43"/>
                    </a:lnTo>
                    <a:lnTo>
                      <a:pt x="75" y="45"/>
                    </a:lnTo>
                    <a:lnTo>
                      <a:pt x="76" y="45"/>
                    </a:lnTo>
                    <a:lnTo>
                      <a:pt x="76" y="47"/>
                    </a:lnTo>
                    <a:lnTo>
                      <a:pt x="78" y="47"/>
                    </a:lnTo>
                    <a:lnTo>
                      <a:pt x="76" y="47"/>
                    </a:lnTo>
                    <a:lnTo>
                      <a:pt x="78" y="47"/>
                    </a:lnTo>
                    <a:lnTo>
                      <a:pt x="78" y="45"/>
                    </a:lnTo>
                    <a:lnTo>
                      <a:pt x="80" y="45"/>
                    </a:lnTo>
                    <a:lnTo>
                      <a:pt x="84" y="45"/>
                    </a:lnTo>
                    <a:lnTo>
                      <a:pt x="82" y="47"/>
                    </a:lnTo>
                    <a:lnTo>
                      <a:pt x="82" y="49"/>
                    </a:lnTo>
                    <a:lnTo>
                      <a:pt x="80" y="49"/>
                    </a:lnTo>
                    <a:lnTo>
                      <a:pt x="82" y="49"/>
                    </a:lnTo>
                    <a:lnTo>
                      <a:pt x="82" y="50"/>
                    </a:lnTo>
                    <a:lnTo>
                      <a:pt x="82" y="52"/>
                    </a:lnTo>
                    <a:lnTo>
                      <a:pt x="80" y="50"/>
                    </a:lnTo>
                    <a:lnTo>
                      <a:pt x="80" y="52"/>
                    </a:lnTo>
                    <a:lnTo>
                      <a:pt x="82" y="54"/>
                    </a:lnTo>
                    <a:lnTo>
                      <a:pt x="82" y="56"/>
                    </a:lnTo>
                    <a:lnTo>
                      <a:pt x="80" y="56"/>
                    </a:lnTo>
                    <a:lnTo>
                      <a:pt x="80" y="58"/>
                    </a:lnTo>
                    <a:lnTo>
                      <a:pt x="78" y="58"/>
                    </a:lnTo>
                    <a:lnTo>
                      <a:pt x="78" y="6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2" name="Freeform 37"/>
              <p:cNvSpPr>
                <a:spLocks/>
              </p:cNvSpPr>
              <p:nvPr/>
            </p:nvSpPr>
            <p:spPr bwMode="auto">
              <a:xfrm>
                <a:off x="3371709" y="3259508"/>
                <a:ext cx="277021" cy="552322"/>
              </a:xfrm>
              <a:custGeom>
                <a:avLst/>
                <a:gdLst>
                  <a:gd name="T0" fmla="*/ 138 w 161"/>
                  <a:gd name="T1" fmla="*/ 25 h 321"/>
                  <a:gd name="T2" fmla="*/ 152 w 161"/>
                  <a:gd name="T3" fmla="*/ 44 h 321"/>
                  <a:gd name="T4" fmla="*/ 157 w 161"/>
                  <a:gd name="T5" fmla="*/ 56 h 321"/>
                  <a:gd name="T6" fmla="*/ 159 w 161"/>
                  <a:gd name="T7" fmla="*/ 65 h 321"/>
                  <a:gd name="T8" fmla="*/ 161 w 161"/>
                  <a:gd name="T9" fmla="*/ 73 h 321"/>
                  <a:gd name="T10" fmla="*/ 150 w 161"/>
                  <a:gd name="T11" fmla="*/ 79 h 321"/>
                  <a:gd name="T12" fmla="*/ 140 w 161"/>
                  <a:gd name="T13" fmla="*/ 86 h 321"/>
                  <a:gd name="T14" fmla="*/ 134 w 161"/>
                  <a:gd name="T15" fmla="*/ 98 h 321"/>
                  <a:gd name="T16" fmla="*/ 129 w 161"/>
                  <a:gd name="T17" fmla="*/ 108 h 321"/>
                  <a:gd name="T18" fmla="*/ 130 w 161"/>
                  <a:gd name="T19" fmla="*/ 117 h 321"/>
                  <a:gd name="T20" fmla="*/ 132 w 161"/>
                  <a:gd name="T21" fmla="*/ 133 h 321"/>
                  <a:gd name="T22" fmla="*/ 130 w 161"/>
                  <a:gd name="T23" fmla="*/ 146 h 321"/>
                  <a:gd name="T24" fmla="*/ 127 w 161"/>
                  <a:gd name="T25" fmla="*/ 161 h 321"/>
                  <a:gd name="T26" fmla="*/ 129 w 161"/>
                  <a:gd name="T27" fmla="*/ 173 h 321"/>
                  <a:gd name="T28" fmla="*/ 136 w 161"/>
                  <a:gd name="T29" fmla="*/ 167 h 321"/>
                  <a:gd name="T30" fmla="*/ 148 w 161"/>
                  <a:gd name="T31" fmla="*/ 171 h 321"/>
                  <a:gd name="T32" fmla="*/ 146 w 161"/>
                  <a:gd name="T33" fmla="*/ 186 h 321"/>
                  <a:gd name="T34" fmla="*/ 148 w 161"/>
                  <a:gd name="T35" fmla="*/ 198 h 321"/>
                  <a:gd name="T36" fmla="*/ 142 w 161"/>
                  <a:gd name="T37" fmla="*/ 211 h 321"/>
                  <a:gd name="T38" fmla="*/ 134 w 161"/>
                  <a:gd name="T39" fmla="*/ 227 h 321"/>
                  <a:gd name="T40" fmla="*/ 132 w 161"/>
                  <a:gd name="T41" fmla="*/ 238 h 321"/>
                  <a:gd name="T42" fmla="*/ 138 w 161"/>
                  <a:gd name="T43" fmla="*/ 250 h 321"/>
                  <a:gd name="T44" fmla="*/ 136 w 161"/>
                  <a:gd name="T45" fmla="*/ 267 h 321"/>
                  <a:gd name="T46" fmla="*/ 142 w 161"/>
                  <a:gd name="T47" fmla="*/ 281 h 321"/>
                  <a:gd name="T48" fmla="*/ 136 w 161"/>
                  <a:gd name="T49" fmla="*/ 294 h 321"/>
                  <a:gd name="T50" fmla="*/ 125 w 161"/>
                  <a:gd name="T51" fmla="*/ 309 h 321"/>
                  <a:gd name="T52" fmla="*/ 113 w 161"/>
                  <a:gd name="T53" fmla="*/ 319 h 321"/>
                  <a:gd name="T54" fmla="*/ 115 w 161"/>
                  <a:gd name="T55" fmla="*/ 308 h 321"/>
                  <a:gd name="T56" fmla="*/ 106 w 161"/>
                  <a:gd name="T57" fmla="*/ 302 h 321"/>
                  <a:gd name="T58" fmla="*/ 90 w 161"/>
                  <a:gd name="T59" fmla="*/ 296 h 321"/>
                  <a:gd name="T60" fmla="*/ 81 w 161"/>
                  <a:gd name="T61" fmla="*/ 296 h 321"/>
                  <a:gd name="T62" fmla="*/ 71 w 161"/>
                  <a:gd name="T63" fmla="*/ 286 h 321"/>
                  <a:gd name="T64" fmla="*/ 65 w 161"/>
                  <a:gd name="T65" fmla="*/ 275 h 321"/>
                  <a:gd name="T66" fmla="*/ 69 w 161"/>
                  <a:gd name="T67" fmla="*/ 258 h 321"/>
                  <a:gd name="T68" fmla="*/ 57 w 161"/>
                  <a:gd name="T69" fmla="*/ 246 h 321"/>
                  <a:gd name="T70" fmla="*/ 59 w 161"/>
                  <a:gd name="T71" fmla="*/ 238 h 321"/>
                  <a:gd name="T72" fmla="*/ 67 w 161"/>
                  <a:gd name="T73" fmla="*/ 227 h 321"/>
                  <a:gd name="T74" fmla="*/ 56 w 161"/>
                  <a:gd name="T75" fmla="*/ 221 h 321"/>
                  <a:gd name="T76" fmla="*/ 48 w 161"/>
                  <a:gd name="T77" fmla="*/ 204 h 321"/>
                  <a:gd name="T78" fmla="*/ 34 w 161"/>
                  <a:gd name="T79" fmla="*/ 184 h 321"/>
                  <a:gd name="T80" fmla="*/ 17 w 161"/>
                  <a:gd name="T81" fmla="*/ 163 h 321"/>
                  <a:gd name="T82" fmla="*/ 6 w 161"/>
                  <a:gd name="T83" fmla="*/ 134 h 321"/>
                  <a:gd name="T84" fmla="*/ 11 w 161"/>
                  <a:gd name="T85" fmla="*/ 125 h 321"/>
                  <a:gd name="T86" fmla="*/ 9 w 161"/>
                  <a:gd name="T87" fmla="*/ 106 h 321"/>
                  <a:gd name="T88" fmla="*/ 8 w 161"/>
                  <a:gd name="T89" fmla="*/ 90 h 321"/>
                  <a:gd name="T90" fmla="*/ 6 w 161"/>
                  <a:gd name="T91" fmla="*/ 81 h 321"/>
                  <a:gd name="T92" fmla="*/ 4 w 161"/>
                  <a:gd name="T93" fmla="*/ 67 h 321"/>
                  <a:gd name="T94" fmla="*/ 2 w 161"/>
                  <a:gd name="T95" fmla="*/ 54 h 321"/>
                  <a:gd name="T96" fmla="*/ 4 w 161"/>
                  <a:gd name="T97" fmla="*/ 46 h 321"/>
                  <a:gd name="T98" fmla="*/ 13 w 161"/>
                  <a:gd name="T99" fmla="*/ 38 h 321"/>
                  <a:gd name="T100" fmla="*/ 27 w 161"/>
                  <a:gd name="T101" fmla="*/ 35 h 321"/>
                  <a:gd name="T102" fmla="*/ 40 w 161"/>
                  <a:gd name="T103" fmla="*/ 33 h 321"/>
                  <a:gd name="T104" fmla="*/ 54 w 161"/>
                  <a:gd name="T105" fmla="*/ 19 h 321"/>
                  <a:gd name="T106" fmla="*/ 67 w 161"/>
                  <a:gd name="T107" fmla="*/ 11 h 321"/>
                  <a:gd name="T108" fmla="*/ 75 w 161"/>
                  <a:gd name="T109" fmla="*/ 10 h 321"/>
                  <a:gd name="T110" fmla="*/ 86 w 161"/>
                  <a:gd name="T111" fmla="*/ 15 h 321"/>
                  <a:gd name="T112" fmla="*/ 94 w 161"/>
                  <a:gd name="T113" fmla="*/ 13 h 321"/>
                  <a:gd name="T114" fmla="*/ 100 w 161"/>
                  <a:gd name="T115" fmla="*/ 15 h 321"/>
                  <a:gd name="T116" fmla="*/ 109 w 161"/>
                  <a:gd name="T117" fmla="*/ 17 h 321"/>
                  <a:gd name="T118" fmla="*/ 134 w 161"/>
                  <a:gd name="T119" fmla="*/ 2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1" h="321">
                    <a:moveTo>
                      <a:pt x="140" y="4"/>
                    </a:moveTo>
                    <a:lnTo>
                      <a:pt x="142" y="2"/>
                    </a:lnTo>
                    <a:lnTo>
                      <a:pt x="140" y="8"/>
                    </a:lnTo>
                    <a:lnTo>
                      <a:pt x="144" y="10"/>
                    </a:lnTo>
                    <a:lnTo>
                      <a:pt x="142" y="11"/>
                    </a:lnTo>
                    <a:lnTo>
                      <a:pt x="142" y="15"/>
                    </a:lnTo>
                    <a:lnTo>
                      <a:pt x="136" y="15"/>
                    </a:lnTo>
                    <a:lnTo>
                      <a:pt x="136" y="17"/>
                    </a:lnTo>
                    <a:lnTo>
                      <a:pt x="136" y="21"/>
                    </a:lnTo>
                    <a:lnTo>
                      <a:pt x="138" y="21"/>
                    </a:lnTo>
                    <a:lnTo>
                      <a:pt x="138" y="25"/>
                    </a:lnTo>
                    <a:lnTo>
                      <a:pt x="138" y="29"/>
                    </a:lnTo>
                    <a:lnTo>
                      <a:pt x="142" y="29"/>
                    </a:lnTo>
                    <a:lnTo>
                      <a:pt x="142" y="33"/>
                    </a:lnTo>
                    <a:lnTo>
                      <a:pt x="144" y="33"/>
                    </a:lnTo>
                    <a:lnTo>
                      <a:pt x="146" y="33"/>
                    </a:lnTo>
                    <a:lnTo>
                      <a:pt x="146" y="35"/>
                    </a:lnTo>
                    <a:lnTo>
                      <a:pt x="148" y="35"/>
                    </a:lnTo>
                    <a:lnTo>
                      <a:pt x="148" y="36"/>
                    </a:lnTo>
                    <a:lnTo>
                      <a:pt x="148" y="38"/>
                    </a:lnTo>
                    <a:lnTo>
                      <a:pt x="152" y="38"/>
                    </a:lnTo>
                    <a:lnTo>
                      <a:pt x="152" y="44"/>
                    </a:lnTo>
                    <a:lnTo>
                      <a:pt x="154" y="44"/>
                    </a:lnTo>
                    <a:lnTo>
                      <a:pt x="154" y="46"/>
                    </a:lnTo>
                    <a:lnTo>
                      <a:pt x="154" y="48"/>
                    </a:lnTo>
                    <a:lnTo>
                      <a:pt x="155" y="48"/>
                    </a:lnTo>
                    <a:lnTo>
                      <a:pt x="155" y="50"/>
                    </a:lnTo>
                    <a:lnTo>
                      <a:pt x="157" y="50"/>
                    </a:lnTo>
                    <a:lnTo>
                      <a:pt x="157" y="52"/>
                    </a:lnTo>
                    <a:lnTo>
                      <a:pt x="157" y="54"/>
                    </a:lnTo>
                    <a:lnTo>
                      <a:pt x="159" y="54"/>
                    </a:lnTo>
                    <a:lnTo>
                      <a:pt x="159" y="56"/>
                    </a:lnTo>
                    <a:lnTo>
                      <a:pt x="157" y="56"/>
                    </a:lnTo>
                    <a:lnTo>
                      <a:pt x="157" y="58"/>
                    </a:lnTo>
                    <a:lnTo>
                      <a:pt x="157" y="56"/>
                    </a:lnTo>
                    <a:lnTo>
                      <a:pt x="157" y="58"/>
                    </a:lnTo>
                    <a:lnTo>
                      <a:pt x="157" y="60"/>
                    </a:lnTo>
                    <a:lnTo>
                      <a:pt x="157" y="61"/>
                    </a:lnTo>
                    <a:lnTo>
                      <a:pt x="157" y="63"/>
                    </a:lnTo>
                    <a:lnTo>
                      <a:pt x="159" y="65"/>
                    </a:lnTo>
                    <a:lnTo>
                      <a:pt x="157" y="65"/>
                    </a:lnTo>
                    <a:lnTo>
                      <a:pt x="157" y="67"/>
                    </a:lnTo>
                    <a:lnTo>
                      <a:pt x="159" y="67"/>
                    </a:lnTo>
                    <a:lnTo>
                      <a:pt x="159" y="65"/>
                    </a:lnTo>
                    <a:lnTo>
                      <a:pt x="159" y="67"/>
                    </a:lnTo>
                    <a:lnTo>
                      <a:pt x="159" y="65"/>
                    </a:lnTo>
                    <a:lnTo>
                      <a:pt x="159" y="67"/>
                    </a:lnTo>
                    <a:lnTo>
                      <a:pt x="159" y="65"/>
                    </a:lnTo>
                    <a:lnTo>
                      <a:pt x="159" y="67"/>
                    </a:lnTo>
                    <a:lnTo>
                      <a:pt x="161" y="67"/>
                    </a:lnTo>
                    <a:lnTo>
                      <a:pt x="161" y="69"/>
                    </a:lnTo>
                    <a:lnTo>
                      <a:pt x="161" y="71"/>
                    </a:lnTo>
                    <a:lnTo>
                      <a:pt x="159" y="71"/>
                    </a:lnTo>
                    <a:lnTo>
                      <a:pt x="161" y="71"/>
                    </a:lnTo>
                    <a:lnTo>
                      <a:pt x="161" y="73"/>
                    </a:lnTo>
                    <a:lnTo>
                      <a:pt x="161" y="75"/>
                    </a:lnTo>
                    <a:lnTo>
                      <a:pt x="159" y="75"/>
                    </a:lnTo>
                    <a:lnTo>
                      <a:pt x="157" y="75"/>
                    </a:lnTo>
                    <a:lnTo>
                      <a:pt x="155" y="75"/>
                    </a:lnTo>
                    <a:lnTo>
                      <a:pt x="155" y="77"/>
                    </a:lnTo>
                    <a:lnTo>
                      <a:pt x="155" y="75"/>
                    </a:lnTo>
                    <a:lnTo>
                      <a:pt x="155" y="77"/>
                    </a:lnTo>
                    <a:lnTo>
                      <a:pt x="154" y="77"/>
                    </a:lnTo>
                    <a:lnTo>
                      <a:pt x="154" y="79"/>
                    </a:lnTo>
                    <a:lnTo>
                      <a:pt x="152" y="79"/>
                    </a:lnTo>
                    <a:lnTo>
                      <a:pt x="150" y="79"/>
                    </a:lnTo>
                    <a:lnTo>
                      <a:pt x="150" y="81"/>
                    </a:lnTo>
                    <a:lnTo>
                      <a:pt x="148" y="81"/>
                    </a:lnTo>
                    <a:lnTo>
                      <a:pt x="146" y="81"/>
                    </a:lnTo>
                    <a:lnTo>
                      <a:pt x="146" y="83"/>
                    </a:lnTo>
                    <a:lnTo>
                      <a:pt x="144" y="83"/>
                    </a:lnTo>
                    <a:lnTo>
                      <a:pt x="146" y="83"/>
                    </a:lnTo>
                    <a:lnTo>
                      <a:pt x="144" y="83"/>
                    </a:lnTo>
                    <a:lnTo>
                      <a:pt x="144" y="85"/>
                    </a:lnTo>
                    <a:lnTo>
                      <a:pt x="142" y="85"/>
                    </a:lnTo>
                    <a:lnTo>
                      <a:pt x="142" y="86"/>
                    </a:lnTo>
                    <a:lnTo>
                      <a:pt x="140" y="86"/>
                    </a:lnTo>
                    <a:lnTo>
                      <a:pt x="140" y="88"/>
                    </a:lnTo>
                    <a:lnTo>
                      <a:pt x="138" y="88"/>
                    </a:lnTo>
                    <a:lnTo>
                      <a:pt x="138" y="90"/>
                    </a:lnTo>
                    <a:lnTo>
                      <a:pt x="136" y="90"/>
                    </a:lnTo>
                    <a:lnTo>
                      <a:pt x="136" y="92"/>
                    </a:lnTo>
                    <a:lnTo>
                      <a:pt x="136" y="90"/>
                    </a:lnTo>
                    <a:lnTo>
                      <a:pt x="136" y="92"/>
                    </a:lnTo>
                    <a:lnTo>
                      <a:pt x="136" y="94"/>
                    </a:lnTo>
                    <a:lnTo>
                      <a:pt x="134" y="94"/>
                    </a:lnTo>
                    <a:lnTo>
                      <a:pt x="134" y="96"/>
                    </a:lnTo>
                    <a:lnTo>
                      <a:pt x="134" y="98"/>
                    </a:lnTo>
                    <a:lnTo>
                      <a:pt x="132" y="98"/>
                    </a:lnTo>
                    <a:lnTo>
                      <a:pt x="132" y="100"/>
                    </a:lnTo>
                    <a:lnTo>
                      <a:pt x="130" y="100"/>
                    </a:lnTo>
                    <a:lnTo>
                      <a:pt x="130" y="102"/>
                    </a:lnTo>
                    <a:lnTo>
                      <a:pt x="130" y="104"/>
                    </a:lnTo>
                    <a:lnTo>
                      <a:pt x="129" y="104"/>
                    </a:lnTo>
                    <a:lnTo>
                      <a:pt x="129" y="106"/>
                    </a:lnTo>
                    <a:lnTo>
                      <a:pt x="127" y="106"/>
                    </a:lnTo>
                    <a:lnTo>
                      <a:pt x="129" y="108"/>
                    </a:lnTo>
                    <a:lnTo>
                      <a:pt x="127" y="108"/>
                    </a:lnTo>
                    <a:lnTo>
                      <a:pt x="129" y="108"/>
                    </a:lnTo>
                    <a:lnTo>
                      <a:pt x="127" y="108"/>
                    </a:lnTo>
                    <a:lnTo>
                      <a:pt x="129" y="108"/>
                    </a:lnTo>
                    <a:lnTo>
                      <a:pt x="129" y="109"/>
                    </a:lnTo>
                    <a:lnTo>
                      <a:pt x="129" y="111"/>
                    </a:lnTo>
                    <a:lnTo>
                      <a:pt x="130" y="111"/>
                    </a:lnTo>
                    <a:lnTo>
                      <a:pt x="129" y="111"/>
                    </a:lnTo>
                    <a:lnTo>
                      <a:pt x="130" y="113"/>
                    </a:lnTo>
                    <a:lnTo>
                      <a:pt x="130" y="115"/>
                    </a:lnTo>
                    <a:lnTo>
                      <a:pt x="129" y="115"/>
                    </a:lnTo>
                    <a:lnTo>
                      <a:pt x="130" y="115"/>
                    </a:lnTo>
                    <a:lnTo>
                      <a:pt x="130" y="117"/>
                    </a:lnTo>
                    <a:lnTo>
                      <a:pt x="130" y="119"/>
                    </a:lnTo>
                    <a:lnTo>
                      <a:pt x="130" y="121"/>
                    </a:lnTo>
                    <a:lnTo>
                      <a:pt x="130" y="123"/>
                    </a:lnTo>
                    <a:lnTo>
                      <a:pt x="130" y="125"/>
                    </a:lnTo>
                    <a:lnTo>
                      <a:pt x="132" y="125"/>
                    </a:lnTo>
                    <a:lnTo>
                      <a:pt x="132" y="127"/>
                    </a:lnTo>
                    <a:lnTo>
                      <a:pt x="132" y="129"/>
                    </a:lnTo>
                    <a:lnTo>
                      <a:pt x="134" y="129"/>
                    </a:lnTo>
                    <a:lnTo>
                      <a:pt x="134" y="131"/>
                    </a:lnTo>
                    <a:lnTo>
                      <a:pt x="134" y="133"/>
                    </a:lnTo>
                    <a:lnTo>
                      <a:pt x="132" y="133"/>
                    </a:lnTo>
                    <a:lnTo>
                      <a:pt x="134" y="134"/>
                    </a:lnTo>
                    <a:lnTo>
                      <a:pt x="136" y="133"/>
                    </a:lnTo>
                    <a:lnTo>
                      <a:pt x="136" y="134"/>
                    </a:lnTo>
                    <a:lnTo>
                      <a:pt x="136" y="136"/>
                    </a:lnTo>
                    <a:lnTo>
                      <a:pt x="136" y="138"/>
                    </a:lnTo>
                    <a:lnTo>
                      <a:pt x="136" y="140"/>
                    </a:lnTo>
                    <a:lnTo>
                      <a:pt x="134" y="142"/>
                    </a:lnTo>
                    <a:lnTo>
                      <a:pt x="132" y="142"/>
                    </a:lnTo>
                    <a:lnTo>
                      <a:pt x="132" y="144"/>
                    </a:lnTo>
                    <a:lnTo>
                      <a:pt x="132" y="146"/>
                    </a:lnTo>
                    <a:lnTo>
                      <a:pt x="130" y="146"/>
                    </a:lnTo>
                    <a:lnTo>
                      <a:pt x="130" y="148"/>
                    </a:lnTo>
                    <a:lnTo>
                      <a:pt x="130" y="150"/>
                    </a:lnTo>
                    <a:lnTo>
                      <a:pt x="130" y="152"/>
                    </a:lnTo>
                    <a:lnTo>
                      <a:pt x="129" y="152"/>
                    </a:lnTo>
                    <a:lnTo>
                      <a:pt x="129" y="154"/>
                    </a:lnTo>
                    <a:lnTo>
                      <a:pt x="129" y="156"/>
                    </a:lnTo>
                    <a:lnTo>
                      <a:pt x="130" y="158"/>
                    </a:lnTo>
                    <a:lnTo>
                      <a:pt x="129" y="158"/>
                    </a:lnTo>
                    <a:lnTo>
                      <a:pt x="129" y="159"/>
                    </a:lnTo>
                    <a:lnTo>
                      <a:pt x="129" y="161"/>
                    </a:lnTo>
                    <a:lnTo>
                      <a:pt x="127" y="161"/>
                    </a:lnTo>
                    <a:lnTo>
                      <a:pt x="127" y="163"/>
                    </a:lnTo>
                    <a:lnTo>
                      <a:pt x="127" y="165"/>
                    </a:lnTo>
                    <a:lnTo>
                      <a:pt x="125" y="165"/>
                    </a:lnTo>
                    <a:lnTo>
                      <a:pt x="125" y="167"/>
                    </a:lnTo>
                    <a:lnTo>
                      <a:pt x="123" y="167"/>
                    </a:lnTo>
                    <a:lnTo>
                      <a:pt x="121" y="167"/>
                    </a:lnTo>
                    <a:lnTo>
                      <a:pt x="121" y="169"/>
                    </a:lnTo>
                    <a:lnTo>
                      <a:pt x="123" y="169"/>
                    </a:lnTo>
                    <a:lnTo>
                      <a:pt x="125" y="169"/>
                    </a:lnTo>
                    <a:lnTo>
                      <a:pt x="127" y="171"/>
                    </a:lnTo>
                    <a:lnTo>
                      <a:pt x="129" y="173"/>
                    </a:lnTo>
                    <a:lnTo>
                      <a:pt x="129" y="175"/>
                    </a:lnTo>
                    <a:lnTo>
                      <a:pt x="130" y="175"/>
                    </a:lnTo>
                    <a:lnTo>
                      <a:pt x="130" y="173"/>
                    </a:lnTo>
                    <a:lnTo>
                      <a:pt x="130" y="171"/>
                    </a:lnTo>
                    <a:lnTo>
                      <a:pt x="132" y="171"/>
                    </a:lnTo>
                    <a:lnTo>
                      <a:pt x="132" y="169"/>
                    </a:lnTo>
                    <a:lnTo>
                      <a:pt x="134" y="169"/>
                    </a:lnTo>
                    <a:lnTo>
                      <a:pt x="134" y="167"/>
                    </a:lnTo>
                    <a:lnTo>
                      <a:pt x="136" y="167"/>
                    </a:lnTo>
                    <a:lnTo>
                      <a:pt x="136" y="169"/>
                    </a:lnTo>
                    <a:lnTo>
                      <a:pt x="136" y="167"/>
                    </a:lnTo>
                    <a:lnTo>
                      <a:pt x="136" y="165"/>
                    </a:lnTo>
                    <a:lnTo>
                      <a:pt x="138" y="165"/>
                    </a:lnTo>
                    <a:lnTo>
                      <a:pt x="138" y="167"/>
                    </a:lnTo>
                    <a:lnTo>
                      <a:pt x="140" y="169"/>
                    </a:lnTo>
                    <a:lnTo>
                      <a:pt x="140" y="171"/>
                    </a:lnTo>
                    <a:lnTo>
                      <a:pt x="140" y="173"/>
                    </a:lnTo>
                    <a:lnTo>
                      <a:pt x="142" y="173"/>
                    </a:lnTo>
                    <a:lnTo>
                      <a:pt x="142" y="175"/>
                    </a:lnTo>
                    <a:lnTo>
                      <a:pt x="144" y="173"/>
                    </a:lnTo>
                    <a:lnTo>
                      <a:pt x="146" y="171"/>
                    </a:lnTo>
                    <a:lnTo>
                      <a:pt x="148" y="171"/>
                    </a:lnTo>
                    <a:lnTo>
                      <a:pt x="148" y="173"/>
                    </a:lnTo>
                    <a:lnTo>
                      <a:pt x="148" y="175"/>
                    </a:lnTo>
                    <a:lnTo>
                      <a:pt x="150" y="175"/>
                    </a:lnTo>
                    <a:lnTo>
                      <a:pt x="150" y="177"/>
                    </a:lnTo>
                    <a:lnTo>
                      <a:pt x="150" y="179"/>
                    </a:lnTo>
                    <a:lnTo>
                      <a:pt x="150" y="181"/>
                    </a:lnTo>
                    <a:lnTo>
                      <a:pt x="148" y="181"/>
                    </a:lnTo>
                    <a:lnTo>
                      <a:pt x="148" y="183"/>
                    </a:lnTo>
                    <a:lnTo>
                      <a:pt x="148" y="184"/>
                    </a:lnTo>
                    <a:lnTo>
                      <a:pt x="148" y="186"/>
                    </a:lnTo>
                    <a:lnTo>
                      <a:pt x="146" y="186"/>
                    </a:lnTo>
                    <a:lnTo>
                      <a:pt x="144" y="188"/>
                    </a:lnTo>
                    <a:lnTo>
                      <a:pt x="142" y="188"/>
                    </a:lnTo>
                    <a:lnTo>
                      <a:pt x="142" y="190"/>
                    </a:lnTo>
                    <a:lnTo>
                      <a:pt x="142" y="192"/>
                    </a:lnTo>
                    <a:lnTo>
                      <a:pt x="142" y="194"/>
                    </a:lnTo>
                    <a:lnTo>
                      <a:pt x="142" y="196"/>
                    </a:lnTo>
                    <a:lnTo>
                      <a:pt x="142" y="198"/>
                    </a:lnTo>
                    <a:lnTo>
                      <a:pt x="142" y="200"/>
                    </a:lnTo>
                    <a:lnTo>
                      <a:pt x="144" y="198"/>
                    </a:lnTo>
                    <a:lnTo>
                      <a:pt x="146" y="198"/>
                    </a:lnTo>
                    <a:lnTo>
                      <a:pt x="148" y="198"/>
                    </a:lnTo>
                    <a:lnTo>
                      <a:pt x="148" y="200"/>
                    </a:lnTo>
                    <a:lnTo>
                      <a:pt x="148" y="202"/>
                    </a:lnTo>
                    <a:lnTo>
                      <a:pt x="146" y="204"/>
                    </a:lnTo>
                    <a:lnTo>
                      <a:pt x="146" y="206"/>
                    </a:lnTo>
                    <a:lnTo>
                      <a:pt x="148" y="206"/>
                    </a:lnTo>
                    <a:lnTo>
                      <a:pt x="148" y="208"/>
                    </a:lnTo>
                    <a:lnTo>
                      <a:pt x="148" y="209"/>
                    </a:lnTo>
                    <a:lnTo>
                      <a:pt x="146" y="209"/>
                    </a:lnTo>
                    <a:lnTo>
                      <a:pt x="144" y="209"/>
                    </a:lnTo>
                    <a:lnTo>
                      <a:pt x="142" y="209"/>
                    </a:lnTo>
                    <a:lnTo>
                      <a:pt x="142" y="211"/>
                    </a:lnTo>
                    <a:lnTo>
                      <a:pt x="140" y="213"/>
                    </a:lnTo>
                    <a:lnTo>
                      <a:pt x="140" y="215"/>
                    </a:lnTo>
                    <a:lnTo>
                      <a:pt x="140" y="217"/>
                    </a:lnTo>
                    <a:lnTo>
                      <a:pt x="138" y="217"/>
                    </a:lnTo>
                    <a:lnTo>
                      <a:pt x="140" y="219"/>
                    </a:lnTo>
                    <a:lnTo>
                      <a:pt x="138" y="219"/>
                    </a:lnTo>
                    <a:lnTo>
                      <a:pt x="136" y="221"/>
                    </a:lnTo>
                    <a:lnTo>
                      <a:pt x="136" y="223"/>
                    </a:lnTo>
                    <a:lnTo>
                      <a:pt x="134" y="223"/>
                    </a:lnTo>
                    <a:lnTo>
                      <a:pt x="134" y="225"/>
                    </a:lnTo>
                    <a:lnTo>
                      <a:pt x="134" y="227"/>
                    </a:lnTo>
                    <a:lnTo>
                      <a:pt x="134" y="231"/>
                    </a:lnTo>
                    <a:lnTo>
                      <a:pt x="132" y="231"/>
                    </a:lnTo>
                    <a:lnTo>
                      <a:pt x="132" y="233"/>
                    </a:lnTo>
                    <a:lnTo>
                      <a:pt x="132" y="234"/>
                    </a:lnTo>
                    <a:lnTo>
                      <a:pt x="130" y="234"/>
                    </a:lnTo>
                    <a:lnTo>
                      <a:pt x="132" y="236"/>
                    </a:lnTo>
                    <a:lnTo>
                      <a:pt x="130" y="236"/>
                    </a:lnTo>
                    <a:lnTo>
                      <a:pt x="130" y="238"/>
                    </a:lnTo>
                    <a:lnTo>
                      <a:pt x="130" y="240"/>
                    </a:lnTo>
                    <a:lnTo>
                      <a:pt x="132" y="240"/>
                    </a:lnTo>
                    <a:lnTo>
                      <a:pt x="132" y="238"/>
                    </a:lnTo>
                    <a:lnTo>
                      <a:pt x="132" y="236"/>
                    </a:lnTo>
                    <a:lnTo>
                      <a:pt x="134" y="236"/>
                    </a:lnTo>
                    <a:lnTo>
                      <a:pt x="136" y="238"/>
                    </a:lnTo>
                    <a:lnTo>
                      <a:pt x="136" y="240"/>
                    </a:lnTo>
                    <a:lnTo>
                      <a:pt x="136" y="242"/>
                    </a:lnTo>
                    <a:lnTo>
                      <a:pt x="138" y="242"/>
                    </a:lnTo>
                    <a:lnTo>
                      <a:pt x="138" y="244"/>
                    </a:lnTo>
                    <a:lnTo>
                      <a:pt x="140" y="246"/>
                    </a:lnTo>
                    <a:lnTo>
                      <a:pt x="140" y="248"/>
                    </a:lnTo>
                    <a:lnTo>
                      <a:pt x="138" y="248"/>
                    </a:lnTo>
                    <a:lnTo>
                      <a:pt x="138" y="250"/>
                    </a:lnTo>
                    <a:lnTo>
                      <a:pt x="138" y="252"/>
                    </a:lnTo>
                    <a:lnTo>
                      <a:pt x="140" y="254"/>
                    </a:lnTo>
                    <a:lnTo>
                      <a:pt x="140" y="256"/>
                    </a:lnTo>
                    <a:lnTo>
                      <a:pt x="138" y="256"/>
                    </a:lnTo>
                    <a:lnTo>
                      <a:pt x="138" y="258"/>
                    </a:lnTo>
                    <a:lnTo>
                      <a:pt x="136" y="259"/>
                    </a:lnTo>
                    <a:lnTo>
                      <a:pt x="134" y="261"/>
                    </a:lnTo>
                    <a:lnTo>
                      <a:pt x="134" y="263"/>
                    </a:lnTo>
                    <a:lnTo>
                      <a:pt x="134" y="265"/>
                    </a:lnTo>
                    <a:lnTo>
                      <a:pt x="134" y="267"/>
                    </a:lnTo>
                    <a:lnTo>
                      <a:pt x="136" y="267"/>
                    </a:lnTo>
                    <a:lnTo>
                      <a:pt x="138" y="267"/>
                    </a:lnTo>
                    <a:lnTo>
                      <a:pt x="140" y="269"/>
                    </a:lnTo>
                    <a:lnTo>
                      <a:pt x="140" y="271"/>
                    </a:lnTo>
                    <a:lnTo>
                      <a:pt x="140" y="273"/>
                    </a:lnTo>
                    <a:lnTo>
                      <a:pt x="142" y="273"/>
                    </a:lnTo>
                    <a:lnTo>
                      <a:pt x="144" y="273"/>
                    </a:lnTo>
                    <a:lnTo>
                      <a:pt x="144" y="275"/>
                    </a:lnTo>
                    <a:lnTo>
                      <a:pt x="144" y="277"/>
                    </a:lnTo>
                    <a:lnTo>
                      <a:pt x="144" y="279"/>
                    </a:lnTo>
                    <a:lnTo>
                      <a:pt x="142" y="279"/>
                    </a:lnTo>
                    <a:lnTo>
                      <a:pt x="142" y="281"/>
                    </a:lnTo>
                    <a:lnTo>
                      <a:pt x="142" y="283"/>
                    </a:lnTo>
                    <a:lnTo>
                      <a:pt x="140" y="283"/>
                    </a:lnTo>
                    <a:lnTo>
                      <a:pt x="140" y="284"/>
                    </a:lnTo>
                    <a:lnTo>
                      <a:pt x="138" y="284"/>
                    </a:lnTo>
                    <a:lnTo>
                      <a:pt x="138" y="286"/>
                    </a:lnTo>
                    <a:lnTo>
                      <a:pt x="138" y="288"/>
                    </a:lnTo>
                    <a:lnTo>
                      <a:pt x="138" y="290"/>
                    </a:lnTo>
                    <a:lnTo>
                      <a:pt x="140" y="290"/>
                    </a:lnTo>
                    <a:lnTo>
                      <a:pt x="140" y="292"/>
                    </a:lnTo>
                    <a:lnTo>
                      <a:pt x="138" y="292"/>
                    </a:lnTo>
                    <a:lnTo>
                      <a:pt x="136" y="294"/>
                    </a:lnTo>
                    <a:lnTo>
                      <a:pt x="134" y="296"/>
                    </a:lnTo>
                    <a:lnTo>
                      <a:pt x="134" y="298"/>
                    </a:lnTo>
                    <a:lnTo>
                      <a:pt x="132" y="298"/>
                    </a:lnTo>
                    <a:lnTo>
                      <a:pt x="132" y="300"/>
                    </a:lnTo>
                    <a:lnTo>
                      <a:pt x="130" y="300"/>
                    </a:lnTo>
                    <a:lnTo>
                      <a:pt x="130" y="302"/>
                    </a:lnTo>
                    <a:lnTo>
                      <a:pt x="127" y="304"/>
                    </a:lnTo>
                    <a:lnTo>
                      <a:pt x="125" y="306"/>
                    </a:lnTo>
                    <a:lnTo>
                      <a:pt x="123" y="308"/>
                    </a:lnTo>
                    <a:lnTo>
                      <a:pt x="123" y="309"/>
                    </a:lnTo>
                    <a:lnTo>
                      <a:pt x="125" y="309"/>
                    </a:lnTo>
                    <a:lnTo>
                      <a:pt x="125" y="311"/>
                    </a:lnTo>
                    <a:lnTo>
                      <a:pt x="123" y="311"/>
                    </a:lnTo>
                    <a:lnTo>
                      <a:pt x="123" y="313"/>
                    </a:lnTo>
                    <a:lnTo>
                      <a:pt x="123" y="315"/>
                    </a:lnTo>
                    <a:lnTo>
                      <a:pt x="121" y="315"/>
                    </a:lnTo>
                    <a:lnTo>
                      <a:pt x="119" y="315"/>
                    </a:lnTo>
                    <a:lnTo>
                      <a:pt x="119" y="317"/>
                    </a:lnTo>
                    <a:lnTo>
                      <a:pt x="117" y="317"/>
                    </a:lnTo>
                    <a:lnTo>
                      <a:pt x="117" y="319"/>
                    </a:lnTo>
                    <a:lnTo>
                      <a:pt x="115" y="319"/>
                    </a:lnTo>
                    <a:lnTo>
                      <a:pt x="113" y="319"/>
                    </a:lnTo>
                    <a:lnTo>
                      <a:pt x="113" y="321"/>
                    </a:lnTo>
                    <a:lnTo>
                      <a:pt x="111" y="319"/>
                    </a:lnTo>
                    <a:lnTo>
                      <a:pt x="111" y="317"/>
                    </a:lnTo>
                    <a:lnTo>
                      <a:pt x="111" y="315"/>
                    </a:lnTo>
                    <a:lnTo>
                      <a:pt x="113" y="315"/>
                    </a:lnTo>
                    <a:lnTo>
                      <a:pt x="111" y="313"/>
                    </a:lnTo>
                    <a:lnTo>
                      <a:pt x="113" y="313"/>
                    </a:lnTo>
                    <a:lnTo>
                      <a:pt x="113" y="311"/>
                    </a:lnTo>
                    <a:lnTo>
                      <a:pt x="113" y="309"/>
                    </a:lnTo>
                    <a:lnTo>
                      <a:pt x="115" y="309"/>
                    </a:lnTo>
                    <a:lnTo>
                      <a:pt x="115" y="308"/>
                    </a:lnTo>
                    <a:lnTo>
                      <a:pt x="113" y="308"/>
                    </a:lnTo>
                    <a:lnTo>
                      <a:pt x="113" y="306"/>
                    </a:lnTo>
                    <a:lnTo>
                      <a:pt x="113" y="304"/>
                    </a:lnTo>
                    <a:lnTo>
                      <a:pt x="115" y="304"/>
                    </a:lnTo>
                    <a:lnTo>
                      <a:pt x="115" y="302"/>
                    </a:lnTo>
                    <a:lnTo>
                      <a:pt x="113" y="302"/>
                    </a:lnTo>
                    <a:lnTo>
                      <a:pt x="113" y="300"/>
                    </a:lnTo>
                    <a:lnTo>
                      <a:pt x="111" y="300"/>
                    </a:lnTo>
                    <a:lnTo>
                      <a:pt x="109" y="302"/>
                    </a:lnTo>
                    <a:lnTo>
                      <a:pt x="107" y="304"/>
                    </a:lnTo>
                    <a:lnTo>
                      <a:pt x="106" y="302"/>
                    </a:lnTo>
                    <a:lnTo>
                      <a:pt x="104" y="300"/>
                    </a:lnTo>
                    <a:lnTo>
                      <a:pt x="104" y="298"/>
                    </a:lnTo>
                    <a:lnTo>
                      <a:pt x="102" y="298"/>
                    </a:lnTo>
                    <a:lnTo>
                      <a:pt x="100" y="296"/>
                    </a:lnTo>
                    <a:lnTo>
                      <a:pt x="100" y="294"/>
                    </a:lnTo>
                    <a:lnTo>
                      <a:pt x="98" y="294"/>
                    </a:lnTo>
                    <a:lnTo>
                      <a:pt x="96" y="294"/>
                    </a:lnTo>
                    <a:lnTo>
                      <a:pt x="94" y="294"/>
                    </a:lnTo>
                    <a:lnTo>
                      <a:pt x="94" y="296"/>
                    </a:lnTo>
                    <a:lnTo>
                      <a:pt x="92" y="296"/>
                    </a:lnTo>
                    <a:lnTo>
                      <a:pt x="90" y="296"/>
                    </a:lnTo>
                    <a:lnTo>
                      <a:pt x="90" y="298"/>
                    </a:lnTo>
                    <a:lnTo>
                      <a:pt x="88" y="298"/>
                    </a:lnTo>
                    <a:lnTo>
                      <a:pt x="88" y="300"/>
                    </a:lnTo>
                    <a:lnTo>
                      <a:pt x="86" y="300"/>
                    </a:lnTo>
                    <a:lnTo>
                      <a:pt x="86" y="298"/>
                    </a:lnTo>
                    <a:lnTo>
                      <a:pt x="86" y="296"/>
                    </a:lnTo>
                    <a:lnTo>
                      <a:pt x="84" y="296"/>
                    </a:lnTo>
                    <a:lnTo>
                      <a:pt x="84" y="298"/>
                    </a:lnTo>
                    <a:lnTo>
                      <a:pt x="84" y="296"/>
                    </a:lnTo>
                    <a:lnTo>
                      <a:pt x="82" y="296"/>
                    </a:lnTo>
                    <a:lnTo>
                      <a:pt x="81" y="296"/>
                    </a:lnTo>
                    <a:lnTo>
                      <a:pt x="79" y="294"/>
                    </a:lnTo>
                    <a:lnTo>
                      <a:pt x="77" y="294"/>
                    </a:lnTo>
                    <a:lnTo>
                      <a:pt x="77" y="292"/>
                    </a:lnTo>
                    <a:lnTo>
                      <a:pt x="77" y="290"/>
                    </a:lnTo>
                    <a:lnTo>
                      <a:pt x="79" y="290"/>
                    </a:lnTo>
                    <a:lnTo>
                      <a:pt x="77" y="290"/>
                    </a:lnTo>
                    <a:lnTo>
                      <a:pt x="77" y="288"/>
                    </a:lnTo>
                    <a:lnTo>
                      <a:pt x="75" y="288"/>
                    </a:lnTo>
                    <a:lnTo>
                      <a:pt x="73" y="288"/>
                    </a:lnTo>
                    <a:lnTo>
                      <a:pt x="71" y="288"/>
                    </a:lnTo>
                    <a:lnTo>
                      <a:pt x="71" y="286"/>
                    </a:lnTo>
                    <a:lnTo>
                      <a:pt x="69" y="286"/>
                    </a:lnTo>
                    <a:lnTo>
                      <a:pt x="69" y="284"/>
                    </a:lnTo>
                    <a:lnTo>
                      <a:pt x="71" y="283"/>
                    </a:lnTo>
                    <a:lnTo>
                      <a:pt x="71" y="281"/>
                    </a:lnTo>
                    <a:lnTo>
                      <a:pt x="71" y="279"/>
                    </a:lnTo>
                    <a:lnTo>
                      <a:pt x="69" y="279"/>
                    </a:lnTo>
                    <a:lnTo>
                      <a:pt x="69" y="281"/>
                    </a:lnTo>
                    <a:lnTo>
                      <a:pt x="67" y="281"/>
                    </a:lnTo>
                    <a:lnTo>
                      <a:pt x="67" y="279"/>
                    </a:lnTo>
                    <a:lnTo>
                      <a:pt x="67" y="277"/>
                    </a:lnTo>
                    <a:lnTo>
                      <a:pt x="65" y="275"/>
                    </a:lnTo>
                    <a:lnTo>
                      <a:pt x="65" y="273"/>
                    </a:lnTo>
                    <a:lnTo>
                      <a:pt x="65" y="271"/>
                    </a:lnTo>
                    <a:lnTo>
                      <a:pt x="63" y="271"/>
                    </a:lnTo>
                    <a:lnTo>
                      <a:pt x="63" y="269"/>
                    </a:lnTo>
                    <a:lnTo>
                      <a:pt x="63" y="267"/>
                    </a:lnTo>
                    <a:lnTo>
                      <a:pt x="65" y="267"/>
                    </a:lnTo>
                    <a:lnTo>
                      <a:pt x="67" y="265"/>
                    </a:lnTo>
                    <a:lnTo>
                      <a:pt x="67" y="263"/>
                    </a:lnTo>
                    <a:lnTo>
                      <a:pt x="67" y="259"/>
                    </a:lnTo>
                    <a:lnTo>
                      <a:pt x="69" y="259"/>
                    </a:lnTo>
                    <a:lnTo>
                      <a:pt x="69" y="258"/>
                    </a:lnTo>
                    <a:lnTo>
                      <a:pt x="69" y="256"/>
                    </a:lnTo>
                    <a:lnTo>
                      <a:pt x="67" y="254"/>
                    </a:lnTo>
                    <a:lnTo>
                      <a:pt x="65" y="254"/>
                    </a:lnTo>
                    <a:lnTo>
                      <a:pt x="63" y="252"/>
                    </a:lnTo>
                    <a:lnTo>
                      <a:pt x="61" y="250"/>
                    </a:lnTo>
                    <a:lnTo>
                      <a:pt x="63" y="250"/>
                    </a:lnTo>
                    <a:lnTo>
                      <a:pt x="63" y="248"/>
                    </a:lnTo>
                    <a:lnTo>
                      <a:pt x="61" y="248"/>
                    </a:lnTo>
                    <a:lnTo>
                      <a:pt x="59" y="248"/>
                    </a:lnTo>
                    <a:lnTo>
                      <a:pt x="59" y="246"/>
                    </a:lnTo>
                    <a:lnTo>
                      <a:pt x="57" y="246"/>
                    </a:lnTo>
                    <a:lnTo>
                      <a:pt x="57" y="244"/>
                    </a:lnTo>
                    <a:lnTo>
                      <a:pt x="57" y="246"/>
                    </a:lnTo>
                    <a:lnTo>
                      <a:pt x="56" y="246"/>
                    </a:lnTo>
                    <a:lnTo>
                      <a:pt x="56" y="242"/>
                    </a:lnTo>
                    <a:lnTo>
                      <a:pt x="56" y="240"/>
                    </a:lnTo>
                    <a:lnTo>
                      <a:pt x="57" y="240"/>
                    </a:lnTo>
                    <a:lnTo>
                      <a:pt x="57" y="242"/>
                    </a:lnTo>
                    <a:lnTo>
                      <a:pt x="59" y="240"/>
                    </a:lnTo>
                    <a:lnTo>
                      <a:pt x="57" y="240"/>
                    </a:lnTo>
                    <a:lnTo>
                      <a:pt x="59" y="240"/>
                    </a:lnTo>
                    <a:lnTo>
                      <a:pt x="59" y="238"/>
                    </a:lnTo>
                    <a:lnTo>
                      <a:pt x="61" y="238"/>
                    </a:lnTo>
                    <a:lnTo>
                      <a:pt x="63" y="236"/>
                    </a:lnTo>
                    <a:lnTo>
                      <a:pt x="63" y="234"/>
                    </a:lnTo>
                    <a:lnTo>
                      <a:pt x="65" y="234"/>
                    </a:lnTo>
                    <a:lnTo>
                      <a:pt x="65" y="233"/>
                    </a:lnTo>
                    <a:lnTo>
                      <a:pt x="65" y="231"/>
                    </a:lnTo>
                    <a:lnTo>
                      <a:pt x="67" y="231"/>
                    </a:lnTo>
                    <a:lnTo>
                      <a:pt x="65" y="231"/>
                    </a:lnTo>
                    <a:lnTo>
                      <a:pt x="65" y="229"/>
                    </a:lnTo>
                    <a:lnTo>
                      <a:pt x="65" y="227"/>
                    </a:lnTo>
                    <a:lnTo>
                      <a:pt x="67" y="227"/>
                    </a:lnTo>
                    <a:lnTo>
                      <a:pt x="67" y="225"/>
                    </a:lnTo>
                    <a:lnTo>
                      <a:pt x="65" y="225"/>
                    </a:lnTo>
                    <a:lnTo>
                      <a:pt x="65" y="227"/>
                    </a:lnTo>
                    <a:lnTo>
                      <a:pt x="63" y="227"/>
                    </a:lnTo>
                    <a:lnTo>
                      <a:pt x="61" y="227"/>
                    </a:lnTo>
                    <a:lnTo>
                      <a:pt x="61" y="225"/>
                    </a:lnTo>
                    <a:lnTo>
                      <a:pt x="59" y="225"/>
                    </a:lnTo>
                    <a:lnTo>
                      <a:pt x="59" y="223"/>
                    </a:lnTo>
                    <a:lnTo>
                      <a:pt x="57" y="223"/>
                    </a:lnTo>
                    <a:lnTo>
                      <a:pt x="56" y="223"/>
                    </a:lnTo>
                    <a:lnTo>
                      <a:pt x="56" y="221"/>
                    </a:lnTo>
                    <a:lnTo>
                      <a:pt x="54" y="221"/>
                    </a:lnTo>
                    <a:lnTo>
                      <a:pt x="54" y="219"/>
                    </a:lnTo>
                    <a:lnTo>
                      <a:pt x="54" y="217"/>
                    </a:lnTo>
                    <a:lnTo>
                      <a:pt x="52" y="217"/>
                    </a:lnTo>
                    <a:lnTo>
                      <a:pt x="52" y="215"/>
                    </a:lnTo>
                    <a:lnTo>
                      <a:pt x="50" y="215"/>
                    </a:lnTo>
                    <a:lnTo>
                      <a:pt x="50" y="213"/>
                    </a:lnTo>
                    <a:lnTo>
                      <a:pt x="48" y="211"/>
                    </a:lnTo>
                    <a:lnTo>
                      <a:pt x="48" y="209"/>
                    </a:lnTo>
                    <a:lnTo>
                      <a:pt x="48" y="206"/>
                    </a:lnTo>
                    <a:lnTo>
                      <a:pt x="48" y="204"/>
                    </a:lnTo>
                    <a:lnTo>
                      <a:pt x="48" y="200"/>
                    </a:lnTo>
                    <a:lnTo>
                      <a:pt x="44" y="200"/>
                    </a:lnTo>
                    <a:lnTo>
                      <a:pt x="44" y="196"/>
                    </a:lnTo>
                    <a:lnTo>
                      <a:pt x="42" y="192"/>
                    </a:lnTo>
                    <a:lnTo>
                      <a:pt x="42" y="190"/>
                    </a:lnTo>
                    <a:lnTo>
                      <a:pt x="40" y="188"/>
                    </a:lnTo>
                    <a:lnTo>
                      <a:pt x="40" y="186"/>
                    </a:lnTo>
                    <a:lnTo>
                      <a:pt x="38" y="186"/>
                    </a:lnTo>
                    <a:lnTo>
                      <a:pt x="36" y="184"/>
                    </a:lnTo>
                    <a:lnTo>
                      <a:pt x="36" y="183"/>
                    </a:lnTo>
                    <a:lnTo>
                      <a:pt x="34" y="184"/>
                    </a:lnTo>
                    <a:lnTo>
                      <a:pt x="33" y="179"/>
                    </a:lnTo>
                    <a:lnTo>
                      <a:pt x="31" y="175"/>
                    </a:lnTo>
                    <a:lnTo>
                      <a:pt x="29" y="177"/>
                    </a:lnTo>
                    <a:lnTo>
                      <a:pt x="29" y="175"/>
                    </a:lnTo>
                    <a:lnTo>
                      <a:pt x="27" y="171"/>
                    </a:lnTo>
                    <a:lnTo>
                      <a:pt x="25" y="173"/>
                    </a:lnTo>
                    <a:lnTo>
                      <a:pt x="25" y="171"/>
                    </a:lnTo>
                    <a:lnTo>
                      <a:pt x="21" y="173"/>
                    </a:lnTo>
                    <a:lnTo>
                      <a:pt x="19" y="171"/>
                    </a:lnTo>
                    <a:lnTo>
                      <a:pt x="19" y="167"/>
                    </a:lnTo>
                    <a:lnTo>
                      <a:pt x="17" y="163"/>
                    </a:lnTo>
                    <a:lnTo>
                      <a:pt x="13" y="156"/>
                    </a:lnTo>
                    <a:lnTo>
                      <a:pt x="11" y="156"/>
                    </a:lnTo>
                    <a:lnTo>
                      <a:pt x="9" y="152"/>
                    </a:lnTo>
                    <a:lnTo>
                      <a:pt x="8" y="146"/>
                    </a:lnTo>
                    <a:lnTo>
                      <a:pt x="6" y="142"/>
                    </a:lnTo>
                    <a:lnTo>
                      <a:pt x="9" y="140"/>
                    </a:lnTo>
                    <a:lnTo>
                      <a:pt x="9" y="138"/>
                    </a:lnTo>
                    <a:lnTo>
                      <a:pt x="9" y="136"/>
                    </a:lnTo>
                    <a:lnTo>
                      <a:pt x="8" y="136"/>
                    </a:lnTo>
                    <a:lnTo>
                      <a:pt x="8" y="134"/>
                    </a:lnTo>
                    <a:lnTo>
                      <a:pt x="6" y="134"/>
                    </a:lnTo>
                    <a:lnTo>
                      <a:pt x="6" y="133"/>
                    </a:lnTo>
                    <a:lnTo>
                      <a:pt x="8" y="133"/>
                    </a:lnTo>
                    <a:lnTo>
                      <a:pt x="9" y="131"/>
                    </a:lnTo>
                    <a:lnTo>
                      <a:pt x="11" y="131"/>
                    </a:lnTo>
                    <a:lnTo>
                      <a:pt x="9" y="129"/>
                    </a:lnTo>
                    <a:lnTo>
                      <a:pt x="11" y="129"/>
                    </a:lnTo>
                    <a:lnTo>
                      <a:pt x="13" y="129"/>
                    </a:lnTo>
                    <a:lnTo>
                      <a:pt x="13" y="127"/>
                    </a:lnTo>
                    <a:lnTo>
                      <a:pt x="11" y="127"/>
                    </a:lnTo>
                    <a:lnTo>
                      <a:pt x="13" y="125"/>
                    </a:lnTo>
                    <a:lnTo>
                      <a:pt x="11" y="125"/>
                    </a:lnTo>
                    <a:lnTo>
                      <a:pt x="11" y="123"/>
                    </a:lnTo>
                    <a:lnTo>
                      <a:pt x="11" y="119"/>
                    </a:lnTo>
                    <a:lnTo>
                      <a:pt x="9" y="119"/>
                    </a:lnTo>
                    <a:lnTo>
                      <a:pt x="8" y="119"/>
                    </a:lnTo>
                    <a:lnTo>
                      <a:pt x="8" y="117"/>
                    </a:lnTo>
                    <a:lnTo>
                      <a:pt x="8" y="115"/>
                    </a:lnTo>
                    <a:lnTo>
                      <a:pt x="6" y="115"/>
                    </a:lnTo>
                    <a:lnTo>
                      <a:pt x="8" y="113"/>
                    </a:lnTo>
                    <a:lnTo>
                      <a:pt x="9" y="111"/>
                    </a:lnTo>
                    <a:lnTo>
                      <a:pt x="9" y="109"/>
                    </a:lnTo>
                    <a:lnTo>
                      <a:pt x="9" y="106"/>
                    </a:lnTo>
                    <a:lnTo>
                      <a:pt x="9" y="104"/>
                    </a:lnTo>
                    <a:lnTo>
                      <a:pt x="9" y="102"/>
                    </a:lnTo>
                    <a:lnTo>
                      <a:pt x="8" y="100"/>
                    </a:lnTo>
                    <a:lnTo>
                      <a:pt x="8" y="98"/>
                    </a:lnTo>
                    <a:lnTo>
                      <a:pt x="9" y="98"/>
                    </a:lnTo>
                    <a:lnTo>
                      <a:pt x="9" y="96"/>
                    </a:lnTo>
                    <a:lnTo>
                      <a:pt x="11" y="96"/>
                    </a:lnTo>
                    <a:lnTo>
                      <a:pt x="11" y="94"/>
                    </a:lnTo>
                    <a:lnTo>
                      <a:pt x="11" y="92"/>
                    </a:lnTo>
                    <a:lnTo>
                      <a:pt x="9" y="90"/>
                    </a:lnTo>
                    <a:lnTo>
                      <a:pt x="8" y="90"/>
                    </a:lnTo>
                    <a:lnTo>
                      <a:pt x="6" y="88"/>
                    </a:lnTo>
                    <a:lnTo>
                      <a:pt x="4" y="90"/>
                    </a:lnTo>
                    <a:lnTo>
                      <a:pt x="4" y="88"/>
                    </a:lnTo>
                    <a:lnTo>
                      <a:pt x="2" y="88"/>
                    </a:lnTo>
                    <a:lnTo>
                      <a:pt x="2" y="86"/>
                    </a:lnTo>
                    <a:lnTo>
                      <a:pt x="4" y="86"/>
                    </a:lnTo>
                    <a:lnTo>
                      <a:pt x="4" y="85"/>
                    </a:lnTo>
                    <a:lnTo>
                      <a:pt x="6" y="85"/>
                    </a:lnTo>
                    <a:lnTo>
                      <a:pt x="8" y="85"/>
                    </a:lnTo>
                    <a:lnTo>
                      <a:pt x="8" y="83"/>
                    </a:lnTo>
                    <a:lnTo>
                      <a:pt x="6" y="81"/>
                    </a:lnTo>
                    <a:lnTo>
                      <a:pt x="8" y="81"/>
                    </a:lnTo>
                    <a:lnTo>
                      <a:pt x="8" y="79"/>
                    </a:lnTo>
                    <a:lnTo>
                      <a:pt x="8" y="77"/>
                    </a:lnTo>
                    <a:lnTo>
                      <a:pt x="8" y="75"/>
                    </a:lnTo>
                    <a:lnTo>
                      <a:pt x="8" y="73"/>
                    </a:lnTo>
                    <a:lnTo>
                      <a:pt x="8" y="71"/>
                    </a:lnTo>
                    <a:lnTo>
                      <a:pt x="6" y="71"/>
                    </a:lnTo>
                    <a:lnTo>
                      <a:pt x="8" y="71"/>
                    </a:lnTo>
                    <a:lnTo>
                      <a:pt x="6" y="69"/>
                    </a:lnTo>
                    <a:lnTo>
                      <a:pt x="6" y="67"/>
                    </a:lnTo>
                    <a:lnTo>
                      <a:pt x="4" y="67"/>
                    </a:lnTo>
                    <a:lnTo>
                      <a:pt x="2" y="67"/>
                    </a:lnTo>
                    <a:lnTo>
                      <a:pt x="2" y="65"/>
                    </a:lnTo>
                    <a:lnTo>
                      <a:pt x="2" y="63"/>
                    </a:lnTo>
                    <a:lnTo>
                      <a:pt x="4" y="61"/>
                    </a:lnTo>
                    <a:lnTo>
                      <a:pt x="4" y="63"/>
                    </a:lnTo>
                    <a:lnTo>
                      <a:pt x="4" y="61"/>
                    </a:lnTo>
                    <a:lnTo>
                      <a:pt x="4" y="60"/>
                    </a:lnTo>
                    <a:lnTo>
                      <a:pt x="4" y="58"/>
                    </a:lnTo>
                    <a:lnTo>
                      <a:pt x="4" y="56"/>
                    </a:lnTo>
                    <a:lnTo>
                      <a:pt x="2" y="56"/>
                    </a:lnTo>
                    <a:lnTo>
                      <a:pt x="2" y="54"/>
                    </a:lnTo>
                    <a:lnTo>
                      <a:pt x="0" y="54"/>
                    </a:lnTo>
                    <a:lnTo>
                      <a:pt x="2" y="52"/>
                    </a:lnTo>
                    <a:lnTo>
                      <a:pt x="4" y="52"/>
                    </a:lnTo>
                    <a:lnTo>
                      <a:pt x="4" y="50"/>
                    </a:lnTo>
                    <a:lnTo>
                      <a:pt x="2" y="50"/>
                    </a:lnTo>
                    <a:lnTo>
                      <a:pt x="2" y="48"/>
                    </a:lnTo>
                    <a:lnTo>
                      <a:pt x="4" y="50"/>
                    </a:lnTo>
                    <a:lnTo>
                      <a:pt x="4" y="48"/>
                    </a:lnTo>
                    <a:lnTo>
                      <a:pt x="4" y="46"/>
                    </a:lnTo>
                    <a:lnTo>
                      <a:pt x="4" y="44"/>
                    </a:lnTo>
                    <a:lnTo>
                      <a:pt x="4" y="46"/>
                    </a:lnTo>
                    <a:lnTo>
                      <a:pt x="4" y="44"/>
                    </a:lnTo>
                    <a:lnTo>
                      <a:pt x="2" y="44"/>
                    </a:lnTo>
                    <a:lnTo>
                      <a:pt x="2" y="42"/>
                    </a:lnTo>
                    <a:lnTo>
                      <a:pt x="4" y="42"/>
                    </a:lnTo>
                    <a:lnTo>
                      <a:pt x="4" y="40"/>
                    </a:lnTo>
                    <a:lnTo>
                      <a:pt x="6" y="40"/>
                    </a:lnTo>
                    <a:lnTo>
                      <a:pt x="8" y="40"/>
                    </a:lnTo>
                    <a:lnTo>
                      <a:pt x="9" y="40"/>
                    </a:lnTo>
                    <a:lnTo>
                      <a:pt x="9" y="38"/>
                    </a:lnTo>
                    <a:lnTo>
                      <a:pt x="11" y="38"/>
                    </a:lnTo>
                    <a:lnTo>
                      <a:pt x="13" y="38"/>
                    </a:lnTo>
                    <a:lnTo>
                      <a:pt x="15" y="36"/>
                    </a:lnTo>
                    <a:lnTo>
                      <a:pt x="17" y="36"/>
                    </a:lnTo>
                    <a:lnTo>
                      <a:pt x="17" y="38"/>
                    </a:lnTo>
                    <a:lnTo>
                      <a:pt x="19" y="38"/>
                    </a:lnTo>
                    <a:lnTo>
                      <a:pt x="19" y="40"/>
                    </a:lnTo>
                    <a:lnTo>
                      <a:pt x="21" y="38"/>
                    </a:lnTo>
                    <a:lnTo>
                      <a:pt x="23" y="38"/>
                    </a:lnTo>
                    <a:lnTo>
                      <a:pt x="23" y="36"/>
                    </a:lnTo>
                    <a:lnTo>
                      <a:pt x="23" y="35"/>
                    </a:lnTo>
                    <a:lnTo>
                      <a:pt x="25" y="35"/>
                    </a:lnTo>
                    <a:lnTo>
                      <a:pt x="27" y="35"/>
                    </a:lnTo>
                    <a:lnTo>
                      <a:pt x="27" y="33"/>
                    </a:lnTo>
                    <a:lnTo>
                      <a:pt x="29" y="33"/>
                    </a:lnTo>
                    <a:lnTo>
                      <a:pt x="31" y="33"/>
                    </a:lnTo>
                    <a:lnTo>
                      <a:pt x="33" y="35"/>
                    </a:lnTo>
                    <a:lnTo>
                      <a:pt x="31" y="35"/>
                    </a:lnTo>
                    <a:lnTo>
                      <a:pt x="33" y="35"/>
                    </a:lnTo>
                    <a:lnTo>
                      <a:pt x="34" y="36"/>
                    </a:lnTo>
                    <a:lnTo>
                      <a:pt x="34" y="35"/>
                    </a:lnTo>
                    <a:lnTo>
                      <a:pt x="38" y="35"/>
                    </a:lnTo>
                    <a:lnTo>
                      <a:pt x="42" y="35"/>
                    </a:lnTo>
                    <a:lnTo>
                      <a:pt x="40" y="33"/>
                    </a:lnTo>
                    <a:lnTo>
                      <a:pt x="38" y="31"/>
                    </a:lnTo>
                    <a:lnTo>
                      <a:pt x="42" y="29"/>
                    </a:lnTo>
                    <a:lnTo>
                      <a:pt x="44" y="29"/>
                    </a:lnTo>
                    <a:lnTo>
                      <a:pt x="44" y="27"/>
                    </a:lnTo>
                    <a:lnTo>
                      <a:pt x="46" y="27"/>
                    </a:lnTo>
                    <a:lnTo>
                      <a:pt x="48" y="27"/>
                    </a:lnTo>
                    <a:lnTo>
                      <a:pt x="46" y="25"/>
                    </a:lnTo>
                    <a:lnTo>
                      <a:pt x="48" y="23"/>
                    </a:lnTo>
                    <a:lnTo>
                      <a:pt x="50" y="21"/>
                    </a:lnTo>
                    <a:lnTo>
                      <a:pt x="54" y="21"/>
                    </a:lnTo>
                    <a:lnTo>
                      <a:pt x="54" y="19"/>
                    </a:lnTo>
                    <a:lnTo>
                      <a:pt x="56" y="19"/>
                    </a:lnTo>
                    <a:lnTo>
                      <a:pt x="57" y="17"/>
                    </a:lnTo>
                    <a:lnTo>
                      <a:pt x="57" y="15"/>
                    </a:lnTo>
                    <a:lnTo>
                      <a:pt x="59" y="15"/>
                    </a:lnTo>
                    <a:lnTo>
                      <a:pt x="59" y="13"/>
                    </a:lnTo>
                    <a:lnTo>
                      <a:pt x="61" y="11"/>
                    </a:lnTo>
                    <a:lnTo>
                      <a:pt x="61" y="10"/>
                    </a:lnTo>
                    <a:lnTo>
                      <a:pt x="63" y="10"/>
                    </a:lnTo>
                    <a:lnTo>
                      <a:pt x="65" y="10"/>
                    </a:lnTo>
                    <a:lnTo>
                      <a:pt x="65" y="11"/>
                    </a:lnTo>
                    <a:lnTo>
                      <a:pt x="67" y="11"/>
                    </a:lnTo>
                    <a:lnTo>
                      <a:pt x="67" y="13"/>
                    </a:lnTo>
                    <a:lnTo>
                      <a:pt x="67" y="15"/>
                    </a:lnTo>
                    <a:lnTo>
                      <a:pt x="69" y="13"/>
                    </a:lnTo>
                    <a:lnTo>
                      <a:pt x="69" y="15"/>
                    </a:lnTo>
                    <a:lnTo>
                      <a:pt x="71" y="13"/>
                    </a:lnTo>
                    <a:lnTo>
                      <a:pt x="73" y="13"/>
                    </a:lnTo>
                    <a:lnTo>
                      <a:pt x="73" y="11"/>
                    </a:lnTo>
                    <a:lnTo>
                      <a:pt x="75" y="11"/>
                    </a:lnTo>
                    <a:lnTo>
                      <a:pt x="75" y="13"/>
                    </a:lnTo>
                    <a:lnTo>
                      <a:pt x="75" y="11"/>
                    </a:lnTo>
                    <a:lnTo>
                      <a:pt x="75" y="10"/>
                    </a:lnTo>
                    <a:lnTo>
                      <a:pt x="77" y="10"/>
                    </a:lnTo>
                    <a:lnTo>
                      <a:pt x="79" y="11"/>
                    </a:lnTo>
                    <a:lnTo>
                      <a:pt x="81" y="11"/>
                    </a:lnTo>
                    <a:lnTo>
                      <a:pt x="82" y="13"/>
                    </a:lnTo>
                    <a:lnTo>
                      <a:pt x="82" y="15"/>
                    </a:lnTo>
                    <a:lnTo>
                      <a:pt x="82" y="17"/>
                    </a:lnTo>
                    <a:lnTo>
                      <a:pt x="84" y="17"/>
                    </a:lnTo>
                    <a:lnTo>
                      <a:pt x="84" y="15"/>
                    </a:lnTo>
                    <a:lnTo>
                      <a:pt x="86" y="15"/>
                    </a:lnTo>
                    <a:lnTo>
                      <a:pt x="86" y="13"/>
                    </a:lnTo>
                    <a:lnTo>
                      <a:pt x="86" y="15"/>
                    </a:lnTo>
                    <a:lnTo>
                      <a:pt x="86" y="17"/>
                    </a:lnTo>
                    <a:lnTo>
                      <a:pt x="88" y="17"/>
                    </a:lnTo>
                    <a:lnTo>
                      <a:pt x="90" y="17"/>
                    </a:lnTo>
                    <a:lnTo>
                      <a:pt x="92" y="17"/>
                    </a:lnTo>
                    <a:lnTo>
                      <a:pt x="92" y="15"/>
                    </a:lnTo>
                    <a:lnTo>
                      <a:pt x="94" y="15"/>
                    </a:lnTo>
                    <a:lnTo>
                      <a:pt x="92" y="15"/>
                    </a:lnTo>
                    <a:lnTo>
                      <a:pt x="92" y="13"/>
                    </a:lnTo>
                    <a:lnTo>
                      <a:pt x="94" y="13"/>
                    </a:lnTo>
                    <a:lnTo>
                      <a:pt x="92" y="13"/>
                    </a:lnTo>
                    <a:lnTo>
                      <a:pt x="94" y="13"/>
                    </a:lnTo>
                    <a:lnTo>
                      <a:pt x="92" y="11"/>
                    </a:lnTo>
                    <a:lnTo>
                      <a:pt x="92" y="13"/>
                    </a:lnTo>
                    <a:lnTo>
                      <a:pt x="92" y="11"/>
                    </a:lnTo>
                    <a:lnTo>
                      <a:pt x="92" y="10"/>
                    </a:lnTo>
                    <a:lnTo>
                      <a:pt x="94" y="10"/>
                    </a:lnTo>
                    <a:lnTo>
                      <a:pt x="94" y="11"/>
                    </a:lnTo>
                    <a:lnTo>
                      <a:pt x="96" y="11"/>
                    </a:lnTo>
                    <a:lnTo>
                      <a:pt x="98" y="11"/>
                    </a:lnTo>
                    <a:lnTo>
                      <a:pt x="100" y="11"/>
                    </a:lnTo>
                    <a:lnTo>
                      <a:pt x="98" y="13"/>
                    </a:lnTo>
                    <a:lnTo>
                      <a:pt x="100" y="15"/>
                    </a:lnTo>
                    <a:lnTo>
                      <a:pt x="100" y="13"/>
                    </a:lnTo>
                    <a:lnTo>
                      <a:pt x="102" y="13"/>
                    </a:lnTo>
                    <a:lnTo>
                      <a:pt x="104" y="11"/>
                    </a:lnTo>
                    <a:lnTo>
                      <a:pt x="106" y="11"/>
                    </a:lnTo>
                    <a:lnTo>
                      <a:pt x="107" y="10"/>
                    </a:lnTo>
                    <a:lnTo>
                      <a:pt x="107" y="11"/>
                    </a:lnTo>
                    <a:lnTo>
                      <a:pt x="107" y="13"/>
                    </a:lnTo>
                    <a:lnTo>
                      <a:pt x="107" y="15"/>
                    </a:lnTo>
                    <a:lnTo>
                      <a:pt x="107" y="17"/>
                    </a:lnTo>
                    <a:lnTo>
                      <a:pt x="107" y="19"/>
                    </a:lnTo>
                    <a:lnTo>
                      <a:pt x="109" y="17"/>
                    </a:lnTo>
                    <a:lnTo>
                      <a:pt x="111" y="17"/>
                    </a:lnTo>
                    <a:lnTo>
                      <a:pt x="115" y="15"/>
                    </a:lnTo>
                    <a:lnTo>
                      <a:pt x="115" y="13"/>
                    </a:lnTo>
                    <a:lnTo>
                      <a:pt x="121" y="11"/>
                    </a:lnTo>
                    <a:lnTo>
                      <a:pt x="123" y="10"/>
                    </a:lnTo>
                    <a:lnTo>
                      <a:pt x="125" y="8"/>
                    </a:lnTo>
                    <a:lnTo>
                      <a:pt x="127" y="6"/>
                    </a:lnTo>
                    <a:lnTo>
                      <a:pt x="130" y="4"/>
                    </a:lnTo>
                    <a:lnTo>
                      <a:pt x="130" y="2"/>
                    </a:lnTo>
                    <a:lnTo>
                      <a:pt x="132" y="2"/>
                    </a:lnTo>
                    <a:lnTo>
                      <a:pt x="134" y="2"/>
                    </a:lnTo>
                    <a:lnTo>
                      <a:pt x="134" y="0"/>
                    </a:lnTo>
                    <a:lnTo>
                      <a:pt x="134" y="2"/>
                    </a:lnTo>
                    <a:lnTo>
                      <a:pt x="136" y="2"/>
                    </a:lnTo>
                    <a:lnTo>
                      <a:pt x="136" y="4"/>
                    </a:lnTo>
                    <a:lnTo>
                      <a:pt x="138" y="6"/>
                    </a:lnTo>
                    <a:lnTo>
                      <a:pt x="138" y="4"/>
                    </a:lnTo>
                    <a:lnTo>
                      <a:pt x="140"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3" name="Freeform 38"/>
              <p:cNvSpPr>
                <a:spLocks noEditPoints="1"/>
              </p:cNvSpPr>
              <p:nvPr/>
            </p:nvSpPr>
            <p:spPr bwMode="auto">
              <a:xfrm>
                <a:off x="6300213" y="2937752"/>
                <a:ext cx="356170" cy="314875"/>
              </a:xfrm>
              <a:custGeom>
                <a:avLst/>
                <a:gdLst>
                  <a:gd name="T0" fmla="*/ 198 w 207"/>
                  <a:gd name="T1" fmla="*/ 156 h 183"/>
                  <a:gd name="T2" fmla="*/ 202 w 207"/>
                  <a:gd name="T3" fmla="*/ 158 h 183"/>
                  <a:gd name="T4" fmla="*/ 204 w 207"/>
                  <a:gd name="T5" fmla="*/ 162 h 183"/>
                  <a:gd name="T6" fmla="*/ 206 w 207"/>
                  <a:gd name="T7" fmla="*/ 166 h 183"/>
                  <a:gd name="T8" fmla="*/ 207 w 207"/>
                  <a:gd name="T9" fmla="*/ 170 h 183"/>
                  <a:gd name="T10" fmla="*/ 207 w 207"/>
                  <a:gd name="T11" fmla="*/ 175 h 183"/>
                  <a:gd name="T12" fmla="*/ 204 w 207"/>
                  <a:gd name="T13" fmla="*/ 177 h 183"/>
                  <a:gd name="T14" fmla="*/ 204 w 207"/>
                  <a:gd name="T15" fmla="*/ 183 h 183"/>
                  <a:gd name="T16" fmla="*/ 202 w 207"/>
                  <a:gd name="T17" fmla="*/ 179 h 183"/>
                  <a:gd name="T18" fmla="*/ 202 w 207"/>
                  <a:gd name="T19" fmla="*/ 177 h 183"/>
                  <a:gd name="T20" fmla="*/ 204 w 207"/>
                  <a:gd name="T21" fmla="*/ 173 h 183"/>
                  <a:gd name="T22" fmla="*/ 202 w 207"/>
                  <a:gd name="T23" fmla="*/ 170 h 183"/>
                  <a:gd name="T24" fmla="*/ 200 w 207"/>
                  <a:gd name="T25" fmla="*/ 166 h 183"/>
                  <a:gd name="T26" fmla="*/ 198 w 207"/>
                  <a:gd name="T27" fmla="*/ 166 h 183"/>
                  <a:gd name="T28" fmla="*/ 196 w 207"/>
                  <a:gd name="T29" fmla="*/ 162 h 183"/>
                  <a:gd name="T30" fmla="*/ 196 w 207"/>
                  <a:gd name="T31" fmla="*/ 156 h 183"/>
                  <a:gd name="T32" fmla="*/ 198 w 207"/>
                  <a:gd name="T33" fmla="*/ 152 h 183"/>
                  <a:gd name="T34" fmla="*/ 12 w 207"/>
                  <a:gd name="T35" fmla="*/ 14 h 183"/>
                  <a:gd name="T36" fmla="*/ 12 w 207"/>
                  <a:gd name="T37" fmla="*/ 20 h 183"/>
                  <a:gd name="T38" fmla="*/ 13 w 207"/>
                  <a:gd name="T39" fmla="*/ 25 h 183"/>
                  <a:gd name="T40" fmla="*/ 12 w 207"/>
                  <a:gd name="T41" fmla="*/ 29 h 183"/>
                  <a:gd name="T42" fmla="*/ 8 w 207"/>
                  <a:gd name="T43" fmla="*/ 27 h 183"/>
                  <a:gd name="T44" fmla="*/ 6 w 207"/>
                  <a:gd name="T45" fmla="*/ 31 h 183"/>
                  <a:gd name="T46" fmla="*/ 4 w 207"/>
                  <a:gd name="T47" fmla="*/ 33 h 183"/>
                  <a:gd name="T48" fmla="*/ 2 w 207"/>
                  <a:gd name="T49" fmla="*/ 35 h 183"/>
                  <a:gd name="T50" fmla="*/ 0 w 207"/>
                  <a:gd name="T51" fmla="*/ 31 h 183"/>
                  <a:gd name="T52" fmla="*/ 2 w 207"/>
                  <a:gd name="T53" fmla="*/ 25 h 183"/>
                  <a:gd name="T54" fmla="*/ 6 w 207"/>
                  <a:gd name="T55" fmla="*/ 22 h 183"/>
                  <a:gd name="T56" fmla="*/ 6 w 207"/>
                  <a:gd name="T57" fmla="*/ 20 h 183"/>
                  <a:gd name="T58" fmla="*/ 8 w 207"/>
                  <a:gd name="T59" fmla="*/ 16 h 183"/>
                  <a:gd name="T60" fmla="*/ 12 w 207"/>
                  <a:gd name="T61" fmla="*/ 14 h 183"/>
                  <a:gd name="T62" fmla="*/ 27 w 207"/>
                  <a:gd name="T63" fmla="*/ 2 h 183"/>
                  <a:gd name="T64" fmla="*/ 29 w 207"/>
                  <a:gd name="T65" fmla="*/ 2 h 183"/>
                  <a:gd name="T66" fmla="*/ 31 w 207"/>
                  <a:gd name="T67" fmla="*/ 4 h 183"/>
                  <a:gd name="T68" fmla="*/ 33 w 207"/>
                  <a:gd name="T69" fmla="*/ 0 h 183"/>
                  <a:gd name="T70" fmla="*/ 35 w 207"/>
                  <a:gd name="T71" fmla="*/ 4 h 183"/>
                  <a:gd name="T72" fmla="*/ 40 w 207"/>
                  <a:gd name="T73" fmla="*/ 4 h 183"/>
                  <a:gd name="T74" fmla="*/ 37 w 207"/>
                  <a:gd name="T75" fmla="*/ 6 h 183"/>
                  <a:gd name="T76" fmla="*/ 37 w 207"/>
                  <a:gd name="T77" fmla="*/ 12 h 183"/>
                  <a:gd name="T78" fmla="*/ 38 w 207"/>
                  <a:gd name="T79" fmla="*/ 8 h 183"/>
                  <a:gd name="T80" fmla="*/ 42 w 207"/>
                  <a:gd name="T81" fmla="*/ 4 h 183"/>
                  <a:gd name="T82" fmla="*/ 46 w 207"/>
                  <a:gd name="T83" fmla="*/ 6 h 183"/>
                  <a:gd name="T84" fmla="*/ 42 w 207"/>
                  <a:gd name="T85" fmla="*/ 8 h 183"/>
                  <a:gd name="T86" fmla="*/ 42 w 207"/>
                  <a:gd name="T87" fmla="*/ 14 h 183"/>
                  <a:gd name="T88" fmla="*/ 44 w 207"/>
                  <a:gd name="T89" fmla="*/ 18 h 183"/>
                  <a:gd name="T90" fmla="*/ 46 w 207"/>
                  <a:gd name="T91" fmla="*/ 24 h 183"/>
                  <a:gd name="T92" fmla="*/ 44 w 207"/>
                  <a:gd name="T93" fmla="*/ 25 h 183"/>
                  <a:gd name="T94" fmla="*/ 44 w 207"/>
                  <a:gd name="T95" fmla="*/ 29 h 183"/>
                  <a:gd name="T96" fmla="*/ 42 w 207"/>
                  <a:gd name="T97" fmla="*/ 33 h 183"/>
                  <a:gd name="T98" fmla="*/ 40 w 207"/>
                  <a:gd name="T99" fmla="*/ 37 h 183"/>
                  <a:gd name="T100" fmla="*/ 38 w 207"/>
                  <a:gd name="T101" fmla="*/ 35 h 183"/>
                  <a:gd name="T102" fmla="*/ 37 w 207"/>
                  <a:gd name="T103" fmla="*/ 31 h 183"/>
                  <a:gd name="T104" fmla="*/ 33 w 207"/>
                  <a:gd name="T105" fmla="*/ 29 h 183"/>
                  <a:gd name="T106" fmla="*/ 27 w 207"/>
                  <a:gd name="T107" fmla="*/ 24 h 183"/>
                  <a:gd name="T108" fmla="*/ 25 w 207"/>
                  <a:gd name="T109" fmla="*/ 29 h 183"/>
                  <a:gd name="T110" fmla="*/ 25 w 207"/>
                  <a:gd name="T111" fmla="*/ 31 h 183"/>
                  <a:gd name="T112" fmla="*/ 23 w 207"/>
                  <a:gd name="T113" fmla="*/ 33 h 183"/>
                  <a:gd name="T114" fmla="*/ 21 w 207"/>
                  <a:gd name="T115" fmla="*/ 27 h 183"/>
                  <a:gd name="T116" fmla="*/ 21 w 207"/>
                  <a:gd name="T117" fmla="*/ 22 h 183"/>
                  <a:gd name="T118" fmla="*/ 23 w 207"/>
                  <a:gd name="T119" fmla="*/ 18 h 183"/>
                  <a:gd name="T120" fmla="*/ 23 w 207"/>
                  <a:gd name="T121" fmla="*/ 12 h 183"/>
                  <a:gd name="T122" fmla="*/ 21 w 207"/>
                  <a:gd name="T123" fmla="*/ 10 h 183"/>
                  <a:gd name="T124" fmla="*/ 21 w 207"/>
                  <a:gd name="T125" fmla="*/ 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7" h="183">
                    <a:moveTo>
                      <a:pt x="198" y="152"/>
                    </a:moveTo>
                    <a:lnTo>
                      <a:pt x="198" y="154"/>
                    </a:lnTo>
                    <a:lnTo>
                      <a:pt x="198" y="156"/>
                    </a:lnTo>
                    <a:lnTo>
                      <a:pt x="198" y="158"/>
                    </a:lnTo>
                    <a:lnTo>
                      <a:pt x="200" y="158"/>
                    </a:lnTo>
                    <a:lnTo>
                      <a:pt x="202" y="158"/>
                    </a:lnTo>
                    <a:lnTo>
                      <a:pt x="202" y="160"/>
                    </a:lnTo>
                    <a:lnTo>
                      <a:pt x="204" y="160"/>
                    </a:lnTo>
                    <a:lnTo>
                      <a:pt x="204" y="162"/>
                    </a:lnTo>
                    <a:lnTo>
                      <a:pt x="206" y="162"/>
                    </a:lnTo>
                    <a:lnTo>
                      <a:pt x="206" y="164"/>
                    </a:lnTo>
                    <a:lnTo>
                      <a:pt x="206" y="166"/>
                    </a:lnTo>
                    <a:lnTo>
                      <a:pt x="207" y="166"/>
                    </a:lnTo>
                    <a:lnTo>
                      <a:pt x="207" y="168"/>
                    </a:lnTo>
                    <a:lnTo>
                      <a:pt x="207" y="170"/>
                    </a:lnTo>
                    <a:lnTo>
                      <a:pt x="207" y="172"/>
                    </a:lnTo>
                    <a:lnTo>
                      <a:pt x="207" y="173"/>
                    </a:lnTo>
                    <a:lnTo>
                      <a:pt x="207" y="175"/>
                    </a:lnTo>
                    <a:lnTo>
                      <a:pt x="206" y="175"/>
                    </a:lnTo>
                    <a:lnTo>
                      <a:pt x="206" y="177"/>
                    </a:lnTo>
                    <a:lnTo>
                      <a:pt x="204" y="177"/>
                    </a:lnTo>
                    <a:lnTo>
                      <a:pt x="204" y="179"/>
                    </a:lnTo>
                    <a:lnTo>
                      <a:pt x="202" y="181"/>
                    </a:lnTo>
                    <a:lnTo>
                      <a:pt x="204" y="183"/>
                    </a:lnTo>
                    <a:lnTo>
                      <a:pt x="202" y="183"/>
                    </a:lnTo>
                    <a:lnTo>
                      <a:pt x="202" y="181"/>
                    </a:lnTo>
                    <a:lnTo>
                      <a:pt x="202" y="179"/>
                    </a:lnTo>
                    <a:lnTo>
                      <a:pt x="202" y="181"/>
                    </a:lnTo>
                    <a:lnTo>
                      <a:pt x="202" y="179"/>
                    </a:lnTo>
                    <a:lnTo>
                      <a:pt x="202" y="177"/>
                    </a:lnTo>
                    <a:lnTo>
                      <a:pt x="202" y="175"/>
                    </a:lnTo>
                    <a:lnTo>
                      <a:pt x="204" y="175"/>
                    </a:lnTo>
                    <a:lnTo>
                      <a:pt x="204" y="173"/>
                    </a:lnTo>
                    <a:lnTo>
                      <a:pt x="204" y="172"/>
                    </a:lnTo>
                    <a:lnTo>
                      <a:pt x="204" y="170"/>
                    </a:lnTo>
                    <a:lnTo>
                      <a:pt x="202" y="170"/>
                    </a:lnTo>
                    <a:lnTo>
                      <a:pt x="202" y="168"/>
                    </a:lnTo>
                    <a:lnTo>
                      <a:pt x="200" y="168"/>
                    </a:lnTo>
                    <a:lnTo>
                      <a:pt x="200" y="166"/>
                    </a:lnTo>
                    <a:lnTo>
                      <a:pt x="198" y="166"/>
                    </a:lnTo>
                    <a:lnTo>
                      <a:pt x="200" y="166"/>
                    </a:lnTo>
                    <a:lnTo>
                      <a:pt x="198" y="166"/>
                    </a:lnTo>
                    <a:lnTo>
                      <a:pt x="198" y="164"/>
                    </a:lnTo>
                    <a:lnTo>
                      <a:pt x="196" y="164"/>
                    </a:lnTo>
                    <a:lnTo>
                      <a:pt x="196" y="162"/>
                    </a:lnTo>
                    <a:lnTo>
                      <a:pt x="196" y="160"/>
                    </a:lnTo>
                    <a:lnTo>
                      <a:pt x="196" y="158"/>
                    </a:lnTo>
                    <a:lnTo>
                      <a:pt x="196" y="156"/>
                    </a:lnTo>
                    <a:lnTo>
                      <a:pt x="196" y="154"/>
                    </a:lnTo>
                    <a:lnTo>
                      <a:pt x="198" y="154"/>
                    </a:lnTo>
                    <a:lnTo>
                      <a:pt x="198" y="152"/>
                    </a:lnTo>
                    <a:lnTo>
                      <a:pt x="198" y="150"/>
                    </a:lnTo>
                    <a:lnTo>
                      <a:pt x="198" y="152"/>
                    </a:lnTo>
                    <a:close/>
                    <a:moveTo>
                      <a:pt x="12" y="14"/>
                    </a:moveTo>
                    <a:lnTo>
                      <a:pt x="12" y="16"/>
                    </a:lnTo>
                    <a:lnTo>
                      <a:pt x="12" y="18"/>
                    </a:lnTo>
                    <a:lnTo>
                      <a:pt x="12" y="20"/>
                    </a:lnTo>
                    <a:lnTo>
                      <a:pt x="12" y="22"/>
                    </a:lnTo>
                    <a:lnTo>
                      <a:pt x="12" y="24"/>
                    </a:lnTo>
                    <a:lnTo>
                      <a:pt x="13" y="25"/>
                    </a:lnTo>
                    <a:lnTo>
                      <a:pt x="13" y="27"/>
                    </a:lnTo>
                    <a:lnTo>
                      <a:pt x="12" y="27"/>
                    </a:lnTo>
                    <a:lnTo>
                      <a:pt x="12" y="29"/>
                    </a:lnTo>
                    <a:lnTo>
                      <a:pt x="10" y="29"/>
                    </a:lnTo>
                    <a:lnTo>
                      <a:pt x="10" y="27"/>
                    </a:lnTo>
                    <a:lnTo>
                      <a:pt x="8" y="27"/>
                    </a:lnTo>
                    <a:lnTo>
                      <a:pt x="8" y="29"/>
                    </a:lnTo>
                    <a:lnTo>
                      <a:pt x="6" y="29"/>
                    </a:lnTo>
                    <a:lnTo>
                      <a:pt x="6" y="31"/>
                    </a:lnTo>
                    <a:lnTo>
                      <a:pt x="4" y="31"/>
                    </a:lnTo>
                    <a:lnTo>
                      <a:pt x="6" y="33"/>
                    </a:lnTo>
                    <a:lnTo>
                      <a:pt x="4" y="33"/>
                    </a:lnTo>
                    <a:lnTo>
                      <a:pt x="4" y="35"/>
                    </a:lnTo>
                    <a:lnTo>
                      <a:pt x="2" y="33"/>
                    </a:lnTo>
                    <a:lnTo>
                      <a:pt x="2" y="35"/>
                    </a:lnTo>
                    <a:lnTo>
                      <a:pt x="2" y="33"/>
                    </a:lnTo>
                    <a:lnTo>
                      <a:pt x="2" y="31"/>
                    </a:lnTo>
                    <a:lnTo>
                      <a:pt x="0" y="31"/>
                    </a:lnTo>
                    <a:lnTo>
                      <a:pt x="2" y="29"/>
                    </a:lnTo>
                    <a:lnTo>
                      <a:pt x="2" y="27"/>
                    </a:lnTo>
                    <a:lnTo>
                      <a:pt x="2" y="25"/>
                    </a:lnTo>
                    <a:lnTo>
                      <a:pt x="4" y="25"/>
                    </a:lnTo>
                    <a:lnTo>
                      <a:pt x="4" y="24"/>
                    </a:lnTo>
                    <a:lnTo>
                      <a:pt x="6" y="22"/>
                    </a:lnTo>
                    <a:lnTo>
                      <a:pt x="4" y="22"/>
                    </a:lnTo>
                    <a:lnTo>
                      <a:pt x="6" y="22"/>
                    </a:lnTo>
                    <a:lnTo>
                      <a:pt x="6" y="20"/>
                    </a:lnTo>
                    <a:lnTo>
                      <a:pt x="6" y="18"/>
                    </a:lnTo>
                    <a:lnTo>
                      <a:pt x="6" y="16"/>
                    </a:lnTo>
                    <a:lnTo>
                      <a:pt x="8" y="16"/>
                    </a:lnTo>
                    <a:lnTo>
                      <a:pt x="10" y="16"/>
                    </a:lnTo>
                    <a:lnTo>
                      <a:pt x="10" y="14"/>
                    </a:lnTo>
                    <a:lnTo>
                      <a:pt x="12" y="14"/>
                    </a:lnTo>
                    <a:close/>
                    <a:moveTo>
                      <a:pt x="23" y="2"/>
                    </a:moveTo>
                    <a:lnTo>
                      <a:pt x="25" y="2"/>
                    </a:lnTo>
                    <a:lnTo>
                      <a:pt x="27" y="2"/>
                    </a:lnTo>
                    <a:lnTo>
                      <a:pt x="27" y="4"/>
                    </a:lnTo>
                    <a:lnTo>
                      <a:pt x="29" y="4"/>
                    </a:lnTo>
                    <a:lnTo>
                      <a:pt x="29" y="2"/>
                    </a:lnTo>
                    <a:lnTo>
                      <a:pt x="31" y="4"/>
                    </a:lnTo>
                    <a:lnTo>
                      <a:pt x="31" y="2"/>
                    </a:lnTo>
                    <a:lnTo>
                      <a:pt x="31" y="4"/>
                    </a:lnTo>
                    <a:lnTo>
                      <a:pt x="31" y="2"/>
                    </a:lnTo>
                    <a:lnTo>
                      <a:pt x="33" y="2"/>
                    </a:lnTo>
                    <a:lnTo>
                      <a:pt x="33" y="0"/>
                    </a:lnTo>
                    <a:lnTo>
                      <a:pt x="33" y="2"/>
                    </a:lnTo>
                    <a:lnTo>
                      <a:pt x="35" y="2"/>
                    </a:lnTo>
                    <a:lnTo>
                      <a:pt x="35" y="4"/>
                    </a:lnTo>
                    <a:lnTo>
                      <a:pt x="37" y="4"/>
                    </a:lnTo>
                    <a:lnTo>
                      <a:pt x="38" y="4"/>
                    </a:lnTo>
                    <a:lnTo>
                      <a:pt x="40" y="4"/>
                    </a:lnTo>
                    <a:lnTo>
                      <a:pt x="38" y="4"/>
                    </a:lnTo>
                    <a:lnTo>
                      <a:pt x="37" y="4"/>
                    </a:lnTo>
                    <a:lnTo>
                      <a:pt x="37" y="6"/>
                    </a:lnTo>
                    <a:lnTo>
                      <a:pt x="37" y="8"/>
                    </a:lnTo>
                    <a:lnTo>
                      <a:pt x="37" y="10"/>
                    </a:lnTo>
                    <a:lnTo>
                      <a:pt x="37" y="12"/>
                    </a:lnTo>
                    <a:lnTo>
                      <a:pt x="37" y="10"/>
                    </a:lnTo>
                    <a:lnTo>
                      <a:pt x="37" y="8"/>
                    </a:lnTo>
                    <a:lnTo>
                      <a:pt x="38" y="8"/>
                    </a:lnTo>
                    <a:lnTo>
                      <a:pt x="38" y="6"/>
                    </a:lnTo>
                    <a:lnTo>
                      <a:pt x="40" y="4"/>
                    </a:lnTo>
                    <a:lnTo>
                      <a:pt x="42" y="4"/>
                    </a:lnTo>
                    <a:lnTo>
                      <a:pt x="44" y="4"/>
                    </a:lnTo>
                    <a:lnTo>
                      <a:pt x="46" y="4"/>
                    </a:lnTo>
                    <a:lnTo>
                      <a:pt x="46" y="6"/>
                    </a:lnTo>
                    <a:lnTo>
                      <a:pt x="44" y="6"/>
                    </a:lnTo>
                    <a:lnTo>
                      <a:pt x="44" y="8"/>
                    </a:lnTo>
                    <a:lnTo>
                      <a:pt x="42" y="8"/>
                    </a:lnTo>
                    <a:lnTo>
                      <a:pt x="42" y="10"/>
                    </a:lnTo>
                    <a:lnTo>
                      <a:pt x="42" y="12"/>
                    </a:lnTo>
                    <a:lnTo>
                      <a:pt x="42" y="14"/>
                    </a:lnTo>
                    <a:lnTo>
                      <a:pt x="42" y="16"/>
                    </a:lnTo>
                    <a:lnTo>
                      <a:pt x="42" y="18"/>
                    </a:lnTo>
                    <a:lnTo>
                      <a:pt x="44" y="18"/>
                    </a:lnTo>
                    <a:lnTo>
                      <a:pt x="44" y="20"/>
                    </a:lnTo>
                    <a:lnTo>
                      <a:pt x="46" y="22"/>
                    </a:lnTo>
                    <a:lnTo>
                      <a:pt x="46" y="24"/>
                    </a:lnTo>
                    <a:lnTo>
                      <a:pt x="44" y="24"/>
                    </a:lnTo>
                    <a:lnTo>
                      <a:pt x="46" y="25"/>
                    </a:lnTo>
                    <a:lnTo>
                      <a:pt x="44" y="25"/>
                    </a:lnTo>
                    <a:lnTo>
                      <a:pt x="42" y="25"/>
                    </a:lnTo>
                    <a:lnTo>
                      <a:pt x="42" y="27"/>
                    </a:lnTo>
                    <a:lnTo>
                      <a:pt x="44" y="29"/>
                    </a:lnTo>
                    <a:lnTo>
                      <a:pt x="42" y="29"/>
                    </a:lnTo>
                    <a:lnTo>
                      <a:pt x="42" y="31"/>
                    </a:lnTo>
                    <a:lnTo>
                      <a:pt x="42" y="33"/>
                    </a:lnTo>
                    <a:lnTo>
                      <a:pt x="42" y="35"/>
                    </a:lnTo>
                    <a:lnTo>
                      <a:pt x="42" y="37"/>
                    </a:lnTo>
                    <a:lnTo>
                      <a:pt x="40" y="37"/>
                    </a:lnTo>
                    <a:lnTo>
                      <a:pt x="40" y="35"/>
                    </a:lnTo>
                    <a:lnTo>
                      <a:pt x="40" y="37"/>
                    </a:lnTo>
                    <a:lnTo>
                      <a:pt x="38" y="35"/>
                    </a:lnTo>
                    <a:lnTo>
                      <a:pt x="38" y="33"/>
                    </a:lnTo>
                    <a:lnTo>
                      <a:pt x="37" y="33"/>
                    </a:lnTo>
                    <a:lnTo>
                      <a:pt x="37" y="31"/>
                    </a:lnTo>
                    <a:lnTo>
                      <a:pt x="35" y="31"/>
                    </a:lnTo>
                    <a:lnTo>
                      <a:pt x="35" y="29"/>
                    </a:lnTo>
                    <a:lnTo>
                      <a:pt x="33" y="29"/>
                    </a:lnTo>
                    <a:lnTo>
                      <a:pt x="31" y="27"/>
                    </a:lnTo>
                    <a:lnTo>
                      <a:pt x="29" y="25"/>
                    </a:lnTo>
                    <a:lnTo>
                      <a:pt x="27" y="24"/>
                    </a:lnTo>
                    <a:lnTo>
                      <a:pt x="27" y="25"/>
                    </a:lnTo>
                    <a:lnTo>
                      <a:pt x="25" y="27"/>
                    </a:lnTo>
                    <a:lnTo>
                      <a:pt x="25" y="29"/>
                    </a:lnTo>
                    <a:lnTo>
                      <a:pt x="27" y="29"/>
                    </a:lnTo>
                    <a:lnTo>
                      <a:pt x="25" y="29"/>
                    </a:lnTo>
                    <a:lnTo>
                      <a:pt x="25" y="31"/>
                    </a:lnTo>
                    <a:lnTo>
                      <a:pt x="25" y="33"/>
                    </a:lnTo>
                    <a:lnTo>
                      <a:pt x="23" y="35"/>
                    </a:lnTo>
                    <a:lnTo>
                      <a:pt x="23" y="33"/>
                    </a:lnTo>
                    <a:lnTo>
                      <a:pt x="23" y="31"/>
                    </a:lnTo>
                    <a:lnTo>
                      <a:pt x="21" y="29"/>
                    </a:lnTo>
                    <a:lnTo>
                      <a:pt x="21" y="27"/>
                    </a:lnTo>
                    <a:lnTo>
                      <a:pt x="21" y="25"/>
                    </a:lnTo>
                    <a:lnTo>
                      <a:pt x="21" y="24"/>
                    </a:lnTo>
                    <a:lnTo>
                      <a:pt x="21" y="22"/>
                    </a:lnTo>
                    <a:lnTo>
                      <a:pt x="21" y="20"/>
                    </a:lnTo>
                    <a:lnTo>
                      <a:pt x="21" y="18"/>
                    </a:lnTo>
                    <a:lnTo>
                      <a:pt x="23" y="18"/>
                    </a:lnTo>
                    <a:lnTo>
                      <a:pt x="23" y="16"/>
                    </a:lnTo>
                    <a:lnTo>
                      <a:pt x="23" y="14"/>
                    </a:lnTo>
                    <a:lnTo>
                      <a:pt x="23" y="12"/>
                    </a:lnTo>
                    <a:lnTo>
                      <a:pt x="21" y="12"/>
                    </a:lnTo>
                    <a:lnTo>
                      <a:pt x="23" y="10"/>
                    </a:lnTo>
                    <a:lnTo>
                      <a:pt x="21" y="10"/>
                    </a:lnTo>
                    <a:lnTo>
                      <a:pt x="21" y="8"/>
                    </a:lnTo>
                    <a:lnTo>
                      <a:pt x="21" y="6"/>
                    </a:lnTo>
                    <a:lnTo>
                      <a:pt x="21" y="4"/>
                    </a:lnTo>
                    <a:lnTo>
                      <a:pt x="23"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4" name="Freeform 39"/>
              <p:cNvSpPr>
                <a:spLocks noEditPoints="1"/>
              </p:cNvSpPr>
              <p:nvPr/>
            </p:nvSpPr>
            <p:spPr bwMode="auto">
              <a:xfrm>
                <a:off x="5887263" y="2039585"/>
                <a:ext cx="937742" cy="1923659"/>
              </a:xfrm>
              <a:custGeom>
                <a:avLst/>
                <a:gdLst>
                  <a:gd name="T0" fmla="*/ 142 w 545"/>
                  <a:gd name="T1" fmla="*/ 595 h 1118"/>
                  <a:gd name="T2" fmla="*/ 190 w 545"/>
                  <a:gd name="T3" fmla="*/ 607 h 1118"/>
                  <a:gd name="T4" fmla="*/ 253 w 545"/>
                  <a:gd name="T5" fmla="*/ 572 h 1118"/>
                  <a:gd name="T6" fmla="*/ 278 w 545"/>
                  <a:gd name="T7" fmla="*/ 620 h 1118"/>
                  <a:gd name="T8" fmla="*/ 286 w 545"/>
                  <a:gd name="T9" fmla="*/ 592 h 1118"/>
                  <a:gd name="T10" fmla="*/ 319 w 545"/>
                  <a:gd name="T11" fmla="*/ 619 h 1118"/>
                  <a:gd name="T12" fmla="*/ 336 w 545"/>
                  <a:gd name="T13" fmla="*/ 594 h 1118"/>
                  <a:gd name="T14" fmla="*/ 380 w 545"/>
                  <a:gd name="T15" fmla="*/ 561 h 1118"/>
                  <a:gd name="T16" fmla="*/ 440 w 545"/>
                  <a:gd name="T17" fmla="*/ 597 h 1118"/>
                  <a:gd name="T18" fmla="*/ 382 w 545"/>
                  <a:gd name="T19" fmla="*/ 599 h 1118"/>
                  <a:gd name="T20" fmla="*/ 392 w 545"/>
                  <a:gd name="T21" fmla="*/ 630 h 1118"/>
                  <a:gd name="T22" fmla="*/ 419 w 545"/>
                  <a:gd name="T23" fmla="*/ 647 h 1118"/>
                  <a:gd name="T24" fmla="*/ 428 w 545"/>
                  <a:gd name="T25" fmla="*/ 726 h 1118"/>
                  <a:gd name="T26" fmla="*/ 415 w 545"/>
                  <a:gd name="T27" fmla="*/ 753 h 1118"/>
                  <a:gd name="T28" fmla="*/ 451 w 545"/>
                  <a:gd name="T29" fmla="*/ 707 h 1118"/>
                  <a:gd name="T30" fmla="*/ 453 w 545"/>
                  <a:gd name="T31" fmla="*/ 686 h 1118"/>
                  <a:gd name="T32" fmla="*/ 409 w 545"/>
                  <a:gd name="T33" fmla="*/ 638 h 1118"/>
                  <a:gd name="T34" fmla="*/ 417 w 545"/>
                  <a:gd name="T35" fmla="*/ 609 h 1118"/>
                  <a:gd name="T36" fmla="*/ 472 w 545"/>
                  <a:gd name="T37" fmla="*/ 647 h 1118"/>
                  <a:gd name="T38" fmla="*/ 478 w 545"/>
                  <a:gd name="T39" fmla="*/ 713 h 1118"/>
                  <a:gd name="T40" fmla="*/ 505 w 545"/>
                  <a:gd name="T41" fmla="*/ 795 h 1118"/>
                  <a:gd name="T42" fmla="*/ 524 w 545"/>
                  <a:gd name="T43" fmla="*/ 853 h 1118"/>
                  <a:gd name="T44" fmla="*/ 538 w 545"/>
                  <a:gd name="T45" fmla="*/ 890 h 1118"/>
                  <a:gd name="T46" fmla="*/ 538 w 545"/>
                  <a:gd name="T47" fmla="*/ 980 h 1118"/>
                  <a:gd name="T48" fmla="*/ 499 w 545"/>
                  <a:gd name="T49" fmla="*/ 947 h 1118"/>
                  <a:gd name="T50" fmla="*/ 471 w 545"/>
                  <a:gd name="T51" fmla="*/ 992 h 1118"/>
                  <a:gd name="T52" fmla="*/ 472 w 545"/>
                  <a:gd name="T53" fmla="*/ 1040 h 1118"/>
                  <a:gd name="T54" fmla="*/ 421 w 545"/>
                  <a:gd name="T55" fmla="*/ 1080 h 1118"/>
                  <a:gd name="T56" fmla="*/ 378 w 545"/>
                  <a:gd name="T57" fmla="*/ 1109 h 1118"/>
                  <a:gd name="T58" fmla="*/ 361 w 545"/>
                  <a:gd name="T59" fmla="*/ 1009 h 1118"/>
                  <a:gd name="T60" fmla="*/ 326 w 545"/>
                  <a:gd name="T61" fmla="*/ 992 h 1118"/>
                  <a:gd name="T62" fmla="*/ 267 w 545"/>
                  <a:gd name="T63" fmla="*/ 965 h 1118"/>
                  <a:gd name="T64" fmla="*/ 213 w 545"/>
                  <a:gd name="T65" fmla="*/ 963 h 1118"/>
                  <a:gd name="T66" fmla="*/ 171 w 545"/>
                  <a:gd name="T67" fmla="*/ 903 h 1118"/>
                  <a:gd name="T68" fmla="*/ 159 w 545"/>
                  <a:gd name="T69" fmla="*/ 832 h 1118"/>
                  <a:gd name="T70" fmla="*/ 207 w 545"/>
                  <a:gd name="T71" fmla="*/ 774 h 1118"/>
                  <a:gd name="T72" fmla="*/ 242 w 545"/>
                  <a:gd name="T73" fmla="*/ 720 h 1118"/>
                  <a:gd name="T74" fmla="*/ 200 w 545"/>
                  <a:gd name="T75" fmla="*/ 684 h 1118"/>
                  <a:gd name="T76" fmla="*/ 127 w 545"/>
                  <a:gd name="T77" fmla="*/ 730 h 1118"/>
                  <a:gd name="T78" fmla="*/ 73 w 545"/>
                  <a:gd name="T79" fmla="*/ 672 h 1118"/>
                  <a:gd name="T80" fmla="*/ 100 w 545"/>
                  <a:gd name="T81" fmla="*/ 594 h 1118"/>
                  <a:gd name="T82" fmla="*/ 54 w 545"/>
                  <a:gd name="T83" fmla="*/ 578 h 1118"/>
                  <a:gd name="T84" fmla="*/ 40 w 545"/>
                  <a:gd name="T85" fmla="*/ 521 h 1118"/>
                  <a:gd name="T86" fmla="*/ 13 w 545"/>
                  <a:gd name="T87" fmla="*/ 478 h 1118"/>
                  <a:gd name="T88" fmla="*/ 15 w 545"/>
                  <a:gd name="T89" fmla="*/ 415 h 1118"/>
                  <a:gd name="T90" fmla="*/ 19 w 545"/>
                  <a:gd name="T91" fmla="*/ 338 h 1118"/>
                  <a:gd name="T92" fmla="*/ 82 w 545"/>
                  <a:gd name="T93" fmla="*/ 296 h 1118"/>
                  <a:gd name="T94" fmla="*/ 140 w 545"/>
                  <a:gd name="T95" fmla="*/ 240 h 1118"/>
                  <a:gd name="T96" fmla="*/ 113 w 545"/>
                  <a:gd name="T97" fmla="*/ 153 h 1118"/>
                  <a:gd name="T98" fmla="*/ 136 w 545"/>
                  <a:gd name="T99" fmla="*/ 67 h 1118"/>
                  <a:gd name="T100" fmla="*/ 190 w 545"/>
                  <a:gd name="T101" fmla="*/ 50 h 1118"/>
                  <a:gd name="T102" fmla="*/ 242 w 545"/>
                  <a:gd name="T103" fmla="*/ 42 h 1118"/>
                  <a:gd name="T104" fmla="*/ 313 w 545"/>
                  <a:gd name="T105" fmla="*/ 15 h 1118"/>
                  <a:gd name="T106" fmla="*/ 326 w 545"/>
                  <a:gd name="T107" fmla="*/ 96 h 1118"/>
                  <a:gd name="T108" fmla="*/ 392 w 545"/>
                  <a:gd name="T109" fmla="*/ 138 h 1118"/>
                  <a:gd name="T110" fmla="*/ 350 w 545"/>
                  <a:gd name="T111" fmla="*/ 159 h 1118"/>
                  <a:gd name="T112" fmla="*/ 336 w 545"/>
                  <a:gd name="T113" fmla="*/ 157 h 1118"/>
                  <a:gd name="T114" fmla="*/ 298 w 545"/>
                  <a:gd name="T115" fmla="*/ 192 h 1118"/>
                  <a:gd name="T116" fmla="*/ 277 w 545"/>
                  <a:gd name="T117" fmla="*/ 230 h 1118"/>
                  <a:gd name="T118" fmla="*/ 257 w 545"/>
                  <a:gd name="T119" fmla="*/ 342 h 1118"/>
                  <a:gd name="T120" fmla="*/ 240 w 545"/>
                  <a:gd name="T121" fmla="*/ 421 h 1118"/>
                  <a:gd name="T122" fmla="*/ 228 w 545"/>
                  <a:gd name="T123" fmla="*/ 496 h 1118"/>
                  <a:gd name="T124" fmla="*/ 198 w 545"/>
                  <a:gd name="T125" fmla="*/ 582 h 1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5" h="1118">
                    <a:moveTo>
                      <a:pt x="200" y="597"/>
                    </a:moveTo>
                    <a:lnTo>
                      <a:pt x="198" y="595"/>
                    </a:lnTo>
                    <a:lnTo>
                      <a:pt x="200" y="595"/>
                    </a:lnTo>
                    <a:lnTo>
                      <a:pt x="200" y="597"/>
                    </a:lnTo>
                    <a:close/>
                    <a:moveTo>
                      <a:pt x="200" y="592"/>
                    </a:moveTo>
                    <a:lnTo>
                      <a:pt x="200" y="594"/>
                    </a:lnTo>
                    <a:lnTo>
                      <a:pt x="200" y="595"/>
                    </a:lnTo>
                    <a:lnTo>
                      <a:pt x="198" y="595"/>
                    </a:lnTo>
                    <a:lnTo>
                      <a:pt x="200" y="595"/>
                    </a:lnTo>
                    <a:lnTo>
                      <a:pt x="198" y="595"/>
                    </a:lnTo>
                    <a:lnTo>
                      <a:pt x="198" y="597"/>
                    </a:lnTo>
                    <a:lnTo>
                      <a:pt x="198" y="599"/>
                    </a:lnTo>
                    <a:lnTo>
                      <a:pt x="196" y="599"/>
                    </a:lnTo>
                    <a:lnTo>
                      <a:pt x="194" y="599"/>
                    </a:lnTo>
                    <a:lnTo>
                      <a:pt x="194" y="601"/>
                    </a:lnTo>
                    <a:lnTo>
                      <a:pt x="194" y="603"/>
                    </a:lnTo>
                    <a:lnTo>
                      <a:pt x="192" y="605"/>
                    </a:lnTo>
                    <a:lnTo>
                      <a:pt x="190" y="607"/>
                    </a:lnTo>
                    <a:lnTo>
                      <a:pt x="190" y="609"/>
                    </a:lnTo>
                    <a:lnTo>
                      <a:pt x="188" y="609"/>
                    </a:lnTo>
                    <a:lnTo>
                      <a:pt x="188" y="607"/>
                    </a:lnTo>
                    <a:lnTo>
                      <a:pt x="188" y="609"/>
                    </a:lnTo>
                    <a:lnTo>
                      <a:pt x="186" y="607"/>
                    </a:lnTo>
                    <a:lnTo>
                      <a:pt x="186" y="605"/>
                    </a:lnTo>
                    <a:lnTo>
                      <a:pt x="184" y="605"/>
                    </a:lnTo>
                    <a:lnTo>
                      <a:pt x="184" y="603"/>
                    </a:lnTo>
                    <a:lnTo>
                      <a:pt x="182" y="603"/>
                    </a:lnTo>
                    <a:lnTo>
                      <a:pt x="180" y="603"/>
                    </a:lnTo>
                    <a:lnTo>
                      <a:pt x="180" y="601"/>
                    </a:lnTo>
                    <a:lnTo>
                      <a:pt x="179" y="601"/>
                    </a:lnTo>
                    <a:lnTo>
                      <a:pt x="177" y="599"/>
                    </a:lnTo>
                    <a:lnTo>
                      <a:pt x="179" y="599"/>
                    </a:lnTo>
                    <a:lnTo>
                      <a:pt x="177" y="599"/>
                    </a:lnTo>
                    <a:lnTo>
                      <a:pt x="175" y="599"/>
                    </a:lnTo>
                    <a:lnTo>
                      <a:pt x="175" y="601"/>
                    </a:lnTo>
                    <a:lnTo>
                      <a:pt x="173" y="601"/>
                    </a:lnTo>
                    <a:lnTo>
                      <a:pt x="171" y="601"/>
                    </a:lnTo>
                    <a:lnTo>
                      <a:pt x="171" y="599"/>
                    </a:lnTo>
                    <a:lnTo>
                      <a:pt x="169" y="599"/>
                    </a:lnTo>
                    <a:lnTo>
                      <a:pt x="169" y="597"/>
                    </a:lnTo>
                    <a:lnTo>
                      <a:pt x="167" y="597"/>
                    </a:lnTo>
                    <a:lnTo>
                      <a:pt x="167" y="595"/>
                    </a:lnTo>
                    <a:lnTo>
                      <a:pt x="167" y="597"/>
                    </a:lnTo>
                    <a:lnTo>
                      <a:pt x="167" y="595"/>
                    </a:lnTo>
                    <a:lnTo>
                      <a:pt x="167" y="594"/>
                    </a:lnTo>
                    <a:lnTo>
                      <a:pt x="165" y="594"/>
                    </a:lnTo>
                    <a:lnTo>
                      <a:pt x="163" y="594"/>
                    </a:lnTo>
                    <a:lnTo>
                      <a:pt x="163" y="595"/>
                    </a:lnTo>
                    <a:lnTo>
                      <a:pt x="163" y="594"/>
                    </a:lnTo>
                    <a:lnTo>
                      <a:pt x="161" y="594"/>
                    </a:lnTo>
                    <a:lnTo>
                      <a:pt x="161" y="592"/>
                    </a:lnTo>
                    <a:lnTo>
                      <a:pt x="159" y="592"/>
                    </a:lnTo>
                    <a:lnTo>
                      <a:pt x="159" y="594"/>
                    </a:lnTo>
                    <a:lnTo>
                      <a:pt x="157" y="594"/>
                    </a:lnTo>
                    <a:lnTo>
                      <a:pt x="155" y="594"/>
                    </a:lnTo>
                    <a:lnTo>
                      <a:pt x="154" y="594"/>
                    </a:lnTo>
                    <a:lnTo>
                      <a:pt x="152" y="594"/>
                    </a:lnTo>
                    <a:lnTo>
                      <a:pt x="152" y="592"/>
                    </a:lnTo>
                    <a:lnTo>
                      <a:pt x="152" y="594"/>
                    </a:lnTo>
                    <a:lnTo>
                      <a:pt x="150" y="594"/>
                    </a:lnTo>
                    <a:lnTo>
                      <a:pt x="150" y="592"/>
                    </a:lnTo>
                    <a:lnTo>
                      <a:pt x="148" y="592"/>
                    </a:lnTo>
                    <a:lnTo>
                      <a:pt x="146" y="592"/>
                    </a:lnTo>
                    <a:lnTo>
                      <a:pt x="146" y="594"/>
                    </a:lnTo>
                    <a:lnTo>
                      <a:pt x="144" y="594"/>
                    </a:lnTo>
                    <a:lnTo>
                      <a:pt x="144" y="595"/>
                    </a:lnTo>
                    <a:lnTo>
                      <a:pt x="142" y="595"/>
                    </a:lnTo>
                    <a:lnTo>
                      <a:pt x="142" y="594"/>
                    </a:lnTo>
                    <a:lnTo>
                      <a:pt x="142" y="595"/>
                    </a:lnTo>
                    <a:lnTo>
                      <a:pt x="140" y="595"/>
                    </a:lnTo>
                    <a:lnTo>
                      <a:pt x="140" y="597"/>
                    </a:lnTo>
                    <a:lnTo>
                      <a:pt x="138" y="597"/>
                    </a:lnTo>
                    <a:lnTo>
                      <a:pt x="136" y="597"/>
                    </a:lnTo>
                    <a:lnTo>
                      <a:pt x="136" y="595"/>
                    </a:lnTo>
                    <a:lnTo>
                      <a:pt x="134" y="595"/>
                    </a:lnTo>
                    <a:lnTo>
                      <a:pt x="134" y="597"/>
                    </a:lnTo>
                    <a:lnTo>
                      <a:pt x="134" y="595"/>
                    </a:lnTo>
                    <a:lnTo>
                      <a:pt x="136" y="595"/>
                    </a:lnTo>
                    <a:lnTo>
                      <a:pt x="136" y="597"/>
                    </a:lnTo>
                    <a:lnTo>
                      <a:pt x="138" y="597"/>
                    </a:lnTo>
                    <a:lnTo>
                      <a:pt x="140" y="597"/>
                    </a:lnTo>
                    <a:lnTo>
                      <a:pt x="140" y="595"/>
                    </a:lnTo>
                    <a:lnTo>
                      <a:pt x="142" y="595"/>
                    </a:lnTo>
                    <a:lnTo>
                      <a:pt x="142" y="594"/>
                    </a:lnTo>
                    <a:lnTo>
                      <a:pt x="142" y="595"/>
                    </a:lnTo>
                    <a:lnTo>
                      <a:pt x="144" y="595"/>
                    </a:lnTo>
                    <a:lnTo>
                      <a:pt x="144" y="594"/>
                    </a:lnTo>
                    <a:lnTo>
                      <a:pt x="144" y="595"/>
                    </a:lnTo>
                    <a:lnTo>
                      <a:pt x="144" y="594"/>
                    </a:lnTo>
                    <a:lnTo>
                      <a:pt x="146" y="594"/>
                    </a:lnTo>
                    <a:lnTo>
                      <a:pt x="146" y="592"/>
                    </a:lnTo>
                    <a:lnTo>
                      <a:pt x="148" y="592"/>
                    </a:lnTo>
                    <a:lnTo>
                      <a:pt x="150" y="592"/>
                    </a:lnTo>
                    <a:lnTo>
                      <a:pt x="150" y="594"/>
                    </a:lnTo>
                    <a:lnTo>
                      <a:pt x="152" y="594"/>
                    </a:lnTo>
                    <a:lnTo>
                      <a:pt x="152" y="592"/>
                    </a:lnTo>
                    <a:lnTo>
                      <a:pt x="152" y="594"/>
                    </a:lnTo>
                    <a:lnTo>
                      <a:pt x="154" y="594"/>
                    </a:lnTo>
                    <a:lnTo>
                      <a:pt x="155" y="594"/>
                    </a:lnTo>
                    <a:lnTo>
                      <a:pt x="157" y="594"/>
                    </a:lnTo>
                    <a:lnTo>
                      <a:pt x="159" y="594"/>
                    </a:lnTo>
                    <a:lnTo>
                      <a:pt x="159" y="592"/>
                    </a:lnTo>
                    <a:lnTo>
                      <a:pt x="159" y="594"/>
                    </a:lnTo>
                    <a:lnTo>
                      <a:pt x="159" y="592"/>
                    </a:lnTo>
                    <a:lnTo>
                      <a:pt x="161" y="592"/>
                    </a:lnTo>
                    <a:lnTo>
                      <a:pt x="161" y="594"/>
                    </a:lnTo>
                    <a:lnTo>
                      <a:pt x="163" y="595"/>
                    </a:lnTo>
                    <a:lnTo>
                      <a:pt x="163" y="594"/>
                    </a:lnTo>
                    <a:lnTo>
                      <a:pt x="165" y="595"/>
                    </a:lnTo>
                    <a:lnTo>
                      <a:pt x="167" y="595"/>
                    </a:lnTo>
                    <a:lnTo>
                      <a:pt x="167" y="597"/>
                    </a:lnTo>
                    <a:lnTo>
                      <a:pt x="169" y="597"/>
                    </a:lnTo>
                    <a:lnTo>
                      <a:pt x="169" y="599"/>
                    </a:lnTo>
                    <a:lnTo>
                      <a:pt x="171" y="599"/>
                    </a:lnTo>
                    <a:lnTo>
                      <a:pt x="171" y="601"/>
                    </a:lnTo>
                    <a:lnTo>
                      <a:pt x="173" y="601"/>
                    </a:lnTo>
                    <a:lnTo>
                      <a:pt x="175" y="601"/>
                    </a:lnTo>
                    <a:lnTo>
                      <a:pt x="175" y="599"/>
                    </a:lnTo>
                    <a:lnTo>
                      <a:pt x="177" y="599"/>
                    </a:lnTo>
                    <a:lnTo>
                      <a:pt x="179" y="601"/>
                    </a:lnTo>
                    <a:lnTo>
                      <a:pt x="180" y="601"/>
                    </a:lnTo>
                    <a:lnTo>
                      <a:pt x="180" y="603"/>
                    </a:lnTo>
                    <a:lnTo>
                      <a:pt x="180" y="601"/>
                    </a:lnTo>
                    <a:lnTo>
                      <a:pt x="180" y="603"/>
                    </a:lnTo>
                    <a:lnTo>
                      <a:pt x="182" y="603"/>
                    </a:lnTo>
                    <a:lnTo>
                      <a:pt x="182" y="605"/>
                    </a:lnTo>
                    <a:lnTo>
                      <a:pt x="182" y="603"/>
                    </a:lnTo>
                    <a:lnTo>
                      <a:pt x="182" y="605"/>
                    </a:lnTo>
                    <a:lnTo>
                      <a:pt x="182" y="603"/>
                    </a:lnTo>
                    <a:lnTo>
                      <a:pt x="184" y="603"/>
                    </a:lnTo>
                    <a:lnTo>
                      <a:pt x="184" y="605"/>
                    </a:lnTo>
                    <a:lnTo>
                      <a:pt x="186" y="605"/>
                    </a:lnTo>
                    <a:lnTo>
                      <a:pt x="186" y="607"/>
                    </a:lnTo>
                    <a:lnTo>
                      <a:pt x="188" y="609"/>
                    </a:lnTo>
                    <a:lnTo>
                      <a:pt x="190" y="609"/>
                    </a:lnTo>
                    <a:lnTo>
                      <a:pt x="192" y="609"/>
                    </a:lnTo>
                    <a:lnTo>
                      <a:pt x="192" y="607"/>
                    </a:lnTo>
                    <a:lnTo>
                      <a:pt x="190" y="607"/>
                    </a:lnTo>
                    <a:lnTo>
                      <a:pt x="192" y="607"/>
                    </a:lnTo>
                    <a:lnTo>
                      <a:pt x="192" y="605"/>
                    </a:lnTo>
                    <a:lnTo>
                      <a:pt x="192" y="607"/>
                    </a:lnTo>
                    <a:lnTo>
                      <a:pt x="192" y="605"/>
                    </a:lnTo>
                    <a:lnTo>
                      <a:pt x="194" y="605"/>
                    </a:lnTo>
                    <a:lnTo>
                      <a:pt x="194" y="603"/>
                    </a:lnTo>
                    <a:lnTo>
                      <a:pt x="194" y="601"/>
                    </a:lnTo>
                    <a:lnTo>
                      <a:pt x="196" y="601"/>
                    </a:lnTo>
                    <a:lnTo>
                      <a:pt x="194" y="601"/>
                    </a:lnTo>
                    <a:lnTo>
                      <a:pt x="196" y="599"/>
                    </a:lnTo>
                    <a:lnTo>
                      <a:pt x="198" y="599"/>
                    </a:lnTo>
                    <a:lnTo>
                      <a:pt x="196" y="599"/>
                    </a:lnTo>
                    <a:lnTo>
                      <a:pt x="196" y="601"/>
                    </a:lnTo>
                    <a:lnTo>
                      <a:pt x="196" y="599"/>
                    </a:lnTo>
                    <a:lnTo>
                      <a:pt x="198" y="599"/>
                    </a:lnTo>
                    <a:lnTo>
                      <a:pt x="198" y="597"/>
                    </a:lnTo>
                    <a:lnTo>
                      <a:pt x="200" y="597"/>
                    </a:lnTo>
                    <a:lnTo>
                      <a:pt x="200" y="595"/>
                    </a:lnTo>
                    <a:lnTo>
                      <a:pt x="200" y="594"/>
                    </a:lnTo>
                    <a:lnTo>
                      <a:pt x="200" y="592"/>
                    </a:lnTo>
                    <a:lnTo>
                      <a:pt x="202" y="592"/>
                    </a:lnTo>
                    <a:lnTo>
                      <a:pt x="204" y="592"/>
                    </a:lnTo>
                    <a:lnTo>
                      <a:pt x="204" y="590"/>
                    </a:lnTo>
                    <a:lnTo>
                      <a:pt x="204" y="588"/>
                    </a:lnTo>
                    <a:lnTo>
                      <a:pt x="205" y="588"/>
                    </a:lnTo>
                    <a:lnTo>
                      <a:pt x="205" y="586"/>
                    </a:lnTo>
                    <a:lnTo>
                      <a:pt x="207" y="586"/>
                    </a:lnTo>
                    <a:lnTo>
                      <a:pt x="209" y="586"/>
                    </a:lnTo>
                    <a:lnTo>
                      <a:pt x="211" y="586"/>
                    </a:lnTo>
                    <a:lnTo>
                      <a:pt x="213" y="586"/>
                    </a:lnTo>
                    <a:lnTo>
                      <a:pt x="215" y="586"/>
                    </a:lnTo>
                    <a:lnTo>
                      <a:pt x="217" y="586"/>
                    </a:lnTo>
                    <a:lnTo>
                      <a:pt x="217" y="584"/>
                    </a:lnTo>
                    <a:lnTo>
                      <a:pt x="217" y="586"/>
                    </a:lnTo>
                    <a:lnTo>
                      <a:pt x="219" y="586"/>
                    </a:lnTo>
                    <a:lnTo>
                      <a:pt x="219" y="588"/>
                    </a:lnTo>
                    <a:lnTo>
                      <a:pt x="221" y="588"/>
                    </a:lnTo>
                    <a:lnTo>
                      <a:pt x="221" y="590"/>
                    </a:lnTo>
                    <a:lnTo>
                      <a:pt x="223" y="590"/>
                    </a:lnTo>
                    <a:lnTo>
                      <a:pt x="225" y="590"/>
                    </a:lnTo>
                    <a:lnTo>
                      <a:pt x="227" y="588"/>
                    </a:lnTo>
                    <a:lnTo>
                      <a:pt x="230" y="586"/>
                    </a:lnTo>
                    <a:lnTo>
                      <a:pt x="230" y="584"/>
                    </a:lnTo>
                    <a:lnTo>
                      <a:pt x="232" y="584"/>
                    </a:lnTo>
                    <a:lnTo>
                      <a:pt x="232" y="582"/>
                    </a:lnTo>
                    <a:lnTo>
                      <a:pt x="234" y="582"/>
                    </a:lnTo>
                    <a:lnTo>
                      <a:pt x="236" y="582"/>
                    </a:lnTo>
                    <a:lnTo>
                      <a:pt x="234" y="580"/>
                    </a:lnTo>
                    <a:lnTo>
                      <a:pt x="236" y="580"/>
                    </a:lnTo>
                    <a:lnTo>
                      <a:pt x="238" y="580"/>
                    </a:lnTo>
                    <a:lnTo>
                      <a:pt x="240" y="580"/>
                    </a:lnTo>
                    <a:lnTo>
                      <a:pt x="242" y="578"/>
                    </a:lnTo>
                    <a:lnTo>
                      <a:pt x="242" y="580"/>
                    </a:lnTo>
                    <a:lnTo>
                      <a:pt x="242" y="578"/>
                    </a:lnTo>
                    <a:lnTo>
                      <a:pt x="244" y="578"/>
                    </a:lnTo>
                    <a:lnTo>
                      <a:pt x="246" y="578"/>
                    </a:lnTo>
                    <a:lnTo>
                      <a:pt x="246" y="576"/>
                    </a:lnTo>
                    <a:lnTo>
                      <a:pt x="248" y="576"/>
                    </a:lnTo>
                    <a:lnTo>
                      <a:pt x="248" y="574"/>
                    </a:lnTo>
                    <a:lnTo>
                      <a:pt x="248" y="572"/>
                    </a:lnTo>
                    <a:lnTo>
                      <a:pt x="248" y="570"/>
                    </a:lnTo>
                    <a:lnTo>
                      <a:pt x="248" y="572"/>
                    </a:lnTo>
                    <a:lnTo>
                      <a:pt x="250" y="572"/>
                    </a:lnTo>
                    <a:lnTo>
                      <a:pt x="250" y="574"/>
                    </a:lnTo>
                    <a:lnTo>
                      <a:pt x="252" y="574"/>
                    </a:lnTo>
                    <a:lnTo>
                      <a:pt x="252" y="572"/>
                    </a:lnTo>
                    <a:lnTo>
                      <a:pt x="252" y="570"/>
                    </a:lnTo>
                    <a:lnTo>
                      <a:pt x="253" y="570"/>
                    </a:lnTo>
                    <a:lnTo>
                      <a:pt x="253" y="572"/>
                    </a:lnTo>
                    <a:lnTo>
                      <a:pt x="255" y="570"/>
                    </a:lnTo>
                    <a:lnTo>
                      <a:pt x="255" y="572"/>
                    </a:lnTo>
                    <a:lnTo>
                      <a:pt x="255" y="574"/>
                    </a:lnTo>
                    <a:lnTo>
                      <a:pt x="255" y="572"/>
                    </a:lnTo>
                    <a:lnTo>
                      <a:pt x="257" y="572"/>
                    </a:lnTo>
                    <a:lnTo>
                      <a:pt x="257" y="574"/>
                    </a:lnTo>
                    <a:lnTo>
                      <a:pt x="257" y="576"/>
                    </a:lnTo>
                    <a:lnTo>
                      <a:pt x="257" y="578"/>
                    </a:lnTo>
                    <a:lnTo>
                      <a:pt x="259" y="580"/>
                    </a:lnTo>
                    <a:lnTo>
                      <a:pt x="259" y="578"/>
                    </a:lnTo>
                    <a:lnTo>
                      <a:pt x="259" y="580"/>
                    </a:lnTo>
                    <a:lnTo>
                      <a:pt x="259" y="582"/>
                    </a:lnTo>
                    <a:lnTo>
                      <a:pt x="257" y="582"/>
                    </a:lnTo>
                    <a:lnTo>
                      <a:pt x="259" y="582"/>
                    </a:lnTo>
                    <a:lnTo>
                      <a:pt x="259" y="584"/>
                    </a:lnTo>
                    <a:lnTo>
                      <a:pt x="261" y="584"/>
                    </a:lnTo>
                    <a:lnTo>
                      <a:pt x="259" y="584"/>
                    </a:lnTo>
                    <a:lnTo>
                      <a:pt x="259" y="586"/>
                    </a:lnTo>
                    <a:lnTo>
                      <a:pt x="259" y="584"/>
                    </a:lnTo>
                    <a:lnTo>
                      <a:pt x="257" y="584"/>
                    </a:lnTo>
                    <a:lnTo>
                      <a:pt x="259" y="584"/>
                    </a:lnTo>
                    <a:lnTo>
                      <a:pt x="257" y="584"/>
                    </a:lnTo>
                    <a:lnTo>
                      <a:pt x="257" y="586"/>
                    </a:lnTo>
                    <a:lnTo>
                      <a:pt x="259" y="586"/>
                    </a:lnTo>
                    <a:lnTo>
                      <a:pt x="259" y="588"/>
                    </a:lnTo>
                    <a:lnTo>
                      <a:pt x="261" y="590"/>
                    </a:lnTo>
                    <a:lnTo>
                      <a:pt x="263" y="590"/>
                    </a:lnTo>
                    <a:lnTo>
                      <a:pt x="263" y="592"/>
                    </a:lnTo>
                    <a:lnTo>
                      <a:pt x="261" y="592"/>
                    </a:lnTo>
                    <a:lnTo>
                      <a:pt x="261" y="594"/>
                    </a:lnTo>
                    <a:lnTo>
                      <a:pt x="263" y="594"/>
                    </a:lnTo>
                    <a:lnTo>
                      <a:pt x="263" y="595"/>
                    </a:lnTo>
                    <a:lnTo>
                      <a:pt x="263" y="594"/>
                    </a:lnTo>
                    <a:lnTo>
                      <a:pt x="265" y="594"/>
                    </a:lnTo>
                    <a:lnTo>
                      <a:pt x="265" y="595"/>
                    </a:lnTo>
                    <a:lnTo>
                      <a:pt x="265" y="597"/>
                    </a:lnTo>
                    <a:lnTo>
                      <a:pt x="263" y="597"/>
                    </a:lnTo>
                    <a:lnTo>
                      <a:pt x="265" y="597"/>
                    </a:lnTo>
                    <a:lnTo>
                      <a:pt x="265" y="599"/>
                    </a:lnTo>
                    <a:lnTo>
                      <a:pt x="267" y="599"/>
                    </a:lnTo>
                    <a:lnTo>
                      <a:pt x="267" y="601"/>
                    </a:lnTo>
                    <a:lnTo>
                      <a:pt x="269" y="601"/>
                    </a:lnTo>
                    <a:lnTo>
                      <a:pt x="267" y="603"/>
                    </a:lnTo>
                    <a:lnTo>
                      <a:pt x="269" y="603"/>
                    </a:lnTo>
                    <a:lnTo>
                      <a:pt x="269" y="605"/>
                    </a:lnTo>
                    <a:lnTo>
                      <a:pt x="269" y="607"/>
                    </a:lnTo>
                    <a:lnTo>
                      <a:pt x="269" y="609"/>
                    </a:lnTo>
                    <a:lnTo>
                      <a:pt x="267" y="609"/>
                    </a:lnTo>
                    <a:lnTo>
                      <a:pt x="269" y="611"/>
                    </a:lnTo>
                    <a:lnTo>
                      <a:pt x="267" y="611"/>
                    </a:lnTo>
                    <a:lnTo>
                      <a:pt x="269" y="611"/>
                    </a:lnTo>
                    <a:lnTo>
                      <a:pt x="269" y="613"/>
                    </a:lnTo>
                    <a:lnTo>
                      <a:pt x="269" y="615"/>
                    </a:lnTo>
                    <a:lnTo>
                      <a:pt x="269" y="617"/>
                    </a:lnTo>
                    <a:lnTo>
                      <a:pt x="271" y="617"/>
                    </a:lnTo>
                    <a:lnTo>
                      <a:pt x="271" y="619"/>
                    </a:lnTo>
                    <a:lnTo>
                      <a:pt x="271" y="617"/>
                    </a:lnTo>
                    <a:lnTo>
                      <a:pt x="271" y="619"/>
                    </a:lnTo>
                    <a:lnTo>
                      <a:pt x="271" y="620"/>
                    </a:lnTo>
                    <a:lnTo>
                      <a:pt x="273" y="620"/>
                    </a:lnTo>
                    <a:lnTo>
                      <a:pt x="273" y="622"/>
                    </a:lnTo>
                    <a:lnTo>
                      <a:pt x="275" y="624"/>
                    </a:lnTo>
                    <a:lnTo>
                      <a:pt x="277" y="624"/>
                    </a:lnTo>
                    <a:lnTo>
                      <a:pt x="278" y="626"/>
                    </a:lnTo>
                    <a:lnTo>
                      <a:pt x="277" y="626"/>
                    </a:lnTo>
                    <a:lnTo>
                      <a:pt x="278" y="626"/>
                    </a:lnTo>
                    <a:lnTo>
                      <a:pt x="278" y="624"/>
                    </a:lnTo>
                    <a:lnTo>
                      <a:pt x="278" y="622"/>
                    </a:lnTo>
                    <a:lnTo>
                      <a:pt x="278" y="620"/>
                    </a:lnTo>
                    <a:lnTo>
                      <a:pt x="278" y="619"/>
                    </a:lnTo>
                    <a:lnTo>
                      <a:pt x="280" y="619"/>
                    </a:lnTo>
                    <a:lnTo>
                      <a:pt x="280" y="617"/>
                    </a:lnTo>
                    <a:lnTo>
                      <a:pt x="282" y="617"/>
                    </a:lnTo>
                    <a:lnTo>
                      <a:pt x="282" y="619"/>
                    </a:lnTo>
                    <a:lnTo>
                      <a:pt x="284" y="617"/>
                    </a:lnTo>
                    <a:lnTo>
                      <a:pt x="284" y="619"/>
                    </a:lnTo>
                    <a:lnTo>
                      <a:pt x="286" y="619"/>
                    </a:lnTo>
                    <a:lnTo>
                      <a:pt x="286" y="617"/>
                    </a:lnTo>
                    <a:lnTo>
                      <a:pt x="288" y="617"/>
                    </a:lnTo>
                    <a:lnTo>
                      <a:pt x="288" y="615"/>
                    </a:lnTo>
                    <a:lnTo>
                      <a:pt x="288" y="613"/>
                    </a:lnTo>
                    <a:lnTo>
                      <a:pt x="286" y="611"/>
                    </a:lnTo>
                    <a:lnTo>
                      <a:pt x="286" y="609"/>
                    </a:lnTo>
                    <a:lnTo>
                      <a:pt x="286" y="607"/>
                    </a:lnTo>
                    <a:lnTo>
                      <a:pt x="286" y="605"/>
                    </a:lnTo>
                    <a:lnTo>
                      <a:pt x="286" y="603"/>
                    </a:lnTo>
                    <a:lnTo>
                      <a:pt x="286" y="601"/>
                    </a:lnTo>
                    <a:lnTo>
                      <a:pt x="284" y="601"/>
                    </a:lnTo>
                    <a:lnTo>
                      <a:pt x="282" y="601"/>
                    </a:lnTo>
                    <a:lnTo>
                      <a:pt x="282" y="603"/>
                    </a:lnTo>
                    <a:lnTo>
                      <a:pt x="280" y="603"/>
                    </a:lnTo>
                    <a:lnTo>
                      <a:pt x="280" y="601"/>
                    </a:lnTo>
                    <a:lnTo>
                      <a:pt x="278" y="601"/>
                    </a:lnTo>
                    <a:lnTo>
                      <a:pt x="278" y="599"/>
                    </a:lnTo>
                    <a:lnTo>
                      <a:pt x="277" y="599"/>
                    </a:lnTo>
                    <a:lnTo>
                      <a:pt x="277" y="597"/>
                    </a:lnTo>
                    <a:lnTo>
                      <a:pt x="277" y="595"/>
                    </a:lnTo>
                    <a:lnTo>
                      <a:pt x="278" y="594"/>
                    </a:lnTo>
                    <a:lnTo>
                      <a:pt x="278" y="592"/>
                    </a:lnTo>
                    <a:lnTo>
                      <a:pt x="280" y="590"/>
                    </a:lnTo>
                    <a:lnTo>
                      <a:pt x="280" y="588"/>
                    </a:lnTo>
                    <a:lnTo>
                      <a:pt x="278" y="588"/>
                    </a:lnTo>
                    <a:lnTo>
                      <a:pt x="278" y="590"/>
                    </a:lnTo>
                    <a:lnTo>
                      <a:pt x="278" y="588"/>
                    </a:lnTo>
                    <a:lnTo>
                      <a:pt x="280" y="588"/>
                    </a:lnTo>
                    <a:lnTo>
                      <a:pt x="280" y="586"/>
                    </a:lnTo>
                    <a:lnTo>
                      <a:pt x="282" y="586"/>
                    </a:lnTo>
                    <a:lnTo>
                      <a:pt x="282" y="584"/>
                    </a:lnTo>
                    <a:lnTo>
                      <a:pt x="280" y="584"/>
                    </a:lnTo>
                    <a:lnTo>
                      <a:pt x="282" y="582"/>
                    </a:lnTo>
                    <a:lnTo>
                      <a:pt x="282" y="584"/>
                    </a:lnTo>
                    <a:lnTo>
                      <a:pt x="282" y="582"/>
                    </a:lnTo>
                    <a:lnTo>
                      <a:pt x="284" y="582"/>
                    </a:lnTo>
                    <a:lnTo>
                      <a:pt x="286" y="582"/>
                    </a:lnTo>
                    <a:lnTo>
                      <a:pt x="288" y="580"/>
                    </a:lnTo>
                    <a:lnTo>
                      <a:pt x="290" y="580"/>
                    </a:lnTo>
                    <a:lnTo>
                      <a:pt x="290" y="578"/>
                    </a:lnTo>
                    <a:lnTo>
                      <a:pt x="292" y="576"/>
                    </a:lnTo>
                    <a:lnTo>
                      <a:pt x="292" y="578"/>
                    </a:lnTo>
                    <a:lnTo>
                      <a:pt x="292" y="580"/>
                    </a:lnTo>
                    <a:lnTo>
                      <a:pt x="290" y="580"/>
                    </a:lnTo>
                    <a:lnTo>
                      <a:pt x="292" y="580"/>
                    </a:lnTo>
                    <a:lnTo>
                      <a:pt x="290" y="580"/>
                    </a:lnTo>
                    <a:lnTo>
                      <a:pt x="292" y="582"/>
                    </a:lnTo>
                    <a:lnTo>
                      <a:pt x="290" y="582"/>
                    </a:lnTo>
                    <a:lnTo>
                      <a:pt x="290" y="584"/>
                    </a:lnTo>
                    <a:lnTo>
                      <a:pt x="290" y="586"/>
                    </a:lnTo>
                    <a:lnTo>
                      <a:pt x="290" y="588"/>
                    </a:lnTo>
                    <a:lnTo>
                      <a:pt x="290" y="590"/>
                    </a:lnTo>
                    <a:lnTo>
                      <a:pt x="290" y="592"/>
                    </a:lnTo>
                    <a:lnTo>
                      <a:pt x="290" y="594"/>
                    </a:lnTo>
                    <a:lnTo>
                      <a:pt x="290" y="595"/>
                    </a:lnTo>
                    <a:lnTo>
                      <a:pt x="288" y="595"/>
                    </a:lnTo>
                    <a:lnTo>
                      <a:pt x="290" y="595"/>
                    </a:lnTo>
                    <a:lnTo>
                      <a:pt x="288" y="595"/>
                    </a:lnTo>
                    <a:lnTo>
                      <a:pt x="288" y="594"/>
                    </a:lnTo>
                    <a:lnTo>
                      <a:pt x="288" y="592"/>
                    </a:lnTo>
                    <a:lnTo>
                      <a:pt x="286" y="592"/>
                    </a:lnTo>
                    <a:lnTo>
                      <a:pt x="286" y="594"/>
                    </a:lnTo>
                    <a:lnTo>
                      <a:pt x="284" y="594"/>
                    </a:lnTo>
                    <a:lnTo>
                      <a:pt x="284" y="595"/>
                    </a:lnTo>
                    <a:lnTo>
                      <a:pt x="284" y="597"/>
                    </a:lnTo>
                    <a:lnTo>
                      <a:pt x="284" y="599"/>
                    </a:lnTo>
                    <a:lnTo>
                      <a:pt x="286" y="599"/>
                    </a:lnTo>
                    <a:lnTo>
                      <a:pt x="284" y="601"/>
                    </a:lnTo>
                    <a:lnTo>
                      <a:pt x="286" y="599"/>
                    </a:lnTo>
                    <a:lnTo>
                      <a:pt x="286" y="601"/>
                    </a:lnTo>
                    <a:lnTo>
                      <a:pt x="288" y="601"/>
                    </a:lnTo>
                    <a:lnTo>
                      <a:pt x="288" y="599"/>
                    </a:lnTo>
                    <a:lnTo>
                      <a:pt x="290" y="599"/>
                    </a:lnTo>
                    <a:lnTo>
                      <a:pt x="292" y="599"/>
                    </a:lnTo>
                    <a:lnTo>
                      <a:pt x="294" y="601"/>
                    </a:lnTo>
                    <a:lnTo>
                      <a:pt x="296" y="601"/>
                    </a:lnTo>
                    <a:lnTo>
                      <a:pt x="298" y="601"/>
                    </a:lnTo>
                    <a:lnTo>
                      <a:pt x="300" y="601"/>
                    </a:lnTo>
                    <a:lnTo>
                      <a:pt x="300" y="599"/>
                    </a:lnTo>
                    <a:lnTo>
                      <a:pt x="300" y="601"/>
                    </a:lnTo>
                    <a:lnTo>
                      <a:pt x="300" y="599"/>
                    </a:lnTo>
                    <a:lnTo>
                      <a:pt x="301" y="599"/>
                    </a:lnTo>
                    <a:lnTo>
                      <a:pt x="303" y="599"/>
                    </a:lnTo>
                    <a:lnTo>
                      <a:pt x="305" y="597"/>
                    </a:lnTo>
                    <a:lnTo>
                      <a:pt x="305" y="599"/>
                    </a:lnTo>
                    <a:lnTo>
                      <a:pt x="305" y="601"/>
                    </a:lnTo>
                    <a:lnTo>
                      <a:pt x="305" y="603"/>
                    </a:lnTo>
                    <a:lnTo>
                      <a:pt x="303" y="603"/>
                    </a:lnTo>
                    <a:lnTo>
                      <a:pt x="303" y="605"/>
                    </a:lnTo>
                    <a:lnTo>
                      <a:pt x="303" y="607"/>
                    </a:lnTo>
                    <a:lnTo>
                      <a:pt x="301" y="607"/>
                    </a:lnTo>
                    <a:lnTo>
                      <a:pt x="301" y="609"/>
                    </a:lnTo>
                    <a:lnTo>
                      <a:pt x="301" y="611"/>
                    </a:lnTo>
                    <a:lnTo>
                      <a:pt x="301" y="613"/>
                    </a:lnTo>
                    <a:lnTo>
                      <a:pt x="303" y="613"/>
                    </a:lnTo>
                    <a:lnTo>
                      <a:pt x="301" y="613"/>
                    </a:lnTo>
                    <a:lnTo>
                      <a:pt x="301" y="615"/>
                    </a:lnTo>
                    <a:lnTo>
                      <a:pt x="303" y="615"/>
                    </a:lnTo>
                    <a:lnTo>
                      <a:pt x="303" y="617"/>
                    </a:lnTo>
                    <a:lnTo>
                      <a:pt x="303" y="619"/>
                    </a:lnTo>
                    <a:lnTo>
                      <a:pt x="301" y="619"/>
                    </a:lnTo>
                    <a:lnTo>
                      <a:pt x="301" y="620"/>
                    </a:lnTo>
                    <a:lnTo>
                      <a:pt x="303" y="620"/>
                    </a:lnTo>
                    <a:lnTo>
                      <a:pt x="301" y="620"/>
                    </a:lnTo>
                    <a:lnTo>
                      <a:pt x="301" y="622"/>
                    </a:lnTo>
                    <a:lnTo>
                      <a:pt x="300" y="622"/>
                    </a:lnTo>
                    <a:lnTo>
                      <a:pt x="298" y="622"/>
                    </a:lnTo>
                    <a:lnTo>
                      <a:pt x="298" y="624"/>
                    </a:lnTo>
                    <a:lnTo>
                      <a:pt x="298" y="626"/>
                    </a:lnTo>
                    <a:lnTo>
                      <a:pt x="296" y="626"/>
                    </a:lnTo>
                    <a:lnTo>
                      <a:pt x="296" y="628"/>
                    </a:lnTo>
                    <a:lnTo>
                      <a:pt x="296" y="630"/>
                    </a:lnTo>
                    <a:lnTo>
                      <a:pt x="296" y="632"/>
                    </a:lnTo>
                    <a:lnTo>
                      <a:pt x="296" y="630"/>
                    </a:lnTo>
                    <a:lnTo>
                      <a:pt x="298" y="630"/>
                    </a:lnTo>
                    <a:lnTo>
                      <a:pt x="298" y="632"/>
                    </a:lnTo>
                    <a:lnTo>
                      <a:pt x="300" y="632"/>
                    </a:lnTo>
                    <a:lnTo>
                      <a:pt x="301" y="632"/>
                    </a:lnTo>
                    <a:lnTo>
                      <a:pt x="303" y="632"/>
                    </a:lnTo>
                    <a:lnTo>
                      <a:pt x="303" y="630"/>
                    </a:lnTo>
                    <a:lnTo>
                      <a:pt x="305" y="630"/>
                    </a:lnTo>
                    <a:lnTo>
                      <a:pt x="309" y="626"/>
                    </a:lnTo>
                    <a:lnTo>
                      <a:pt x="311" y="626"/>
                    </a:lnTo>
                    <a:lnTo>
                      <a:pt x="313" y="626"/>
                    </a:lnTo>
                    <a:lnTo>
                      <a:pt x="313" y="624"/>
                    </a:lnTo>
                    <a:lnTo>
                      <a:pt x="315" y="624"/>
                    </a:lnTo>
                    <a:lnTo>
                      <a:pt x="315" y="622"/>
                    </a:lnTo>
                    <a:lnTo>
                      <a:pt x="317" y="622"/>
                    </a:lnTo>
                    <a:lnTo>
                      <a:pt x="319" y="620"/>
                    </a:lnTo>
                    <a:lnTo>
                      <a:pt x="319" y="619"/>
                    </a:lnTo>
                    <a:lnTo>
                      <a:pt x="319" y="617"/>
                    </a:lnTo>
                    <a:lnTo>
                      <a:pt x="321" y="617"/>
                    </a:lnTo>
                    <a:lnTo>
                      <a:pt x="321" y="615"/>
                    </a:lnTo>
                    <a:lnTo>
                      <a:pt x="323" y="615"/>
                    </a:lnTo>
                    <a:lnTo>
                      <a:pt x="323" y="613"/>
                    </a:lnTo>
                    <a:lnTo>
                      <a:pt x="323" y="611"/>
                    </a:lnTo>
                    <a:lnTo>
                      <a:pt x="325" y="611"/>
                    </a:lnTo>
                    <a:lnTo>
                      <a:pt x="325" y="609"/>
                    </a:lnTo>
                    <a:lnTo>
                      <a:pt x="326" y="607"/>
                    </a:lnTo>
                    <a:lnTo>
                      <a:pt x="326" y="605"/>
                    </a:lnTo>
                    <a:lnTo>
                      <a:pt x="326" y="603"/>
                    </a:lnTo>
                    <a:lnTo>
                      <a:pt x="325" y="601"/>
                    </a:lnTo>
                    <a:lnTo>
                      <a:pt x="325" y="599"/>
                    </a:lnTo>
                    <a:lnTo>
                      <a:pt x="325" y="597"/>
                    </a:lnTo>
                    <a:lnTo>
                      <a:pt x="323" y="595"/>
                    </a:lnTo>
                    <a:lnTo>
                      <a:pt x="323" y="594"/>
                    </a:lnTo>
                    <a:lnTo>
                      <a:pt x="325" y="592"/>
                    </a:lnTo>
                    <a:lnTo>
                      <a:pt x="325" y="590"/>
                    </a:lnTo>
                    <a:lnTo>
                      <a:pt x="325" y="588"/>
                    </a:lnTo>
                    <a:lnTo>
                      <a:pt x="326" y="588"/>
                    </a:lnTo>
                    <a:lnTo>
                      <a:pt x="326" y="586"/>
                    </a:lnTo>
                    <a:lnTo>
                      <a:pt x="328" y="586"/>
                    </a:lnTo>
                    <a:lnTo>
                      <a:pt x="328" y="588"/>
                    </a:lnTo>
                    <a:lnTo>
                      <a:pt x="328" y="590"/>
                    </a:lnTo>
                    <a:lnTo>
                      <a:pt x="328" y="592"/>
                    </a:lnTo>
                    <a:lnTo>
                      <a:pt x="330" y="592"/>
                    </a:lnTo>
                    <a:lnTo>
                      <a:pt x="330" y="594"/>
                    </a:lnTo>
                    <a:lnTo>
                      <a:pt x="330" y="595"/>
                    </a:lnTo>
                    <a:lnTo>
                      <a:pt x="332" y="595"/>
                    </a:lnTo>
                    <a:lnTo>
                      <a:pt x="332" y="597"/>
                    </a:lnTo>
                    <a:lnTo>
                      <a:pt x="332" y="599"/>
                    </a:lnTo>
                    <a:lnTo>
                      <a:pt x="332" y="601"/>
                    </a:lnTo>
                    <a:lnTo>
                      <a:pt x="330" y="601"/>
                    </a:lnTo>
                    <a:lnTo>
                      <a:pt x="332" y="601"/>
                    </a:lnTo>
                    <a:lnTo>
                      <a:pt x="332" y="603"/>
                    </a:lnTo>
                    <a:lnTo>
                      <a:pt x="330" y="603"/>
                    </a:lnTo>
                    <a:lnTo>
                      <a:pt x="332" y="603"/>
                    </a:lnTo>
                    <a:lnTo>
                      <a:pt x="330" y="603"/>
                    </a:lnTo>
                    <a:lnTo>
                      <a:pt x="330" y="605"/>
                    </a:lnTo>
                    <a:lnTo>
                      <a:pt x="330" y="607"/>
                    </a:lnTo>
                    <a:lnTo>
                      <a:pt x="330" y="609"/>
                    </a:lnTo>
                    <a:lnTo>
                      <a:pt x="330" y="611"/>
                    </a:lnTo>
                    <a:lnTo>
                      <a:pt x="330" y="613"/>
                    </a:lnTo>
                    <a:lnTo>
                      <a:pt x="330" y="611"/>
                    </a:lnTo>
                    <a:lnTo>
                      <a:pt x="330" y="613"/>
                    </a:lnTo>
                    <a:lnTo>
                      <a:pt x="332" y="613"/>
                    </a:lnTo>
                    <a:lnTo>
                      <a:pt x="330" y="613"/>
                    </a:lnTo>
                    <a:lnTo>
                      <a:pt x="332" y="613"/>
                    </a:lnTo>
                    <a:lnTo>
                      <a:pt x="332" y="615"/>
                    </a:lnTo>
                    <a:lnTo>
                      <a:pt x="330" y="615"/>
                    </a:lnTo>
                    <a:lnTo>
                      <a:pt x="330" y="617"/>
                    </a:lnTo>
                    <a:lnTo>
                      <a:pt x="330" y="619"/>
                    </a:lnTo>
                    <a:lnTo>
                      <a:pt x="330" y="620"/>
                    </a:lnTo>
                    <a:lnTo>
                      <a:pt x="332" y="619"/>
                    </a:lnTo>
                    <a:lnTo>
                      <a:pt x="334" y="619"/>
                    </a:lnTo>
                    <a:lnTo>
                      <a:pt x="336" y="619"/>
                    </a:lnTo>
                    <a:lnTo>
                      <a:pt x="336" y="617"/>
                    </a:lnTo>
                    <a:lnTo>
                      <a:pt x="338" y="617"/>
                    </a:lnTo>
                    <a:lnTo>
                      <a:pt x="338" y="615"/>
                    </a:lnTo>
                    <a:lnTo>
                      <a:pt x="338" y="613"/>
                    </a:lnTo>
                    <a:lnTo>
                      <a:pt x="338" y="611"/>
                    </a:lnTo>
                    <a:lnTo>
                      <a:pt x="338" y="609"/>
                    </a:lnTo>
                    <a:lnTo>
                      <a:pt x="338" y="607"/>
                    </a:lnTo>
                    <a:lnTo>
                      <a:pt x="338" y="605"/>
                    </a:lnTo>
                    <a:lnTo>
                      <a:pt x="338" y="603"/>
                    </a:lnTo>
                    <a:lnTo>
                      <a:pt x="338" y="601"/>
                    </a:lnTo>
                    <a:lnTo>
                      <a:pt x="336" y="599"/>
                    </a:lnTo>
                    <a:lnTo>
                      <a:pt x="336" y="597"/>
                    </a:lnTo>
                    <a:lnTo>
                      <a:pt x="336" y="594"/>
                    </a:lnTo>
                    <a:lnTo>
                      <a:pt x="334" y="592"/>
                    </a:lnTo>
                    <a:lnTo>
                      <a:pt x="334" y="590"/>
                    </a:lnTo>
                    <a:lnTo>
                      <a:pt x="334" y="588"/>
                    </a:lnTo>
                    <a:lnTo>
                      <a:pt x="334" y="586"/>
                    </a:lnTo>
                    <a:lnTo>
                      <a:pt x="332" y="584"/>
                    </a:lnTo>
                    <a:lnTo>
                      <a:pt x="332" y="582"/>
                    </a:lnTo>
                    <a:lnTo>
                      <a:pt x="332" y="580"/>
                    </a:lnTo>
                    <a:lnTo>
                      <a:pt x="330" y="580"/>
                    </a:lnTo>
                    <a:lnTo>
                      <a:pt x="330" y="578"/>
                    </a:lnTo>
                    <a:lnTo>
                      <a:pt x="330" y="576"/>
                    </a:lnTo>
                    <a:lnTo>
                      <a:pt x="328" y="578"/>
                    </a:lnTo>
                    <a:lnTo>
                      <a:pt x="328" y="580"/>
                    </a:lnTo>
                    <a:lnTo>
                      <a:pt x="326" y="580"/>
                    </a:lnTo>
                    <a:lnTo>
                      <a:pt x="326" y="578"/>
                    </a:lnTo>
                    <a:lnTo>
                      <a:pt x="326" y="576"/>
                    </a:lnTo>
                    <a:lnTo>
                      <a:pt x="326" y="574"/>
                    </a:lnTo>
                    <a:lnTo>
                      <a:pt x="326" y="572"/>
                    </a:lnTo>
                    <a:lnTo>
                      <a:pt x="325" y="570"/>
                    </a:lnTo>
                    <a:lnTo>
                      <a:pt x="325" y="569"/>
                    </a:lnTo>
                    <a:lnTo>
                      <a:pt x="325" y="567"/>
                    </a:lnTo>
                    <a:lnTo>
                      <a:pt x="323" y="567"/>
                    </a:lnTo>
                    <a:lnTo>
                      <a:pt x="321" y="567"/>
                    </a:lnTo>
                    <a:lnTo>
                      <a:pt x="321" y="565"/>
                    </a:lnTo>
                    <a:lnTo>
                      <a:pt x="323" y="565"/>
                    </a:lnTo>
                    <a:lnTo>
                      <a:pt x="321" y="565"/>
                    </a:lnTo>
                    <a:lnTo>
                      <a:pt x="323" y="565"/>
                    </a:lnTo>
                    <a:lnTo>
                      <a:pt x="323" y="563"/>
                    </a:lnTo>
                    <a:lnTo>
                      <a:pt x="323" y="565"/>
                    </a:lnTo>
                    <a:lnTo>
                      <a:pt x="325" y="565"/>
                    </a:lnTo>
                    <a:lnTo>
                      <a:pt x="326" y="565"/>
                    </a:lnTo>
                    <a:lnTo>
                      <a:pt x="328" y="565"/>
                    </a:lnTo>
                    <a:lnTo>
                      <a:pt x="330" y="565"/>
                    </a:lnTo>
                    <a:lnTo>
                      <a:pt x="332" y="565"/>
                    </a:lnTo>
                    <a:lnTo>
                      <a:pt x="334" y="565"/>
                    </a:lnTo>
                    <a:lnTo>
                      <a:pt x="338" y="565"/>
                    </a:lnTo>
                    <a:lnTo>
                      <a:pt x="340" y="565"/>
                    </a:lnTo>
                    <a:lnTo>
                      <a:pt x="342" y="565"/>
                    </a:lnTo>
                    <a:lnTo>
                      <a:pt x="342" y="563"/>
                    </a:lnTo>
                    <a:lnTo>
                      <a:pt x="344" y="563"/>
                    </a:lnTo>
                    <a:lnTo>
                      <a:pt x="346" y="561"/>
                    </a:lnTo>
                    <a:lnTo>
                      <a:pt x="348" y="561"/>
                    </a:lnTo>
                    <a:lnTo>
                      <a:pt x="348" y="559"/>
                    </a:lnTo>
                    <a:lnTo>
                      <a:pt x="350" y="557"/>
                    </a:lnTo>
                    <a:lnTo>
                      <a:pt x="350" y="555"/>
                    </a:lnTo>
                    <a:lnTo>
                      <a:pt x="351" y="555"/>
                    </a:lnTo>
                    <a:lnTo>
                      <a:pt x="351" y="553"/>
                    </a:lnTo>
                    <a:lnTo>
                      <a:pt x="351" y="551"/>
                    </a:lnTo>
                    <a:lnTo>
                      <a:pt x="353" y="549"/>
                    </a:lnTo>
                    <a:lnTo>
                      <a:pt x="355" y="549"/>
                    </a:lnTo>
                    <a:lnTo>
                      <a:pt x="355" y="551"/>
                    </a:lnTo>
                    <a:lnTo>
                      <a:pt x="357" y="551"/>
                    </a:lnTo>
                    <a:lnTo>
                      <a:pt x="357" y="553"/>
                    </a:lnTo>
                    <a:lnTo>
                      <a:pt x="357" y="555"/>
                    </a:lnTo>
                    <a:lnTo>
                      <a:pt x="359" y="555"/>
                    </a:lnTo>
                    <a:lnTo>
                      <a:pt x="361" y="555"/>
                    </a:lnTo>
                    <a:lnTo>
                      <a:pt x="361" y="553"/>
                    </a:lnTo>
                    <a:lnTo>
                      <a:pt x="361" y="555"/>
                    </a:lnTo>
                    <a:lnTo>
                      <a:pt x="363" y="555"/>
                    </a:lnTo>
                    <a:lnTo>
                      <a:pt x="363" y="557"/>
                    </a:lnTo>
                    <a:lnTo>
                      <a:pt x="365" y="557"/>
                    </a:lnTo>
                    <a:lnTo>
                      <a:pt x="367" y="557"/>
                    </a:lnTo>
                    <a:lnTo>
                      <a:pt x="369" y="557"/>
                    </a:lnTo>
                    <a:lnTo>
                      <a:pt x="371" y="557"/>
                    </a:lnTo>
                    <a:lnTo>
                      <a:pt x="373" y="557"/>
                    </a:lnTo>
                    <a:lnTo>
                      <a:pt x="374" y="557"/>
                    </a:lnTo>
                    <a:lnTo>
                      <a:pt x="376" y="559"/>
                    </a:lnTo>
                    <a:lnTo>
                      <a:pt x="376" y="561"/>
                    </a:lnTo>
                    <a:lnTo>
                      <a:pt x="378" y="561"/>
                    </a:lnTo>
                    <a:lnTo>
                      <a:pt x="380" y="561"/>
                    </a:lnTo>
                    <a:lnTo>
                      <a:pt x="382" y="561"/>
                    </a:lnTo>
                    <a:lnTo>
                      <a:pt x="382" y="563"/>
                    </a:lnTo>
                    <a:lnTo>
                      <a:pt x="382" y="565"/>
                    </a:lnTo>
                    <a:lnTo>
                      <a:pt x="382" y="567"/>
                    </a:lnTo>
                    <a:lnTo>
                      <a:pt x="382" y="569"/>
                    </a:lnTo>
                    <a:lnTo>
                      <a:pt x="384" y="569"/>
                    </a:lnTo>
                    <a:lnTo>
                      <a:pt x="384" y="570"/>
                    </a:lnTo>
                    <a:lnTo>
                      <a:pt x="386" y="570"/>
                    </a:lnTo>
                    <a:lnTo>
                      <a:pt x="386" y="572"/>
                    </a:lnTo>
                    <a:lnTo>
                      <a:pt x="388" y="572"/>
                    </a:lnTo>
                    <a:lnTo>
                      <a:pt x="390" y="572"/>
                    </a:lnTo>
                    <a:lnTo>
                      <a:pt x="388" y="572"/>
                    </a:lnTo>
                    <a:lnTo>
                      <a:pt x="390" y="572"/>
                    </a:lnTo>
                    <a:lnTo>
                      <a:pt x="394" y="572"/>
                    </a:lnTo>
                    <a:lnTo>
                      <a:pt x="396" y="574"/>
                    </a:lnTo>
                    <a:lnTo>
                      <a:pt x="396" y="576"/>
                    </a:lnTo>
                    <a:lnTo>
                      <a:pt x="398" y="576"/>
                    </a:lnTo>
                    <a:lnTo>
                      <a:pt x="399" y="578"/>
                    </a:lnTo>
                    <a:lnTo>
                      <a:pt x="401" y="578"/>
                    </a:lnTo>
                    <a:lnTo>
                      <a:pt x="403" y="578"/>
                    </a:lnTo>
                    <a:lnTo>
                      <a:pt x="405" y="578"/>
                    </a:lnTo>
                    <a:lnTo>
                      <a:pt x="407" y="580"/>
                    </a:lnTo>
                    <a:lnTo>
                      <a:pt x="409" y="580"/>
                    </a:lnTo>
                    <a:lnTo>
                      <a:pt x="411" y="580"/>
                    </a:lnTo>
                    <a:lnTo>
                      <a:pt x="413" y="580"/>
                    </a:lnTo>
                    <a:lnTo>
                      <a:pt x="415" y="580"/>
                    </a:lnTo>
                    <a:lnTo>
                      <a:pt x="417" y="580"/>
                    </a:lnTo>
                    <a:lnTo>
                      <a:pt x="419" y="580"/>
                    </a:lnTo>
                    <a:lnTo>
                      <a:pt x="421" y="580"/>
                    </a:lnTo>
                    <a:lnTo>
                      <a:pt x="423" y="580"/>
                    </a:lnTo>
                    <a:lnTo>
                      <a:pt x="421" y="580"/>
                    </a:lnTo>
                    <a:lnTo>
                      <a:pt x="419" y="580"/>
                    </a:lnTo>
                    <a:lnTo>
                      <a:pt x="417" y="580"/>
                    </a:lnTo>
                    <a:lnTo>
                      <a:pt x="415" y="580"/>
                    </a:lnTo>
                    <a:lnTo>
                      <a:pt x="415" y="582"/>
                    </a:lnTo>
                    <a:lnTo>
                      <a:pt x="415" y="584"/>
                    </a:lnTo>
                    <a:lnTo>
                      <a:pt x="415" y="586"/>
                    </a:lnTo>
                    <a:lnTo>
                      <a:pt x="417" y="586"/>
                    </a:lnTo>
                    <a:lnTo>
                      <a:pt x="417" y="584"/>
                    </a:lnTo>
                    <a:lnTo>
                      <a:pt x="417" y="582"/>
                    </a:lnTo>
                    <a:lnTo>
                      <a:pt x="419" y="582"/>
                    </a:lnTo>
                    <a:lnTo>
                      <a:pt x="419" y="584"/>
                    </a:lnTo>
                    <a:lnTo>
                      <a:pt x="421" y="584"/>
                    </a:lnTo>
                    <a:lnTo>
                      <a:pt x="423" y="584"/>
                    </a:lnTo>
                    <a:lnTo>
                      <a:pt x="423" y="586"/>
                    </a:lnTo>
                    <a:lnTo>
                      <a:pt x="424" y="586"/>
                    </a:lnTo>
                    <a:lnTo>
                      <a:pt x="426" y="586"/>
                    </a:lnTo>
                    <a:lnTo>
                      <a:pt x="428" y="588"/>
                    </a:lnTo>
                    <a:lnTo>
                      <a:pt x="428" y="586"/>
                    </a:lnTo>
                    <a:lnTo>
                      <a:pt x="428" y="588"/>
                    </a:lnTo>
                    <a:lnTo>
                      <a:pt x="430" y="588"/>
                    </a:lnTo>
                    <a:lnTo>
                      <a:pt x="430" y="586"/>
                    </a:lnTo>
                    <a:lnTo>
                      <a:pt x="432" y="586"/>
                    </a:lnTo>
                    <a:lnTo>
                      <a:pt x="434" y="586"/>
                    </a:lnTo>
                    <a:lnTo>
                      <a:pt x="434" y="584"/>
                    </a:lnTo>
                    <a:lnTo>
                      <a:pt x="436" y="584"/>
                    </a:lnTo>
                    <a:lnTo>
                      <a:pt x="436" y="586"/>
                    </a:lnTo>
                    <a:lnTo>
                      <a:pt x="436" y="588"/>
                    </a:lnTo>
                    <a:lnTo>
                      <a:pt x="436" y="590"/>
                    </a:lnTo>
                    <a:lnTo>
                      <a:pt x="438" y="590"/>
                    </a:lnTo>
                    <a:lnTo>
                      <a:pt x="438" y="592"/>
                    </a:lnTo>
                    <a:lnTo>
                      <a:pt x="440" y="592"/>
                    </a:lnTo>
                    <a:lnTo>
                      <a:pt x="440" y="594"/>
                    </a:lnTo>
                    <a:lnTo>
                      <a:pt x="440" y="592"/>
                    </a:lnTo>
                    <a:lnTo>
                      <a:pt x="440" y="594"/>
                    </a:lnTo>
                    <a:lnTo>
                      <a:pt x="442" y="594"/>
                    </a:lnTo>
                    <a:lnTo>
                      <a:pt x="440" y="594"/>
                    </a:lnTo>
                    <a:lnTo>
                      <a:pt x="440" y="595"/>
                    </a:lnTo>
                    <a:lnTo>
                      <a:pt x="440" y="597"/>
                    </a:lnTo>
                    <a:lnTo>
                      <a:pt x="440" y="599"/>
                    </a:lnTo>
                    <a:lnTo>
                      <a:pt x="442" y="599"/>
                    </a:lnTo>
                    <a:lnTo>
                      <a:pt x="440" y="599"/>
                    </a:lnTo>
                    <a:lnTo>
                      <a:pt x="438" y="599"/>
                    </a:lnTo>
                    <a:lnTo>
                      <a:pt x="438" y="601"/>
                    </a:lnTo>
                    <a:lnTo>
                      <a:pt x="436" y="601"/>
                    </a:lnTo>
                    <a:lnTo>
                      <a:pt x="438" y="603"/>
                    </a:lnTo>
                    <a:lnTo>
                      <a:pt x="438" y="605"/>
                    </a:lnTo>
                    <a:lnTo>
                      <a:pt x="438" y="607"/>
                    </a:lnTo>
                    <a:lnTo>
                      <a:pt x="436" y="609"/>
                    </a:lnTo>
                    <a:lnTo>
                      <a:pt x="436" y="607"/>
                    </a:lnTo>
                    <a:lnTo>
                      <a:pt x="436" y="609"/>
                    </a:lnTo>
                    <a:lnTo>
                      <a:pt x="434" y="609"/>
                    </a:lnTo>
                    <a:lnTo>
                      <a:pt x="434" y="607"/>
                    </a:lnTo>
                    <a:lnTo>
                      <a:pt x="432" y="607"/>
                    </a:lnTo>
                    <a:lnTo>
                      <a:pt x="430" y="607"/>
                    </a:lnTo>
                    <a:lnTo>
                      <a:pt x="428" y="607"/>
                    </a:lnTo>
                    <a:lnTo>
                      <a:pt x="426" y="607"/>
                    </a:lnTo>
                    <a:lnTo>
                      <a:pt x="424" y="607"/>
                    </a:lnTo>
                    <a:lnTo>
                      <a:pt x="424" y="605"/>
                    </a:lnTo>
                    <a:lnTo>
                      <a:pt x="423" y="605"/>
                    </a:lnTo>
                    <a:lnTo>
                      <a:pt x="421" y="605"/>
                    </a:lnTo>
                    <a:lnTo>
                      <a:pt x="419" y="605"/>
                    </a:lnTo>
                    <a:lnTo>
                      <a:pt x="419" y="607"/>
                    </a:lnTo>
                    <a:lnTo>
                      <a:pt x="419" y="605"/>
                    </a:lnTo>
                    <a:lnTo>
                      <a:pt x="419" y="607"/>
                    </a:lnTo>
                    <a:lnTo>
                      <a:pt x="417" y="607"/>
                    </a:lnTo>
                    <a:lnTo>
                      <a:pt x="417" y="605"/>
                    </a:lnTo>
                    <a:lnTo>
                      <a:pt x="417" y="607"/>
                    </a:lnTo>
                    <a:lnTo>
                      <a:pt x="419" y="607"/>
                    </a:lnTo>
                    <a:lnTo>
                      <a:pt x="417" y="607"/>
                    </a:lnTo>
                    <a:lnTo>
                      <a:pt x="417" y="609"/>
                    </a:lnTo>
                    <a:lnTo>
                      <a:pt x="415" y="609"/>
                    </a:lnTo>
                    <a:lnTo>
                      <a:pt x="413" y="609"/>
                    </a:lnTo>
                    <a:lnTo>
                      <a:pt x="413" y="611"/>
                    </a:lnTo>
                    <a:lnTo>
                      <a:pt x="413" y="609"/>
                    </a:lnTo>
                    <a:lnTo>
                      <a:pt x="411" y="609"/>
                    </a:lnTo>
                    <a:lnTo>
                      <a:pt x="413" y="611"/>
                    </a:lnTo>
                    <a:lnTo>
                      <a:pt x="411" y="611"/>
                    </a:lnTo>
                    <a:lnTo>
                      <a:pt x="411" y="609"/>
                    </a:lnTo>
                    <a:lnTo>
                      <a:pt x="409" y="609"/>
                    </a:lnTo>
                    <a:lnTo>
                      <a:pt x="411" y="609"/>
                    </a:lnTo>
                    <a:lnTo>
                      <a:pt x="413" y="609"/>
                    </a:lnTo>
                    <a:lnTo>
                      <a:pt x="411" y="609"/>
                    </a:lnTo>
                    <a:lnTo>
                      <a:pt x="409" y="609"/>
                    </a:lnTo>
                    <a:lnTo>
                      <a:pt x="407" y="609"/>
                    </a:lnTo>
                    <a:lnTo>
                      <a:pt x="407" y="607"/>
                    </a:lnTo>
                    <a:lnTo>
                      <a:pt x="405" y="607"/>
                    </a:lnTo>
                    <a:lnTo>
                      <a:pt x="403" y="607"/>
                    </a:lnTo>
                    <a:lnTo>
                      <a:pt x="401" y="607"/>
                    </a:lnTo>
                    <a:lnTo>
                      <a:pt x="399" y="607"/>
                    </a:lnTo>
                    <a:lnTo>
                      <a:pt x="398" y="607"/>
                    </a:lnTo>
                    <a:lnTo>
                      <a:pt x="396" y="607"/>
                    </a:lnTo>
                    <a:lnTo>
                      <a:pt x="394" y="607"/>
                    </a:lnTo>
                    <a:lnTo>
                      <a:pt x="392" y="607"/>
                    </a:lnTo>
                    <a:lnTo>
                      <a:pt x="392" y="609"/>
                    </a:lnTo>
                    <a:lnTo>
                      <a:pt x="390" y="609"/>
                    </a:lnTo>
                    <a:lnTo>
                      <a:pt x="388" y="609"/>
                    </a:lnTo>
                    <a:lnTo>
                      <a:pt x="386" y="607"/>
                    </a:lnTo>
                    <a:lnTo>
                      <a:pt x="384" y="607"/>
                    </a:lnTo>
                    <a:lnTo>
                      <a:pt x="384" y="605"/>
                    </a:lnTo>
                    <a:lnTo>
                      <a:pt x="382" y="605"/>
                    </a:lnTo>
                    <a:lnTo>
                      <a:pt x="382" y="603"/>
                    </a:lnTo>
                    <a:lnTo>
                      <a:pt x="382" y="601"/>
                    </a:lnTo>
                    <a:lnTo>
                      <a:pt x="380" y="601"/>
                    </a:lnTo>
                    <a:lnTo>
                      <a:pt x="382" y="601"/>
                    </a:lnTo>
                    <a:lnTo>
                      <a:pt x="380" y="601"/>
                    </a:lnTo>
                    <a:lnTo>
                      <a:pt x="380" y="599"/>
                    </a:lnTo>
                    <a:lnTo>
                      <a:pt x="382" y="599"/>
                    </a:lnTo>
                    <a:lnTo>
                      <a:pt x="382" y="597"/>
                    </a:lnTo>
                    <a:lnTo>
                      <a:pt x="382" y="595"/>
                    </a:lnTo>
                    <a:lnTo>
                      <a:pt x="384" y="595"/>
                    </a:lnTo>
                    <a:lnTo>
                      <a:pt x="384" y="594"/>
                    </a:lnTo>
                    <a:lnTo>
                      <a:pt x="382" y="592"/>
                    </a:lnTo>
                    <a:lnTo>
                      <a:pt x="380" y="592"/>
                    </a:lnTo>
                    <a:lnTo>
                      <a:pt x="378" y="592"/>
                    </a:lnTo>
                    <a:lnTo>
                      <a:pt x="378" y="594"/>
                    </a:lnTo>
                    <a:lnTo>
                      <a:pt x="376" y="594"/>
                    </a:lnTo>
                    <a:lnTo>
                      <a:pt x="376" y="595"/>
                    </a:lnTo>
                    <a:lnTo>
                      <a:pt x="374" y="595"/>
                    </a:lnTo>
                    <a:lnTo>
                      <a:pt x="376" y="595"/>
                    </a:lnTo>
                    <a:lnTo>
                      <a:pt x="376" y="597"/>
                    </a:lnTo>
                    <a:lnTo>
                      <a:pt x="374" y="597"/>
                    </a:lnTo>
                    <a:lnTo>
                      <a:pt x="374" y="599"/>
                    </a:lnTo>
                    <a:lnTo>
                      <a:pt x="374" y="601"/>
                    </a:lnTo>
                    <a:lnTo>
                      <a:pt x="374" y="603"/>
                    </a:lnTo>
                    <a:lnTo>
                      <a:pt x="376" y="603"/>
                    </a:lnTo>
                    <a:lnTo>
                      <a:pt x="376" y="605"/>
                    </a:lnTo>
                    <a:lnTo>
                      <a:pt x="376" y="607"/>
                    </a:lnTo>
                    <a:lnTo>
                      <a:pt x="378" y="607"/>
                    </a:lnTo>
                    <a:lnTo>
                      <a:pt x="380" y="607"/>
                    </a:lnTo>
                    <a:lnTo>
                      <a:pt x="382" y="607"/>
                    </a:lnTo>
                    <a:lnTo>
                      <a:pt x="382" y="609"/>
                    </a:lnTo>
                    <a:lnTo>
                      <a:pt x="384" y="607"/>
                    </a:lnTo>
                    <a:lnTo>
                      <a:pt x="386" y="607"/>
                    </a:lnTo>
                    <a:lnTo>
                      <a:pt x="386" y="609"/>
                    </a:lnTo>
                    <a:lnTo>
                      <a:pt x="388" y="609"/>
                    </a:lnTo>
                    <a:lnTo>
                      <a:pt x="390" y="609"/>
                    </a:lnTo>
                    <a:lnTo>
                      <a:pt x="392" y="609"/>
                    </a:lnTo>
                    <a:lnTo>
                      <a:pt x="392" y="607"/>
                    </a:lnTo>
                    <a:lnTo>
                      <a:pt x="394" y="607"/>
                    </a:lnTo>
                    <a:lnTo>
                      <a:pt x="396" y="607"/>
                    </a:lnTo>
                    <a:lnTo>
                      <a:pt x="398" y="607"/>
                    </a:lnTo>
                    <a:lnTo>
                      <a:pt x="399" y="607"/>
                    </a:lnTo>
                    <a:lnTo>
                      <a:pt x="399" y="609"/>
                    </a:lnTo>
                    <a:lnTo>
                      <a:pt x="398" y="609"/>
                    </a:lnTo>
                    <a:lnTo>
                      <a:pt x="396" y="609"/>
                    </a:lnTo>
                    <a:lnTo>
                      <a:pt x="396" y="611"/>
                    </a:lnTo>
                    <a:lnTo>
                      <a:pt x="394" y="611"/>
                    </a:lnTo>
                    <a:lnTo>
                      <a:pt x="396" y="611"/>
                    </a:lnTo>
                    <a:lnTo>
                      <a:pt x="396" y="609"/>
                    </a:lnTo>
                    <a:lnTo>
                      <a:pt x="396" y="611"/>
                    </a:lnTo>
                    <a:lnTo>
                      <a:pt x="394" y="611"/>
                    </a:lnTo>
                    <a:lnTo>
                      <a:pt x="392" y="613"/>
                    </a:lnTo>
                    <a:lnTo>
                      <a:pt x="390" y="613"/>
                    </a:lnTo>
                    <a:lnTo>
                      <a:pt x="390" y="611"/>
                    </a:lnTo>
                    <a:lnTo>
                      <a:pt x="390" y="613"/>
                    </a:lnTo>
                    <a:lnTo>
                      <a:pt x="388" y="613"/>
                    </a:lnTo>
                    <a:lnTo>
                      <a:pt x="390" y="613"/>
                    </a:lnTo>
                    <a:lnTo>
                      <a:pt x="388" y="613"/>
                    </a:lnTo>
                    <a:lnTo>
                      <a:pt x="390" y="613"/>
                    </a:lnTo>
                    <a:lnTo>
                      <a:pt x="390" y="615"/>
                    </a:lnTo>
                    <a:lnTo>
                      <a:pt x="390" y="617"/>
                    </a:lnTo>
                    <a:lnTo>
                      <a:pt x="390" y="619"/>
                    </a:lnTo>
                    <a:lnTo>
                      <a:pt x="392" y="620"/>
                    </a:lnTo>
                    <a:lnTo>
                      <a:pt x="392" y="619"/>
                    </a:lnTo>
                    <a:lnTo>
                      <a:pt x="392" y="620"/>
                    </a:lnTo>
                    <a:lnTo>
                      <a:pt x="392" y="622"/>
                    </a:lnTo>
                    <a:lnTo>
                      <a:pt x="392" y="624"/>
                    </a:lnTo>
                    <a:lnTo>
                      <a:pt x="392" y="626"/>
                    </a:lnTo>
                    <a:lnTo>
                      <a:pt x="392" y="628"/>
                    </a:lnTo>
                    <a:lnTo>
                      <a:pt x="392" y="630"/>
                    </a:lnTo>
                    <a:lnTo>
                      <a:pt x="390" y="630"/>
                    </a:lnTo>
                    <a:lnTo>
                      <a:pt x="390" y="632"/>
                    </a:lnTo>
                    <a:lnTo>
                      <a:pt x="390" y="630"/>
                    </a:lnTo>
                    <a:lnTo>
                      <a:pt x="392" y="630"/>
                    </a:lnTo>
                    <a:lnTo>
                      <a:pt x="390" y="630"/>
                    </a:lnTo>
                    <a:lnTo>
                      <a:pt x="392" y="630"/>
                    </a:lnTo>
                    <a:lnTo>
                      <a:pt x="392" y="632"/>
                    </a:lnTo>
                    <a:lnTo>
                      <a:pt x="392" y="634"/>
                    </a:lnTo>
                    <a:lnTo>
                      <a:pt x="394" y="634"/>
                    </a:lnTo>
                    <a:lnTo>
                      <a:pt x="394" y="636"/>
                    </a:lnTo>
                    <a:lnTo>
                      <a:pt x="392" y="636"/>
                    </a:lnTo>
                    <a:lnTo>
                      <a:pt x="390" y="636"/>
                    </a:lnTo>
                    <a:lnTo>
                      <a:pt x="390" y="634"/>
                    </a:lnTo>
                    <a:lnTo>
                      <a:pt x="388" y="636"/>
                    </a:lnTo>
                    <a:lnTo>
                      <a:pt x="388" y="638"/>
                    </a:lnTo>
                    <a:lnTo>
                      <a:pt x="386" y="636"/>
                    </a:lnTo>
                    <a:lnTo>
                      <a:pt x="386" y="634"/>
                    </a:lnTo>
                    <a:lnTo>
                      <a:pt x="384" y="634"/>
                    </a:lnTo>
                    <a:lnTo>
                      <a:pt x="384" y="632"/>
                    </a:lnTo>
                    <a:lnTo>
                      <a:pt x="382" y="632"/>
                    </a:lnTo>
                    <a:lnTo>
                      <a:pt x="382" y="634"/>
                    </a:lnTo>
                    <a:lnTo>
                      <a:pt x="380" y="634"/>
                    </a:lnTo>
                    <a:lnTo>
                      <a:pt x="380" y="636"/>
                    </a:lnTo>
                    <a:lnTo>
                      <a:pt x="378" y="634"/>
                    </a:lnTo>
                    <a:lnTo>
                      <a:pt x="378" y="636"/>
                    </a:lnTo>
                    <a:lnTo>
                      <a:pt x="376" y="636"/>
                    </a:lnTo>
                    <a:lnTo>
                      <a:pt x="376" y="638"/>
                    </a:lnTo>
                    <a:lnTo>
                      <a:pt x="376" y="640"/>
                    </a:lnTo>
                    <a:lnTo>
                      <a:pt x="374" y="642"/>
                    </a:lnTo>
                    <a:lnTo>
                      <a:pt x="374" y="644"/>
                    </a:lnTo>
                    <a:lnTo>
                      <a:pt x="374" y="645"/>
                    </a:lnTo>
                    <a:lnTo>
                      <a:pt x="374" y="644"/>
                    </a:lnTo>
                    <a:lnTo>
                      <a:pt x="374" y="642"/>
                    </a:lnTo>
                    <a:lnTo>
                      <a:pt x="376" y="640"/>
                    </a:lnTo>
                    <a:lnTo>
                      <a:pt x="378" y="640"/>
                    </a:lnTo>
                    <a:lnTo>
                      <a:pt x="378" y="642"/>
                    </a:lnTo>
                    <a:lnTo>
                      <a:pt x="378" y="640"/>
                    </a:lnTo>
                    <a:lnTo>
                      <a:pt x="378" y="638"/>
                    </a:lnTo>
                    <a:lnTo>
                      <a:pt x="380" y="638"/>
                    </a:lnTo>
                    <a:lnTo>
                      <a:pt x="380" y="640"/>
                    </a:lnTo>
                    <a:lnTo>
                      <a:pt x="382" y="640"/>
                    </a:lnTo>
                    <a:lnTo>
                      <a:pt x="382" y="638"/>
                    </a:lnTo>
                    <a:lnTo>
                      <a:pt x="382" y="640"/>
                    </a:lnTo>
                    <a:lnTo>
                      <a:pt x="384" y="640"/>
                    </a:lnTo>
                    <a:lnTo>
                      <a:pt x="386" y="640"/>
                    </a:lnTo>
                    <a:lnTo>
                      <a:pt x="386" y="638"/>
                    </a:lnTo>
                    <a:lnTo>
                      <a:pt x="388" y="638"/>
                    </a:lnTo>
                    <a:lnTo>
                      <a:pt x="388" y="636"/>
                    </a:lnTo>
                    <a:lnTo>
                      <a:pt x="390" y="636"/>
                    </a:lnTo>
                    <a:lnTo>
                      <a:pt x="392" y="636"/>
                    </a:lnTo>
                    <a:lnTo>
                      <a:pt x="394" y="636"/>
                    </a:lnTo>
                    <a:lnTo>
                      <a:pt x="394" y="634"/>
                    </a:lnTo>
                    <a:lnTo>
                      <a:pt x="392" y="634"/>
                    </a:lnTo>
                    <a:lnTo>
                      <a:pt x="394" y="634"/>
                    </a:lnTo>
                    <a:lnTo>
                      <a:pt x="396" y="634"/>
                    </a:lnTo>
                    <a:lnTo>
                      <a:pt x="398" y="634"/>
                    </a:lnTo>
                    <a:lnTo>
                      <a:pt x="399" y="636"/>
                    </a:lnTo>
                    <a:lnTo>
                      <a:pt x="401" y="636"/>
                    </a:lnTo>
                    <a:lnTo>
                      <a:pt x="403" y="636"/>
                    </a:lnTo>
                    <a:lnTo>
                      <a:pt x="405" y="636"/>
                    </a:lnTo>
                    <a:lnTo>
                      <a:pt x="407" y="636"/>
                    </a:lnTo>
                    <a:lnTo>
                      <a:pt x="407" y="638"/>
                    </a:lnTo>
                    <a:lnTo>
                      <a:pt x="409" y="638"/>
                    </a:lnTo>
                    <a:lnTo>
                      <a:pt x="409" y="640"/>
                    </a:lnTo>
                    <a:lnTo>
                      <a:pt x="411" y="640"/>
                    </a:lnTo>
                    <a:lnTo>
                      <a:pt x="411" y="642"/>
                    </a:lnTo>
                    <a:lnTo>
                      <a:pt x="411" y="644"/>
                    </a:lnTo>
                    <a:lnTo>
                      <a:pt x="413" y="644"/>
                    </a:lnTo>
                    <a:lnTo>
                      <a:pt x="413" y="645"/>
                    </a:lnTo>
                    <a:lnTo>
                      <a:pt x="415" y="645"/>
                    </a:lnTo>
                    <a:lnTo>
                      <a:pt x="415" y="647"/>
                    </a:lnTo>
                    <a:lnTo>
                      <a:pt x="415" y="649"/>
                    </a:lnTo>
                    <a:lnTo>
                      <a:pt x="417" y="649"/>
                    </a:lnTo>
                    <a:lnTo>
                      <a:pt x="417" y="647"/>
                    </a:lnTo>
                    <a:lnTo>
                      <a:pt x="419" y="647"/>
                    </a:lnTo>
                    <a:lnTo>
                      <a:pt x="421" y="647"/>
                    </a:lnTo>
                    <a:lnTo>
                      <a:pt x="423" y="647"/>
                    </a:lnTo>
                    <a:lnTo>
                      <a:pt x="424" y="647"/>
                    </a:lnTo>
                    <a:lnTo>
                      <a:pt x="424" y="649"/>
                    </a:lnTo>
                    <a:lnTo>
                      <a:pt x="426" y="649"/>
                    </a:lnTo>
                    <a:lnTo>
                      <a:pt x="426" y="651"/>
                    </a:lnTo>
                    <a:lnTo>
                      <a:pt x="428" y="651"/>
                    </a:lnTo>
                    <a:lnTo>
                      <a:pt x="428" y="653"/>
                    </a:lnTo>
                    <a:lnTo>
                      <a:pt x="430" y="653"/>
                    </a:lnTo>
                    <a:lnTo>
                      <a:pt x="430" y="655"/>
                    </a:lnTo>
                    <a:lnTo>
                      <a:pt x="432" y="655"/>
                    </a:lnTo>
                    <a:lnTo>
                      <a:pt x="432" y="657"/>
                    </a:lnTo>
                    <a:lnTo>
                      <a:pt x="434" y="659"/>
                    </a:lnTo>
                    <a:lnTo>
                      <a:pt x="434" y="661"/>
                    </a:lnTo>
                    <a:lnTo>
                      <a:pt x="434" y="663"/>
                    </a:lnTo>
                    <a:lnTo>
                      <a:pt x="434" y="665"/>
                    </a:lnTo>
                    <a:lnTo>
                      <a:pt x="434" y="667"/>
                    </a:lnTo>
                    <a:lnTo>
                      <a:pt x="436" y="667"/>
                    </a:lnTo>
                    <a:lnTo>
                      <a:pt x="436" y="669"/>
                    </a:lnTo>
                    <a:lnTo>
                      <a:pt x="436" y="670"/>
                    </a:lnTo>
                    <a:lnTo>
                      <a:pt x="434" y="672"/>
                    </a:lnTo>
                    <a:lnTo>
                      <a:pt x="434" y="674"/>
                    </a:lnTo>
                    <a:lnTo>
                      <a:pt x="436" y="676"/>
                    </a:lnTo>
                    <a:lnTo>
                      <a:pt x="436" y="678"/>
                    </a:lnTo>
                    <a:lnTo>
                      <a:pt x="434" y="678"/>
                    </a:lnTo>
                    <a:lnTo>
                      <a:pt x="434" y="680"/>
                    </a:lnTo>
                    <a:lnTo>
                      <a:pt x="436" y="682"/>
                    </a:lnTo>
                    <a:lnTo>
                      <a:pt x="436" y="684"/>
                    </a:lnTo>
                    <a:lnTo>
                      <a:pt x="434" y="684"/>
                    </a:lnTo>
                    <a:lnTo>
                      <a:pt x="436" y="684"/>
                    </a:lnTo>
                    <a:lnTo>
                      <a:pt x="436" y="686"/>
                    </a:lnTo>
                    <a:lnTo>
                      <a:pt x="436" y="688"/>
                    </a:lnTo>
                    <a:lnTo>
                      <a:pt x="438" y="688"/>
                    </a:lnTo>
                    <a:lnTo>
                      <a:pt x="438" y="690"/>
                    </a:lnTo>
                    <a:lnTo>
                      <a:pt x="438" y="688"/>
                    </a:lnTo>
                    <a:lnTo>
                      <a:pt x="440" y="690"/>
                    </a:lnTo>
                    <a:lnTo>
                      <a:pt x="442" y="690"/>
                    </a:lnTo>
                    <a:lnTo>
                      <a:pt x="442" y="692"/>
                    </a:lnTo>
                    <a:lnTo>
                      <a:pt x="442" y="694"/>
                    </a:lnTo>
                    <a:lnTo>
                      <a:pt x="444" y="694"/>
                    </a:lnTo>
                    <a:lnTo>
                      <a:pt x="442" y="694"/>
                    </a:lnTo>
                    <a:lnTo>
                      <a:pt x="442" y="695"/>
                    </a:lnTo>
                    <a:lnTo>
                      <a:pt x="442" y="697"/>
                    </a:lnTo>
                    <a:lnTo>
                      <a:pt x="442" y="699"/>
                    </a:lnTo>
                    <a:lnTo>
                      <a:pt x="440" y="699"/>
                    </a:lnTo>
                    <a:lnTo>
                      <a:pt x="440" y="701"/>
                    </a:lnTo>
                    <a:lnTo>
                      <a:pt x="440" y="703"/>
                    </a:lnTo>
                    <a:lnTo>
                      <a:pt x="440" y="705"/>
                    </a:lnTo>
                    <a:lnTo>
                      <a:pt x="440" y="703"/>
                    </a:lnTo>
                    <a:lnTo>
                      <a:pt x="440" y="701"/>
                    </a:lnTo>
                    <a:lnTo>
                      <a:pt x="440" y="703"/>
                    </a:lnTo>
                    <a:lnTo>
                      <a:pt x="440" y="705"/>
                    </a:lnTo>
                    <a:lnTo>
                      <a:pt x="440" y="707"/>
                    </a:lnTo>
                    <a:lnTo>
                      <a:pt x="440" y="709"/>
                    </a:lnTo>
                    <a:lnTo>
                      <a:pt x="438" y="709"/>
                    </a:lnTo>
                    <a:lnTo>
                      <a:pt x="440" y="709"/>
                    </a:lnTo>
                    <a:lnTo>
                      <a:pt x="440" y="711"/>
                    </a:lnTo>
                    <a:lnTo>
                      <a:pt x="440" y="713"/>
                    </a:lnTo>
                    <a:lnTo>
                      <a:pt x="438" y="715"/>
                    </a:lnTo>
                    <a:lnTo>
                      <a:pt x="436" y="715"/>
                    </a:lnTo>
                    <a:lnTo>
                      <a:pt x="436" y="717"/>
                    </a:lnTo>
                    <a:lnTo>
                      <a:pt x="436" y="719"/>
                    </a:lnTo>
                    <a:lnTo>
                      <a:pt x="434" y="719"/>
                    </a:lnTo>
                    <a:lnTo>
                      <a:pt x="434" y="720"/>
                    </a:lnTo>
                    <a:lnTo>
                      <a:pt x="432" y="720"/>
                    </a:lnTo>
                    <a:lnTo>
                      <a:pt x="430" y="720"/>
                    </a:lnTo>
                    <a:lnTo>
                      <a:pt x="428" y="722"/>
                    </a:lnTo>
                    <a:lnTo>
                      <a:pt x="428" y="724"/>
                    </a:lnTo>
                    <a:lnTo>
                      <a:pt x="428" y="726"/>
                    </a:lnTo>
                    <a:lnTo>
                      <a:pt x="430" y="728"/>
                    </a:lnTo>
                    <a:lnTo>
                      <a:pt x="428" y="728"/>
                    </a:lnTo>
                    <a:lnTo>
                      <a:pt x="428" y="726"/>
                    </a:lnTo>
                    <a:lnTo>
                      <a:pt x="428" y="728"/>
                    </a:lnTo>
                    <a:lnTo>
                      <a:pt x="430" y="728"/>
                    </a:lnTo>
                    <a:lnTo>
                      <a:pt x="430" y="730"/>
                    </a:lnTo>
                    <a:lnTo>
                      <a:pt x="428" y="730"/>
                    </a:lnTo>
                    <a:lnTo>
                      <a:pt x="428" y="732"/>
                    </a:lnTo>
                    <a:lnTo>
                      <a:pt x="428" y="734"/>
                    </a:lnTo>
                    <a:lnTo>
                      <a:pt x="428" y="736"/>
                    </a:lnTo>
                    <a:lnTo>
                      <a:pt x="426" y="736"/>
                    </a:lnTo>
                    <a:lnTo>
                      <a:pt x="426" y="738"/>
                    </a:lnTo>
                    <a:lnTo>
                      <a:pt x="424" y="738"/>
                    </a:lnTo>
                    <a:lnTo>
                      <a:pt x="423" y="740"/>
                    </a:lnTo>
                    <a:lnTo>
                      <a:pt x="421" y="740"/>
                    </a:lnTo>
                    <a:lnTo>
                      <a:pt x="419" y="740"/>
                    </a:lnTo>
                    <a:lnTo>
                      <a:pt x="419" y="738"/>
                    </a:lnTo>
                    <a:lnTo>
                      <a:pt x="419" y="740"/>
                    </a:lnTo>
                    <a:lnTo>
                      <a:pt x="417" y="740"/>
                    </a:lnTo>
                    <a:lnTo>
                      <a:pt x="417" y="742"/>
                    </a:lnTo>
                    <a:lnTo>
                      <a:pt x="415" y="742"/>
                    </a:lnTo>
                    <a:lnTo>
                      <a:pt x="415" y="744"/>
                    </a:lnTo>
                    <a:lnTo>
                      <a:pt x="415" y="745"/>
                    </a:lnTo>
                    <a:lnTo>
                      <a:pt x="415" y="747"/>
                    </a:lnTo>
                    <a:lnTo>
                      <a:pt x="415" y="749"/>
                    </a:lnTo>
                    <a:lnTo>
                      <a:pt x="415" y="751"/>
                    </a:lnTo>
                    <a:lnTo>
                      <a:pt x="415" y="753"/>
                    </a:lnTo>
                    <a:lnTo>
                      <a:pt x="413" y="755"/>
                    </a:lnTo>
                    <a:lnTo>
                      <a:pt x="411" y="757"/>
                    </a:lnTo>
                    <a:lnTo>
                      <a:pt x="411" y="759"/>
                    </a:lnTo>
                    <a:lnTo>
                      <a:pt x="411" y="761"/>
                    </a:lnTo>
                    <a:lnTo>
                      <a:pt x="411" y="763"/>
                    </a:lnTo>
                    <a:lnTo>
                      <a:pt x="411" y="765"/>
                    </a:lnTo>
                    <a:lnTo>
                      <a:pt x="409" y="767"/>
                    </a:lnTo>
                    <a:lnTo>
                      <a:pt x="407" y="767"/>
                    </a:lnTo>
                    <a:lnTo>
                      <a:pt x="407" y="769"/>
                    </a:lnTo>
                    <a:lnTo>
                      <a:pt x="407" y="770"/>
                    </a:lnTo>
                    <a:lnTo>
                      <a:pt x="407" y="772"/>
                    </a:lnTo>
                    <a:lnTo>
                      <a:pt x="407" y="774"/>
                    </a:lnTo>
                    <a:lnTo>
                      <a:pt x="405" y="776"/>
                    </a:lnTo>
                    <a:lnTo>
                      <a:pt x="405" y="778"/>
                    </a:lnTo>
                    <a:lnTo>
                      <a:pt x="405" y="780"/>
                    </a:lnTo>
                    <a:lnTo>
                      <a:pt x="403" y="780"/>
                    </a:lnTo>
                    <a:lnTo>
                      <a:pt x="403" y="782"/>
                    </a:lnTo>
                    <a:lnTo>
                      <a:pt x="405" y="784"/>
                    </a:lnTo>
                    <a:lnTo>
                      <a:pt x="403" y="782"/>
                    </a:lnTo>
                    <a:lnTo>
                      <a:pt x="403" y="780"/>
                    </a:lnTo>
                    <a:lnTo>
                      <a:pt x="405" y="780"/>
                    </a:lnTo>
                    <a:lnTo>
                      <a:pt x="405" y="778"/>
                    </a:lnTo>
                    <a:lnTo>
                      <a:pt x="407" y="776"/>
                    </a:lnTo>
                    <a:lnTo>
                      <a:pt x="407" y="774"/>
                    </a:lnTo>
                    <a:lnTo>
                      <a:pt x="407" y="772"/>
                    </a:lnTo>
                    <a:lnTo>
                      <a:pt x="409" y="772"/>
                    </a:lnTo>
                    <a:lnTo>
                      <a:pt x="409" y="770"/>
                    </a:lnTo>
                    <a:lnTo>
                      <a:pt x="407" y="770"/>
                    </a:lnTo>
                    <a:lnTo>
                      <a:pt x="409" y="769"/>
                    </a:lnTo>
                    <a:lnTo>
                      <a:pt x="409" y="767"/>
                    </a:lnTo>
                    <a:lnTo>
                      <a:pt x="411" y="767"/>
                    </a:lnTo>
                    <a:lnTo>
                      <a:pt x="411" y="765"/>
                    </a:lnTo>
                    <a:lnTo>
                      <a:pt x="413" y="765"/>
                    </a:lnTo>
                    <a:lnTo>
                      <a:pt x="413" y="763"/>
                    </a:lnTo>
                    <a:lnTo>
                      <a:pt x="411" y="763"/>
                    </a:lnTo>
                    <a:lnTo>
                      <a:pt x="411" y="761"/>
                    </a:lnTo>
                    <a:lnTo>
                      <a:pt x="411" y="759"/>
                    </a:lnTo>
                    <a:lnTo>
                      <a:pt x="413" y="759"/>
                    </a:lnTo>
                    <a:lnTo>
                      <a:pt x="413" y="757"/>
                    </a:lnTo>
                    <a:lnTo>
                      <a:pt x="415" y="757"/>
                    </a:lnTo>
                    <a:lnTo>
                      <a:pt x="415" y="755"/>
                    </a:lnTo>
                    <a:lnTo>
                      <a:pt x="415" y="753"/>
                    </a:lnTo>
                    <a:lnTo>
                      <a:pt x="417" y="753"/>
                    </a:lnTo>
                    <a:lnTo>
                      <a:pt x="417" y="751"/>
                    </a:lnTo>
                    <a:lnTo>
                      <a:pt x="417" y="749"/>
                    </a:lnTo>
                    <a:lnTo>
                      <a:pt x="417" y="747"/>
                    </a:lnTo>
                    <a:lnTo>
                      <a:pt x="417" y="745"/>
                    </a:lnTo>
                    <a:lnTo>
                      <a:pt x="415" y="745"/>
                    </a:lnTo>
                    <a:lnTo>
                      <a:pt x="415" y="744"/>
                    </a:lnTo>
                    <a:lnTo>
                      <a:pt x="415" y="742"/>
                    </a:lnTo>
                    <a:lnTo>
                      <a:pt x="417" y="742"/>
                    </a:lnTo>
                    <a:lnTo>
                      <a:pt x="419" y="742"/>
                    </a:lnTo>
                    <a:lnTo>
                      <a:pt x="421" y="742"/>
                    </a:lnTo>
                    <a:lnTo>
                      <a:pt x="423" y="742"/>
                    </a:lnTo>
                    <a:lnTo>
                      <a:pt x="424" y="742"/>
                    </a:lnTo>
                    <a:lnTo>
                      <a:pt x="426" y="742"/>
                    </a:lnTo>
                    <a:lnTo>
                      <a:pt x="426" y="740"/>
                    </a:lnTo>
                    <a:lnTo>
                      <a:pt x="428" y="738"/>
                    </a:lnTo>
                    <a:lnTo>
                      <a:pt x="426" y="738"/>
                    </a:lnTo>
                    <a:lnTo>
                      <a:pt x="428" y="738"/>
                    </a:lnTo>
                    <a:lnTo>
                      <a:pt x="428" y="736"/>
                    </a:lnTo>
                    <a:lnTo>
                      <a:pt x="430" y="736"/>
                    </a:lnTo>
                    <a:lnTo>
                      <a:pt x="430" y="734"/>
                    </a:lnTo>
                    <a:lnTo>
                      <a:pt x="430" y="732"/>
                    </a:lnTo>
                    <a:lnTo>
                      <a:pt x="432" y="732"/>
                    </a:lnTo>
                    <a:lnTo>
                      <a:pt x="432" y="730"/>
                    </a:lnTo>
                    <a:lnTo>
                      <a:pt x="432" y="728"/>
                    </a:lnTo>
                    <a:lnTo>
                      <a:pt x="430" y="726"/>
                    </a:lnTo>
                    <a:lnTo>
                      <a:pt x="428" y="726"/>
                    </a:lnTo>
                    <a:lnTo>
                      <a:pt x="430" y="726"/>
                    </a:lnTo>
                    <a:lnTo>
                      <a:pt x="430" y="724"/>
                    </a:lnTo>
                    <a:lnTo>
                      <a:pt x="432" y="724"/>
                    </a:lnTo>
                    <a:lnTo>
                      <a:pt x="434" y="724"/>
                    </a:lnTo>
                    <a:lnTo>
                      <a:pt x="434" y="722"/>
                    </a:lnTo>
                    <a:lnTo>
                      <a:pt x="436" y="722"/>
                    </a:lnTo>
                    <a:lnTo>
                      <a:pt x="436" y="720"/>
                    </a:lnTo>
                    <a:lnTo>
                      <a:pt x="436" y="719"/>
                    </a:lnTo>
                    <a:lnTo>
                      <a:pt x="438" y="719"/>
                    </a:lnTo>
                    <a:lnTo>
                      <a:pt x="438" y="717"/>
                    </a:lnTo>
                    <a:lnTo>
                      <a:pt x="440" y="717"/>
                    </a:lnTo>
                    <a:lnTo>
                      <a:pt x="442" y="717"/>
                    </a:lnTo>
                    <a:lnTo>
                      <a:pt x="442" y="715"/>
                    </a:lnTo>
                    <a:lnTo>
                      <a:pt x="444" y="715"/>
                    </a:lnTo>
                    <a:lnTo>
                      <a:pt x="446" y="715"/>
                    </a:lnTo>
                    <a:lnTo>
                      <a:pt x="446" y="713"/>
                    </a:lnTo>
                    <a:lnTo>
                      <a:pt x="446" y="711"/>
                    </a:lnTo>
                    <a:lnTo>
                      <a:pt x="444" y="709"/>
                    </a:lnTo>
                    <a:lnTo>
                      <a:pt x="444" y="707"/>
                    </a:lnTo>
                    <a:lnTo>
                      <a:pt x="446" y="707"/>
                    </a:lnTo>
                    <a:lnTo>
                      <a:pt x="446" y="705"/>
                    </a:lnTo>
                    <a:lnTo>
                      <a:pt x="447" y="705"/>
                    </a:lnTo>
                    <a:lnTo>
                      <a:pt x="446" y="705"/>
                    </a:lnTo>
                    <a:lnTo>
                      <a:pt x="447" y="705"/>
                    </a:lnTo>
                    <a:lnTo>
                      <a:pt x="447" y="703"/>
                    </a:lnTo>
                    <a:lnTo>
                      <a:pt x="447" y="705"/>
                    </a:lnTo>
                    <a:lnTo>
                      <a:pt x="449" y="705"/>
                    </a:lnTo>
                    <a:lnTo>
                      <a:pt x="449" y="707"/>
                    </a:lnTo>
                    <a:lnTo>
                      <a:pt x="447" y="707"/>
                    </a:lnTo>
                    <a:lnTo>
                      <a:pt x="449" y="707"/>
                    </a:lnTo>
                    <a:lnTo>
                      <a:pt x="447" y="707"/>
                    </a:lnTo>
                    <a:lnTo>
                      <a:pt x="447" y="709"/>
                    </a:lnTo>
                    <a:lnTo>
                      <a:pt x="447" y="711"/>
                    </a:lnTo>
                    <a:lnTo>
                      <a:pt x="447" y="713"/>
                    </a:lnTo>
                    <a:lnTo>
                      <a:pt x="449" y="713"/>
                    </a:lnTo>
                    <a:lnTo>
                      <a:pt x="449" y="715"/>
                    </a:lnTo>
                    <a:lnTo>
                      <a:pt x="449" y="713"/>
                    </a:lnTo>
                    <a:lnTo>
                      <a:pt x="451" y="713"/>
                    </a:lnTo>
                    <a:lnTo>
                      <a:pt x="449" y="713"/>
                    </a:lnTo>
                    <a:lnTo>
                      <a:pt x="449" y="711"/>
                    </a:lnTo>
                    <a:lnTo>
                      <a:pt x="449" y="709"/>
                    </a:lnTo>
                    <a:lnTo>
                      <a:pt x="451" y="707"/>
                    </a:lnTo>
                    <a:lnTo>
                      <a:pt x="453" y="707"/>
                    </a:lnTo>
                    <a:lnTo>
                      <a:pt x="453" y="709"/>
                    </a:lnTo>
                    <a:lnTo>
                      <a:pt x="455" y="709"/>
                    </a:lnTo>
                    <a:lnTo>
                      <a:pt x="455" y="707"/>
                    </a:lnTo>
                    <a:lnTo>
                      <a:pt x="457" y="707"/>
                    </a:lnTo>
                    <a:lnTo>
                      <a:pt x="457" y="709"/>
                    </a:lnTo>
                    <a:lnTo>
                      <a:pt x="457" y="707"/>
                    </a:lnTo>
                    <a:lnTo>
                      <a:pt x="459" y="707"/>
                    </a:lnTo>
                    <a:lnTo>
                      <a:pt x="459" y="705"/>
                    </a:lnTo>
                    <a:lnTo>
                      <a:pt x="461" y="705"/>
                    </a:lnTo>
                    <a:lnTo>
                      <a:pt x="461" y="703"/>
                    </a:lnTo>
                    <a:lnTo>
                      <a:pt x="463" y="703"/>
                    </a:lnTo>
                    <a:lnTo>
                      <a:pt x="461" y="701"/>
                    </a:lnTo>
                    <a:lnTo>
                      <a:pt x="461" y="699"/>
                    </a:lnTo>
                    <a:lnTo>
                      <a:pt x="461" y="697"/>
                    </a:lnTo>
                    <a:lnTo>
                      <a:pt x="463" y="697"/>
                    </a:lnTo>
                    <a:lnTo>
                      <a:pt x="463" y="699"/>
                    </a:lnTo>
                    <a:lnTo>
                      <a:pt x="465" y="699"/>
                    </a:lnTo>
                    <a:lnTo>
                      <a:pt x="467" y="699"/>
                    </a:lnTo>
                    <a:lnTo>
                      <a:pt x="467" y="697"/>
                    </a:lnTo>
                    <a:lnTo>
                      <a:pt x="467" y="699"/>
                    </a:lnTo>
                    <a:lnTo>
                      <a:pt x="467" y="697"/>
                    </a:lnTo>
                    <a:lnTo>
                      <a:pt x="465" y="697"/>
                    </a:lnTo>
                    <a:lnTo>
                      <a:pt x="465" y="695"/>
                    </a:lnTo>
                    <a:lnTo>
                      <a:pt x="463" y="695"/>
                    </a:lnTo>
                    <a:lnTo>
                      <a:pt x="463" y="697"/>
                    </a:lnTo>
                    <a:lnTo>
                      <a:pt x="461" y="697"/>
                    </a:lnTo>
                    <a:lnTo>
                      <a:pt x="461" y="699"/>
                    </a:lnTo>
                    <a:lnTo>
                      <a:pt x="459" y="699"/>
                    </a:lnTo>
                    <a:lnTo>
                      <a:pt x="459" y="701"/>
                    </a:lnTo>
                    <a:lnTo>
                      <a:pt x="457" y="701"/>
                    </a:lnTo>
                    <a:lnTo>
                      <a:pt x="457" y="703"/>
                    </a:lnTo>
                    <a:lnTo>
                      <a:pt x="455" y="703"/>
                    </a:lnTo>
                    <a:lnTo>
                      <a:pt x="455" y="705"/>
                    </a:lnTo>
                    <a:lnTo>
                      <a:pt x="455" y="703"/>
                    </a:lnTo>
                    <a:lnTo>
                      <a:pt x="455" y="705"/>
                    </a:lnTo>
                    <a:lnTo>
                      <a:pt x="453" y="705"/>
                    </a:lnTo>
                    <a:lnTo>
                      <a:pt x="453" y="703"/>
                    </a:lnTo>
                    <a:lnTo>
                      <a:pt x="451" y="703"/>
                    </a:lnTo>
                    <a:lnTo>
                      <a:pt x="449" y="701"/>
                    </a:lnTo>
                    <a:lnTo>
                      <a:pt x="447" y="703"/>
                    </a:lnTo>
                    <a:lnTo>
                      <a:pt x="446" y="701"/>
                    </a:lnTo>
                    <a:lnTo>
                      <a:pt x="446" y="699"/>
                    </a:lnTo>
                    <a:lnTo>
                      <a:pt x="447" y="697"/>
                    </a:lnTo>
                    <a:lnTo>
                      <a:pt x="447" y="695"/>
                    </a:lnTo>
                    <a:lnTo>
                      <a:pt x="449" y="694"/>
                    </a:lnTo>
                    <a:lnTo>
                      <a:pt x="449" y="692"/>
                    </a:lnTo>
                    <a:lnTo>
                      <a:pt x="449" y="690"/>
                    </a:lnTo>
                    <a:lnTo>
                      <a:pt x="451" y="690"/>
                    </a:lnTo>
                    <a:lnTo>
                      <a:pt x="451" y="692"/>
                    </a:lnTo>
                    <a:lnTo>
                      <a:pt x="451" y="690"/>
                    </a:lnTo>
                    <a:lnTo>
                      <a:pt x="451" y="692"/>
                    </a:lnTo>
                    <a:lnTo>
                      <a:pt x="449" y="690"/>
                    </a:lnTo>
                    <a:lnTo>
                      <a:pt x="449" y="692"/>
                    </a:lnTo>
                    <a:lnTo>
                      <a:pt x="449" y="694"/>
                    </a:lnTo>
                    <a:lnTo>
                      <a:pt x="451" y="694"/>
                    </a:lnTo>
                    <a:lnTo>
                      <a:pt x="449" y="694"/>
                    </a:lnTo>
                    <a:lnTo>
                      <a:pt x="451" y="694"/>
                    </a:lnTo>
                    <a:lnTo>
                      <a:pt x="451" y="692"/>
                    </a:lnTo>
                    <a:lnTo>
                      <a:pt x="449" y="692"/>
                    </a:lnTo>
                    <a:lnTo>
                      <a:pt x="451" y="692"/>
                    </a:lnTo>
                    <a:lnTo>
                      <a:pt x="451" y="690"/>
                    </a:lnTo>
                    <a:lnTo>
                      <a:pt x="453" y="690"/>
                    </a:lnTo>
                    <a:lnTo>
                      <a:pt x="453" y="688"/>
                    </a:lnTo>
                    <a:lnTo>
                      <a:pt x="455" y="686"/>
                    </a:lnTo>
                    <a:lnTo>
                      <a:pt x="457" y="686"/>
                    </a:lnTo>
                    <a:lnTo>
                      <a:pt x="455" y="686"/>
                    </a:lnTo>
                    <a:lnTo>
                      <a:pt x="455" y="684"/>
                    </a:lnTo>
                    <a:lnTo>
                      <a:pt x="453" y="686"/>
                    </a:lnTo>
                    <a:lnTo>
                      <a:pt x="451" y="686"/>
                    </a:lnTo>
                    <a:lnTo>
                      <a:pt x="449" y="686"/>
                    </a:lnTo>
                    <a:lnTo>
                      <a:pt x="449" y="688"/>
                    </a:lnTo>
                    <a:lnTo>
                      <a:pt x="449" y="690"/>
                    </a:lnTo>
                    <a:lnTo>
                      <a:pt x="447" y="690"/>
                    </a:lnTo>
                    <a:lnTo>
                      <a:pt x="447" y="688"/>
                    </a:lnTo>
                    <a:lnTo>
                      <a:pt x="447" y="686"/>
                    </a:lnTo>
                    <a:lnTo>
                      <a:pt x="446" y="686"/>
                    </a:lnTo>
                    <a:lnTo>
                      <a:pt x="446" y="684"/>
                    </a:lnTo>
                    <a:lnTo>
                      <a:pt x="446" y="682"/>
                    </a:lnTo>
                    <a:lnTo>
                      <a:pt x="446" y="684"/>
                    </a:lnTo>
                    <a:lnTo>
                      <a:pt x="447" y="682"/>
                    </a:lnTo>
                    <a:lnTo>
                      <a:pt x="446" y="682"/>
                    </a:lnTo>
                    <a:lnTo>
                      <a:pt x="444" y="682"/>
                    </a:lnTo>
                    <a:lnTo>
                      <a:pt x="444" y="680"/>
                    </a:lnTo>
                    <a:lnTo>
                      <a:pt x="444" y="682"/>
                    </a:lnTo>
                    <a:lnTo>
                      <a:pt x="442" y="682"/>
                    </a:lnTo>
                    <a:lnTo>
                      <a:pt x="442" y="680"/>
                    </a:lnTo>
                    <a:lnTo>
                      <a:pt x="442" y="678"/>
                    </a:lnTo>
                    <a:lnTo>
                      <a:pt x="442" y="676"/>
                    </a:lnTo>
                    <a:lnTo>
                      <a:pt x="442" y="678"/>
                    </a:lnTo>
                    <a:lnTo>
                      <a:pt x="442" y="676"/>
                    </a:lnTo>
                    <a:lnTo>
                      <a:pt x="444" y="676"/>
                    </a:lnTo>
                    <a:lnTo>
                      <a:pt x="444" y="674"/>
                    </a:lnTo>
                    <a:lnTo>
                      <a:pt x="442" y="674"/>
                    </a:lnTo>
                    <a:lnTo>
                      <a:pt x="442" y="676"/>
                    </a:lnTo>
                    <a:lnTo>
                      <a:pt x="442" y="678"/>
                    </a:lnTo>
                    <a:lnTo>
                      <a:pt x="440" y="676"/>
                    </a:lnTo>
                    <a:lnTo>
                      <a:pt x="440" y="674"/>
                    </a:lnTo>
                    <a:lnTo>
                      <a:pt x="438" y="672"/>
                    </a:lnTo>
                    <a:lnTo>
                      <a:pt x="438" y="670"/>
                    </a:lnTo>
                    <a:lnTo>
                      <a:pt x="436" y="669"/>
                    </a:lnTo>
                    <a:lnTo>
                      <a:pt x="438" y="669"/>
                    </a:lnTo>
                    <a:lnTo>
                      <a:pt x="436" y="669"/>
                    </a:lnTo>
                    <a:lnTo>
                      <a:pt x="436" y="667"/>
                    </a:lnTo>
                    <a:lnTo>
                      <a:pt x="438" y="667"/>
                    </a:lnTo>
                    <a:lnTo>
                      <a:pt x="436" y="667"/>
                    </a:lnTo>
                    <a:lnTo>
                      <a:pt x="438" y="667"/>
                    </a:lnTo>
                    <a:lnTo>
                      <a:pt x="436" y="665"/>
                    </a:lnTo>
                    <a:lnTo>
                      <a:pt x="436" y="663"/>
                    </a:lnTo>
                    <a:lnTo>
                      <a:pt x="436" y="661"/>
                    </a:lnTo>
                    <a:lnTo>
                      <a:pt x="436" y="659"/>
                    </a:lnTo>
                    <a:lnTo>
                      <a:pt x="434" y="659"/>
                    </a:lnTo>
                    <a:lnTo>
                      <a:pt x="434" y="657"/>
                    </a:lnTo>
                    <a:lnTo>
                      <a:pt x="432" y="655"/>
                    </a:lnTo>
                    <a:lnTo>
                      <a:pt x="432" y="653"/>
                    </a:lnTo>
                    <a:lnTo>
                      <a:pt x="430" y="653"/>
                    </a:lnTo>
                    <a:lnTo>
                      <a:pt x="428" y="651"/>
                    </a:lnTo>
                    <a:lnTo>
                      <a:pt x="426" y="649"/>
                    </a:lnTo>
                    <a:lnTo>
                      <a:pt x="428" y="649"/>
                    </a:lnTo>
                    <a:lnTo>
                      <a:pt x="426" y="649"/>
                    </a:lnTo>
                    <a:lnTo>
                      <a:pt x="424" y="649"/>
                    </a:lnTo>
                    <a:lnTo>
                      <a:pt x="424" y="647"/>
                    </a:lnTo>
                    <a:lnTo>
                      <a:pt x="424" y="645"/>
                    </a:lnTo>
                    <a:lnTo>
                      <a:pt x="423" y="645"/>
                    </a:lnTo>
                    <a:lnTo>
                      <a:pt x="421" y="645"/>
                    </a:lnTo>
                    <a:lnTo>
                      <a:pt x="419" y="645"/>
                    </a:lnTo>
                    <a:lnTo>
                      <a:pt x="419" y="647"/>
                    </a:lnTo>
                    <a:lnTo>
                      <a:pt x="417" y="647"/>
                    </a:lnTo>
                    <a:lnTo>
                      <a:pt x="417" y="645"/>
                    </a:lnTo>
                    <a:lnTo>
                      <a:pt x="417" y="647"/>
                    </a:lnTo>
                    <a:lnTo>
                      <a:pt x="417" y="645"/>
                    </a:lnTo>
                    <a:lnTo>
                      <a:pt x="415" y="645"/>
                    </a:lnTo>
                    <a:lnTo>
                      <a:pt x="415" y="644"/>
                    </a:lnTo>
                    <a:lnTo>
                      <a:pt x="413" y="642"/>
                    </a:lnTo>
                    <a:lnTo>
                      <a:pt x="413" y="640"/>
                    </a:lnTo>
                    <a:lnTo>
                      <a:pt x="411" y="640"/>
                    </a:lnTo>
                    <a:lnTo>
                      <a:pt x="411" y="638"/>
                    </a:lnTo>
                    <a:lnTo>
                      <a:pt x="409" y="638"/>
                    </a:lnTo>
                    <a:lnTo>
                      <a:pt x="407" y="636"/>
                    </a:lnTo>
                    <a:lnTo>
                      <a:pt x="405" y="636"/>
                    </a:lnTo>
                    <a:lnTo>
                      <a:pt x="405" y="634"/>
                    </a:lnTo>
                    <a:lnTo>
                      <a:pt x="403" y="632"/>
                    </a:lnTo>
                    <a:lnTo>
                      <a:pt x="405" y="632"/>
                    </a:lnTo>
                    <a:lnTo>
                      <a:pt x="405" y="634"/>
                    </a:lnTo>
                    <a:lnTo>
                      <a:pt x="405" y="632"/>
                    </a:lnTo>
                    <a:lnTo>
                      <a:pt x="407" y="632"/>
                    </a:lnTo>
                    <a:lnTo>
                      <a:pt x="407" y="630"/>
                    </a:lnTo>
                    <a:lnTo>
                      <a:pt x="405" y="630"/>
                    </a:lnTo>
                    <a:lnTo>
                      <a:pt x="405" y="632"/>
                    </a:lnTo>
                    <a:lnTo>
                      <a:pt x="403" y="632"/>
                    </a:lnTo>
                    <a:lnTo>
                      <a:pt x="401" y="630"/>
                    </a:lnTo>
                    <a:lnTo>
                      <a:pt x="401" y="632"/>
                    </a:lnTo>
                    <a:lnTo>
                      <a:pt x="399" y="632"/>
                    </a:lnTo>
                    <a:lnTo>
                      <a:pt x="398" y="632"/>
                    </a:lnTo>
                    <a:lnTo>
                      <a:pt x="396" y="634"/>
                    </a:lnTo>
                    <a:lnTo>
                      <a:pt x="394" y="634"/>
                    </a:lnTo>
                    <a:lnTo>
                      <a:pt x="394" y="632"/>
                    </a:lnTo>
                    <a:lnTo>
                      <a:pt x="392" y="630"/>
                    </a:lnTo>
                    <a:lnTo>
                      <a:pt x="392" y="628"/>
                    </a:lnTo>
                    <a:lnTo>
                      <a:pt x="392" y="626"/>
                    </a:lnTo>
                    <a:lnTo>
                      <a:pt x="392" y="624"/>
                    </a:lnTo>
                    <a:lnTo>
                      <a:pt x="392" y="626"/>
                    </a:lnTo>
                    <a:lnTo>
                      <a:pt x="394" y="624"/>
                    </a:lnTo>
                    <a:lnTo>
                      <a:pt x="394" y="626"/>
                    </a:lnTo>
                    <a:lnTo>
                      <a:pt x="394" y="624"/>
                    </a:lnTo>
                    <a:lnTo>
                      <a:pt x="394" y="626"/>
                    </a:lnTo>
                    <a:lnTo>
                      <a:pt x="394" y="624"/>
                    </a:lnTo>
                    <a:lnTo>
                      <a:pt x="392" y="622"/>
                    </a:lnTo>
                    <a:lnTo>
                      <a:pt x="392" y="620"/>
                    </a:lnTo>
                    <a:lnTo>
                      <a:pt x="392" y="619"/>
                    </a:lnTo>
                    <a:lnTo>
                      <a:pt x="390" y="619"/>
                    </a:lnTo>
                    <a:lnTo>
                      <a:pt x="390" y="617"/>
                    </a:lnTo>
                    <a:lnTo>
                      <a:pt x="392" y="617"/>
                    </a:lnTo>
                    <a:lnTo>
                      <a:pt x="390" y="615"/>
                    </a:lnTo>
                    <a:lnTo>
                      <a:pt x="392" y="615"/>
                    </a:lnTo>
                    <a:lnTo>
                      <a:pt x="392" y="613"/>
                    </a:lnTo>
                    <a:lnTo>
                      <a:pt x="394" y="613"/>
                    </a:lnTo>
                    <a:lnTo>
                      <a:pt x="396" y="613"/>
                    </a:lnTo>
                    <a:lnTo>
                      <a:pt x="398" y="611"/>
                    </a:lnTo>
                    <a:lnTo>
                      <a:pt x="399" y="609"/>
                    </a:lnTo>
                    <a:lnTo>
                      <a:pt x="401" y="609"/>
                    </a:lnTo>
                    <a:lnTo>
                      <a:pt x="401" y="607"/>
                    </a:lnTo>
                    <a:lnTo>
                      <a:pt x="403" y="607"/>
                    </a:lnTo>
                    <a:lnTo>
                      <a:pt x="401" y="607"/>
                    </a:lnTo>
                    <a:lnTo>
                      <a:pt x="403" y="607"/>
                    </a:lnTo>
                    <a:lnTo>
                      <a:pt x="405" y="607"/>
                    </a:lnTo>
                    <a:lnTo>
                      <a:pt x="405" y="609"/>
                    </a:lnTo>
                    <a:lnTo>
                      <a:pt x="407" y="609"/>
                    </a:lnTo>
                    <a:lnTo>
                      <a:pt x="405" y="609"/>
                    </a:lnTo>
                    <a:lnTo>
                      <a:pt x="405" y="611"/>
                    </a:lnTo>
                    <a:lnTo>
                      <a:pt x="407" y="611"/>
                    </a:lnTo>
                    <a:lnTo>
                      <a:pt x="407" y="609"/>
                    </a:lnTo>
                    <a:lnTo>
                      <a:pt x="409" y="611"/>
                    </a:lnTo>
                    <a:lnTo>
                      <a:pt x="409" y="613"/>
                    </a:lnTo>
                    <a:lnTo>
                      <a:pt x="409" y="611"/>
                    </a:lnTo>
                    <a:lnTo>
                      <a:pt x="411" y="611"/>
                    </a:lnTo>
                    <a:lnTo>
                      <a:pt x="411" y="613"/>
                    </a:lnTo>
                    <a:lnTo>
                      <a:pt x="409" y="613"/>
                    </a:lnTo>
                    <a:lnTo>
                      <a:pt x="411" y="613"/>
                    </a:lnTo>
                    <a:lnTo>
                      <a:pt x="411" y="611"/>
                    </a:lnTo>
                    <a:lnTo>
                      <a:pt x="413" y="613"/>
                    </a:lnTo>
                    <a:lnTo>
                      <a:pt x="413" y="611"/>
                    </a:lnTo>
                    <a:lnTo>
                      <a:pt x="411" y="611"/>
                    </a:lnTo>
                    <a:lnTo>
                      <a:pt x="413" y="611"/>
                    </a:lnTo>
                    <a:lnTo>
                      <a:pt x="415" y="611"/>
                    </a:lnTo>
                    <a:lnTo>
                      <a:pt x="417" y="611"/>
                    </a:lnTo>
                    <a:lnTo>
                      <a:pt x="417" y="609"/>
                    </a:lnTo>
                    <a:lnTo>
                      <a:pt x="419" y="609"/>
                    </a:lnTo>
                    <a:lnTo>
                      <a:pt x="419" y="607"/>
                    </a:lnTo>
                    <a:lnTo>
                      <a:pt x="421" y="607"/>
                    </a:lnTo>
                    <a:lnTo>
                      <a:pt x="423" y="607"/>
                    </a:lnTo>
                    <a:lnTo>
                      <a:pt x="423" y="609"/>
                    </a:lnTo>
                    <a:lnTo>
                      <a:pt x="424" y="609"/>
                    </a:lnTo>
                    <a:lnTo>
                      <a:pt x="424" y="611"/>
                    </a:lnTo>
                    <a:lnTo>
                      <a:pt x="426" y="609"/>
                    </a:lnTo>
                    <a:lnTo>
                      <a:pt x="428" y="609"/>
                    </a:lnTo>
                    <a:lnTo>
                      <a:pt x="428" y="611"/>
                    </a:lnTo>
                    <a:lnTo>
                      <a:pt x="430" y="611"/>
                    </a:lnTo>
                    <a:lnTo>
                      <a:pt x="430" y="613"/>
                    </a:lnTo>
                    <a:lnTo>
                      <a:pt x="432" y="613"/>
                    </a:lnTo>
                    <a:lnTo>
                      <a:pt x="432" y="615"/>
                    </a:lnTo>
                    <a:lnTo>
                      <a:pt x="434" y="615"/>
                    </a:lnTo>
                    <a:lnTo>
                      <a:pt x="436" y="615"/>
                    </a:lnTo>
                    <a:lnTo>
                      <a:pt x="438" y="615"/>
                    </a:lnTo>
                    <a:lnTo>
                      <a:pt x="438" y="617"/>
                    </a:lnTo>
                    <a:lnTo>
                      <a:pt x="438" y="615"/>
                    </a:lnTo>
                    <a:lnTo>
                      <a:pt x="440" y="615"/>
                    </a:lnTo>
                    <a:lnTo>
                      <a:pt x="440" y="617"/>
                    </a:lnTo>
                    <a:lnTo>
                      <a:pt x="442" y="617"/>
                    </a:lnTo>
                    <a:lnTo>
                      <a:pt x="442" y="615"/>
                    </a:lnTo>
                    <a:lnTo>
                      <a:pt x="444" y="615"/>
                    </a:lnTo>
                    <a:lnTo>
                      <a:pt x="444" y="617"/>
                    </a:lnTo>
                    <a:lnTo>
                      <a:pt x="444" y="619"/>
                    </a:lnTo>
                    <a:lnTo>
                      <a:pt x="444" y="620"/>
                    </a:lnTo>
                    <a:lnTo>
                      <a:pt x="446" y="620"/>
                    </a:lnTo>
                    <a:lnTo>
                      <a:pt x="447" y="622"/>
                    </a:lnTo>
                    <a:lnTo>
                      <a:pt x="449" y="624"/>
                    </a:lnTo>
                    <a:lnTo>
                      <a:pt x="449" y="626"/>
                    </a:lnTo>
                    <a:lnTo>
                      <a:pt x="451" y="626"/>
                    </a:lnTo>
                    <a:lnTo>
                      <a:pt x="451" y="628"/>
                    </a:lnTo>
                    <a:lnTo>
                      <a:pt x="451" y="630"/>
                    </a:lnTo>
                    <a:lnTo>
                      <a:pt x="453" y="630"/>
                    </a:lnTo>
                    <a:lnTo>
                      <a:pt x="453" y="632"/>
                    </a:lnTo>
                    <a:lnTo>
                      <a:pt x="453" y="634"/>
                    </a:lnTo>
                    <a:lnTo>
                      <a:pt x="453" y="636"/>
                    </a:lnTo>
                    <a:lnTo>
                      <a:pt x="453" y="638"/>
                    </a:lnTo>
                    <a:lnTo>
                      <a:pt x="451" y="638"/>
                    </a:lnTo>
                    <a:lnTo>
                      <a:pt x="451" y="640"/>
                    </a:lnTo>
                    <a:lnTo>
                      <a:pt x="451" y="642"/>
                    </a:lnTo>
                    <a:lnTo>
                      <a:pt x="453" y="642"/>
                    </a:lnTo>
                    <a:lnTo>
                      <a:pt x="451" y="642"/>
                    </a:lnTo>
                    <a:lnTo>
                      <a:pt x="453" y="642"/>
                    </a:lnTo>
                    <a:lnTo>
                      <a:pt x="453" y="644"/>
                    </a:lnTo>
                    <a:lnTo>
                      <a:pt x="455" y="645"/>
                    </a:lnTo>
                    <a:lnTo>
                      <a:pt x="457" y="645"/>
                    </a:lnTo>
                    <a:lnTo>
                      <a:pt x="457" y="647"/>
                    </a:lnTo>
                    <a:lnTo>
                      <a:pt x="457" y="645"/>
                    </a:lnTo>
                    <a:lnTo>
                      <a:pt x="457" y="647"/>
                    </a:lnTo>
                    <a:lnTo>
                      <a:pt x="457" y="645"/>
                    </a:lnTo>
                    <a:lnTo>
                      <a:pt x="459" y="647"/>
                    </a:lnTo>
                    <a:lnTo>
                      <a:pt x="459" y="645"/>
                    </a:lnTo>
                    <a:lnTo>
                      <a:pt x="459" y="647"/>
                    </a:lnTo>
                    <a:lnTo>
                      <a:pt x="461" y="647"/>
                    </a:lnTo>
                    <a:lnTo>
                      <a:pt x="461" y="649"/>
                    </a:lnTo>
                    <a:lnTo>
                      <a:pt x="463" y="649"/>
                    </a:lnTo>
                    <a:lnTo>
                      <a:pt x="465" y="649"/>
                    </a:lnTo>
                    <a:lnTo>
                      <a:pt x="467" y="649"/>
                    </a:lnTo>
                    <a:lnTo>
                      <a:pt x="467" y="651"/>
                    </a:lnTo>
                    <a:lnTo>
                      <a:pt x="469" y="651"/>
                    </a:lnTo>
                    <a:lnTo>
                      <a:pt x="471" y="651"/>
                    </a:lnTo>
                    <a:lnTo>
                      <a:pt x="471" y="649"/>
                    </a:lnTo>
                    <a:lnTo>
                      <a:pt x="471" y="651"/>
                    </a:lnTo>
                    <a:lnTo>
                      <a:pt x="471" y="649"/>
                    </a:lnTo>
                    <a:lnTo>
                      <a:pt x="472" y="651"/>
                    </a:lnTo>
                    <a:lnTo>
                      <a:pt x="472" y="649"/>
                    </a:lnTo>
                    <a:lnTo>
                      <a:pt x="472" y="647"/>
                    </a:lnTo>
                    <a:lnTo>
                      <a:pt x="472" y="649"/>
                    </a:lnTo>
                    <a:lnTo>
                      <a:pt x="472" y="647"/>
                    </a:lnTo>
                    <a:lnTo>
                      <a:pt x="472" y="649"/>
                    </a:lnTo>
                    <a:lnTo>
                      <a:pt x="474" y="649"/>
                    </a:lnTo>
                    <a:lnTo>
                      <a:pt x="474" y="651"/>
                    </a:lnTo>
                    <a:lnTo>
                      <a:pt x="474" y="653"/>
                    </a:lnTo>
                    <a:lnTo>
                      <a:pt x="476" y="653"/>
                    </a:lnTo>
                    <a:lnTo>
                      <a:pt x="474" y="653"/>
                    </a:lnTo>
                    <a:lnTo>
                      <a:pt x="472" y="653"/>
                    </a:lnTo>
                    <a:lnTo>
                      <a:pt x="472" y="655"/>
                    </a:lnTo>
                    <a:lnTo>
                      <a:pt x="472" y="657"/>
                    </a:lnTo>
                    <a:lnTo>
                      <a:pt x="471" y="659"/>
                    </a:lnTo>
                    <a:lnTo>
                      <a:pt x="471" y="661"/>
                    </a:lnTo>
                    <a:lnTo>
                      <a:pt x="472" y="661"/>
                    </a:lnTo>
                    <a:lnTo>
                      <a:pt x="472" y="663"/>
                    </a:lnTo>
                    <a:lnTo>
                      <a:pt x="472" y="665"/>
                    </a:lnTo>
                    <a:lnTo>
                      <a:pt x="474" y="665"/>
                    </a:lnTo>
                    <a:lnTo>
                      <a:pt x="474" y="667"/>
                    </a:lnTo>
                    <a:lnTo>
                      <a:pt x="476" y="667"/>
                    </a:lnTo>
                    <a:lnTo>
                      <a:pt x="478" y="667"/>
                    </a:lnTo>
                    <a:lnTo>
                      <a:pt x="478" y="669"/>
                    </a:lnTo>
                    <a:lnTo>
                      <a:pt x="478" y="670"/>
                    </a:lnTo>
                    <a:lnTo>
                      <a:pt x="476" y="670"/>
                    </a:lnTo>
                    <a:lnTo>
                      <a:pt x="476" y="672"/>
                    </a:lnTo>
                    <a:lnTo>
                      <a:pt x="476" y="674"/>
                    </a:lnTo>
                    <a:lnTo>
                      <a:pt x="474" y="674"/>
                    </a:lnTo>
                    <a:lnTo>
                      <a:pt x="474" y="676"/>
                    </a:lnTo>
                    <a:lnTo>
                      <a:pt x="476" y="676"/>
                    </a:lnTo>
                    <a:lnTo>
                      <a:pt x="474" y="676"/>
                    </a:lnTo>
                    <a:lnTo>
                      <a:pt x="474" y="678"/>
                    </a:lnTo>
                    <a:lnTo>
                      <a:pt x="474" y="680"/>
                    </a:lnTo>
                    <a:lnTo>
                      <a:pt x="474" y="682"/>
                    </a:lnTo>
                    <a:lnTo>
                      <a:pt x="476" y="682"/>
                    </a:lnTo>
                    <a:lnTo>
                      <a:pt x="474" y="682"/>
                    </a:lnTo>
                    <a:lnTo>
                      <a:pt x="476" y="684"/>
                    </a:lnTo>
                    <a:lnTo>
                      <a:pt x="474" y="684"/>
                    </a:lnTo>
                    <a:lnTo>
                      <a:pt x="476" y="684"/>
                    </a:lnTo>
                    <a:lnTo>
                      <a:pt x="474" y="684"/>
                    </a:lnTo>
                    <a:lnTo>
                      <a:pt x="476" y="686"/>
                    </a:lnTo>
                    <a:lnTo>
                      <a:pt x="474" y="686"/>
                    </a:lnTo>
                    <a:lnTo>
                      <a:pt x="474" y="688"/>
                    </a:lnTo>
                    <a:lnTo>
                      <a:pt x="476" y="688"/>
                    </a:lnTo>
                    <a:lnTo>
                      <a:pt x="476" y="690"/>
                    </a:lnTo>
                    <a:lnTo>
                      <a:pt x="474" y="690"/>
                    </a:lnTo>
                    <a:lnTo>
                      <a:pt x="474" y="692"/>
                    </a:lnTo>
                    <a:lnTo>
                      <a:pt x="472" y="692"/>
                    </a:lnTo>
                    <a:lnTo>
                      <a:pt x="472" y="694"/>
                    </a:lnTo>
                    <a:lnTo>
                      <a:pt x="472" y="695"/>
                    </a:lnTo>
                    <a:lnTo>
                      <a:pt x="471" y="695"/>
                    </a:lnTo>
                    <a:lnTo>
                      <a:pt x="471" y="697"/>
                    </a:lnTo>
                    <a:lnTo>
                      <a:pt x="472" y="697"/>
                    </a:lnTo>
                    <a:lnTo>
                      <a:pt x="472" y="699"/>
                    </a:lnTo>
                    <a:lnTo>
                      <a:pt x="472" y="701"/>
                    </a:lnTo>
                    <a:lnTo>
                      <a:pt x="474" y="701"/>
                    </a:lnTo>
                    <a:lnTo>
                      <a:pt x="474" y="703"/>
                    </a:lnTo>
                    <a:lnTo>
                      <a:pt x="474" y="705"/>
                    </a:lnTo>
                    <a:lnTo>
                      <a:pt x="472" y="705"/>
                    </a:lnTo>
                    <a:lnTo>
                      <a:pt x="472" y="707"/>
                    </a:lnTo>
                    <a:lnTo>
                      <a:pt x="472" y="709"/>
                    </a:lnTo>
                    <a:lnTo>
                      <a:pt x="471" y="709"/>
                    </a:lnTo>
                    <a:lnTo>
                      <a:pt x="472" y="709"/>
                    </a:lnTo>
                    <a:lnTo>
                      <a:pt x="474" y="709"/>
                    </a:lnTo>
                    <a:lnTo>
                      <a:pt x="474" y="711"/>
                    </a:lnTo>
                    <a:lnTo>
                      <a:pt x="474" y="709"/>
                    </a:lnTo>
                    <a:lnTo>
                      <a:pt x="476" y="711"/>
                    </a:lnTo>
                    <a:lnTo>
                      <a:pt x="476" y="709"/>
                    </a:lnTo>
                    <a:lnTo>
                      <a:pt x="476" y="711"/>
                    </a:lnTo>
                    <a:lnTo>
                      <a:pt x="478" y="711"/>
                    </a:lnTo>
                    <a:lnTo>
                      <a:pt x="478" y="713"/>
                    </a:lnTo>
                    <a:lnTo>
                      <a:pt x="478" y="715"/>
                    </a:lnTo>
                    <a:lnTo>
                      <a:pt x="476" y="717"/>
                    </a:lnTo>
                    <a:lnTo>
                      <a:pt x="474" y="717"/>
                    </a:lnTo>
                    <a:lnTo>
                      <a:pt x="474" y="719"/>
                    </a:lnTo>
                    <a:lnTo>
                      <a:pt x="474" y="720"/>
                    </a:lnTo>
                    <a:lnTo>
                      <a:pt x="476" y="720"/>
                    </a:lnTo>
                    <a:lnTo>
                      <a:pt x="476" y="722"/>
                    </a:lnTo>
                    <a:lnTo>
                      <a:pt x="476" y="724"/>
                    </a:lnTo>
                    <a:lnTo>
                      <a:pt x="474" y="724"/>
                    </a:lnTo>
                    <a:lnTo>
                      <a:pt x="474" y="726"/>
                    </a:lnTo>
                    <a:lnTo>
                      <a:pt x="474" y="724"/>
                    </a:lnTo>
                    <a:lnTo>
                      <a:pt x="474" y="726"/>
                    </a:lnTo>
                    <a:lnTo>
                      <a:pt x="474" y="724"/>
                    </a:lnTo>
                    <a:lnTo>
                      <a:pt x="476" y="724"/>
                    </a:lnTo>
                    <a:lnTo>
                      <a:pt x="476" y="726"/>
                    </a:lnTo>
                    <a:lnTo>
                      <a:pt x="478" y="728"/>
                    </a:lnTo>
                    <a:lnTo>
                      <a:pt x="478" y="730"/>
                    </a:lnTo>
                    <a:lnTo>
                      <a:pt x="478" y="732"/>
                    </a:lnTo>
                    <a:lnTo>
                      <a:pt x="480" y="732"/>
                    </a:lnTo>
                    <a:lnTo>
                      <a:pt x="482" y="734"/>
                    </a:lnTo>
                    <a:lnTo>
                      <a:pt x="482" y="736"/>
                    </a:lnTo>
                    <a:lnTo>
                      <a:pt x="482" y="738"/>
                    </a:lnTo>
                    <a:lnTo>
                      <a:pt x="480" y="738"/>
                    </a:lnTo>
                    <a:lnTo>
                      <a:pt x="482" y="738"/>
                    </a:lnTo>
                    <a:lnTo>
                      <a:pt x="482" y="740"/>
                    </a:lnTo>
                    <a:lnTo>
                      <a:pt x="484" y="740"/>
                    </a:lnTo>
                    <a:lnTo>
                      <a:pt x="484" y="742"/>
                    </a:lnTo>
                    <a:lnTo>
                      <a:pt x="484" y="744"/>
                    </a:lnTo>
                    <a:lnTo>
                      <a:pt x="482" y="744"/>
                    </a:lnTo>
                    <a:lnTo>
                      <a:pt x="482" y="745"/>
                    </a:lnTo>
                    <a:lnTo>
                      <a:pt x="482" y="747"/>
                    </a:lnTo>
                    <a:lnTo>
                      <a:pt x="482" y="749"/>
                    </a:lnTo>
                    <a:lnTo>
                      <a:pt x="482" y="751"/>
                    </a:lnTo>
                    <a:lnTo>
                      <a:pt x="484" y="751"/>
                    </a:lnTo>
                    <a:lnTo>
                      <a:pt x="484" y="753"/>
                    </a:lnTo>
                    <a:lnTo>
                      <a:pt x="484" y="755"/>
                    </a:lnTo>
                    <a:lnTo>
                      <a:pt x="484" y="757"/>
                    </a:lnTo>
                    <a:lnTo>
                      <a:pt x="484" y="759"/>
                    </a:lnTo>
                    <a:lnTo>
                      <a:pt x="484" y="761"/>
                    </a:lnTo>
                    <a:lnTo>
                      <a:pt x="486" y="761"/>
                    </a:lnTo>
                    <a:lnTo>
                      <a:pt x="488" y="763"/>
                    </a:lnTo>
                    <a:lnTo>
                      <a:pt x="488" y="765"/>
                    </a:lnTo>
                    <a:lnTo>
                      <a:pt x="490" y="765"/>
                    </a:lnTo>
                    <a:lnTo>
                      <a:pt x="488" y="765"/>
                    </a:lnTo>
                    <a:lnTo>
                      <a:pt x="490" y="765"/>
                    </a:lnTo>
                    <a:lnTo>
                      <a:pt x="490" y="767"/>
                    </a:lnTo>
                    <a:lnTo>
                      <a:pt x="488" y="767"/>
                    </a:lnTo>
                    <a:lnTo>
                      <a:pt x="490" y="769"/>
                    </a:lnTo>
                    <a:lnTo>
                      <a:pt x="490" y="770"/>
                    </a:lnTo>
                    <a:lnTo>
                      <a:pt x="490" y="772"/>
                    </a:lnTo>
                    <a:lnTo>
                      <a:pt x="492" y="772"/>
                    </a:lnTo>
                    <a:lnTo>
                      <a:pt x="492" y="774"/>
                    </a:lnTo>
                    <a:lnTo>
                      <a:pt x="494" y="774"/>
                    </a:lnTo>
                    <a:lnTo>
                      <a:pt x="494" y="776"/>
                    </a:lnTo>
                    <a:lnTo>
                      <a:pt x="496" y="776"/>
                    </a:lnTo>
                    <a:lnTo>
                      <a:pt x="496" y="778"/>
                    </a:lnTo>
                    <a:lnTo>
                      <a:pt x="497" y="780"/>
                    </a:lnTo>
                    <a:lnTo>
                      <a:pt x="497" y="782"/>
                    </a:lnTo>
                    <a:lnTo>
                      <a:pt x="499" y="782"/>
                    </a:lnTo>
                    <a:lnTo>
                      <a:pt x="499" y="784"/>
                    </a:lnTo>
                    <a:lnTo>
                      <a:pt x="499" y="786"/>
                    </a:lnTo>
                    <a:lnTo>
                      <a:pt x="501" y="786"/>
                    </a:lnTo>
                    <a:lnTo>
                      <a:pt x="501" y="788"/>
                    </a:lnTo>
                    <a:lnTo>
                      <a:pt x="501" y="790"/>
                    </a:lnTo>
                    <a:lnTo>
                      <a:pt x="503" y="790"/>
                    </a:lnTo>
                    <a:lnTo>
                      <a:pt x="503" y="792"/>
                    </a:lnTo>
                    <a:lnTo>
                      <a:pt x="503" y="794"/>
                    </a:lnTo>
                    <a:lnTo>
                      <a:pt x="505" y="794"/>
                    </a:lnTo>
                    <a:lnTo>
                      <a:pt x="505" y="795"/>
                    </a:lnTo>
                    <a:lnTo>
                      <a:pt x="507" y="795"/>
                    </a:lnTo>
                    <a:lnTo>
                      <a:pt x="509" y="795"/>
                    </a:lnTo>
                    <a:lnTo>
                      <a:pt x="511" y="795"/>
                    </a:lnTo>
                    <a:lnTo>
                      <a:pt x="511" y="794"/>
                    </a:lnTo>
                    <a:lnTo>
                      <a:pt x="513" y="794"/>
                    </a:lnTo>
                    <a:lnTo>
                      <a:pt x="513" y="795"/>
                    </a:lnTo>
                    <a:lnTo>
                      <a:pt x="513" y="797"/>
                    </a:lnTo>
                    <a:lnTo>
                      <a:pt x="513" y="799"/>
                    </a:lnTo>
                    <a:lnTo>
                      <a:pt x="511" y="799"/>
                    </a:lnTo>
                    <a:lnTo>
                      <a:pt x="511" y="801"/>
                    </a:lnTo>
                    <a:lnTo>
                      <a:pt x="509" y="801"/>
                    </a:lnTo>
                    <a:lnTo>
                      <a:pt x="509" y="803"/>
                    </a:lnTo>
                    <a:lnTo>
                      <a:pt x="509" y="805"/>
                    </a:lnTo>
                    <a:lnTo>
                      <a:pt x="509" y="807"/>
                    </a:lnTo>
                    <a:lnTo>
                      <a:pt x="509" y="809"/>
                    </a:lnTo>
                    <a:lnTo>
                      <a:pt x="509" y="811"/>
                    </a:lnTo>
                    <a:lnTo>
                      <a:pt x="511" y="811"/>
                    </a:lnTo>
                    <a:lnTo>
                      <a:pt x="509" y="811"/>
                    </a:lnTo>
                    <a:lnTo>
                      <a:pt x="509" y="813"/>
                    </a:lnTo>
                    <a:lnTo>
                      <a:pt x="511" y="813"/>
                    </a:lnTo>
                    <a:lnTo>
                      <a:pt x="511" y="815"/>
                    </a:lnTo>
                    <a:lnTo>
                      <a:pt x="513" y="815"/>
                    </a:lnTo>
                    <a:lnTo>
                      <a:pt x="513" y="817"/>
                    </a:lnTo>
                    <a:lnTo>
                      <a:pt x="515" y="817"/>
                    </a:lnTo>
                    <a:lnTo>
                      <a:pt x="517" y="817"/>
                    </a:lnTo>
                    <a:lnTo>
                      <a:pt x="517" y="818"/>
                    </a:lnTo>
                    <a:lnTo>
                      <a:pt x="519" y="818"/>
                    </a:lnTo>
                    <a:lnTo>
                      <a:pt x="517" y="818"/>
                    </a:lnTo>
                    <a:lnTo>
                      <a:pt x="519" y="820"/>
                    </a:lnTo>
                    <a:lnTo>
                      <a:pt x="519" y="822"/>
                    </a:lnTo>
                    <a:lnTo>
                      <a:pt x="520" y="824"/>
                    </a:lnTo>
                    <a:lnTo>
                      <a:pt x="520" y="826"/>
                    </a:lnTo>
                    <a:lnTo>
                      <a:pt x="522" y="826"/>
                    </a:lnTo>
                    <a:lnTo>
                      <a:pt x="522" y="828"/>
                    </a:lnTo>
                    <a:lnTo>
                      <a:pt x="524" y="828"/>
                    </a:lnTo>
                    <a:lnTo>
                      <a:pt x="524" y="830"/>
                    </a:lnTo>
                    <a:lnTo>
                      <a:pt x="524" y="832"/>
                    </a:lnTo>
                    <a:lnTo>
                      <a:pt x="524" y="834"/>
                    </a:lnTo>
                    <a:lnTo>
                      <a:pt x="524" y="836"/>
                    </a:lnTo>
                    <a:lnTo>
                      <a:pt x="524" y="838"/>
                    </a:lnTo>
                    <a:lnTo>
                      <a:pt x="524" y="840"/>
                    </a:lnTo>
                    <a:lnTo>
                      <a:pt x="524" y="842"/>
                    </a:lnTo>
                    <a:lnTo>
                      <a:pt x="524" y="843"/>
                    </a:lnTo>
                    <a:lnTo>
                      <a:pt x="526" y="843"/>
                    </a:lnTo>
                    <a:lnTo>
                      <a:pt x="526" y="845"/>
                    </a:lnTo>
                    <a:lnTo>
                      <a:pt x="526" y="847"/>
                    </a:lnTo>
                    <a:lnTo>
                      <a:pt x="528" y="847"/>
                    </a:lnTo>
                    <a:lnTo>
                      <a:pt x="528" y="849"/>
                    </a:lnTo>
                    <a:lnTo>
                      <a:pt x="528" y="847"/>
                    </a:lnTo>
                    <a:lnTo>
                      <a:pt x="528" y="849"/>
                    </a:lnTo>
                    <a:lnTo>
                      <a:pt x="526" y="849"/>
                    </a:lnTo>
                    <a:lnTo>
                      <a:pt x="526" y="847"/>
                    </a:lnTo>
                    <a:lnTo>
                      <a:pt x="526" y="845"/>
                    </a:lnTo>
                    <a:lnTo>
                      <a:pt x="526" y="847"/>
                    </a:lnTo>
                    <a:lnTo>
                      <a:pt x="526" y="845"/>
                    </a:lnTo>
                    <a:lnTo>
                      <a:pt x="524" y="845"/>
                    </a:lnTo>
                    <a:lnTo>
                      <a:pt x="526" y="847"/>
                    </a:lnTo>
                    <a:lnTo>
                      <a:pt x="526" y="845"/>
                    </a:lnTo>
                    <a:lnTo>
                      <a:pt x="526" y="847"/>
                    </a:lnTo>
                    <a:lnTo>
                      <a:pt x="526" y="849"/>
                    </a:lnTo>
                    <a:lnTo>
                      <a:pt x="524" y="849"/>
                    </a:lnTo>
                    <a:lnTo>
                      <a:pt x="526" y="851"/>
                    </a:lnTo>
                    <a:lnTo>
                      <a:pt x="524" y="851"/>
                    </a:lnTo>
                    <a:lnTo>
                      <a:pt x="524" y="853"/>
                    </a:lnTo>
                    <a:lnTo>
                      <a:pt x="524" y="851"/>
                    </a:lnTo>
                    <a:lnTo>
                      <a:pt x="522" y="851"/>
                    </a:lnTo>
                    <a:lnTo>
                      <a:pt x="522" y="853"/>
                    </a:lnTo>
                    <a:lnTo>
                      <a:pt x="522" y="851"/>
                    </a:lnTo>
                    <a:lnTo>
                      <a:pt x="524" y="853"/>
                    </a:lnTo>
                    <a:lnTo>
                      <a:pt x="524" y="851"/>
                    </a:lnTo>
                    <a:lnTo>
                      <a:pt x="526" y="851"/>
                    </a:lnTo>
                    <a:lnTo>
                      <a:pt x="526" y="849"/>
                    </a:lnTo>
                    <a:lnTo>
                      <a:pt x="526" y="851"/>
                    </a:lnTo>
                    <a:lnTo>
                      <a:pt x="528" y="851"/>
                    </a:lnTo>
                    <a:lnTo>
                      <a:pt x="528" y="853"/>
                    </a:lnTo>
                    <a:lnTo>
                      <a:pt x="528" y="851"/>
                    </a:lnTo>
                    <a:lnTo>
                      <a:pt x="526" y="851"/>
                    </a:lnTo>
                    <a:lnTo>
                      <a:pt x="526" y="853"/>
                    </a:lnTo>
                    <a:lnTo>
                      <a:pt x="528" y="855"/>
                    </a:lnTo>
                    <a:lnTo>
                      <a:pt x="526" y="855"/>
                    </a:lnTo>
                    <a:lnTo>
                      <a:pt x="528" y="855"/>
                    </a:lnTo>
                    <a:lnTo>
                      <a:pt x="528" y="857"/>
                    </a:lnTo>
                    <a:lnTo>
                      <a:pt x="528" y="855"/>
                    </a:lnTo>
                    <a:lnTo>
                      <a:pt x="528" y="857"/>
                    </a:lnTo>
                    <a:lnTo>
                      <a:pt x="530" y="857"/>
                    </a:lnTo>
                    <a:lnTo>
                      <a:pt x="530" y="859"/>
                    </a:lnTo>
                    <a:lnTo>
                      <a:pt x="530" y="861"/>
                    </a:lnTo>
                    <a:lnTo>
                      <a:pt x="532" y="863"/>
                    </a:lnTo>
                    <a:lnTo>
                      <a:pt x="532" y="861"/>
                    </a:lnTo>
                    <a:lnTo>
                      <a:pt x="532" y="863"/>
                    </a:lnTo>
                    <a:lnTo>
                      <a:pt x="530" y="863"/>
                    </a:lnTo>
                    <a:lnTo>
                      <a:pt x="530" y="865"/>
                    </a:lnTo>
                    <a:lnTo>
                      <a:pt x="532" y="865"/>
                    </a:lnTo>
                    <a:lnTo>
                      <a:pt x="530" y="865"/>
                    </a:lnTo>
                    <a:lnTo>
                      <a:pt x="532" y="865"/>
                    </a:lnTo>
                    <a:lnTo>
                      <a:pt x="532" y="867"/>
                    </a:lnTo>
                    <a:lnTo>
                      <a:pt x="532" y="868"/>
                    </a:lnTo>
                    <a:lnTo>
                      <a:pt x="530" y="868"/>
                    </a:lnTo>
                    <a:lnTo>
                      <a:pt x="530" y="870"/>
                    </a:lnTo>
                    <a:lnTo>
                      <a:pt x="530" y="868"/>
                    </a:lnTo>
                    <a:lnTo>
                      <a:pt x="530" y="870"/>
                    </a:lnTo>
                    <a:lnTo>
                      <a:pt x="530" y="868"/>
                    </a:lnTo>
                    <a:lnTo>
                      <a:pt x="532" y="868"/>
                    </a:lnTo>
                    <a:lnTo>
                      <a:pt x="532" y="870"/>
                    </a:lnTo>
                    <a:lnTo>
                      <a:pt x="532" y="872"/>
                    </a:lnTo>
                    <a:lnTo>
                      <a:pt x="532" y="870"/>
                    </a:lnTo>
                    <a:lnTo>
                      <a:pt x="534" y="872"/>
                    </a:lnTo>
                    <a:lnTo>
                      <a:pt x="532" y="872"/>
                    </a:lnTo>
                    <a:lnTo>
                      <a:pt x="534" y="872"/>
                    </a:lnTo>
                    <a:lnTo>
                      <a:pt x="532" y="872"/>
                    </a:lnTo>
                    <a:lnTo>
                      <a:pt x="534" y="872"/>
                    </a:lnTo>
                    <a:lnTo>
                      <a:pt x="534" y="870"/>
                    </a:lnTo>
                    <a:lnTo>
                      <a:pt x="532" y="870"/>
                    </a:lnTo>
                    <a:lnTo>
                      <a:pt x="534" y="870"/>
                    </a:lnTo>
                    <a:lnTo>
                      <a:pt x="532" y="870"/>
                    </a:lnTo>
                    <a:lnTo>
                      <a:pt x="532" y="868"/>
                    </a:lnTo>
                    <a:lnTo>
                      <a:pt x="534" y="868"/>
                    </a:lnTo>
                    <a:lnTo>
                      <a:pt x="534" y="867"/>
                    </a:lnTo>
                    <a:lnTo>
                      <a:pt x="534" y="868"/>
                    </a:lnTo>
                    <a:lnTo>
                      <a:pt x="536" y="868"/>
                    </a:lnTo>
                    <a:lnTo>
                      <a:pt x="538" y="868"/>
                    </a:lnTo>
                    <a:lnTo>
                      <a:pt x="536" y="868"/>
                    </a:lnTo>
                    <a:lnTo>
                      <a:pt x="536" y="870"/>
                    </a:lnTo>
                    <a:lnTo>
                      <a:pt x="538" y="870"/>
                    </a:lnTo>
                    <a:lnTo>
                      <a:pt x="538" y="872"/>
                    </a:lnTo>
                    <a:lnTo>
                      <a:pt x="538" y="874"/>
                    </a:lnTo>
                    <a:lnTo>
                      <a:pt x="538" y="876"/>
                    </a:lnTo>
                    <a:lnTo>
                      <a:pt x="536" y="878"/>
                    </a:lnTo>
                    <a:lnTo>
                      <a:pt x="536" y="880"/>
                    </a:lnTo>
                    <a:lnTo>
                      <a:pt x="536" y="882"/>
                    </a:lnTo>
                    <a:lnTo>
                      <a:pt x="538" y="882"/>
                    </a:lnTo>
                    <a:lnTo>
                      <a:pt x="536" y="882"/>
                    </a:lnTo>
                    <a:lnTo>
                      <a:pt x="538" y="882"/>
                    </a:lnTo>
                    <a:lnTo>
                      <a:pt x="536" y="884"/>
                    </a:lnTo>
                    <a:lnTo>
                      <a:pt x="538" y="884"/>
                    </a:lnTo>
                    <a:lnTo>
                      <a:pt x="538" y="886"/>
                    </a:lnTo>
                    <a:lnTo>
                      <a:pt x="538" y="888"/>
                    </a:lnTo>
                    <a:lnTo>
                      <a:pt x="538" y="890"/>
                    </a:lnTo>
                    <a:lnTo>
                      <a:pt x="540" y="890"/>
                    </a:lnTo>
                    <a:lnTo>
                      <a:pt x="540" y="892"/>
                    </a:lnTo>
                    <a:lnTo>
                      <a:pt x="540" y="893"/>
                    </a:lnTo>
                    <a:lnTo>
                      <a:pt x="542" y="893"/>
                    </a:lnTo>
                    <a:lnTo>
                      <a:pt x="540" y="893"/>
                    </a:lnTo>
                    <a:lnTo>
                      <a:pt x="542" y="893"/>
                    </a:lnTo>
                    <a:lnTo>
                      <a:pt x="542" y="895"/>
                    </a:lnTo>
                    <a:lnTo>
                      <a:pt x="542" y="897"/>
                    </a:lnTo>
                    <a:lnTo>
                      <a:pt x="544" y="897"/>
                    </a:lnTo>
                    <a:lnTo>
                      <a:pt x="542" y="897"/>
                    </a:lnTo>
                    <a:lnTo>
                      <a:pt x="542" y="899"/>
                    </a:lnTo>
                    <a:lnTo>
                      <a:pt x="544" y="899"/>
                    </a:lnTo>
                    <a:lnTo>
                      <a:pt x="544" y="901"/>
                    </a:lnTo>
                    <a:lnTo>
                      <a:pt x="545" y="903"/>
                    </a:lnTo>
                    <a:lnTo>
                      <a:pt x="545" y="905"/>
                    </a:lnTo>
                    <a:lnTo>
                      <a:pt x="545" y="907"/>
                    </a:lnTo>
                    <a:lnTo>
                      <a:pt x="545" y="909"/>
                    </a:lnTo>
                    <a:lnTo>
                      <a:pt x="544" y="909"/>
                    </a:lnTo>
                    <a:lnTo>
                      <a:pt x="544" y="911"/>
                    </a:lnTo>
                    <a:lnTo>
                      <a:pt x="544" y="913"/>
                    </a:lnTo>
                    <a:lnTo>
                      <a:pt x="545" y="913"/>
                    </a:lnTo>
                    <a:lnTo>
                      <a:pt x="544" y="915"/>
                    </a:lnTo>
                    <a:lnTo>
                      <a:pt x="545" y="915"/>
                    </a:lnTo>
                    <a:lnTo>
                      <a:pt x="544" y="915"/>
                    </a:lnTo>
                    <a:lnTo>
                      <a:pt x="544" y="917"/>
                    </a:lnTo>
                    <a:lnTo>
                      <a:pt x="542" y="918"/>
                    </a:lnTo>
                    <a:lnTo>
                      <a:pt x="542" y="920"/>
                    </a:lnTo>
                    <a:lnTo>
                      <a:pt x="542" y="922"/>
                    </a:lnTo>
                    <a:lnTo>
                      <a:pt x="542" y="924"/>
                    </a:lnTo>
                    <a:lnTo>
                      <a:pt x="542" y="926"/>
                    </a:lnTo>
                    <a:lnTo>
                      <a:pt x="540" y="926"/>
                    </a:lnTo>
                    <a:lnTo>
                      <a:pt x="540" y="928"/>
                    </a:lnTo>
                    <a:lnTo>
                      <a:pt x="540" y="930"/>
                    </a:lnTo>
                    <a:lnTo>
                      <a:pt x="540" y="932"/>
                    </a:lnTo>
                    <a:lnTo>
                      <a:pt x="540" y="934"/>
                    </a:lnTo>
                    <a:lnTo>
                      <a:pt x="540" y="936"/>
                    </a:lnTo>
                    <a:lnTo>
                      <a:pt x="540" y="938"/>
                    </a:lnTo>
                    <a:lnTo>
                      <a:pt x="540" y="940"/>
                    </a:lnTo>
                    <a:lnTo>
                      <a:pt x="538" y="942"/>
                    </a:lnTo>
                    <a:lnTo>
                      <a:pt x="540" y="942"/>
                    </a:lnTo>
                    <a:lnTo>
                      <a:pt x="538" y="942"/>
                    </a:lnTo>
                    <a:lnTo>
                      <a:pt x="538" y="943"/>
                    </a:lnTo>
                    <a:lnTo>
                      <a:pt x="538" y="945"/>
                    </a:lnTo>
                    <a:lnTo>
                      <a:pt x="540" y="945"/>
                    </a:lnTo>
                    <a:lnTo>
                      <a:pt x="538" y="945"/>
                    </a:lnTo>
                    <a:lnTo>
                      <a:pt x="538" y="947"/>
                    </a:lnTo>
                    <a:lnTo>
                      <a:pt x="536" y="949"/>
                    </a:lnTo>
                    <a:lnTo>
                      <a:pt x="536" y="951"/>
                    </a:lnTo>
                    <a:lnTo>
                      <a:pt x="536" y="953"/>
                    </a:lnTo>
                    <a:lnTo>
                      <a:pt x="536" y="955"/>
                    </a:lnTo>
                    <a:lnTo>
                      <a:pt x="536" y="957"/>
                    </a:lnTo>
                    <a:lnTo>
                      <a:pt x="534" y="957"/>
                    </a:lnTo>
                    <a:lnTo>
                      <a:pt x="536" y="957"/>
                    </a:lnTo>
                    <a:lnTo>
                      <a:pt x="534" y="959"/>
                    </a:lnTo>
                    <a:lnTo>
                      <a:pt x="536" y="959"/>
                    </a:lnTo>
                    <a:lnTo>
                      <a:pt x="534" y="959"/>
                    </a:lnTo>
                    <a:lnTo>
                      <a:pt x="534" y="961"/>
                    </a:lnTo>
                    <a:lnTo>
                      <a:pt x="534" y="963"/>
                    </a:lnTo>
                    <a:lnTo>
                      <a:pt x="536" y="963"/>
                    </a:lnTo>
                    <a:lnTo>
                      <a:pt x="536" y="965"/>
                    </a:lnTo>
                    <a:lnTo>
                      <a:pt x="536" y="967"/>
                    </a:lnTo>
                    <a:lnTo>
                      <a:pt x="536" y="968"/>
                    </a:lnTo>
                    <a:lnTo>
                      <a:pt x="536" y="970"/>
                    </a:lnTo>
                    <a:lnTo>
                      <a:pt x="536" y="972"/>
                    </a:lnTo>
                    <a:lnTo>
                      <a:pt x="536" y="974"/>
                    </a:lnTo>
                    <a:lnTo>
                      <a:pt x="536" y="976"/>
                    </a:lnTo>
                    <a:lnTo>
                      <a:pt x="536" y="978"/>
                    </a:lnTo>
                    <a:lnTo>
                      <a:pt x="536" y="980"/>
                    </a:lnTo>
                    <a:lnTo>
                      <a:pt x="538" y="980"/>
                    </a:lnTo>
                    <a:lnTo>
                      <a:pt x="536" y="980"/>
                    </a:lnTo>
                    <a:lnTo>
                      <a:pt x="538" y="982"/>
                    </a:lnTo>
                    <a:lnTo>
                      <a:pt x="536" y="982"/>
                    </a:lnTo>
                    <a:lnTo>
                      <a:pt x="536" y="984"/>
                    </a:lnTo>
                    <a:lnTo>
                      <a:pt x="538" y="984"/>
                    </a:lnTo>
                    <a:lnTo>
                      <a:pt x="538" y="986"/>
                    </a:lnTo>
                    <a:lnTo>
                      <a:pt x="538" y="988"/>
                    </a:lnTo>
                    <a:lnTo>
                      <a:pt x="540" y="990"/>
                    </a:lnTo>
                    <a:lnTo>
                      <a:pt x="538" y="990"/>
                    </a:lnTo>
                    <a:lnTo>
                      <a:pt x="538" y="992"/>
                    </a:lnTo>
                    <a:lnTo>
                      <a:pt x="536" y="992"/>
                    </a:lnTo>
                    <a:lnTo>
                      <a:pt x="536" y="990"/>
                    </a:lnTo>
                    <a:lnTo>
                      <a:pt x="534" y="990"/>
                    </a:lnTo>
                    <a:lnTo>
                      <a:pt x="532" y="990"/>
                    </a:lnTo>
                    <a:lnTo>
                      <a:pt x="530" y="990"/>
                    </a:lnTo>
                    <a:lnTo>
                      <a:pt x="530" y="988"/>
                    </a:lnTo>
                    <a:lnTo>
                      <a:pt x="530" y="990"/>
                    </a:lnTo>
                    <a:lnTo>
                      <a:pt x="528" y="990"/>
                    </a:lnTo>
                    <a:lnTo>
                      <a:pt x="526" y="992"/>
                    </a:lnTo>
                    <a:lnTo>
                      <a:pt x="526" y="993"/>
                    </a:lnTo>
                    <a:lnTo>
                      <a:pt x="524" y="993"/>
                    </a:lnTo>
                    <a:lnTo>
                      <a:pt x="522" y="993"/>
                    </a:lnTo>
                    <a:lnTo>
                      <a:pt x="520" y="993"/>
                    </a:lnTo>
                    <a:lnTo>
                      <a:pt x="520" y="992"/>
                    </a:lnTo>
                    <a:lnTo>
                      <a:pt x="519" y="993"/>
                    </a:lnTo>
                    <a:lnTo>
                      <a:pt x="519" y="992"/>
                    </a:lnTo>
                    <a:lnTo>
                      <a:pt x="519" y="990"/>
                    </a:lnTo>
                    <a:lnTo>
                      <a:pt x="519" y="988"/>
                    </a:lnTo>
                    <a:lnTo>
                      <a:pt x="519" y="986"/>
                    </a:lnTo>
                    <a:lnTo>
                      <a:pt x="519" y="984"/>
                    </a:lnTo>
                    <a:lnTo>
                      <a:pt x="517" y="984"/>
                    </a:lnTo>
                    <a:lnTo>
                      <a:pt x="515" y="982"/>
                    </a:lnTo>
                    <a:lnTo>
                      <a:pt x="513" y="982"/>
                    </a:lnTo>
                    <a:lnTo>
                      <a:pt x="511" y="982"/>
                    </a:lnTo>
                    <a:lnTo>
                      <a:pt x="513" y="980"/>
                    </a:lnTo>
                    <a:lnTo>
                      <a:pt x="513" y="978"/>
                    </a:lnTo>
                    <a:lnTo>
                      <a:pt x="515" y="976"/>
                    </a:lnTo>
                    <a:lnTo>
                      <a:pt x="515" y="974"/>
                    </a:lnTo>
                    <a:lnTo>
                      <a:pt x="517" y="974"/>
                    </a:lnTo>
                    <a:lnTo>
                      <a:pt x="517" y="972"/>
                    </a:lnTo>
                    <a:lnTo>
                      <a:pt x="519" y="972"/>
                    </a:lnTo>
                    <a:lnTo>
                      <a:pt x="519" y="970"/>
                    </a:lnTo>
                    <a:lnTo>
                      <a:pt x="517" y="970"/>
                    </a:lnTo>
                    <a:lnTo>
                      <a:pt x="517" y="968"/>
                    </a:lnTo>
                    <a:lnTo>
                      <a:pt x="519" y="968"/>
                    </a:lnTo>
                    <a:lnTo>
                      <a:pt x="519" y="967"/>
                    </a:lnTo>
                    <a:lnTo>
                      <a:pt x="517" y="967"/>
                    </a:lnTo>
                    <a:lnTo>
                      <a:pt x="517" y="965"/>
                    </a:lnTo>
                    <a:lnTo>
                      <a:pt x="519" y="965"/>
                    </a:lnTo>
                    <a:lnTo>
                      <a:pt x="517" y="965"/>
                    </a:lnTo>
                    <a:lnTo>
                      <a:pt x="515" y="965"/>
                    </a:lnTo>
                    <a:lnTo>
                      <a:pt x="513" y="963"/>
                    </a:lnTo>
                    <a:lnTo>
                      <a:pt x="511" y="963"/>
                    </a:lnTo>
                    <a:lnTo>
                      <a:pt x="509" y="961"/>
                    </a:lnTo>
                    <a:lnTo>
                      <a:pt x="507" y="959"/>
                    </a:lnTo>
                    <a:lnTo>
                      <a:pt x="505" y="959"/>
                    </a:lnTo>
                    <a:lnTo>
                      <a:pt x="503" y="959"/>
                    </a:lnTo>
                    <a:lnTo>
                      <a:pt x="503" y="957"/>
                    </a:lnTo>
                    <a:lnTo>
                      <a:pt x="503" y="955"/>
                    </a:lnTo>
                    <a:lnTo>
                      <a:pt x="503" y="953"/>
                    </a:lnTo>
                    <a:lnTo>
                      <a:pt x="503" y="951"/>
                    </a:lnTo>
                    <a:lnTo>
                      <a:pt x="505" y="951"/>
                    </a:lnTo>
                    <a:lnTo>
                      <a:pt x="505" y="949"/>
                    </a:lnTo>
                    <a:lnTo>
                      <a:pt x="505" y="947"/>
                    </a:lnTo>
                    <a:lnTo>
                      <a:pt x="503" y="947"/>
                    </a:lnTo>
                    <a:lnTo>
                      <a:pt x="503" y="945"/>
                    </a:lnTo>
                    <a:lnTo>
                      <a:pt x="501" y="945"/>
                    </a:lnTo>
                    <a:lnTo>
                      <a:pt x="501" y="947"/>
                    </a:lnTo>
                    <a:lnTo>
                      <a:pt x="499" y="947"/>
                    </a:lnTo>
                    <a:lnTo>
                      <a:pt x="497" y="949"/>
                    </a:lnTo>
                    <a:lnTo>
                      <a:pt x="497" y="947"/>
                    </a:lnTo>
                    <a:lnTo>
                      <a:pt x="496" y="947"/>
                    </a:lnTo>
                    <a:lnTo>
                      <a:pt x="496" y="945"/>
                    </a:lnTo>
                    <a:lnTo>
                      <a:pt x="496" y="943"/>
                    </a:lnTo>
                    <a:lnTo>
                      <a:pt x="494" y="943"/>
                    </a:lnTo>
                    <a:lnTo>
                      <a:pt x="492" y="943"/>
                    </a:lnTo>
                    <a:lnTo>
                      <a:pt x="492" y="942"/>
                    </a:lnTo>
                    <a:lnTo>
                      <a:pt x="490" y="940"/>
                    </a:lnTo>
                    <a:lnTo>
                      <a:pt x="490" y="938"/>
                    </a:lnTo>
                    <a:lnTo>
                      <a:pt x="488" y="936"/>
                    </a:lnTo>
                    <a:lnTo>
                      <a:pt x="486" y="936"/>
                    </a:lnTo>
                    <a:lnTo>
                      <a:pt x="484" y="936"/>
                    </a:lnTo>
                    <a:lnTo>
                      <a:pt x="482" y="936"/>
                    </a:lnTo>
                    <a:lnTo>
                      <a:pt x="480" y="936"/>
                    </a:lnTo>
                    <a:lnTo>
                      <a:pt x="480" y="938"/>
                    </a:lnTo>
                    <a:lnTo>
                      <a:pt x="478" y="940"/>
                    </a:lnTo>
                    <a:lnTo>
                      <a:pt x="478" y="942"/>
                    </a:lnTo>
                    <a:lnTo>
                      <a:pt x="480" y="943"/>
                    </a:lnTo>
                    <a:lnTo>
                      <a:pt x="480" y="945"/>
                    </a:lnTo>
                    <a:lnTo>
                      <a:pt x="478" y="947"/>
                    </a:lnTo>
                    <a:lnTo>
                      <a:pt x="478" y="949"/>
                    </a:lnTo>
                    <a:lnTo>
                      <a:pt x="476" y="949"/>
                    </a:lnTo>
                    <a:lnTo>
                      <a:pt x="476" y="951"/>
                    </a:lnTo>
                    <a:lnTo>
                      <a:pt x="476" y="953"/>
                    </a:lnTo>
                    <a:lnTo>
                      <a:pt x="474" y="953"/>
                    </a:lnTo>
                    <a:lnTo>
                      <a:pt x="474" y="955"/>
                    </a:lnTo>
                    <a:lnTo>
                      <a:pt x="474" y="957"/>
                    </a:lnTo>
                    <a:lnTo>
                      <a:pt x="474" y="959"/>
                    </a:lnTo>
                    <a:lnTo>
                      <a:pt x="472" y="957"/>
                    </a:lnTo>
                    <a:lnTo>
                      <a:pt x="472" y="959"/>
                    </a:lnTo>
                    <a:lnTo>
                      <a:pt x="471" y="959"/>
                    </a:lnTo>
                    <a:lnTo>
                      <a:pt x="469" y="959"/>
                    </a:lnTo>
                    <a:lnTo>
                      <a:pt x="469" y="961"/>
                    </a:lnTo>
                    <a:lnTo>
                      <a:pt x="467" y="961"/>
                    </a:lnTo>
                    <a:lnTo>
                      <a:pt x="467" y="959"/>
                    </a:lnTo>
                    <a:lnTo>
                      <a:pt x="465" y="959"/>
                    </a:lnTo>
                    <a:lnTo>
                      <a:pt x="465" y="961"/>
                    </a:lnTo>
                    <a:lnTo>
                      <a:pt x="463" y="961"/>
                    </a:lnTo>
                    <a:lnTo>
                      <a:pt x="463" y="963"/>
                    </a:lnTo>
                    <a:lnTo>
                      <a:pt x="461" y="965"/>
                    </a:lnTo>
                    <a:lnTo>
                      <a:pt x="459" y="965"/>
                    </a:lnTo>
                    <a:lnTo>
                      <a:pt x="459" y="967"/>
                    </a:lnTo>
                    <a:lnTo>
                      <a:pt x="459" y="968"/>
                    </a:lnTo>
                    <a:lnTo>
                      <a:pt x="459" y="970"/>
                    </a:lnTo>
                    <a:lnTo>
                      <a:pt x="457" y="970"/>
                    </a:lnTo>
                    <a:lnTo>
                      <a:pt x="457" y="972"/>
                    </a:lnTo>
                    <a:lnTo>
                      <a:pt x="459" y="972"/>
                    </a:lnTo>
                    <a:lnTo>
                      <a:pt x="457" y="974"/>
                    </a:lnTo>
                    <a:lnTo>
                      <a:pt x="459" y="976"/>
                    </a:lnTo>
                    <a:lnTo>
                      <a:pt x="461" y="976"/>
                    </a:lnTo>
                    <a:lnTo>
                      <a:pt x="463" y="978"/>
                    </a:lnTo>
                    <a:lnTo>
                      <a:pt x="465" y="978"/>
                    </a:lnTo>
                    <a:lnTo>
                      <a:pt x="465" y="980"/>
                    </a:lnTo>
                    <a:lnTo>
                      <a:pt x="467" y="980"/>
                    </a:lnTo>
                    <a:lnTo>
                      <a:pt x="467" y="978"/>
                    </a:lnTo>
                    <a:lnTo>
                      <a:pt x="469" y="978"/>
                    </a:lnTo>
                    <a:lnTo>
                      <a:pt x="469" y="980"/>
                    </a:lnTo>
                    <a:lnTo>
                      <a:pt x="471" y="980"/>
                    </a:lnTo>
                    <a:lnTo>
                      <a:pt x="472" y="980"/>
                    </a:lnTo>
                    <a:lnTo>
                      <a:pt x="472" y="982"/>
                    </a:lnTo>
                    <a:lnTo>
                      <a:pt x="474" y="982"/>
                    </a:lnTo>
                    <a:lnTo>
                      <a:pt x="474" y="984"/>
                    </a:lnTo>
                    <a:lnTo>
                      <a:pt x="472" y="984"/>
                    </a:lnTo>
                    <a:lnTo>
                      <a:pt x="472" y="986"/>
                    </a:lnTo>
                    <a:lnTo>
                      <a:pt x="471" y="990"/>
                    </a:lnTo>
                    <a:lnTo>
                      <a:pt x="471" y="992"/>
                    </a:lnTo>
                    <a:lnTo>
                      <a:pt x="469" y="992"/>
                    </a:lnTo>
                    <a:lnTo>
                      <a:pt x="471" y="992"/>
                    </a:lnTo>
                    <a:lnTo>
                      <a:pt x="472" y="992"/>
                    </a:lnTo>
                    <a:lnTo>
                      <a:pt x="474" y="990"/>
                    </a:lnTo>
                    <a:lnTo>
                      <a:pt x="476" y="990"/>
                    </a:lnTo>
                    <a:lnTo>
                      <a:pt x="476" y="988"/>
                    </a:lnTo>
                    <a:lnTo>
                      <a:pt x="478" y="990"/>
                    </a:lnTo>
                    <a:lnTo>
                      <a:pt x="480" y="990"/>
                    </a:lnTo>
                    <a:lnTo>
                      <a:pt x="482" y="990"/>
                    </a:lnTo>
                    <a:lnTo>
                      <a:pt x="484" y="990"/>
                    </a:lnTo>
                    <a:lnTo>
                      <a:pt x="486" y="992"/>
                    </a:lnTo>
                    <a:lnTo>
                      <a:pt x="486" y="990"/>
                    </a:lnTo>
                    <a:lnTo>
                      <a:pt x="488" y="988"/>
                    </a:lnTo>
                    <a:lnTo>
                      <a:pt x="488" y="986"/>
                    </a:lnTo>
                    <a:lnTo>
                      <a:pt x="490" y="988"/>
                    </a:lnTo>
                    <a:lnTo>
                      <a:pt x="492" y="988"/>
                    </a:lnTo>
                    <a:lnTo>
                      <a:pt x="494" y="988"/>
                    </a:lnTo>
                    <a:lnTo>
                      <a:pt x="494" y="990"/>
                    </a:lnTo>
                    <a:lnTo>
                      <a:pt x="496" y="988"/>
                    </a:lnTo>
                    <a:lnTo>
                      <a:pt x="496" y="990"/>
                    </a:lnTo>
                    <a:lnTo>
                      <a:pt x="496" y="992"/>
                    </a:lnTo>
                    <a:lnTo>
                      <a:pt x="496" y="993"/>
                    </a:lnTo>
                    <a:lnTo>
                      <a:pt x="496" y="995"/>
                    </a:lnTo>
                    <a:lnTo>
                      <a:pt x="497" y="993"/>
                    </a:lnTo>
                    <a:lnTo>
                      <a:pt x="497" y="995"/>
                    </a:lnTo>
                    <a:lnTo>
                      <a:pt x="497" y="993"/>
                    </a:lnTo>
                    <a:lnTo>
                      <a:pt x="499" y="993"/>
                    </a:lnTo>
                    <a:lnTo>
                      <a:pt x="499" y="995"/>
                    </a:lnTo>
                    <a:lnTo>
                      <a:pt x="499" y="997"/>
                    </a:lnTo>
                    <a:lnTo>
                      <a:pt x="501" y="997"/>
                    </a:lnTo>
                    <a:lnTo>
                      <a:pt x="501" y="999"/>
                    </a:lnTo>
                    <a:lnTo>
                      <a:pt x="499" y="999"/>
                    </a:lnTo>
                    <a:lnTo>
                      <a:pt x="501" y="1003"/>
                    </a:lnTo>
                    <a:lnTo>
                      <a:pt x="499" y="1003"/>
                    </a:lnTo>
                    <a:lnTo>
                      <a:pt x="499" y="1005"/>
                    </a:lnTo>
                    <a:lnTo>
                      <a:pt x="497" y="1005"/>
                    </a:lnTo>
                    <a:lnTo>
                      <a:pt x="497" y="1007"/>
                    </a:lnTo>
                    <a:lnTo>
                      <a:pt x="497" y="1009"/>
                    </a:lnTo>
                    <a:lnTo>
                      <a:pt x="499" y="1009"/>
                    </a:lnTo>
                    <a:lnTo>
                      <a:pt x="497" y="1011"/>
                    </a:lnTo>
                    <a:lnTo>
                      <a:pt x="497" y="1013"/>
                    </a:lnTo>
                    <a:lnTo>
                      <a:pt x="496" y="1015"/>
                    </a:lnTo>
                    <a:lnTo>
                      <a:pt x="496" y="1017"/>
                    </a:lnTo>
                    <a:lnTo>
                      <a:pt x="494" y="1015"/>
                    </a:lnTo>
                    <a:lnTo>
                      <a:pt x="494" y="1017"/>
                    </a:lnTo>
                    <a:lnTo>
                      <a:pt x="492" y="1017"/>
                    </a:lnTo>
                    <a:lnTo>
                      <a:pt x="492" y="1018"/>
                    </a:lnTo>
                    <a:lnTo>
                      <a:pt x="490" y="1020"/>
                    </a:lnTo>
                    <a:lnTo>
                      <a:pt x="492" y="1020"/>
                    </a:lnTo>
                    <a:lnTo>
                      <a:pt x="492" y="1022"/>
                    </a:lnTo>
                    <a:lnTo>
                      <a:pt x="490" y="1022"/>
                    </a:lnTo>
                    <a:lnTo>
                      <a:pt x="490" y="1026"/>
                    </a:lnTo>
                    <a:lnTo>
                      <a:pt x="488" y="1026"/>
                    </a:lnTo>
                    <a:lnTo>
                      <a:pt x="488" y="1028"/>
                    </a:lnTo>
                    <a:lnTo>
                      <a:pt x="486" y="1028"/>
                    </a:lnTo>
                    <a:lnTo>
                      <a:pt x="486" y="1030"/>
                    </a:lnTo>
                    <a:lnTo>
                      <a:pt x="484" y="1030"/>
                    </a:lnTo>
                    <a:lnTo>
                      <a:pt x="484" y="1028"/>
                    </a:lnTo>
                    <a:lnTo>
                      <a:pt x="482" y="1028"/>
                    </a:lnTo>
                    <a:lnTo>
                      <a:pt x="480" y="1028"/>
                    </a:lnTo>
                    <a:lnTo>
                      <a:pt x="480" y="1026"/>
                    </a:lnTo>
                    <a:lnTo>
                      <a:pt x="478" y="1026"/>
                    </a:lnTo>
                    <a:lnTo>
                      <a:pt x="478" y="1028"/>
                    </a:lnTo>
                    <a:lnTo>
                      <a:pt x="476" y="1030"/>
                    </a:lnTo>
                    <a:lnTo>
                      <a:pt x="476" y="1028"/>
                    </a:lnTo>
                    <a:lnTo>
                      <a:pt x="474" y="1028"/>
                    </a:lnTo>
                    <a:lnTo>
                      <a:pt x="472" y="1028"/>
                    </a:lnTo>
                    <a:lnTo>
                      <a:pt x="472" y="1030"/>
                    </a:lnTo>
                    <a:lnTo>
                      <a:pt x="472" y="1034"/>
                    </a:lnTo>
                    <a:lnTo>
                      <a:pt x="472" y="1036"/>
                    </a:lnTo>
                    <a:lnTo>
                      <a:pt x="472" y="1040"/>
                    </a:lnTo>
                    <a:lnTo>
                      <a:pt x="472" y="1042"/>
                    </a:lnTo>
                    <a:lnTo>
                      <a:pt x="474" y="1042"/>
                    </a:lnTo>
                    <a:lnTo>
                      <a:pt x="474" y="1043"/>
                    </a:lnTo>
                    <a:lnTo>
                      <a:pt x="474" y="1045"/>
                    </a:lnTo>
                    <a:lnTo>
                      <a:pt x="474" y="1047"/>
                    </a:lnTo>
                    <a:lnTo>
                      <a:pt x="476" y="1047"/>
                    </a:lnTo>
                    <a:lnTo>
                      <a:pt x="476" y="1049"/>
                    </a:lnTo>
                    <a:lnTo>
                      <a:pt x="476" y="1051"/>
                    </a:lnTo>
                    <a:lnTo>
                      <a:pt x="474" y="1051"/>
                    </a:lnTo>
                    <a:lnTo>
                      <a:pt x="476" y="1053"/>
                    </a:lnTo>
                    <a:lnTo>
                      <a:pt x="476" y="1055"/>
                    </a:lnTo>
                    <a:lnTo>
                      <a:pt x="474" y="1055"/>
                    </a:lnTo>
                    <a:lnTo>
                      <a:pt x="472" y="1055"/>
                    </a:lnTo>
                    <a:lnTo>
                      <a:pt x="474" y="1055"/>
                    </a:lnTo>
                    <a:lnTo>
                      <a:pt x="474" y="1057"/>
                    </a:lnTo>
                    <a:lnTo>
                      <a:pt x="474" y="1059"/>
                    </a:lnTo>
                    <a:lnTo>
                      <a:pt x="472" y="1059"/>
                    </a:lnTo>
                    <a:lnTo>
                      <a:pt x="472" y="1061"/>
                    </a:lnTo>
                    <a:lnTo>
                      <a:pt x="472" y="1063"/>
                    </a:lnTo>
                    <a:lnTo>
                      <a:pt x="472" y="1065"/>
                    </a:lnTo>
                    <a:lnTo>
                      <a:pt x="471" y="1065"/>
                    </a:lnTo>
                    <a:lnTo>
                      <a:pt x="471" y="1067"/>
                    </a:lnTo>
                    <a:lnTo>
                      <a:pt x="471" y="1068"/>
                    </a:lnTo>
                    <a:lnTo>
                      <a:pt x="469" y="1068"/>
                    </a:lnTo>
                    <a:lnTo>
                      <a:pt x="467" y="1068"/>
                    </a:lnTo>
                    <a:lnTo>
                      <a:pt x="467" y="1070"/>
                    </a:lnTo>
                    <a:lnTo>
                      <a:pt x="465" y="1068"/>
                    </a:lnTo>
                    <a:lnTo>
                      <a:pt x="465" y="1070"/>
                    </a:lnTo>
                    <a:lnTo>
                      <a:pt x="465" y="1068"/>
                    </a:lnTo>
                    <a:lnTo>
                      <a:pt x="463" y="1068"/>
                    </a:lnTo>
                    <a:lnTo>
                      <a:pt x="463" y="1070"/>
                    </a:lnTo>
                    <a:lnTo>
                      <a:pt x="463" y="1072"/>
                    </a:lnTo>
                    <a:lnTo>
                      <a:pt x="463" y="1074"/>
                    </a:lnTo>
                    <a:lnTo>
                      <a:pt x="461" y="1074"/>
                    </a:lnTo>
                    <a:lnTo>
                      <a:pt x="459" y="1074"/>
                    </a:lnTo>
                    <a:lnTo>
                      <a:pt x="457" y="1074"/>
                    </a:lnTo>
                    <a:lnTo>
                      <a:pt x="457" y="1076"/>
                    </a:lnTo>
                    <a:lnTo>
                      <a:pt x="457" y="1074"/>
                    </a:lnTo>
                    <a:lnTo>
                      <a:pt x="455" y="1076"/>
                    </a:lnTo>
                    <a:lnTo>
                      <a:pt x="455" y="1074"/>
                    </a:lnTo>
                    <a:lnTo>
                      <a:pt x="453" y="1074"/>
                    </a:lnTo>
                    <a:lnTo>
                      <a:pt x="451" y="1074"/>
                    </a:lnTo>
                    <a:lnTo>
                      <a:pt x="451" y="1072"/>
                    </a:lnTo>
                    <a:lnTo>
                      <a:pt x="449" y="1072"/>
                    </a:lnTo>
                    <a:lnTo>
                      <a:pt x="449" y="1074"/>
                    </a:lnTo>
                    <a:lnTo>
                      <a:pt x="447" y="1076"/>
                    </a:lnTo>
                    <a:lnTo>
                      <a:pt x="447" y="1078"/>
                    </a:lnTo>
                    <a:lnTo>
                      <a:pt x="446" y="1078"/>
                    </a:lnTo>
                    <a:lnTo>
                      <a:pt x="444" y="1078"/>
                    </a:lnTo>
                    <a:lnTo>
                      <a:pt x="442" y="1078"/>
                    </a:lnTo>
                    <a:lnTo>
                      <a:pt x="440" y="1078"/>
                    </a:lnTo>
                    <a:lnTo>
                      <a:pt x="440" y="1076"/>
                    </a:lnTo>
                    <a:lnTo>
                      <a:pt x="438" y="1076"/>
                    </a:lnTo>
                    <a:lnTo>
                      <a:pt x="436" y="1074"/>
                    </a:lnTo>
                    <a:lnTo>
                      <a:pt x="434" y="1074"/>
                    </a:lnTo>
                    <a:lnTo>
                      <a:pt x="436" y="1072"/>
                    </a:lnTo>
                    <a:lnTo>
                      <a:pt x="434" y="1072"/>
                    </a:lnTo>
                    <a:lnTo>
                      <a:pt x="432" y="1072"/>
                    </a:lnTo>
                    <a:lnTo>
                      <a:pt x="432" y="1074"/>
                    </a:lnTo>
                    <a:lnTo>
                      <a:pt x="430" y="1074"/>
                    </a:lnTo>
                    <a:lnTo>
                      <a:pt x="428" y="1074"/>
                    </a:lnTo>
                    <a:lnTo>
                      <a:pt x="428" y="1072"/>
                    </a:lnTo>
                    <a:lnTo>
                      <a:pt x="428" y="1074"/>
                    </a:lnTo>
                    <a:lnTo>
                      <a:pt x="426" y="1074"/>
                    </a:lnTo>
                    <a:lnTo>
                      <a:pt x="426" y="1076"/>
                    </a:lnTo>
                    <a:lnTo>
                      <a:pt x="424" y="1076"/>
                    </a:lnTo>
                    <a:lnTo>
                      <a:pt x="424" y="1078"/>
                    </a:lnTo>
                    <a:lnTo>
                      <a:pt x="423" y="1080"/>
                    </a:lnTo>
                    <a:lnTo>
                      <a:pt x="421" y="1080"/>
                    </a:lnTo>
                    <a:lnTo>
                      <a:pt x="421" y="1078"/>
                    </a:lnTo>
                    <a:lnTo>
                      <a:pt x="421" y="1076"/>
                    </a:lnTo>
                    <a:lnTo>
                      <a:pt x="423" y="1076"/>
                    </a:lnTo>
                    <a:lnTo>
                      <a:pt x="421" y="1074"/>
                    </a:lnTo>
                    <a:lnTo>
                      <a:pt x="421" y="1072"/>
                    </a:lnTo>
                    <a:lnTo>
                      <a:pt x="421" y="1070"/>
                    </a:lnTo>
                    <a:lnTo>
                      <a:pt x="419" y="1070"/>
                    </a:lnTo>
                    <a:lnTo>
                      <a:pt x="417" y="1070"/>
                    </a:lnTo>
                    <a:lnTo>
                      <a:pt x="417" y="1068"/>
                    </a:lnTo>
                    <a:lnTo>
                      <a:pt x="415" y="1068"/>
                    </a:lnTo>
                    <a:lnTo>
                      <a:pt x="413" y="1068"/>
                    </a:lnTo>
                    <a:lnTo>
                      <a:pt x="413" y="1067"/>
                    </a:lnTo>
                    <a:lnTo>
                      <a:pt x="411" y="1067"/>
                    </a:lnTo>
                    <a:lnTo>
                      <a:pt x="409" y="1067"/>
                    </a:lnTo>
                    <a:lnTo>
                      <a:pt x="411" y="1067"/>
                    </a:lnTo>
                    <a:lnTo>
                      <a:pt x="409" y="1067"/>
                    </a:lnTo>
                    <a:lnTo>
                      <a:pt x="407" y="1067"/>
                    </a:lnTo>
                    <a:lnTo>
                      <a:pt x="405" y="1065"/>
                    </a:lnTo>
                    <a:lnTo>
                      <a:pt x="405" y="1067"/>
                    </a:lnTo>
                    <a:lnTo>
                      <a:pt x="403" y="1067"/>
                    </a:lnTo>
                    <a:lnTo>
                      <a:pt x="403" y="1068"/>
                    </a:lnTo>
                    <a:lnTo>
                      <a:pt x="403" y="1070"/>
                    </a:lnTo>
                    <a:lnTo>
                      <a:pt x="403" y="1072"/>
                    </a:lnTo>
                    <a:lnTo>
                      <a:pt x="401" y="1072"/>
                    </a:lnTo>
                    <a:lnTo>
                      <a:pt x="399" y="1072"/>
                    </a:lnTo>
                    <a:lnTo>
                      <a:pt x="398" y="1072"/>
                    </a:lnTo>
                    <a:lnTo>
                      <a:pt x="396" y="1072"/>
                    </a:lnTo>
                    <a:lnTo>
                      <a:pt x="396" y="1074"/>
                    </a:lnTo>
                    <a:lnTo>
                      <a:pt x="396" y="1076"/>
                    </a:lnTo>
                    <a:lnTo>
                      <a:pt x="394" y="1076"/>
                    </a:lnTo>
                    <a:lnTo>
                      <a:pt x="392" y="1078"/>
                    </a:lnTo>
                    <a:lnTo>
                      <a:pt x="392" y="1080"/>
                    </a:lnTo>
                    <a:lnTo>
                      <a:pt x="392" y="1082"/>
                    </a:lnTo>
                    <a:lnTo>
                      <a:pt x="390" y="1084"/>
                    </a:lnTo>
                    <a:lnTo>
                      <a:pt x="390" y="1086"/>
                    </a:lnTo>
                    <a:lnTo>
                      <a:pt x="392" y="1086"/>
                    </a:lnTo>
                    <a:lnTo>
                      <a:pt x="392" y="1088"/>
                    </a:lnTo>
                    <a:lnTo>
                      <a:pt x="392" y="1090"/>
                    </a:lnTo>
                    <a:lnTo>
                      <a:pt x="390" y="1090"/>
                    </a:lnTo>
                    <a:lnTo>
                      <a:pt x="388" y="1090"/>
                    </a:lnTo>
                    <a:lnTo>
                      <a:pt x="388" y="1091"/>
                    </a:lnTo>
                    <a:lnTo>
                      <a:pt x="388" y="1093"/>
                    </a:lnTo>
                    <a:lnTo>
                      <a:pt x="390" y="1095"/>
                    </a:lnTo>
                    <a:lnTo>
                      <a:pt x="390" y="1097"/>
                    </a:lnTo>
                    <a:lnTo>
                      <a:pt x="390" y="1099"/>
                    </a:lnTo>
                    <a:lnTo>
                      <a:pt x="392" y="1101"/>
                    </a:lnTo>
                    <a:lnTo>
                      <a:pt x="394" y="1103"/>
                    </a:lnTo>
                    <a:lnTo>
                      <a:pt x="394" y="1105"/>
                    </a:lnTo>
                    <a:lnTo>
                      <a:pt x="396" y="1107"/>
                    </a:lnTo>
                    <a:lnTo>
                      <a:pt x="394" y="1109"/>
                    </a:lnTo>
                    <a:lnTo>
                      <a:pt x="394" y="1111"/>
                    </a:lnTo>
                    <a:lnTo>
                      <a:pt x="394" y="1113"/>
                    </a:lnTo>
                    <a:lnTo>
                      <a:pt x="394" y="1111"/>
                    </a:lnTo>
                    <a:lnTo>
                      <a:pt x="392" y="1111"/>
                    </a:lnTo>
                    <a:lnTo>
                      <a:pt x="392" y="1113"/>
                    </a:lnTo>
                    <a:lnTo>
                      <a:pt x="390" y="1113"/>
                    </a:lnTo>
                    <a:lnTo>
                      <a:pt x="388" y="1113"/>
                    </a:lnTo>
                    <a:lnTo>
                      <a:pt x="388" y="1115"/>
                    </a:lnTo>
                    <a:lnTo>
                      <a:pt x="386" y="1116"/>
                    </a:lnTo>
                    <a:lnTo>
                      <a:pt x="384" y="1116"/>
                    </a:lnTo>
                    <a:lnTo>
                      <a:pt x="382" y="1116"/>
                    </a:lnTo>
                    <a:lnTo>
                      <a:pt x="382" y="1118"/>
                    </a:lnTo>
                    <a:lnTo>
                      <a:pt x="380" y="1118"/>
                    </a:lnTo>
                    <a:lnTo>
                      <a:pt x="380" y="1116"/>
                    </a:lnTo>
                    <a:lnTo>
                      <a:pt x="380" y="1115"/>
                    </a:lnTo>
                    <a:lnTo>
                      <a:pt x="378" y="1115"/>
                    </a:lnTo>
                    <a:lnTo>
                      <a:pt x="378" y="1113"/>
                    </a:lnTo>
                    <a:lnTo>
                      <a:pt x="378" y="1111"/>
                    </a:lnTo>
                    <a:lnTo>
                      <a:pt x="378" y="1109"/>
                    </a:lnTo>
                    <a:lnTo>
                      <a:pt x="376" y="1109"/>
                    </a:lnTo>
                    <a:lnTo>
                      <a:pt x="376" y="1107"/>
                    </a:lnTo>
                    <a:lnTo>
                      <a:pt x="376" y="1105"/>
                    </a:lnTo>
                    <a:lnTo>
                      <a:pt x="376" y="1103"/>
                    </a:lnTo>
                    <a:lnTo>
                      <a:pt x="374" y="1103"/>
                    </a:lnTo>
                    <a:lnTo>
                      <a:pt x="374" y="1101"/>
                    </a:lnTo>
                    <a:lnTo>
                      <a:pt x="374" y="1099"/>
                    </a:lnTo>
                    <a:lnTo>
                      <a:pt x="374" y="1097"/>
                    </a:lnTo>
                    <a:lnTo>
                      <a:pt x="373" y="1097"/>
                    </a:lnTo>
                    <a:lnTo>
                      <a:pt x="373" y="1095"/>
                    </a:lnTo>
                    <a:lnTo>
                      <a:pt x="374" y="1095"/>
                    </a:lnTo>
                    <a:lnTo>
                      <a:pt x="374" y="1093"/>
                    </a:lnTo>
                    <a:lnTo>
                      <a:pt x="374" y="1091"/>
                    </a:lnTo>
                    <a:lnTo>
                      <a:pt x="373" y="1090"/>
                    </a:lnTo>
                    <a:lnTo>
                      <a:pt x="373" y="1088"/>
                    </a:lnTo>
                    <a:lnTo>
                      <a:pt x="374" y="1088"/>
                    </a:lnTo>
                    <a:lnTo>
                      <a:pt x="374" y="1086"/>
                    </a:lnTo>
                    <a:lnTo>
                      <a:pt x="376" y="1086"/>
                    </a:lnTo>
                    <a:lnTo>
                      <a:pt x="374" y="1084"/>
                    </a:lnTo>
                    <a:lnTo>
                      <a:pt x="374" y="1082"/>
                    </a:lnTo>
                    <a:lnTo>
                      <a:pt x="373" y="1080"/>
                    </a:lnTo>
                    <a:lnTo>
                      <a:pt x="371" y="1078"/>
                    </a:lnTo>
                    <a:lnTo>
                      <a:pt x="369" y="1078"/>
                    </a:lnTo>
                    <a:lnTo>
                      <a:pt x="369" y="1076"/>
                    </a:lnTo>
                    <a:lnTo>
                      <a:pt x="369" y="1072"/>
                    </a:lnTo>
                    <a:lnTo>
                      <a:pt x="369" y="1070"/>
                    </a:lnTo>
                    <a:lnTo>
                      <a:pt x="371" y="1070"/>
                    </a:lnTo>
                    <a:lnTo>
                      <a:pt x="371" y="1068"/>
                    </a:lnTo>
                    <a:lnTo>
                      <a:pt x="369" y="1067"/>
                    </a:lnTo>
                    <a:lnTo>
                      <a:pt x="371" y="1065"/>
                    </a:lnTo>
                    <a:lnTo>
                      <a:pt x="371" y="1063"/>
                    </a:lnTo>
                    <a:lnTo>
                      <a:pt x="373" y="1063"/>
                    </a:lnTo>
                    <a:lnTo>
                      <a:pt x="374" y="1061"/>
                    </a:lnTo>
                    <a:lnTo>
                      <a:pt x="376" y="1061"/>
                    </a:lnTo>
                    <a:lnTo>
                      <a:pt x="376" y="1059"/>
                    </a:lnTo>
                    <a:lnTo>
                      <a:pt x="376" y="1057"/>
                    </a:lnTo>
                    <a:lnTo>
                      <a:pt x="378" y="1057"/>
                    </a:lnTo>
                    <a:lnTo>
                      <a:pt x="378" y="1055"/>
                    </a:lnTo>
                    <a:lnTo>
                      <a:pt x="376" y="1055"/>
                    </a:lnTo>
                    <a:lnTo>
                      <a:pt x="376" y="1053"/>
                    </a:lnTo>
                    <a:lnTo>
                      <a:pt x="378" y="1053"/>
                    </a:lnTo>
                    <a:lnTo>
                      <a:pt x="378" y="1051"/>
                    </a:lnTo>
                    <a:lnTo>
                      <a:pt x="378" y="1049"/>
                    </a:lnTo>
                    <a:lnTo>
                      <a:pt x="378" y="1047"/>
                    </a:lnTo>
                    <a:lnTo>
                      <a:pt x="378" y="1045"/>
                    </a:lnTo>
                    <a:lnTo>
                      <a:pt x="378" y="1043"/>
                    </a:lnTo>
                    <a:lnTo>
                      <a:pt x="378" y="1042"/>
                    </a:lnTo>
                    <a:lnTo>
                      <a:pt x="378" y="1040"/>
                    </a:lnTo>
                    <a:lnTo>
                      <a:pt x="378" y="1038"/>
                    </a:lnTo>
                    <a:lnTo>
                      <a:pt x="378" y="1036"/>
                    </a:lnTo>
                    <a:lnTo>
                      <a:pt x="376" y="1036"/>
                    </a:lnTo>
                    <a:lnTo>
                      <a:pt x="374" y="1034"/>
                    </a:lnTo>
                    <a:lnTo>
                      <a:pt x="373" y="1034"/>
                    </a:lnTo>
                    <a:lnTo>
                      <a:pt x="373" y="1032"/>
                    </a:lnTo>
                    <a:lnTo>
                      <a:pt x="371" y="1030"/>
                    </a:lnTo>
                    <a:lnTo>
                      <a:pt x="371" y="1028"/>
                    </a:lnTo>
                    <a:lnTo>
                      <a:pt x="369" y="1028"/>
                    </a:lnTo>
                    <a:lnTo>
                      <a:pt x="367" y="1028"/>
                    </a:lnTo>
                    <a:lnTo>
                      <a:pt x="367" y="1026"/>
                    </a:lnTo>
                    <a:lnTo>
                      <a:pt x="365" y="1026"/>
                    </a:lnTo>
                    <a:lnTo>
                      <a:pt x="363" y="1024"/>
                    </a:lnTo>
                    <a:lnTo>
                      <a:pt x="363" y="1022"/>
                    </a:lnTo>
                    <a:lnTo>
                      <a:pt x="363" y="1020"/>
                    </a:lnTo>
                    <a:lnTo>
                      <a:pt x="363" y="1018"/>
                    </a:lnTo>
                    <a:lnTo>
                      <a:pt x="363" y="1017"/>
                    </a:lnTo>
                    <a:lnTo>
                      <a:pt x="363" y="1015"/>
                    </a:lnTo>
                    <a:lnTo>
                      <a:pt x="363" y="1013"/>
                    </a:lnTo>
                    <a:lnTo>
                      <a:pt x="363" y="1011"/>
                    </a:lnTo>
                    <a:lnTo>
                      <a:pt x="361" y="1009"/>
                    </a:lnTo>
                    <a:lnTo>
                      <a:pt x="361" y="1007"/>
                    </a:lnTo>
                    <a:lnTo>
                      <a:pt x="361" y="1005"/>
                    </a:lnTo>
                    <a:lnTo>
                      <a:pt x="361" y="1003"/>
                    </a:lnTo>
                    <a:lnTo>
                      <a:pt x="363" y="1003"/>
                    </a:lnTo>
                    <a:lnTo>
                      <a:pt x="361" y="1001"/>
                    </a:lnTo>
                    <a:lnTo>
                      <a:pt x="361" y="999"/>
                    </a:lnTo>
                    <a:lnTo>
                      <a:pt x="361" y="997"/>
                    </a:lnTo>
                    <a:lnTo>
                      <a:pt x="361" y="995"/>
                    </a:lnTo>
                    <a:lnTo>
                      <a:pt x="363" y="995"/>
                    </a:lnTo>
                    <a:lnTo>
                      <a:pt x="363" y="993"/>
                    </a:lnTo>
                    <a:lnTo>
                      <a:pt x="363" y="992"/>
                    </a:lnTo>
                    <a:lnTo>
                      <a:pt x="363" y="990"/>
                    </a:lnTo>
                    <a:lnTo>
                      <a:pt x="363" y="988"/>
                    </a:lnTo>
                    <a:lnTo>
                      <a:pt x="363" y="986"/>
                    </a:lnTo>
                    <a:lnTo>
                      <a:pt x="365" y="984"/>
                    </a:lnTo>
                    <a:lnTo>
                      <a:pt x="365" y="982"/>
                    </a:lnTo>
                    <a:lnTo>
                      <a:pt x="363" y="982"/>
                    </a:lnTo>
                    <a:lnTo>
                      <a:pt x="363" y="980"/>
                    </a:lnTo>
                    <a:lnTo>
                      <a:pt x="363" y="978"/>
                    </a:lnTo>
                    <a:lnTo>
                      <a:pt x="361" y="978"/>
                    </a:lnTo>
                    <a:lnTo>
                      <a:pt x="359" y="978"/>
                    </a:lnTo>
                    <a:lnTo>
                      <a:pt x="357" y="978"/>
                    </a:lnTo>
                    <a:lnTo>
                      <a:pt x="357" y="980"/>
                    </a:lnTo>
                    <a:lnTo>
                      <a:pt x="357" y="982"/>
                    </a:lnTo>
                    <a:lnTo>
                      <a:pt x="355" y="982"/>
                    </a:lnTo>
                    <a:lnTo>
                      <a:pt x="357" y="982"/>
                    </a:lnTo>
                    <a:lnTo>
                      <a:pt x="355" y="982"/>
                    </a:lnTo>
                    <a:lnTo>
                      <a:pt x="355" y="984"/>
                    </a:lnTo>
                    <a:lnTo>
                      <a:pt x="353" y="984"/>
                    </a:lnTo>
                    <a:lnTo>
                      <a:pt x="351" y="984"/>
                    </a:lnTo>
                    <a:lnTo>
                      <a:pt x="351" y="982"/>
                    </a:lnTo>
                    <a:lnTo>
                      <a:pt x="350" y="982"/>
                    </a:lnTo>
                    <a:lnTo>
                      <a:pt x="350" y="984"/>
                    </a:lnTo>
                    <a:lnTo>
                      <a:pt x="348" y="984"/>
                    </a:lnTo>
                    <a:lnTo>
                      <a:pt x="348" y="986"/>
                    </a:lnTo>
                    <a:lnTo>
                      <a:pt x="348" y="984"/>
                    </a:lnTo>
                    <a:lnTo>
                      <a:pt x="348" y="982"/>
                    </a:lnTo>
                    <a:lnTo>
                      <a:pt x="346" y="984"/>
                    </a:lnTo>
                    <a:lnTo>
                      <a:pt x="346" y="982"/>
                    </a:lnTo>
                    <a:lnTo>
                      <a:pt x="344" y="984"/>
                    </a:lnTo>
                    <a:lnTo>
                      <a:pt x="344" y="982"/>
                    </a:lnTo>
                    <a:lnTo>
                      <a:pt x="342" y="982"/>
                    </a:lnTo>
                    <a:lnTo>
                      <a:pt x="342" y="980"/>
                    </a:lnTo>
                    <a:lnTo>
                      <a:pt x="340" y="980"/>
                    </a:lnTo>
                    <a:lnTo>
                      <a:pt x="340" y="978"/>
                    </a:lnTo>
                    <a:lnTo>
                      <a:pt x="340" y="980"/>
                    </a:lnTo>
                    <a:lnTo>
                      <a:pt x="338" y="980"/>
                    </a:lnTo>
                    <a:lnTo>
                      <a:pt x="338" y="978"/>
                    </a:lnTo>
                    <a:lnTo>
                      <a:pt x="338" y="980"/>
                    </a:lnTo>
                    <a:lnTo>
                      <a:pt x="336" y="980"/>
                    </a:lnTo>
                    <a:lnTo>
                      <a:pt x="334" y="980"/>
                    </a:lnTo>
                    <a:lnTo>
                      <a:pt x="334" y="982"/>
                    </a:lnTo>
                    <a:lnTo>
                      <a:pt x="334" y="984"/>
                    </a:lnTo>
                    <a:lnTo>
                      <a:pt x="336" y="984"/>
                    </a:lnTo>
                    <a:lnTo>
                      <a:pt x="336" y="986"/>
                    </a:lnTo>
                    <a:lnTo>
                      <a:pt x="334" y="986"/>
                    </a:lnTo>
                    <a:lnTo>
                      <a:pt x="334" y="984"/>
                    </a:lnTo>
                    <a:lnTo>
                      <a:pt x="334" y="986"/>
                    </a:lnTo>
                    <a:lnTo>
                      <a:pt x="334" y="988"/>
                    </a:lnTo>
                    <a:lnTo>
                      <a:pt x="334" y="986"/>
                    </a:lnTo>
                    <a:lnTo>
                      <a:pt x="332" y="986"/>
                    </a:lnTo>
                    <a:lnTo>
                      <a:pt x="332" y="988"/>
                    </a:lnTo>
                    <a:lnTo>
                      <a:pt x="330" y="988"/>
                    </a:lnTo>
                    <a:lnTo>
                      <a:pt x="332" y="988"/>
                    </a:lnTo>
                    <a:lnTo>
                      <a:pt x="330" y="988"/>
                    </a:lnTo>
                    <a:lnTo>
                      <a:pt x="330" y="990"/>
                    </a:lnTo>
                    <a:lnTo>
                      <a:pt x="328" y="990"/>
                    </a:lnTo>
                    <a:lnTo>
                      <a:pt x="326" y="990"/>
                    </a:lnTo>
                    <a:lnTo>
                      <a:pt x="326" y="992"/>
                    </a:lnTo>
                    <a:lnTo>
                      <a:pt x="326" y="990"/>
                    </a:lnTo>
                    <a:lnTo>
                      <a:pt x="326" y="992"/>
                    </a:lnTo>
                    <a:lnTo>
                      <a:pt x="325" y="992"/>
                    </a:lnTo>
                    <a:lnTo>
                      <a:pt x="326" y="992"/>
                    </a:lnTo>
                    <a:lnTo>
                      <a:pt x="325" y="990"/>
                    </a:lnTo>
                    <a:lnTo>
                      <a:pt x="325" y="992"/>
                    </a:lnTo>
                    <a:lnTo>
                      <a:pt x="325" y="990"/>
                    </a:lnTo>
                    <a:lnTo>
                      <a:pt x="325" y="992"/>
                    </a:lnTo>
                    <a:lnTo>
                      <a:pt x="323" y="992"/>
                    </a:lnTo>
                    <a:lnTo>
                      <a:pt x="321" y="992"/>
                    </a:lnTo>
                    <a:lnTo>
                      <a:pt x="323" y="992"/>
                    </a:lnTo>
                    <a:lnTo>
                      <a:pt x="321" y="992"/>
                    </a:lnTo>
                    <a:lnTo>
                      <a:pt x="323" y="992"/>
                    </a:lnTo>
                    <a:lnTo>
                      <a:pt x="321" y="992"/>
                    </a:lnTo>
                    <a:lnTo>
                      <a:pt x="321" y="990"/>
                    </a:lnTo>
                    <a:lnTo>
                      <a:pt x="321" y="992"/>
                    </a:lnTo>
                    <a:lnTo>
                      <a:pt x="321" y="990"/>
                    </a:lnTo>
                    <a:lnTo>
                      <a:pt x="319" y="990"/>
                    </a:lnTo>
                    <a:lnTo>
                      <a:pt x="319" y="992"/>
                    </a:lnTo>
                    <a:lnTo>
                      <a:pt x="319" y="990"/>
                    </a:lnTo>
                    <a:lnTo>
                      <a:pt x="319" y="988"/>
                    </a:lnTo>
                    <a:lnTo>
                      <a:pt x="317" y="990"/>
                    </a:lnTo>
                    <a:lnTo>
                      <a:pt x="317" y="988"/>
                    </a:lnTo>
                    <a:lnTo>
                      <a:pt x="315" y="988"/>
                    </a:lnTo>
                    <a:lnTo>
                      <a:pt x="317" y="988"/>
                    </a:lnTo>
                    <a:lnTo>
                      <a:pt x="315" y="988"/>
                    </a:lnTo>
                    <a:lnTo>
                      <a:pt x="313" y="988"/>
                    </a:lnTo>
                    <a:lnTo>
                      <a:pt x="315" y="990"/>
                    </a:lnTo>
                    <a:lnTo>
                      <a:pt x="313" y="990"/>
                    </a:lnTo>
                    <a:lnTo>
                      <a:pt x="313" y="988"/>
                    </a:lnTo>
                    <a:lnTo>
                      <a:pt x="313" y="990"/>
                    </a:lnTo>
                    <a:lnTo>
                      <a:pt x="311" y="990"/>
                    </a:lnTo>
                    <a:lnTo>
                      <a:pt x="311" y="992"/>
                    </a:lnTo>
                    <a:lnTo>
                      <a:pt x="309" y="992"/>
                    </a:lnTo>
                    <a:lnTo>
                      <a:pt x="309" y="990"/>
                    </a:lnTo>
                    <a:lnTo>
                      <a:pt x="307" y="990"/>
                    </a:lnTo>
                    <a:lnTo>
                      <a:pt x="305" y="988"/>
                    </a:lnTo>
                    <a:lnTo>
                      <a:pt x="303" y="988"/>
                    </a:lnTo>
                    <a:lnTo>
                      <a:pt x="303" y="986"/>
                    </a:lnTo>
                    <a:lnTo>
                      <a:pt x="301" y="986"/>
                    </a:lnTo>
                    <a:lnTo>
                      <a:pt x="296" y="988"/>
                    </a:lnTo>
                    <a:lnTo>
                      <a:pt x="296" y="986"/>
                    </a:lnTo>
                    <a:lnTo>
                      <a:pt x="294" y="984"/>
                    </a:lnTo>
                    <a:lnTo>
                      <a:pt x="292" y="982"/>
                    </a:lnTo>
                    <a:lnTo>
                      <a:pt x="292" y="980"/>
                    </a:lnTo>
                    <a:lnTo>
                      <a:pt x="292" y="978"/>
                    </a:lnTo>
                    <a:lnTo>
                      <a:pt x="292" y="976"/>
                    </a:lnTo>
                    <a:lnTo>
                      <a:pt x="290" y="976"/>
                    </a:lnTo>
                    <a:lnTo>
                      <a:pt x="288" y="974"/>
                    </a:lnTo>
                    <a:lnTo>
                      <a:pt x="286" y="972"/>
                    </a:lnTo>
                    <a:lnTo>
                      <a:pt x="284" y="972"/>
                    </a:lnTo>
                    <a:lnTo>
                      <a:pt x="284" y="970"/>
                    </a:lnTo>
                    <a:lnTo>
                      <a:pt x="284" y="968"/>
                    </a:lnTo>
                    <a:lnTo>
                      <a:pt x="282" y="968"/>
                    </a:lnTo>
                    <a:lnTo>
                      <a:pt x="282" y="970"/>
                    </a:lnTo>
                    <a:lnTo>
                      <a:pt x="280" y="970"/>
                    </a:lnTo>
                    <a:lnTo>
                      <a:pt x="280" y="968"/>
                    </a:lnTo>
                    <a:lnTo>
                      <a:pt x="278" y="968"/>
                    </a:lnTo>
                    <a:lnTo>
                      <a:pt x="277" y="968"/>
                    </a:lnTo>
                    <a:lnTo>
                      <a:pt x="277" y="967"/>
                    </a:lnTo>
                    <a:lnTo>
                      <a:pt x="277" y="968"/>
                    </a:lnTo>
                    <a:lnTo>
                      <a:pt x="275" y="968"/>
                    </a:lnTo>
                    <a:lnTo>
                      <a:pt x="273" y="968"/>
                    </a:lnTo>
                    <a:lnTo>
                      <a:pt x="273" y="967"/>
                    </a:lnTo>
                    <a:lnTo>
                      <a:pt x="271" y="968"/>
                    </a:lnTo>
                    <a:lnTo>
                      <a:pt x="269" y="970"/>
                    </a:lnTo>
                    <a:lnTo>
                      <a:pt x="269" y="968"/>
                    </a:lnTo>
                    <a:lnTo>
                      <a:pt x="267" y="967"/>
                    </a:lnTo>
                    <a:lnTo>
                      <a:pt x="267" y="965"/>
                    </a:lnTo>
                    <a:lnTo>
                      <a:pt x="265" y="963"/>
                    </a:lnTo>
                    <a:lnTo>
                      <a:pt x="265" y="965"/>
                    </a:lnTo>
                    <a:lnTo>
                      <a:pt x="263" y="965"/>
                    </a:lnTo>
                    <a:lnTo>
                      <a:pt x="265" y="967"/>
                    </a:lnTo>
                    <a:lnTo>
                      <a:pt x="263" y="967"/>
                    </a:lnTo>
                    <a:lnTo>
                      <a:pt x="263" y="968"/>
                    </a:lnTo>
                    <a:lnTo>
                      <a:pt x="261" y="968"/>
                    </a:lnTo>
                    <a:lnTo>
                      <a:pt x="259" y="968"/>
                    </a:lnTo>
                    <a:lnTo>
                      <a:pt x="257" y="970"/>
                    </a:lnTo>
                    <a:lnTo>
                      <a:pt x="259" y="970"/>
                    </a:lnTo>
                    <a:lnTo>
                      <a:pt x="257" y="970"/>
                    </a:lnTo>
                    <a:lnTo>
                      <a:pt x="255" y="972"/>
                    </a:lnTo>
                    <a:lnTo>
                      <a:pt x="253" y="970"/>
                    </a:lnTo>
                    <a:lnTo>
                      <a:pt x="253" y="972"/>
                    </a:lnTo>
                    <a:lnTo>
                      <a:pt x="252" y="970"/>
                    </a:lnTo>
                    <a:lnTo>
                      <a:pt x="252" y="968"/>
                    </a:lnTo>
                    <a:lnTo>
                      <a:pt x="252" y="967"/>
                    </a:lnTo>
                    <a:lnTo>
                      <a:pt x="250" y="965"/>
                    </a:lnTo>
                    <a:lnTo>
                      <a:pt x="248" y="965"/>
                    </a:lnTo>
                    <a:lnTo>
                      <a:pt x="246" y="965"/>
                    </a:lnTo>
                    <a:lnTo>
                      <a:pt x="246" y="963"/>
                    </a:lnTo>
                    <a:lnTo>
                      <a:pt x="244" y="963"/>
                    </a:lnTo>
                    <a:lnTo>
                      <a:pt x="242" y="963"/>
                    </a:lnTo>
                    <a:lnTo>
                      <a:pt x="240" y="963"/>
                    </a:lnTo>
                    <a:lnTo>
                      <a:pt x="238" y="963"/>
                    </a:lnTo>
                    <a:lnTo>
                      <a:pt x="238" y="965"/>
                    </a:lnTo>
                    <a:lnTo>
                      <a:pt x="238" y="967"/>
                    </a:lnTo>
                    <a:lnTo>
                      <a:pt x="238" y="968"/>
                    </a:lnTo>
                    <a:lnTo>
                      <a:pt x="240" y="970"/>
                    </a:lnTo>
                    <a:lnTo>
                      <a:pt x="238" y="970"/>
                    </a:lnTo>
                    <a:lnTo>
                      <a:pt x="238" y="972"/>
                    </a:lnTo>
                    <a:lnTo>
                      <a:pt x="238" y="974"/>
                    </a:lnTo>
                    <a:lnTo>
                      <a:pt x="240" y="974"/>
                    </a:lnTo>
                    <a:lnTo>
                      <a:pt x="238" y="974"/>
                    </a:lnTo>
                    <a:lnTo>
                      <a:pt x="238" y="976"/>
                    </a:lnTo>
                    <a:lnTo>
                      <a:pt x="238" y="978"/>
                    </a:lnTo>
                    <a:lnTo>
                      <a:pt x="240" y="978"/>
                    </a:lnTo>
                    <a:lnTo>
                      <a:pt x="240" y="980"/>
                    </a:lnTo>
                    <a:lnTo>
                      <a:pt x="238" y="980"/>
                    </a:lnTo>
                    <a:lnTo>
                      <a:pt x="236" y="980"/>
                    </a:lnTo>
                    <a:lnTo>
                      <a:pt x="236" y="978"/>
                    </a:lnTo>
                    <a:lnTo>
                      <a:pt x="234" y="978"/>
                    </a:lnTo>
                    <a:lnTo>
                      <a:pt x="232" y="978"/>
                    </a:lnTo>
                    <a:lnTo>
                      <a:pt x="232" y="976"/>
                    </a:lnTo>
                    <a:lnTo>
                      <a:pt x="232" y="978"/>
                    </a:lnTo>
                    <a:lnTo>
                      <a:pt x="230" y="978"/>
                    </a:lnTo>
                    <a:lnTo>
                      <a:pt x="230" y="980"/>
                    </a:lnTo>
                    <a:lnTo>
                      <a:pt x="228" y="980"/>
                    </a:lnTo>
                    <a:lnTo>
                      <a:pt x="227" y="980"/>
                    </a:lnTo>
                    <a:lnTo>
                      <a:pt x="227" y="982"/>
                    </a:lnTo>
                    <a:lnTo>
                      <a:pt x="227" y="984"/>
                    </a:lnTo>
                    <a:lnTo>
                      <a:pt x="225" y="984"/>
                    </a:lnTo>
                    <a:lnTo>
                      <a:pt x="225" y="988"/>
                    </a:lnTo>
                    <a:lnTo>
                      <a:pt x="223" y="990"/>
                    </a:lnTo>
                    <a:lnTo>
                      <a:pt x="221" y="988"/>
                    </a:lnTo>
                    <a:lnTo>
                      <a:pt x="221" y="986"/>
                    </a:lnTo>
                    <a:lnTo>
                      <a:pt x="221" y="984"/>
                    </a:lnTo>
                    <a:lnTo>
                      <a:pt x="221" y="982"/>
                    </a:lnTo>
                    <a:lnTo>
                      <a:pt x="221" y="980"/>
                    </a:lnTo>
                    <a:lnTo>
                      <a:pt x="219" y="978"/>
                    </a:lnTo>
                    <a:lnTo>
                      <a:pt x="219" y="976"/>
                    </a:lnTo>
                    <a:lnTo>
                      <a:pt x="219" y="974"/>
                    </a:lnTo>
                    <a:lnTo>
                      <a:pt x="217" y="972"/>
                    </a:lnTo>
                    <a:lnTo>
                      <a:pt x="217" y="970"/>
                    </a:lnTo>
                    <a:lnTo>
                      <a:pt x="217" y="968"/>
                    </a:lnTo>
                    <a:lnTo>
                      <a:pt x="215" y="967"/>
                    </a:lnTo>
                    <a:lnTo>
                      <a:pt x="215" y="965"/>
                    </a:lnTo>
                    <a:lnTo>
                      <a:pt x="215" y="963"/>
                    </a:lnTo>
                    <a:lnTo>
                      <a:pt x="213" y="963"/>
                    </a:lnTo>
                    <a:lnTo>
                      <a:pt x="211" y="963"/>
                    </a:lnTo>
                    <a:lnTo>
                      <a:pt x="211" y="961"/>
                    </a:lnTo>
                    <a:lnTo>
                      <a:pt x="209" y="961"/>
                    </a:lnTo>
                    <a:lnTo>
                      <a:pt x="209" y="963"/>
                    </a:lnTo>
                    <a:lnTo>
                      <a:pt x="207" y="961"/>
                    </a:lnTo>
                    <a:lnTo>
                      <a:pt x="207" y="959"/>
                    </a:lnTo>
                    <a:lnTo>
                      <a:pt x="207" y="957"/>
                    </a:lnTo>
                    <a:lnTo>
                      <a:pt x="209" y="957"/>
                    </a:lnTo>
                    <a:lnTo>
                      <a:pt x="211" y="957"/>
                    </a:lnTo>
                    <a:lnTo>
                      <a:pt x="211" y="955"/>
                    </a:lnTo>
                    <a:lnTo>
                      <a:pt x="211" y="953"/>
                    </a:lnTo>
                    <a:lnTo>
                      <a:pt x="209" y="953"/>
                    </a:lnTo>
                    <a:lnTo>
                      <a:pt x="209" y="951"/>
                    </a:lnTo>
                    <a:lnTo>
                      <a:pt x="207" y="951"/>
                    </a:lnTo>
                    <a:lnTo>
                      <a:pt x="209" y="951"/>
                    </a:lnTo>
                    <a:lnTo>
                      <a:pt x="209" y="949"/>
                    </a:lnTo>
                    <a:lnTo>
                      <a:pt x="207" y="945"/>
                    </a:lnTo>
                    <a:lnTo>
                      <a:pt x="207" y="943"/>
                    </a:lnTo>
                    <a:lnTo>
                      <a:pt x="205" y="943"/>
                    </a:lnTo>
                    <a:lnTo>
                      <a:pt x="204" y="943"/>
                    </a:lnTo>
                    <a:lnTo>
                      <a:pt x="204" y="942"/>
                    </a:lnTo>
                    <a:lnTo>
                      <a:pt x="202" y="942"/>
                    </a:lnTo>
                    <a:lnTo>
                      <a:pt x="202" y="940"/>
                    </a:lnTo>
                    <a:lnTo>
                      <a:pt x="202" y="938"/>
                    </a:lnTo>
                    <a:lnTo>
                      <a:pt x="202" y="936"/>
                    </a:lnTo>
                    <a:lnTo>
                      <a:pt x="200" y="936"/>
                    </a:lnTo>
                    <a:lnTo>
                      <a:pt x="198" y="936"/>
                    </a:lnTo>
                    <a:lnTo>
                      <a:pt x="198" y="934"/>
                    </a:lnTo>
                    <a:lnTo>
                      <a:pt x="198" y="930"/>
                    </a:lnTo>
                    <a:lnTo>
                      <a:pt x="200" y="930"/>
                    </a:lnTo>
                    <a:lnTo>
                      <a:pt x="200" y="928"/>
                    </a:lnTo>
                    <a:lnTo>
                      <a:pt x="198" y="926"/>
                    </a:lnTo>
                    <a:lnTo>
                      <a:pt x="196" y="926"/>
                    </a:lnTo>
                    <a:lnTo>
                      <a:pt x="196" y="924"/>
                    </a:lnTo>
                    <a:lnTo>
                      <a:pt x="196" y="922"/>
                    </a:lnTo>
                    <a:lnTo>
                      <a:pt x="194" y="922"/>
                    </a:lnTo>
                    <a:lnTo>
                      <a:pt x="192" y="922"/>
                    </a:lnTo>
                    <a:lnTo>
                      <a:pt x="190" y="920"/>
                    </a:lnTo>
                    <a:lnTo>
                      <a:pt x="190" y="918"/>
                    </a:lnTo>
                    <a:lnTo>
                      <a:pt x="190" y="917"/>
                    </a:lnTo>
                    <a:lnTo>
                      <a:pt x="188" y="917"/>
                    </a:lnTo>
                    <a:lnTo>
                      <a:pt x="188" y="918"/>
                    </a:lnTo>
                    <a:lnTo>
                      <a:pt x="186" y="918"/>
                    </a:lnTo>
                    <a:lnTo>
                      <a:pt x="184" y="920"/>
                    </a:lnTo>
                    <a:lnTo>
                      <a:pt x="184" y="918"/>
                    </a:lnTo>
                    <a:lnTo>
                      <a:pt x="182" y="918"/>
                    </a:lnTo>
                    <a:lnTo>
                      <a:pt x="180" y="917"/>
                    </a:lnTo>
                    <a:lnTo>
                      <a:pt x="180" y="915"/>
                    </a:lnTo>
                    <a:lnTo>
                      <a:pt x="180" y="917"/>
                    </a:lnTo>
                    <a:lnTo>
                      <a:pt x="179" y="917"/>
                    </a:lnTo>
                    <a:lnTo>
                      <a:pt x="177" y="917"/>
                    </a:lnTo>
                    <a:lnTo>
                      <a:pt x="179" y="918"/>
                    </a:lnTo>
                    <a:lnTo>
                      <a:pt x="177" y="918"/>
                    </a:lnTo>
                    <a:lnTo>
                      <a:pt x="179" y="918"/>
                    </a:lnTo>
                    <a:lnTo>
                      <a:pt x="177" y="920"/>
                    </a:lnTo>
                    <a:lnTo>
                      <a:pt x="177" y="922"/>
                    </a:lnTo>
                    <a:lnTo>
                      <a:pt x="175" y="922"/>
                    </a:lnTo>
                    <a:lnTo>
                      <a:pt x="175" y="920"/>
                    </a:lnTo>
                    <a:lnTo>
                      <a:pt x="175" y="918"/>
                    </a:lnTo>
                    <a:lnTo>
                      <a:pt x="173" y="918"/>
                    </a:lnTo>
                    <a:lnTo>
                      <a:pt x="171" y="917"/>
                    </a:lnTo>
                    <a:lnTo>
                      <a:pt x="171" y="915"/>
                    </a:lnTo>
                    <a:lnTo>
                      <a:pt x="173" y="913"/>
                    </a:lnTo>
                    <a:lnTo>
                      <a:pt x="173" y="911"/>
                    </a:lnTo>
                    <a:lnTo>
                      <a:pt x="173" y="909"/>
                    </a:lnTo>
                    <a:lnTo>
                      <a:pt x="173" y="907"/>
                    </a:lnTo>
                    <a:lnTo>
                      <a:pt x="173" y="905"/>
                    </a:lnTo>
                    <a:lnTo>
                      <a:pt x="171" y="905"/>
                    </a:lnTo>
                    <a:lnTo>
                      <a:pt x="171" y="903"/>
                    </a:lnTo>
                    <a:lnTo>
                      <a:pt x="169" y="903"/>
                    </a:lnTo>
                    <a:lnTo>
                      <a:pt x="167" y="903"/>
                    </a:lnTo>
                    <a:lnTo>
                      <a:pt x="165" y="905"/>
                    </a:lnTo>
                    <a:lnTo>
                      <a:pt x="163" y="905"/>
                    </a:lnTo>
                    <a:lnTo>
                      <a:pt x="163" y="907"/>
                    </a:lnTo>
                    <a:lnTo>
                      <a:pt x="163" y="909"/>
                    </a:lnTo>
                    <a:lnTo>
                      <a:pt x="163" y="911"/>
                    </a:lnTo>
                    <a:lnTo>
                      <a:pt x="161" y="909"/>
                    </a:lnTo>
                    <a:lnTo>
                      <a:pt x="159" y="907"/>
                    </a:lnTo>
                    <a:lnTo>
                      <a:pt x="159" y="905"/>
                    </a:lnTo>
                    <a:lnTo>
                      <a:pt x="159" y="903"/>
                    </a:lnTo>
                    <a:lnTo>
                      <a:pt x="157" y="903"/>
                    </a:lnTo>
                    <a:lnTo>
                      <a:pt x="157" y="901"/>
                    </a:lnTo>
                    <a:lnTo>
                      <a:pt x="157" y="899"/>
                    </a:lnTo>
                    <a:lnTo>
                      <a:pt x="159" y="897"/>
                    </a:lnTo>
                    <a:lnTo>
                      <a:pt x="159" y="895"/>
                    </a:lnTo>
                    <a:lnTo>
                      <a:pt x="159" y="893"/>
                    </a:lnTo>
                    <a:lnTo>
                      <a:pt x="159" y="892"/>
                    </a:lnTo>
                    <a:lnTo>
                      <a:pt x="159" y="890"/>
                    </a:lnTo>
                    <a:lnTo>
                      <a:pt x="161" y="890"/>
                    </a:lnTo>
                    <a:lnTo>
                      <a:pt x="159" y="890"/>
                    </a:lnTo>
                    <a:lnTo>
                      <a:pt x="159" y="888"/>
                    </a:lnTo>
                    <a:lnTo>
                      <a:pt x="157" y="888"/>
                    </a:lnTo>
                    <a:lnTo>
                      <a:pt x="157" y="886"/>
                    </a:lnTo>
                    <a:lnTo>
                      <a:pt x="155" y="886"/>
                    </a:lnTo>
                    <a:lnTo>
                      <a:pt x="155" y="884"/>
                    </a:lnTo>
                    <a:lnTo>
                      <a:pt x="155" y="882"/>
                    </a:lnTo>
                    <a:lnTo>
                      <a:pt x="157" y="880"/>
                    </a:lnTo>
                    <a:lnTo>
                      <a:pt x="159" y="880"/>
                    </a:lnTo>
                    <a:lnTo>
                      <a:pt x="159" y="878"/>
                    </a:lnTo>
                    <a:lnTo>
                      <a:pt x="159" y="876"/>
                    </a:lnTo>
                    <a:lnTo>
                      <a:pt x="159" y="874"/>
                    </a:lnTo>
                    <a:lnTo>
                      <a:pt x="157" y="872"/>
                    </a:lnTo>
                    <a:lnTo>
                      <a:pt x="157" y="870"/>
                    </a:lnTo>
                    <a:lnTo>
                      <a:pt x="159" y="870"/>
                    </a:lnTo>
                    <a:lnTo>
                      <a:pt x="157" y="870"/>
                    </a:lnTo>
                    <a:lnTo>
                      <a:pt x="159" y="868"/>
                    </a:lnTo>
                    <a:lnTo>
                      <a:pt x="159" y="867"/>
                    </a:lnTo>
                    <a:lnTo>
                      <a:pt x="159" y="865"/>
                    </a:lnTo>
                    <a:lnTo>
                      <a:pt x="157" y="865"/>
                    </a:lnTo>
                    <a:lnTo>
                      <a:pt x="159" y="863"/>
                    </a:lnTo>
                    <a:lnTo>
                      <a:pt x="159" y="861"/>
                    </a:lnTo>
                    <a:lnTo>
                      <a:pt x="161" y="863"/>
                    </a:lnTo>
                    <a:lnTo>
                      <a:pt x="161" y="861"/>
                    </a:lnTo>
                    <a:lnTo>
                      <a:pt x="161" y="859"/>
                    </a:lnTo>
                    <a:lnTo>
                      <a:pt x="163" y="859"/>
                    </a:lnTo>
                    <a:lnTo>
                      <a:pt x="161" y="857"/>
                    </a:lnTo>
                    <a:lnTo>
                      <a:pt x="161" y="855"/>
                    </a:lnTo>
                    <a:lnTo>
                      <a:pt x="163" y="853"/>
                    </a:lnTo>
                    <a:lnTo>
                      <a:pt x="165" y="851"/>
                    </a:lnTo>
                    <a:lnTo>
                      <a:pt x="167" y="851"/>
                    </a:lnTo>
                    <a:lnTo>
                      <a:pt x="169" y="851"/>
                    </a:lnTo>
                    <a:lnTo>
                      <a:pt x="169" y="853"/>
                    </a:lnTo>
                    <a:lnTo>
                      <a:pt x="169" y="851"/>
                    </a:lnTo>
                    <a:lnTo>
                      <a:pt x="171" y="851"/>
                    </a:lnTo>
                    <a:lnTo>
                      <a:pt x="169" y="849"/>
                    </a:lnTo>
                    <a:lnTo>
                      <a:pt x="169" y="847"/>
                    </a:lnTo>
                    <a:lnTo>
                      <a:pt x="167" y="847"/>
                    </a:lnTo>
                    <a:lnTo>
                      <a:pt x="167" y="845"/>
                    </a:lnTo>
                    <a:lnTo>
                      <a:pt x="165" y="843"/>
                    </a:lnTo>
                    <a:lnTo>
                      <a:pt x="165" y="842"/>
                    </a:lnTo>
                    <a:lnTo>
                      <a:pt x="163" y="842"/>
                    </a:lnTo>
                    <a:lnTo>
                      <a:pt x="163" y="840"/>
                    </a:lnTo>
                    <a:lnTo>
                      <a:pt x="161" y="838"/>
                    </a:lnTo>
                    <a:lnTo>
                      <a:pt x="159" y="836"/>
                    </a:lnTo>
                    <a:lnTo>
                      <a:pt x="159" y="834"/>
                    </a:lnTo>
                    <a:lnTo>
                      <a:pt x="159" y="832"/>
                    </a:lnTo>
                    <a:lnTo>
                      <a:pt x="159" y="830"/>
                    </a:lnTo>
                    <a:lnTo>
                      <a:pt x="159" y="832"/>
                    </a:lnTo>
                    <a:lnTo>
                      <a:pt x="159" y="830"/>
                    </a:lnTo>
                    <a:lnTo>
                      <a:pt x="161" y="830"/>
                    </a:lnTo>
                    <a:lnTo>
                      <a:pt x="163" y="830"/>
                    </a:lnTo>
                    <a:lnTo>
                      <a:pt x="165" y="830"/>
                    </a:lnTo>
                    <a:lnTo>
                      <a:pt x="167" y="830"/>
                    </a:lnTo>
                    <a:lnTo>
                      <a:pt x="167" y="828"/>
                    </a:lnTo>
                    <a:lnTo>
                      <a:pt x="169" y="828"/>
                    </a:lnTo>
                    <a:lnTo>
                      <a:pt x="169" y="826"/>
                    </a:lnTo>
                    <a:lnTo>
                      <a:pt x="171" y="824"/>
                    </a:lnTo>
                    <a:lnTo>
                      <a:pt x="171" y="822"/>
                    </a:lnTo>
                    <a:lnTo>
                      <a:pt x="173" y="822"/>
                    </a:lnTo>
                    <a:lnTo>
                      <a:pt x="173" y="820"/>
                    </a:lnTo>
                    <a:lnTo>
                      <a:pt x="175" y="820"/>
                    </a:lnTo>
                    <a:lnTo>
                      <a:pt x="177" y="818"/>
                    </a:lnTo>
                    <a:lnTo>
                      <a:pt x="177" y="817"/>
                    </a:lnTo>
                    <a:lnTo>
                      <a:pt x="179" y="815"/>
                    </a:lnTo>
                    <a:lnTo>
                      <a:pt x="179" y="817"/>
                    </a:lnTo>
                    <a:lnTo>
                      <a:pt x="180" y="817"/>
                    </a:lnTo>
                    <a:lnTo>
                      <a:pt x="180" y="815"/>
                    </a:lnTo>
                    <a:lnTo>
                      <a:pt x="180" y="813"/>
                    </a:lnTo>
                    <a:lnTo>
                      <a:pt x="182" y="813"/>
                    </a:lnTo>
                    <a:lnTo>
                      <a:pt x="182" y="811"/>
                    </a:lnTo>
                    <a:lnTo>
                      <a:pt x="184" y="811"/>
                    </a:lnTo>
                    <a:lnTo>
                      <a:pt x="184" y="813"/>
                    </a:lnTo>
                    <a:lnTo>
                      <a:pt x="186" y="811"/>
                    </a:lnTo>
                    <a:lnTo>
                      <a:pt x="186" y="809"/>
                    </a:lnTo>
                    <a:lnTo>
                      <a:pt x="186" y="807"/>
                    </a:lnTo>
                    <a:lnTo>
                      <a:pt x="188" y="807"/>
                    </a:lnTo>
                    <a:lnTo>
                      <a:pt x="188" y="805"/>
                    </a:lnTo>
                    <a:lnTo>
                      <a:pt x="188" y="803"/>
                    </a:lnTo>
                    <a:lnTo>
                      <a:pt x="186" y="803"/>
                    </a:lnTo>
                    <a:lnTo>
                      <a:pt x="188" y="803"/>
                    </a:lnTo>
                    <a:lnTo>
                      <a:pt x="186" y="803"/>
                    </a:lnTo>
                    <a:lnTo>
                      <a:pt x="186" y="801"/>
                    </a:lnTo>
                    <a:lnTo>
                      <a:pt x="184" y="799"/>
                    </a:lnTo>
                    <a:lnTo>
                      <a:pt x="184" y="797"/>
                    </a:lnTo>
                    <a:lnTo>
                      <a:pt x="186" y="799"/>
                    </a:lnTo>
                    <a:lnTo>
                      <a:pt x="186" y="797"/>
                    </a:lnTo>
                    <a:lnTo>
                      <a:pt x="188" y="797"/>
                    </a:lnTo>
                    <a:lnTo>
                      <a:pt x="188" y="799"/>
                    </a:lnTo>
                    <a:lnTo>
                      <a:pt x="190" y="799"/>
                    </a:lnTo>
                    <a:lnTo>
                      <a:pt x="188" y="797"/>
                    </a:lnTo>
                    <a:lnTo>
                      <a:pt x="188" y="795"/>
                    </a:lnTo>
                    <a:lnTo>
                      <a:pt x="188" y="794"/>
                    </a:lnTo>
                    <a:lnTo>
                      <a:pt x="188" y="792"/>
                    </a:lnTo>
                    <a:lnTo>
                      <a:pt x="188" y="790"/>
                    </a:lnTo>
                    <a:lnTo>
                      <a:pt x="190" y="790"/>
                    </a:lnTo>
                    <a:lnTo>
                      <a:pt x="190" y="788"/>
                    </a:lnTo>
                    <a:lnTo>
                      <a:pt x="190" y="790"/>
                    </a:lnTo>
                    <a:lnTo>
                      <a:pt x="188" y="790"/>
                    </a:lnTo>
                    <a:lnTo>
                      <a:pt x="188" y="788"/>
                    </a:lnTo>
                    <a:lnTo>
                      <a:pt x="190" y="788"/>
                    </a:lnTo>
                    <a:lnTo>
                      <a:pt x="190" y="786"/>
                    </a:lnTo>
                    <a:lnTo>
                      <a:pt x="192" y="786"/>
                    </a:lnTo>
                    <a:lnTo>
                      <a:pt x="194" y="784"/>
                    </a:lnTo>
                    <a:lnTo>
                      <a:pt x="194" y="782"/>
                    </a:lnTo>
                    <a:lnTo>
                      <a:pt x="194" y="780"/>
                    </a:lnTo>
                    <a:lnTo>
                      <a:pt x="192" y="780"/>
                    </a:lnTo>
                    <a:lnTo>
                      <a:pt x="194" y="780"/>
                    </a:lnTo>
                    <a:lnTo>
                      <a:pt x="196" y="780"/>
                    </a:lnTo>
                    <a:lnTo>
                      <a:pt x="198" y="780"/>
                    </a:lnTo>
                    <a:lnTo>
                      <a:pt x="200" y="780"/>
                    </a:lnTo>
                    <a:lnTo>
                      <a:pt x="200" y="778"/>
                    </a:lnTo>
                    <a:lnTo>
                      <a:pt x="202" y="778"/>
                    </a:lnTo>
                    <a:lnTo>
                      <a:pt x="204" y="778"/>
                    </a:lnTo>
                    <a:lnTo>
                      <a:pt x="204" y="776"/>
                    </a:lnTo>
                    <a:lnTo>
                      <a:pt x="205" y="776"/>
                    </a:lnTo>
                    <a:lnTo>
                      <a:pt x="205" y="774"/>
                    </a:lnTo>
                    <a:lnTo>
                      <a:pt x="207" y="774"/>
                    </a:lnTo>
                    <a:lnTo>
                      <a:pt x="209" y="774"/>
                    </a:lnTo>
                    <a:lnTo>
                      <a:pt x="209" y="772"/>
                    </a:lnTo>
                    <a:lnTo>
                      <a:pt x="209" y="770"/>
                    </a:lnTo>
                    <a:lnTo>
                      <a:pt x="209" y="769"/>
                    </a:lnTo>
                    <a:lnTo>
                      <a:pt x="211" y="769"/>
                    </a:lnTo>
                    <a:lnTo>
                      <a:pt x="211" y="767"/>
                    </a:lnTo>
                    <a:lnTo>
                      <a:pt x="209" y="767"/>
                    </a:lnTo>
                    <a:lnTo>
                      <a:pt x="209" y="765"/>
                    </a:lnTo>
                    <a:lnTo>
                      <a:pt x="207" y="765"/>
                    </a:lnTo>
                    <a:lnTo>
                      <a:pt x="205" y="765"/>
                    </a:lnTo>
                    <a:lnTo>
                      <a:pt x="205" y="763"/>
                    </a:lnTo>
                    <a:lnTo>
                      <a:pt x="205" y="761"/>
                    </a:lnTo>
                    <a:lnTo>
                      <a:pt x="204" y="759"/>
                    </a:lnTo>
                    <a:lnTo>
                      <a:pt x="202" y="759"/>
                    </a:lnTo>
                    <a:lnTo>
                      <a:pt x="200" y="757"/>
                    </a:lnTo>
                    <a:lnTo>
                      <a:pt x="200" y="755"/>
                    </a:lnTo>
                    <a:lnTo>
                      <a:pt x="200" y="753"/>
                    </a:lnTo>
                    <a:lnTo>
                      <a:pt x="200" y="751"/>
                    </a:lnTo>
                    <a:lnTo>
                      <a:pt x="198" y="751"/>
                    </a:lnTo>
                    <a:lnTo>
                      <a:pt x="198" y="749"/>
                    </a:lnTo>
                    <a:lnTo>
                      <a:pt x="196" y="749"/>
                    </a:lnTo>
                    <a:lnTo>
                      <a:pt x="196" y="747"/>
                    </a:lnTo>
                    <a:lnTo>
                      <a:pt x="196" y="745"/>
                    </a:lnTo>
                    <a:lnTo>
                      <a:pt x="194" y="744"/>
                    </a:lnTo>
                    <a:lnTo>
                      <a:pt x="196" y="742"/>
                    </a:lnTo>
                    <a:lnTo>
                      <a:pt x="198" y="742"/>
                    </a:lnTo>
                    <a:lnTo>
                      <a:pt x="200" y="742"/>
                    </a:lnTo>
                    <a:lnTo>
                      <a:pt x="202" y="742"/>
                    </a:lnTo>
                    <a:lnTo>
                      <a:pt x="204" y="742"/>
                    </a:lnTo>
                    <a:lnTo>
                      <a:pt x="205" y="742"/>
                    </a:lnTo>
                    <a:lnTo>
                      <a:pt x="207" y="742"/>
                    </a:lnTo>
                    <a:lnTo>
                      <a:pt x="209" y="744"/>
                    </a:lnTo>
                    <a:lnTo>
                      <a:pt x="213" y="744"/>
                    </a:lnTo>
                    <a:lnTo>
                      <a:pt x="215" y="744"/>
                    </a:lnTo>
                    <a:lnTo>
                      <a:pt x="217" y="742"/>
                    </a:lnTo>
                    <a:lnTo>
                      <a:pt x="217" y="744"/>
                    </a:lnTo>
                    <a:lnTo>
                      <a:pt x="219" y="744"/>
                    </a:lnTo>
                    <a:lnTo>
                      <a:pt x="219" y="745"/>
                    </a:lnTo>
                    <a:lnTo>
                      <a:pt x="219" y="744"/>
                    </a:lnTo>
                    <a:lnTo>
                      <a:pt x="221" y="744"/>
                    </a:lnTo>
                    <a:lnTo>
                      <a:pt x="223" y="742"/>
                    </a:lnTo>
                    <a:lnTo>
                      <a:pt x="225" y="744"/>
                    </a:lnTo>
                    <a:lnTo>
                      <a:pt x="227" y="744"/>
                    </a:lnTo>
                    <a:lnTo>
                      <a:pt x="228" y="744"/>
                    </a:lnTo>
                    <a:lnTo>
                      <a:pt x="228" y="742"/>
                    </a:lnTo>
                    <a:lnTo>
                      <a:pt x="230" y="742"/>
                    </a:lnTo>
                    <a:lnTo>
                      <a:pt x="232" y="742"/>
                    </a:lnTo>
                    <a:lnTo>
                      <a:pt x="234" y="742"/>
                    </a:lnTo>
                    <a:lnTo>
                      <a:pt x="236" y="742"/>
                    </a:lnTo>
                    <a:lnTo>
                      <a:pt x="238" y="742"/>
                    </a:lnTo>
                    <a:lnTo>
                      <a:pt x="238" y="740"/>
                    </a:lnTo>
                    <a:lnTo>
                      <a:pt x="240" y="740"/>
                    </a:lnTo>
                    <a:lnTo>
                      <a:pt x="242" y="740"/>
                    </a:lnTo>
                    <a:lnTo>
                      <a:pt x="242" y="742"/>
                    </a:lnTo>
                    <a:lnTo>
                      <a:pt x="244" y="742"/>
                    </a:lnTo>
                    <a:lnTo>
                      <a:pt x="244" y="740"/>
                    </a:lnTo>
                    <a:lnTo>
                      <a:pt x="246" y="740"/>
                    </a:lnTo>
                    <a:lnTo>
                      <a:pt x="246" y="738"/>
                    </a:lnTo>
                    <a:lnTo>
                      <a:pt x="244" y="736"/>
                    </a:lnTo>
                    <a:lnTo>
                      <a:pt x="242" y="734"/>
                    </a:lnTo>
                    <a:lnTo>
                      <a:pt x="242" y="732"/>
                    </a:lnTo>
                    <a:lnTo>
                      <a:pt x="242" y="730"/>
                    </a:lnTo>
                    <a:lnTo>
                      <a:pt x="242" y="728"/>
                    </a:lnTo>
                    <a:lnTo>
                      <a:pt x="242" y="726"/>
                    </a:lnTo>
                    <a:lnTo>
                      <a:pt x="244" y="726"/>
                    </a:lnTo>
                    <a:lnTo>
                      <a:pt x="244" y="724"/>
                    </a:lnTo>
                    <a:lnTo>
                      <a:pt x="244" y="722"/>
                    </a:lnTo>
                    <a:lnTo>
                      <a:pt x="242" y="722"/>
                    </a:lnTo>
                    <a:lnTo>
                      <a:pt x="242" y="720"/>
                    </a:lnTo>
                    <a:lnTo>
                      <a:pt x="240" y="720"/>
                    </a:lnTo>
                    <a:lnTo>
                      <a:pt x="238" y="720"/>
                    </a:lnTo>
                    <a:lnTo>
                      <a:pt x="238" y="719"/>
                    </a:lnTo>
                    <a:lnTo>
                      <a:pt x="238" y="717"/>
                    </a:lnTo>
                    <a:lnTo>
                      <a:pt x="236" y="717"/>
                    </a:lnTo>
                    <a:lnTo>
                      <a:pt x="234" y="717"/>
                    </a:lnTo>
                    <a:lnTo>
                      <a:pt x="234" y="715"/>
                    </a:lnTo>
                    <a:lnTo>
                      <a:pt x="232" y="715"/>
                    </a:lnTo>
                    <a:lnTo>
                      <a:pt x="232" y="713"/>
                    </a:lnTo>
                    <a:lnTo>
                      <a:pt x="234" y="713"/>
                    </a:lnTo>
                    <a:lnTo>
                      <a:pt x="234" y="711"/>
                    </a:lnTo>
                    <a:lnTo>
                      <a:pt x="232" y="711"/>
                    </a:lnTo>
                    <a:lnTo>
                      <a:pt x="232" y="709"/>
                    </a:lnTo>
                    <a:lnTo>
                      <a:pt x="232" y="707"/>
                    </a:lnTo>
                    <a:lnTo>
                      <a:pt x="232" y="705"/>
                    </a:lnTo>
                    <a:lnTo>
                      <a:pt x="232" y="703"/>
                    </a:lnTo>
                    <a:lnTo>
                      <a:pt x="234" y="701"/>
                    </a:lnTo>
                    <a:lnTo>
                      <a:pt x="232" y="701"/>
                    </a:lnTo>
                    <a:lnTo>
                      <a:pt x="232" y="699"/>
                    </a:lnTo>
                    <a:lnTo>
                      <a:pt x="232" y="697"/>
                    </a:lnTo>
                    <a:lnTo>
                      <a:pt x="234" y="697"/>
                    </a:lnTo>
                    <a:lnTo>
                      <a:pt x="234" y="695"/>
                    </a:lnTo>
                    <a:lnTo>
                      <a:pt x="236" y="694"/>
                    </a:lnTo>
                    <a:lnTo>
                      <a:pt x="234" y="694"/>
                    </a:lnTo>
                    <a:lnTo>
                      <a:pt x="234" y="692"/>
                    </a:lnTo>
                    <a:lnTo>
                      <a:pt x="232" y="692"/>
                    </a:lnTo>
                    <a:lnTo>
                      <a:pt x="232" y="690"/>
                    </a:lnTo>
                    <a:lnTo>
                      <a:pt x="232" y="688"/>
                    </a:lnTo>
                    <a:lnTo>
                      <a:pt x="232" y="686"/>
                    </a:lnTo>
                    <a:lnTo>
                      <a:pt x="232" y="684"/>
                    </a:lnTo>
                    <a:lnTo>
                      <a:pt x="230" y="684"/>
                    </a:lnTo>
                    <a:lnTo>
                      <a:pt x="228" y="682"/>
                    </a:lnTo>
                    <a:lnTo>
                      <a:pt x="230" y="680"/>
                    </a:lnTo>
                    <a:lnTo>
                      <a:pt x="228" y="680"/>
                    </a:lnTo>
                    <a:lnTo>
                      <a:pt x="227" y="680"/>
                    </a:lnTo>
                    <a:lnTo>
                      <a:pt x="227" y="678"/>
                    </a:lnTo>
                    <a:lnTo>
                      <a:pt x="225" y="678"/>
                    </a:lnTo>
                    <a:lnTo>
                      <a:pt x="225" y="676"/>
                    </a:lnTo>
                    <a:lnTo>
                      <a:pt x="227" y="676"/>
                    </a:lnTo>
                    <a:lnTo>
                      <a:pt x="228" y="676"/>
                    </a:lnTo>
                    <a:lnTo>
                      <a:pt x="228" y="674"/>
                    </a:lnTo>
                    <a:lnTo>
                      <a:pt x="227" y="672"/>
                    </a:lnTo>
                    <a:lnTo>
                      <a:pt x="225" y="672"/>
                    </a:lnTo>
                    <a:lnTo>
                      <a:pt x="223" y="672"/>
                    </a:lnTo>
                    <a:lnTo>
                      <a:pt x="223" y="670"/>
                    </a:lnTo>
                    <a:lnTo>
                      <a:pt x="221" y="670"/>
                    </a:lnTo>
                    <a:lnTo>
                      <a:pt x="219" y="670"/>
                    </a:lnTo>
                    <a:lnTo>
                      <a:pt x="219" y="669"/>
                    </a:lnTo>
                    <a:lnTo>
                      <a:pt x="217" y="669"/>
                    </a:lnTo>
                    <a:lnTo>
                      <a:pt x="215" y="669"/>
                    </a:lnTo>
                    <a:lnTo>
                      <a:pt x="215" y="667"/>
                    </a:lnTo>
                    <a:lnTo>
                      <a:pt x="213" y="667"/>
                    </a:lnTo>
                    <a:lnTo>
                      <a:pt x="211" y="665"/>
                    </a:lnTo>
                    <a:lnTo>
                      <a:pt x="211" y="667"/>
                    </a:lnTo>
                    <a:lnTo>
                      <a:pt x="209" y="667"/>
                    </a:lnTo>
                    <a:lnTo>
                      <a:pt x="209" y="669"/>
                    </a:lnTo>
                    <a:lnTo>
                      <a:pt x="209" y="670"/>
                    </a:lnTo>
                    <a:lnTo>
                      <a:pt x="207" y="670"/>
                    </a:lnTo>
                    <a:lnTo>
                      <a:pt x="207" y="672"/>
                    </a:lnTo>
                    <a:lnTo>
                      <a:pt x="205" y="672"/>
                    </a:lnTo>
                    <a:lnTo>
                      <a:pt x="205" y="674"/>
                    </a:lnTo>
                    <a:lnTo>
                      <a:pt x="204" y="674"/>
                    </a:lnTo>
                    <a:lnTo>
                      <a:pt x="204" y="676"/>
                    </a:lnTo>
                    <a:lnTo>
                      <a:pt x="204" y="678"/>
                    </a:lnTo>
                    <a:lnTo>
                      <a:pt x="204" y="680"/>
                    </a:lnTo>
                    <a:lnTo>
                      <a:pt x="202" y="680"/>
                    </a:lnTo>
                    <a:lnTo>
                      <a:pt x="202" y="682"/>
                    </a:lnTo>
                    <a:lnTo>
                      <a:pt x="200" y="682"/>
                    </a:lnTo>
                    <a:lnTo>
                      <a:pt x="200" y="684"/>
                    </a:lnTo>
                    <a:lnTo>
                      <a:pt x="198" y="684"/>
                    </a:lnTo>
                    <a:lnTo>
                      <a:pt x="196" y="684"/>
                    </a:lnTo>
                    <a:lnTo>
                      <a:pt x="194" y="684"/>
                    </a:lnTo>
                    <a:lnTo>
                      <a:pt x="192" y="684"/>
                    </a:lnTo>
                    <a:lnTo>
                      <a:pt x="192" y="686"/>
                    </a:lnTo>
                    <a:lnTo>
                      <a:pt x="190" y="686"/>
                    </a:lnTo>
                    <a:lnTo>
                      <a:pt x="190" y="684"/>
                    </a:lnTo>
                    <a:lnTo>
                      <a:pt x="190" y="686"/>
                    </a:lnTo>
                    <a:lnTo>
                      <a:pt x="188" y="686"/>
                    </a:lnTo>
                    <a:lnTo>
                      <a:pt x="184" y="682"/>
                    </a:lnTo>
                    <a:lnTo>
                      <a:pt x="182" y="682"/>
                    </a:lnTo>
                    <a:lnTo>
                      <a:pt x="182" y="684"/>
                    </a:lnTo>
                    <a:lnTo>
                      <a:pt x="180" y="686"/>
                    </a:lnTo>
                    <a:lnTo>
                      <a:pt x="180" y="688"/>
                    </a:lnTo>
                    <a:lnTo>
                      <a:pt x="179" y="688"/>
                    </a:lnTo>
                    <a:lnTo>
                      <a:pt x="179" y="690"/>
                    </a:lnTo>
                    <a:lnTo>
                      <a:pt x="177" y="690"/>
                    </a:lnTo>
                    <a:lnTo>
                      <a:pt x="175" y="692"/>
                    </a:lnTo>
                    <a:lnTo>
                      <a:pt x="175" y="694"/>
                    </a:lnTo>
                    <a:lnTo>
                      <a:pt x="175" y="695"/>
                    </a:lnTo>
                    <a:lnTo>
                      <a:pt x="173" y="697"/>
                    </a:lnTo>
                    <a:lnTo>
                      <a:pt x="173" y="699"/>
                    </a:lnTo>
                    <a:lnTo>
                      <a:pt x="173" y="701"/>
                    </a:lnTo>
                    <a:lnTo>
                      <a:pt x="175" y="703"/>
                    </a:lnTo>
                    <a:lnTo>
                      <a:pt x="175" y="705"/>
                    </a:lnTo>
                    <a:lnTo>
                      <a:pt x="173" y="705"/>
                    </a:lnTo>
                    <a:lnTo>
                      <a:pt x="171" y="705"/>
                    </a:lnTo>
                    <a:lnTo>
                      <a:pt x="171" y="707"/>
                    </a:lnTo>
                    <a:lnTo>
                      <a:pt x="169" y="707"/>
                    </a:lnTo>
                    <a:lnTo>
                      <a:pt x="167" y="707"/>
                    </a:lnTo>
                    <a:lnTo>
                      <a:pt x="167" y="709"/>
                    </a:lnTo>
                    <a:lnTo>
                      <a:pt x="167" y="711"/>
                    </a:lnTo>
                    <a:lnTo>
                      <a:pt x="169" y="711"/>
                    </a:lnTo>
                    <a:lnTo>
                      <a:pt x="167" y="713"/>
                    </a:lnTo>
                    <a:lnTo>
                      <a:pt x="165" y="713"/>
                    </a:lnTo>
                    <a:lnTo>
                      <a:pt x="163" y="713"/>
                    </a:lnTo>
                    <a:lnTo>
                      <a:pt x="163" y="715"/>
                    </a:lnTo>
                    <a:lnTo>
                      <a:pt x="161" y="715"/>
                    </a:lnTo>
                    <a:lnTo>
                      <a:pt x="159" y="715"/>
                    </a:lnTo>
                    <a:lnTo>
                      <a:pt x="159" y="717"/>
                    </a:lnTo>
                    <a:lnTo>
                      <a:pt x="157" y="717"/>
                    </a:lnTo>
                    <a:lnTo>
                      <a:pt x="155" y="717"/>
                    </a:lnTo>
                    <a:lnTo>
                      <a:pt x="155" y="719"/>
                    </a:lnTo>
                    <a:lnTo>
                      <a:pt x="154" y="719"/>
                    </a:lnTo>
                    <a:lnTo>
                      <a:pt x="152" y="719"/>
                    </a:lnTo>
                    <a:lnTo>
                      <a:pt x="150" y="719"/>
                    </a:lnTo>
                    <a:lnTo>
                      <a:pt x="148" y="719"/>
                    </a:lnTo>
                    <a:lnTo>
                      <a:pt x="148" y="720"/>
                    </a:lnTo>
                    <a:lnTo>
                      <a:pt x="146" y="720"/>
                    </a:lnTo>
                    <a:lnTo>
                      <a:pt x="146" y="722"/>
                    </a:lnTo>
                    <a:lnTo>
                      <a:pt x="144" y="722"/>
                    </a:lnTo>
                    <a:lnTo>
                      <a:pt x="142" y="722"/>
                    </a:lnTo>
                    <a:lnTo>
                      <a:pt x="142" y="724"/>
                    </a:lnTo>
                    <a:lnTo>
                      <a:pt x="142" y="726"/>
                    </a:lnTo>
                    <a:lnTo>
                      <a:pt x="142" y="728"/>
                    </a:lnTo>
                    <a:lnTo>
                      <a:pt x="142" y="730"/>
                    </a:lnTo>
                    <a:lnTo>
                      <a:pt x="140" y="730"/>
                    </a:lnTo>
                    <a:lnTo>
                      <a:pt x="140" y="728"/>
                    </a:lnTo>
                    <a:lnTo>
                      <a:pt x="140" y="730"/>
                    </a:lnTo>
                    <a:lnTo>
                      <a:pt x="138" y="730"/>
                    </a:lnTo>
                    <a:lnTo>
                      <a:pt x="136" y="730"/>
                    </a:lnTo>
                    <a:lnTo>
                      <a:pt x="136" y="728"/>
                    </a:lnTo>
                    <a:lnTo>
                      <a:pt x="134" y="728"/>
                    </a:lnTo>
                    <a:lnTo>
                      <a:pt x="134" y="726"/>
                    </a:lnTo>
                    <a:lnTo>
                      <a:pt x="132" y="724"/>
                    </a:lnTo>
                    <a:lnTo>
                      <a:pt x="132" y="726"/>
                    </a:lnTo>
                    <a:lnTo>
                      <a:pt x="130" y="726"/>
                    </a:lnTo>
                    <a:lnTo>
                      <a:pt x="130" y="728"/>
                    </a:lnTo>
                    <a:lnTo>
                      <a:pt x="127" y="730"/>
                    </a:lnTo>
                    <a:lnTo>
                      <a:pt x="125" y="730"/>
                    </a:lnTo>
                    <a:lnTo>
                      <a:pt x="125" y="732"/>
                    </a:lnTo>
                    <a:lnTo>
                      <a:pt x="123" y="732"/>
                    </a:lnTo>
                    <a:lnTo>
                      <a:pt x="121" y="732"/>
                    </a:lnTo>
                    <a:lnTo>
                      <a:pt x="121" y="730"/>
                    </a:lnTo>
                    <a:lnTo>
                      <a:pt x="123" y="728"/>
                    </a:lnTo>
                    <a:lnTo>
                      <a:pt x="123" y="726"/>
                    </a:lnTo>
                    <a:lnTo>
                      <a:pt x="123" y="724"/>
                    </a:lnTo>
                    <a:lnTo>
                      <a:pt x="121" y="722"/>
                    </a:lnTo>
                    <a:lnTo>
                      <a:pt x="121" y="720"/>
                    </a:lnTo>
                    <a:lnTo>
                      <a:pt x="119" y="720"/>
                    </a:lnTo>
                    <a:lnTo>
                      <a:pt x="119" y="719"/>
                    </a:lnTo>
                    <a:lnTo>
                      <a:pt x="119" y="717"/>
                    </a:lnTo>
                    <a:lnTo>
                      <a:pt x="117" y="717"/>
                    </a:lnTo>
                    <a:lnTo>
                      <a:pt x="117" y="715"/>
                    </a:lnTo>
                    <a:lnTo>
                      <a:pt x="115" y="713"/>
                    </a:lnTo>
                    <a:lnTo>
                      <a:pt x="115" y="711"/>
                    </a:lnTo>
                    <a:lnTo>
                      <a:pt x="115" y="709"/>
                    </a:lnTo>
                    <a:lnTo>
                      <a:pt x="113" y="709"/>
                    </a:lnTo>
                    <a:lnTo>
                      <a:pt x="113" y="707"/>
                    </a:lnTo>
                    <a:lnTo>
                      <a:pt x="111" y="705"/>
                    </a:lnTo>
                    <a:lnTo>
                      <a:pt x="111" y="703"/>
                    </a:lnTo>
                    <a:lnTo>
                      <a:pt x="109" y="703"/>
                    </a:lnTo>
                    <a:lnTo>
                      <a:pt x="109" y="701"/>
                    </a:lnTo>
                    <a:lnTo>
                      <a:pt x="109" y="699"/>
                    </a:lnTo>
                    <a:lnTo>
                      <a:pt x="107" y="697"/>
                    </a:lnTo>
                    <a:lnTo>
                      <a:pt x="106" y="697"/>
                    </a:lnTo>
                    <a:lnTo>
                      <a:pt x="104" y="697"/>
                    </a:lnTo>
                    <a:lnTo>
                      <a:pt x="102" y="697"/>
                    </a:lnTo>
                    <a:lnTo>
                      <a:pt x="100" y="697"/>
                    </a:lnTo>
                    <a:lnTo>
                      <a:pt x="98" y="697"/>
                    </a:lnTo>
                    <a:lnTo>
                      <a:pt x="96" y="697"/>
                    </a:lnTo>
                    <a:lnTo>
                      <a:pt x="94" y="697"/>
                    </a:lnTo>
                    <a:lnTo>
                      <a:pt x="94" y="699"/>
                    </a:lnTo>
                    <a:lnTo>
                      <a:pt x="92" y="699"/>
                    </a:lnTo>
                    <a:lnTo>
                      <a:pt x="92" y="701"/>
                    </a:lnTo>
                    <a:lnTo>
                      <a:pt x="90" y="703"/>
                    </a:lnTo>
                    <a:lnTo>
                      <a:pt x="88" y="701"/>
                    </a:lnTo>
                    <a:lnTo>
                      <a:pt x="88" y="699"/>
                    </a:lnTo>
                    <a:lnTo>
                      <a:pt x="86" y="699"/>
                    </a:lnTo>
                    <a:lnTo>
                      <a:pt x="84" y="699"/>
                    </a:lnTo>
                    <a:lnTo>
                      <a:pt x="84" y="701"/>
                    </a:lnTo>
                    <a:lnTo>
                      <a:pt x="82" y="699"/>
                    </a:lnTo>
                    <a:lnTo>
                      <a:pt x="81" y="699"/>
                    </a:lnTo>
                    <a:lnTo>
                      <a:pt x="81" y="697"/>
                    </a:lnTo>
                    <a:lnTo>
                      <a:pt x="79" y="699"/>
                    </a:lnTo>
                    <a:lnTo>
                      <a:pt x="75" y="699"/>
                    </a:lnTo>
                    <a:lnTo>
                      <a:pt x="75" y="701"/>
                    </a:lnTo>
                    <a:lnTo>
                      <a:pt x="73" y="701"/>
                    </a:lnTo>
                    <a:lnTo>
                      <a:pt x="71" y="699"/>
                    </a:lnTo>
                    <a:lnTo>
                      <a:pt x="71" y="697"/>
                    </a:lnTo>
                    <a:lnTo>
                      <a:pt x="71" y="695"/>
                    </a:lnTo>
                    <a:lnTo>
                      <a:pt x="71" y="694"/>
                    </a:lnTo>
                    <a:lnTo>
                      <a:pt x="71" y="692"/>
                    </a:lnTo>
                    <a:lnTo>
                      <a:pt x="71" y="690"/>
                    </a:lnTo>
                    <a:lnTo>
                      <a:pt x="69" y="688"/>
                    </a:lnTo>
                    <a:lnTo>
                      <a:pt x="69" y="686"/>
                    </a:lnTo>
                    <a:lnTo>
                      <a:pt x="69" y="684"/>
                    </a:lnTo>
                    <a:lnTo>
                      <a:pt x="71" y="682"/>
                    </a:lnTo>
                    <a:lnTo>
                      <a:pt x="71" y="680"/>
                    </a:lnTo>
                    <a:lnTo>
                      <a:pt x="73" y="680"/>
                    </a:lnTo>
                    <a:lnTo>
                      <a:pt x="71" y="680"/>
                    </a:lnTo>
                    <a:lnTo>
                      <a:pt x="71" y="678"/>
                    </a:lnTo>
                    <a:lnTo>
                      <a:pt x="73" y="678"/>
                    </a:lnTo>
                    <a:lnTo>
                      <a:pt x="73" y="676"/>
                    </a:lnTo>
                    <a:lnTo>
                      <a:pt x="71" y="676"/>
                    </a:lnTo>
                    <a:lnTo>
                      <a:pt x="71" y="674"/>
                    </a:lnTo>
                    <a:lnTo>
                      <a:pt x="73" y="674"/>
                    </a:lnTo>
                    <a:lnTo>
                      <a:pt x="73" y="672"/>
                    </a:lnTo>
                    <a:lnTo>
                      <a:pt x="73" y="670"/>
                    </a:lnTo>
                    <a:lnTo>
                      <a:pt x="75" y="670"/>
                    </a:lnTo>
                    <a:lnTo>
                      <a:pt x="77" y="669"/>
                    </a:lnTo>
                    <a:lnTo>
                      <a:pt x="77" y="667"/>
                    </a:lnTo>
                    <a:lnTo>
                      <a:pt x="79" y="667"/>
                    </a:lnTo>
                    <a:lnTo>
                      <a:pt x="81" y="667"/>
                    </a:lnTo>
                    <a:lnTo>
                      <a:pt x="81" y="669"/>
                    </a:lnTo>
                    <a:lnTo>
                      <a:pt x="82" y="669"/>
                    </a:lnTo>
                    <a:lnTo>
                      <a:pt x="82" y="667"/>
                    </a:lnTo>
                    <a:lnTo>
                      <a:pt x="84" y="667"/>
                    </a:lnTo>
                    <a:lnTo>
                      <a:pt x="84" y="665"/>
                    </a:lnTo>
                    <a:lnTo>
                      <a:pt x="82" y="663"/>
                    </a:lnTo>
                    <a:lnTo>
                      <a:pt x="84" y="663"/>
                    </a:lnTo>
                    <a:lnTo>
                      <a:pt x="84" y="661"/>
                    </a:lnTo>
                    <a:lnTo>
                      <a:pt x="82" y="655"/>
                    </a:lnTo>
                    <a:lnTo>
                      <a:pt x="82" y="649"/>
                    </a:lnTo>
                    <a:lnTo>
                      <a:pt x="81" y="647"/>
                    </a:lnTo>
                    <a:lnTo>
                      <a:pt x="79" y="645"/>
                    </a:lnTo>
                    <a:lnTo>
                      <a:pt x="79" y="644"/>
                    </a:lnTo>
                    <a:lnTo>
                      <a:pt x="79" y="642"/>
                    </a:lnTo>
                    <a:lnTo>
                      <a:pt x="81" y="642"/>
                    </a:lnTo>
                    <a:lnTo>
                      <a:pt x="81" y="640"/>
                    </a:lnTo>
                    <a:lnTo>
                      <a:pt x="81" y="638"/>
                    </a:lnTo>
                    <a:lnTo>
                      <a:pt x="82" y="638"/>
                    </a:lnTo>
                    <a:lnTo>
                      <a:pt x="82" y="636"/>
                    </a:lnTo>
                    <a:lnTo>
                      <a:pt x="84" y="636"/>
                    </a:lnTo>
                    <a:lnTo>
                      <a:pt x="84" y="634"/>
                    </a:lnTo>
                    <a:lnTo>
                      <a:pt x="88" y="632"/>
                    </a:lnTo>
                    <a:lnTo>
                      <a:pt x="86" y="632"/>
                    </a:lnTo>
                    <a:lnTo>
                      <a:pt x="86" y="630"/>
                    </a:lnTo>
                    <a:lnTo>
                      <a:pt x="88" y="630"/>
                    </a:lnTo>
                    <a:lnTo>
                      <a:pt x="88" y="628"/>
                    </a:lnTo>
                    <a:lnTo>
                      <a:pt x="88" y="630"/>
                    </a:lnTo>
                    <a:lnTo>
                      <a:pt x="90" y="630"/>
                    </a:lnTo>
                    <a:lnTo>
                      <a:pt x="90" y="628"/>
                    </a:lnTo>
                    <a:lnTo>
                      <a:pt x="90" y="626"/>
                    </a:lnTo>
                    <a:lnTo>
                      <a:pt x="92" y="626"/>
                    </a:lnTo>
                    <a:lnTo>
                      <a:pt x="92" y="624"/>
                    </a:lnTo>
                    <a:lnTo>
                      <a:pt x="92" y="622"/>
                    </a:lnTo>
                    <a:lnTo>
                      <a:pt x="92" y="620"/>
                    </a:lnTo>
                    <a:lnTo>
                      <a:pt x="94" y="620"/>
                    </a:lnTo>
                    <a:lnTo>
                      <a:pt x="94" y="619"/>
                    </a:lnTo>
                    <a:lnTo>
                      <a:pt x="96" y="619"/>
                    </a:lnTo>
                    <a:lnTo>
                      <a:pt x="98" y="615"/>
                    </a:lnTo>
                    <a:lnTo>
                      <a:pt x="96" y="613"/>
                    </a:lnTo>
                    <a:lnTo>
                      <a:pt x="94" y="613"/>
                    </a:lnTo>
                    <a:lnTo>
                      <a:pt x="94" y="611"/>
                    </a:lnTo>
                    <a:lnTo>
                      <a:pt x="94" y="609"/>
                    </a:lnTo>
                    <a:lnTo>
                      <a:pt x="96" y="609"/>
                    </a:lnTo>
                    <a:lnTo>
                      <a:pt x="96" y="607"/>
                    </a:lnTo>
                    <a:lnTo>
                      <a:pt x="96" y="605"/>
                    </a:lnTo>
                    <a:lnTo>
                      <a:pt x="98" y="605"/>
                    </a:lnTo>
                    <a:lnTo>
                      <a:pt x="100" y="605"/>
                    </a:lnTo>
                    <a:lnTo>
                      <a:pt x="100" y="603"/>
                    </a:lnTo>
                    <a:lnTo>
                      <a:pt x="102" y="603"/>
                    </a:lnTo>
                    <a:lnTo>
                      <a:pt x="104" y="603"/>
                    </a:lnTo>
                    <a:lnTo>
                      <a:pt x="104" y="601"/>
                    </a:lnTo>
                    <a:lnTo>
                      <a:pt x="106" y="601"/>
                    </a:lnTo>
                    <a:lnTo>
                      <a:pt x="106" y="599"/>
                    </a:lnTo>
                    <a:lnTo>
                      <a:pt x="106" y="597"/>
                    </a:lnTo>
                    <a:lnTo>
                      <a:pt x="104" y="597"/>
                    </a:lnTo>
                    <a:lnTo>
                      <a:pt x="104" y="595"/>
                    </a:lnTo>
                    <a:lnTo>
                      <a:pt x="104" y="597"/>
                    </a:lnTo>
                    <a:lnTo>
                      <a:pt x="104" y="595"/>
                    </a:lnTo>
                    <a:lnTo>
                      <a:pt x="102" y="595"/>
                    </a:lnTo>
                    <a:lnTo>
                      <a:pt x="102" y="594"/>
                    </a:lnTo>
                    <a:lnTo>
                      <a:pt x="102" y="595"/>
                    </a:lnTo>
                    <a:lnTo>
                      <a:pt x="102" y="594"/>
                    </a:lnTo>
                    <a:lnTo>
                      <a:pt x="100" y="594"/>
                    </a:lnTo>
                    <a:lnTo>
                      <a:pt x="102" y="594"/>
                    </a:lnTo>
                    <a:lnTo>
                      <a:pt x="102" y="592"/>
                    </a:lnTo>
                    <a:lnTo>
                      <a:pt x="100" y="592"/>
                    </a:lnTo>
                    <a:lnTo>
                      <a:pt x="100" y="590"/>
                    </a:lnTo>
                    <a:lnTo>
                      <a:pt x="102" y="590"/>
                    </a:lnTo>
                    <a:lnTo>
                      <a:pt x="104" y="590"/>
                    </a:lnTo>
                    <a:lnTo>
                      <a:pt x="106" y="590"/>
                    </a:lnTo>
                    <a:lnTo>
                      <a:pt x="106" y="588"/>
                    </a:lnTo>
                    <a:lnTo>
                      <a:pt x="107" y="588"/>
                    </a:lnTo>
                    <a:lnTo>
                      <a:pt x="107" y="586"/>
                    </a:lnTo>
                    <a:lnTo>
                      <a:pt x="109" y="584"/>
                    </a:lnTo>
                    <a:lnTo>
                      <a:pt x="109" y="582"/>
                    </a:lnTo>
                    <a:lnTo>
                      <a:pt x="107" y="582"/>
                    </a:lnTo>
                    <a:lnTo>
                      <a:pt x="107" y="580"/>
                    </a:lnTo>
                    <a:lnTo>
                      <a:pt x="107" y="578"/>
                    </a:lnTo>
                    <a:lnTo>
                      <a:pt x="107" y="580"/>
                    </a:lnTo>
                    <a:lnTo>
                      <a:pt x="109" y="580"/>
                    </a:lnTo>
                    <a:lnTo>
                      <a:pt x="109" y="578"/>
                    </a:lnTo>
                    <a:lnTo>
                      <a:pt x="111" y="576"/>
                    </a:lnTo>
                    <a:lnTo>
                      <a:pt x="113" y="574"/>
                    </a:lnTo>
                    <a:lnTo>
                      <a:pt x="115" y="574"/>
                    </a:lnTo>
                    <a:lnTo>
                      <a:pt x="115" y="572"/>
                    </a:lnTo>
                    <a:lnTo>
                      <a:pt x="113" y="572"/>
                    </a:lnTo>
                    <a:lnTo>
                      <a:pt x="111" y="572"/>
                    </a:lnTo>
                    <a:lnTo>
                      <a:pt x="109" y="572"/>
                    </a:lnTo>
                    <a:lnTo>
                      <a:pt x="107" y="572"/>
                    </a:lnTo>
                    <a:lnTo>
                      <a:pt x="106" y="570"/>
                    </a:lnTo>
                    <a:lnTo>
                      <a:pt x="104" y="570"/>
                    </a:lnTo>
                    <a:lnTo>
                      <a:pt x="102" y="569"/>
                    </a:lnTo>
                    <a:lnTo>
                      <a:pt x="102" y="567"/>
                    </a:lnTo>
                    <a:lnTo>
                      <a:pt x="102" y="565"/>
                    </a:lnTo>
                    <a:lnTo>
                      <a:pt x="100" y="565"/>
                    </a:lnTo>
                    <a:lnTo>
                      <a:pt x="100" y="563"/>
                    </a:lnTo>
                    <a:lnTo>
                      <a:pt x="98" y="563"/>
                    </a:lnTo>
                    <a:lnTo>
                      <a:pt x="98" y="561"/>
                    </a:lnTo>
                    <a:lnTo>
                      <a:pt x="96" y="561"/>
                    </a:lnTo>
                    <a:lnTo>
                      <a:pt x="94" y="561"/>
                    </a:lnTo>
                    <a:lnTo>
                      <a:pt x="94" y="559"/>
                    </a:lnTo>
                    <a:lnTo>
                      <a:pt x="92" y="559"/>
                    </a:lnTo>
                    <a:lnTo>
                      <a:pt x="90" y="559"/>
                    </a:lnTo>
                    <a:lnTo>
                      <a:pt x="88" y="559"/>
                    </a:lnTo>
                    <a:lnTo>
                      <a:pt x="86" y="561"/>
                    </a:lnTo>
                    <a:lnTo>
                      <a:pt x="84" y="561"/>
                    </a:lnTo>
                    <a:lnTo>
                      <a:pt x="84" y="563"/>
                    </a:lnTo>
                    <a:lnTo>
                      <a:pt x="82" y="563"/>
                    </a:lnTo>
                    <a:lnTo>
                      <a:pt x="82" y="565"/>
                    </a:lnTo>
                    <a:lnTo>
                      <a:pt x="81" y="565"/>
                    </a:lnTo>
                    <a:lnTo>
                      <a:pt x="79" y="567"/>
                    </a:lnTo>
                    <a:lnTo>
                      <a:pt x="77" y="567"/>
                    </a:lnTo>
                    <a:lnTo>
                      <a:pt x="77" y="569"/>
                    </a:lnTo>
                    <a:lnTo>
                      <a:pt x="77" y="570"/>
                    </a:lnTo>
                    <a:lnTo>
                      <a:pt x="75" y="570"/>
                    </a:lnTo>
                    <a:lnTo>
                      <a:pt x="73" y="572"/>
                    </a:lnTo>
                    <a:lnTo>
                      <a:pt x="73" y="570"/>
                    </a:lnTo>
                    <a:lnTo>
                      <a:pt x="71" y="570"/>
                    </a:lnTo>
                    <a:lnTo>
                      <a:pt x="69" y="570"/>
                    </a:lnTo>
                    <a:lnTo>
                      <a:pt x="67" y="570"/>
                    </a:lnTo>
                    <a:lnTo>
                      <a:pt x="65" y="570"/>
                    </a:lnTo>
                    <a:lnTo>
                      <a:pt x="65" y="572"/>
                    </a:lnTo>
                    <a:lnTo>
                      <a:pt x="65" y="574"/>
                    </a:lnTo>
                    <a:lnTo>
                      <a:pt x="63" y="572"/>
                    </a:lnTo>
                    <a:lnTo>
                      <a:pt x="61" y="572"/>
                    </a:lnTo>
                    <a:lnTo>
                      <a:pt x="61" y="574"/>
                    </a:lnTo>
                    <a:lnTo>
                      <a:pt x="61" y="576"/>
                    </a:lnTo>
                    <a:lnTo>
                      <a:pt x="59" y="576"/>
                    </a:lnTo>
                    <a:lnTo>
                      <a:pt x="59" y="578"/>
                    </a:lnTo>
                    <a:lnTo>
                      <a:pt x="57" y="578"/>
                    </a:lnTo>
                    <a:lnTo>
                      <a:pt x="54" y="576"/>
                    </a:lnTo>
                    <a:lnTo>
                      <a:pt x="54" y="578"/>
                    </a:lnTo>
                    <a:lnTo>
                      <a:pt x="54" y="580"/>
                    </a:lnTo>
                    <a:lnTo>
                      <a:pt x="52" y="580"/>
                    </a:lnTo>
                    <a:lnTo>
                      <a:pt x="50" y="580"/>
                    </a:lnTo>
                    <a:lnTo>
                      <a:pt x="48" y="580"/>
                    </a:lnTo>
                    <a:lnTo>
                      <a:pt x="48" y="578"/>
                    </a:lnTo>
                    <a:lnTo>
                      <a:pt x="46" y="578"/>
                    </a:lnTo>
                    <a:lnTo>
                      <a:pt x="44" y="576"/>
                    </a:lnTo>
                    <a:lnTo>
                      <a:pt x="44" y="574"/>
                    </a:lnTo>
                    <a:lnTo>
                      <a:pt x="44" y="572"/>
                    </a:lnTo>
                    <a:lnTo>
                      <a:pt x="42" y="572"/>
                    </a:lnTo>
                    <a:lnTo>
                      <a:pt x="40" y="570"/>
                    </a:lnTo>
                    <a:lnTo>
                      <a:pt x="38" y="569"/>
                    </a:lnTo>
                    <a:lnTo>
                      <a:pt x="38" y="567"/>
                    </a:lnTo>
                    <a:lnTo>
                      <a:pt x="40" y="565"/>
                    </a:lnTo>
                    <a:lnTo>
                      <a:pt x="40" y="563"/>
                    </a:lnTo>
                    <a:lnTo>
                      <a:pt x="38" y="563"/>
                    </a:lnTo>
                    <a:lnTo>
                      <a:pt x="38" y="561"/>
                    </a:lnTo>
                    <a:lnTo>
                      <a:pt x="36" y="561"/>
                    </a:lnTo>
                    <a:lnTo>
                      <a:pt x="36" y="559"/>
                    </a:lnTo>
                    <a:lnTo>
                      <a:pt x="36" y="557"/>
                    </a:lnTo>
                    <a:lnTo>
                      <a:pt x="36" y="555"/>
                    </a:lnTo>
                    <a:lnTo>
                      <a:pt x="36" y="553"/>
                    </a:lnTo>
                    <a:lnTo>
                      <a:pt x="36" y="551"/>
                    </a:lnTo>
                    <a:lnTo>
                      <a:pt x="34" y="551"/>
                    </a:lnTo>
                    <a:lnTo>
                      <a:pt x="34" y="549"/>
                    </a:lnTo>
                    <a:lnTo>
                      <a:pt x="34" y="547"/>
                    </a:lnTo>
                    <a:lnTo>
                      <a:pt x="36" y="547"/>
                    </a:lnTo>
                    <a:lnTo>
                      <a:pt x="36" y="546"/>
                    </a:lnTo>
                    <a:lnTo>
                      <a:pt x="36" y="544"/>
                    </a:lnTo>
                    <a:lnTo>
                      <a:pt x="36" y="542"/>
                    </a:lnTo>
                    <a:lnTo>
                      <a:pt x="36" y="540"/>
                    </a:lnTo>
                    <a:lnTo>
                      <a:pt x="36" y="538"/>
                    </a:lnTo>
                    <a:lnTo>
                      <a:pt x="36" y="536"/>
                    </a:lnTo>
                    <a:lnTo>
                      <a:pt x="34" y="538"/>
                    </a:lnTo>
                    <a:lnTo>
                      <a:pt x="34" y="536"/>
                    </a:lnTo>
                    <a:lnTo>
                      <a:pt x="34" y="534"/>
                    </a:lnTo>
                    <a:lnTo>
                      <a:pt x="33" y="534"/>
                    </a:lnTo>
                    <a:lnTo>
                      <a:pt x="33" y="532"/>
                    </a:lnTo>
                    <a:lnTo>
                      <a:pt x="33" y="530"/>
                    </a:lnTo>
                    <a:lnTo>
                      <a:pt x="34" y="530"/>
                    </a:lnTo>
                    <a:lnTo>
                      <a:pt x="33" y="530"/>
                    </a:lnTo>
                    <a:lnTo>
                      <a:pt x="34" y="530"/>
                    </a:lnTo>
                    <a:lnTo>
                      <a:pt x="33" y="528"/>
                    </a:lnTo>
                    <a:lnTo>
                      <a:pt x="34" y="528"/>
                    </a:lnTo>
                    <a:lnTo>
                      <a:pt x="33" y="528"/>
                    </a:lnTo>
                    <a:lnTo>
                      <a:pt x="34" y="528"/>
                    </a:lnTo>
                    <a:lnTo>
                      <a:pt x="34" y="526"/>
                    </a:lnTo>
                    <a:lnTo>
                      <a:pt x="33" y="526"/>
                    </a:lnTo>
                    <a:lnTo>
                      <a:pt x="33" y="528"/>
                    </a:lnTo>
                    <a:lnTo>
                      <a:pt x="33" y="526"/>
                    </a:lnTo>
                    <a:lnTo>
                      <a:pt x="34" y="526"/>
                    </a:lnTo>
                    <a:lnTo>
                      <a:pt x="33" y="526"/>
                    </a:lnTo>
                    <a:lnTo>
                      <a:pt x="34" y="526"/>
                    </a:lnTo>
                    <a:lnTo>
                      <a:pt x="34" y="524"/>
                    </a:lnTo>
                    <a:lnTo>
                      <a:pt x="33" y="524"/>
                    </a:lnTo>
                    <a:lnTo>
                      <a:pt x="34" y="524"/>
                    </a:lnTo>
                    <a:lnTo>
                      <a:pt x="34" y="522"/>
                    </a:lnTo>
                    <a:lnTo>
                      <a:pt x="36" y="522"/>
                    </a:lnTo>
                    <a:lnTo>
                      <a:pt x="38" y="522"/>
                    </a:lnTo>
                    <a:lnTo>
                      <a:pt x="38" y="524"/>
                    </a:lnTo>
                    <a:lnTo>
                      <a:pt x="40" y="524"/>
                    </a:lnTo>
                    <a:lnTo>
                      <a:pt x="40" y="526"/>
                    </a:lnTo>
                    <a:lnTo>
                      <a:pt x="40" y="524"/>
                    </a:lnTo>
                    <a:lnTo>
                      <a:pt x="40" y="526"/>
                    </a:lnTo>
                    <a:lnTo>
                      <a:pt x="42" y="526"/>
                    </a:lnTo>
                    <a:lnTo>
                      <a:pt x="42" y="524"/>
                    </a:lnTo>
                    <a:lnTo>
                      <a:pt x="40" y="524"/>
                    </a:lnTo>
                    <a:lnTo>
                      <a:pt x="40" y="522"/>
                    </a:lnTo>
                    <a:lnTo>
                      <a:pt x="40" y="521"/>
                    </a:lnTo>
                    <a:lnTo>
                      <a:pt x="40" y="519"/>
                    </a:lnTo>
                    <a:lnTo>
                      <a:pt x="40" y="517"/>
                    </a:lnTo>
                    <a:lnTo>
                      <a:pt x="42" y="517"/>
                    </a:lnTo>
                    <a:lnTo>
                      <a:pt x="42" y="519"/>
                    </a:lnTo>
                    <a:lnTo>
                      <a:pt x="42" y="517"/>
                    </a:lnTo>
                    <a:lnTo>
                      <a:pt x="44" y="517"/>
                    </a:lnTo>
                    <a:lnTo>
                      <a:pt x="44" y="519"/>
                    </a:lnTo>
                    <a:lnTo>
                      <a:pt x="46" y="519"/>
                    </a:lnTo>
                    <a:lnTo>
                      <a:pt x="46" y="521"/>
                    </a:lnTo>
                    <a:lnTo>
                      <a:pt x="46" y="522"/>
                    </a:lnTo>
                    <a:lnTo>
                      <a:pt x="48" y="522"/>
                    </a:lnTo>
                    <a:lnTo>
                      <a:pt x="48" y="521"/>
                    </a:lnTo>
                    <a:lnTo>
                      <a:pt x="50" y="521"/>
                    </a:lnTo>
                    <a:lnTo>
                      <a:pt x="50" y="519"/>
                    </a:lnTo>
                    <a:lnTo>
                      <a:pt x="48" y="519"/>
                    </a:lnTo>
                    <a:lnTo>
                      <a:pt x="48" y="517"/>
                    </a:lnTo>
                    <a:lnTo>
                      <a:pt x="46" y="517"/>
                    </a:lnTo>
                    <a:lnTo>
                      <a:pt x="46" y="515"/>
                    </a:lnTo>
                    <a:lnTo>
                      <a:pt x="46" y="513"/>
                    </a:lnTo>
                    <a:lnTo>
                      <a:pt x="46" y="511"/>
                    </a:lnTo>
                    <a:lnTo>
                      <a:pt x="44" y="513"/>
                    </a:lnTo>
                    <a:lnTo>
                      <a:pt x="44" y="511"/>
                    </a:lnTo>
                    <a:lnTo>
                      <a:pt x="44" y="509"/>
                    </a:lnTo>
                    <a:lnTo>
                      <a:pt x="44" y="507"/>
                    </a:lnTo>
                    <a:lnTo>
                      <a:pt x="44" y="505"/>
                    </a:lnTo>
                    <a:lnTo>
                      <a:pt x="46" y="505"/>
                    </a:lnTo>
                    <a:lnTo>
                      <a:pt x="44" y="505"/>
                    </a:lnTo>
                    <a:lnTo>
                      <a:pt x="46" y="505"/>
                    </a:lnTo>
                    <a:lnTo>
                      <a:pt x="46" y="503"/>
                    </a:lnTo>
                    <a:lnTo>
                      <a:pt x="44" y="503"/>
                    </a:lnTo>
                    <a:lnTo>
                      <a:pt x="46" y="503"/>
                    </a:lnTo>
                    <a:lnTo>
                      <a:pt x="46" y="501"/>
                    </a:lnTo>
                    <a:lnTo>
                      <a:pt x="44" y="501"/>
                    </a:lnTo>
                    <a:lnTo>
                      <a:pt x="44" y="499"/>
                    </a:lnTo>
                    <a:lnTo>
                      <a:pt x="44" y="497"/>
                    </a:lnTo>
                    <a:lnTo>
                      <a:pt x="42" y="497"/>
                    </a:lnTo>
                    <a:lnTo>
                      <a:pt x="42" y="496"/>
                    </a:lnTo>
                    <a:lnTo>
                      <a:pt x="40" y="496"/>
                    </a:lnTo>
                    <a:lnTo>
                      <a:pt x="38" y="496"/>
                    </a:lnTo>
                    <a:lnTo>
                      <a:pt x="38" y="494"/>
                    </a:lnTo>
                    <a:lnTo>
                      <a:pt x="38" y="496"/>
                    </a:lnTo>
                    <a:lnTo>
                      <a:pt x="38" y="494"/>
                    </a:lnTo>
                    <a:lnTo>
                      <a:pt x="36" y="494"/>
                    </a:lnTo>
                    <a:lnTo>
                      <a:pt x="36" y="492"/>
                    </a:lnTo>
                    <a:lnTo>
                      <a:pt x="34" y="492"/>
                    </a:lnTo>
                    <a:lnTo>
                      <a:pt x="34" y="490"/>
                    </a:lnTo>
                    <a:lnTo>
                      <a:pt x="33" y="490"/>
                    </a:lnTo>
                    <a:lnTo>
                      <a:pt x="31" y="488"/>
                    </a:lnTo>
                    <a:lnTo>
                      <a:pt x="29" y="488"/>
                    </a:lnTo>
                    <a:lnTo>
                      <a:pt x="29" y="486"/>
                    </a:lnTo>
                    <a:lnTo>
                      <a:pt x="27" y="486"/>
                    </a:lnTo>
                    <a:lnTo>
                      <a:pt x="27" y="484"/>
                    </a:lnTo>
                    <a:lnTo>
                      <a:pt x="29" y="484"/>
                    </a:lnTo>
                    <a:lnTo>
                      <a:pt x="27" y="484"/>
                    </a:lnTo>
                    <a:lnTo>
                      <a:pt x="27" y="482"/>
                    </a:lnTo>
                    <a:lnTo>
                      <a:pt x="27" y="484"/>
                    </a:lnTo>
                    <a:lnTo>
                      <a:pt x="25" y="484"/>
                    </a:lnTo>
                    <a:lnTo>
                      <a:pt x="25" y="482"/>
                    </a:lnTo>
                    <a:lnTo>
                      <a:pt x="23" y="482"/>
                    </a:lnTo>
                    <a:lnTo>
                      <a:pt x="21" y="482"/>
                    </a:lnTo>
                    <a:lnTo>
                      <a:pt x="21" y="480"/>
                    </a:lnTo>
                    <a:lnTo>
                      <a:pt x="19" y="480"/>
                    </a:lnTo>
                    <a:lnTo>
                      <a:pt x="17" y="480"/>
                    </a:lnTo>
                    <a:lnTo>
                      <a:pt x="17" y="482"/>
                    </a:lnTo>
                    <a:lnTo>
                      <a:pt x="15" y="482"/>
                    </a:lnTo>
                    <a:lnTo>
                      <a:pt x="17" y="482"/>
                    </a:lnTo>
                    <a:lnTo>
                      <a:pt x="15" y="480"/>
                    </a:lnTo>
                    <a:lnTo>
                      <a:pt x="13" y="480"/>
                    </a:lnTo>
                    <a:lnTo>
                      <a:pt x="13" y="478"/>
                    </a:lnTo>
                    <a:lnTo>
                      <a:pt x="11" y="478"/>
                    </a:lnTo>
                    <a:lnTo>
                      <a:pt x="13" y="478"/>
                    </a:lnTo>
                    <a:lnTo>
                      <a:pt x="13" y="476"/>
                    </a:lnTo>
                    <a:lnTo>
                      <a:pt x="15" y="476"/>
                    </a:lnTo>
                    <a:lnTo>
                      <a:pt x="15" y="474"/>
                    </a:lnTo>
                    <a:lnTo>
                      <a:pt x="15" y="472"/>
                    </a:lnTo>
                    <a:lnTo>
                      <a:pt x="17" y="472"/>
                    </a:lnTo>
                    <a:lnTo>
                      <a:pt x="17" y="474"/>
                    </a:lnTo>
                    <a:lnTo>
                      <a:pt x="19" y="474"/>
                    </a:lnTo>
                    <a:lnTo>
                      <a:pt x="21" y="474"/>
                    </a:lnTo>
                    <a:lnTo>
                      <a:pt x="21" y="472"/>
                    </a:lnTo>
                    <a:lnTo>
                      <a:pt x="23" y="472"/>
                    </a:lnTo>
                    <a:lnTo>
                      <a:pt x="25" y="472"/>
                    </a:lnTo>
                    <a:lnTo>
                      <a:pt x="25" y="471"/>
                    </a:lnTo>
                    <a:lnTo>
                      <a:pt x="25" y="469"/>
                    </a:lnTo>
                    <a:lnTo>
                      <a:pt x="27" y="469"/>
                    </a:lnTo>
                    <a:lnTo>
                      <a:pt x="25" y="467"/>
                    </a:lnTo>
                    <a:lnTo>
                      <a:pt x="23" y="465"/>
                    </a:lnTo>
                    <a:lnTo>
                      <a:pt x="23" y="463"/>
                    </a:lnTo>
                    <a:lnTo>
                      <a:pt x="23" y="461"/>
                    </a:lnTo>
                    <a:lnTo>
                      <a:pt x="23" y="459"/>
                    </a:lnTo>
                    <a:lnTo>
                      <a:pt x="23" y="457"/>
                    </a:lnTo>
                    <a:lnTo>
                      <a:pt x="25" y="455"/>
                    </a:lnTo>
                    <a:lnTo>
                      <a:pt x="25" y="453"/>
                    </a:lnTo>
                    <a:lnTo>
                      <a:pt x="23" y="451"/>
                    </a:lnTo>
                    <a:lnTo>
                      <a:pt x="23" y="449"/>
                    </a:lnTo>
                    <a:lnTo>
                      <a:pt x="25" y="447"/>
                    </a:lnTo>
                    <a:lnTo>
                      <a:pt x="25" y="446"/>
                    </a:lnTo>
                    <a:lnTo>
                      <a:pt x="27" y="446"/>
                    </a:lnTo>
                    <a:lnTo>
                      <a:pt x="29" y="446"/>
                    </a:lnTo>
                    <a:lnTo>
                      <a:pt x="29" y="444"/>
                    </a:lnTo>
                    <a:lnTo>
                      <a:pt x="29" y="442"/>
                    </a:lnTo>
                    <a:lnTo>
                      <a:pt x="31" y="440"/>
                    </a:lnTo>
                    <a:lnTo>
                      <a:pt x="29" y="440"/>
                    </a:lnTo>
                    <a:lnTo>
                      <a:pt x="29" y="438"/>
                    </a:lnTo>
                    <a:lnTo>
                      <a:pt x="27" y="436"/>
                    </a:lnTo>
                    <a:lnTo>
                      <a:pt x="23" y="434"/>
                    </a:lnTo>
                    <a:lnTo>
                      <a:pt x="21" y="434"/>
                    </a:lnTo>
                    <a:lnTo>
                      <a:pt x="21" y="432"/>
                    </a:lnTo>
                    <a:lnTo>
                      <a:pt x="19" y="432"/>
                    </a:lnTo>
                    <a:lnTo>
                      <a:pt x="17" y="432"/>
                    </a:lnTo>
                    <a:lnTo>
                      <a:pt x="15" y="432"/>
                    </a:lnTo>
                    <a:lnTo>
                      <a:pt x="15" y="430"/>
                    </a:lnTo>
                    <a:lnTo>
                      <a:pt x="15" y="428"/>
                    </a:lnTo>
                    <a:lnTo>
                      <a:pt x="15" y="426"/>
                    </a:lnTo>
                    <a:lnTo>
                      <a:pt x="15" y="428"/>
                    </a:lnTo>
                    <a:lnTo>
                      <a:pt x="11" y="428"/>
                    </a:lnTo>
                    <a:lnTo>
                      <a:pt x="11" y="426"/>
                    </a:lnTo>
                    <a:lnTo>
                      <a:pt x="9" y="424"/>
                    </a:lnTo>
                    <a:lnTo>
                      <a:pt x="8" y="424"/>
                    </a:lnTo>
                    <a:lnTo>
                      <a:pt x="6" y="422"/>
                    </a:lnTo>
                    <a:lnTo>
                      <a:pt x="8" y="422"/>
                    </a:lnTo>
                    <a:lnTo>
                      <a:pt x="8" y="421"/>
                    </a:lnTo>
                    <a:lnTo>
                      <a:pt x="6" y="421"/>
                    </a:lnTo>
                    <a:lnTo>
                      <a:pt x="4" y="419"/>
                    </a:lnTo>
                    <a:lnTo>
                      <a:pt x="2" y="417"/>
                    </a:lnTo>
                    <a:lnTo>
                      <a:pt x="0" y="417"/>
                    </a:lnTo>
                    <a:lnTo>
                      <a:pt x="0" y="415"/>
                    </a:lnTo>
                    <a:lnTo>
                      <a:pt x="2" y="413"/>
                    </a:lnTo>
                    <a:lnTo>
                      <a:pt x="4" y="413"/>
                    </a:lnTo>
                    <a:lnTo>
                      <a:pt x="6" y="413"/>
                    </a:lnTo>
                    <a:lnTo>
                      <a:pt x="6" y="411"/>
                    </a:lnTo>
                    <a:lnTo>
                      <a:pt x="8" y="413"/>
                    </a:lnTo>
                    <a:lnTo>
                      <a:pt x="9" y="413"/>
                    </a:lnTo>
                    <a:lnTo>
                      <a:pt x="9" y="415"/>
                    </a:lnTo>
                    <a:lnTo>
                      <a:pt x="9" y="413"/>
                    </a:lnTo>
                    <a:lnTo>
                      <a:pt x="11" y="413"/>
                    </a:lnTo>
                    <a:lnTo>
                      <a:pt x="13" y="415"/>
                    </a:lnTo>
                    <a:lnTo>
                      <a:pt x="15" y="415"/>
                    </a:lnTo>
                    <a:lnTo>
                      <a:pt x="17" y="417"/>
                    </a:lnTo>
                    <a:lnTo>
                      <a:pt x="19" y="419"/>
                    </a:lnTo>
                    <a:lnTo>
                      <a:pt x="19" y="417"/>
                    </a:lnTo>
                    <a:lnTo>
                      <a:pt x="21" y="417"/>
                    </a:lnTo>
                    <a:lnTo>
                      <a:pt x="21" y="415"/>
                    </a:lnTo>
                    <a:lnTo>
                      <a:pt x="23" y="415"/>
                    </a:lnTo>
                    <a:lnTo>
                      <a:pt x="21" y="413"/>
                    </a:lnTo>
                    <a:lnTo>
                      <a:pt x="17" y="411"/>
                    </a:lnTo>
                    <a:lnTo>
                      <a:pt x="15" y="411"/>
                    </a:lnTo>
                    <a:lnTo>
                      <a:pt x="15" y="409"/>
                    </a:lnTo>
                    <a:lnTo>
                      <a:pt x="17" y="409"/>
                    </a:lnTo>
                    <a:lnTo>
                      <a:pt x="15" y="409"/>
                    </a:lnTo>
                    <a:lnTo>
                      <a:pt x="15" y="407"/>
                    </a:lnTo>
                    <a:lnTo>
                      <a:pt x="15" y="405"/>
                    </a:lnTo>
                    <a:lnTo>
                      <a:pt x="15" y="403"/>
                    </a:lnTo>
                    <a:lnTo>
                      <a:pt x="17" y="403"/>
                    </a:lnTo>
                    <a:lnTo>
                      <a:pt x="17" y="401"/>
                    </a:lnTo>
                    <a:lnTo>
                      <a:pt x="19" y="403"/>
                    </a:lnTo>
                    <a:lnTo>
                      <a:pt x="19" y="401"/>
                    </a:lnTo>
                    <a:lnTo>
                      <a:pt x="19" y="399"/>
                    </a:lnTo>
                    <a:lnTo>
                      <a:pt x="17" y="397"/>
                    </a:lnTo>
                    <a:lnTo>
                      <a:pt x="17" y="396"/>
                    </a:lnTo>
                    <a:lnTo>
                      <a:pt x="15" y="394"/>
                    </a:lnTo>
                    <a:lnTo>
                      <a:pt x="15" y="392"/>
                    </a:lnTo>
                    <a:lnTo>
                      <a:pt x="13" y="390"/>
                    </a:lnTo>
                    <a:lnTo>
                      <a:pt x="13" y="388"/>
                    </a:lnTo>
                    <a:lnTo>
                      <a:pt x="11" y="388"/>
                    </a:lnTo>
                    <a:lnTo>
                      <a:pt x="11" y="386"/>
                    </a:lnTo>
                    <a:lnTo>
                      <a:pt x="15" y="386"/>
                    </a:lnTo>
                    <a:lnTo>
                      <a:pt x="15" y="384"/>
                    </a:lnTo>
                    <a:lnTo>
                      <a:pt x="17" y="386"/>
                    </a:lnTo>
                    <a:lnTo>
                      <a:pt x="17" y="384"/>
                    </a:lnTo>
                    <a:lnTo>
                      <a:pt x="19" y="384"/>
                    </a:lnTo>
                    <a:lnTo>
                      <a:pt x="19" y="382"/>
                    </a:lnTo>
                    <a:lnTo>
                      <a:pt x="17" y="382"/>
                    </a:lnTo>
                    <a:lnTo>
                      <a:pt x="17" y="380"/>
                    </a:lnTo>
                    <a:lnTo>
                      <a:pt x="17" y="378"/>
                    </a:lnTo>
                    <a:lnTo>
                      <a:pt x="17" y="376"/>
                    </a:lnTo>
                    <a:lnTo>
                      <a:pt x="19" y="376"/>
                    </a:lnTo>
                    <a:lnTo>
                      <a:pt x="19" y="374"/>
                    </a:lnTo>
                    <a:lnTo>
                      <a:pt x="19" y="372"/>
                    </a:lnTo>
                    <a:lnTo>
                      <a:pt x="17" y="372"/>
                    </a:lnTo>
                    <a:lnTo>
                      <a:pt x="17" y="371"/>
                    </a:lnTo>
                    <a:lnTo>
                      <a:pt x="17" y="369"/>
                    </a:lnTo>
                    <a:lnTo>
                      <a:pt x="15" y="367"/>
                    </a:lnTo>
                    <a:lnTo>
                      <a:pt x="15" y="365"/>
                    </a:lnTo>
                    <a:lnTo>
                      <a:pt x="15" y="363"/>
                    </a:lnTo>
                    <a:lnTo>
                      <a:pt x="15" y="361"/>
                    </a:lnTo>
                    <a:lnTo>
                      <a:pt x="13" y="361"/>
                    </a:lnTo>
                    <a:lnTo>
                      <a:pt x="15" y="359"/>
                    </a:lnTo>
                    <a:lnTo>
                      <a:pt x="15" y="357"/>
                    </a:lnTo>
                    <a:lnTo>
                      <a:pt x="17" y="357"/>
                    </a:lnTo>
                    <a:lnTo>
                      <a:pt x="19" y="357"/>
                    </a:lnTo>
                    <a:lnTo>
                      <a:pt x="21" y="357"/>
                    </a:lnTo>
                    <a:lnTo>
                      <a:pt x="19" y="355"/>
                    </a:lnTo>
                    <a:lnTo>
                      <a:pt x="19" y="351"/>
                    </a:lnTo>
                    <a:lnTo>
                      <a:pt x="19" y="349"/>
                    </a:lnTo>
                    <a:lnTo>
                      <a:pt x="17" y="349"/>
                    </a:lnTo>
                    <a:lnTo>
                      <a:pt x="15" y="349"/>
                    </a:lnTo>
                    <a:lnTo>
                      <a:pt x="15" y="347"/>
                    </a:lnTo>
                    <a:lnTo>
                      <a:pt x="17" y="347"/>
                    </a:lnTo>
                    <a:lnTo>
                      <a:pt x="17" y="346"/>
                    </a:lnTo>
                    <a:lnTo>
                      <a:pt x="17" y="344"/>
                    </a:lnTo>
                    <a:lnTo>
                      <a:pt x="15" y="344"/>
                    </a:lnTo>
                    <a:lnTo>
                      <a:pt x="15" y="342"/>
                    </a:lnTo>
                    <a:lnTo>
                      <a:pt x="17" y="342"/>
                    </a:lnTo>
                    <a:lnTo>
                      <a:pt x="19" y="342"/>
                    </a:lnTo>
                    <a:lnTo>
                      <a:pt x="19" y="340"/>
                    </a:lnTo>
                    <a:lnTo>
                      <a:pt x="19" y="338"/>
                    </a:lnTo>
                    <a:lnTo>
                      <a:pt x="19" y="336"/>
                    </a:lnTo>
                    <a:lnTo>
                      <a:pt x="21" y="336"/>
                    </a:lnTo>
                    <a:lnTo>
                      <a:pt x="19" y="334"/>
                    </a:lnTo>
                    <a:lnTo>
                      <a:pt x="21" y="334"/>
                    </a:lnTo>
                    <a:lnTo>
                      <a:pt x="21" y="332"/>
                    </a:lnTo>
                    <a:lnTo>
                      <a:pt x="23" y="332"/>
                    </a:lnTo>
                    <a:lnTo>
                      <a:pt x="23" y="330"/>
                    </a:lnTo>
                    <a:lnTo>
                      <a:pt x="23" y="328"/>
                    </a:lnTo>
                    <a:lnTo>
                      <a:pt x="23" y="330"/>
                    </a:lnTo>
                    <a:lnTo>
                      <a:pt x="25" y="330"/>
                    </a:lnTo>
                    <a:lnTo>
                      <a:pt x="27" y="330"/>
                    </a:lnTo>
                    <a:lnTo>
                      <a:pt x="27" y="328"/>
                    </a:lnTo>
                    <a:lnTo>
                      <a:pt x="29" y="328"/>
                    </a:lnTo>
                    <a:lnTo>
                      <a:pt x="29" y="326"/>
                    </a:lnTo>
                    <a:lnTo>
                      <a:pt x="27" y="326"/>
                    </a:lnTo>
                    <a:lnTo>
                      <a:pt x="29" y="324"/>
                    </a:lnTo>
                    <a:lnTo>
                      <a:pt x="29" y="322"/>
                    </a:lnTo>
                    <a:lnTo>
                      <a:pt x="31" y="322"/>
                    </a:lnTo>
                    <a:lnTo>
                      <a:pt x="33" y="322"/>
                    </a:lnTo>
                    <a:lnTo>
                      <a:pt x="34" y="324"/>
                    </a:lnTo>
                    <a:lnTo>
                      <a:pt x="36" y="324"/>
                    </a:lnTo>
                    <a:lnTo>
                      <a:pt x="38" y="324"/>
                    </a:lnTo>
                    <a:lnTo>
                      <a:pt x="40" y="324"/>
                    </a:lnTo>
                    <a:lnTo>
                      <a:pt x="40" y="322"/>
                    </a:lnTo>
                    <a:lnTo>
                      <a:pt x="42" y="321"/>
                    </a:lnTo>
                    <a:lnTo>
                      <a:pt x="44" y="321"/>
                    </a:lnTo>
                    <a:lnTo>
                      <a:pt x="46" y="319"/>
                    </a:lnTo>
                    <a:lnTo>
                      <a:pt x="48" y="319"/>
                    </a:lnTo>
                    <a:lnTo>
                      <a:pt x="50" y="319"/>
                    </a:lnTo>
                    <a:lnTo>
                      <a:pt x="52" y="319"/>
                    </a:lnTo>
                    <a:lnTo>
                      <a:pt x="54" y="319"/>
                    </a:lnTo>
                    <a:lnTo>
                      <a:pt x="56" y="319"/>
                    </a:lnTo>
                    <a:lnTo>
                      <a:pt x="57" y="319"/>
                    </a:lnTo>
                    <a:lnTo>
                      <a:pt x="59" y="321"/>
                    </a:lnTo>
                    <a:lnTo>
                      <a:pt x="59" y="319"/>
                    </a:lnTo>
                    <a:lnTo>
                      <a:pt x="61" y="321"/>
                    </a:lnTo>
                    <a:lnTo>
                      <a:pt x="63" y="321"/>
                    </a:lnTo>
                    <a:lnTo>
                      <a:pt x="63" y="319"/>
                    </a:lnTo>
                    <a:lnTo>
                      <a:pt x="63" y="317"/>
                    </a:lnTo>
                    <a:lnTo>
                      <a:pt x="63" y="315"/>
                    </a:lnTo>
                    <a:lnTo>
                      <a:pt x="65" y="315"/>
                    </a:lnTo>
                    <a:lnTo>
                      <a:pt x="67" y="315"/>
                    </a:lnTo>
                    <a:lnTo>
                      <a:pt x="67" y="313"/>
                    </a:lnTo>
                    <a:lnTo>
                      <a:pt x="67" y="315"/>
                    </a:lnTo>
                    <a:lnTo>
                      <a:pt x="69" y="315"/>
                    </a:lnTo>
                    <a:lnTo>
                      <a:pt x="69" y="317"/>
                    </a:lnTo>
                    <a:lnTo>
                      <a:pt x="71" y="317"/>
                    </a:lnTo>
                    <a:lnTo>
                      <a:pt x="73" y="317"/>
                    </a:lnTo>
                    <a:lnTo>
                      <a:pt x="75" y="315"/>
                    </a:lnTo>
                    <a:lnTo>
                      <a:pt x="75" y="313"/>
                    </a:lnTo>
                    <a:lnTo>
                      <a:pt x="77" y="313"/>
                    </a:lnTo>
                    <a:lnTo>
                      <a:pt x="77" y="315"/>
                    </a:lnTo>
                    <a:lnTo>
                      <a:pt x="79" y="313"/>
                    </a:lnTo>
                    <a:lnTo>
                      <a:pt x="81" y="315"/>
                    </a:lnTo>
                    <a:lnTo>
                      <a:pt x="82" y="315"/>
                    </a:lnTo>
                    <a:lnTo>
                      <a:pt x="82" y="313"/>
                    </a:lnTo>
                    <a:lnTo>
                      <a:pt x="82" y="311"/>
                    </a:lnTo>
                    <a:lnTo>
                      <a:pt x="84" y="311"/>
                    </a:lnTo>
                    <a:lnTo>
                      <a:pt x="82" y="311"/>
                    </a:lnTo>
                    <a:lnTo>
                      <a:pt x="82" y="309"/>
                    </a:lnTo>
                    <a:lnTo>
                      <a:pt x="84" y="307"/>
                    </a:lnTo>
                    <a:lnTo>
                      <a:pt x="82" y="307"/>
                    </a:lnTo>
                    <a:lnTo>
                      <a:pt x="82" y="305"/>
                    </a:lnTo>
                    <a:lnTo>
                      <a:pt x="82" y="303"/>
                    </a:lnTo>
                    <a:lnTo>
                      <a:pt x="82" y="301"/>
                    </a:lnTo>
                    <a:lnTo>
                      <a:pt x="82" y="299"/>
                    </a:lnTo>
                    <a:lnTo>
                      <a:pt x="81" y="298"/>
                    </a:lnTo>
                    <a:lnTo>
                      <a:pt x="82" y="298"/>
                    </a:lnTo>
                    <a:lnTo>
                      <a:pt x="82" y="296"/>
                    </a:lnTo>
                    <a:lnTo>
                      <a:pt x="82" y="294"/>
                    </a:lnTo>
                    <a:lnTo>
                      <a:pt x="82" y="292"/>
                    </a:lnTo>
                    <a:lnTo>
                      <a:pt x="82" y="290"/>
                    </a:lnTo>
                    <a:lnTo>
                      <a:pt x="84" y="290"/>
                    </a:lnTo>
                    <a:lnTo>
                      <a:pt x="84" y="288"/>
                    </a:lnTo>
                    <a:lnTo>
                      <a:pt x="84" y="286"/>
                    </a:lnTo>
                    <a:lnTo>
                      <a:pt x="86" y="284"/>
                    </a:lnTo>
                    <a:lnTo>
                      <a:pt x="88" y="284"/>
                    </a:lnTo>
                    <a:lnTo>
                      <a:pt x="88" y="282"/>
                    </a:lnTo>
                    <a:lnTo>
                      <a:pt x="90" y="280"/>
                    </a:lnTo>
                    <a:lnTo>
                      <a:pt x="92" y="280"/>
                    </a:lnTo>
                    <a:lnTo>
                      <a:pt x="92" y="282"/>
                    </a:lnTo>
                    <a:lnTo>
                      <a:pt x="94" y="282"/>
                    </a:lnTo>
                    <a:lnTo>
                      <a:pt x="94" y="284"/>
                    </a:lnTo>
                    <a:lnTo>
                      <a:pt x="96" y="284"/>
                    </a:lnTo>
                    <a:lnTo>
                      <a:pt x="96" y="282"/>
                    </a:lnTo>
                    <a:lnTo>
                      <a:pt x="98" y="282"/>
                    </a:lnTo>
                    <a:lnTo>
                      <a:pt x="100" y="284"/>
                    </a:lnTo>
                    <a:lnTo>
                      <a:pt x="102" y="284"/>
                    </a:lnTo>
                    <a:lnTo>
                      <a:pt x="102" y="282"/>
                    </a:lnTo>
                    <a:lnTo>
                      <a:pt x="104" y="284"/>
                    </a:lnTo>
                    <a:lnTo>
                      <a:pt x="104" y="282"/>
                    </a:lnTo>
                    <a:lnTo>
                      <a:pt x="106" y="282"/>
                    </a:lnTo>
                    <a:lnTo>
                      <a:pt x="106" y="280"/>
                    </a:lnTo>
                    <a:lnTo>
                      <a:pt x="107" y="282"/>
                    </a:lnTo>
                    <a:lnTo>
                      <a:pt x="109" y="282"/>
                    </a:lnTo>
                    <a:lnTo>
                      <a:pt x="111" y="282"/>
                    </a:lnTo>
                    <a:lnTo>
                      <a:pt x="113" y="282"/>
                    </a:lnTo>
                    <a:lnTo>
                      <a:pt x="115" y="282"/>
                    </a:lnTo>
                    <a:lnTo>
                      <a:pt x="115" y="280"/>
                    </a:lnTo>
                    <a:lnTo>
                      <a:pt x="117" y="280"/>
                    </a:lnTo>
                    <a:lnTo>
                      <a:pt x="117" y="282"/>
                    </a:lnTo>
                    <a:lnTo>
                      <a:pt x="119" y="282"/>
                    </a:lnTo>
                    <a:lnTo>
                      <a:pt x="119" y="280"/>
                    </a:lnTo>
                    <a:lnTo>
                      <a:pt x="121" y="280"/>
                    </a:lnTo>
                    <a:lnTo>
                      <a:pt x="121" y="278"/>
                    </a:lnTo>
                    <a:lnTo>
                      <a:pt x="121" y="276"/>
                    </a:lnTo>
                    <a:lnTo>
                      <a:pt x="123" y="276"/>
                    </a:lnTo>
                    <a:lnTo>
                      <a:pt x="123" y="274"/>
                    </a:lnTo>
                    <a:lnTo>
                      <a:pt x="125" y="273"/>
                    </a:lnTo>
                    <a:lnTo>
                      <a:pt x="127" y="273"/>
                    </a:lnTo>
                    <a:lnTo>
                      <a:pt x="127" y="271"/>
                    </a:lnTo>
                    <a:lnTo>
                      <a:pt x="127" y="269"/>
                    </a:lnTo>
                    <a:lnTo>
                      <a:pt x="129" y="269"/>
                    </a:lnTo>
                    <a:lnTo>
                      <a:pt x="129" y="271"/>
                    </a:lnTo>
                    <a:lnTo>
                      <a:pt x="129" y="269"/>
                    </a:lnTo>
                    <a:lnTo>
                      <a:pt x="130" y="269"/>
                    </a:lnTo>
                    <a:lnTo>
                      <a:pt x="129" y="269"/>
                    </a:lnTo>
                    <a:lnTo>
                      <a:pt x="130" y="267"/>
                    </a:lnTo>
                    <a:lnTo>
                      <a:pt x="130" y="265"/>
                    </a:lnTo>
                    <a:lnTo>
                      <a:pt x="130" y="263"/>
                    </a:lnTo>
                    <a:lnTo>
                      <a:pt x="130" y="261"/>
                    </a:lnTo>
                    <a:lnTo>
                      <a:pt x="132" y="261"/>
                    </a:lnTo>
                    <a:lnTo>
                      <a:pt x="134" y="261"/>
                    </a:lnTo>
                    <a:lnTo>
                      <a:pt x="134" y="259"/>
                    </a:lnTo>
                    <a:lnTo>
                      <a:pt x="134" y="257"/>
                    </a:lnTo>
                    <a:lnTo>
                      <a:pt x="132" y="255"/>
                    </a:lnTo>
                    <a:lnTo>
                      <a:pt x="132" y="253"/>
                    </a:lnTo>
                    <a:lnTo>
                      <a:pt x="130" y="253"/>
                    </a:lnTo>
                    <a:lnTo>
                      <a:pt x="132" y="253"/>
                    </a:lnTo>
                    <a:lnTo>
                      <a:pt x="132" y="251"/>
                    </a:lnTo>
                    <a:lnTo>
                      <a:pt x="132" y="249"/>
                    </a:lnTo>
                    <a:lnTo>
                      <a:pt x="132" y="248"/>
                    </a:lnTo>
                    <a:lnTo>
                      <a:pt x="132" y="246"/>
                    </a:lnTo>
                    <a:lnTo>
                      <a:pt x="134" y="244"/>
                    </a:lnTo>
                    <a:lnTo>
                      <a:pt x="136" y="244"/>
                    </a:lnTo>
                    <a:lnTo>
                      <a:pt x="138" y="242"/>
                    </a:lnTo>
                    <a:lnTo>
                      <a:pt x="140" y="242"/>
                    </a:lnTo>
                    <a:lnTo>
                      <a:pt x="140" y="240"/>
                    </a:lnTo>
                    <a:lnTo>
                      <a:pt x="142" y="240"/>
                    </a:lnTo>
                    <a:lnTo>
                      <a:pt x="142" y="238"/>
                    </a:lnTo>
                    <a:lnTo>
                      <a:pt x="142" y="236"/>
                    </a:lnTo>
                    <a:lnTo>
                      <a:pt x="144" y="236"/>
                    </a:lnTo>
                    <a:lnTo>
                      <a:pt x="144" y="238"/>
                    </a:lnTo>
                    <a:lnTo>
                      <a:pt x="146" y="238"/>
                    </a:lnTo>
                    <a:lnTo>
                      <a:pt x="146" y="240"/>
                    </a:lnTo>
                    <a:lnTo>
                      <a:pt x="146" y="242"/>
                    </a:lnTo>
                    <a:lnTo>
                      <a:pt x="146" y="244"/>
                    </a:lnTo>
                    <a:lnTo>
                      <a:pt x="148" y="244"/>
                    </a:lnTo>
                    <a:lnTo>
                      <a:pt x="148" y="242"/>
                    </a:lnTo>
                    <a:lnTo>
                      <a:pt x="150" y="242"/>
                    </a:lnTo>
                    <a:lnTo>
                      <a:pt x="152" y="242"/>
                    </a:lnTo>
                    <a:lnTo>
                      <a:pt x="152" y="240"/>
                    </a:lnTo>
                    <a:lnTo>
                      <a:pt x="152" y="238"/>
                    </a:lnTo>
                    <a:lnTo>
                      <a:pt x="150" y="238"/>
                    </a:lnTo>
                    <a:lnTo>
                      <a:pt x="148" y="234"/>
                    </a:lnTo>
                    <a:lnTo>
                      <a:pt x="146" y="234"/>
                    </a:lnTo>
                    <a:lnTo>
                      <a:pt x="146" y="232"/>
                    </a:lnTo>
                    <a:lnTo>
                      <a:pt x="146" y="230"/>
                    </a:lnTo>
                    <a:lnTo>
                      <a:pt x="144" y="228"/>
                    </a:lnTo>
                    <a:lnTo>
                      <a:pt x="146" y="226"/>
                    </a:lnTo>
                    <a:lnTo>
                      <a:pt x="146" y="224"/>
                    </a:lnTo>
                    <a:lnTo>
                      <a:pt x="144" y="224"/>
                    </a:lnTo>
                    <a:lnTo>
                      <a:pt x="144" y="223"/>
                    </a:lnTo>
                    <a:lnTo>
                      <a:pt x="142" y="221"/>
                    </a:lnTo>
                    <a:lnTo>
                      <a:pt x="142" y="217"/>
                    </a:lnTo>
                    <a:lnTo>
                      <a:pt x="140" y="217"/>
                    </a:lnTo>
                    <a:lnTo>
                      <a:pt x="140" y="215"/>
                    </a:lnTo>
                    <a:lnTo>
                      <a:pt x="138" y="215"/>
                    </a:lnTo>
                    <a:lnTo>
                      <a:pt x="138" y="213"/>
                    </a:lnTo>
                    <a:lnTo>
                      <a:pt x="138" y="211"/>
                    </a:lnTo>
                    <a:lnTo>
                      <a:pt x="136" y="211"/>
                    </a:lnTo>
                    <a:lnTo>
                      <a:pt x="134" y="209"/>
                    </a:lnTo>
                    <a:lnTo>
                      <a:pt x="134" y="207"/>
                    </a:lnTo>
                    <a:lnTo>
                      <a:pt x="134" y="205"/>
                    </a:lnTo>
                    <a:lnTo>
                      <a:pt x="134" y="203"/>
                    </a:lnTo>
                    <a:lnTo>
                      <a:pt x="136" y="201"/>
                    </a:lnTo>
                    <a:lnTo>
                      <a:pt x="134" y="199"/>
                    </a:lnTo>
                    <a:lnTo>
                      <a:pt x="134" y="198"/>
                    </a:lnTo>
                    <a:lnTo>
                      <a:pt x="132" y="196"/>
                    </a:lnTo>
                    <a:lnTo>
                      <a:pt x="132" y="194"/>
                    </a:lnTo>
                    <a:lnTo>
                      <a:pt x="130" y="194"/>
                    </a:lnTo>
                    <a:lnTo>
                      <a:pt x="130" y="192"/>
                    </a:lnTo>
                    <a:lnTo>
                      <a:pt x="130" y="190"/>
                    </a:lnTo>
                    <a:lnTo>
                      <a:pt x="130" y="186"/>
                    </a:lnTo>
                    <a:lnTo>
                      <a:pt x="129" y="186"/>
                    </a:lnTo>
                    <a:lnTo>
                      <a:pt x="129" y="184"/>
                    </a:lnTo>
                    <a:lnTo>
                      <a:pt x="129" y="182"/>
                    </a:lnTo>
                    <a:lnTo>
                      <a:pt x="129" y="180"/>
                    </a:lnTo>
                    <a:lnTo>
                      <a:pt x="129" y="178"/>
                    </a:lnTo>
                    <a:lnTo>
                      <a:pt x="129" y="176"/>
                    </a:lnTo>
                    <a:lnTo>
                      <a:pt x="127" y="176"/>
                    </a:lnTo>
                    <a:lnTo>
                      <a:pt x="125" y="176"/>
                    </a:lnTo>
                    <a:lnTo>
                      <a:pt x="123" y="174"/>
                    </a:lnTo>
                    <a:lnTo>
                      <a:pt x="121" y="174"/>
                    </a:lnTo>
                    <a:lnTo>
                      <a:pt x="121" y="173"/>
                    </a:lnTo>
                    <a:lnTo>
                      <a:pt x="119" y="173"/>
                    </a:lnTo>
                    <a:lnTo>
                      <a:pt x="117" y="171"/>
                    </a:lnTo>
                    <a:lnTo>
                      <a:pt x="117" y="169"/>
                    </a:lnTo>
                    <a:lnTo>
                      <a:pt x="117" y="167"/>
                    </a:lnTo>
                    <a:lnTo>
                      <a:pt x="117" y="165"/>
                    </a:lnTo>
                    <a:lnTo>
                      <a:pt x="117" y="163"/>
                    </a:lnTo>
                    <a:lnTo>
                      <a:pt x="117" y="161"/>
                    </a:lnTo>
                    <a:lnTo>
                      <a:pt x="117" y="159"/>
                    </a:lnTo>
                    <a:lnTo>
                      <a:pt x="117" y="157"/>
                    </a:lnTo>
                    <a:lnTo>
                      <a:pt x="115" y="157"/>
                    </a:lnTo>
                    <a:lnTo>
                      <a:pt x="115" y="155"/>
                    </a:lnTo>
                    <a:lnTo>
                      <a:pt x="113" y="153"/>
                    </a:lnTo>
                    <a:lnTo>
                      <a:pt x="115" y="153"/>
                    </a:lnTo>
                    <a:lnTo>
                      <a:pt x="117" y="153"/>
                    </a:lnTo>
                    <a:lnTo>
                      <a:pt x="117" y="151"/>
                    </a:lnTo>
                    <a:lnTo>
                      <a:pt x="117" y="149"/>
                    </a:lnTo>
                    <a:lnTo>
                      <a:pt x="119" y="149"/>
                    </a:lnTo>
                    <a:lnTo>
                      <a:pt x="119" y="148"/>
                    </a:lnTo>
                    <a:lnTo>
                      <a:pt x="119" y="146"/>
                    </a:lnTo>
                    <a:lnTo>
                      <a:pt x="121" y="146"/>
                    </a:lnTo>
                    <a:lnTo>
                      <a:pt x="121" y="144"/>
                    </a:lnTo>
                    <a:lnTo>
                      <a:pt x="119" y="144"/>
                    </a:lnTo>
                    <a:lnTo>
                      <a:pt x="119" y="142"/>
                    </a:lnTo>
                    <a:lnTo>
                      <a:pt x="117" y="140"/>
                    </a:lnTo>
                    <a:lnTo>
                      <a:pt x="117" y="138"/>
                    </a:lnTo>
                    <a:lnTo>
                      <a:pt x="117" y="136"/>
                    </a:lnTo>
                    <a:lnTo>
                      <a:pt x="119" y="136"/>
                    </a:lnTo>
                    <a:lnTo>
                      <a:pt x="121" y="136"/>
                    </a:lnTo>
                    <a:lnTo>
                      <a:pt x="121" y="134"/>
                    </a:lnTo>
                    <a:lnTo>
                      <a:pt x="123" y="134"/>
                    </a:lnTo>
                    <a:lnTo>
                      <a:pt x="125" y="134"/>
                    </a:lnTo>
                    <a:lnTo>
                      <a:pt x="125" y="132"/>
                    </a:lnTo>
                    <a:lnTo>
                      <a:pt x="127" y="132"/>
                    </a:lnTo>
                    <a:lnTo>
                      <a:pt x="127" y="130"/>
                    </a:lnTo>
                    <a:lnTo>
                      <a:pt x="127" y="128"/>
                    </a:lnTo>
                    <a:lnTo>
                      <a:pt x="125" y="126"/>
                    </a:lnTo>
                    <a:lnTo>
                      <a:pt x="123" y="126"/>
                    </a:lnTo>
                    <a:lnTo>
                      <a:pt x="125" y="126"/>
                    </a:lnTo>
                    <a:lnTo>
                      <a:pt x="125" y="124"/>
                    </a:lnTo>
                    <a:lnTo>
                      <a:pt x="129" y="124"/>
                    </a:lnTo>
                    <a:lnTo>
                      <a:pt x="130" y="123"/>
                    </a:lnTo>
                    <a:lnTo>
                      <a:pt x="130" y="121"/>
                    </a:lnTo>
                    <a:lnTo>
                      <a:pt x="130" y="119"/>
                    </a:lnTo>
                    <a:lnTo>
                      <a:pt x="132" y="117"/>
                    </a:lnTo>
                    <a:lnTo>
                      <a:pt x="134" y="119"/>
                    </a:lnTo>
                    <a:lnTo>
                      <a:pt x="134" y="117"/>
                    </a:lnTo>
                    <a:lnTo>
                      <a:pt x="136" y="117"/>
                    </a:lnTo>
                    <a:lnTo>
                      <a:pt x="136" y="115"/>
                    </a:lnTo>
                    <a:lnTo>
                      <a:pt x="136" y="113"/>
                    </a:lnTo>
                    <a:lnTo>
                      <a:pt x="136" y="111"/>
                    </a:lnTo>
                    <a:lnTo>
                      <a:pt x="134" y="109"/>
                    </a:lnTo>
                    <a:lnTo>
                      <a:pt x="134" y="107"/>
                    </a:lnTo>
                    <a:lnTo>
                      <a:pt x="134" y="105"/>
                    </a:lnTo>
                    <a:lnTo>
                      <a:pt x="134" y="103"/>
                    </a:lnTo>
                    <a:lnTo>
                      <a:pt x="136" y="105"/>
                    </a:lnTo>
                    <a:lnTo>
                      <a:pt x="136" y="103"/>
                    </a:lnTo>
                    <a:lnTo>
                      <a:pt x="136" y="101"/>
                    </a:lnTo>
                    <a:lnTo>
                      <a:pt x="134" y="101"/>
                    </a:lnTo>
                    <a:lnTo>
                      <a:pt x="136" y="99"/>
                    </a:lnTo>
                    <a:lnTo>
                      <a:pt x="136" y="98"/>
                    </a:lnTo>
                    <a:lnTo>
                      <a:pt x="136" y="96"/>
                    </a:lnTo>
                    <a:lnTo>
                      <a:pt x="136" y="94"/>
                    </a:lnTo>
                    <a:lnTo>
                      <a:pt x="136" y="92"/>
                    </a:lnTo>
                    <a:lnTo>
                      <a:pt x="136" y="90"/>
                    </a:lnTo>
                    <a:lnTo>
                      <a:pt x="136" y="88"/>
                    </a:lnTo>
                    <a:lnTo>
                      <a:pt x="134" y="88"/>
                    </a:lnTo>
                    <a:lnTo>
                      <a:pt x="134" y="86"/>
                    </a:lnTo>
                    <a:lnTo>
                      <a:pt x="132" y="86"/>
                    </a:lnTo>
                    <a:lnTo>
                      <a:pt x="132" y="84"/>
                    </a:lnTo>
                    <a:lnTo>
                      <a:pt x="132" y="82"/>
                    </a:lnTo>
                    <a:lnTo>
                      <a:pt x="134" y="80"/>
                    </a:lnTo>
                    <a:lnTo>
                      <a:pt x="136" y="80"/>
                    </a:lnTo>
                    <a:lnTo>
                      <a:pt x="136" y="78"/>
                    </a:lnTo>
                    <a:lnTo>
                      <a:pt x="136" y="76"/>
                    </a:lnTo>
                    <a:lnTo>
                      <a:pt x="138" y="76"/>
                    </a:lnTo>
                    <a:lnTo>
                      <a:pt x="138" y="74"/>
                    </a:lnTo>
                    <a:lnTo>
                      <a:pt x="138" y="73"/>
                    </a:lnTo>
                    <a:lnTo>
                      <a:pt x="136" y="73"/>
                    </a:lnTo>
                    <a:lnTo>
                      <a:pt x="136" y="71"/>
                    </a:lnTo>
                    <a:lnTo>
                      <a:pt x="136" y="69"/>
                    </a:lnTo>
                    <a:lnTo>
                      <a:pt x="136" y="67"/>
                    </a:lnTo>
                    <a:lnTo>
                      <a:pt x="136" y="65"/>
                    </a:lnTo>
                    <a:lnTo>
                      <a:pt x="134" y="65"/>
                    </a:lnTo>
                    <a:lnTo>
                      <a:pt x="134" y="63"/>
                    </a:lnTo>
                    <a:lnTo>
                      <a:pt x="132" y="63"/>
                    </a:lnTo>
                    <a:lnTo>
                      <a:pt x="132" y="61"/>
                    </a:lnTo>
                    <a:lnTo>
                      <a:pt x="132" y="59"/>
                    </a:lnTo>
                    <a:lnTo>
                      <a:pt x="130" y="57"/>
                    </a:lnTo>
                    <a:lnTo>
                      <a:pt x="130" y="55"/>
                    </a:lnTo>
                    <a:lnTo>
                      <a:pt x="130" y="53"/>
                    </a:lnTo>
                    <a:lnTo>
                      <a:pt x="132" y="53"/>
                    </a:lnTo>
                    <a:lnTo>
                      <a:pt x="132" y="51"/>
                    </a:lnTo>
                    <a:lnTo>
                      <a:pt x="130" y="51"/>
                    </a:lnTo>
                    <a:lnTo>
                      <a:pt x="132" y="51"/>
                    </a:lnTo>
                    <a:lnTo>
                      <a:pt x="132" y="50"/>
                    </a:lnTo>
                    <a:lnTo>
                      <a:pt x="136" y="50"/>
                    </a:lnTo>
                    <a:lnTo>
                      <a:pt x="136" y="48"/>
                    </a:lnTo>
                    <a:lnTo>
                      <a:pt x="138" y="46"/>
                    </a:lnTo>
                    <a:lnTo>
                      <a:pt x="136" y="46"/>
                    </a:lnTo>
                    <a:lnTo>
                      <a:pt x="138" y="44"/>
                    </a:lnTo>
                    <a:lnTo>
                      <a:pt x="136" y="44"/>
                    </a:lnTo>
                    <a:lnTo>
                      <a:pt x="136" y="42"/>
                    </a:lnTo>
                    <a:lnTo>
                      <a:pt x="136" y="40"/>
                    </a:lnTo>
                    <a:lnTo>
                      <a:pt x="138" y="40"/>
                    </a:lnTo>
                    <a:lnTo>
                      <a:pt x="138" y="38"/>
                    </a:lnTo>
                    <a:lnTo>
                      <a:pt x="140" y="38"/>
                    </a:lnTo>
                    <a:lnTo>
                      <a:pt x="140" y="40"/>
                    </a:lnTo>
                    <a:lnTo>
                      <a:pt x="142" y="40"/>
                    </a:lnTo>
                    <a:lnTo>
                      <a:pt x="144" y="40"/>
                    </a:lnTo>
                    <a:lnTo>
                      <a:pt x="144" y="38"/>
                    </a:lnTo>
                    <a:lnTo>
                      <a:pt x="146" y="38"/>
                    </a:lnTo>
                    <a:lnTo>
                      <a:pt x="146" y="40"/>
                    </a:lnTo>
                    <a:lnTo>
                      <a:pt x="148" y="42"/>
                    </a:lnTo>
                    <a:lnTo>
                      <a:pt x="150" y="42"/>
                    </a:lnTo>
                    <a:lnTo>
                      <a:pt x="152" y="42"/>
                    </a:lnTo>
                    <a:lnTo>
                      <a:pt x="154" y="40"/>
                    </a:lnTo>
                    <a:lnTo>
                      <a:pt x="155" y="42"/>
                    </a:lnTo>
                    <a:lnTo>
                      <a:pt x="157" y="42"/>
                    </a:lnTo>
                    <a:lnTo>
                      <a:pt x="157" y="44"/>
                    </a:lnTo>
                    <a:lnTo>
                      <a:pt x="159" y="44"/>
                    </a:lnTo>
                    <a:lnTo>
                      <a:pt x="161" y="46"/>
                    </a:lnTo>
                    <a:lnTo>
                      <a:pt x="161" y="44"/>
                    </a:lnTo>
                    <a:lnTo>
                      <a:pt x="163" y="46"/>
                    </a:lnTo>
                    <a:lnTo>
                      <a:pt x="165" y="46"/>
                    </a:lnTo>
                    <a:lnTo>
                      <a:pt x="165" y="48"/>
                    </a:lnTo>
                    <a:lnTo>
                      <a:pt x="167" y="50"/>
                    </a:lnTo>
                    <a:lnTo>
                      <a:pt x="167" y="51"/>
                    </a:lnTo>
                    <a:lnTo>
                      <a:pt x="169" y="51"/>
                    </a:lnTo>
                    <a:lnTo>
                      <a:pt x="171" y="51"/>
                    </a:lnTo>
                    <a:lnTo>
                      <a:pt x="171" y="53"/>
                    </a:lnTo>
                    <a:lnTo>
                      <a:pt x="173" y="53"/>
                    </a:lnTo>
                    <a:lnTo>
                      <a:pt x="173" y="51"/>
                    </a:lnTo>
                    <a:lnTo>
                      <a:pt x="173" y="53"/>
                    </a:lnTo>
                    <a:lnTo>
                      <a:pt x="175" y="53"/>
                    </a:lnTo>
                    <a:lnTo>
                      <a:pt x="177" y="51"/>
                    </a:lnTo>
                    <a:lnTo>
                      <a:pt x="179" y="53"/>
                    </a:lnTo>
                    <a:lnTo>
                      <a:pt x="177" y="53"/>
                    </a:lnTo>
                    <a:lnTo>
                      <a:pt x="179" y="53"/>
                    </a:lnTo>
                    <a:lnTo>
                      <a:pt x="179" y="55"/>
                    </a:lnTo>
                    <a:lnTo>
                      <a:pt x="180" y="55"/>
                    </a:lnTo>
                    <a:lnTo>
                      <a:pt x="180" y="53"/>
                    </a:lnTo>
                    <a:lnTo>
                      <a:pt x="182" y="53"/>
                    </a:lnTo>
                    <a:lnTo>
                      <a:pt x="182" y="51"/>
                    </a:lnTo>
                    <a:lnTo>
                      <a:pt x="184" y="51"/>
                    </a:lnTo>
                    <a:lnTo>
                      <a:pt x="184" y="50"/>
                    </a:lnTo>
                    <a:lnTo>
                      <a:pt x="184" y="48"/>
                    </a:lnTo>
                    <a:lnTo>
                      <a:pt x="186" y="48"/>
                    </a:lnTo>
                    <a:lnTo>
                      <a:pt x="186" y="50"/>
                    </a:lnTo>
                    <a:lnTo>
                      <a:pt x="188" y="50"/>
                    </a:lnTo>
                    <a:lnTo>
                      <a:pt x="190" y="50"/>
                    </a:lnTo>
                    <a:lnTo>
                      <a:pt x="190" y="51"/>
                    </a:lnTo>
                    <a:lnTo>
                      <a:pt x="192" y="53"/>
                    </a:lnTo>
                    <a:lnTo>
                      <a:pt x="194" y="51"/>
                    </a:lnTo>
                    <a:lnTo>
                      <a:pt x="196" y="51"/>
                    </a:lnTo>
                    <a:lnTo>
                      <a:pt x="198" y="53"/>
                    </a:lnTo>
                    <a:lnTo>
                      <a:pt x="196" y="53"/>
                    </a:lnTo>
                    <a:lnTo>
                      <a:pt x="196" y="55"/>
                    </a:lnTo>
                    <a:lnTo>
                      <a:pt x="198" y="55"/>
                    </a:lnTo>
                    <a:lnTo>
                      <a:pt x="200" y="55"/>
                    </a:lnTo>
                    <a:lnTo>
                      <a:pt x="200" y="53"/>
                    </a:lnTo>
                    <a:lnTo>
                      <a:pt x="200" y="51"/>
                    </a:lnTo>
                    <a:lnTo>
                      <a:pt x="202" y="50"/>
                    </a:lnTo>
                    <a:lnTo>
                      <a:pt x="202" y="48"/>
                    </a:lnTo>
                    <a:lnTo>
                      <a:pt x="204" y="48"/>
                    </a:lnTo>
                    <a:lnTo>
                      <a:pt x="204" y="46"/>
                    </a:lnTo>
                    <a:lnTo>
                      <a:pt x="205" y="46"/>
                    </a:lnTo>
                    <a:lnTo>
                      <a:pt x="205" y="48"/>
                    </a:lnTo>
                    <a:lnTo>
                      <a:pt x="207" y="46"/>
                    </a:lnTo>
                    <a:lnTo>
                      <a:pt x="207" y="48"/>
                    </a:lnTo>
                    <a:lnTo>
                      <a:pt x="209" y="48"/>
                    </a:lnTo>
                    <a:lnTo>
                      <a:pt x="211" y="48"/>
                    </a:lnTo>
                    <a:lnTo>
                      <a:pt x="211" y="46"/>
                    </a:lnTo>
                    <a:lnTo>
                      <a:pt x="211" y="44"/>
                    </a:lnTo>
                    <a:lnTo>
                      <a:pt x="209" y="42"/>
                    </a:lnTo>
                    <a:lnTo>
                      <a:pt x="211" y="42"/>
                    </a:lnTo>
                    <a:lnTo>
                      <a:pt x="211" y="40"/>
                    </a:lnTo>
                    <a:lnTo>
                      <a:pt x="211" y="38"/>
                    </a:lnTo>
                    <a:lnTo>
                      <a:pt x="211" y="36"/>
                    </a:lnTo>
                    <a:lnTo>
                      <a:pt x="209" y="36"/>
                    </a:lnTo>
                    <a:lnTo>
                      <a:pt x="209" y="34"/>
                    </a:lnTo>
                    <a:lnTo>
                      <a:pt x="209" y="32"/>
                    </a:lnTo>
                    <a:lnTo>
                      <a:pt x="211" y="32"/>
                    </a:lnTo>
                    <a:lnTo>
                      <a:pt x="213" y="32"/>
                    </a:lnTo>
                    <a:lnTo>
                      <a:pt x="213" y="34"/>
                    </a:lnTo>
                    <a:lnTo>
                      <a:pt x="215" y="34"/>
                    </a:lnTo>
                    <a:lnTo>
                      <a:pt x="217" y="34"/>
                    </a:lnTo>
                    <a:lnTo>
                      <a:pt x="219" y="34"/>
                    </a:lnTo>
                    <a:lnTo>
                      <a:pt x="219" y="32"/>
                    </a:lnTo>
                    <a:lnTo>
                      <a:pt x="221" y="32"/>
                    </a:lnTo>
                    <a:lnTo>
                      <a:pt x="221" y="30"/>
                    </a:lnTo>
                    <a:lnTo>
                      <a:pt x="223" y="30"/>
                    </a:lnTo>
                    <a:lnTo>
                      <a:pt x="223" y="32"/>
                    </a:lnTo>
                    <a:lnTo>
                      <a:pt x="223" y="30"/>
                    </a:lnTo>
                    <a:lnTo>
                      <a:pt x="223" y="32"/>
                    </a:lnTo>
                    <a:lnTo>
                      <a:pt x="225" y="32"/>
                    </a:lnTo>
                    <a:lnTo>
                      <a:pt x="225" y="34"/>
                    </a:lnTo>
                    <a:lnTo>
                      <a:pt x="225" y="36"/>
                    </a:lnTo>
                    <a:lnTo>
                      <a:pt x="227" y="36"/>
                    </a:lnTo>
                    <a:lnTo>
                      <a:pt x="228" y="38"/>
                    </a:lnTo>
                    <a:lnTo>
                      <a:pt x="228" y="40"/>
                    </a:lnTo>
                    <a:lnTo>
                      <a:pt x="230" y="40"/>
                    </a:lnTo>
                    <a:lnTo>
                      <a:pt x="230" y="38"/>
                    </a:lnTo>
                    <a:lnTo>
                      <a:pt x="230" y="36"/>
                    </a:lnTo>
                    <a:lnTo>
                      <a:pt x="230" y="34"/>
                    </a:lnTo>
                    <a:lnTo>
                      <a:pt x="230" y="32"/>
                    </a:lnTo>
                    <a:lnTo>
                      <a:pt x="232" y="30"/>
                    </a:lnTo>
                    <a:lnTo>
                      <a:pt x="232" y="28"/>
                    </a:lnTo>
                    <a:lnTo>
                      <a:pt x="234" y="30"/>
                    </a:lnTo>
                    <a:lnTo>
                      <a:pt x="234" y="32"/>
                    </a:lnTo>
                    <a:lnTo>
                      <a:pt x="236" y="32"/>
                    </a:lnTo>
                    <a:lnTo>
                      <a:pt x="236" y="34"/>
                    </a:lnTo>
                    <a:lnTo>
                      <a:pt x="238" y="34"/>
                    </a:lnTo>
                    <a:lnTo>
                      <a:pt x="238" y="36"/>
                    </a:lnTo>
                    <a:lnTo>
                      <a:pt x="238" y="38"/>
                    </a:lnTo>
                    <a:lnTo>
                      <a:pt x="240" y="38"/>
                    </a:lnTo>
                    <a:lnTo>
                      <a:pt x="240" y="40"/>
                    </a:lnTo>
                    <a:lnTo>
                      <a:pt x="238" y="40"/>
                    </a:lnTo>
                    <a:lnTo>
                      <a:pt x="240" y="42"/>
                    </a:lnTo>
                    <a:lnTo>
                      <a:pt x="242" y="42"/>
                    </a:lnTo>
                    <a:lnTo>
                      <a:pt x="244" y="42"/>
                    </a:lnTo>
                    <a:lnTo>
                      <a:pt x="246" y="42"/>
                    </a:lnTo>
                    <a:lnTo>
                      <a:pt x="246" y="40"/>
                    </a:lnTo>
                    <a:lnTo>
                      <a:pt x="248" y="40"/>
                    </a:lnTo>
                    <a:lnTo>
                      <a:pt x="250" y="40"/>
                    </a:lnTo>
                    <a:lnTo>
                      <a:pt x="248" y="38"/>
                    </a:lnTo>
                    <a:lnTo>
                      <a:pt x="248" y="36"/>
                    </a:lnTo>
                    <a:lnTo>
                      <a:pt x="250" y="36"/>
                    </a:lnTo>
                    <a:lnTo>
                      <a:pt x="250" y="34"/>
                    </a:lnTo>
                    <a:lnTo>
                      <a:pt x="250" y="32"/>
                    </a:lnTo>
                    <a:lnTo>
                      <a:pt x="250" y="30"/>
                    </a:lnTo>
                    <a:lnTo>
                      <a:pt x="252" y="32"/>
                    </a:lnTo>
                    <a:lnTo>
                      <a:pt x="252" y="30"/>
                    </a:lnTo>
                    <a:lnTo>
                      <a:pt x="252" y="28"/>
                    </a:lnTo>
                    <a:lnTo>
                      <a:pt x="253" y="28"/>
                    </a:lnTo>
                    <a:lnTo>
                      <a:pt x="252" y="28"/>
                    </a:lnTo>
                    <a:lnTo>
                      <a:pt x="253" y="28"/>
                    </a:lnTo>
                    <a:lnTo>
                      <a:pt x="252" y="26"/>
                    </a:lnTo>
                    <a:lnTo>
                      <a:pt x="252" y="25"/>
                    </a:lnTo>
                    <a:lnTo>
                      <a:pt x="253" y="25"/>
                    </a:lnTo>
                    <a:lnTo>
                      <a:pt x="252" y="25"/>
                    </a:lnTo>
                    <a:lnTo>
                      <a:pt x="252" y="23"/>
                    </a:lnTo>
                    <a:lnTo>
                      <a:pt x="250" y="21"/>
                    </a:lnTo>
                    <a:lnTo>
                      <a:pt x="250" y="19"/>
                    </a:lnTo>
                    <a:lnTo>
                      <a:pt x="252" y="17"/>
                    </a:lnTo>
                    <a:lnTo>
                      <a:pt x="252" y="15"/>
                    </a:lnTo>
                    <a:lnTo>
                      <a:pt x="253" y="13"/>
                    </a:lnTo>
                    <a:lnTo>
                      <a:pt x="253" y="11"/>
                    </a:lnTo>
                    <a:lnTo>
                      <a:pt x="255" y="11"/>
                    </a:lnTo>
                    <a:lnTo>
                      <a:pt x="257" y="11"/>
                    </a:lnTo>
                    <a:lnTo>
                      <a:pt x="259" y="11"/>
                    </a:lnTo>
                    <a:lnTo>
                      <a:pt x="259" y="13"/>
                    </a:lnTo>
                    <a:lnTo>
                      <a:pt x="261" y="13"/>
                    </a:lnTo>
                    <a:lnTo>
                      <a:pt x="263" y="11"/>
                    </a:lnTo>
                    <a:lnTo>
                      <a:pt x="263" y="13"/>
                    </a:lnTo>
                    <a:lnTo>
                      <a:pt x="265" y="13"/>
                    </a:lnTo>
                    <a:lnTo>
                      <a:pt x="267" y="11"/>
                    </a:lnTo>
                    <a:lnTo>
                      <a:pt x="267" y="9"/>
                    </a:lnTo>
                    <a:lnTo>
                      <a:pt x="269" y="9"/>
                    </a:lnTo>
                    <a:lnTo>
                      <a:pt x="271" y="9"/>
                    </a:lnTo>
                    <a:lnTo>
                      <a:pt x="271" y="7"/>
                    </a:lnTo>
                    <a:lnTo>
                      <a:pt x="273" y="9"/>
                    </a:lnTo>
                    <a:lnTo>
                      <a:pt x="275" y="7"/>
                    </a:lnTo>
                    <a:lnTo>
                      <a:pt x="277" y="5"/>
                    </a:lnTo>
                    <a:lnTo>
                      <a:pt x="275" y="3"/>
                    </a:lnTo>
                    <a:lnTo>
                      <a:pt x="273" y="1"/>
                    </a:lnTo>
                    <a:lnTo>
                      <a:pt x="275" y="1"/>
                    </a:lnTo>
                    <a:lnTo>
                      <a:pt x="277" y="1"/>
                    </a:lnTo>
                    <a:lnTo>
                      <a:pt x="278" y="1"/>
                    </a:lnTo>
                    <a:lnTo>
                      <a:pt x="280" y="1"/>
                    </a:lnTo>
                    <a:lnTo>
                      <a:pt x="280" y="0"/>
                    </a:lnTo>
                    <a:lnTo>
                      <a:pt x="282" y="0"/>
                    </a:lnTo>
                    <a:lnTo>
                      <a:pt x="284" y="0"/>
                    </a:lnTo>
                    <a:lnTo>
                      <a:pt x="286" y="1"/>
                    </a:lnTo>
                    <a:lnTo>
                      <a:pt x="288" y="1"/>
                    </a:lnTo>
                    <a:lnTo>
                      <a:pt x="290" y="1"/>
                    </a:lnTo>
                    <a:lnTo>
                      <a:pt x="292" y="1"/>
                    </a:lnTo>
                    <a:lnTo>
                      <a:pt x="294" y="1"/>
                    </a:lnTo>
                    <a:lnTo>
                      <a:pt x="296" y="3"/>
                    </a:lnTo>
                    <a:lnTo>
                      <a:pt x="298" y="3"/>
                    </a:lnTo>
                    <a:lnTo>
                      <a:pt x="300" y="5"/>
                    </a:lnTo>
                    <a:lnTo>
                      <a:pt x="300" y="7"/>
                    </a:lnTo>
                    <a:lnTo>
                      <a:pt x="301" y="7"/>
                    </a:lnTo>
                    <a:lnTo>
                      <a:pt x="303" y="7"/>
                    </a:lnTo>
                    <a:lnTo>
                      <a:pt x="305" y="9"/>
                    </a:lnTo>
                    <a:lnTo>
                      <a:pt x="305" y="11"/>
                    </a:lnTo>
                    <a:lnTo>
                      <a:pt x="309" y="11"/>
                    </a:lnTo>
                    <a:lnTo>
                      <a:pt x="311" y="11"/>
                    </a:lnTo>
                    <a:lnTo>
                      <a:pt x="313" y="15"/>
                    </a:lnTo>
                    <a:lnTo>
                      <a:pt x="313" y="17"/>
                    </a:lnTo>
                    <a:lnTo>
                      <a:pt x="315" y="19"/>
                    </a:lnTo>
                    <a:lnTo>
                      <a:pt x="317" y="19"/>
                    </a:lnTo>
                    <a:lnTo>
                      <a:pt x="319" y="19"/>
                    </a:lnTo>
                    <a:lnTo>
                      <a:pt x="321" y="21"/>
                    </a:lnTo>
                    <a:lnTo>
                      <a:pt x="321" y="25"/>
                    </a:lnTo>
                    <a:lnTo>
                      <a:pt x="321" y="23"/>
                    </a:lnTo>
                    <a:lnTo>
                      <a:pt x="323" y="23"/>
                    </a:lnTo>
                    <a:lnTo>
                      <a:pt x="323" y="25"/>
                    </a:lnTo>
                    <a:lnTo>
                      <a:pt x="325" y="25"/>
                    </a:lnTo>
                    <a:lnTo>
                      <a:pt x="325" y="26"/>
                    </a:lnTo>
                    <a:lnTo>
                      <a:pt x="325" y="28"/>
                    </a:lnTo>
                    <a:lnTo>
                      <a:pt x="326" y="30"/>
                    </a:lnTo>
                    <a:lnTo>
                      <a:pt x="326" y="32"/>
                    </a:lnTo>
                    <a:lnTo>
                      <a:pt x="328" y="32"/>
                    </a:lnTo>
                    <a:lnTo>
                      <a:pt x="328" y="34"/>
                    </a:lnTo>
                    <a:lnTo>
                      <a:pt x="330" y="34"/>
                    </a:lnTo>
                    <a:lnTo>
                      <a:pt x="330" y="36"/>
                    </a:lnTo>
                    <a:lnTo>
                      <a:pt x="332" y="38"/>
                    </a:lnTo>
                    <a:lnTo>
                      <a:pt x="332" y="40"/>
                    </a:lnTo>
                    <a:lnTo>
                      <a:pt x="332" y="42"/>
                    </a:lnTo>
                    <a:lnTo>
                      <a:pt x="332" y="44"/>
                    </a:lnTo>
                    <a:lnTo>
                      <a:pt x="334" y="44"/>
                    </a:lnTo>
                    <a:lnTo>
                      <a:pt x="334" y="46"/>
                    </a:lnTo>
                    <a:lnTo>
                      <a:pt x="336" y="46"/>
                    </a:lnTo>
                    <a:lnTo>
                      <a:pt x="336" y="48"/>
                    </a:lnTo>
                    <a:lnTo>
                      <a:pt x="336" y="50"/>
                    </a:lnTo>
                    <a:lnTo>
                      <a:pt x="334" y="51"/>
                    </a:lnTo>
                    <a:lnTo>
                      <a:pt x="332" y="51"/>
                    </a:lnTo>
                    <a:lnTo>
                      <a:pt x="332" y="53"/>
                    </a:lnTo>
                    <a:lnTo>
                      <a:pt x="332" y="55"/>
                    </a:lnTo>
                    <a:lnTo>
                      <a:pt x="334" y="55"/>
                    </a:lnTo>
                    <a:lnTo>
                      <a:pt x="334" y="57"/>
                    </a:lnTo>
                    <a:lnTo>
                      <a:pt x="336" y="57"/>
                    </a:lnTo>
                    <a:lnTo>
                      <a:pt x="336" y="59"/>
                    </a:lnTo>
                    <a:lnTo>
                      <a:pt x="336" y="61"/>
                    </a:lnTo>
                    <a:lnTo>
                      <a:pt x="336" y="63"/>
                    </a:lnTo>
                    <a:lnTo>
                      <a:pt x="336" y="65"/>
                    </a:lnTo>
                    <a:lnTo>
                      <a:pt x="338" y="65"/>
                    </a:lnTo>
                    <a:lnTo>
                      <a:pt x="338" y="67"/>
                    </a:lnTo>
                    <a:lnTo>
                      <a:pt x="338" y="71"/>
                    </a:lnTo>
                    <a:lnTo>
                      <a:pt x="336" y="71"/>
                    </a:lnTo>
                    <a:lnTo>
                      <a:pt x="334" y="71"/>
                    </a:lnTo>
                    <a:lnTo>
                      <a:pt x="332" y="71"/>
                    </a:lnTo>
                    <a:lnTo>
                      <a:pt x="330" y="71"/>
                    </a:lnTo>
                    <a:lnTo>
                      <a:pt x="328" y="69"/>
                    </a:lnTo>
                    <a:lnTo>
                      <a:pt x="328" y="71"/>
                    </a:lnTo>
                    <a:lnTo>
                      <a:pt x="328" y="73"/>
                    </a:lnTo>
                    <a:lnTo>
                      <a:pt x="328" y="74"/>
                    </a:lnTo>
                    <a:lnTo>
                      <a:pt x="328" y="76"/>
                    </a:lnTo>
                    <a:lnTo>
                      <a:pt x="326" y="76"/>
                    </a:lnTo>
                    <a:lnTo>
                      <a:pt x="326" y="78"/>
                    </a:lnTo>
                    <a:lnTo>
                      <a:pt x="328" y="78"/>
                    </a:lnTo>
                    <a:lnTo>
                      <a:pt x="328" y="80"/>
                    </a:lnTo>
                    <a:lnTo>
                      <a:pt x="326" y="80"/>
                    </a:lnTo>
                    <a:lnTo>
                      <a:pt x="326" y="82"/>
                    </a:lnTo>
                    <a:lnTo>
                      <a:pt x="325" y="82"/>
                    </a:lnTo>
                    <a:lnTo>
                      <a:pt x="323" y="82"/>
                    </a:lnTo>
                    <a:lnTo>
                      <a:pt x="323" y="84"/>
                    </a:lnTo>
                    <a:lnTo>
                      <a:pt x="323" y="86"/>
                    </a:lnTo>
                    <a:lnTo>
                      <a:pt x="323" y="88"/>
                    </a:lnTo>
                    <a:lnTo>
                      <a:pt x="323" y="90"/>
                    </a:lnTo>
                    <a:lnTo>
                      <a:pt x="323" y="92"/>
                    </a:lnTo>
                    <a:lnTo>
                      <a:pt x="321" y="92"/>
                    </a:lnTo>
                    <a:lnTo>
                      <a:pt x="323" y="94"/>
                    </a:lnTo>
                    <a:lnTo>
                      <a:pt x="323" y="96"/>
                    </a:lnTo>
                    <a:lnTo>
                      <a:pt x="325" y="96"/>
                    </a:lnTo>
                    <a:lnTo>
                      <a:pt x="325" y="98"/>
                    </a:lnTo>
                    <a:lnTo>
                      <a:pt x="326" y="96"/>
                    </a:lnTo>
                    <a:lnTo>
                      <a:pt x="328" y="98"/>
                    </a:lnTo>
                    <a:lnTo>
                      <a:pt x="328" y="99"/>
                    </a:lnTo>
                    <a:lnTo>
                      <a:pt x="326" y="99"/>
                    </a:lnTo>
                    <a:lnTo>
                      <a:pt x="326" y="101"/>
                    </a:lnTo>
                    <a:lnTo>
                      <a:pt x="326" y="103"/>
                    </a:lnTo>
                    <a:lnTo>
                      <a:pt x="328" y="101"/>
                    </a:lnTo>
                    <a:lnTo>
                      <a:pt x="330" y="103"/>
                    </a:lnTo>
                    <a:lnTo>
                      <a:pt x="332" y="103"/>
                    </a:lnTo>
                    <a:lnTo>
                      <a:pt x="334" y="105"/>
                    </a:lnTo>
                    <a:lnTo>
                      <a:pt x="336" y="105"/>
                    </a:lnTo>
                    <a:lnTo>
                      <a:pt x="338" y="105"/>
                    </a:lnTo>
                    <a:lnTo>
                      <a:pt x="340" y="105"/>
                    </a:lnTo>
                    <a:lnTo>
                      <a:pt x="340" y="107"/>
                    </a:lnTo>
                    <a:lnTo>
                      <a:pt x="342" y="105"/>
                    </a:lnTo>
                    <a:lnTo>
                      <a:pt x="342" y="103"/>
                    </a:lnTo>
                    <a:lnTo>
                      <a:pt x="344" y="103"/>
                    </a:lnTo>
                    <a:lnTo>
                      <a:pt x="344" y="101"/>
                    </a:lnTo>
                    <a:lnTo>
                      <a:pt x="346" y="101"/>
                    </a:lnTo>
                    <a:lnTo>
                      <a:pt x="348" y="99"/>
                    </a:lnTo>
                    <a:lnTo>
                      <a:pt x="348" y="98"/>
                    </a:lnTo>
                    <a:lnTo>
                      <a:pt x="350" y="98"/>
                    </a:lnTo>
                    <a:lnTo>
                      <a:pt x="350" y="96"/>
                    </a:lnTo>
                    <a:lnTo>
                      <a:pt x="351" y="94"/>
                    </a:lnTo>
                    <a:lnTo>
                      <a:pt x="353" y="96"/>
                    </a:lnTo>
                    <a:lnTo>
                      <a:pt x="355" y="96"/>
                    </a:lnTo>
                    <a:lnTo>
                      <a:pt x="357" y="96"/>
                    </a:lnTo>
                    <a:lnTo>
                      <a:pt x="357" y="98"/>
                    </a:lnTo>
                    <a:lnTo>
                      <a:pt x="359" y="99"/>
                    </a:lnTo>
                    <a:lnTo>
                      <a:pt x="361" y="99"/>
                    </a:lnTo>
                    <a:lnTo>
                      <a:pt x="361" y="101"/>
                    </a:lnTo>
                    <a:lnTo>
                      <a:pt x="363" y="99"/>
                    </a:lnTo>
                    <a:lnTo>
                      <a:pt x="363" y="98"/>
                    </a:lnTo>
                    <a:lnTo>
                      <a:pt x="365" y="98"/>
                    </a:lnTo>
                    <a:lnTo>
                      <a:pt x="365" y="99"/>
                    </a:lnTo>
                    <a:lnTo>
                      <a:pt x="367" y="101"/>
                    </a:lnTo>
                    <a:lnTo>
                      <a:pt x="367" y="103"/>
                    </a:lnTo>
                    <a:lnTo>
                      <a:pt x="369" y="103"/>
                    </a:lnTo>
                    <a:lnTo>
                      <a:pt x="369" y="105"/>
                    </a:lnTo>
                    <a:lnTo>
                      <a:pt x="371" y="105"/>
                    </a:lnTo>
                    <a:lnTo>
                      <a:pt x="373" y="107"/>
                    </a:lnTo>
                    <a:lnTo>
                      <a:pt x="374" y="107"/>
                    </a:lnTo>
                    <a:lnTo>
                      <a:pt x="374" y="105"/>
                    </a:lnTo>
                    <a:lnTo>
                      <a:pt x="376" y="103"/>
                    </a:lnTo>
                    <a:lnTo>
                      <a:pt x="378" y="101"/>
                    </a:lnTo>
                    <a:lnTo>
                      <a:pt x="380" y="101"/>
                    </a:lnTo>
                    <a:lnTo>
                      <a:pt x="380" y="103"/>
                    </a:lnTo>
                    <a:lnTo>
                      <a:pt x="378" y="103"/>
                    </a:lnTo>
                    <a:lnTo>
                      <a:pt x="380" y="103"/>
                    </a:lnTo>
                    <a:lnTo>
                      <a:pt x="382" y="103"/>
                    </a:lnTo>
                    <a:lnTo>
                      <a:pt x="384" y="105"/>
                    </a:lnTo>
                    <a:lnTo>
                      <a:pt x="386" y="105"/>
                    </a:lnTo>
                    <a:lnTo>
                      <a:pt x="386" y="107"/>
                    </a:lnTo>
                    <a:lnTo>
                      <a:pt x="386" y="109"/>
                    </a:lnTo>
                    <a:lnTo>
                      <a:pt x="388" y="109"/>
                    </a:lnTo>
                    <a:lnTo>
                      <a:pt x="390" y="111"/>
                    </a:lnTo>
                    <a:lnTo>
                      <a:pt x="390" y="113"/>
                    </a:lnTo>
                    <a:lnTo>
                      <a:pt x="390" y="115"/>
                    </a:lnTo>
                    <a:lnTo>
                      <a:pt x="392" y="117"/>
                    </a:lnTo>
                    <a:lnTo>
                      <a:pt x="394" y="119"/>
                    </a:lnTo>
                    <a:lnTo>
                      <a:pt x="394" y="121"/>
                    </a:lnTo>
                    <a:lnTo>
                      <a:pt x="394" y="123"/>
                    </a:lnTo>
                    <a:lnTo>
                      <a:pt x="396" y="124"/>
                    </a:lnTo>
                    <a:lnTo>
                      <a:pt x="398" y="130"/>
                    </a:lnTo>
                    <a:lnTo>
                      <a:pt x="399" y="132"/>
                    </a:lnTo>
                    <a:lnTo>
                      <a:pt x="398" y="132"/>
                    </a:lnTo>
                    <a:lnTo>
                      <a:pt x="396" y="134"/>
                    </a:lnTo>
                    <a:lnTo>
                      <a:pt x="396" y="136"/>
                    </a:lnTo>
                    <a:lnTo>
                      <a:pt x="394" y="138"/>
                    </a:lnTo>
                    <a:lnTo>
                      <a:pt x="392" y="138"/>
                    </a:lnTo>
                    <a:lnTo>
                      <a:pt x="390" y="138"/>
                    </a:lnTo>
                    <a:lnTo>
                      <a:pt x="388" y="138"/>
                    </a:lnTo>
                    <a:lnTo>
                      <a:pt x="388" y="136"/>
                    </a:lnTo>
                    <a:lnTo>
                      <a:pt x="386" y="136"/>
                    </a:lnTo>
                    <a:lnTo>
                      <a:pt x="384" y="136"/>
                    </a:lnTo>
                    <a:lnTo>
                      <a:pt x="384" y="138"/>
                    </a:lnTo>
                    <a:lnTo>
                      <a:pt x="382" y="138"/>
                    </a:lnTo>
                    <a:lnTo>
                      <a:pt x="380" y="138"/>
                    </a:lnTo>
                    <a:lnTo>
                      <a:pt x="378" y="140"/>
                    </a:lnTo>
                    <a:lnTo>
                      <a:pt x="378" y="142"/>
                    </a:lnTo>
                    <a:lnTo>
                      <a:pt x="378" y="144"/>
                    </a:lnTo>
                    <a:lnTo>
                      <a:pt x="378" y="146"/>
                    </a:lnTo>
                    <a:lnTo>
                      <a:pt x="380" y="148"/>
                    </a:lnTo>
                    <a:lnTo>
                      <a:pt x="382" y="149"/>
                    </a:lnTo>
                    <a:lnTo>
                      <a:pt x="382" y="151"/>
                    </a:lnTo>
                    <a:lnTo>
                      <a:pt x="384" y="151"/>
                    </a:lnTo>
                    <a:lnTo>
                      <a:pt x="382" y="151"/>
                    </a:lnTo>
                    <a:lnTo>
                      <a:pt x="382" y="153"/>
                    </a:lnTo>
                    <a:lnTo>
                      <a:pt x="384" y="153"/>
                    </a:lnTo>
                    <a:lnTo>
                      <a:pt x="386" y="153"/>
                    </a:lnTo>
                    <a:lnTo>
                      <a:pt x="386" y="155"/>
                    </a:lnTo>
                    <a:lnTo>
                      <a:pt x="386" y="157"/>
                    </a:lnTo>
                    <a:lnTo>
                      <a:pt x="384" y="157"/>
                    </a:lnTo>
                    <a:lnTo>
                      <a:pt x="382" y="157"/>
                    </a:lnTo>
                    <a:lnTo>
                      <a:pt x="380" y="157"/>
                    </a:lnTo>
                    <a:lnTo>
                      <a:pt x="382" y="157"/>
                    </a:lnTo>
                    <a:lnTo>
                      <a:pt x="382" y="159"/>
                    </a:lnTo>
                    <a:lnTo>
                      <a:pt x="380" y="159"/>
                    </a:lnTo>
                    <a:lnTo>
                      <a:pt x="382" y="161"/>
                    </a:lnTo>
                    <a:lnTo>
                      <a:pt x="380" y="161"/>
                    </a:lnTo>
                    <a:lnTo>
                      <a:pt x="380" y="159"/>
                    </a:lnTo>
                    <a:lnTo>
                      <a:pt x="380" y="161"/>
                    </a:lnTo>
                    <a:lnTo>
                      <a:pt x="380" y="163"/>
                    </a:lnTo>
                    <a:lnTo>
                      <a:pt x="378" y="163"/>
                    </a:lnTo>
                    <a:lnTo>
                      <a:pt x="378" y="165"/>
                    </a:lnTo>
                    <a:lnTo>
                      <a:pt x="378" y="163"/>
                    </a:lnTo>
                    <a:lnTo>
                      <a:pt x="378" y="165"/>
                    </a:lnTo>
                    <a:lnTo>
                      <a:pt x="378" y="163"/>
                    </a:lnTo>
                    <a:lnTo>
                      <a:pt x="376" y="163"/>
                    </a:lnTo>
                    <a:lnTo>
                      <a:pt x="376" y="161"/>
                    </a:lnTo>
                    <a:lnTo>
                      <a:pt x="374" y="161"/>
                    </a:lnTo>
                    <a:lnTo>
                      <a:pt x="373" y="161"/>
                    </a:lnTo>
                    <a:lnTo>
                      <a:pt x="371" y="161"/>
                    </a:lnTo>
                    <a:lnTo>
                      <a:pt x="371" y="159"/>
                    </a:lnTo>
                    <a:lnTo>
                      <a:pt x="369" y="157"/>
                    </a:lnTo>
                    <a:lnTo>
                      <a:pt x="371" y="155"/>
                    </a:lnTo>
                    <a:lnTo>
                      <a:pt x="369" y="155"/>
                    </a:lnTo>
                    <a:lnTo>
                      <a:pt x="371" y="153"/>
                    </a:lnTo>
                    <a:lnTo>
                      <a:pt x="369" y="151"/>
                    </a:lnTo>
                    <a:lnTo>
                      <a:pt x="369" y="149"/>
                    </a:lnTo>
                    <a:lnTo>
                      <a:pt x="367" y="149"/>
                    </a:lnTo>
                    <a:lnTo>
                      <a:pt x="367" y="151"/>
                    </a:lnTo>
                    <a:lnTo>
                      <a:pt x="365" y="151"/>
                    </a:lnTo>
                    <a:lnTo>
                      <a:pt x="365" y="153"/>
                    </a:lnTo>
                    <a:lnTo>
                      <a:pt x="367" y="153"/>
                    </a:lnTo>
                    <a:lnTo>
                      <a:pt x="365" y="153"/>
                    </a:lnTo>
                    <a:lnTo>
                      <a:pt x="363" y="153"/>
                    </a:lnTo>
                    <a:lnTo>
                      <a:pt x="361" y="153"/>
                    </a:lnTo>
                    <a:lnTo>
                      <a:pt x="361" y="151"/>
                    </a:lnTo>
                    <a:lnTo>
                      <a:pt x="361" y="153"/>
                    </a:lnTo>
                    <a:lnTo>
                      <a:pt x="359" y="153"/>
                    </a:lnTo>
                    <a:lnTo>
                      <a:pt x="357" y="153"/>
                    </a:lnTo>
                    <a:lnTo>
                      <a:pt x="357" y="155"/>
                    </a:lnTo>
                    <a:lnTo>
                      <a:pt x="355" y="155"/>
                    </a:lnTo>
                    <a:lnTo>
                      <a:pt x="355" y="157"/>
                    </a:lnTo>
                    <a:lnTo>
                      <a:pt x="353" y="157"/>
                    </a:lnTo>
                    <a:lnTo>
                      <a:pt x="353" y="159"/>
                    </a:lnTo>
                    <a:lnTo>
                      <a:pt x="351" y="159"/>
                    </a:lnTo>
                    <a:lnTo>
                      <a:pt x="350" y="159"/>
                    </a:lnTo>
                    <a:lnTo>
                      <a:pt x="348" y="161"/>
                    </a:lnTo>
                    <a:lnTo>
                      <a:pt x="346" y="163"/>
                    </a:lnTo>
                    <a:lnTo>
                      <a:pt x="346" y="165"/>
                    </a:lnTo>
                    <a:lnTo>
                      <a:pt x="344" y="165"/>
                    </a:lnTo>
                    <a:lnTo>
                      <a:pt x="344" y="167"/>
                    </a:lnTo>
                    <a:lnTo>
                      <a:pt x="342" y="167"/>
                    </a:lnTo>
                    <a:lnTo>
                      <a:pt x="342" y="169"/>
                    </a:lnTo>
                    <a:lnTo>
                      <a:pt x="340" y="169"/>
                    </a:lnTo>
                    <a:lnTo>
                      <a:pt x="342" y="167"/>
                    </a:lnTo>
                    <a:lnTo>
                      <a:pt x="344" y="167"/>
                    </a:lnTo>
                    <a:lnTo>
                      <a:pt x="342" y="167"/>
                    </a:lnTo>
                    <a:lnTo>
                      <a:pt x="342" y="165"/>
                    </a:lnTo>
                    <a:lnTo>
                      <a:pt x="340" y="165"/>
                    </a:lnTo>
                    <a:lnTo>
                      <a:pt x="340" y="163"/>
                    </a:lnTo>
                    <a:lnTo>
                      <a:pt x="338" y="163"/>
                    </a:lnTo>
                    <a:lnTo>
                      <a:pt x="338" y="161"/>
                    </a:lnTo>
                    <a:lnTo>
                      <a:pt x="338" y="159"/>
                    </a:lnTo>
                    <a:lnTo>
                      <a:pt x="338" y="157"/>
                    </a:lnTo>
                    <a:lnTo>
                      <a:pt x="336" y="157"/>
                    </a:lnTo>
                    <a:lnTo>
                      <a:pt x="336" y="155"/>
                    </a:lnTo>
                    <a:lnTo>
                      <a:pt x="334" y="155"/>
                    </a:lnTo>
                    <a:lnTo>
                      <a:pt x="332" y="155"/>
                    </a:lnTo>
                    <a:lnTo>
                      <a:pt x="334" y="155"/>
                    </a:lnTo>
                    <a:lnTo>
                      <a:pt x="332" y="155"/>
                    </a:lnTo>
                    <a:lnTo>
                      <a:pt x="332" y="153"/>
                    </a:lnTo>
                    <a:lnTo>
                      <a:pt x="330" y="153"/>
                    </a:lnTo>
                    <a:lnTo>
                      <a:pt x="330" y="151"/>
                    </a:lnTo>
                    <a:lnTo>
                      <a:pt x="328" y="151"/>
                    </a:lnTo>
                    <a:lnTo>
                      <a:pt x="328" y="149"/>
                    </a:lnTo>
                    <a:lnTo>
                      <a:pt x="326" y="149"/>
                    </a:lnTo>
                    <a:lnTo>
                      <a:pt x="325" y="149"/>
                    </a:lnTo>
                    <a:lnTo>
                      <a:pt x="323" y="149"/>
                    </a:lnTo>
                    <a:lnTo>
                      <a:pt x="323" y="148"/>
                    </a:lnTo>
                    <a:lnTo>
                      <a:pt x="321" y="148"/>
                    </a:lnTo>
                    <a:lnTo>
                      <a:pt x="321" y="146"/>
                    </a:lnTo>
                    <a:lnTo>
                      <a:pt x="321" y="144"/>
                    </a:lnTo>
                    <a:lnTo>
                      <a:pt x="319" y="142"/>
                    </a:lnTo>
                    <a:lnTo>
                      <a:pt x="321" y="142"/>
                    </a:lnTo>
                    <a:lnTo>
                      <a:pt x="319" y="142"/>
                    </a:lnTo>
                    <a:lnTo>
                      <a:pt x="319" y="140"/>
                    </a:lnTo>
                    <a:lnTo>
                      <a:pt x="319" y="138"/>
                    </a:lnTo>
                    <a:lnTo>
                      <a:pt x="321" y="136"/>
                    </a:lnTo>
                    <a:lnTo>
                      <a:pt x="319" y="138"/>
                    </a:lnTo>
                    <a:lnTo>
                      <a:pt x="319" y="140"/>
                    </a:lnTo>
                    <a:lnTo>
                      <a:pt x="319" y="142"/>
                    </a:lnTo>
                    <a:lnTo>
                      <a:pt x="321" y="142"/>
                    </a:lnTo>
                    <a:lnTo>
                      <a:pt x="319" y="142"/>
                    </a:lnTo>
                    <a:lnTo>
                      <a:pt x="319" y="144"/>
                    </a:lnTo>
                    <a:lnTo>
                      <a:pt x="321" y="144"/>
                    </a:lnTo>
                    <a:lnTo>
                      <a:pt x="321" y="146"/>
                    </a:lnTo>
                    <a:lnTo>
                      <a:pt x="321" y="148"/>
                    </a:lnTo>
                    <a:lnTo>
                      <a:pt x="323" y="148"/>
                    </a:lnTo>
                    <a:lnTo>
                      <a:pt x="323" y="149"/>
                    </a:lnTo>
                    <a:lnTo>
                      <a:pt x="325" y="149"/>
                    </a:lnTo>
                    <a:lnTo>
                      <a:pt x="326" y="149"/>
                    </a:lnTo>
                    <a:lnTo>
                      <a:pt x="325" y="149"/>
                    </a:lnTo>
                    <a:lnTo>
                      <a:pt x="326" y="149"/>
                    </a:lnTo>
                    <a:lnTo>
                      <a:pt x="326" y="151"/>
                    </a:lnTo>
                    <a:lnTo>
                      <a:pt x="328" y="149"/>
                    </a:lnTo>
                    <a:lnTo>
                      <a:pt x="328" y="151"/>
                    </a:lnTo>
                    <a:lnTo>
                      <a:pt x="330" y="151"/>
                    </a:lnTo>
                    <a:lnTo>
                      <a:pt x="330" y="153"/>
                    </a:lnTo>
                    <a:lnTo>
                      <a:pt x="332" y="153"/>
                    </a:lnTo>
                    <a:lnTo>
                      <a:pt x="332" y="155"/>
                    </a:lnTo>
                    <a:lnTo>
                      <a:pt x="330" y="153"/>
                    </a:lnTo>
                    <a:lnTo>
                      <a:pt x="332" y="155"/>
                    </a:lnTo>
                    <a:lnTo>
                      <a:pt x="334" y="155"/>
                    </a:lnTo>
                    <a:lnTo>
                      <a:pt x="334" y="157"/>
                    </a:lnTo>
                    <a:lnTo>
                      <a:pt x="336" y="157"/>
                    </a:lnTo>
                    <a:lnTo>
                      <a:pt x="336" y="159"/>
                    </a:lnTo>
                    <a:lnTo>
                      <a:pt x="338" y="159"/>
                    </a:lnTo>
                    <a:lnTo>
                      <a:pt x="338" y="161"/>
                    </a:lnTo>
                    <a:lnTo>
                      <a:pt x="338" y="163"/>
                    </a:lnTo>
                    <a:lnTo>
                      <a:pt x="340" y="163"/>
                    </a:lnTo>
                    <a:lnTo>
                      <a:pt x="340" y="165"/>
                    </a:lnTo>
                    <a:lnTo>
                      <a:pt x="340" y="167"/>
                    </a:lnTo>
                    <a:lnTo>
                      <a:pt x="342" y="167"/>
                    </a:lnTo>
                    <a:lnTo>
                      <a:pt x="342" y="165"/>
                    </a:lnTo>
                    <a:lnTo>
                      <a:pt x="342" y="167"/>
                    </a:lnTo>
                    <a:lnTo>
                      <a:pt x="340" y="169"/>
                    </a:lnTo>
                    <a:lnTo>
                      <a:pt x="340" y="167"/>
                    </a:lnTo>
                    <a:lnTo>
                      <a:pt x="340" y="169"/>
                    </a:lnTo>
                    <a:lnTo>
                      <a:pt x="338" y="169"/>
                    </a:lnTo>
                    <a:lnTo>
                      <a:pt x="336" y="169"/>
                    </a:lnTo>
                    <a:lnTo>
                      <a:pt x="336" y="171"/>
                    </a:lnTo>
                    <a:lnTo>
                      <a:pt x="334" y="171"/>
                    </a:lnTo>
                    <a:lnTo>
                      <a:pt x="332" y="171"/>
                    </a:lnTo>
                    <a:lnTo>
                      <a:pt x="332" y="173"/>
                    </a:lnTo>
                    <a:lnTo>
                      <a:pt x="330" y="173"/>
                    </a:lnTo>
                    <a:lnTo>
                      <a:pt x="332" y="173"/>
                    </a:lnTo>
                    <a:lnTo>
                      <a:pt x="334" y="171"/>
                    </a:lnTo>
                    <a:lnTo>
                      <a:pt x="332" y="173"/>
                    </a:lnTo>
                    <a:lnTo>
                      <a:pt x="330" y="173"/>
                    </a:lnTo>
                    <a:lnTo>
                      <a:pt x="328" y="174"/>
                    </a:lnTo>
                    <a:lnTo>
                      <a:pt x="328" y="173"/>
                    </a:lnTo>
                    <a:lnTo>
                      <a:pt x="328" y="171"/>
                    </a:lnTo>
                    <a:lnTo>
                      <a:pt x="326" y="171"/>
                    </a:lnTo>
                    <a:lnTo>
                      <a:pt x="328" y="171"/>
                    </a:lnTo>
                    <a:lnTo>
                      <a:pt x="326" y="171"/>
                    </a:lnTo>
                    <a:lnTo>
                      <a:pt x="326" y="169"/>
                    </a:lnTo>
                    <a:lnTo>
                      <a:pt x="326" y="167"/>
                    </a:lnTo>
                    <a:lnTo>
                      <a:pt x="325" y="167"/>
                    </a:lnTo>
                    <a:lnTo>
                      <a:pt x="326" y="169"/>
                    </a:lnTo>
                    <a:lnTo>
                      <a:pt x="326" y="171"/>
                    </a:lnTo>
                    <a:lnTo>
                      <a:pt x="326" y="173"/>
                    </a:lnTo>
                    <a:lnTo>
                      <a:pt x="328" y="173"/>
                    </a:lnTo>
                    <a:lnTo>
                      <a:pt x="328" y="174"/>
                    </a:lnTo>
                    <a:lnTo>
                      <a:pt x="326" y="174"/>
                    </a:lnTo>
                    <a:lnTo>
                      <a:pt x="325" y="174"/>
                    </a:lnTo>
                    <a:lnTo>
                      <a:pt x="325" y="176"/>
                    </a:lnTo>
                    <a:lnTo>
                      <a:pt x="326" y="174"/>
                    </a:lnTo>
                    <a:lnTo>
                      <a:pt x="326" y="176"/>
                    </a:lnTo>
                    <a:lnTo>
                      <a:pt x="326" y="174"/>
                    </a:lnTo>
                    <a:lnTo>
                      <a:pt x="328" y="174"/>
                    </a:lnTo>
                    <a:lnTo>
                      <a:pt x="326" y="174"/>
                    </a:lnTo>
                    <a:lnTo>
                      <a:pt x="325" y="176"/>
                    </a:lnTo>
                    <a:lnTo>
                      <a:pt x="323" y="176"/>
                    </a:lnTo>
                    <a:lnTo>
                      <a:pt x="321" y="176"/>
                    </a:lnTo>
                    <a:lnTo>
                      <a:pt x="317" y="178"/>
                    </a:lnTo>
                    <a:lnTo>
                      <a:pt x="315" y="178"/>
                    </a:lnTo>
                    <a:lnTo>
                      <a:pt x="313" y="180"/>
                    </a:lnTo>
                    <a:lnTo>
                      <a:pt x="311" y="182"/>
                    </a:lnTo>
                    <a:lnTo>
                      <a:pt x="309" y="184"/>
                    </a:lnTo>
                    <a:lnTo>
                      <a:pt x="309" y="186"/>
                    </a:lnTo>
                    <a:lnTo>
                      <a:pt x="307" y="186"/>
                    </a:lnTo>
                    <a:lnTo>
                      <a:pt x="307" y="188"/>
                    </a:lnTo>
                    <a:lnTo>
                      <a:pt x="307" y="190"/>
                    </a:lnTo>
                    <a:lnTo>
                      <a:pt x="305" y="190"/>
                    </a:lnTo>
                    <a:lnTo>
                      <a:pt x="305" y="192"/>
                    </a:lnTo>
                    <a:lnTo>
                      <a:pt x="305" y="190"/>
                    </a:lnTo>
                    <a:lnTo>
                      <a:pt x="305" y="192"/>
                    </a:lnTo>
                    <a:lnTo>
                      <a:pt x="303" y="192"/>
                    </a:lnTo>
                    <a:lnTo>
                      <a:pt x="301" y="192"/>
                    </a:lnTo>
                    <a:lnTo>
                      <a:pt x="300" y="192"/>
                    </a:lnTo>
                    <a:lnTo>
                      <a:pt x="298" y="192"/>
                    </a:lnTo>
                    <a:lnTo>
                      <a:pt x="296" y="194"/>
                    </a:lnTo>
                    <a:lnTo>
                      <a:pt x="296" y="192"/>
                    </a:lnTo>
                    <a:lnTo>
                      <a:pt x="298" y="192"/>
                    </a:lnTo>
                    <a:lnTo>
                      <a:pt x="296" y="192"/>
                    </a:lnTo>
                    <a:lnTo>
                      <a:pt x="298" y="192"/>
                    </a:lnTo>
                    <a:lnTo>
                      <a:pt x="296" y="192"/>
                    </a:lnTo>
                    <a:lnTo>
                      <a:pt x="296" y="190"/>
                    </a:lnTo>
                    <a:lnTo>
                      <a:pt x="298" y="190"/>
                    </a:lnTo>
                    <a:lnTo>
                      <a:pt x="298" y="188"/>
                    </a:lnTo>
                    <a:lnTo>
                      <a:pt x="296" y="188"/>
                    </a:lnTo>
                    <a:lnTo>
                      <a:pt x="298" y="188"/>
                    </a:lnTo>
                    <a:lnTo>
                      <a:pt x="298" y="190"/>
                    </a:lnTo>
                    <a:lnTo>
                      <a:pt x="296" y="190"/>
                    </a:lnTo>
                    <a:lnTo>
                      <a:pt x="296" y="192"/>
                    </a:lnTo>
                    <a:lnTo>
                      <a:pt x="296" y="194"/>
                    </a:lnTo>
                    <a:lnTo>
                      <a:pt x="294" y="196"/>
                    </a:lnTo>
                    <a:lnTo>
                      <a:pt x="292" y="196"/>
                    </a:lnTo>
                    <a:lnTo>
                      <a:pt x="292" y="194"/>
                    </a:lnTo>
                    <a:lnTo>
                      <a:pt x="290" y="194"/>
                    </a:lnTo>
                    <a:lnTo>
                      <a:pt x="290" y="192"/>
                    </a:lnTo>
                    <a:lnTo>
                      <a:pt x="290" y="194"/>
                    </a:lnTo>
                    <a:lnTo>
                      <a:pt x="290" y="192"/>
                    </a:lnTo>
                    <a:lnTo>
                      <a:pt x="290" y="194"/>
                    </a:lnTo>
                    <a:lnTo>
                      <a:pt x="290" y="192"/>
                    </a:lnTo>
                    <a:lnTo>
                      <a:pt x="288" y="192"/>
                    </a:lnTo>
                    <a:lnTo>
                      <a:pt x="290" y="192"/>
                    </a:lnTo>
                    <a:lnTo>
                      <a:pt x="288" y="192"/>
                    </a:lnTo>
                    <a:lnTo>
                      <a:pt x="288" y="190"/>
                    </a:lnTo>
                    <a:lnTo>
                      <a:pt x="286" y="190"/>
                    </a:lnTo>
                    <a:lnTo>
                      <a:pt x="288" y="190"/>
                    </a:lnTo>
                    <a:lnTo>
                      <a:pt x="286" y="190"/>
                    </a:lnTo>
                    <a:lnTo>
                      <a:pt x="286" y="188"/>
                    </a:lnTo>
                    <a:lnTo>
                      <a:pt x="284" y="188"/>
                    </a:lnTo>
                    <a:lnTo>
                      <a:pt x="282" y="188"/>
                    </a:lnTo>
                    <a:lnTo>
                      <a:pt x="282" y="186"/>
                    </a:lnTo>
                    <a:lnTo>
                      <a:pt x="280" y="184"/>
                    </a:lnTo>
                    <a:lnTo>
                      <a:pt x="278" y="184"/>
                    </a:lnTo>
                    <a:lnTo>
                      <a:pt x="280" y="184"/>
                    </a:lnTo>
                    <a:lnTo>
                      <a:pt x="282" y="186"/>
                    </a:lnTo>
                    <a:lnTo>
                      <a:pt x="282" y="188"/>
                    </a:lnTo>
                    <a:lnTo>
                      <a:pt x="284" y="188"/>
                    </a:lnTo>
                    <a:lnTo>
                      <a:pt x="282" y="188"/>
                    </a:lnTo>
                    <a:lnTo>
                      <a:pt x="284" y="188"/>
                    </a:lnTo>
                    <a:lnTo>
                      <a:pt x="284" y="190"/>
                    </a:lnTo>
                    <a:lnTo>
                      <a:pt x="286" y="190"/>
                    </a:lnTo>
                    <a:lnTo>
                      <a:pt x="288" y="190"/>
                    </a:lnTo>
                    <a:lnTo>
                      <a:pt x="288" y="192"/>
                    </a:lnTo>
                    <a:lnTo>
                      <a:pt x="290" y="192"/>
                    </a:lnTo>
                    <a:lnTo>
                      <a:pt x="290" y="194"/>
                    </a:lnTo>
                    <a:lnTo>
                      <a:pt x="292" y="194"/>
                    </a:lnTo>
                    <a:lnTo>
                      <a:pt x="292" y="196"/>
                    </a:lnTo>
                    <a:lnTo>
                      <a:pt x="294" y="196"/>
                    </a:lnTo>
                    <a:lnTo>
                      <a:pt x="294" y="198"/>
                    </a:lnTo>
                    <a:lnTo>
                      <a:pt x="292" y="198"/>
                    </a:lnTo>
                    <a:lnTo>
                      <a:pt x="292" y="199"/>
                    </a:lnTo>
                    <a:lnTo>
                      <a:pt x="290" y="201"/>
                    </a:lnTo>
                    <a:lnTo>
                      <a:pt x="290" y="203"/>
                    </a:lnTo>
                    <a:lnTo>
                      <a:pt x="286" y="205"/>
                    </a:lnTo>
                    <a:lnTo>
                      <a:pt x="286" y="207"/>
                    </a:lnTo>
                    <a:lnTo>
                      <a:pt x="284" y="207"/>
                    </a:lnTo>
                    <a:lnTo>
                      <a:pt x="284" y="209"/>
                    </a:lnTo>
                    <a:lnTo>
                      <a:pt x="282" y="213"/>
                    </a:lnTo>
                    <a:lnTo>
                      <a:pt x="280" y="213"/>
                    </a:lnTo>
                    <a:lnTo>
                      <a:pt x="280" y="215"/>
                    </a:lnTo>
                    <a:lnTo>
                      <a:pt x="280" y="217"/>
                    </a:lnTo>
                    <a:lnTo>
                      <a:pt x="278" y="219"/>
                    </a:lnTo>
                    <a:lnTo>
                      <a:pt x="278" y="223"/>
                    </a:lnTo>
                    <a:lnTo>
                      <a:pt x="277" y="223"/>
                    </a:lnTo>
                    <a:lnTo>
                      <a:pt x="277" y="224"/>
                    </a:lnTo>
                    <a:lnTo>
                      <a:pt x="277" y="226"/>
                    </a:lnTo>
                    <a:lnTo>
                      <a:pt x="277" y="228"/>
                    </a:lnTo>
                    <a:lnTo>
                      <a:pt x="277" y="230"/>
                    </a:lnTo>
                    <a:lnTo>
                      <a:pt x="277" y="232"/>
                    </a:lnTo>
                    <a:lnTo>
                      <a:pt x="277" y="234"/>
                    </a:lnTo>
                    <a:lnTo>
                      <a:pt x="277" y="236"/>
                    </a:lnTo>
                    <a:lnTo>
                      <a:pt x="277" y="238"/>
                    </a:lnTo>
                    <a:lnTo>
                      <a:pt x="277" y="240"/>
                    </a:lnTo>
                    <a:lnTo>
                      <a:pt x="277" y="242"/>
                    </a:lnTo>
                    <a:lnTo>
                      <a:pt x="277" y="244"/>
                    </a:lnTo>
                    <a:lnTo>
                      <a:pt x="277" y="246"/>
                    </a:lnTo>
                    <a:lnTo>
                      <a:pt x="277" y="248"/>
                    </a:lnTo>
                    <a:lnTo>
                      <a:pt x="277" y="249"/>
                    </a:lnTo>
                    <a:lnTo>
                      <a:pt x="277" y="251"/>
                    </a:lnTo>
                    <a:lnTo>
                      <a:pt x="277" y="253"/>
                    </a:lnTo>
                    <a:lnTo>
                      <a:pt x="277" y="255"/>
                    </a:lnTo>
                    <a:lnTo>
                      <a:pt x="277" y="257"/>
                    </a:lnTo>
                    <a:lnTo>
                      <a:pt x="275" y="257"/>
                    </a:lnTo>
                    <a:lnTo>
                      <a:pt x="275" y="259"/>
                    </a:lnTo>
                    <a:lnTo>
                      <a:pt x="275" y="261"/>
                    </a:lnTo>
                    <a:lnTo>
                      <a:pt x="275" y="263"/>
                    </a:lnTo>
                    <a:lnTo>
                      <a:pt x="273" y="265"/>
                    </a:lnTo>
                    <a:lnTo>
                      <a:pt x="273" y="267"/>
                    </a:lnTo>
                    <a:lnTo>
                      <a:pt x="273" y="269"/>
                    </a:lnTo>
                    <a:lnTo>
                      <a:pt x="271" y="269"/>
                    </a:lnTo>
                    <a:lnTo>
                      <a:pt x="271" y="271"/>
                    </a:lnTo>
                    <a:lnTo>
                      <a:pt x="271" y="273"/>
                    </a:lnTo>
                    <a:lnTo>
                      <a:pt x="269" y="273"/>
                    </a:lnTo>
                    <a:lnTo>
                      <a:pt x="269" y="274"/>
                    </a:lnTo>
                    <a:lnTo>
                      <a:pt x="267" y="274"/>
                    </a:lnTo>
                    <a:lnTo>
                      <a:pt x="267" y="276"/>
                    </a:lnTo>
                    <a:lnTo>
                      <a:pt x="265" y="278"/>
                    </a:lnTo>
                    <a:lnTo>
                      <a:pt x="265" y="280"/>
                    </a:lnTo>
                    <a:lnTo>
                      <a:pt x="265" y="282"/>
                    </a:lnTo>
                    <a:lnTo>
                      <a:pt x="263" y="284"/>
                    </a:lnTo>
                    <a:lnTo>
                      <a:pt x="263" y="286"/>
                    </a:lnTo>
                    <a:lnTo>
                      <a:pt x="263" y="288"/>
                    </a:lnTo>
                    <a:lnTo>
                      <a:pt x="263" y="290"/>
                    </a:lnTo>
                    <a:lnTo>
                      <a:pt x="263" y="292"/>
                    </a:lnTo>
                    <a:lnTo>
                      <a:pt x="263" y="294"/>
                    </a:lnTo>
                    <a:lnTo>
                      <a:pt x="263" y="296"/>
                    </a:lnTo>
                    <a:lnTo>
                      <a:pt x="263" y="298"/>
                    </a:lnTo>
                    <a:lnTo>
                      <a:pt x="263" y="299"/>
                    </a:lnTo>
                    <a:lnTo>
                      <a:pt x="263" y="301"/>
                    </a:lnTo>
                    <a:lnTo>
                      <a:pt x="265" y="303"/>
                    </a:lnTo>
                    <a:lnTo>
                      <a:pt x="265" y="305"/>
                    </a:lnTo>
                    <a:lnTo>
                      <a:pt x="265" y="307"/>
                    </a:lnTo>
                    <a:lnTo>
                      <a:pt x="265" y="309"/>
                    </a:lnTo>
                    <a:lnTo>
                      <a:pt x="265" y="311"/>
                    </a:lnTo>
                    <a:lnTo>
                      <a:pt x="265" y="313"/>
                    </a:lnTo>
                    <a:lnTo>
                      <a:pt x="267" y="315"/>
                    </a:lnTo>
                    <a:lnTo>
                      <a:pt x="267" y="317"/>
                    </a:lnTo>
                    <a:lnTo>
                      <a:pt x="267" y="319"/>
                    </a:lnTo>
                    <a:lnTo>
                      <a:pt x="267" y="321"/>
                    </a:lnTo>
                    <a:lnTo>
                      <a:pt x="269" y="321"/>
                    </a:lnTo>
                    <a:lnTo>
                      <a:pt x="269" y="322"/>
                    </a:lnTo>
                    <a:lnTo>
                      <a:pt x="267" y="322"/>
                    </a:lnTo>
                    <a:lnTo>
                      <a:pt x="267" y="324"/>
                    </a:lnTo>
                    <a:lnTo>
                      <a:pt x="267" y="326"/>
                    </a:lnTo>
                    <a:lnTo>
                      <a:pt x="265" y="328"/>
                    </a:lnTo>
                    <a:lnTo>
                      <a:pt x="267" y="330"/>
                    </a:lnTo>
                    <a:lnTo>
                      <a:pt x="265" y="330"/>
                    </a:lnTo>
                    <a:lnTo>
                      <a:pt x="263" y="330"/>
                    </a:lnTo>
                    <a:lnTo>
                      <a:pt x="263" y="332"/>
                    </a:lnTo>
                    <a:lnTo>
                      <a:pt x="261" y="332"/>
                    </a:lnTo>
                    <a:lnTo>
                      <a:pt x="261" y="334"/>
                    </a:lnTo>
                    <a:lnTo>
                      <a:pt x="259" y="334"/>
                    </a:lnTo>
                    <a:lnTo>
                      <a:pt x="259" y="336"/>
                    </a:lnTo>
                    <a:lnTo>
                      <a:pt x="259" y="338"/>
                    </a:lnTo>
                    <a:lnTo>
                      <a:pt x="259" y="340"/>
                    </a:lnTo>
                    <a:lnTo>
                      <a:pt x="259" y="342"/>
                    </a:lnTo>
                    <a:lnTo>
                      <a:pt x="257" y="342"/>
                    </a:lnTo>
                    <a:lnTo>
                      <a:pt x="259" y="346"/>
                    </a:lnTo>
                    <a:lnTo>
                      <a:pt x="259" y="347"/>
                    </a:lnTo>
                    <a:lnTo>
                      <a:pt x="259" y="349"/>
                    </a:lnTo>
                    <a:lnTo>
                      <a:pt x="259" y="351"/>
                    </a:lnTo>
                    <a:lnTo>
                      <a:pt x="259" y="353"/>
                    </a:lnTo>
                    <a:lnTo>
                      <a:pt x="257" y="353"/>
                    </a:lnTo>
                    <a:lnTo>
                      <a:pt x="255" y="355"/>
                    </a:lnTo>
                    <a:lnTo>
                      <a:pt x="255" y="357"/>
                    </a:lnTo>
                    <a:lnTo>
                      <a:pt x="255" y="359"/>
                    </a:lnTo>
                    <a:lnTo>
                      <a:pt x="255" y="361"/>
                    </a:lnTo>
                    <a:lnTo>
                      <a:pt x="255" y="363"/>
                    </a:lnTo>
                    <a:lnTo>
                      <a:pt x="255" y="365"/>
                    </a:lnTo>
                    <a:lnTo>
                      <a:pt x="255" y="367"/>
                    </a:lnTo>
                    <a:lnTo>
                      <a:pt x="255" y="369"/>
                    </a:lnTo>
                    <a:lnTo>
                      <a:pt x="253" y="369"/>
                    </a:lnTo>
                    <a:lnTo>
                      <a:pt x="253" y="371"/>
                    </a:lnTo>
                    <a:lnTo>
                      <a:pt x="253" y="369"/>
                    </a:lnTo>
                    <a:lnTo>
                      <a:pt x="253" y="371"/>
                    </a:lnTo>
                    <a:lnTo>
                      <a:pt x="252" y="371"/>
                    </a:lnTo>
                    <a:lnTo>
                      <a:pt x="252" y="372"/>
                    </a:lnTo>
                    <a:lnTo>
                      <a:pt x="250" y="372"/>
                    </a:lnTo>
                    <a:lnTo>
                      <a:pt x="250" y="374"/>
                    </a:lnTo>
                    <a:lnTo>
                      <a:pt x="248" y="374"/>
                    </a:lnTo>
                    <a:lnTo>
                      <a:pt x="248" y="376"/>
                    </a:lnTo>
                    <a:lnTo>
                      <a:pt x="248" y="378"/>
                    </a:lnTo>
                    <a:lnTo>
                      <a:pt x="248" y="382"/>
                    </a:lnTo>
                    <a:lnTo>
                      <a:pt x="248" y="384"/>
                    </a:lnTo>
                    <a:lnTo>
                      <a:pt x="248" y="386"/>
                    </a:lnTo>
                    <a:lnTo>
                      <a:pt x="248" y="384"/>
                    </a:lnTo>
                    <a:lnTo>
                      <a:pt x="246" y="384"/>
                    </a:lnTo>
                    <a:lnTo>
                      <a:pt x="246" y="386"/>
                    </a:lnTo>
                    <a:lnTo>
                      <a:pt x="246" y="388"/>
                    </a:lnTo>
                    <a:lnTo>
                      <a:pt x="246" y="390"/>
                    </a:lnTo>
                    <a:lnTo>
                      <a:pt x="248" y="392"/>
                    </a:lnTo>
                    <a:lnTo>
                      <a:pt x="248" y="394"/>
                    </a:lnTo>
                    <a:lnTo>
                      <a:pt x="248" y="396"/>
                    </a:lnTo>
                    <a:lnTo>
                      <a:pt x="246" y="396"/>
                    </a:lnTo>
                    <a:lnTo>
                      <a:pt x="244" y="394"/>
                    </a:lnTo>
                    <a:lnTo>
                      <a:pt x="244" y="396"/>
                    </a:lnTo>
                    <a:lnTo>
                      <a:pt x="246" y="396"/>
                    </a:lnTo>
                    <a:lnTo>
                      <a:pt x="244" y="396"/>
                    </a:lnTo>
                    <a:lnTo>
                      <a:pt x="244" y="397"/>
                    </a:lnTo>
                    <a:lnTo>
                      <a:pt x="244" y="396"/>
                    </a:lnTo>
                    <a:lnTo>
                      <a:pt x="244" y="397"/>
                    </a:lnTo>
                    <a:lnTo>
                      <a:pt x="244" y="399"/>
                    </a:lnTo>
                    <a:lnTo>
                      <a:pt x="242" y="399"/>
                    </a:lnTo>
                    <a:lnTo>
                      <a:pt x="242" y="401"/>
                    </a:lnTo>
                    <a:lnTo>
                      <a:pt x="240" y="401"/>
                    </a:lnTo>
                    <a:lnTo>
                      <a:pt x="242" y="405"/>
                    </a:lnTo>
                    <a:lnTo>
                      <a:pt x="242" y="407"/>
                    </a:lnTo>
                    <a:lnTo>
                      <a:pt x="242" y="409"/>
                    </a:lnTo>
                    <a:lnTo>
                      <a:pt x="244" y="409"/>
                    </a:lnTo>
                    <a:lnTo>
                      <a:pt x="244" y="411"/>
                    </a:lnTo>
                    <a:lnTo>
                      <a:pt x="244" y="413"/>
                    </a:lnTo>
                    <a:lnTo>
                      <a:pt x="246" y="413"/>
                    </a:lnTo>
                    <a:lnTo>
                      <a:pt x="244" y="413"/>
                    </a:lnTo>
                    <a:lnTo>
                      <a:pt x="244" y="411"/>
                    </a:lnTo>
                    <a:lnTo>
                      <a:pt x="242" y="411"/>
                    </a:lnTo>
                    <a:lnTo>
                      <a:pt x="242" y="409"/>
                    </a:lnTo>
                    <a:lnTo>
                      <a:pt x="242" y="411"/>
                    </a:lnTo>
                    <a:lnTo>
                      <a:pt x="240" y="411"/>
                    </a:lnTo>
                    <a:lnTo>
                      <a:pt x="240" y="413"/>
                    </a:lnTo>
                    <a:lnTo>
                      <a:pt x="240" y="415"/>
                    </a:lnTo>
                    <a:lnTo>
                      <a:pt x="240" y="417"/>
                    </a:lnTo>
                    <a:lnTo>
                      <a:pt x="240" y="419"/>
                    </a:lnTo>
                    <a:lnTo>
                      <a:pt x="242" y="419"/>
                    </a:lnTo>
                    <a:lnTo>
                      <a:pt x="240" y="419"/>
                    </a:lnTo>
                    <a:lnTo>
                      <a:pt x="242" y="421"/>
                    </a:lnTo>
                    <a:lnTo>
                      <a:pt x="240" y="421"/>
                    </a:lnTo>
                    <a:lnTo>
                      <a:pt x="240" y="422"/>
                    </a:lnTo>
                    <a:lnTo>
                      <a:pt x="238" y="422"/>
                    </a:lnTo>
                    <a:lnTo>
                      <a:pt x="240" y="424"/>
                    </a:lnTo>
                    <a:lnTo>
                      <a:pt x="240" y="426"/>
                    </a:lnTo>
                    <a:lnTo>
                      <a:pt x="240" y="428"/>
                    </a:lnTo>
                    <a:lnTo>
                      <a:pt x="240" y="426"/>
                    </a:lnTo>
                    <a:lnTo>
                      <a:pt x="240" y="428"/>
                    </a:lnTo>
                    <a:lnTo>
                      <a:pt x="238" y="428"/>
                    </a:lnTo>
                    <a:lnTo>
                      <a:pt x="238" y="430"/>
                    </a:lnTo>
                    <a:lnTo>
                      <a:pt x="238" y="432"/>
                    </a:lnTo>
                    <a:lnTo>
                      <a:pt x="238" y="434"/>
                    </a:lnTo>
                    <a:lnTo>
                      <a:pt x="238" y="436"/>
                    </a:lnTo>
                    <a:lnTo>
                      <a:pt x="240" y="436"/>
                    </a:lnTo>
                    <a:lnTo>
                      <a:pt x="240" y="438"/>
                    </a:lnTo>
                    <a:lnTo>
                      <a:pt x="242" y="438"/>
                    </a:lnTo>
                    <a:lnTo>
                      <a:pt x="244" y="438"/>
                    </a:lnTo>
                    <a:lnTo>
                      <a:pt x="244" y="436"/>
                    </a:lnTo>
                    <a:lnTo>
                      <a:pt x="246" y="438"/>
                    </a:lnTo>
                    <a:lnTo>
                      <a:pt x="244" y="438"/>
                    </a:lnTo>
                    <a:lnTo>
                      <a:pt x="244" y="440"/>
                    </a:lnTo>
                    <a:lnTo>
                      <a:pt x="246" y="440"/>
                    </a:lnTo>
                    <a:lnTo>
                      <a:pt x="244" y="440"/>
                    </a:lnTo>
                    <a:lnTo>
                      <a:pt x="242" y="440"/>
                    </a:lnTo>
                    <a:lnTo>
                      <a:pt x="240" y="442"/>
                    </a:lnTo>
                    <a:lnTo>
                      <a:pt x="240" y="444"/>
                    </a:lnTo>
                    <a:lnTo>
                      <a:pt x="242" y="444"/>
                    </a:lnTo>
                    <a:lnTo>
                      <a:pt x="240" y="444"/>
                    </a:lnTo>
                    <a:lnTo>
                      <a:pt x="242" y="444"/>
                    </a:lnTo>
                    <a:lnTo>
                      <a:pt x="240" y="446"/>
                    </a:lnTo>
                    <a:lnTo>
                      <a:pt x="242" y="446"/>
                    </a:lnTo>
                    <a:lnTo>
                      <a:pt x="240" y="446"/>
                    </a:lnTo>
                    <a:lnTo>
                      <a:pt x="238" y="447"/>
                    </a:lnTo>
                    <a:lnTo>
                      <a:pt x="238" y="449"/>
                    </a:lnTo>
                    <a:lnTo>
                      <a:pt x="238" y="451"/>
                    </a:lnTo>
                    <a:lnTo>
                      <a:pt x="238" y="453"/>
                    </a:lnTo>
                    <a:lnTo>
                      <a:pt x="238" y="455"/>
                    </a:lnTo>
                    <a:lnTo>
                      <a:pt x="238" y="457"/>
                    </a:lnTo>
                    <a:lnTo>
                      <a:pt x="240" y="457"/>
                    </a:lnTo>
                    <a:lnTo>
                      <a:pt x="238" y="457"/>
                    </a:lnTo>
                    <a:lnTo>
                      <a:pt x="238" y="459"/>
                    </a:lnTo>
                    <a:lnTo>
                      <a:pt x="238" y="461"/>
                    </a:lnTo>
                    <a:lnTo>
                      <a:pt x="238" y="463"/>
                    </a:lnTo>
                    <a:lnTo>
                      <a:pt x="238" y="465"/>
                    </a:lnTo>
                    <a:lnTo>
                      <a:pt x="238" y="467"/>
                    </a:lnTo>
                    <a:lnTo>
                      <a:pt x="236" y="467"/>
                    </a:lnTo>
                    <a:lnTo>
                      <a:pt x="236" y="469"/>
                    </a:lnTo>
                    <a:lnTo>
                      <a:pt x="234" y="469"/>
                    </a:lnTo>
                    <a:lnTo>
                      <a:pt x="234" y="471"/>
                    </a:lnTo>
                    <a:lnTo>
                      <a:pt x="234" y="472"/>
                    </a:lnTo>
                    <a:lnTo>
                      <a:pt x="232" y="472"/>
                    </a:lnTo>
                    <a:lnTo>
                      <a:pt x="232" y="474"/>
                    </a:lnTo>
                    <a:lnTo>
                      <a:pt x="232" y="476"/>
                    </a:lnTo>
                    <a:lnTo>
                      <a:pt x="234" y="478"/>
                    </a:lnTo>
                    <a:lnTo>
                      <a:pt x="234" y="480"/>
                    </a:lnTo>
                    <a:lnTo>
                      <a:pt x="234" y="482"/>
                    </a:lnTo>
                    <a:lnTo>
                      <a:pt x="234" y="480"/>
                    </a:lnTo>
                    <a:lnTo>
                      <a:pt x="234" y="482"/>
                    </a:lnTo>
                    <a:lnTo>
                      <a:pt x="232" y="482"/>
                    </a:lnTo>
                    <a:lnTo>
                      <a:pt x="232" y="480"/>
                    </a:lnTo>
                    <a:lnTo>
                      <a:pt x="230" y="480"/>
                    </a:lnTo>
                    <a:lnTo>
                      <a:pt x="230" y="482"/>
                    </a:lnTo>
                    <a:lnTo>
                      <a:pt x="230" y="484"/>
                    </a:lnTo>
                    <a:lnTo>
                      <a:pt x="230" y="486"/>
                    </a:lnTo>
                    <a:lnTo>
                      <a:pt x="228" y="486"/>
                    </a:lnTo>
                    <a:lnTo>
                      <a:pt x="228" y="488"/>
                    </a:lnTo>
                    <a:lnTo>
                      <a:pt x="228" y="490"/>
                    </a:lnTo>
                    <a:lnTo>
                      <a:pt x="228" y="492"/>
                    </a:lnTo>
                    <a:lnTo>
                      <a:pt x="228" y="494"/>
                    </a:lnTo>
                    <a:lnTo>
                      <a:pt x="228" y="496"/>
                    </a:lnTo>
                    <a:lnTo>
                      <a:pt x="227" y="496"/>
                    </a:lnTo>
                    <a:lnTo>
                      <a:pt x="225" y="497"/>
                    </a:lnTo>
                    <a:lnTo>
                      <a:pt x="225" y="499"/>
                    </a:lnTo>
                    <a:lnTo>
                      <a:pt x="225" y="501"/>
                    </a:lnTo>
                    <a:lnTo>
                      <a:pt x="225" y="503"/>
                    </a:lnTo>
                    <a:lnTo>
                      <a:pt x="223" y="503"/>
                    </a:lnTo>
                    <a:lnTo>
                      <a:pt x="223" y="505"/>
                    </a:lnTo>
                    <a:lnTo>
                      <a:pt x="225" y="505"/>
                    </a:lnTo>
                    <a:lnTo>
                      <a:pt x="225" y="507"/>
                    </a:lnTo>
                    <a:lnTo>
                      <a:pt x="223" y="507"/>
                    </a:lnTo>
                    <a:lnTo>
                      <a:pt x="223" y="509"/>
                    </a:lnTo>
                    <a:lnTo>
                      <a:pt x="223" y="507"/>
                    </a:lnTo>
                    <a:lnTo>
                      <a:pt x="221" y="509"/>
                    </a:lnTo>
                    <a:lnTo>
                      <a:pt x="221" y="511"/>
                    </a:lnTo>
                    <a:lnTo>
                      <a:pt x="221" y="513"/>
                    </a:lnTo>
                    <a:lnTo>
                      <a:pt x="219" y="513"/>
                    </a:lnTo>
                    <a:lnTo>
                      <a:pt x="219" y="515"/>
                    </a:lnTo>
                    <a:lnTo>
                      <a:pt x="219" y="517"/>
                    </a:lnTo>
                    <a:lnTo>
                      <a:pt x="217" y="517"/>
                    </a:lnTo>
                    <a:lnTo>
                      <a:pt x="215" y="517"/>
                    </a:lnTo>
                    <a:lnTo>
                      <a:pt x="215" y="519"/>
                    </a:lnTo>
                    <a:lnTo>
                      <a:pt x="215" y="521"/>
                    </a:lnTo>
                    <a:lnTo>
                      <a:pt x="215" y="522"/>
                    </a:lnTo>
                    <a:lnTo>
                      <a:pt x="215" y="524"/>
                    </a:lnTo>
                    <a:lnTo>
                      <a:pt x="215" y="526"/>
                    </a:lnTo>
                    <a:lnTo>
                      <a:pt x="215" y="528"/>
                    </a:lnTo>
                    <a:lnTo>
                      <a:pt x="217" y="528"/>
                    </a:lnTo>
                    <a:lnTo>
                      <a:pt x="215" y="528"/>
                    </a:lnTo>
                    <a:lnTo>
                      <a:pt x="215" y="530"/>
                    </a:lnTo>
                    <a:lnTo>
                      <a:pt x="215" y="532"/>
                    </a:lnTo>
                    <a:lnTo>
                      <a:pt x="215" y="534"/>
                    </a:lnTo>
                    <a:lnTo>
                      <a:pt x="215" y="536"/>
                    </a:lnTo>
                    <a:lnTo>
                      <a:pt x="215" y="538"/>
                    </a:lnTo>
                    <a:lnTo>
                      <a:pt x="215" y="540"/>
                    </a:lnTo>
                    <a:lnTo>
                      <a:pt x="213" y="540"/>
                    </a:lnTo>
                    <a:lnTo>
                      <a:pt x="213" y="542"/>
                    </a:lnTo>
                    <a:lnTo>
                      <a:pt x="213" y="544"/>
                    </a:lnTo>
                    <a:lnTo>
                      <a:pt x="211" y="544"/>
                    </a:lnTo>
                    <a:lnTo>
                      <a:pt x="213" y="544"/>
                    </a:lnTo>
                    <a:lnTo>
                      <a:pt x="211" y="544"/>
                    </a:lnTo>
                    <a:lnTo>
                      <a:pt x="211" y="546"/>
                    </a:lnTo>
                    <a:lnTo>
                      <a:pt x="211" y="547"/>
                    </a:lnTo>
                    <a:lnTo>
                      <a:pt x="209" y="547"/>
                    </a:lnTo>
                    <a:lnTo>
                      <a:pt x="211" y="547"/>
                    </a:lnTo>
                    <a:lnTo>
                      <a:pt x="211" y="549"/>
                    </a:lnTo>
                    <a:lnTo>
                      <a:pt x="209" y="549"/>
                    </a:lnTo>
                    <a:lnTo>
                      <a:pt x="207" y="549"/>
                    </a:lnTo>
                    <a:lnTo>
                      <a:pt x="207" y="551"/>
                    </a:lnTo>
                    <a:lnTo>
                      <a:pt x="207" y="553"/>
                    </a:lnTo>
                    <a:lnTo>
                      <a:pt x="207" y="555"/>
                    </a:lnTo>
                    <a:lnTo>
                      <a:pt x="205" y="555"/>
                    </a:lnTo>
                    <a:lnTo>
                      <a:pt x="205" y="557"/>
                    </a:lnTo>
                    <a:lnTo>
                      <a:pt x="204" y="557"/>
                    </a:lnTo>
                    <a:lnTo>
                      <a:pt x="204" y="559"/>
                    </a:lnTo>
                    <a:lnTo>
                      <a:pt x="202" y="559"/>
                    </a:lnTo>
                    <a:lnTo>
                      <a:pt x="202" y="561"/>
                    </a:lnTo>
                    <a:lnTo>
                      <a:pt x="202" y="563"/>
                    </a:lnTo>
                    <a:lnTo>
                      <a:pt x="202" y="565"/>
                    </a:lnTo>
                    <a:lnTo>
                      <a:pt x="200" y="565"/>
                    </a:lnTo>
                    <a:lnTo>
                      <a:pt x="200" y="567"/>
                    </a:lnTo>
                    <a:lnTo>
                      <a:pt x="200" y="569"/>
                    </a:lnTo>
                    <a:lnTo>
                      <a:pt x="198" y="569"/>
                    </a:lnTo>
                    <a:lnTo>
                      <a:pt x="198" y="570"/>
                    </a:lnTo>
                    <a:lnTo>
                      <a:pt x="198" y="572"/>
                    </a:lnTo>
                    <a:lnTo>
                      <a:pt x="198" y="574"/>
                    </a:lnTo>
                    <a:lnTo>
                      <a:pt x="198" y="576"/>
                    </a:lnTo>
                    <a:lnTo>
                      <a:pt x="198" y="578"/>
                    </a:lnTo>
                    <a:lnTo>
                      <a:pt x="198" y="580"/>
                    </a:lnTo>
                    <a:lnTo>
                      <a:pt x="198" y="582"/>
                    </a:lnTo>
                    <a:lnTo>
                      <a:pt x="200" y="582"/>
                    </a:lnTo>
                    <a:lnTo>
                      <a:pt x="200" y="584"/>
                    </a:lnTo>
                    <a:lnTo>
                      <a:pt x="202" y="584"/>
                    </a:lnTo>
                    <a:lnTo>
                      <a:pt x="204" y="586"/>
                    </a:lnTo>
                    <a:lnTo>
                      <a:pt x="204" y="588"/>
                    </a:lnTo>
                    <a:lnTo>
                      <a:pt x="202" y="588"/>
                    </a:lnTo>
                    <a:lnTo>
                      <a:pt x="202" y="590"/>
                    </a:lnTo>
                    <a:lnTo>
                      <a:pt x="202" y="592"/>
                    </a:lnTo>
                    <a:lnTo>
                      <a:pt x="202" y="590"/>
                    </a:lnTo>
                    <a:lnTo>
                      <a:pt x="202" y="592"/>
                    </a:lnTo>
                    <a:lnTo>
                      <a:pt x="200" y="59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5" name="Freeform 40"/>
              <p:cNvSpPr>
                <a:spLocks noEditPoints="1"/>
              </p:cNvSpPr>
              <p:nvPr/>
            </p:nvSpPr>
            <p:spPr bwMode="auto">
              <a:xfrm>
                <a:off x="6124709" y="2306282"/>
                <a:ext cx="677927" cy="1225085"/>
              </a:xfrm>
              <a:custGeom>
                <a:avLst/>
                <a:gdLst>
                  <a:gd name="T0" fmla="*/ 269 w 394"/>
                  <a:gd name="T1" fmla="*/ 614 h 712"/>
                  <a:gd name="T2" fmla="*/ 273 w 394"/>
                  <a:gd name="T3" fmla="*/ 604 h 712"/>
                  <a:gd name="T4" fmla="*/ 279 w 394"/>
                  <a:gd name="T5" fmla="*/ 592 h 712"/>
                  <a:gd name="T6" fmla="*/ 285 w 394"/>
                  <a:gd name="T7" fmla="*/ 587 h 712"/>
                  <a:gd name="T8" fmla="*/ 283 w 394"/>
                  <a:gd name="T9" fmla="*/ 585 h 712"/>
                  <a:gd name="T10" fmla="*/ 292 w 394"/>
                  <a:gd name="T11" fmla="*/ 577 h 712"/>
                  <a:gd name="T12" fmla="*/ 298 w 394"/>
                  <a:gd name="T13" fmla="*/ 565 h 712"/>
                  <a:gd name="T14" fmla="*/ 292 w 394"/>
                  <a:gd name="T15" fmla="*/ 567 h 712"/>
                  <a:gd name="T16" fmla="*/ 300 w 394"/>
                  <a:gd name="T17" fmla="*/ 562 h 712"/>
                  <a:gd name="T18" fmla="*/ 302 w 394"/>
                  <a:gd name="T19" fmla="*/ 558 h 712"/>
                  <a:gd name="T20" fmla="*/ 306 w 394"/>
                  <a:gd name="T21" fmla="*/ 556 h 712"/>
                  <a:gd name="T22" fmla="*/ 304 w 394"/>
                  <a:gd name="T23" fmla="*/ 552 h 712"/>
                  <a:gd name="T24" fmla="*/ 304 w 394"/>
                  <a:gd name="T25" fmla="*/ 556 h 712"/>
                  <a:gd name="T26" fmla="*/ 304 w 394"/>
                  <a:gd name="T27" fmla="*/ 552 h 712"/>
                  <a:gd name="T28" fmla="*/ 302 w 394"/>
                  <a:gd name="T29" fmla="*/ 548 h 712"/>
                  <a:gd name="T30" fmla="*/ 306 w 394"/>
                  <a:gd name="T31" fmla="*/ 546 h 712"/>
                  <a:gd name="T32" fmla="*/ 304 w 394"/>
                  <a:gd name="T33" fmla="*/ 544 h 712"/>
                  <a:gd name="T34" fmla="*/ 304 w 394"/>
                  <a:gd name="T35" fmla="*/ 537 h 712"/>
                  <a:gd name="T36" fmla="*/ 309 w 394"/>
                  <a:gd name="T37" fmla="*/ 533 h 712"/>
                  <a:gd name="T38" fmla="*/ 308 w 394"/>
                  <a:gd name="T39" fmla="*/ 527 h 712"/>
                  <a:gd name="T40" fmla="*/ 298 w 394"/>
                  <a:gd name="T41" fmla="*/ 525 h 712"/>
                  <a:gd name="T42" fmla="*/ 300 w 394"/>
                  <a:gd name="T43" fmla="*/ 519 h 712"/>
                  <a:gd name="T44" fmla="*/ 298 w 394"/>
                  <a:gd name="T45" fmla="*/ 519 h 712"/>
                  <a:gd name="T46" fmla="*/ 298 w 394"/>
                  <a:gd name="T47" fmla="*/ 515 h 712"/>
                  <a:gd name="T48" fmla="*/ 296 w 394"/>
                  <a:gd name="T49" fmla="*/ 506 h 712"/>
                  <a:gd name="T50" fmla="*/ 321 w 394"/>
                  <a:gd name="T51" fmla="*/ 479 h 712"/>
                  <a:gd name="T52" fmla="*/ 277 w 394"/>
                  <a:gd name="T53" fmla="*/ 490 h 712"/>
                  <a:gd name="T54" fmla="*/ 271 w 394"/>
                  <a:gd name="T55" fmla="*/ 485 h 712"/>
                  <a:gd name="T56" fmla="*/ 263 w 394"/>
                  <a:gd name="T57" fmla="*/ 477 h 712"/>
                  <a:gd name="T58" fmla="*/ 265 w 394"/>
                  <a:gd name="T59" fmla="*/ 479 h 712"/>
                  <a:gd name="T60" fmla="*/ 250 w 394"/>
                  <a:gd name="T61" fmla="*/ 483 h 712"/>
                  <a:gd name="T62" fmla="*/ 298 w 394"/>
                  <a:gd name="T63" fmla="*/ 456 h 712"/>
                  <a:gd name="T64" fmla="*/ 246 w 394"/>
                  <a:gd name="T65" fmla="*/ 479 h 712"/>
                  <a:gd name="T66" fmla="*/ 244 w 394"/>
                  <a:gd name="T67" fmla="*/ 485 h 712"/>
                  <a:gd name="T68" fmla="*/ 242 w 394"/>
                  <a:gd name="T69" fmla="*/ 479 h 712"/>
                  <a:gd name="T70" fmla="*/ 302 w 394"/>
                  <a:gd name="T71" fmla="*/ 446 h 712"/>
                  <a:gd name="T72" fmla="*/ 281 w 394"/>
                  <a:gd name="T73" fmla="*/ 452 h 712"/>
                  <a:gd name="T74" fmla="*/ 258 w 394"/>
                  <a:gd name="T75" fmla="*/ 454 h 712"/>
                  <a:gd name="T76" fmla="*/ 294 w 394"/>
                  <a:gd name="T77" fmla="*/ 429 h 712"/>
                  <a:gd name="T78" fmla="*/ 288 w 394"/>
                  <a:gd name="T79" fmla="*/ 429 h 712"/>
                  <a:gd name="T80" fmla="*/ 283 w 394"/>
                  <a:gd name="T81" fmla="*/ 427 h 712"/>
                  <a:gd name="T82" fmla="*/ 286 w 394"/>
                  <a:gd name="T83" fmla="*/ 425 h 712"/>
                  <a:gd name="T84" fmla="*/ 154 w 394"/>
                  <a:gd name="T85" fmla="*/ 410 h 712"/>
                  <a:gd name="T86" fmla="*/ 152 w 394"/>
                  <a:gd name="T87" fmla="*/ 417 h 712"/>
                  <a:gd name="T88" fmla="*/ 54 w 394"/>
                  <a:gd name="T89" fmla="*/ 452 h 712"/>
                  <a:gd name="T90" fmla="*/ 146 w 394"/>
                  <a:gd name="T91" fmla="*/ 412 h 712"/>
                  <a:gd name="T92" fmla="*/ 144 w 394"/>
                  <a:gd name="T93" fmla="*/ 417 h 712"/>
                  <a:gd name="T94" fmla="*/ 48 w 394"/>
                  <a:gd name="T95" fmla="*/ 450 h 712"/>
                  <a:gd name="T96" fmla="*/ 62 w 394"/>
                  <a:gd name="T97" fmla="*/ 442 h 712"/>
                  <a:gd name="T98" fmla="*/ 64 w 394"/>
                  <a:gd name="T99" fmla="*/ 433 h 712"/>
                  <a:gd name="T100" fmla="*/ 104 w 394"/>
                  <a:gd name="T101" fmla="*/ 421 h 712"/>
                  <a:gd name="T102" fmla="*/ 66 w 394"/>
                  <a:gd name="T103" fmla="*/ 433 h 712"/>
                  <a:gd name="T104" fmla="*/ 156 w 394"/>
                  <a:gd name="T105" fmla="*/ 392 h 712"/>
                  <a:gd name="T106" fmla="*/ 112 w 394"/>
                  <a:gd name="T107" fmla="*/ 396 h 712"/>
                  <a:gd name="T108" fmla="*/ 100 w 394"/>
                  <a:gd name="T109" fmla="*/ 400 h 712"/>
                  <a:gd name="T110" fmla="*/ 148 w 394"/>
                  <a:gd name="T111" fmla="*/ 366 h 712"/>
                  <a:gd name="T112" fmla="*/ 196 w 394"/>
                  <a:gd name="T113" fmla="*/ 16 h 712"/>
                  <a:gd name="T114" fmla="*/ 150 w 394"/>
                  <a:gd name="T115" fmla="*/ 35 h 712"/>
                  <a:gd name="T116" fmla="*/ 200 w 394"/>
                  <a:gd name="T117" fmla="*/ 2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4" h="712">
                    <a:moveTo>
                      <a:pt x="394" y="710"/>
                    </a:moveTo>
                    <a:lnTo>
                      <a:pt x="394" y="712"/>
                    </a:lnTo>
                    <a:lnTo>
                      <a:pt x="394" y="710"/>
                    </a:lnTo>
                    <a:close/>
                    <a:moveTo>
                      <a:pt x="267" y="625"/>
                    </a:moveTo>
                    <a:lnTo>
                      <a:pt x="267" y="623"/>
                    </a:lnTo>
                    <a:lnTo>
                      <a:pt x="267" y="625"/>
                    </a:lnTo>
                    <a:close/>
                    <a:moveTo>
                      <a:pt x="269" y="621"/>
                    </a:moveTo>
                    <a:lnTo>
                      <a:pt x="269" y="619"/>
                    </a:lnTo>
                    <a:lnTo>
                      <a:pt x="269" y="621"/>
                    </a:lnTo>
                    <a:close/>
                    <a:moveTo>
                      <a:pt x="269" y="615"/>
                    </a:moveTo>
                    <a:lnTo>
                      <a:pt x="269" y="614"/>
                    </a:lnTo>
                    <a:lnTo>
                      <a:pt x="269" y="612"/>
                    </a:lnTo>
                    <a:lnTo>
                      <a:pt x="269" y="614"/>
                    </a:lnTo>
                    <a:lnTo>
                      <a:pt x="269" y="615"/>
                    </a:lnTo>
                    <a:close/>
                    <a:moveTo>
                      <a:pt x="269" y="612"/>
                    </a:moveTo>
                    <a:lnTo>
                      <a:pt x="271" y="612"/>
                    </a:lnTo>
                    <a:lnTo>
                      <a:pt x="269" y="612"/>
                    </a:lnTo>
                    <a:close/>
                    <a:moveTo>
                      <a:pt x="273" y="604"/>
                    </a:moveTo>
                    <a:lnTo>
                      <a:pt x="273" y="602"/>
                    </a:lnTo>
                    <a:lnTo>
                      <a:pt x="275" y="602"/>
                    </a:lnTo>
                    <a:lnTo>
                      <a:pt x="275" y="604"/>
                    </a:lnTo>
                    <a:lnTo>
                      <a:pt x="273" y="604"/>
                    </a:lnTo>
                    <a:close/>
                    <a:moveTo>
                      <a:pt x="277" y="600"/>
                    </a:moveTo>
                    <a:lnTo>
                      <a:pt x="275" y="600"/>
                    </a:lnTo>
                    <a:lnTo>
                      <a:pt x="277" y="600"/>
                    </a:lnTo>
                    <a:close/>
                    <a:moveTo>
                      <a:pt x="273" y="604"/>
                    </a:moveTo>
                    <a:lnTo>
                      <a:pt x="273" y="602"/>
                    </a:lnTo>
                    <a:lnTo>
                      <a:pt x="273" y="604"/>
                    </a:lnTo>
                    <a:close/>
                    <a:moveTo>
                      <a:pt x="279" y="598"/>
                    </a:moveTo>
                    <a:lnTo>
                      <a:pt x="277" y="598"/>
                    </a:lnTo>
                    <a:lnTo>
                      <a:pt x="279" y="598"/>
                    </a:lnTo>
                    <a:close/>
                    <a:moveTo>
                      <a:pt x="277" y="592"/>
                    </a:moveTo>
                    <a:lnTo>
                      <a:pt x="279" y="592"/>
                    </a:lnTo>
                    <a:lnTo>
                      <a:pt x="279" y="594"/>
                    </a:lnTo>
                    <a:lnTo>
                      <a:pt x="279" y="596"/>
                    </a:lnTo>
                    <a:lnTo>
                      <a:pt x="277" y="598"/>
                    </a:lnTo>
                    <a:lnTo>
                      <a:pt x="277" y="596"/>
                    </a:lnTo>
                    <a:lnTo>
                      <a:pt x="277" y="594"/>
                    </a:lnTo>
                    <a:lnTo>
                      <a:pt x="277" y="592"/>
                    </a:lnTo>
                    <a:close/>
                    <a:moveTo>
                      <a:pt x="286" y="585"/>
                    </a:moveTo>
                    <a:lnTo>
                      <a:pt x="285" y="585"/>
                    </a:lnTo>
                    <a:lnTo>
                      <a:pt x="286" y="585"/>
                    </a:lnTo>
                    <a:close/>
                    <a:moveTo>
                      <a:pt x="286" y="587"/>
                    </a:moveTo>
                    <a:lnTo>
                      <a:pt x="285" y="587"/>
                    </a:lnTo>
                    <a:lnTo>
                      <a:pt x="286" y="585"/>
                    </a:lnTo>
                    <a:lnTo>
                      <a:pt x="286" y="583"/>
                    </a:lnTo>
                    <a:lnTo>
                      <a:pt x="288" y="583"/>
                    </a:lnTo>
                    <a:lnTo>
                      <a:pt x="288" y="585"/>
                    </a:lnTo>
                    <a:lnTo>
                      <a:pt x="286" y="585"/>
                    </a:lnTo>
                    <a:lnTo>
                      <a:pt x="286" y="587"/>
                    </a:lnTo>
                    <a:close/>
                    <a:moveTo>
                      <a:pt x="286" y="583"/>
                    </a:moveTo>
                    <a:lnTo>
                      <a:pt x="288" y="583"/>
                    </a:lnTo>
                    <a:lnTo>
                      <a:pt x="286" y="583"/>
                    </a:lnTo>
                    <a:close/>
                    <a:moveTo>
                      <a:pt x="283" y="587"/>
                    </a:moveTo>
                    <a:lnTo>
                      <a:pt x="283" y="585"/>
                    </a:lnTo>
                    <a:lnTo>
                      <a:pt x="281" y="585"/>
                    </a:lnTo>
                    <a:lnTo>
                      <a:pt x="281" y="583"/>
                    </a:lnTo>
                    <a:lnTo>
                      <a:pt x="281" y="585"/>
                    </a:lnTo>
                    <a:lnTo>
                      <a:pt x="283" y="585"/>
                    </a:lnTo>
                    <a:lnTo>
                      <a:pt x="283" y="587"/>
                    </a:lnTo>
                    <a:close/>
                    <a:moveTo>
                      <a:pt x="338" y="554"/>
                    </a:moveTo>
                    <a:lnTo>
                      <a:pt x="340" y="554"/>
                    </a:lnTo>
                    <a:lnTo>
                      <a:pt x="338" y="554"/>
                    </a:lnTo>
                    <a:close/>
                    <a:moveTo>
                      <a:pt x="292" y="577"/>
                    </a:moveTo>
                    <a:lnTo>
                      <a:pt x="292" y="575"/>
                    </a:lnTo>
                    <a:lnTo>
                      <a:pt x="292" y="577"/>
                    </a:lnTo>
                    <a:close/>
                    <a:moveTo>
                      <a:pt x="290" y="579"/>
                    </a:moveTo>
                    <a:lnTo>
                      <a:pt x="290" y="577"/>
                    </a:lnTo>
                    <a:lnTo>
                      <a:pt x="292" y="577"/>
                    </a:lnTo>
                    <a:lnTo>
                      <a:pt x="290" y="577"/>
                    </a:lnTo>
                    <a:lnTo>
                      <a:pt x="290" y="579"/>
                    </a:lnTo>
                    <a:close/>
                    <a:moveTo>
                      <a:pt x="294" y="575"/>
                    </a:moveTo>
                    <a:lnTo>
                      <a:pt x="292" y="573"/>
                    </a:lnTo>
                    <a:lnTo>
                      <a:pt x="292" y="571"/>
                    </a:lnTo>
                    <a:lnTo>
                      <a:pt x="294" y="573"/>
                    </a:lnTo>
                    <a:lnTo>
                      <a:pt x="294" y="575"/>
                    </a:lnTo>
                    <a:close/>
                    <a:moveTo>
                      <a:pt x="298" y="565"/>
                    </a:moveTo>
                    <a:lnTo>
                      <a:pt x="298" y="567"/>
                    </a:lnTo>
                    <a:lnTo>
                      <a:pt x="296" y="567"/>
                    </a:lnTo>
                    <a:lnTo>
                      <a:pt x="294" y="569"/>
                    </a:lnTo>
                    <a:lnTo>
                      <a:pt x="292" y="569"/>
                    </a:lnTo>
                    <a:lnTo>
                      <a:pt x="294" y="569"/>
                    </a:lnTo>
                    <a:lnTo>
                      <a:pt x="294" y="567"/>
                    </a:lnTo>
                    <a:lnTo>
                      <a:pt x="296" y="567"/>
                    </a:lnTo>
                    <a:lnTo>
                      <a:pt x="298" y="565"/>
                    </a:lnTo>
                    <a:close/>
                    <a:moveTo>
                      <a:pt x="294" y="567"/>
                    </a:moveTo>
                    <a:lnTo>
                      <a:pt x="292" y="569"/>
                    </a:lnTo>
                    <a:lnTo>
                      <a:pt x="292" y="567"/>
                    </a:lnTo>
                    <a:lnTo>
                      <a:pt x="294" y="567"/>
                    </a:lnTo>
                    <a:close/>
                    <a:moveTo>
                      <a:pt x="292" y="567"/>
                    </a:moveTo>
                    <a:lnTo>
                      <a:pt x="292" y="569"/>
                    </a:lnTo>
                    <a:lnTo>
                      <a:pt x="292" y="567"/>
                    </a:lnTo>
                    <a:lnTo>
                      <a:pt x="292" y="569"/>
                    </a:lnTo>
                    <a:lnTo>
                      <a:pt x="292" y="571"/>
                    </a:lnTo>
                    <a:lnTo>
                      <a:pt x="290" y="571"/>
                    </a:lnTo>
                    <a:lnTo>
                      <a:pt x="290" y="569"/>
                    </a:lnTo>
                    <a:lnTo>
                      <a:pt x="290" y="567"/>
                    </a:lnTo>
                    <a:lnTo>
                      <a:pt x="292" y="567"/>
                    </a:lnTo>
                    <a:close/>
                    <a:moveTo>
                      <a:pt x="300" y="562"/>
                    </a:moveTo>
                    <a:lnTo>
                      <a:pt x="300" y="560"/>
                    </a:lnTo>
                    <a:lnTo>
                      <a:pt x="300" y="562"/>
                    </a:lnTo>
                    <a:lnTo>
                      <a:pt x="298" y="564"/>
                    </a:lnTo>
                    <a:lnTo>
                      <a:pt x="298" y="562"/>
                    </a:lnTo>
                    <a:lnTo>
                      <a:pt x="300" y="560"/>
                    </a:lnTo>
                    <a:lnTo>
                      <a:pt x="300" y="562"/>
                    </a:lnTo>
                    <a:close/>
                    <a:moveTo>
                      <a:pt x="302" y="560"/>
                    </a:moveTo>
                    <a:lnTo>
                      <a:pt x="302" y="558"/>
                    </a:lnTo>
                    <a:lnTo>
                      <a:pt x="302" y="560"/>
                    </a:lnTo>
                    <a:close/>
                    <a:moveTo>
                      <a:pt x="304" y="558"/>
                    </a:moveTo>
                    <a:lnTo>
                      <a:pt x="302" y="558"/>
                    </a:lnTo>
                    <a:lnTo>
                      <a:pt x="304" y="558"/>
                    </a:lnTo>
                    <a:close/>
                    <a:moveTo>
                      <a:pt x="304" y="556"/>
                    </a:moveTo>
                    <a:lnTo>
                      <a:pt x="302" y="558"/>
                    </a:lnTo>
                    <a:lnTo>
                      <a:pt x="302" y="556"/>
                    </a:lnTo>
                    <a:lnTo>
                      <a:pt x="304" y="556"/>
                    </a:lnTo>
                    <a:close/>
                    <a:moveTo>
                      <a:pt x="302" y="556"/>
                    </a:moveTo>
                    <a:lnTo>
                      <a:pt x="302" y="554"/>
                    </a:lnTo>
                    <a:lnTo>
                      <a:pt x="302" y="556"/>
                    </a:lnTo>
                    <a:close/>
                    <a:moveTo>
                      <a:pt x="306" y="552"/>
                    </a:moveTo>
                    <a:lnTo>
                      <a:pt x="306" y="554"/>
                    </a:lnTo>
                    <a:lnTo>
                      <a:pt x="306" y="556"/>
                    </a:lnTo>
                    <a:lnTo>
                      <a:pt x="308" y="556"/>
                    </a:lnTo>
                    <a:lnTo>
                      <a:pt x="308" y="558"/>
                    </a:lnTo>
                    <a:lnTo>
                      <a:pt x="308" y="560"/>
                    </a:lnTo>
                    <a:lnTo>
                      <a:pt x="306" y="560"/>
                    </a:lnTo>
                    <a:lnTo>
                      <a:pt x="304" y="560"/>
                    </a:lnTo>
                    <a:lnTo>
                      <a:pt x="302" y="562"/>
                    </a:lnTo>
                    <a:lnTo>
                      <a:pt x="302" y="560"/>
                    </a:lnTo>
                    <a:lnTo>
                      <a:pt x="304" y="558"/>
                    </a:lnTo>
                    <a:lnTo>
                      <a:pt x="304" y="556"/>
                    </a:lnTo>
                    <a:lnTo>
                      <a:pt x="304" y="554"/>
                    </a:lnTo>
                    <a:lnTo>
                      <a:pt x="304" y="552"/>
                    </a:lnTo>
                    <a:lnTo>
                      <a:pt x="306" y="552"/>
                    </a:lnTo>
                    <a:close/>
                    <a:moveTo>
                      <a:pt x="306" y="552"/>
                    </a:moveTo>
                    <a:lnTo>
                      <a:pt x="304" y="552"/>
                    </a:lnTo>
                    <a:lnTo>
                      <a:pt x="306" y="552"/>
                    </a:lnTo>
                    <a:close/>
                    <a:moveTo>
                      <a:pt x="302" y="554"/>
                    </a:moveTo>
                    <a:lnTo>
                      <a:pt x="302" y="552"/>
                    </a:lnTo>
                    <a:lnTo>
                      <a:pt x="302" y="554"/>
                    </a:lnTo>
                    <a:close/>
                    <a:moveTo>
                      <a:pt x="304" y="554"/>
                    </a:moveTo>
                    <a:lnTo>
                      <a:pt x="304" y="552"/>
                    </a:lnTo>
                    <a:lnTo>
                      <a:pt x="304" y="554"/>
                    </a:lnTo>
                    <a:lnTo>
                      <a:pt x="304" y="556"/>
                    </a:lnTo>
                    <a:lnTo>
                      <a:pt x="302" y="556"/>
                    </a:lnTo>
                    <a:lnTo>
                      <a:pt x="302" y="554"/>
                    </a:lnTo>
                    <a:lnTo>
                      <a:pt x="304" y="554"/>
                    </a:lnTo>
                    <a:lnTo>
                      <a:pt x="304" y="552"/>
                    </a:lnTo>
                    <a:lnTo>
                      <a:pt x="304" y="554"/>
                    </a:lnTo>
                    <a:close/>
                    <a:moveTo>
                      <a:pt x="304" y="552"/>
                    </a:moveTo>
                    <a:lnTo>
                      <a:pt x="304" y="550"/>
                    </a:lnTo>
                    <a:lnTo>
                      <a:pt x="304" y="552"/>
                    </a:lnTo>
                    <a:close/>
                    <a:moveTo>
                      <a:pt x="306" y="550"/>
                    </a:moveTo>
                    <a:lnTo>
                      <a:pt x="306" y="552"/>
                    </a:lnTo>
                    <a:lnTo>
                      <a:pt x="304" y="552"/>
                    </a:lnTo>
                    <a:lnTo>
                      <a:pt x="304" y="550"/>
                    </a:lnTo>
                    <a:lnTo>
                      <a:pt x="306" y="550"/>
                    </a:lnTo>
                    <a:close/>
                    <a:moveTo>
                      <a:pt x="304" y="552"/>
                    </a:moveTo>
                    <a:lnTo>
                      <a:pt x="304" y="550"/>
                    </a:lnTo>
                    <a:lnTo>
                      <a:pt x="304" y="552"/>
                    </a:lnTo>
                    <a:close/>
                    <a:moveTo>
                      <a:pt x="302" y="552"/>
                    </a:moveTo>
                    <a:lnTo>
                      <a:pt x="302" y="550"/>
                    </a:lnTo>
                    <a:lnTo>
                      <a:pt x="304" y="550"/>
                    </a:lnTo>
                    <a:lnTo>
                      <a:pt x="304" y="552"/>
                    </a:lnTo>
                    <a:lnTo>
                      <a:pt x="302" y="552"/>
                    </a:lnTo>
                    <a:close/>
                    <a:moveTo>
                      <a:pt x="302" y="548"/>
                    </a:moveTo>
                    <a:lnTo>
                      <a:pt x="302" y="550"/>
                    </a:lnTo>
                    <a:lnTo>
                      <a:pt x="302" y="548"/>
                    </a:lnTo>
                    <a:close/>
                    <a:moveTo>
                      <a:pt x="306" y="546"/>
                    </a:moveTo>
                    <a:lnTo>
                      <a:pt x="308" y="546"/>
                    </a:lnTo>
                    <a:lnTo>
                      <a:pt x="308" y="548"/>
                    </a:lnTo>
                    <a:lnTo>
                      <a:pt x="309" y="548"/>
                    </a:lnTo>
                    <a:lnTo>
                      <a:pt x="309" y="550"/>
                    </a:lnTo>
                    <a:lnTo>
                      <a:pt x="308" y="550"/>
                    </a:lnTo>
                    <a:lnTo>
                      <a:pt x="306" y="550"/>
                    </a:lnTo>
                    <a:lnTo>
                      <a:pt x="306" y="548"/>
                    </a:lnTo>
                    <a:lnTo>
                      <a:pt x="306" y="546"/>
                    </a:lnTo>
                    <a:close/>
                    <a:moveTo>
                      <a:pt x="306" y="546"/>
                    </a:moveTo>
                    <a:lnTo>
                      <a:pt x="306" y="544"/>
                    </a:lnTo>
                    <a:lnTo>
                      <a:pt x="308" y="544"/>
                    </a:lnTo>
                    <a:lnTo>
                      <a:pt x="308" y="546"/>
                    </a:lnTo>
                    <a:lnTo>
                      <a:pt x="306" y="546"/>
                    </a:lnTo>
                    <a:close/>
                    <a:moveTo>
                      <a:pt x="304" y="546"/>
                    </a:moveTo>
                    <a:lnTo>
                      <a:pt x="304" y="548"/>
                    </a:lnTo>
                    <a:lnTo>
                      <a:pt x="302" y="546"/>
                    </a:lnTo>
                    <a:lnTo>
                      <a:pt x="304" y="544"/>
                    </a:lnTo>
                    <a:lnTo>
                      <a:pt x="304" y="546"/>
                    </a:lnTo>
                    <a:close/>
                    <a:moveTo>
                      <a:pt x="304" y="544"/>
                    </a:moveTo>
                    <a:lnTo>
                      <a:pt x="304" y="542"/>
                    </a:lnTo>
                    <a:lnTo>
                      <a:pt x="304" y="540"/>
                    </a:lnTo>
                    <a:lnTo>
                      <a:pt x="306" y="540"/>
                    </a:lnTo>
                    <a:lnTo>
                      <a:pt x="306" y="542"/>
                    </a:lnTo>
                    <a:lnTo>
                      <a:pt x="304" y="542"/>
                    </a:lnTo>
                    <a:lnTo>
                      <a:pt x="304" y="544"/>
                    </a:lnTo>
                    <a:close/>
                    <a:moveTo>
                      <a:pt x="306" y="540"/>
                    </a:moveTo>
                    <a:lnTo>
                      <a:pt x="306" y="539"/>
                    </a:lnTo>
                    <a:lnTo>
                      <a:pt x="306" y="540"/>
                    </a:lnTo>
                    <a:close/>
                    <a:moveTo>
                      <a:pt x="306" y="539"/>
                    </a:moveTo>
                    <a:lnTo>
                      <a:pt x="304" y="537"/>
                    </a:lnTo>
                    <a:lnTo>
                      <a:pt x="306" y="537"/>
                    </a:lnTo>
                    <a:lnTo>
                      <a:pt x="306" y="539"/>
                    </a:lnTo>
                    <a:close/>
                    <a:moveTo>
                      <a:pt x="309" y="535"/>
                    </a:moveTo>
                    <a:lnTo>
                      <a:pt x="311" y="535"/>
                    </a:lnTo>
                    <a:lnTo>
                      <a:pt x="311" y="537"/>
                    </a:lnTo>
                    <a:lnTo>
                      <a:pt x="309" y="537"/>
                    </a:lnTo>
                    <a:lnTo>
                      <a:pt x="309" y="535"/>
                    </a:lnTo>
                    <a:close/>
                    <a:moveTo>
                      <a:pt x="309" y="533"/>
                    </a:moveTo>
                    <a:lnTo>
                      <a:pt x="308" y="533"/>
                    </a:lnTo>
                    <a:lnTo>
                      <a:pt x="309" y="533"/>
                    </a:lnTo>
                    <a:close/>
                    <a:moveTo>
                      <a:pt x="309" y="533"/>
                    </a:moveTo>
                    <a:lnTo>
                      <a:pt x="308" y="531"/>
                    </a:lnTo>
                    <a:lnTo>
                      <a:pt x="309" y="531"/>
                    </a:lnTo>
                    <a:lnTo>
                      <a:pt x="309" y="533"/>
                    </a:lnTo>
                    <a:close/>
                    <a:moveTo>
                      <a:pt x="300" y="533"/>
                    </a:moveTo>
                    <a:lnTo>
                      <a:pt x="298" y="533"/>
                    </a:lnTo>
                    <a:lnTo>
                      <a:pt x="298" y="531"/>
                    </a:lnTo>
                    <a:lnTo>
                      <a:pt x="300" y="531"/>
                    </a:lnTo>
                    <a:lnTo>
                      <a:pt x="300" y="533"/>
                    </a:lnTo>
                    <a:close/>
                    <a:moveTo>
                      <a:pt x="308" y="529"/>
                    </a:moveTo>
                    <a:lnTo>
                      <a:pt x="306" y="527"/>
                    </a:lnTo>
                    <a:lnTo>
                      <a:pt x="308" y="527"/>
                    </a:lnTo>
                    <a:lnTo>
                      <a:pt x="308" y="529"/>
                    </a:lnTo>
                    <a:close/>
                    <a:moveTo>
                      <a:pt x="306" y="527"/>
                    </a:moveTo>
                    <a:lnTo>
                      <a:pt x="304" y="527"/>
                    </a:lnTo>
                    <a:lnTo>
                      <a:pt x="304" y="525"/>
                    </a:lnTo>
                    <a:lnTo>
                      <a:pt x="304" y="527"/>
                    </a:lnTo>
                    <a:lnTo>
                      <a:pt x="306" y="527"/>
                    </a:lnTo>
                    <a:close/>
                    <a:moveTo>
                      <a:pt x="298" y="525"/>
                    </a:moveTo>
                    <a:lnTo>
                      <a:pt x="296" y="525"/>
                    </a:lnTo>
                    <a:lnTo>
                      <a:pt x="296" y="523"/>
                    </a:lnTo>
                    <a:lnTo>
                      <a:pt x="298" y="523"/>
                    </a:lnTo>
                    <a:lnTo>
                      <a:pt x="298" y="525"/>
                    </a:lnTo>
                    <a:close/>
                    <a:moveTo>
                      <a:pt x="304" y="525"/>
                    </a:moveTo>
                    <a:lnTo>
                      <a:pt x="302" y="525"/>
                    </a:lnTo>
                    <a:lnTo>
                      <a:pt x="300" y="523"/>
                    </a:lnTo>
                    <a:lnTo>
                      <a:pt x="300" y="521"/>
                    </a:lnTo>
                    <a:lnTo>
                      <a:pt x="302" y="521"/>
                    </a:lnTo>
                    <a:lnTo>
                      <a:pt x="304" y="523"/>
                    </a:lnTo>
                    <a:lnTo>
                      <a:pt x="304" y="525"/>
                    </a:lnTo>
                    <a:close/>
                    <a:moveTo>
                      <a:pt x="300" y="521"/>
                    </a:moveTo>
                    <a:lnTo>
                      <a:pt x="298" y="521"/>
                    </a:lnTo>
                    <a:lnTo>
                      <a:pt x="298" y="519"/>
                    </a:lnTo>
                    <a:lnTo>
                      <a:pt x="300" y="519"/>
                    </a:lnTo>
                    <a:lnTo>
                      <a:pt x="300" y="521"/>
                    </a:lnTo>
                    <a:close/>
                    <a:moveTo>
                      <a:pt x="300" y="519"/>
                    </a:moveTo>
                    <a:lnTo>
                      <a:pt x="298" y="519"/>
                    </a:lnTo>
                    <a:lnTo>
                      <a:pt x="300" y="517"/>
                    </a:lnTo>
                    <a:lnTo>
                      <a:pt x="300" y="519"/>
                    </a:lnTo>
                    <a:close/>
                    <a:moveTo>
                      <a:pt x="298" y="514"/>
                    </a:moveTo>
                    <a:lnTo>
                      <a:pt x="298" y="515"/>
                    </a:lnTo>
                    <a:lnTo>
                      <a:pt x="300" y="515"/>
                    </a:lnTo>
                    <a:lnTo>
                      <a:pt x="300" y="517"/>
                    </a:lnTo>
                    <a:lnTo>
                      <a:pt x="298" y="517"/>
                    </a:lnTo>
                    <a:lnTo>
                      <a:pt x="298" y="519"/>
                    </a:lnTo>
                    <a:lnTo>
                      <a:pt x="298" y="521"/>
                    </a:lnTo>
                    <a:lnTo>
                      <a:pt x="298" y="519"/>
                    </a:lnTo>
                    <a:lnTo>
                      <a:pt x="298" y="521"/>
                    </a:lnTo>
                    <a:lnTo>
                      <a:pt x="298" y="519"/>
                    </a:lnTo>
                    <a:lnTo>
                      <a:pt x="296" y="519"/>
                    </a:lnTo>
                    <a:lnTo>
                      <a:pt x="298" y="517"/>
                    </a:lnTo>
                    <a:lnTo>
                      <a:pt x="298" y="515"/>
                    </a:lnTo>
                    <a:lnTo>
                      <a:pt x="298" y="517"/>
                    </a:lnTo>
                    <a:lnTo>
                      <a:pt x="298" y="515"/>
                    </a:lnTo>
                    <a:lnTo>
                      <a:pt x="298" y="514"/>
                    </a:lnTo>
                    <a:close/>
                    <a:moveTo>
                      <a:pt x="298" y="515"/>
                    </a:moveTo>
                    <a:lnTo>
                      <a:pt x="298" y="514"/>
                    </a:lnTo>
                    <a:lnTo>
                      <a:pt x="298" y="515"/>
                    </a:lnTo>
                    <a:close/>
                    <a:moveTo>
                      <a:pt x="298" y="510"/>
                    </a:moveTo>
                    <a:lnTo>
                      <a:pt x="298" y="512"/>
                    </a:lnTo>
                    <a:lnTo>
                      <a:pt x="298" y="510"/>
                    </a:lnTo>
                    <a:close/>
                    <a:moveTo>
                      <a:pt x="298" y="510"/>
                    </a:moveTo>
                    <a:lnTo>
                      <a:pt x="298" y="508"/>
                    </a:lnTo>
                    <a:lnTo>
                      <a:pt x="298" y="510"/>
                    </a:lnTo>
                    <a:close/>
                    <a:moveTo>
                      <a:pt x="298" y="508"/>
                    </a:moveTo>
                    <a:lnTo>
                      <a:pt x="296" y="508"/>
                    </a:lnTo>
                    <a:lnTo>
                      <a:pt x="296" y="506"/>
                    </a:lnTo>
                    <a:lnTo>
                      <a:pt x="296" y="504"/>
                    </a:lnTo>
                    <a:lnTo>
                      <a:pt x="298" y="506"/>
                    </a:lnTo>
                    <a:lnTo>
                      <a:pt x="298" y="508"/>
                    </a:lnTo>
                    <a:close/>
                    <a:moveTo>
                      <a:pt x="294" y="500"/>
                    </a:moveTo>
                    <a:lnTo>
                      <a:pt x="294" y="502"/>
                    </a:lnTo>
                    <a:lnTo>
                      <a:pt x="294" y="500"/>
                    </a:lnTo>
                    <a:close/>
                    <a:moveTo>
                      <a:pt x="323" y="481"/>
                    </a:moveTo>
                    <a:lnTo>
                      <a:pt x="323" y="483"/>
                    </a:lnTo>
                    <a:lnTo>
                      <a:pt x="321" y="483"/>
                    </a:lnTo>
                    <a:lnTo>
                      <a:pt x="323" y="481"/>
                    </a:lnTo>
                    <a:close/>
                    <a:moveTo>
                      <a:pt x="321" y="479"/>
                    </a:moveTo>
                    <a:lnTo>
                      <a:pt x="319" y="479"/>
                    </a:lnTo>
                    <a:lnTo>
                      <a:pt x="321" y="479"/>
                    </a:lnTo>
                    <a:close/>
                    <a:moveTo>
                      <a:pt x="317" y="481"/>
                    </a:moveTo>
                    <a:lnTo>
                      <a:pt x="319" y="479"/>
                    </a:lnTo>
                    <a:lnTo>
                      <a:pt x="319" y="481"/>
                    </a:lnTo>
                    <a:lnTo>
                      <a:pt x="317" y="481"/>
                    </a:lnTo>
                    <a:close/>
                    <a:moveTo>
                      <a:pt x="279" y="492"/>
                    </a:moveTo>
                    <a:lnTo>
                      <a:pt x="277" y="494"/>
                    </a:lnTo>
                    <a:lnTo>
                      <a:pt x="277" y="492"/>
                    </a:lnTo>
                    <a:lnTo>
                      <a:pt x="279" y="492"/>
                    </a:lnTo>
                    <a:close/>
                    <a:moveTo>
                      <a:pt x="277" y="490"/>
                    </a:moveTo>
                    <a:lnTo>
                      <a:pt x="275" y="490"/>
                    </a:lnTo>
                    <a:lnTo>
                      <a:pt x="275" y="489"/>
                    </a:lnTo>
                    <a:lnTo>
                      <a:pt x="275" y="487"/>
                    </a:lnTo>
                    <a:lnTo>
                      <a:pt x="275" y="489"/>
                    </a:lnTo>
                    <a:lnTo>
                      <a:pt x="277" y="489"/>
                    </a:lnTo>
                    <a:lnTo>
                      <a:pt x="277" y="490"/>
                    </a:lnTo>
                    <a:close/>
                    <a:moveTo>
                      <a:pt x="275" y="489"/>
                    </a:moveTo>
                    <a:lnTo>
                      <a:pt x="273" y="489"/>
                    </a:lnTo>
                    <a:lnTo>
                      <a:pt x="273" y="487"/>
                    </a:lnTo>
                    <a:lnTo>
                      <a:pt x="273" y="485"/>
                    </a:lnTo>
                    <a:lnTo>
                      <a:pt x="271" y="485"/>
                    </a:lnTo>
                    <a:lnTo>
                      <a:pt x="271" y="483"/>
                    </a:lnTo>
                    <a:lnTo>
                      <a:pt x="273" y="485"/>
                    </a:lnTo>
                    <a:lnTo>
                      <a:pt x="273" y="487"/>
                    </a:lnTo>
                    <a:lnTo>
                      <a:pt x="275" y="487"/>
                    </a:lnTo>
                    <a:lnTo>
                      <a:pt x="275" y="489"/>
                    </a:lnTo>
                    <a:close/>
                    <a:moveTo>
                      <a:pt x="261" y="479"/>
                    </a:moveTo>
                    <a:lnTo>
                      <a:pt x="261" y="481"/>
                    </a:lnTo>
                    <a:lnTo>
                      <a:pt x="261" y="479"/>
                    </a:lnTo>
                    <a:close/>
                    <a:moveTo>
                      <a:pt x="267" y="479"/>
                    </a:moveTo>
                    <a:lnTo>
                      <a:pt x="265" y="479"/>
                    </a:lnTo>
                    <a:lnTo>
                      <a:pt x="263" y="477"/>
                    </a:lnTo>
                    <a:lnTo>
                      <a:pt x="265" y="477"/>
                    </a:lnTo>
                    <a:lnTo>
                      <a:pt x="265" y="479"/>
                    </a:lnTo>
                    <a:lnTo>
                      <a:pt x="267" y="479"/>
                    </a:lnTo>
                    <a:close/>
                    <a:moveTo>
                      <a:pt x="265" y="477"/>
                    </a:moveTo>
                    <a:lnTo>
                      <a:pt x="263" y="477"/>
                    </a:lnTo>
                    <a:lnTo>
                      <a:pt x="265" y="477"/>
                    </a:lnTo>
                    <a:close/>
                    <a:moveTo>
                      <a:pt x="261" y="477"/>
                    </a:moveTo>
                    <a:lnTo>
                      <a:pt x="263" y="477"/>
                    </a:lnTo>
                    <a:lnTo>
                      <a:pt x="265" y="479"/>
                    </a:lnTo>
                    <a:lnTo>
                      <a:pt x="263" y="479"/>
                    </a:lnTo>
                    <a:lnTo>
                      <a:pt x="265" y="479"/>
                    </a:lnTo>
                    <a:lnTo>
                      <a:pt x="265" y="481"/>
                    </a:lnTo>
                    <a:lnTo>
                      <a:pt x="263" y="479"/>
                    </a:lnTo>
                    <a:lnTo>
                      <a:pt x="261" y="479"/>
                    </a:lnTo>
                    <a:lnTo>
                      <a:pt x="260" y="479"/>
                    </a:lnTo>
                    <a:lnTo>
                      <a:pt x="261" y="477"/>
                    </a:lnTo>
                    <a:close/>
                    <a:moveTo>
                      <a:pt x="250" y="481"/>
                    </a:moveTo>
                    <a:lnTo>
                      <a:pt x="250" y="483"/>
                    </a:lnTo>
                    <a:lnTo>
                      <a:pt x="248" y="483"/>
                    </a:lnTo>
                    <a:lnTo>
                      <a:pt x="250" y="483"/>
                    </a:lnTo>
                    <a:lnTo>
                      <a:pt x="248" y="483"/>
                    </a:lnTo>
                    <a:lnTo>
                      <a:pt x="250" y="483"/>
                    </a:lnTo>
                    <a:lnTo>
                      <a:pt x="250" y="481"/>
                    </a:lnTo>
                    <a:close/>
                    <a:moveTo>
                      <a:pt x="236" y="489"/>
                    </a:moveTo>
                    <a:lnTo>
                      <a:pt x="236" y="487"/>
                    </a:lnTo>
                    <a:lnTo>
                      <a:pt x="236" y="489"/>
                    </a:lnTo>
                    <a:close/>
                    <a:moveTo>
                      <a:pt x="252" y="481"/>
                    </a:moveTo>
                    <a:lnTo>
                      <a:pt x="250" y="481"/>
                    </a:lnTo>
                    <a:lnTo>
                      <a:pt x="252" y="481"/>
                    </a:lnTo>
                    <a:lnTo>
                      <a:pt x="252" y="479"/>
                    </a:lnTo>
                    <a:lnTo>
                      <a:pt x="252" y="481"/>
                    </a:lnTo>
                    <a:close/>
                    <a:moveTo>
                      <a:pt x="298" y="454"/>
                    </a:moveTo>
                    <a:lnTo>
                      <a:pt x="298" y="456"/>
                    </a:lnTo>
                    <a:lnTo>
                      <a:pt x="296" y="456"/>
                    </a:lnTo>
                    <a:lnTo>
                      <a:pt x="298" y="456"/>
                    </a:lnTo>
                    <a:lnTo>
                      <a:pt x="296" y="456"/>
                    </a:lnTo>
                    <a:lnTo>
                      <a:pt x="296" y="454"/>
                    </a:lnTo>
                    <a:lnTo>
                      <a:pt x="298" y="454"/>
                    </a:lnTo>
                    <a:close/>
                    <a:moveTo>
                      <a:pt x="256" y="477"/>
                    </a:moveTo>
                    <a:lnTo>
                      <a:pt x="254" y="477"/>
                    </a:lnTo>
                    <a:lnTo>
                      <a:pt x="254" y="475"/>
                    </a:lnTo>
                    <a:lnTo>
                      <a:pt x="256" y="477"/>
                    </a:lnTo>
                    <a:close/>
                    <a:moveTo>
                      <a:pt x="246" y="477"/>
                    </a:moveTo>
                    <a:lnTo>
                      <a:pt x="246" y="479"/>
                    </a:lnTo>
                    <a:lnTo>
                      <a:pt x="248" y="479"/>
                    </a:lnTo>
                    <a:lnTo>
                      <a:pt x="248" y="481"/>
                    </a:lnTo>
                    <a:lnTo>
                      <a:pt x="250" y="483"/>
                    </a:lnTo>
                    <a:lnTo>
                      <a:pt x="248" y="483"/>
                    </a:lnTo>
                    <a:lnTo>
                      <a:pt x="250" y="483"/>
                    </a:lnTo>
                    <a:lnTo>
                      <a:pt x="248" y="483"/>
                    </a:lnTo>
                    <a:lnTo>
                      <a:pt x="248" y="485"/>
                    </a:lnTo>
                    <a:lnTo>
                      <a:pt x="246" y="485"/>
                    </a:lnTo>
                    <a:lnTo>
                      <a:pt x="244" y="485"/>
                    </a:lnTo>
                    <a:lnTo>
                      <a:pt x="244" y="483"/>
                    </a:lnTo>
                    <a:lnTo>
                      <a:pt x="244" y="485"/>
                    </a:lnTo>
                    <a:lnTo>
                      <a:pt x="242" y="485"/>
                    </a:lnTo>
                    <a:lnTo>
                      <a:pt x="242" y="483"/>
                    </a:lnTo>
                    <a:lnTo>
                      <a:pt x="240" y="483"/>
                    </a:lnTo>
                    <a:lnTo>
                      <a:pt x="240" y="485"/>
                    </a:lnTo>
                    <a:lnTo>
                      <a:pt x="240" y="487"/>
                    </a:lnTo>
                    <a:lnTo>
                      <a:pt x="240" y="485"/>
                    </a:lnTo>
                    <a:lnTo>
                      <a:pt x="238" y="485"/>
                    </a:lnTo>
                    <a:lnTo>
                      <a:pt x="238" y="483"/>
                    </a:lnTo>
                    <a:lnTo>
                      <a:pt x="240" y="481"/>
                    </a:lnTo>
                    <a:lnTo>
                      <a:pt x="240" y="479"/>
                    </a:lnTo>
                    <a:lnTo>
                      <a:pt x="242" y="479"/>
                    </a:lnTo>
                    <a:lnTo>
                      <a:pt x="242" y="481"/>
                    </a:lnTo>
                    <a:lnTo>
                      <a:pt x="242" y="479"/>
                    </a:lnTo>
                    <a:lnTo>
                      <a:pt x="244" y="479"/>
                    </a:lnTo>
                    <a:lnTo>
                      <a:pt x="244" y="477"/>
                    </a:lnTo>
                    <a:lnTo>
                      <a:pt x="246" y="477"/>
                    </a:lnTo>
                    <a:close/>
                    <a:moveTo>
                      <a:pt x="254" y="469"/>
                    </a:moveTo>
                    <a:lnTo>
                      <a:pt x="256" y="469"/>
                    </a:lnTo>
                    <a:lnTo>
                      <a:pt x="254" y="469"/>
                    </a:lnTo>
                    <a:close/>
                    <a:moveTo>
                      <a:pt x="302" y="446"/>
                    </a:moveTo>
                    <a:lnTo>
                      <a:pt x="300" y="446"/>
                    </a:lnTo>
                    <a:lnTo>
                      <a:pt x="302" y="446"/>
                    </a:lnTo>
                    <a:close/>
                    <a:moveTo>
                      <a:pt x="302" y="444"/>
                    </a:moveTo>
                    <a:lnTo>
                      <a:pt x="302" y="446"/>
                    </a:lnTo>
                    <a:lnTo>
                      <a:pt x="300" y="446"/>
                    </a:lnTo>
                    <a:lnTo>
                      <a:pt x="302" y="446"/>
                    </a:lnTo>
                    <a:lnTo>
                      <a:pt x="302" y="444"/>
                    </a:lnTo>
                    <a:close/>
                    <a:moveTo>
                      <a:pt x="286" y="452"/>
                    </a:moveTo>
                    <a:lnTo>
                      <a:pt x="288" y="454"/>
                    </a:lnTo>
                    <a:lnTo>
                      <a:pt x="286" y="454"/>
                    </a:lnTo>
                    <a:lnTo>
                      <a:pt x="286" y="452"/>
                    </a:lnTo>
                    <a:close/>
                    <a:moveTo>
                      <a:pt x="279" y="452"/>
                    </a:moveTo>
                    <a:lnTo>
                      <a:pt x="281" y="452"/>
                    </a:lnTo>
                    <a:lnTo>
                      <a:pt x="279" y="452"/>
                    </a:lnTo>
                    <a:close/>
                    <a:moveTo>
                      <a:pt x="260" y="454"/>
                    </a:moveTo>
                    <a:lnTo>
                      <a:pt x="260" y="456"/>
                    </a:lnTo>
                    <a:lnTo>
                      <a:pt x="258" y="456"/>
                    </a:lnTo>
                    <a:lnTo>
                      <a:pt x="260" y="456"/>
                    </a:lnTo>
                    <a:lnTo>
                      <a:pt x="258" y="456"/>
                    </a:lnTo>
                    <a:lnTo>
                      <a:pt x="260" y="454"/>
                    </a:lnTo>
                    <a:close/>
                    <a:moveTo>
                      <a:pt x="258" y="456"/>
                    </a:moveTo>
                    <a:lnTo>
                      <a:pt x="258" y="454"/>
                    </a:lnTo>
                    <a:lnTo>
                      <a:pt x="260" y="454"/>
                    </a:lnTo>
                    <a:lnTo>
                      <a:pt x="258" y="454"/>
                    </a:lnTo>
                    <a:lnTo>
                      <a:pt x="258" y="456"/>
                    </a:lnTo>
                    <a:close/>
                    <a:moveTo>
                      <a:pt x="252" y="458"/>
                    </a:moveTo>
                    <a:lnTo>
                      <a:pt x="252" y="456"/>
                    </a:lnTo>
                    <a:lnTo>
                      <a:pt x="252" y="458"/>
                    </a:lnTo>
                    <a:close/>
                    <a:moveTo>
                      <a:pt x="296" y="427"/>
                    </a:moveTo>
                    <a:lnTo>
                      <a:pt x="298" y="427"/>
                    </a:lnTo>
                    <a:lnTo>
                      <a:pt x="298" y="429"/>
                    </a:lnTo>
                    <a:lnTo>
                      <a:pt x="300" y="429"/>
                    </a:lnTo>
                    <a:lnTo>
                      <a:pt x="298" y="429"/>
                    </a:lnTo>
                    <a:lnTo>
                      <a:pt x="296" y="429"/>
                    </a:lnTo>
                    <a:lnTo>
                      <a:pt x="294" y="429"/>
                    </a:lnTo>
                    <a:lnTo>
                      <a:pt x="292" y="429"/>
                    </a:lnTo>
                    <a:lnTo>
                      <a:pt x="294" y="429"/>
                    </a:lnTo>
                    <a:lnTo>
                      <a:pt x="294" y="427"/>
                    </a:lnTo>
                    <a:lnTo>
                      <a:pt x="296" y="427"/>
                    </a:lnTo>
                    <a:close/>
                    <a:moveTo>
                      <a:pt x="246" y="452"/>
                    </a:moveTo>
                    <a:lnTo>
                      <a:pt x="244" y="452"/>
                    </a:lnTo>
                    <a:lnTo>
                      <a:pt x="246" y="452"/>
                    </a:lnTo>
                    <a:lnTo>
                      <a:pt x="244" y="452"/>
                    </a:lnTo>
                    <a:lnTo>
                      <a:pt x="246" y="452"/>
                    </a:lnTo>
                    <a:close/>
                    <a:moveTo>
                      <a:pt x="288" y="427"/>
                    </a:moveTo>
                    <a:lnTo>
                      <a:pt x="288" y="429"/>
                    </a:lnTo>
                    <a:lnTo>
                      <a:pt x="288" y="427"/>
                    </a:lnTo>
                    <a:close/>
                    <a:moveTo>
                      <a:pt x="288" y="425"/>
                    </a:moveTo>
                    <a:lnTo>
                      <a:pt x="290" y="425"/>
                    </a:lnTo>
                    <a:lnTo>
                      <a:pt x="290" y="427"/>
                    </a:lnTo>
                    <a:lnTo>
                      <a:pt x="292" y="427"/>
                    </a:lnTo>
                    <a:lnTo>
                      <a:pt x="290" y="427"/>
                    </a:lnTo>
                    <a:lnTo>
                      <a:pt x="292" y="427"/>
                    </a:lnTo>
                    <a:lnTo>
                      <a:pt x="290" y="427"/>
                    </a:lnTo>
                    <a:lnTo>
                      <a:pt x="288" y="427"/>
                    </a:lnTo>
                    <a:lnTo>
                      <a:pt x="288" y="425"/>
                    </a:lnTo>
                    <a:close/>
                    <a:moveTo>
                      <a:pt x="283" y="427"/>
                    </a:moveTo>
                    <a:lnTo>
                      <a:pt x="283" y="425"/>
                    </a:lnTo>
                    <a:lnTo>
                      <a:pt x="283" y="427"/>
                    </a:lnTo>
                    <a:close/>
                    <a:moveTo>
                      <a:pt x="286" y="425"/>
                    </a:moveTo>
                    <a:lnTo>
                      <a:pt x="288" y="425"/>
                    </a:lnTo>
                    <a:lnTo>
                      <a:pt x="286" y="425"/>
                    </a:lnTo>
                    <a:lnTo>
                      <a:pt x="286" y="427"/>
                    </a:lnTo>
                    <a:lnTo>
                      <a:pt x="286" y="425"/>
                    </a:lnTo>
                    <a:lnTo>
                      <a:pt x="285" y="425"/>
                    </a:lnTo>
                    <a:lnTo>
                      <a:pt x="283" y="425"/>
                    </a:lnTo>
                    <a:lnTo>
                      <a:pt x="285" y="425"/>
                    </a:lnTo>
                    <a:lnTo>
                      <a:pt x="286" y="425"/>
                    </a:lnTo>
                    <a:close/>
                    <a:moveTo>
                      <a:pt x="154" y="419"/>
                    </a:moveTo>
                    <a:lnTo>
                      <a:pt x="156" y="419"/>
                    </a:lnTo>
                    <a:lnTo>
                      <a:pt x="154" y="419"/>
                    </a:lnTo>
                    <a:lnTo>
                      <a:pt x="154" y="421"/>
                    </a:lnTo>
                    <a:lnTo>
                      <a:pt x="154" y="419"/>
                    </a:lnTo>
                    <a:close/>
                    <a:moveTo>
                      <a:pt x="215" y="391"/>
                    </a:moveTo>
                    <a:lnTo>
                      <a:pt x="215" y="392"/>
                    </a:lnTo>
                    <a:lnTo>
                      <a:pt x="215" y="391"/>
                    </a:lnTo>
                    <a:lnTo>
                      <a:pt x="213" y="391"/>
                    </a:lnTo>
                    <a:lnTo>
                      <a:pt x="215" y="391"/>
                    </a:lnTo>
                    <a:close/>
                    <a:moveTo>
                      <a:pt x="154" y="410"/>
                    </a:moveTo>
                    <a:lnTo>
                      <a:pt x="156" y="410"/>
                    </a:lnTo>
                    <a:lnTo>
                      <a:pt x="156" y="412"/>
                    </a:lnTo>
                    <a:lnTo>
                      <a:pt x="154" y="412"/>
                    </a:lnTo>
                    <a:lnTo>
                      <a:pt x="154" y="414"/>
                    </a:lnTo>
                    <a:lnTo>
                      <a:pt x="154" y="415"/>
                    </a:lnTo>
                    <a:lnTo>
                      <a:pt x="154" y="417"/>
                    </a:lnTo>
                    <a:lnTo>
                      <a:pt x="154" y="419"/>
                    </a:lnTo>
                    <a:lnTo>
                      <a:pt x="152" y="417"/>
                    </a:lnTo>
                    <a:lnTo>
                      <a:pt x="152" y="419"/>
                    </a:lnTo>
                    <a:lnTo>
                      <a:pt x="150" y="419"/>
                    </a:lnTo>
                    <a:lnTo>
                      <a:pt x="152" y="417"/>
                    </a:lnTo>
                    <a:lnTo>
                      <a:pt x="152" y="415"/>
                    </a:lnTo>
                    <a:lnTo>
                      <a:pt x="152" y="414"/>
                    </a:lnTo>
                    <a:lnTo>
                      <a:pt x="152" y="412"/>
                    </a:lnTo>
                    <a:lnTo>
                      <a:pt x="152" y="410"/>
                    </a:lnTo>
                    <a:lnTo>
                      <a:pt x="154" y="410"/>
                    </a:lnTo>
                    <a:lnTo>
                      <a:pt x="154" y="408"/>
                    </a:lnTo>
                    <a:lnTo>
                      <a:pt x="154" y="410"/>
                    </a:lnTo>
                    <a:close/>
                    <a:moveTo>
                      <a:pt x="54" y="454"/>
                    </a:moveTo>
                    <a:lnTo>
                      <a:pt x="52" y="454"/>
                    </a:lnTo>
                    <a:lnTo>
                      <a:pt x="52" y="452"/>
                    </a:lnTo>
                    <a:lnTo>
                      <a:pt x="54" y="452"/>
                    </a:lnTo>
                    <a:lnTo>
                      <a:pt x="54" y="454"/>
                    </a:lnTo>
                    <a:lnTo>
                      <a:pt x="52" y="454"/>
                    </a:lnTo>
                    <a:lnTo>
                      <a:pt x="54" y="454"/>
                    </a:lnTo>
                    <a:close/>
                    <a:moveTo>
                      <a:pt x="56" y="448"/>
                    </a:moveTo>
                    <a:lnTo>
                      <a:pt x="56" y="450"/>
                    </a:lnTo>
                    <a:lnTo>
                      <a:pt x="54" y="450"/>
                    </a:lnTo>
                    <a:lnTo>
                      <a:pt x="56" y="448"/>
                    </a:lnTo>
                    <a:close/>
                    <a:moveTo>
                      <a:pt x="142" y="410"/>
                    </a:moveTo>
                    <a:lnTo>
                      <a:pt x="144" y="410"/>
                    </a:lnTo>
                    <a:lnTo>
                      <a:pt x="144" y="412"/>
                    </a:lnTo>
                    <a:lnTo>
                      <a:pt x="146" y="412"/>
                    </a:lnTo>
                    <a:lnTo>
                      <a:pt x="146" y="414"/>
                    </a:lnTo>
                    <a:lnTo>
                      <a:pt x="146" y="415"/>
                    </a:lnTo>
                    <a:lnTo>
                      <a:pt x="146" y="417"/>
                    </a:lnTo>
                    <a:lnTo>
                      <a:pt x="148" y="417"/>
                    </a:lnTo>
                    <a:lnTo>
                      <a:pt x="148" y="419"/>
                    </a:lnTo>
                    <a:lnTo>
                      <a:pt x="146" y="419"/>
                    </a:lnTo>
                    <a:lnTo>
                      <a:pt x="148" y="419"/>
                    </a:lnTo>
                    <a:lnTo>
                      <a:pt x="146" y="421"/>
                    </a:lnTo>
                    <a:lnTo>
                      <a:pt x="146" y="419"/>
                    </a:lnTo>
                    <a:lnTo>
                      <a:pt x="144" y="419"/>
                    </a:lnTo>
                    <a:lnTo>
                      <a:pt x="144" y="417"/>
                    </a:lnTo>
                    <a:lnTo>
                      <a:pt x="144" y="415"/>
                    </a:lnTo>
                    <a:lnTo>
                      <a:pt x="144" y="414"/>
                    </a:lnTo>
                    <a:lnTo>
                      <a:pt x="142" y="414"/>
                    </a:lnTo>
                    <a:lnTo>
                      <a:pt x="142" y="412"/>
                    </a:lnTo>
                    <a:lnTo>
                      <a:pt x="142" y="410"/>
                    </a:lnTo>
                    <a:close/>
                    <a:moveTo>
                      <a:pt x="56" y="448"/>
                    </a:moveTo>
                    <a:lnTo>
                      <a:pt x="56" y="446"/>
                    </a:lnTo>
                    <a:lnTo>
                      <a:pt x="56" y="448"/>
                    </a:lnTo>
                    <a:close/>
                    <a:moveTo>
                      <a:pt x="48" y="450"/>
                    </a:moveTo>
                    <a:lnTo>
                      <a:pt x="46" y="450"/>
                    </a:lnTo>
                    <a:lnTo>
                      <a:pt x="48" y="450"/>
                    </a:lnTo>
                    <a:close/>
                    <a:moveTo>
                      <a:pt x="56" y="446"/>
                    </a:moveTo>
                    <a:lnTo>
                      <a:pt x="56" y="448"/>
                    </a:lnTo>
                    <a:lnTo>
                      <a:pt x="56" y="446"/>
                    </a:lnTo>
                    <a:close/>
                    <a:moveTo>
                      <a:pt x="192" y="383"/>
                    </a:moveTo>
                    <a:lnTo>
                      <a:pt x="192" y="385"/>
                    </a:lnTo>
                    <a:lnTo>
                      <a:pt x="190" y="385"/>
                    </a:lnTo>
                    <a:lnTo>
                      <a:pt x="190" y="383"/>
                    </a:lnTo>
                    <a:lnTo>
                      <a:pt x="192" y="383"/>
                    </a:lnTo>
                    <a:lnTo>
                      <a:pt x="192" y="381"/>
                    </a:lnTo>
                    <a:lnTo>
                      <a:pt x="192" y="383"/>
                    </a:lnTo>
                    <a:close/>
                    <a:moveTo>
                      <a:pt x="62" y="442"/>
                    </a:moveTo>
                    <a:lnTo>
                      <a:pt x="60" y="442"/>
                    </a:lnTo>
                    <a:lnTo>
                      <a:pt x="60" y="440"/>
                    </a:lnTo>
                    <a:lnTo>
                      <a:pt x="60" y="442"/>
                    </a:lnTo>
                    <a:lnTo>
                      <a:pt x="62" y="442"/>
                    </a:lnTo>
                    <a:close/>
                    <a:moveTo>
                      <a:pt x="66" y="435"/>
                    </a:moveTo>
                    <a:lnTo>
                      <a:pt x="66" y="437"/>
                    </a:lnTo>
                    <a:lnTo>
                      <a:pt x="64" y="437"/>
                    </a:lnTo>
                    <a:lnTo>
                      <a:pt x="66" y="435"/>
                    </a:lnTo>
                    <a:close/>
                    <a:moveTo>
                      <a:pt x="66" y="435"/>
                    </a:moveTo>
                    <a:lnTo>
                      <a:pt x="64" y="435"/>
                    </a:lnTo>
                    <a:lnTo>
                      <a:pt x="64" y="433"/>
                    </a:lnTo>
                    <a:lnTo>
                      <a:pt x="66" y="435"/>
                    </a:lnTo>
                    <a:lnTo>
                      <a:pt x="64" y="435"/>
                    </a:lnTo>
                    <a:lnTo>
                      <a:pt x="66" y="435"/>
                    </a:lnTo>
                    <a:close/>
                    <a:moveTo>
                      <a:pt x="98" y="419"/>
                    </a:moveTo>
                    <a:lnTo>
                      <a:pt x="100" y="419"/>
                    </a:lnTo>
                    <a:lnTo>
                      <a:pt x="100" y="421"/>
                    </a:lnTo>
                    <a:lnTo>
                      <a:pt x="102" y="421"/>
                    </a:lnTo>
                    <a:lnTo>
                      <a:pt x="104" y="421"/>
                    </a:lnTo>
                    <a:lnTo>
                      <a:pt x="104" y="419"/>
                    </a:lnTo>
                    <a:lnTo>
                      <a:pt x="106" y="419"/>
                    </a:lnTo>
                    <a:lnTo>
                      <a:pt x="104" y="421"/>
                    </a:lnTo>
                    <a:lnTo>
                      <a:pt x="106" y="421"/>
                    </a:lnTo>
                    <a:lnTo>
                      <a:pt x="104" y="421"/>
                    </a:lnTo>
                    <a:lnTo>
                      <a:pt x="102" y="421"/>
                    </a:lnTo>
                    <a:lnTo>
                      <a:pt x="100" y="421"/>
                    </a:lnTo>
                    <a:lnTo>
                      <a:pt x="98" y="421"/>
                    </a:lnTo>
                    <a:lnTo>
                      <a:pt x="98" y="419"/>
                    </a:lnTo>
                    <a:lnTo>
                      <a:pt x="98" y="421"/>
                    </a:lnTo>
                    <a:lnTo>
                      <a:pt x="98" y="419"/>
                    </a:lnTo>
                    <a:close/>
                    <a:moveTo>
                      <a:pt x="66" y="433"/>
                    </a:moveTo>
                    <a:lnTo>
                      <a:pt x="66" y="435"/>
                    </a:lnTo>
                    <a:lnTo>
                      <a:pt x="66" y="433"/>
                    </a:lnTo>
                    <a:lnTo>
                      <a:pt x="66" y="435"/>
                    </a:lnTo>
                    <a:lnTo>
                      <a:pt x="66" y="433"/>
                    </a:lnTo>
                    <a:close/>
                    <a:moveTo>
                      <a:pt x="67" y="433"/>
                    </a:moveTo>
                    <a:lnTo>
                      <a:pt x="66" y="433"/>
                    </a:lnTo>
                    <a:lnTo>
                      <a:pt x="66" y="431"/>
                    </a:lnTo>
                    <a:lnTo>
                      <a:pt x="67" y="431"/>
                    </a:lnTo>
                    <a:lnTo>
                      <a:pt x="67" y="433"/>
                    </a:lnTo>
                    <a:close/>
                    <a:moveTo>
                      <a:pt x="66" y="431"/>
                    </a:moveTo>
                    <a:lnTo>
                      <a:pt x="66" y="433"/>
                    </a:lnTo>
                    <a:lnTo>
                      <a:pt x="66" y="431"/>
                    </a:lnTo>
                    <a:close/>
                    <a:moveTo>
                      <a:pt x="156" y="392"/>
                    </a:moveTo>
                    <a:lnTo>
                      <a:pt x="156" y="391"/>
                    </a:lnTo>
                    <a:lnTo>
                      <a:pt x="158" y="391"/>
                    </a:lnTo>
                    <a:lnTo>
                      <a:pt x="156" y="392"/>
                    </a:lnTo>
                    <a:close/>
                    <a:moveTo>
                      <a:pt x="25" y="439"/>
                    </a:moveTo>
                    <a:lnTo>
                      <a:pt x="27" y="439"/>
                    </a:lnTo>
                    <a:lnTo>
                      <a:pt x="25" y="439"/>
                    </a:lnTo>
                    <a:lnTo>
                      <a:pt x="27" y="439"/>
                    </a:lnTo>
                    <a:lnTo>
                      <a:pt x="27" y="440"/>
                    </a:lnTo>
                    <a:lnTo>
                      <a:pt x="25" y="439"/>
                    </a:lnTo>
                    <a:close/>
                    <a:moveTo>
                      <a:pt x="112" y="398"/>
                    </a:moveTo>
                    <a:lnTo>
                      <a:pt x="112" y="396"/>
                    </a:lnTo>
                    <a:lnTo>
                      <a:pt x="112" y="398"/>
                    </a:lnTo>
                    <a:close/>
                    <a:moveTo>
                      <a:pt x="2" y="442"/>
                    </a:moveTo>
                    <a:lnTo>
                      <a:pt x="0" y="442"/>
                    </a:lnTo>
                    <a:lnTo>
                      <a:pt x="2" y="442"/>
                    </a:lnTo>
                    <a:close/>
                    <a:moveTo>
                      <a:pt x="12" y="439"/>
                    </a:moveTo>
                    <a:lnTo>
                      <a:pt x="12" y="437"/>
                    </a:lnTo>
                    <a:lnTo>
                      <a:pt x="12" y="439"/>
                    </a:lnTo>
                    <a:close/>
                    <a:moveTo>
                      <a:pt x="98" y="400"/>
                    </a:moveTo>
                    <a:lnTo>
                      <a:pt x="98" y="398"/>
                    </a:lnTo>
                    <a:lnTo>
                      <a:pt x="100" y="398"/>
                    </a:lnTo>
                    <a:lnTo>
                      <a:pt x="100" y="400"/>
                    </a:lnTo>
                    <a:lnTo>
                      <a:pt x="98" y="400"/>
                    </a:lnTo>
                    <a:lnTo>
                      <a:pt x="96" y="400"/>
                    </a:lnTo>
                    <a:lnTo>
                      <a:pt x="98" y="400"/>
                    </a:lnTo>
                    <a:lnTo>
                      <a:pt x="98" y="398"/>
                    </a:lnTo>
                    <a:lnTo>
                      <a:pt x="98" y="400"/>
                    </a:lnTo>
                    <a:close/>
                    <a:moveTo>
                      <a:pt x="150" y="366"/>
                    </a:moveTo>
                    <a:lnTo>
                      <a:pt x="152" y="364"/>
                    </a:lnTo>
                    <a:lnTo>
                      <a:pt x="152" y="366"/>
                    </a:lnTo>
                    <a:lnTo>
                      <a:pt x="152" y="367"/>
                    </a:lnTo>
                    <a:lnTo>
                      <a:pt x="150" y="367"/>
                    </a:lnTo>
                    <a:lnTo>
                      <a:pt x="148" y="366"/>
                    </a:lnTo>
                    <a:lnTo>
                      <a:pt x="150" y="366"/>
                    </a:lnTo>
                    <a:close/>
                    <a:moveTo>
                      <a:pt x="158" y="39"/>
                    </a:moveTo>
                    <a:lnTo>
                      <a:pt x="156" y="41"/>
                    </a:lnTo>
                    <a:lnTo>
                      <a:pt x="158" y="39"/>
                    </a:lnTo>
                    <a:close/>
                    <a:moveTo>
                      <a:pt x="198" y="16"/>
                    </a:moveTo>
                    <a:lnTo>
                      <a:pt x="198" y="14"/>
                    </a:lnTo>
                    <a:lnTo>
                      <a:pt x="200" y="14"/>
                    </a:lnTo>
                    <a:lnTo>
                      <a:pt x="202" y="14"/>
                    </a:lnTo>
                    <a:lnTo>
                      <a:pt x="198" y="14"/>
                    </a:lnTo>
                    <a:lnTo>
                      <a:pt x="198" y="16"/>
                    </a:lnTo>
                    <a:lnTo>
                      <a:pt x="196" y="16"/>
                    </a:lnTo>
                    <a:lnTo>
                      <a:pt x="198" y="16"/>
                    </a:lnTo>
                    <a:close/>
                    <a:moveTo>
                      <a:pt x="202" y="10"/>
                    </a:moveTo>
                    <a:lnTo>
                      <a:pt x="204" y="10"/>
                    </a:lnTo>
                    <a:lnTo>
                      <a:pt x="202" y="10"/>
                    </a:lnTo>
                    <a:close/>
                    <a:moveTo>
                      <a:pt x="190" y="18"/>
                    </a:moveTo>
                    <a:lnTo>
                      <a:pt x="188" y="18"/>
                    </a:lnTo>
                    <a:lnTo>
                      <a:pt x="190" y="18"/>
                    </a:lnTo>
                    <a:close/>
                    <a:moveTo>
                      <a:pt x="202" y="8"/>
                    </a:moveTo>
                    <a:lnTo>
                      <a:pt x="202" y="10"/>
                    </a:lnTo>
                    <a:lnTo>
                      <a:pt x="202" y="8"/>
                    </a:lnTo>
                    <a:close/>
                    <a:moveTo>
                      <a:pt x="150" y="35"/>
                    </a:moveTo>
                    <a:lnTo>
                      <a:pt x="150" y="37"/>
                    </a:lnTo>
                    <a:lnTo>
                      <a:pt x="150" y="35"/>
                    </a:lnTo>
                    <a:close/>
                    <a:moveTo>
                      <a:pt x="200" y="6"/>
                    </a:moveTo>
                    <a:lnTo>
                      <a:pt x="200" y="4"/>
                    </a:lnTo>
                    <a:lnTo>
                      <a:pt x="200" y="6"/>
                    </a:lnTo>
                    <a:close/>
                    <a:moveTo>
                      <a:pt x="200" y="4"/>
                    </a:moveTo>
                    <a:lnTo>
                      <a:pt x="200" y="6"/>
                    </a:lnTo>
                    <a:lnTo>
                      <a:pt x="200" y="4"/>
                    </a:lnTo>
                    <a:lnTo>
                      <a:pt x="198" y="4"/>
                    </a:lnTo>
                    <a:lnTo>
                      <a:pt x="198" y="2"/>
                    </a:lnTo>
                    <a:lnTo>
                      <a:pt x="200" y="2"/>
                    </a:lnTo>
                    <a:lnTo>
                      <a:pt x="200" y="4"/>
                    </a:lnTo>
                    <a:close/>
                    <a:moveTo>
                      <a:pt x="198" y="2"/>
                    </a:moveTo>
                    <a:lnTo>
                      <a:pt x="196" y="2"/>
                    </a:lnTo>
                    <a:lnTo>
                      <a:pt x="196" y="0"/>
                    </a:lnTo>
                    <a:lnTo>
                      <a:pt x="19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6" name="Freeform 42"/>
              <p:cNvSpPr>
                <a:spLocks noEditPoints="1"/>
              </p:cNvSpPr>
              <p:nvPr/>
            </p:nvSpPr>
            <p:spPr bwMode="auto">
              <a:xfrm>
                <a:off x="2248139" y="2018938"/>
                <a:ext cx="1268102" cy="932579"/>
              </a:xfrm>
              <a:custGeom>
                <a:avLst/>
                <a:gdLst>
                  <a:gd name="T0" fmla="*/ 209 w 737"/>
                  <a:gd name="T1" fmla="*/ 288 h 542"/>
                  <a:gd name="T2" fmla="*/ 215 w 737"/>
                  <a:gd name="T3" fmla="*/ 279 h 542"/>
                  <a:gd name="T4" fmla="*/ 194 w 737"/>
                  <a:gd name="T5" fmla="*/ 260 h 542"/>
                  <a:gd name="T6" fmla="*/ 205 w 737"/>
                  <a:gd name="T7" fmla="*/ 254 h 542"/>
                  <a:gd name="T8" fmla="*/ 186 w 737"/>
                  <a:gd name="T9" fmla="*/ 244 h 542"/>
                  <a:gd name="T10" fmla="*/ 194 w 737"/>
                  <a:gd name="T11" fmla="*/ 242 h 542"/>
                  <a:gd name="T12" fmla="*/ 184 w 737"/>
                  <a:gd name="T13" fmla="*/ 233 h 542"/>
                  <a:gd name="T14" fmla="*/ 176 w 737"/>
                  <a:gd name="T15" fmla="*/ 221 h 542"/>
                  <a:gd name="T16" fmla="*/ 176 w 737"/>
                  <a:gd name="T17" fmla="*/ 213 h 542"/>
                  <a:gd name="T18" fmla="*/ 178 w 737"/>
                  <a:gd name="T19" fmla="*/ 181 h 542"/>
                  <a:gd name="T20" fmla="*/ 178 w 737"/>
                  <a:gd name="T21" fmla="*/ 177 h 542"/>
                  <a:gd name="T22" fmla="*/ 178 w 737"/>
                  <a:gd name="T23" fmla="*/ 173 h 542"/>
                  <a:gd name="T24" fmla="*/ 180 w 737"/>
                  <a:gd name="T25" fmla="*/ 179 h 542"/>
                  <a:gd name="T26" fmla="*/ 180 w 737"/>
                  <a:gd name="T27" fmla="*/ 165 h 542"/>
                  <a:gd name="T28" fmla="*/ 176 w 737"/>
                  <a:gd name="T29" fmla="*/ 152 h 542"/>
                  <a:gd name="T30" fmla="*/ 196 w 737"/>
                  <a:gd name="T31" fmla="*/ 158 h 542"/>
                  <a:gd name="T32" fmla="*/ 182 w 737"/>
                  <a:gd name="T33" fmla="*/ 154 h 542"/>
                  <a:gd name="T34" fmla="*/ 186 w 737"/>
                  <a:gd name="T35" fmla="*/ 152 h 542"/>
                  <a:gd name="T36" fmla="*/ 194 w 737"/>
                  <a:gd name="T37" fmla="*/ 150 h 542"/>
                  <a:gd name="T38" fmla="*/ 198 w 737"/>
                  <a:gd name="T39" fmla="*/ 146 h 542"/>
                  <a:gd name="T40" fmla="*/ 198 w 737"/>
                  <a:gd name="T41" fmla="*/ 142 h 542"/>
                  <a:gd name="T42" fmla="*/ 184 w 737"/>
                  <a:gd name="T43" fmla="*/ 144 h 542"/>
                  <a:gd name="T44" fmla="*/ 207 w 737"/>
                  <a:gd name="T45" fmla="*/ 146 h 542"/>
                  <a:gd name="T46" fmla="*/ 192 w 737"/>
                  <a:gd name="T47" fmla="*/ 131 h 542"/>
                  <a:gd name="T48" fmla="*/ 207 w 737"/>
                  <a:gd name="T49" fmla="*/ 135 h 542"/>
                  <a:gd name="T50" fmla="*/ 213 w 737"/>
                  <a:gd name="T51" fmla="*/ 135 h 542"/>
                  <a:gd name="T52" fmla="*/ 205 w 737"/>
                  <a:gd name="T53" fmla="*/ 127 h 542"/>
                  <a:gd name="T54" fmla="*/ 203 w 737"/>
                  <a:gd name="T55" fmla="*/ 127 h 542"/>
                  <a:gd name="T56" fmla="*/ 213 w 737"/>
                  <a:gd name="T57" fmla="*/ 127 h 542"/>
                  <a:gd name="T58" fmla="*/ 215 w 737"/>
                  <a:gd name="T59" fmla="*/ 129 h 542"/>
                  <a:gd name="T60" fmla="*/ 207 w 737"/>
                  <a:gd name="T61" fmla="*/ 119 h 542"/>
                  <a:gd name="T62" fmla="*/ 215 w 737"/>
                  <a:gd name="T63" fmla="*/ 119 h 542"/>
                  <a:gd name="T64" fmla="*/ 219 w 737"/>
                  <a:gd name="T65" fmla="*/ 110 h 542"/>
                  <a:gd name="T66" fmla="*/ 217 w 737"/>
                  <a:gd name="T67" fmla="*/ 113 h 542"/>
                  <a:gd name="T68" fmla="*/ 209 w 737"/>
                  <a:gd name="T69" fmla="*/ 106 h 542"/>
                  <a:gd name="T70" fmla="*/ 215 w 737"/>
                  <a:gd name="T71" fmla="*/ 102 h 542"/>
                  <a:gd name="T72" fmla="*/ 203 w 737"/>
                  <a:gd name="T73" fmla="*/ 123 h 542"/>
                  <a:gd name="T74" fmla="*/ 182 w 737"/>
                  <a:gd name="T75" fmla="*/ 140 h 542"/>
                  <a:gd name="T76" fmla="*/ 155 w 737"/>
                  <a:gd name="T77" fmla="*/ 173 h 542"/>
                  <a:gd name="T78" fmla="*/ 101 w 737"/>
                  <a:gd name="T79" fmla="*/ 125 h 542"/>
                  <a:gd name="T80" fmla="*/ 146 w 737"/>
                  <a:gd name="T81" fmla="*/ 173 h 542"/>
                  <a:gd name="T82" fmla="*/ 163 w 737"/>
                  <a:gd name="T83" fmla="*/ 169 h 542"/>
                  <a:gd name="T84" fmla="*/ 171 w 737"/>
                  <a:gd name="T85" fmla="*/ 190 h 542"/>
                  <a:gd name="T86" fmla="*/ 173 w 737"/>
                  <a:gd name="T87" fmla="*/ 204 h 542"/>
                  <a:gd name="T88" fmla="*/ 176 w 737"/>
                  <a:gd name="T89" fmla="*/ 221 h 542"/>
                  <a:gd name="T90" fmla="*/ 184 w 737"/>
                  <a:gd name="T91" fmla="*/ 244 h 542"/>
                  <a:gd name="T92" fmla="*/ 199 w 737"/>
                  <a:gd name="T93" fmla="*/ 258 h 542"/>
                  <a:gd name="T94" fmla="*/ 215 w 737"/>
                  <a:gd name="T95" fmla="*/ 296 h 542"/>
                  <a:gd name="T96" fmla="*/ 190 w 737"/>
                  <a:gd name="T97" fmla="*/ 235 h 542"/>
                  <a:gd name="T98" fmla="*/ 201 w 737"/>
                  <a:gd name="T99" fmla="*/ 163 h 542"/>
                  <a:gd name="T100" fmla="*/ 224 w 737"/>
                  <a:gd name="T101" fmla="*/ 160 h 542"/>
                  <a:gd name="T102" fmla="*/ 213 w 737"/>
                  <a:gd name="T103" fmla="*/ 140 h 542"/>
                  <a:gd name="T104" fmla="*/ 223 w 737"/>
                  <a:gd name="T105" fmla="*/ 121 h 542"/>
                  <a:gd name="T106" fmla="*/ 234 w 737"/>
                  <a:gd name="T107" fmla="*/ 111 h 542"/>
                  <a:gd name="T108" fmla="*/ 334 w 737"/>
                  <a:gd name="T109" fmla="*/ 148 h 542"/>
                  <a:gd name="T110" fmla="*/ 570 w 737"/>
                  <a:gd name="T111" fmla="*/ 311 h 542"/>
                  <a:gd name="T112" fmla="*/ 682 w 737"/>
                  <a:gd name="T113" fmla="*/ 442 h 542"/>
                  <a:gd name="T114" fmla="*/ 472 w 737"/>
                  <a:gd name="T115" fmla="*/ 415 h 542"/>
                  <a:gd name="T116" fmla="*/ 315 w 737"/>
                  <a:gd name="T117" fmla="*/ 486 h 542"/>
                  <a:gd name="T118" fmla="*/ 63 w 737"/>
                  <a:gd name="T119" fmla="*/ 319 h 542"/>
                  <a:gd name="T120" fmla="*/ 69 w 737"/>
                  <a:gd name="T121" fmla="*/ 35 h 542"/>
                  <a:gd name="T122" fmla="*/ 173 w 737"/>
                  <a:gd name="T123" fmla="*/ 100 h 542"/>
                  <a:gd name="T124" fmla="*/ 234 w 737"/>
                  <a:gd name="T125" fmla="*/ 158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7" h="542">
                    <a:moveTo>
                      <a:pt x="211" y="296"/>
                    </a:moveTo>
                    <a:lnTo>
                      <a:pt x="209" y="296"/>
                    </a:lnTo>
                    <a:lnTo>
                      <a:pt x="211" y="296"/>
                    </a:lnTo>
                    <a:close/>
                    <a:moveTo>
                      <a:pt x="209" y="294"/>
                    </a:moveTo>
                    <a:lnTo>
                      <a:pt x="211" y="294"/>
                    </a:lnTo>
                    <a:lnTo>
                      <a:pt x="209" y="294"/>
                    </a:lnTo>
                    <a:close/>
                    <a:moveTo>
                      <a:pt x="213" y="292"/>
                    </a:moveTo>
                    <a:lnTo>
                      <a:pt x="213" y="294"/>
                    </a:lnTo>
                    <a:lnTo>
                      <a:pt x="213" y="292"/>
                    </a:lnTo>
                    <a:lnTo>
                      <a:pt x="213" y="294"/>
                    </a:lnTo>
                    <a:lnTo>
                      <a:pt x="213" y="292"/>
                    </a:lnTo>
                    <a:lnTo>
                      <a:pt x="213" y="294"/>
                    </a:lnTo>
                    <a:lnTo>
                      <a:pt x="215" y="294"/>
                    </a:lnTo>
                    <a:lnTo>
                      <a:pt x="213" y="294"/>
                    </a:lnTo>
                    <a:lnTo>
                      <a:pt x="215" y="294"/>
                    </a:lnTo>
                    <a:lnTo>
                      <a:pt x="213" y="294"/>
                    </a:lnTo>
                    <a:lnTo>
                      <a:pt x="213" y="292"/>
                    </a:lnTo>
                    <a:lnTo>
                      <a:pt x="213" y="294"/>
                    </a:lnTo>
                    <a:lnTo>
                      <a:pt x="213" y="292"/>
                    </a:lnTo>
                    <a:close/>
                    <a:moveTo>
                      <a:pt x="211" y="294"/>
                    </a:moveTo>
                    <a:lnTo>
                      <a:pt x="209" y="294"/>
                    </a:lnTo>
                    <a:lnTo>
                      <a:pt x="209" y="292"/>
                    </a:lnTo>
                    <a:lnTo>
                      <a:pt x="211" y="292"/>
                    </a:lnTo>
                    <a:lnTo>
                      <a:pt x="209" y="292"/>
                    </a:lnTo>
                    <a:lnTo>
                      <a:pt x="211" y="292"/>
                    </a:lnTo>
                    <a:lnTo>
                      <a:pt x="209" y="292"/>
                    </a:lnTo>
                    <a:lnTo>
                      <a:pt x="211" y="292"/>
                    </a:lnTo>
                    <a:lnTo>
                      <a:pt x="209" y="294"/>
                    </a:lnTo>
                    <a:lnTo>
                      <a:pt x="211" y="294"/>
                    </a:lnTo>
                    <a:close/>
                    <a:moveTo>
                      <a:pt x="215" y="294"/>
                    </a:moveTo>
                    <a:lnTo>
                      <a:pt x="215" y="292"/>
                    </a:lnTo>
                    <a:lnTo>
                      <a:pt x="215" y="294"/>
                    </a:lnTo>
                    <a:close/>
                    <a:moveTo>
                      <a:pt x="209" y="292"/>
                    </a:moveTo>
                    <a:lnTo>
                      <a:pt x="209" y="290"/>
                    </a:lnTo>
                    <a:lnTo>
                      <a:pt x="209" y="292"/>
                    </a:lnTo>
                    <a:lnTo>
                      <a:pt x="209" y="290"/>
                    </a:lnTo>
                    <a:lnTo>
                      <a:pt x="209" y="292"/>
                    </a:lnTo>
                    <a:close/>
                    <a:moveTo>
                      <a:pt x="207" y="290"/>
                    </a:moveTo>
                    <a:lnTo>
                      <a:pt x="209" y="290"/>
                    </a:lnTo>
                    <a:lnTo>
                      <a:pt x="209" y="292"/>
                    </a:lnTo>
                    <a:lnTo>
                      <a:pt x="207" y="294"/>
                    </a:lnTo>
                    <a:lnTo>
                      <a:pt x="207" y="292"/>
                    </a:lnTo>
                    <a:lnTo>
                      <a:pt x="205" y="292"/>
                    </a:lnTo>
                    <a:lnTo>
                      <a:pt x="205" y="290"/>
                    </a:lnTo>
                    <a:lnTo>
                      <a:pt x="207" y="290"/>
                    </a:lnTo>
                    <a:lnTo>
                      <a:pt x="205" y="290"/>
                    </a:lnTo>
                    <a:lnTo>
                      <a:pt x="205" y="292"/>
                    </a:lnTo>
                    <a:lnTo>
                      <a:pt x="207" y="292"/>
                    </a:lnTo>
                    <a:lnTo>
                      <a:pt x="207" y="294"/>
                    </a:lnTo>
                    <a:lnTo>
                      <a:pt x="207" y="292"/>
                    </a:lnTo>
                    <a:lnTo>
                      <a:pt x="209" y="292"/>
                    </a:lnTo>
                    <a:lnTo>
                      <a:pt x="207" y="292"/>
                    </a:lnTo>
                    <a:lnTo>
                      <a:pt x="207" y="290"/>
                    </a:lnTo>
                    <a:close/>
                    <a:moveTo>
                      <a:pt x="207" y="290"/>
                    </a:moveTo>
                    <a:lnTo>
                      <a:pt x="209" y="290"/>
                    </a:lnTo>
                    <a:lnTo>
                      <a:pt x="207" y="290"/>
                    </a:lnTo>
                    <a:lnTo>
                      <a:pt x="209" y="290"/>
                    </a:lnTo>
                    <a:lnTo>
                      <a:pt x="207" y="290"/>
                    </a:lnTo>
                    <a:lnTo>
                      <a:pt x="207" y="288"/>
                    </a:lnTo>
                    <a:lnTo>
                      <a:pt x="207" y="290"/>
                    </a:lnTo>
                    <a:close/>
                    <a:moveTo>
                      <a:pt x="213" y="290"/>
                    </a:moveTo>
                    <a:lnTo>
                      <a:pt x="213" y="292"/>
                    </a:lnTo>
                    <a:lnTo>
                      <a:pt x="213" y="290"/>
                    </a:lnTo>
                    <a:close/>
                    <a:moveTo>
                      <a:pt x="211" y="290"/>
                    </a:moveTo>
                    <a:lnTo>
                      <a:pt x="209" y="290"/>
                    </a:lnTo>
                    <a:lnTo>
                      <a:pt x="211" y="290"/>
                    </a:lnTo>
                    <a:close/>
                    <a:moveTo>
                      <a:pt x="215" y="290"/>
                    </a:moveTo>
                    <a:lnTo>
                      <a:pt x="215" y="292"/>
                    </a:lnTo>
                    <a:lnTo>
                      <a:pt x="215" y="290"/>
                    </a:lnTo>
                    <a:close/>
                    <a:moveTo>
                      <a:pt x="209" y="290"/>
                    </a:moveTo>
                    <a:lnTo>
                      <a:pt x="209" y="288"/>
                    </a:lnTo>
                    <a:lnTo>
                      <a:pt x="209" y="290"/>
                    </a:lnTo>
                    <a:close/>
                    <a:moveTo>
                      <a:pt x="213" y="292"/>
                    </a:moveTo>
                    <a:lnTo>
                      <a:pt x="213" y="290"/>
                    </a:lnTo>
                    <a:lnTo>
                      <a:pt x="213" y="292"/>
                    </a:lnTo>
                    <a:lnTo>
                      <a:pt x="213" y="290"/>
                    </a:lnTo>
                    <a:lnTo>
                      <a:pt x="213" y="292"/>
                    </a:lnTo>
                    <a:lnTo>
                      <a:pt x="215" y="292"/>
                    </a:lnTo>
                    <a:lnTo>
                      <a:pt x="213" y="290"/>
                    </a:lnTo>
                    <a:lnTo>
                      <a:pt x="215" y="290"/>
                    </a:lnTo>
                    <a:lnTo>
                      <a:pt x="215" y="292"/>
                    </a:lnTo>
                    <a:lnTo>
                      <a:pt x="213" y="292"/>
                    </a:lnTo>
                    <a:lnTo>
                      <a:pt x="215" y="292"/>
                    </a:lnTo>
                    <a:lnTo>
                      <a:pt x="213" y="292"/>
                    </a:lnTo>
                    <a:close/>
                    <a:moveTo>
                      <a:pt x="207" y="288"/>
                    </a:moveTo>
                    <a:lnTo>
                      <a:pt x="209" y="288"/>
                    </a:lnTo>
                    <a:lnTo>
                      <a:pt x="207" y="288"/>
                    </a:lnTo>
                    <a:close/>
                    <a:moveTo>
                      <a:pt x="215" y="290"/>
                    </a:moveTo>
                    <a:lnTo>
                      <a:pt x="215" y="288"/>
                    </a:lnTo>
                    <a:lnTo>
                      <a:pt x="215" y="290"/>
                    </a:lnTo>
                    <a:close/>
                    <a:moveTo>
                      <a:pt x="215" y="290"/>
                    </a:moveTo>
                    <a:lnTo>
                      <a:pt x="215" y="288"/>
                    </a:lnTo>
                    <a:lnTo>
                      <a:pt x="215" y="290"/>
                    </a:lnTo>
                    <a:close/>
                    <a:moveTo>
                      <a:pt x="211" y="286"/>
                    </a:moveTo>
                    <a:lnTo>
                      <a:pt x="211" y="288"/>
                    </a:lnTo>
                    <a:lnTo>
                      <a:pt x="211" y="286"/>
                    </a:lnTo>
                    <a:close/>
                    <a:moveTo>
                      <a:pt x="213" y="286"/>
                    </a:moveTo>
                    <a:lnTo>
                      <a:pt x="211" y="288"/>
                    </a:lnTo>
                    <a:lnTo>
                      <a:pt x="211" y="286"/>
                    </a:lnTo>
                    <a:lnTo>
                      <a:pt x="211" y="288"/>
                    </a:lnTo>
                    <a:lnTo>
                      <a:pt x="211" y="286"/>
                    </a:lnTo>
                    <a:lnTo>
                      <a:pt x="213" y="286"/>
                    </a:lnTo>
                    <a:close/>
                    <a:moveTo>
                      <a:pt x="211" y="288"/>
                    </a:moveTo>
                    <a:lnTo>
                      <a:pt x="211" y="286"/>
                    </a:lnTo>
                    <a:lnTo>
                      <a:pt x="211" y="288"/>
                    </a:lnTo>
                    <a:lnTo>
                      <a:pt x="209" y="286"/>
                    </a:lnTo>
                    <a:lnTo>
                      <a:pt x="211" y="286"/>
                    </a:lnTo>
                    <a:lnTo>
                      <a:pt x="211" y="288"/>
                    </a:lnTo>
                    <a:lnTo>
                      <a:pt x="211" y="286"/>
                    </a:lnTo>
                    <a:lnTo>
                      <a:pt x="211" y="288"/>
                    </a:lnTo>
                    <a:lnTo>
                      <a:pt x="211" y="286"/>
                    </a:lnTo>
                    <a:lnTo>
                      <a:pt x="213" y="286"/>
                    </a:lnTo>
                    <a:lnTo>
                      <a:pt x="211" y="286"/>
                    </a:lnTo>
                    <a:lnTo>
                      <a:pt x="211" y="288"/>
                    </a:lnTo>
                    <a:lnTo>
                      <a:pt x="209" y="290"/>
                    </a:lnTo>
                    <a:lnTo>
                      <a:pt x="209" y="288"/>
                    </a:lnTo>
                    <a:lnTo>
                      <a:pt x="209" y="290"/>
                    </a:lnTo>
                    <a:lnTo>
                      <a:pt x="209" y="288"/>
                    </a:lnTo>
                    <a:lnTo>
                      <a:pt x="209" y="290"/>
                    </a:lnTo>
                    <a:lnTo>
                      <a:pt x="211" y="288"/>
                    </a:lnTo>
                    <a:close/>
                    <a:moveTo>
                      <a:pt x="211" y="286"/>
                    </a:moveTo>
                    <a:lnTo>
                      <a:pt x="211" y="285"/>
                    </a:lnTo>
                    <a:lnTo>
                      <a:pt x="211" y="286"/>
                    </a:lnTo>
                    <a:close/>
                    <a:moveTo>
                      <a:pt x="211" y="286"/>
                    </a:moveTo>
                    <a:lnTo>
                      <a:pt x="211" y="285"/>
                    </a:lnTo>
                    <a:lnTo>
                      <a:pt x="209" y="285"/>
                    </a:lnTo>
                    <a:lnTo>
                      <a:pt x="211" y="285"/>
                    </a:lnTo>
                    <a:lnTo>
                      <a:pt x="211" y="286"/>
                    </a:lnTo>
                    <a:close/>
                    <a:moveTo>
                      <a:pt x="209" y="288"/>
                    </a:moveTo>
                    <a:lnTo>
                      <a:pt x="209" y="286"/>
                    </a:lnTo>
                    <a:lnTo>
                      <a:pt x="209" y="288"/>
                    </a:lnTo>
                    <a:lnTo>
                      <a:pt x="209" y="286"/>
                    </a:lnTo>
                    <a:lnTo>
                      <a:pt x="207" y="286"/>
                    </a:lnTo>
                    <a:lnTo>
                      <a:pt x="207" y="285"/>
                    </a:lnTo>
                    <a:lnTo>
                      <a:pt x="209" y="285"/>
                    </a:lnTo>
                    <a:lnTo>
                      <a:pt x="207" y="285"/>
                    </a:lnTo>
                    <a:lnTo>
                      <a:pt x="209" y="285"/>
                    </a:lnTo>
                    <a:lnTo>
                      <a:pt x="209" y="283"/>
                    </a:lnTo>
                    <a:lnTo>
                      <a:pt x="211" y="283"/>
                    </a:lnTo>
                    <a:lnTo>
                      <a:pt x="209" y="283"/>
                    </a:lnTo>
                    <a:lnTo>
                      <a:pt x="209" y="285"/>
                    </a:lnTo>
                    <a:lnTo>
                      <a:pt x="209" y="286"/>
                    </a:lnTo>
                    <a:lnTo>
                      <a:pt x="209" y="285"/>
                    </a:lnTo>
                    <a:lnTo>
                      <a:pt x="209" y="286"/>
                    </a:lnTo>
                    <a:lnTo>
                      <a:pt x="209" y="285"/>
                    </a:lnTo>
                    <a:lnTo>
                      <a:pt x="209" y="286"/>
                    </a:lnTo>
                    <a:lnTo>
                      <a:pt x="209" y="285"/>
                    </a:lnTo>
                    <a:lnTo>
                      <a:pt x="209" y="286"/>
                    </a:lnTo>
                    <a:lnTo>
                      <a:pt x="209" y="288"/>
                    </a:lnTo>
                    <a:close/>
                    <a:moveTo>
                      <a:pt x="209" y="281"/>
                    </a:moveTo>
                    <a:lnTo>
                      <a:pt x="209" y="283"/>
                    </a:lnTo>
                    <a:lnTo>
                      <a:pt x="209" y="281"/>
                    </a:lnTo>
                    <a:close/>
                    <a:moveTo>
                      <a:pt x="209" y="279"/>
                    </a:moveTo>
                    <a:lnTo>
                      <a:pt x="209" y="281"/>
                    </a:lnTo>
                    <a:lnTo>
                      <a:pt x="209" y="279"/>
                    </a:lnTo>
                    <a:close/>
                    <a:moveTo>
                      <a:pt x="213" y="290"/>
                    </a:moveTo>
                    <a:lnTo>
                      <a:pt x="211" y="290"/>
                    </a:lnTo>
                    <a:lnTo>
                      <a:pt x="211" y="288"/>
                    </a:lnTo>
                    <a:lnTo>
                      <a:pt x="211" y="290"/>
                    </a:lnTo>
                    <a:lnTo>
                      <a:pt x="213" y="290"/>
                    </a:lnTo>
                    <a:lnTo>
                      <a:pt x="213" y="288"/>
                    </a:lnTo>
                    <a:lnTo>
                      <a:pt x="213" y="290"/>
                    </a:lnTo>
                    <a:lnTo>
                      <a:pt x="213" y="288"/>
                    </a:lnTo>
                    <a:lnTo>
                      <a:pt x="213" y="286"/>
                    </a:lnTo>
                    <a:lnTo>
                      <a:pt x="213" y="288"/>
                    </a:lnTo>
                    <a:lnTo>
                      <a:pt x="213" y="286"/>
                    </a:lnTo>
                    <a:lnTo>
                      <a:pt x="213" y="288"/>
                    </a:lnTo>
                    <a:lnTo>
                      <a:pt x="213" y="286"/>
                    </a:lnTo>
                    <a:lnTo>
                      <a:pt x="213" y="288"/>
                    </a:lnTo>
                    <a:lnTo>
                      <a:pt x="213" y="286"/>
                    </a:lnTo>
                    <a:lnTo>
                      <a:pt x="215" y="286"/>
                    </a:lnTo>
                    <a:lnTo>
                      <a:pt x="213" y="286"/>
                    </a:lnTo>
                    <a:lnTo>
                      <a:pt x="215" y="286"/>
                    </a:lnTo>
                    <a:lnTo>
                      <a:pt x="215" y="288"/>
                    </a:lnTo>
                    <a:lnTo>
                      <a:pt x="215" y="286"/>
                    </a:lnTo>
                    <a:lnTo>
                      <a:pt x="215" y="288"/>
                    </a:lnTo>
                    <a:lnTo>
                      <a:pt x="215" y="286"/>
                    </a:lnTo>
                    <a:lnTo>
                      <a:pt x="215" y="288"/>
                    </a:lnTo>
                    <a:lnTo>
                      <a:pt x="217" y="288"/>
                    </a:lnTo>
                    <a:lnTo>
                      <a:pt x="215" y="286"/>
                    </a:lnTo>
                    <a:lnTo>
                      <a:pt x="217" y="286"/>
                    </a:lnTo>
                    <a:lnTo>
                      <a:pt x="217" y="288"/>
                    </a:lnTo>
                    <a:lnTo>
                      <a:pt x="217" y="286"/>
                    </a:lnTo>
                    <a:lnTo>
                      <a:pt x="217" y="285"/>
                    </a:lnTo>
                    <a:lnTo>
                      <a:pt x="215" y="285"/>
                    </a:lnTo>
                    <a:lnTo>
                      <a:pt x="217" y="285"/>
                    </a:lnTo>
                    <a:lnTo>
                      <a:pt x="217" y="286"/>
                    </a:lnTo>
                    <a:lnTo>
                      <a:pt x="217" y="285"/>
                    </a:lnTo>
                    <a:lnTo>
                      <a:pt x="217" y="283"/>
                    </a:lnTo>
                    <a:lnTo>
                      <a:pt x="215" y="283"/>
                    </a:lnTo>
                    <a:lnTo>
                      <a:pt x="215" y="281"/>
                    </a:lnTo>
                    <a:lnTo>
                      <a:pt x="215" y="283"/>
                    </a:lnTo>
                    <a:lnTo>
                      <a:pt x="213" y="283"/>
                    </a:lnTo>
                    <a:lnTo>
                      <a:pt x="213" y="281"/>
                    </a:lnTo>
                    <a:lnTo>
                      <a:pt x="213" y="283"/>
                    </a:lnTo>
                    <a:lnTo>
                      <a:pt x="215" y="281"/>
                    </a:lnTo>
                    <a:lnTo>
                      <a:pt x="215" y="283"/>
                    </a:lnTo>
                    <a:lnTo>
                      <a:pt x="217" y="285"/>
                    </a:lnTo>
                    <a:lnTo>
                      <a:pt x="217" y="286"/>
                    </a:lnTo>
                    <a:lnTo>
                      <a:pt x="217" y="288"/>
                    </a:lnTo>
                    <a:lnTo>
                      <a:pt x="215" y="288"/>
                    </a:lnTo>
                    <a:lnTo>
                      <a:pt x="213" y="290"/>
                    </a:lnTo>
                    <a:close/>
                    <a:moveTo>
                      <a:pt x="213" y="290"/>
                    </a:moveTo>
                    <a:lnTo>
                      <a:pt x="211" y="290"/>
                    </a:lnTo>
                    <a:lnTo>
                      <a:pt x="213" y="290"/>
                    </a:lnTo>
                    <a:close/>
                    <a:moveTo>
                      <a:pt x="209" y="279"/>
                    </a:moveTo>
                    <a:lnTo>
                      <a:pt x="209" y="281"/>
                    </a:lnTo>
                    <a:lnTo>
                      <a:pt x="209" y="279"/>
                    </a:lnTo>
                    <a:close/>
                    <a:moveTo>
                      <a:pt x="209" y="281"/>
                    </a:moveTo>
                    <a:lnTo>
                      <a:pt x="209" y="279"/>
                    </a:lnTo>
                    <a:lnTo>
                      <a:pt x="209" y="281"/>
                    </a:lnTo>
                    <a:close/>
                    <a:moveTo>
                      <a:pt x="211" y="279"/>
                    </a:moveTo>
                    <a:lnTo>
                      <a:pt x="211" y="277"/>
                    </a:lnTo>
                    <a:lnTo>
                      <a:pt x="211" y="279"/>
                    </a:lnTo>
                    <a:close/>
                    <a:moveTo>
                      <a:pt x="211" y="277"/>
                    </a:moveTo>
                    <a:lnTo>
                      <a:pt x="211" y="279"/>
                    </a:lnTo>
                    <a:lnTo>
                      <a:pt x="211" y="277"/>
                    </a:lnTo>
                    <a:lnTo>
                      <a:pt x="211" y="279"/>
                    </a:lnTo>
                    <a:lnTo>
                      <a:pt x="211" y="277"/>
                    </a:lnTo>
                    <a:close/>
                    <a:moveTo>
                      <a:pt x="213" y="277"/>
                    </a:moveTo>
                    <a:lnTo>
                      <a:pt x="213" y="275"/>
                    </a:lnTo>
                    <a:lnTo>
                      <a:pt x="213" y="277"/>
                    </a:lnTo>
                    <a:close/>
                    <a:moveTo>
                      <a:pt x="215" y="279"/>
                    </a:moveTo>
                    <a:lnTo>
                      <a:pt x="215" y="281"/>
                    </a:lnTo>
                    <a:lnTo>
                      <a:pt x="215" y="279"/>
                    </a:lnTo>
                    <a:lnTo>
                      <a:pt x="215" y="281"/>
                    </a:lnTo>
                    <a:lnTo>
                      <a:pt x="213" y="279"/>
                    </a:lnTo>
                    <a:lnTo>
                      <a:pt x="215" y="279"/>
                    </a:lnTo>
                    <a:lnTo>
                      <a:pt x="213" y="279"/>
                    </a:lnTo>
                    <a:lnTo>
                      <a:pt x="213" y="277"/>
                    </a:lnTo>
                    <a:lnTo>
                      <a:pt x="213" y="279"/>
                    </a:lnTo>
                    <a:lnTo>
                      <a:pt x="215" y="279"/>
                    </a:lnTo>
                    <a:lnTo>
                      <a:pt x="215" y="277"/>
                    </a:lnTo>
                    <a:lnTo>
                      <a:pt x="215" y="279"/>
                    </a:lnTo>
                    <a:lnTo>
                      <a:pt x="215" y="277"/>
                    </a:lnTo>
                    <a:lnTo>
                      <a:pt x="215" y="279"/>
                    </a:lnTo>
                    <a:lnTo>
                      <a:pt x="215" y="277"/>
                    </a:lnTo>
                    <a:lnTo>
                      <a:pt x="215" y="279"/>
                    </a:lnTo>
                    <a:close/>
                    <a:moveTo>
                      <a:pt x="211" y="277"/>
                    </a:moveTo>
                    <a:lnTo>
                      <a:pt x="213" y="277"/>
                    </a:lnTo>
                    <a:lnTo>
                      <a:pt x="213" y="275"/>
                    </a:lnTo>
                    <a:lnTo>
                      <a:pt x="211" y="277"/>
                    </a:lnTo>
                    <a:lnTo>
                      <a:pt x="213" y="277"/>
                    </a:lnTo>
                    <a:lnTo>
                      <a:pt x="213" y="275"/>
                    </a:lnTo>
                    <a:lnTo>
                      <a:pt x="213" y="277"/>
                    </a:lnTo>
                    <a:lnTo>
                      <a:pt x="211" y="277"/>
                    </a:lnTo>
                    <a:close/>
                    <a:moveTo>
                      <a:pt x="213" y="275"/>
                    </a:moveTo>
                    <a:lnTo>
                      <a:pt x="211" y="277"/>
                    </a:lnTo>
                    <a:lnTo>
                      <a:pt x="211" y="275"/>
                    </a:lnTo>
                    <a:lnTo>
                      <a:pt x="213" y="275"/>
                    </a:lnTo>
                    <a:lnTo>
                      <a:pt x="211" y="275"/>
                    </a:lnTo>
                    <a:lnTo>
                      <a:pt x="213" y="275"/>
                    </a:lnTo>
                    <a:close/>
                    <a:moveTo>
                      <a:pt x="213" y="275"/>
                    </a:moveTo>
                    <a:lnTo>
                      <a:pt x="211" y="275"/>
                    </a:lnTo>
                    <a:lnTo>
                      <a:pt x="213" y="275"/>
                    </a:lnTo>
                    <a:lnTo>
                      <a:pt x="211" y="275"/>
                    </a:lnTo>
                    <a:lnTo>
                      <a:pt x="213" y="275"/>
                    </a:lnTo>
                    <a:lnTo>
                      <a:pt x="211" y="275"/>
                    </a:lnTo>
                    <a:lnTo>
                      <a:pt x="213" y="275"/>
                    </a:lnTo>
                    <a:close/>
                    <a:moveTo>
                      <a:pt x="213" y="275"/>
                    </a:moveTo>
                    <a:lnTo>
                      <a:pt x="211" y="273"/>
                    </a:lnTo>
                    <a:lnTo>
                      <a:pt x="213" y="275"/>
                    </a:lnTo>
                    <a:close/>
                    <a:moveTo>
                      <a:pt x="215" y="275"/>
                    </a:moveTo>
                    <a:lnTo>
                      <a:pt x="215" y="277"/>
                    </a:lnTo>
                    <a:lnTo>
                      <a:pt x="215" y="275"/>
                    </a:lnTo>
                    <a:close/>
                    <a:moveTo>
                      <a:pt x="213" y="273"/>
                    </a:moveTo>
                    <a:lnTo>
                      <a:pt x="215" y="273"/>
                    </a:lnTo>
                    <a:lnTo>
                      <a:pt x="213" y="273"/>
                    </a:lnTo>
                    <a:close/>
                    <a:moveTo>
                      <a:pt x="209" y="273"/>
                    </a:moveTo>
                    <a:lnTo>
                      <a:pt x="211" y="273"/>
                    </a:lnTo>
                    <a:lnTo>
                      <a:pt x="209" y="273"/>
                    </a:lnTo>
                    <a:lnTo>
                      <a:pt x="211" y="275"/>
                    </a:lnTo>
                    <a:lnTo>
                      <a:pt x="211" y="273"/>
                    </a:lnTo>
                    <a:lnTo>
                      <a:pt x="213" y="273"/>
                    </a:lnTo>
                    <a:lnTo>
                      <a:pt x="211" y="273"/>
                    </a:lnTo>
                    <a:lnTo>
                      <a:pt x="211" y="275"/>
                    </a:lnTo>
                    <a:lnTo>
                      <a:pt x="209" y="275"/>
                    </a:lnTo>
                    <a:lnTo>
                      <a:pt x="209" y="273"/>
                    </a:lnTo>
                    <a:lnTo>
                      <a:pt x="209" y="271"/>
                    </a:lnTo>
                    <a:lnTo>
                      <a:pt x="209" y="273"/>
                    </a:lnTo>
                    <a:lnTo>
                      <a:pt x="209" y="275"/>
                    </a:lnTo>
                    <a:lnTo>
                      <a:pt x="211" y="275"/>
                    </a:lnTo>
                    <a:lnTo>
                      <a:pt x="211" y="273"/>
                    </a:lnTo>
                    <a:lnTo>
                      <a:pt x="209" y="273"/>
                    </a:lnTo>
                    <a:close/>
                    <a:moveTo>
                      <a:pt x="215" y="273"/>
                    </a:moveTo>
                    <a:lnTo>
                      <a:pt x="213" y="273"/>
                    </a:lnTo>
                    <a:lnTo>
                      <a:pt x="215" y="273"/>
                    </a:lnTo>
                    <a:close/>
                    <a:moveTo>
                      <a:pt x="213" y="271"/>
                    </a:moveTo>
                    <a:lnTo>
                      <a:pt x="213" y="273"/>
                    </a:lnTo>
                    <a:lnTo>
                      <a:pt x="213" y="271"/>
                    </a:lnTo>
                    <a:lnTo>
                      <a:pt x="213" y="273"/>
                    </a:lnTo>
                    <a:lnTo>
                      <a:pt x="213" y="271"/>
                    </a:lnTo>
                    <a:close/>
                    <a:moveTo>
                      <a:pt x="209" y="269"/>
                    </a:moveTo>
                    <a:lnTo>
                      <a:pt x="207" y="269"/>
                    </a:lnTo>
                    <a:lnTo>
                      <a:pt x="209" y="269"/>
                    </a:lnTo>
                    <a:close/>
                    <a:moveTo>
                      <a:pt x="213" y="269"/>
                    </a:moveTo>
                    <a:lnTo>
                      <a:pt x="213" y="271"/>
                    </a:lnTo>
                    <a:lnTo>
                      <a:pt x="213" y="269"/>
                    </a:lnTo>
                    <a:close/>
                    <a:moveTo>
                      <a:pt x="213" y="271"/>
                    </a:moveTo>
                    <a:lnTo>
                      <a:pt x="213" y="269"/>
                    </a:lnTo>
                    <a:lnTo>
                      <a:pt x="213" y="271"/>
                    </a:lnTo>
                    <a:close/>
                    <a:moveTo>
                      <a:pt x="215" y="269"/>
                    </a:moveTo>
                    <a:lnTo>
                      <a:pt x="215" y="271"/>
                    </a:lnTo>
                    <a:lnTo>
                      <a:pt x="215" y="269"/>
                    </a:lnTo>
                    <a:close/>
                    <a:moveTo>
                      <a:pt x="215" y="269"/>
                    </a:moveTo>
                    <a:lnTo>
                      <a:pt x="217" y="269"/>
                    </a:lnTo>
                    <a:lnTo>
                      <a:pt x="215" y="269"/>
                    </a:lnTo>
                    <a:close/>
                    <a:moveTo>
                      <a:pt x="207" y="265"/>
                    </a:moveTo>
                    <a:lnTo>
                      <a:pt x="205" y="265"/>
                    </a:lnTo>
                    <a:lnTo>
                      <a:pt x="207" y="265"/>
                    </a:lnTo>
                    <a:close/>
                    <a:moveTo>
                      <a:pt x="207" y="265"/>
                    </a:moveTo>
                    <a:lnTo>
                      <a:pt x="209" y="267"/>
                    </a:lnTo>
                    <a:lnTo>
                      <a:pt x="207" y="267"/>
                    </a:lnTo>
                    <a:lnTo>
                      <a:pt x="209" y="267"/>
                    </a:lnTo>
                    <a:lnTo>
                      <a:pt x="207" y="267"/>
                    </a:lnTo>
                    <a:lnTo>
                      <a:pt x="209" y="267"/>
                    </a:lnTo>
                    <a:lnTo>
                      <a:pt x="207" y="265"/>
                    </a:lnTo>
                    <a:lnTo>
                      <a:pt x="207" y="267"/>
                    </a:lnTo>
                    <a:lnTo>
                      <a:pt x="209" y="267"/>
                    </a:lnTo>
                    <a:lnTo>
                      <a:pt x="209" y="265"/>
                    </a:lnTo>
                    <a:lnTo>
                      <a:pt x="209" y="267"/>
                    </a:lnTo>
                    <a:lnTo>
                      <a:pt x="207" y="267"/>
                    </a:lnTo>
                    <a:lnTo>
                      <a:pt x="207" y="269"/>
                    </a:lnTo>
                    <a:lnTo>
                      <a:pt x="207" y="267"/>
                    </a:lnTo>
                    <a:lnTo>
                      <a:pt x="207" y="265"/>
                    </a:lnTo>
                    <a:lnTo>
                      <a:pt x="207" y="267"/>
                    </a:lnTo>
                    <a:lnTo>
                      <a:pt x="207" y="265"/>
                    </a:lnTo>
                    <a:close/>
                    <a:moveTo>
                      <a:pt x="207" y="263"/>
                    </a:moveTo>
                    <a:lnTo>
                      <a:pt x="207" y="265"/>
                    </a:lnTo>
                    <a:lnTo>
                      <a:pt x="207" y="263"/>
                    </a:lnTo>
                    <a:close/>
                    <a:moveTo>
                      <a:pt x="205" y="263"/>
                    </a:moveTo>
                    <a:lnTo>
                      <a:pt x="207" y="263"/>
                    </a:lnTo>
                    <a:lnTo>
                      <a:pt x="205" y="263"/>
                    </a:lnTo>
                    <a:close/>
                    <a:moveTo>
                      <a:pt x="207" y="263"/>
                    </a:moveTo>
                    <a:lnTo>
                      <a:pt x="205" y="263"/>
                    </a:lnTo>
                    <a:lnTo>
                      <a:pt x="207" y="263"/>
                    </a:lnTo>
                    <a:close/>
                    <a:moveTo>
                      <a:pt x="213" y="265"/>
                    </a:moveTo>
                    <a:lnTo>
                      <a:pt x="213" y="267"/>
                    </a:lnTo>
                    <a:lnTo>
                      <a:pt x="213" y="265"/>
                    </a:lnTo>
                    <a:close/>
                    <a:moveTo>
                      <a:pt x="205" y="265"/>
                    </a:moveTo>
                    <a:lnTo>
                      <a:pt x="205" y="263"/>
                    </a:lnTo>
                    <a:lnTo>
                      <a:pt x="205" y="265"/>
                    </a:lnTo>
                    <a:lnTo>
                      <a:pt x="205" y="263"/>
                    </a:lnTo>
                    <a:lnTo>
                      <a:pt x="205" y="265"/>
                    </a:lnTo>
                    <a:lnTo>
                      <a:pt x="205" y="263"/>
                    </a:lnTo>
                    <a:lnTo>
                      <a:pt x="203" y="263"/>
                    </a:lnTo>
                    <a:lnTo>
                      <a:pt x="205" y="263"/>
                    </a:lnTo>
                    <a:lnTo>
                      <a:pt x="205" y="265"/>
                    </a:lnTo>
                    <a:close/>
                    <a:moveTo>
                      <a:pt x="205" y="263"/>
                    </a:moveTo>
                    <a:lnTo>
                      <a:pt x="205" y="261"/>
                    </a:lnTo>
                    <a:lnTo>
                      <a:pt x="205" y="263"/>
                    </a:lnTo>
                    <a:close/>
                    <a:moveTo>
                      <a:pt x="194" y="260"/>
                    </a:moveTo>
                    <a:lnTo>
                      <a:pt x="194" y="258"/>
                    </a:lnTo>
                    <a:lnTo>
                      <a:pt x="194" y="260"/>
                    </a:lnTo>
                    <a:close/>
                    <a:moveTo>
                      <a:pt x="213" y="263"/>
                    </a:moveTo>
                    <a:lnTo>
                      <a:pt x="213" y="265"/>
                    </a:lnTo>
                    <a:lnTo>
                      <a:pt x="213" y="263"/>
                    </a:lnTo>
                    <a:close/>
                    <a:moveTo>
                      <a:pt x="215" y="267"/>
                    </a:moveTo>
                    <a:lnTo>
                      <a:pt x="215" y="269"/>
                    </a:lnTo>
                    <a:lnTo>
                      <a:pt x="215" y="267"/>
                    </a:lnTo>
                    <a:lnTo>
                      <a:pt x="215" y="265"/>
                    </a:lnTo>
                    <a:lnTo>
                      <a:pt x="215" y="267"/>
                    </a:lnTo>
                    <a:lnTo>
                      <a:pt x="215" y="265"/>
                    </a:lnTo>
                    <a:lnTo>
                      <a:pt x="215" y="263"/>
                    </a:lnTo>
                    <a:lnTo>
                      <a:pt x="215" y="265"/>
                    </a:lnTo>
                    <a:lnTo>
                      <a:pt x="215" y="267"/>
                    </a:lnTo>
                    <a:lnTo>
                      <a:pt x="215" y="269"/>
                    </a:lnTo>
                    <a:lnTo>
                      <a:pt x="215" y="271"/>
                    </a:lnTo>
                    <a:lnTo>
                      <a:pt x="215" y="273"/>
                    </a:lnTo>
                    <a:lnTo>
                      <a:pt x="215" y="271"/>
                    </a:lnTo>
                    <a:lnTo>
                      <a:pt x="215" y="273"/>
                    </a:lnTo>
                    <a:lnTo>
                      <a:pt x="215" y="275"/>
                    </a:lnTo>
                    <a:lnTo>
                      <a:pt x="215" y="273"/>
                    </a:lnTo>
                    <a:lnTo>
                      <a:pt x="215" y="271"/>
                    </a:lnTo>
                    <a:lnTo>
                      <a:pt x="215" y="269"/>
                    </a:lnTo>
                    <a:lnTo>
                      <a:pt x="215" y="267"/>
                    </a:lnTo>
                    <a:lnTo>
                      <a:pt x="215" y="269"/>
                    </a:lnTo>
                    <a:lnTo>
                      <a:pt x="215" y="267"/>
                    </a:lnTo>
                    <a:close/>
                    <a:moveTo>
                      <a:pt x="215" y="263"/>
                    </a:moveTo>
                    <a:lnTo>
                      <a:pt x="213" y="263"/>
                    </a:lnTo>
                    <a:lnTo>
                      <a:pt x="215" y="263"/>
                    </a:lnTo>
                    <a:close/>
                    <a:moveTo>
                      <a:pt x="194" y="258"/>
                    </a:moveTo>
                    <a:lnTo>
                      <a:pt x="194" y="260"/>
                    </a:lnTo>
                    <a:lnTo>
                      <a:pt x="194" y="258"/>
                    </a:lnTo>
                    <a:lnTo>
                      <a:pt x="194" y="260"/>
                    </a:lnTo>
                    <a:lnTo>
                      <a:pt x="194" y="258"/>
                    </a:lnTo>
                    <a:close/>
                    <a:moveTo>
                      <a:pt x="196" y="258"/>
                    </a:moveTo>
                    <a:lnTo>
                      <a:pt x="194" y="258"/>
                    </a:lnTo>
                    <a:lnTo>
                      <a:pt x="196" y="258"/>
                    </a:lnTo>
                    <a:lnTo>
                      <a:pt x="196" y="260"/>
                    </a:lnTo>
                    <a:lnTo>
                      <a:pt x="194" y="260"/>
                    </a:lnTo>
                    <a:lnTo>
                      <a:pt x="196" y="260"/>
                    </a:lnTo>
                    <a:lnTo>
                      <a:pt x="194" y="260"/>
                    </a:lnTo>
                    <a:lnTo>
                      <a:pt x="194" y="258"/>
                    </a:lnTo>
                    <a:lnTo>
                      <a:pt x="196" y="258"/>
                    </a:lnTo>
                    <a:close/>
                    <a:moveTo>
                      <a:pt x="203" y="260"/>
                    </a:moveTo>
                    <a:lnTo>
                      <a:pt x="205" y="260"/>
                    </a:lnTo>
                    <a:lnTo>
                      <a:pt x="203" y="260"/>
                    </a:lnTo>
                    <a:close/>
                    <a:moveTo>
                      <a:pt x="211" y="261"/>
                    </a:moveTo>
                    <a:lnTo>
                      <a:pt x="213" y="261"/>
                    </a:lnTo>
                    <a:lnTo>
                      <a:pt x="211" y="261"/>
                    </a:lnTo>
                    <a:close/>
                    <a:moveTo>
                      <a:pt x="213" y="263"/>
                    </a:moveTo>
                    <a:lnTo>
                      <a:pt x="213" y="261"/>
                    </a:lnTo>
                    <a:lnTo>
                      <a:pt x="213" y="263"/>
                    </a:lnTo>
                    <a:lnTo>
                      <a:pt x="213" y="261"/>
                    </a:lnTo>
                    <a:lnTo>
                      <a:pt x="213" y="263"/>
                    </a:lnTo>
                    <a:close/>
                    <a:moveTo>
                      <a:pt x="201" y="260"/>
                    </a:moveTo>
                    <a:lnTo>
                      <a:pt x="203" y="260"/>
                    </a:lnTo>
                    <a:lnTo>
                      <a:pt x="201" y="260"/>
                    </a:lnTo>
                    <a:lnTo>
                      <a:pt x="201" y="258"/>
                    </a:lnTo>
                    <a:lnTo>
                      <a:pt x="201" y="260"/>
                    </a:lnTo>
                    <a:lnTo>
                      <a:pt x="201" y="258"/>
                    </a:lnTo>
                    <a:lnTo>
                      <a:pt x="201" y="260"/>
                    </a:lnTo>
                    <a:close/>
                    <a:moveTo>
                      <a:pt x="207" y="260"/>
                    </a:moveTo>
                    <a:lnTo>
                      <a:pt x="207" y="258"/>
                    </a:lnTo>
                    <a:lnTo>
                      <a:pt x="207" y="260"/>
                    </a:lnTo>
                    <a:lnTo>
                      <a:pt x="209" y="260"/>
                    </a:lnTo>
                    <a:lnTo>
                      <a:pt x="209" y="261"/>
                    </a:lnTo>
                    <a:lnTo>
                      <a:pt x="209" y="263"/>
                    </a:lnTo>
                    <a:lnTo>
                      <a:pt x="211" y="263"/>
                    </a:lnTo>
                    <a:lnTo>
                      <a:pt x="209" y="263"/>
                    </a:lnTo>
                    <a:lnTo>
                      <a:pt x="211" y="263"/>
                    </a:lnTo>
                    <a:lnTo>
                      <a:pt x="209" y="263"/>
                    </a:lnTo>
                    <a:lnTo>
                      <a:pt x="211" y="263"/>
                    </a:lnTo>
                    <a:lnTo>
                      <a:pt x="209" y="265"/>
                    </a:lnTo>
                    <a:lnTo>
                      <a:pt x="207" y="265"/>
                    </a:lnTo>
                    <a:lnTo>
                      <a:pt x="209" y="265"/>
                    </a:lnTo>
                    <a:lnTo>
                      <a:pt x="207" y="265"/>
                    </a:lnTo>
                    <a:lnTo>
                      <a:pt x="207" y="263"/>
                    </a:lnTo>
                    <a:lnTo>
                      <a:pt x="207" y="265"/>
                    </a:lnTo>
                    <a:lnTo>
                      <a:pt x="207" y="263"/>
                    </a:lnTo>
                    <a:lnTo>
                      <a:pt x="207" y="261"/>
                    </a:lnTo>
                    <a:lnTo>
                      <a:pt x="207" y="260"/>
                    </a:lnTo>
                    <a:close/>
                    <a:moveTo>
                      <a:pt x="203" y="256"/>
                    </a:moveTo>
                    <a:lnTo>
                      <a:pt x="205" y="256"/>
                    </a:lnTo>
                    <a:lnTo>
                      <a:pt x="203" y="256"/>
                    </a:lnTo>
                    <a:close/>
                    <a:moveTo>
                      <a:pt x="209" y="258"/>
                    </a:moveTo>
                    <a:lnTo>
                      <a:pt x="211" y="258"/>
                    </a:lnTo>
                    <a:lnTo>
                      <a:pt x="209" y="258"/>
                    </a:lnTo>
                    <a:lnTo>
                      <a:pt x="211" y="258"/>
                    </a:lnTo>
                    <a:lnTo>
                      <a:pt x="211" y="260"/>
                    </a:lnTo>
                    <a:lnTo>
                      <a:pt x="213" y="260"/>
                    </a:lnTo>
                    <a:lnTo>
                      <a:pt x="213" y="261"/>
                    </a:lnTo>
                    <a:lnTo>
                      <a:pt x="213" y="260"/>
                    </a:lnTo>
                    <a:lnTo>
                      <a:pt x="211" y="260"/>
                    </a:lnTo>
                    <a:lnTo>
                      <a:pt x="211" y="258"/>
                    </a:lnTo>
                    <a:lnTo>
                      <a:pt x="209" y="258"/>
                    </a:lnTo>
                    <a:close/>
                    <a:moveTo>
                      <a:pt x="211" y="258"/>
                    </a:moveTo>
                    <a:lnTo>
                      <a:pt x="211" y="260"/>
                    </a:lnTo>
                    <a:lnTo>
                      <a:pt x="211" y="258"/>
                    </a:lnTo>
                    <a:close/>
                    <a:moveTo>
                      <a:pt x="211" y="260"/>
                    </a:moveTo>
                    <a:lnTo>
                      <a:pt x="213" y="260"/>
                    </a:lnTo>
                    <a:lnTo>
                      <a:pt x="211" y="260"/>
                    </a:lnTo>
                    <a:close/>
                    <a:moveTo>
                      <a:pt x="205" y="256"/>
                    </a:moveTo>
                    <a:lnTo>
                      <a:pt x="207" y="256"/>
                    </a:lnTo>
                    <a:lnTo>
                      <a:pt x="205" y="256"/>
                    </a:lnTo>
                    <a:close/>
                    <a:moveTo>
                      <a:pt x="173" y="246"/>
                    </a:moveTo>
                    <a:lnTo>
                      <a:pt x="173" y="244"/>
                    </a:lnTo>
                    <a:lnTo>
                      <a:pt x="173" y="246"/>
                    </a:lnTo>
                    <a:close/>
                    <a:moveTo>
                      <a:pt x="198" y="254"/>
                    </a:moveTo>
                    <a:lnTo>
                      <a:pt x="199" y="254"/>
                    </a:lnTo>
                    <a:lnTo>
                      <a:pt x="199" y="252"/>
                    </a:lnTo>
                    <a:lnTo>
                      <a:pt x="199" y="254"/>
                    </a:lnTo>
                    <a:lnTo>
                      <a:pt x="198" y="254"/>
                    </a:lnTo>
                    <a:close/>
                    <a:moveTo>
                      <a:pt x="201" y="252"/>
                    </a:moveTo>
                    <a:lnTo>
                      <a:pt x="201" y="254"/>
                    </a:lnTo>
                    <a:lnTo>
                      <a:pt x="203" y="254"/>
                    </a:lnTo>
                    <a:lnTo>
                      <a:pt x="203" y="256"/>
                    </a:lnTo>
                    <a:lnTo>
                      <a:pt x="203" y="254"/>
                    </a:lnTo>
                    <a:lnTo>
                      <a:pt x="205" y="256"/>
                    </a:lnTo>
                    <a:lnTo>
                      <a:pt x="203" y="254"/>
                    </a:lnTo>
                    <a:lnTo>
                      <a:pt x="205" y="254"/>
                    </a:lnTo>
                    <a:lnTo>
                      <a:pt x="205" y="256"/>
                    </a:lnTo>
                    <a:lnTo>
                      <a:pt x="203" y="256"/>
                    </a:lnTo>
                    <a:lnTo>
                      <a:pt x="203" y="254"/>
                    </a:lnTo>
                    <a:lnTo>
                      <a:pt x="201" y="252"/>
                    </a:lnTo>
                    <a:lnTo>
                      <a:pt x="201" y="254"/>
                    </a:lnTo>
                    <a:lnTo>
                      <a:pt x="201" y="252"/>
                    </a:lnTo>
                    <a:close/>
                    <a:moveTo>
                      <a:pt x="205" y="254"/>
                    </a:moveTo>
                    <a:lnTo>
                      <a:pt x="207" y="254"/>
                    </a:lnTo>
                    <a:lnTo>
                      <a:pt x="207" y="256"/>
                    </a:lnTo>
                    <a:lnTo>
                      <a:pt x="207" y="254"/>
                    </a:lnTo>
                    <a:lnTo>
                      <a:pt x="205" y="254"/>
                    </a:lnTo>
                    <a:close/>
                    <a:moveTo>
                      <a:pt x="190" y="248"/>
                    </a:moveTo>
                    <a:lnTo>
                      <a:pt x="190" y="250"/>
                    </a:lnTo>
                    <a:lnTo>
                      <a:pt x="190" y="248"/>
                    </a:lnTo>
                    <a:lnTo>
                      <a:pt x="190" y="250"/>
                    </a:lnTo>
                    <a:lnTo>
                      <a:pt x="190" y="248"/>
                    </a:lnTo>
                    <a:lnTo>
                      <a:pt x="190" y="250"/>
                    </a:lnTo>
                    <a:lnTo>
                      <a:pt x="190" y="248"/>
                    </a:lnTo>
                    <a:close/>
                    <a:moveTo>
                      <a:pt x="203" y="254"/>
                    </a:moveTo>
                    <a:lnTo>
                      <a:pt x="201" y="252"/>
                    </a:lnTo>
                    <a:lnTo>
                      <a:pt x="203" y="252"/>
                    </a:lnTo>
                    <a:lnTo>
                      <a:pt x="203" y="254"/>
                    </a:lnTo>
                    <a:close/>
                    <a:moveTo>
                      <a:pt x="198" y="250"/>
                    </a:moveTo>
                    <a:lnTo>
                      <a:pt x="199" y="252"/>
                    </a:lnTo>
                    <a:lnTo>
                      <a:pt x="199" y="250"/>
                    </a:lnTo>
                    <a:lnTo>
                      <a:pt x="199" y="252"/>
                    </a:lnTo>
                    <a:lnTo>
                      <a:pt x="201" y="252"/>
                    </a:lnTo>
                    <a:lnTo>
                      <a:pt x="199" y="252"/>
                    </a:lnTo>
                    <a:lnTo>
                      <a:pt x="199" y="254"/>
                    </a:lnTo>
                    <a:lnTo>
                      <a:pt x="201" y="254"/>
                    </a:lnTo>
                    <a:lnTo>
                      <a:pt x="201" y="252"/>
                    </a:lnTo>
                    <a:lnTo>
                      <a:pt x="201" y="254"/>
                    </a:lnTo>
                    <a:lnTo>
                      <a:pt x="201" y="252"/>
                    </a:lnTo>
                    <a:lnTo>
                      <a:pt x="201" y="254"/>
                    </a:lnTo>
                    <a:lnTo>
                      <a:pt x="201" y="252"/>
                    </a:lnTo>
                    <a:lnTo>
                      <a:pt x="201" y="254"/>
                    </a:lnTo>
                    <a:lnTo>
                      <a:pt x="203" y="256"/>
                    </a:lnTo>
                    <a:lnTo>
                      <a:pt x="201" y="256"/>
                    </a:lnTo>
                    <a:lnTo>
                      <a:pt x="203" y="256"/>
                    </a:lnTo>
                    <a:lnTo>
                      <a:pt x="201" y="256"/>
                    </a:lnTo>
                    <a:lnTo>
                      <a:pt x="203" y="256"/>
                    </a:lnTo>
                    <a:lnTo>
                      <a:pt x="201" y="254"/>
                    </a:lnTo>
                    <a:lnTo>
                      <a:pt x="203" y="254"/>
                    </a:lnTo>
                    <a:lnTo>
                      <a:pt x="201" y="254"/>
                    </a:lnTo>
                    <a:lnTo>
                      <a:pt x="201" y="256"/>
                    </a:lnTo>
                    <a:lnTo>
                      <a:pt x="201" y="254"/>
                    </a:lnTo>
                    <a:lnTo>
                      <a:pt x="201" y="256"/>
                    </a:lnTo>
                    <a:lnTo>
                      <a:pt x="199" y="256"/>
                    </a:lnTo>
                    <a:lnTo>
                      <a:pt x="199" y="254"/>
                    </a:lnTo>
                    <a:lnTo>
                      <a:pt x="199" y="256"/>
                    </a:lnTo>
                    <a:lnTo>
                      <a:pt x="199" y="254"/>
                    </a:lnTo>
                    <a:lnTo>
                      <a:pt x="199" y="256"/>
                    </a:lnTo>
                    <a:lnTo>
                      <a:pt x="199" y="254"/>
                    </a:lnTo>
                    <a:lnTo>
                      <a:pt x="199" y="252"/>
                    </a:lnTo>
                    <a:lnTo>
                      <a:pt x="198" y="252"/>
                    </a:lnTo>
                    <a:lnTo>
                      <a:pt x="199" y="252"/>
                    </a:lnTo>
                    <a:lnTo>
                      <a:pt x="198" y="252"/>
                    </a:lnTo>
                    <a:lnTo>
                      <a:pt x="199" y="252"/>
                    </a:lnTo>
                    <a:lnTo>
                      <a:pt x="198" y="252"/>
                    </a:lnTo>
                    <a:lnTo>
                      <a:pt x="198" y="250"/>
                    </a:lnTo>
                    <a:close/>
                    <a:moveTo>
                      <a:pt x="199" y="250"/>
                    </a:moveTo>
                    <a:lnTo>
                      <a:pt x="198" y="250"/>
                    </a:lnTo>
                    <a:lnTo>
                      <a:pt x="199" y="250"/>
                    </a:lnTo>
                    <a:close/>
                    <a:moveTo>
                      <a:pt x="201" y="250"/>
                    </a:moveTo>
                    <a:lnTo>
                      <a:pt x="201" y="252"/>
                    </a:lnTo>
                    <a:lnTo>
                      <a:pt x="201" y="250"/>
                    </a:lnTo>
                    <a:close/>
                    <a:moveTo>
                      <a:pt x="196" y="250"/>
                    </a:moveTo>
                    <a:lnTo>
                      <a:pt x="198" y="252"/>
                    </a:lnTo>
                    <a:lnTo>
                      <a:pt x="198" y="254"/>
                    </a:lnTo>
                    <a:lnTo>
                      <a:pt x="196" y="254"/>
                    </a:lnTo>
                    <a:lnTo>
                      <a:pt x="196" y="252"/>
                    </a:lnTo>
                    <a:lnTo>
                      <a:pt x="196" y="254"/>
                    </a:lnTo>
                    <a:lnTo>
                      <a:pt x="196" y="252"/>
                    </a:lnTo>
                    <a:lnTo>
                      <a:pt x="196" y="254"/>
                    </a:lnTo>
                    <a:lnTo>
                      <a:pt x="196" y="252"/>
                    </a:lnTo>
                    <a:lnTo>
                      <a:pt x="196" y="250"/>
                    </a:lnTo>
                    <a:lnTo>
                      <a:pt x="194" y="250"/>
                    </a:lnTo>
                    <a:lnTo>
                      <a:pt x="196" y="250"/>
                    </a:lnTo>
                    <a:lnTo>
                      <a:pt x="194" y="248"/>
                    </a:lnTo>
                    <a:lnTo>
                      <a:pt x="196" y="248"/>
                    </a:lnTo>
                    <a:lnTo>
                      <a:pt x="196" y="250"/>
                    </a:lnTo>
                    <a:lnTo>
                      <a:pt x="196" y="248"/>
                    </a:lnTo>
                    <a:lnTo>
                      <a:pt x="194" y="248"/>
                    </a:lnTo>
                    <a:lnTo>
                      <a:pt x="196" y="248"/>
                    </a:lnTo>
                    <a:lnTo>
                      <a:pt x="194" y="248"/>
                    </a:lnTo>
                    <a:lnTo>
                      <a:pt x="196" y="248"/>
                    </a:lnTo>
                    <a:lnTo>
                      <a:pt x="194" y="248"/>
                    </a:lnTo>
                    <a:lnTo>
                      <a:pt x="196" y="248"/>
                    </a:lnTo>
                    <a:lnTo>
                      <a:pt x="194" y="248"/>
                    </a:lnTo>
                    <a:lnTo>
                      <a:pt x="196" y="248"/>
                    </a:lnTo>
                    <a:lnTo>
                      <a:pt x="194" y="248"/>
                    </a:lnTo>
                    <a:lnTo>
                      <a:pt x="194" y="250"/>
                    </a:lnTo>
                    <a:lnTo>
                      <a:pt x="194" y="248"/>
                    </a:lnTo>
                    <a:lnTo>
                      <a:pt x="192" y="248"/>
                    </a:lnTo>
                    <a:lnTo>
                      <a:pt x="194" y="248"/>
                    </a:lnTo>
                    <a:lnTo>
                      <a:pt x="194" y="246"/>
                    </a:lnTo>
                    <a:lnTo>
                      <a:pt x="194" y="248"/>
                    </a:lnTo>
                    <a:lnTo>
                      <a:pt x="196" y="248"/>
                    </a:lnTo>
                    <a:lnTo>
                      <a:pt x="196" y="250"/>
                    </a:lnTo>
                    <a:close/>
                    <a:moveTo>
                      <a:pt x="196" y="252"/>
                    </a:moveTo>
                    <a:lnTo>
                      <a:pt x="196" y="254"/>
                    </a:lnTo>
                    <a:lnTo>
                      <a:pt x="198" y="252"/>
                    </a:lnTo>
                    <a:lnTo>
                      <a:pt x="196" y="252"/>
                    </a:lnTo>
                    <a:close/>
                    <a:moveTo>
                      <a:pt x="190" y="246"/>
                    </a:moveTo>
                    <a:lnTo>
                      <a:pt x="192" y="246"/>
                    </a:lnTo>
                    <a:lnTo>
                      <a:pt x="192" y="248"/>
                    </a:lnTo>
                    <a:lnTo>
                      <a:pt x="192" y="246"/>
                    </a:lnTo>
                    <a:lnTo>
                      <a:pt x="190" y="246"/>
                    </a:lnTo>
                    <a:close/>
                    <a:moveTo>
                      <a:pt x="198" y="248"/>
                    </a:moveTo>
                    <a:lnTo>
                      <a:pt x="198" y="250"/>
                    </a:lnTo>
                    <a:lnTo>
                      <a:pt x="196" y="248"/>
                    </a:lnTo>
                    <a:lnTo>
                      <a:pt x="198" y="248"/>
                    </a:lnTo>
                    <a:close/>
                    <a:moveTo>
                      <a:pt x="186" y="242"/>
                    </a:moveTo>
                    <a:lnTo>
                      <a:pt x="184" y="244"/>
                    </a:lnTo>
                    <a:lnTo>
                      <a:pt x="184" y="242"/>
                    </a:lnTo>
                    <a:lnTo>
                      <a:pt x="186" y="242"/>
                    </a:lnTo>
                    <a:close/>
                    <a:moveTo>
                      <a:pt x="186" y="242"/>
                    </a:moveTo>
                    <a:lnTo>
                      <a:pt x="186" y="244"/>
                    </a:lnTo>
                    <a:lnTo>
                      <a:pt x="186" y="242"/>
                    </a:lnTo>
                    <a:lnTo>
                      <a:pt x="186" y="244"/>
                    </a:lnTo>
                    <a:lnTo>
                      <a:pt x="186" y="242"/>
                    </a:lnTo>
                    <a:close/>
                    <a:moveTo>
                      <a:pt x="184" y="240"/>
                    </a:moveTo>
                    <a:lnTo>
                      <a:pt x="182" y="240"/>
                    </a:lnTo>
                    <a:lnTo>
                      <a:pt x="184" y="240"/>
                    </a:lnTo>
                    <a:close/>
                    <a:moveTo>
                      <a:pt x="186" y="240"/>
                    </a:moveTo>
                    <a:lnTo>
                      <a:pt x="186" y="242"/>
                    </a:lnTo>
                    <a:lnTo>
                      <a:pt x="186" y="240"/>
                    </a:lnTo>
                    <a:close/>
                    <a:moveTo>
                      <a:pt x="184" y="240"/>
                    </a:moveTo>
                    <a:lnTo>
                      <a:pt x="182" y="240"/>
                    </a:lnTo>
                    <a:lnTo>
                      <a:pt x="184" y="240"/>
                    </a:lnTo>
                    <a:close/>
                    <a:moveTo>
                      <a:pt x="186" y="240"/>
                    </a:moveTo>
                    <a:lnTo>
                      <a:pt x="186" y="242"/>
                    </a:lnTo>
                    <a:lnTo>
                      <a:pt x="184" y="242"/>
                    </a:lnTo>
                    <a:lnTo>
                      <a:pt x="184" y="240"/>
                    </a:lnTo>
                    <a:lnTo>
                      <a:pt x="186" y="240"/>
                    </a:lnTo>
                    <a:close/>
                    <a:moveTo>
                      <a:pt x="184" y="240"/>
                    </a:moveTo>
                    <a:lnTo>
                      <a:pt x="184" y="242"/>
                    </a:lnTo>
                    <a:lnTo>
                      <a:pt x="186" y="242"/>
                    </a:lnTo>
                    <a:lnTo>
                      <a:pt x="184" y="242"/>
                    </a:lnTo>
                    <a:lnTo>
                      <a:pt x="186" y="242"/>
                    </a:lnTo>
                    <a:lnTo>
                      <a:pt x="186" y="240"/>
                    </a:lnTo>
                    <a:lnTo>
                      <a:pt x="186" y="242"/>
                    </a:lnTo>
                    <a:lnTo>
                      <a:pt x="186" y="240"/>
                    </a:lnTo>
                    <a:lnTo>
                      <a:pt x="184" y="240"/>
                    </a:lnTo>
                    <a:close/>
                    <a:moveTo>
                      <a:pt x="182" y="238"/>
                    </a:moveTo>
                    <a:lnTo>
                      <a:pt x="182" y="240"/>
                    </a:lnTo>
                    <a:lnTo>
                      <a:pt x="182" y="238"/>
                    </a:lnTo>
                    <a:lnTo>
                      <a:pt x="182" y="240"/>
                    </a:lnTo>
                    <a:lnTo>
                      <a:pt x="182" y="238"/>
                    </a:lnTo>
                    <a:close/>
                    <a:moveTo>
                      <a:pt x="188" y="240"/>
                    </a:moveTo>
                    <a:lnTo>
                      <a:pt x="186" y="240"/>
                    </a:lnTo>
                    <a:lnTo>
                      <a:pt x="186" y="242"/>
                    </a:lnTo>
                    <a:lnTo>
                      <a:pt x="186" y="240"/>
                    </a:lnTo>
                    <a:lnTo>
                      <a:pt x="186" y="242"/>
                    </a:lnTo>
                    <a:lnTo>
                      <a:pt x="186" y="240"/>
                    </a:lnTo>
                    <a:lnTo>
                      <a:pt x="188" y="240"/>
                    </a:lnTo>
                    <a:close/>
                    <a:moveTo>
                      <a:pt x="186" y="238"/>
                    </a:moveTo>
                    <a:lnTo>
                      <a:pt x="184" y="238"/>
                    </a:lnTo>
                    <a:lnTo>
                      <a:pt x="186" y="238"/>
                    </a:lnTo>
                    <a:close/>
                    <a:moveTo>
                      <a:pt x="184" y="238"/>
                    </a:moveTo>
                    <a:lnTo>
                      <a:pt x="184" y="236"/>
                    </a:lnTo>
                    <a:lnTo>
                      <a:pt x="184" y="238"/>
                    </a:lnTo>
                    <a:close/>
                    <a:moveTo>
                      <a:pt x="178" y="236"/>
                    </a:moveTo>
                    <a:lnTo>
                      <a:pt x="180" y="236"/>
                    </a:lnTo>
                    <a:lnTo>
                      <a:pt x="178" y="236"/>
                    </a:lnTo>
                    <a:close/>
                    <a:moveTo>
                      <a:pt x="178" y="236"/>
                    </a:moveTo>
                    <a:lnTo>
                      <a:pt x="178" y="235"/>
                    </a:lnTo>
                    <a:lnTo>
                      <a:pt x="180" y="235"/>
                    </a:lnTo>
                    <a:lnTo>
                      <a:pt x="178" y="236"/>
                    </a:lnTo>
                    <a:close/>
                    <a:moveTo>
                      <a:pt x="184" y="238"/>
                    </a:moveTo>
                    <a:lnTo>
                      <a:pt x="182" y="238"/>
                    </a:lnTo>
                    <a:lnTo>
                      <a:pt x="182" y="236"/>
                    </a:lnTo>
                    <a:lnTo>
                      <a:pt x="180" y="236"/>
                    </a:lnTo>
                    <a:lnTo>
                      <a:pt x="180" y="235"/>
                    </a:lnTo>
                    <a:lnTo>
                      <a:pt x="180" y="236"/>
                    </a:lnTo>
                    <a:lnTo>
                      <a:pt x="182" y="236"/>
                    </a:lnTo>
                    <a:lnTo>
                      <a:pt x="182" y="238"/>
                    </a:lnTo>
                    <a:lnTo>
                      <a:pt x="184" y="238"/>
                    </a:lnTo>
                    <a:close/>
                    <a:moveTo>
                      <a:pt x="184" y="235"/>
                    </a:moveTo>
                    <a:lnTo>
                      <a:pt x="186" y="236"/>
                    </a:lnTo>
                    <a:lnTo>
                      <a:pt x="184" y="235"/>
                    </a:lnTo>
                    <a:close/>
                    <a:moveTo>
                      <a:pt x="184" y="235"/>
                    </a:moveTo>
                    <a:lnTo>
                      <a:pt x="184" y="236"/>
                    </a:lnTo>
                    <a:lnTo>
                      <a:pt x="184" y="235"/>
                    </a:lnTo>
                    <a:close/>
                    <a:moveTo>
                      <a:pt x="178" y="235"/>
                    </a:moveTo>
                    <a:lnTo>
                      <a:pt x="178" y="233"/>
                    </a:lnTo>
                    <a:lnTo>
                      <a:pt x="178" y="235"/>
                    </a:lnTo>
                    <a:lnTo>
                      <a:pt x="180" y="235"/>
                    </a:lnTo>
                    <a:lnTo>
                      <a:pt x="178" y="235"/>
                    </a:lnTo>
                    <a:close/>
                    <a:moveTo>
                      <a:pt x="192" y="248"/>
                    </a:moveTo>
                    <a:lnTo>
                      <a:pt x="192" y="246"/>
                    </a:lnTo>
                    <a:lnTo>
                      <a:pt x="190" y="246"/>
                    </a:lnTo>
                    <a:lnTo>
                      <a:pt x="190" y="244"/>
                    </a:lnTo>
                    <a:lnTo>
                      <a:pt x="188" y="244"/>
                    </a:lnTo>
                    <a:lnTo>
                      <a:pt x="190" y="244"/>
                    </a:lnTo>
                    <a:lnTo>
                      <a:pt x="188" y="242"/>
                    </a:lnTo>
                    <a:lnTo>
                      <a:pt x="190" y="242"/>
                    </a:lnTo>
                    <a:lnTo>
                      <a:pt x="190" y="244"/>
                    </a:lnTo>
                    <a:lnTo>
                      <a:pt x="190" y="242"/>
                    </a:lnTo>
                    <a:lnTo>
                      <a:pt x="188" y="242"/>
                    </a:lnTo>
                    <a:lnTo>
                      <a:pt x="188" y="240"/>
                    </a:lnTo>
                    <a:lnTo>
                      <a:pt x="188" y="242"/>
                    </a:lnTo>
                    <a:lnTo>
                      <a:pt x="188" y="240"/>
                    </a:lnTo>
                    <a:lnTo>
                      <a:pt x="188" y="242"/>
                    </a:lnTo>
                    <a:lnTo>
                      <a:pt x="188" y="240"/>
                    </a:lnTo>
                    <a:lnTo>
                      <a:pt x="188" y="242"/>
                    </a:lnTo>
                    <a:lnTo>
                      <a:pt x="188" y="240"/>
                    </a:lnTo>
                    <a:lnTo>
                      <a:pt x="190" y="242"/>
                    </a:lnTo>
                    <a:lnTo>
                      <a:pt x="190" y="244"/>
                    </a:lnTo>
                    <a:lnTo>
                      <a:pt x="190" y="242"/>
                    </a:lnTo>
                    <a:lnTo>
                      <a:pt x="192" y="242"/>
                    </a:lnTo>
                    <a:lnTo>
                      <a:pt x="190" y="242"/>
                    </a:lnTo>
                    <a:lnTo>
                      <a:pt x="190" y="244"/>
                    </a:lnTo>
                    <a:lnTo>
                      <a:pt x="192" y="244"/>
                    </a:lnTo>
                    <a:lnTo>
                      <a:pt x="190" y="244"/>
                    </a:lnTo>
                    <a:lnTo>
                      <a:pt x="192" y="244"/>
                    </a:lnTo>
                    <a:lnTo>
                      <a:pt x="192" y="246"/>
                    </a:lnTo>
                    <a:lnTo>
                      <a:pt x="194" y="246"/>
                    </a:lnTo>
                    <a:lnTo>
                      <a:pt x="194" y="244"/>
                    </a:lnTo>
                    <a:lnTo>
                      <a:pt x="192" y="244"/>
                    </a:lnTo>
                    <a:lnTo>
                      <a:pt x="194" y="244"/>
                    </a:lnTo>
                    <a:lnTo>
                      <a:pt x="194" y="246"/>
                    </a:lnTo>
                    <a:lnTo>
                      <a:pt x="196" y="246"/>
                    </a:lnTo>
                    <a:lnTo>
                      <a:pt x="196" y="244"/>
                    </a:lnTo>
                    <a:lnTo>
                      <a:pt x="196" y="246"/>
                    </a:lnTo>
                    <a:lnTo>
                      <a:pt x="194" y="246"/>
                    </a:lnTo>
                    <a:lnTo>
                      <a:pt x="196" y="246"/>
                    </a:lnTo>
                    <a:lnTo>
                      <a:pt x="194" y="246"/>
                    </a:lnTo>
                    <a:lnTo>
                      <a:pt x="194" y="244"/>
                    </a:lnTo>
                    <a:lnTo>
                      <a:pt x="196" y="244"/>
                    </a:lnTo>
                    <a:lnTo>
                      <a:pt x="194" y="244"/>
                    </a:lnTo>
                    <a:lnTo>
                      <a:pt x="196" y="244"/>
                    </a:lnTo>
                    <a:lnTo>
                      <a:pt x="194" y="244"/>
                    </a:lnTo>
                    <a:lnTo>
                      <a:pt x="194" y="242"/>
                    </a:lnTo>
                    <a:lnTo>
                      <a:pt x="196" y="242"/>
                    </a:lnTo>
                    <a:lnTo>
                      <a:pt x="194" y="242"/>
                    </a:lnTo>
                    <a:lnTo>
                      <a:pt x="196" y="242"/>
                    </a:lnTo>
                    <a:lnTo>
                      <a:pt x="196" y="244"/>
                    </a:lnTo>
                    <a:lnTo>
                      <a:pt x="196" y="246"/>
                    </a:lnTo>
                    <a:lnTo>
                      <a:pt x="196" y="244"/>
                    </a:lnTo>
                    <a:lnTo>
                      <a:pt x="196" y="242"/>
                    </a:lnTo>
                    <a:lnTo>
                      <a:pt x="196" y="240"/>
                    </a:lnTo>
                    <a:lnTo>
                      <a:pt x="196" y="242"/>
                    </a:lnTo>
                    <a:lnTo>
                      <a:pt x="196" y="240"/>
                    </a:lnTo>
                    <a:lnTo>
                      <a:pt x="196" y="238"/>
                    </a:lnTo>
                    <a:lnTo>
                      <a:pt x="196" y="240"/>
                    </a:lnTo>
                    <a:lnTo>
                      <a:pt x="196" y="238"/>
                    </a:lnTo>
                    <a:lnTo>
                      <a:pt x="194" y="238"/>
                    </a:lnTo>
                    <a:lnTo>
                      <a:pt x="192" y="238"/>
                    </a:lnTo>
                    <a:lnTo>
                      <a:pt x="192" y="240"/>
                    </a:lnTo>
                    <a:lnTo>
                      <a:pt x="192" y="238"/>
                    </a:lnTo>
                    <a:lnTo>
                      <a:pt x="192" y="240"/>
                    </a:lnTo>
                    <a:lnTo>
                      <a:pt x="192" y="238"/>
                    </a:lnTo>
                    <a:lnTo>
                      <a:pt x="194" y="238"/>
                    </a:lnTo>
                    <a:lnTo>
                      <a:pt x="192" y="238"/>
                    </a:lnTo>
                    <a:lnTo>
                      <a:pt x="190" y="238"/>
                    </a:lnTo>
                    <a:lnTo>
                      <a:pt x="190" y="236"/>
                    </a:lnTo>
                    <a:lnTo>
                      <a:pt x="188" y="236"/>
                    </a:lnTo>
                    <a:lnTo>
                      <a:pt x="190" y="236"/>
                    </a:lnTo>
                    <a:lnTo>
                      <a:pt x="192" y="236"/>
                    </a:lnTo>
                    <a:lnTo>
                      <a:pt x="192" y="238"/>
                    </a:lnTo>
                    <a:lnTo>
                      <a:pt x="190" y="238"/>
                    </a:lnTo>
                    <a:lnTo>
                      <a:pt x="192" y="238"/>
                    </a:lnTo>
                    <a:lnTo>
                      <a:pt x="194" y="238"/>
                    </a:lnTo>
                    <a:lnTo>
                      <a:pt x="196" y="238"/>
                    </a:lnTo>
                    <a:lnTo>
                      <a:pt x="196" y="240"/>
                    </a:lnTo>
                    <a:lnTo>
                      <a:pt x="198" y="242"/>
                    </a:lnTo>
                    <a:lnTo>
                      <a:pt x="198" y="244"/>
                    </a:lnTo>
                    <a:lnTo>
                      <a:pt x="198" y="246"/>
                    </a:lnTo>
                    <a:lnTo>
                      <a:pt x="198" y="248"/>
                    </a:lnTo>
                    <a:lnTo>
                      <a:pt x="196" y="248"/>
                    </a:lnTo>
                    <a:lnTo>
                      <a:pt x="196" y="250"/>
                    </a:lnTo>
                    <a:lnTo>
                      <a:pt x="196" y="248"/>
                    </a:lnTo>
                    <a:lnTo>
                      <a:pt x="194" y="246"/>
                    </a:lnTo>
                    <a:lnTo>
                      <a:pt x="194" y="248"/>
                    </a:lnTo>
                    <a:lnTo>
                      <a:pt x="192" y="248"/>
                    </a:lnTo>
                    <a:lnTo>
                      <a:pt x="194" y="248"/>
                    </a:lnTo>
                    <a:lnTo>
                      <a:pt x="192" y="250"/>
                    </a:lnTo>
                    <a:lnTo>
                      <a:pt x="192" y="248"/>
                    </a:lnTo>
                    <a:close/>
                    <a:moveTo>
                      <a:pt x="190" y="244"/>
                    </a:moveTo>
                    <a:lnTo>
                      <a:pt x="188" y="244"/>
                    </a:lnTo>
                    <a:lnTo>
                      <a:pt x="190" y="244"/>
                    </a:lnTo>
                    <a:close/>
                    <a:moveTo>
                      <a:pt x="186" y="236"/>
                    </a:moveTo>
                    <a:lnTo>
                      <a:pt x="188" y="236"/>
                    </a:lnTo>
                    <a:lnTo>
                      <a:pt x="186" y="236"/>
                    </a:lnTo>
                    <a:lnTo>
                      <a:pt x="188" y="236"/>
                    </a:lnTo>
                    <a:lnTo>
                      <a:pt x="186" y="236"/>
                    </a:lnTo>
                    <a:lnTo>
                      <a:pt x="186" y="235"/>
                    </a:lnTo>
                    <a:lnTo>
                      <a:pt x="186" y="236"/>
                    </a:lnTo>
                    <a:close/>
                    <a:moveTo>
                      <a:pt x="182" y="233"/>
                    </a:moveTo>
                    <a:lnTo>
                      <a:pt x="180" y="235"/>
                    </a:lnTo>
                    <a:lnTo>
                      <a:pt x="180" y="233"/>
                    </a:lnTo>
                    <a:lnTo>
                      <a:pt x="182" y="233"/>
                    </a:lnTo>
                    <a:close/>
                    <a:moveTo>
                      <a:pt x="182" y="233"/>
                    </a:moveTo>
                    <a:lnTo>
                      <a:pt x="180" y="233"/>
                    </a:lnTo>
                    <a:lnTo>
                      <a:pt x="182" y="233"/>
                    </a:lnTo>
                    <a:close/>
                    <a:moveTo>
                      <a:pt x="184" y="235"/>
                    </a:moveTo>
                    <a:lnTo>
                      <a:pt x="184" y="236"/>
                    </a:lnTo>
                    <a:lnTo>
                      <a:pt x="186" y="236"/>
                    </a:lnTo>
                    <a:lnTo>
                      <a:pt x="186" y="238"/>
                    </a:lnTo>
                    <a:lnTo>
                      <a:pt x="184" y="238"/>
                    </a:lnTo>
                    <a:lnTo>
                      <a:pt x="182" y="238"/>
                    </a:lnTo>
                    <a:lnTo>
                      <a:pt x="182" y="236"/>
                    </a:lnTo>
                    <a:lnTo>
                      <a:pt x="184" y="236"/>
                    </a:lnTo>
                    <a:lnTo>
                      <a:pt x="182" y="236"/>
                    </a:lnTo>
                    <a:lnTo>
                      <a:pt x="184" y="236"/>
                    </a:lnTo>
                    <a:lnTo>
                      <a:pt x="184" y="238"/>
                    </a:lnTo>
                    <a:lnTo>
                      <a:pt x="182" y="236"/>
                    </a:lnTo>
                    <a:lnTo>
                      <a:pt x="184" y="238"/>
                    </a:lnTo>
                    <a:lnTo>
                      <a:pt x="184" y="236"/>
                    </a:lnTo>
                    <a:lnTo>
                      <a:pt x="184" y="238"/>
                    </a:lnTo>
                    <a:lnTo>
                      <a:pt x="186" y="238"/>
                    </a:lnTo>
                    <a:lnTo>
                      <a:pt x="186" y="236"/>
                    </a:lnTo>
                    <a:lnTo>
                      <a:pt x="184" y="236"/>
                    </a:lnTo>
                    <a:lnTo>
                      <a:pt x="184" y="235"/>
                    </a:lnTo>
                    <a:lnTo>
                      <a:pt x="182" y="235"/>
                    </a:lnTo>
                    <a:lnTo>
                      <a:pt x="182" y="236"/>
                    </a:lnTo>
                    <a:lnTo>
                      <a:pt x="182" y="235"/>
                    </a:lnTo>
                    <a:lnTo>
                      <a:pt x="182" y="236"/>
                    </a:lnTo>
                    <a:lnTo>
                      <a:pt x="180" y="235"/>
                    </a:lnTo>
                    <a:lnTo>
                      <a:pt x="182" y="235"/>
                    </a:lnTo>
                    <a:lnTo>
                      <a:pt x="180" y="235"/>
                    </a:lnTo>
                    <a:lnTo>
                      <a:pt x="182" y="235"/>
                    </a:lnTo>
                    <a:lnTo>
                      <a:pt x="184" y="235"/>
                    </a:lnTo>
                    <a:lnTo>
                      <a:pt x="182" y="235"/>
                    </a:lnTo>
                    <a:lnTo>
                      <a:pt x="184" y="233"/>
                    </a:lnTo>
                    <a:lnTo>
                      <a:pt x="184" y="235"/>
                    </a:lnTo>
                    <a:close/>
                    <a:moveTo>
                      <a:pt x="184" y="235"/>
                    </a:moveTo>
                    <a:lnTo>
                      <a:pt x="184" y="233"/>
                    </a:lnTo>
                    <a:lnTo>
                      <a:pt x="184" y="235"/>
                    </a:lnTo>
                    <a:close/>
                    <a:moveTo>
                      <a:pt x="188" y="235"/>
                    </a:moveTo>
                    <a:lnTo>
                      <a:pt x="188" y="236"/>
                    </a:lnTo>
                    <a:lnTo>
                      <a:pt x="188" y="235"/>
                    </a:lnTo>
                    <a:lnTo>
                      <a:pt x="186" y="235"/>
                    </a:lnTo>
                    <a:lnTo>
                      <a:pt x="188" y="235"/>
                    </a:lnTo>
                    <a:lnTo>
                      <a:pt x="188" y="236"/>
                    </a:lnTo>
                    <a:lnTo>
                      <a:pt x="188" y="235"/>
                    </a:lnTo>
                    <a:close/>
                    <a:moveTo>
                      <a:pt x="180" y="231"/>
                    </a:moveTo>
                    <a:lnTo>
                      <a:pt x="180" y="233"/>
                    </a:lnTo>
                    <a:lnTo>
                      <a:pt x="180" y="231"/>
                    </a:lnTo>
                    <a:lnTo>
                      <a:pt x="180" y="233"/>
                    </a:lnTo>
                    <a:lnTo>
                      <a:pt x="180" y="235"/>
                    </a:lnTo>
                    <a:lnTo>
                      <a:pt x="180" y="233"/>
                    </a:lnTo>
                    <a:lnTo>
                      <a:pt x="180" y="231"/>
                    </a:lnTo>
                    <a:close/>
                    <a:moveTo>
                      <a:pt x="186" y="233"/>
                    </a:moveTo>
                    <a:lnTo>
                      <a:pt x="188" y="235"/>
                    </a:lnTo>
                    <a:lnTo>
                      <a:pt x="186" y="233"/>
                    </a:lnTo>
                    <a:close/>
                    <a:moveTo>
                      <a:pt x="184" y="233"/>
                    </a:moveTo>
                    <a:lnTo>
                      <a:pt x="182" y="233"/>
                    </a:lnTo>
                    <a:lnTo>
                      <a:pt x="184" y="233"/>
                    </a:lnTo>
                    <a:lnTo>
                      <a:pt x="182" y="233"/>
                    </a:lnTo>
                    <a:lnTo>
                      <a:pt x="184" y="233"/>
                    </a:lnTo>
                    <a:lnTo>
                      <a:pt x="182" y="233"/>
                    </a:lnTo>
                    <a:lnTo>
                      <a:pt x="184" y="233"/>
                    </a:lnTo>
                    <a:close/>
                    <a:moveTo>
                      <a:pt x="178" y="233"/>
                    </a:moveTo>
                    <a:lnTo>
                      <a:pt x="178" y="231"/>
                    </a:lnTo>
                    <a:lnTo>
                      <a:pt x="178" y="233"/>
                    </a:lnTo>
                    <a:lnTo>
                      <a:pt x="178" y="231"/>
                    </a:lnTo>
                    <a:lnTo>
                      <a:pt x="178" y="233"/>
                    </a:lnTo>
                    <a:lnTo>
                      <a:pt x="180" y="233"/>
                    </a:lnTo>
                    <a:lnTo>
                      <a:pt x="180" y="235"/>
                    </a:lnTo>
                    <a:lnTo>
                      <a:pt x="180" y="233"/>
                    </a:lnTo>
                    <a:lnTo>
                      <a:pt x="180" y="235"/>
                    </a:lnTo>
                    <a:lnTo>
                      <a:pt x="180" y="233"/>
                    </a:lnTo>
                    <a:lnTo>
                      <a:pt x="178" y="233"/>
                    </a:lnTo>
                    <a:lnTo>
                      <a:pt x="178" y="231"/>
                    </a:lnTo>
                    <a:lnTo>
                      <a:pt x="178" y="233"/>
                    </a:lnTo>
                    <a:close/>
                    <a:moveTo>
                      <a:pt x="186" y="233"/>
                    </a:moveTo>
                    <a:lnTo>
                      <a:pt x="184" y="233"/>
                    </a:lnTo>
                    <a:lnTo>
                      <a:pt x="186" y="233"/>
                    </a:lnTo>
                    <a:close/>
                    <a:moveTo>
                      <a:pt x="180" y="229"/>
                    </a:moveTo>
                    <a:lnTo>
                      <a:pt x="180" y="231"/>
                    </a:lnTo>
                    <a:lnTo>
                      <a:pt x="178" y="231"/>
                    </a:lnTo>
                    <a:lnTo>
                      <a:pt x="178" y="229"/>
                    </a:lnTo>
                    <a:lnTo>
                      <a:pt x="178" y="231"/>
                    </a:lnTo>
                    <a:lnTo>
                      <a:pt x="178" y="229"/>
                    </a:lnTo>
                    <a:lnTo>
                      <a:pt x="180" y="229"/>
                    </a:lnTo>
                    <a:lnTo>
                      <a:pt x="178" y="229"/>
                    </a:lnTo>
                    <a:lnTo>
                      <a:pt x="180" y="229"/>
                    </a:lnTo>
                    <a:close/>
                    <a:moveTo>
                      <a:pt x="178" y="231"/>
                    </a:moveTo>
                    <a:lnTo>
                      <a:pt x="180" y="231"/>
                    </a:lnTo>
                    <a:lnTo>
                      <a:pt x="180" y="229"/>
                    </a:lnTo>
                    <a:lnTo>
                      <a:pt x="178" y="229"/>
                    </a:lnTo>
                    <a:lnTo>
                      <a:pt x="178" y="231"/>
                    </a:lnTo>
                    <a:close/>
                    <a:moveTo>
                      <a:pt x="180" y="229"/>
                    </a:moveTo>
                    <a:lnTo>
                      <a:pt x="178" y="229"/>
                    </a:lnTo>
                    <a:lnTo>
                      <a:pt x="180" y="229"/>
                    </a:lnTo>
                    <a:lnTo>
                      <a:pt x="178" y="229"/>
                    </a:lnTo>
                    <a:lnTo>
                      <a:pt x="180" y="229"/>
                    </a:lnTo>
                    <a:close/>
                    <a:moveTo>
                      <a:pt x="178" y="225"/>
                    </a:moveTo>
                    <a:lnTo>
                      <a:pt x="178" y="227"/>
                    </a:lnTo>
                    <a:lnTo>
                      <a:pt x="178" y="225"/>
                    </a:lnTo>
                    <a:lnTo>
                      <a:pt x="178" y="227"/>
                    </a:lnTo>
                    <a:lnTo>
                      <a:pt x="178" y="229"/>
                    </a:lnTo>
                    <a:lnTo>
                      <a:pt x="178" y="227"/>
                    </a:lnTo>
                    <a:lnTo>
                      <a:pt x="180" y="227"/>
                    </a:lnTo>
                    <a:lnTo>
                      <a:pt x="178" y="227"/>
                    </a:lnTo>
                    <a:lnTo>
                      <a:pt x="180" y="227"/>
                    </a:lnTo>
                    <a:lnTo>
                      <a:pt x="180" y="229"/>
                    </a:lnTo>
                    <a:lnTo>
                      <a:pt x="180" y="227"/>
                    </a:lnTo>
                    <a:lnTo>
                      <a:pt x="180" y="229"/>
                    </a:lnTo>
                    <a:lnTo>
                      <a:pt x="180" y="227"/>
                    </a:lnTo>
                    <a:lnTo>
                      <a:pt x="180" y="229"/>
                    </a:lnTo>
                    <a:lnTo>
                      <a:pt x="180" y="227"/>
                    </a:lnTo>
                    <a:lnTo>
                      <a:pt x="180" y="229"/>
                    </a:lnTo>
                    <a:lnTo>
                      <a:pt x="180" y="231"/>
                    </a:lnTo>
                    <a:lnTo>
                      <a:pt x="180" y="229"/>
                    </a:lnTo>
                    <a:lnTo>
                      <a:pt x="178" y="229"/>
                    </a:lnTo>
                    <a:lnTo>
                      <a:pt x="178" y="227"/>
                    </a:lnTo>
                    <a:lnTo>
                      <a:pt x="176" y="227"/>
                    </a:lnTo>
                    <a:lnTo>
                      <a:pt x="178" y="227"/>
                    </a:lnTo>
                    <a:lnTo>
                      <a:pt x="176" y="225"/>
                    </a:lnTo>
                    <a:lnTo>
                      <a:pt x="178" y="225"/>
                    </a:lnTo>
                    <a:lnTo>
                      <a:pt x="176" y="225"/>
                    </a:lnTo>
                    <a:lnTo>
                      <a:pt x="178" y="225"/>
                    </a:lnTo>
                    <a:lnTo>
                      <a:pt x="178" y="227"/>
                    </a:lnTo>
                    <a:lnTo>
                      <a:pt x="178" y="225"/>
                    </a:lnTo>
                    <a:close/>
                    <a:moveTo>
                      <a:pt x="182" y="227"/>
                    </a:moveTo>
                    <a:lnTo>
                      <a:pt x="184" y="227"/>
                    </a:lnTo>
                    <a:lnTo>
                      <a:pt x="182" y="229"/>
                    </a:lnTo>
                    <a:lnTo>
                      <a:pt x="182" y="227"/>
                    </a:lnTo>
                    <a:lnTo>
                      <a:pt x="182" y="229"/>
                    </a:lnTo>
                    <a:lnTo>
                      <a:pt x="184" y="229"/>
                    </a:lnTo>
                    <a:lnTo>
                      <a:pt x="184" y="231"/>
                    </a:lnTo>
                    <a:lnTo>
                      <a:pt x="184" y="233"/>
                    </a:lnTo>
                    <a:lnTo>
                      <a:pt x="182" y="231"/>
                    </a:lnTo>
                    <a:lnTo>
                      <a:pt x="182" y="233"/>
                    </a:lnTo>
                    <a:lnTo>
                      <a:pt x="182" y="231"/>
                    </a:lnTo>
                    <a:lnTo>
                      <a:pt x="180" y="231"/>
                    </a:lnTo>
                    <a:lnTo>
                      <a:pt x="182" y="231"/>
                    </a:lnTo>
                    <a:lnTo>
                      <a:pt x="182" y="229"/>
                    </a:lnTo>
                    <a:lnTo>
                      <a:pt x="182" y="231"/>
                    </a:lnTo>
                    <a:lnTo>
                      <a:pt x="182" y="229"/>
                    </a:lnTo>
                    <a:lnTo>
                      <a:pt x="182" y="231"/>
                    </a:lnTo>
                    <a:lnTo>
                      <a:pt x="184" y="231"/>
                    </a:lnTo>
                    <a:lnTo>
                      <a:pt x="184" y="229"/>
                    </a:lnTo>
                    <a:lnTo>
                      <a:pt x="182" y="229"/>
                    </a:lnTo>
                    <a:lnTo>
                      <a:pt x="180" y="227"/>
                    </a:lnTo>
                    <a:lnTo>
                      <a:pt x="182" y="227"/>
                    </a:lnTo>
                    <a:lnTo>
                      <a:pt x="180" y="227"/>
                    </a:lnTo>
                    <a:lnTo>
                      <a:pt x="182" y="227"/>
                    </a:lnTo>
                    <a:lnTo>
                      <a:pt x="182" y="229"/>
                    </a:lnTo>
                    <a:lnTo>
                      <a:pt x="182" y="227"/>
                    </a:lnTo>
                    <a:lnTo>
                      <a:pt x="182" y="225"/>
                    </a:lnTo>
                    <a:lnTo>
                      <a:pt x="180" y="225"/>
                    </a:lnTo>
                    <a:lnTo>
                      <a:pt x="182" y="225"/>
                    </a:lnTo>
                    <a:lnTo>
                      <a:pt x="182" y="227"/>
                    </a:lnTo>
                    <a:close/>
                    <a:moveTo>
                      <a:pt x="180" y="225"/>
                    </a:moveTo>
                    <a:lnTo>
                      <a:pt x="180" y="227"/>
                    </a:lnTo>
                    <a:lnTo>
                      <a:pt x="180" y="225"/>
                    </a:lnTo>
                    <a:lnTo>
                      <a:pt x="178" y="227"/>
                    </a:lnTo>
                    <a:lnTo>
                      <a:pt x="180" y="227"/>
                    </a:lnTo>
                    <a:lnTo>
                      <a:pt x="178" y="227"/>
                    </a:lnTo>
                    <a:lnTo>
                      <a:pt x="178" y="225"/>
                    </a:lnTo>
                    <a:lnTo>
                      <a:pt x="178" y="227"/>
                    </a:lnTo>
                    <a:lnTo>
                      <a:pt x="180" y="225"/>
                    </a:lnTo>
                    <a:close/>
                    <a:moveTo>
                      <a:pt x="180" y="225"/>
                    </a:moveTo>
                    <a:lnTo>
                      <a:pt x="180" y="223"/>
                    </a:lnTo>
                    <a:lnTo>
                      <a:pt x="180" y="225"/>
                    </a:lnTo>
                    <a:close/>
                    <a:moveTo>
                      <a:pt x="180" y="223"/>
                    </a:moveTo>
                    <a:lnTo>
                      <a:pt x="182" y="223"/>
                    </a:lnTo>
                    <a:lnTo>
                      <a:pt x="182" y="225"/>
                    </a:lnTo>
                    <a:lnTo>
                      <a:pt x="180" y="225"/>
                    </a:lnTo>
                    <a:lnTo>
                      <a:pt x="182" y="225"/>
                    </a:lnTo>
                    <a:lnTo>
                      <a:pt x="182" y="223"/>
                    </a:lnTo>
                    <a:lnTo>
                      <a:pt x="180" y="223"/>
                    </a:lnTo>
                    <a:close/>
                    <a:moveTo>
                      <a:pt x="176" y="221"/>
                    </a:moveTo>
                    <a:lnTo>
                      <a:pt x="178" y="221"/>
                    </a:lnTo>
                    <a:lnTo>
                      <a:pt x="176" y="221"/>
                    </a:lnTo>
                    <a:close/>
                    <a:moveTo>
                      <a:pt x="176" y="221"/>
                    </a:moveTo>
                    <a:lnTo>
                      <a:pt x="176" y="219"/>
                    </a:lnTo>
                    <a:lnTo>
                      <a:pt x="176" y="221"/>
                    </a:lnTo>
                    <a:lnTo>
                      <a:pt x="176" y="219"/>
                    </a:lnTo>
                    <a:lnTo>
                      <a:pt x="176" y="221"/>
                    </a:lnTo>
                    <a:close/>
                    <a:moveTo>
                      <a:pt x="176" y="219"/>
                    </a:moveTo>
                    <a:lnTo>
                      <a:pt x="178" y="219"/>
                    </a:lnTo>
                    <a:lnTo>
                      <a:pt x="178" y="221"/>
                    </a:lnTo>
                    <a:lnTo>
                      <a:pt x="180" y="221"/>
                    </a:lnTo>
                    <a:lnTo>
                      <a:pt x="178" y="221"/>
                    </a:lnTo>
                    <a:lnTo>
                      <a:pt x="178" y="219"/>
                    </a:lnTo>
                    <a:lnTo>
                      <a:pt x="178" y="221"/>
                    </a:lnTo>
                    <a:lnTo>
                      <a:pt x="178" y="219"/>
                    </a:lnTo>
                    <a:lnTo>
                      <a:pt x="176" y="219"/>
                    </a:lnTo>
                    <a:lnTo>
                      <a:pt x="178" y="219"/>
                    </a:lnTo>
                    <a:lnTo>
                      <a:pt x="176" y="219"/>
                    </a:lnTo>
                    <a:close/>
                    <a:moveTo>
                      <a:pt x="178" y="219"/>
                    </a:moveTo>
                    <a:lnTo>
                      <a:pt x="180" y="219"/>
                    </a:lnTo>
                    <a:lnTo>
                      <a:pt x="180" y="221"/>
                    </a:lnTo>
                    <a:lnTo>
                      <a:pt x="180" y="219"/>
                    </a:lnTo>
                    <a:lnTo>
                      <a:pt x="178" y="219"/>
                    </a:lnTo>
                    <a:close/>
                    <a:moveTo>
                      <a:pt x="180" y="223"/>
                    </a:moveTo>
                    <a:lnTo>
                      <a:pt x="180" y="221"/>
                    </a:lnTo>
                    <a:lnTo>
                      <a:pt x="180" y="219"/>
                    </a:lnTo>
                    <a:lnTo>
                      <a:pt x="180" y="221"/>
                    </a:lnTo>
                    <a:lnTo>
                      <a:pt x="180" y="219"/>
                    </a:lnTo>
                    <a:lnTo>
                      <a:pt x="178" y="219"/>
                    </a:lnTo>
                    <a:lnTo>
                      <a:pt x="180" y="219"/>
                    </a:lnTo>
                    <a:lnTo>
                      <a:pt x="180" y="221"/>
                    </a:lnTo>
                    <a:lnTo>
                      <a:pt x="180" y="223"/>
                    </a:lnTo>
                    <a:close/>
                    <a:moveTo>
                      <a:pt x="178" y="217"/>
                    </a:moveTo>
                    <a:lnTo>
                      <a:pt x="178" y="219"/>
                    </a:lnTo>
                    <a:lnTo>
                      <a:pt x="178" y="217"/>
                    </a:lnTo>
                    <a:lnTo>
                      <a:pt x="180" y="217"/>
                    </a:lnTo>
                    <a:lnTo>
                      <a:pt x="180" y="219"/>
                    </a:lnTo>
                    <a:lnTo>
                      <a:pt x="180" y="217"/>
                    </a:lnTo>
                    <a:lnTo>
                      <a:pt x="178" y="217"/>
                    </a:lnTo>
                    <a:lnTo>
                      <a:pt x="180" y="217"/>
                    </a:lnTo>
                    <a:lnTo>
                      <a:pt x="180" y="219"/>
                    </a:lnTo>
                    <a:lnTo>
                      <a:pt x="180" y="217"/>
                    </a:lnTo>
                    <a:lnTo>
                      <a:pt x="180" y="215"/>
                    </a:lnTo>
                    <a:lnTo>
                      <a:pt x="178" y="215"/>
                    </a:lnTo>
                    <a:lnTo>
                      <a:pt x="180" y="215"/>
                    </a:lnTo>
                    <a:lnTo>
                      <a:pt x="178" y="215"/>
                    </a:lnTo>
                    <a:lnTo>
                      <a:pt x="180" y="215"/>
                    </a:lnTo>
                    <a:lnTo>
                      <a:pt x="180" y="217"/>
                    </a:lnTo>
                    <a:lnTo>
                      <a:pt x="180" y="219"/>
                    </a:lnTo>
                    <a:lnTo>
                      <a:pt x="178" y="219"/>
                    </a:lnTo>
                    <a:lnTo>
                      <a:pt x="178" y="217"/>
                    </a:lnTo>
                    <a:lnTo>
                      <a:pt x="178" y="215"/>
                    </a:lnTo>
                    <a:lnTo>
                      <a:pt x="178" y="217"/>
                    </a:lnTo>
                    <a:lnTo>
                      <a:pt x="178" y="215"/>
                    </a:lnTo>
                    <a:lnTo>
                      <a:pt x="178" y="217"/>
                    </a:lnTo>
                    <a:close/>
                    <a:moveTo>
                      <a:pt x="178" y="217"/>
                    </a:moveTo>
                    <a:lnTo>
                      <a:pt x="178" y="215"/>
                    </a:lnTo>
                    <a:lnTo>
                      <a:pt x="178" y="217"/>
                    </a:lnTo>
                    <a:close/>
                    <a:moveTo>
                      <a:pt x="169" y="211"/>
                    </a:moveTo>
                    <a:lnTo>
                      <a:pt x="167" y="211"/>
                    </a:lnTo>
                    <a:lnTo>
                      <a:pt x="169" y="211"/>
                    </a:lnTo>
                    <a:close/>
                    <a:moveTo>
                      <a:pt x="169" y="211"/>
                    </a:moveTo>
                    <a:lnTo>
                      <a:pt x="167" y="211"/>
                    </a:lnTo>
                    <a:lnTo>
                      <a:pt x="169" y="211"/>
                    </a:lnTo>
                    <a:close/>
                    <a:moveTo>
                      <a:pt x="173" y="210"/>
                    </a:moveTo>
                    <a:lnTo>
                      <a:pt x="171" y="210"/>
                    </a:lnTo>
                    <a:lnTo>
                      <a:pt x="173" y="210"/>
                    </a:lnTo>
                    <a:close/>
                    <a:moveTo>
                      <a:pt x="176" y="210"/>
                    </a:moveTo>
                    <a:lnTo>
                      <a:pt x="176" y="211"/>
                    </a:lnTo>
                    <a:lnTo>
                      <a:pt x="178" y="211"/>
                    </a:lnTo>
                    <a:lnTo>
                      <a:pt x="178" y="213"/>
                    </a:lnTo>
                    <a:lnTo>
                      <a:pt x="178" y="215"/>
                    </a:lnTo>
                    <a:lnTo>
                      <a:pt x="178" y="217"/>
                    </a:lnTo>
                    <a:lnTo>
                      <a:pt x="178" y="219"/>
                    </a:lnTo>
                    <a:lnTo>
                      <a:pt x="176" y="219"/>
                    </a:lnTo>
                    <a:lnTo>
                      <a:pt x="176" y="217"/>
                    </a:lnTo>
                    <a:lnTo>
                      <a:pt x="176" y="215"/>
                    </a:lnTo>
                    <a:lnTo>
                      <a:pt x="176" y="217"/>
                    </a:lnTo>
                    <a:lnTo>
                      <a:pt x="176" y="219"/>
                    </a:lnTo>
                    <a:lnTo>
                      <a:pt x="176" y="217"/>
                    </a:lnTo>
                    <a:lnTo>
                      <a:pt x="176" y="215"/>
                    </a:lnTo>
                    <a:lnTo>
                      <a:pt x="176" y="217"/>
                    </a:lnTo>
                    <a:lnTo>
                      <a:pt x="176" y="215"/>
                    </a:lnTo>
                    <a:lnTo>
                      <a:pt x="174" y="215"/>
                    </a:lnTo>
                    <a:lnTo>
                      <a:pt x="174" y="213"/>
                    </a:lnTo>
                    <a:lnTo>
                      <a:pt x="174" y="215"/>
                    </a:lnTo>
                    <a:lnTo>
                      <a:pt x="176" y="215"/>
                    </a:lnTo>
                    <a:lnTo>
                      <a:pt x="176" y="213"/>
                    </a:lnTo>
                    <a:lnTo>
                      <a:pt x="176" y="211"/>
                    </a:lnTo>
                    <a:lnTo>
                      <a:pt x="174" y="211"/>
                    </a:lnTo>
                    <a:lnTo>
                      <a:pt x="174" y="213"/>
                    </a:lnTo>
                    <a:lnTo>
                      <a:pt x="174" y="215"/>
                    </a:lnTo>
                    <a:lnTo>
                      <a:pt x="174" y="213"/>
                    </a:lnTo>
                    <a:lnTo>
                      <a:pt x="174" y="211"/>
                    </a:lnTo>
                    <a:lnTo>
                      <a:pt x="174" y="213"/>
                    </a:lnTo>
                    <a:lnTo>
                      <a:pt x="174" y="211"/>
                    </a:lnTo>
                    <a:lnTo>
                      <a:pt x="174" y="213"/>
                    </a:lnTo>
                    <a:lnTo>
                      <a:pt x="174" y="211"/>
                    </a:lnTo>
                    <a:lnTo>
                      <a:pt x="174" y="213"/>
                    </a:lnTo>
                    <a:lnTo>
                      <a:pt x="174" y="211"/>
                    </a:lnTo>
                    <a:lnTo>
                      <a:pt x="176" y="211"/>
                    </a:lnTo>
                    <a:lnTo>
                      <a:pt x="176" y="213"/>
                    </a:lnTo>
                    <a:lnTo>
                      <a:pt x="176" y="215"/>
                    </a:lnTo>
                    <a:lnTo>
                      <a:pt x="176" y="213"/>
                    </a:lnTo>
                    <a:lnTo>
                      <a:pt x="176" y="215"/>
                    </a:lnTo>
                    <a:lnTo>
                      <a:pt x="176" y="213"/>
                    </a:lnTo>
                    <a:lnTo>
                      <a:pt x="176" y="215"/>
                    </a:lnTo>
                    <a:lnTo>
                      <a:pt x="178" y="215"/>
                    </a:lnTo>
                    <a:lnTo>
                      <a:pt x="176" y="215"/>
                    </a:lnTo>
                    <a:lnTo>
                      <a:pt x="178" y="215"/>
                    </a:lnTo>
                    <a:lnTo>
                      <a:pt x="176" y="215"/>
                    </a:lnTo>
                    <a:lnTo>
                      <a:pt x="176" y="217"/>
                    </a:lnTo>
                    <a:lnTo>
                      <a:pt x="178" y="217"/>
                    </a:lnTo>
                    <a:lnTo>
                      <a:pt x="176" y="217"/>
                    </a:lnTo>
                    <a:lnTo>
                      <a:pt x="178" y="215"/>
                    </a:lnTo>
                    <a:lnTo>
                      <a:pt x="178" y="213"/>
                    </a:lnTo>
                    <a:lnTo>
                      <a:pt x="178" y="215"/>
                    </a:lnTo>
                    <a:lnTo>
                      <a:pt x="178" y="213"/>
                    </a:lnTo>
                    <a:lnTo>
                      <a:pt x="176" y="213"/>
                    </a:lnTo>
                    <a:lnTo>
                      <a:pt x="176" y="211"/>
                    </a:lnTo>
                    <a:lnTo>
                      <a:pt x="176" y="213"/>
                    </a:lnTo>
                    <a:lnTo>
                      <a:pt x="176" y="211"/>
                    </a:lnTo>
                    <a:lnTo>
                      <a:pt x="176" y="213"/>
                    </a:lnTo>
                    <a:lnTo>
                      <a:pt x="176" y="211"/>
                    </a:lnTo>
                    <a:lnTo>
                      <a:pt x="174" y="211"/>
                    </a:lnTo>
                    <a:lnTo>
                      <a:pt x="174" y="210"/>
                    </a:lnTo>
                    <a:lnTo>
                      <a:pt x="174" y="211"/>
                    </a:lnTo>
                    <a:lnTo>
                      <a:pt x="174" y="210"/>
                    </a:lnTo>
                    <a:lnTo>
                      <a:pt x="176" y="211"/>
                    </a:lnTo>
                    <a:lnTo>
                      <a:pt x="176" y="210"/>
                    </a:lnTo>
                    <a:lnTo>
                      <a:pt x="174" y="210"/>
                    </a:lnTo>
                    <a:lnTo>
                      <a:pt x="176" y="210"/>
                    </a:lnTo>
                    <a:close/>
                    <a:moveTo>
                      <a:pt x="167" y="198"/>
                    </a:moveTo>
                    <a:lnTo>
                      <a:pt x="167" y="200"/>
                    </a:lnTo>
                    <a:lnTo>
                      <a:pt x="167" y="198"/>
                    </a:lnTo>
                    <a:lnTo>
                      <a:pt x="169" y="198"/>
                    </a:lnTo>
                    <a:lnTo>
                      <a:pt x="167" y="198"/>
                    </a:lnTo>
                    <a:close/>
                    <a:moveTo>
                      <a:pt x="174" y="202"/>
                    </a:moveTo>
                    <a:lnTo>
                      <a:pt x="174" y="200"/>
                    </a:lnTo>
                    <a:lnTo>
                      <a:pt x="174" y="202"/>
                    </a:lnTo>
                    <a:close/>
                    <a:moveTo>
                      <a:pt x="174" y="202"/>
                    </a:moveTo>
                    <a:lnTo>
                      <a:pt x="174" y="204"/>
                    </a:lnTo>
                    <a:lnTo>
                      <a:pt x="174" y="202"/>
                    </a:lnTo>
                    <a:lnTo>
                      <a:pt x="174" y="200"/>
                    </a:lnTo>
                    <a:lnTo>
                      <a:pt x="174" y="202"/>
                    </a:lnTo>
                    <a:lnTo>
                      <a:pt x="176" y="202"/>
                    </a:lnTo>
                    <a:lnTo>
                      <a:pt x="176" y="204"/>
                    </a:lnTo>
                    <a:lnTo>
                      <a:pt x="176" y="202"/>
                    </a:lnTo>
                    <a:lnTo>
                      <a:pt x="176" y="204"/>
                    </a:lnTo>
                    <a:lnTo>
                      <a:pt x="176" y="206"/>
                    </a:lnTo>
                    <a:lnTo>
                      <a:pt x="174" y="204"/>
                    </a:lnTo>
                    <a:lnTo>
                      <a:pt x="174" y="202"/>
                    </a:lnTo>
                    <a:lnTo>
                      <a:pt x="174" y="200"/>
                    </a:lnTo>
                    <a:lnTo>
                      <a:pt x="174" y="202"/>
                    </a:lnTo>
                    <a:lnTo>
                      <a:pt x="174" y="200"/>
                    </a:lnTo>
                    <a:lnTo>
                      <a:pt x="174" y="202"/>
                    </a:lnTo>
                    <a:close/>
                    <a:moveTo>
                      <a:pt x="171" y="198"/>
                    </a:moveTo>
                    <a:lnTo>
                      <a:pt x="171" y="200"/>
                    </a:lnTo>
                    <a:lnTo>
                      <a:pt x="169" y="200"/>
                    </a:lnTo>
                    <a:lnTo>
                      <a:pt x="169" y="198"/>
                    </a:lnTo>
                    <a:lnTo>
                      <a:pt x="171" y="198"/>
                    </a:lnTo>
                    <a:lnTo>
                      <a:pt x="169" y="198"/>
                    </a:lnTo>
                    <a:lnTo>
                      <a:pt x="171" y="198"/>
                    </a:lnTo>
                    <a:close/>
                    <a:moveTo>
                      <a:pt x="165" y="190"/>
                    </a:moveTo>
                    <a:lnTo>
                      <a:pt x="165" y="188"/>
                    </a:lnTo>
                    <a:lnTo>
                      <a:pt x="165" y="190"/>
                    </a:lnTo>
                    <a:close/>
                    <a:moveTo>
                      <a:pt x="165" y="188"/>
                    </a:moveTo>
                    <a:lnTo>
                      <a:pt x="165" y="190"/>
                    </a:lnTo>
                    <a:lnTo>
                      <a:pt x="165" y="188"/>
                    </a:lnTo>
                    <a:lnTo>
                      <a:pt x="165" y="190"/>
                    </a:lnTo>
                    <a:lnTo>
                      <a:pt x="165" y="188"/>
                    </a:lnTo>
                    <a:lnTo>
                      <a:pt x="165" y="190"/>
                    </a:lnTo>
                    <a:lnTo>
                      <a:pt x="165" y="188"/>
                    </a:lnTo>
                    <a:close/>
                    <a:moveTo>
                      <a:pt x="167" y="188"/>
                    </a:moveTo>
                    <a:lnTo>
                      <a:pt x="167" y="190"/>
                    </a:lnTo>
                    <a:lnTo>
                      <a:pt x="165" y="190"/>
                    </a:lnTo>
                    <a:lnTo>
                      <a:pt x="167" y="190"/>
                    </a:lnTo>
                    <a:lnTo>
                      <a:pt x="165" y="190"/>
                    </a:lnTo>
                    <a:lnTo>
                      <a:pt x="167" y="190"/>
                    </a:lnTo>
                    <a:lnTo>
                      <a:pt x="167" y="188"/>
                    </a:lnTo>
                    <a:close/>
                    <a:moveTo>
                      <a:pt x="171" y="190"/>
                    </a:moveTo>
                    <a:lnTo>
                      <a:pt x="171" y="188"/>
                    </a:lnTo>
                    <a:lnTo>
                      <a:pt x="169" y="188"/>
                    </a:lnTo>
                    <a:lnTo>
                      <a:pt x="171" y="188"/>
                    </a:lnTo>
                    <a:lnTo>
                      <a:pt x="169" y="188"/>
                    </a:lnTo>
                    <a:lnTo>
                      <a:pt x="171" y="188"/>
                    </a:lnTo>
                    <a:lnTo>
                      <a:pt x="171" y="190"/>
                    </a:lnTo>
                    <a:close/>
                    <a:moveTo>
                      <a:pt x="173" y="190"/>
                    </a:moveTo>
                    <a:lnTo>
                      <a:pt x="171" y="190"/>
                    </a:lnTo>
                    <a:lnTo>
                      <a:pt x="171" y="188"/>
                    </a:lnTo>
                    <a:lnTo>
                      <a:pt x="171" y="190"/>
                    </a:lnTo>
                    <a:lnTo>
                      <a:pt x="171" y="188"/>
                    </a:lnTo>
                    <a:lnTo>
                      <a:pt x="173" y="188"/>
                    </a:lnTo>
                    <a:lnTo>
                      <a:pt x="173" y="190"/>
                    </a:lnTo>
                    <a:close/>
                    <a:moveTo>
                      <a:pt x="167" y="183"/>
                    </a:moveTo>
                    <a:lnTo>
                      <a:pt x="167" y="185"/>
                    </a:lnTo>
                    <a:lnTo>
                      <a:pt x="167" y="183"/>
                    </a:lnTo>
                    <a:lnTo>
                      <a:pt x="167" y="185"/>
                    </a:lnTo>
                    <a:lnTo>
                      <a:pt x="167" y="183"/>
                    </a:lnTo>
                    <a:lnTo>
                      <a:pt x="167" y="185"/>
                    </a:lnTo>
                    <a:lnTo>
                      <a:pt x="169" y="185"/>
                    </a:lnTo>
                    <a:lnTo>
                      <a:pt x="167" y="185"/>
                    </a:lnTo>
                    <a:lnTo>
                      <a:pt x="167" y="183"/>
                    </a:lnTo>
                    <a:lnTo>
                      <a:pt x="167" y="181"/>
                    </a:lnTo>
                    <a:lnTo>
                      <a:pt x="167" y="183"/>
                    </a:lnTo>
                    <a:close/>
                    <a:moveTo>
                      <a:pt x="169" y="181"/>
                    </a:moveTo>
                    <a:lnTo>
                      <a:pt x="167" y="181"/>
                    </a:lnTo>
                    <a:lnTo>
                      <a:pt x="169" y="181"/>
                    </a:lnTo>
                    <a:lnTo>
                      <a:pt x="167" y="181"/>
                    </a:lnTo>
                    <a:lnTo>
                      <a:pt x="169" y="181"/>
                    </a:lnTo>
                    <a:lnTo>
                      <a:pt x="167" y="181"/>
                    </a:lnTo>
                    <a:lnTo>
                      <a:pt x="169" y="181"/>
                    </a:lnTo>
                    <a:close/>
                    <a:moveTo>
                      <a:pt x="171" y="181"/>
                    </a:moveTo>
                    <a:lnTo>
                      <a:pt x="169" y="181"/>
                    </a:lnTo>
                    <a:lnTo>
                      <a:pt x="171" y="181"/>
                    </a:lnTo>
                    <a:close/>
                    <a:moveTo>
                      <a:pt x="171" y="181"/>
                    </a:moveTo>
                    <a:lnTo>
                      <a:pt x="171" y="179"/>
                    </a:lnTo>
                    <a:lnTo>
                      <a:pt x="171" y="181"/>
                    </a:lnTo>
                    <a:lnTo>
                      <a:pt x="171" y="179"/>
                    </a:lnTo>
                    <a:lnTo>
                      <a:pt x="171" y="181"/>
                    </a:lnTo>
                    <a:close/>
                    <a:moveTo>
                      <a:pt x="159" y="175"/>
                    </a:moveTo>
                    <a:lnTo>
                      <a:pt x="159" y="177"/>
                    </a:lnTo>
                    <a:lnTo>
                      <a:pt x="157" y="177"/>
                    </a:lnTo>
                    <a:lnTo>
                      <a:pt x="157" y="175"/>
                    </a:lnTo>
                    <a:lnTo>
                      <a:pt x="157" y="177"/>
                    </a:lnTo>
                    <a:lnTo>
                      <a:pt x="157" y="175"/>
                    </a:lnTo>
                    <a:lnTo>
                      <a:pt x="159" y="175"/>
                    </a:lnTo>
                    <a:lnTo>
                      <a:pt x="157" y="175"/>
                    </a:lnTo>
                    <a:lnTo>
                      <a:pt x="159" y="175"/>
                    </a:lnTo>
                    <a:close/>
                    <a:moveTo>
                      <a:pt x="173" y="181"/>
                    </a:moveTo>
                    <a:lnTo>
                      <a:pt x="173" y="179"/>
                    </a:lnTo>
                    <a:lnTo>
                      <a:pt x="173" y="181"/>
                    </a:lnTo>
                    <a:close/>
                    <a:moveTo>
                      <a:pt x="176" y="186"/>
                    </a:moveTo>
                    <a:lnTo>
                      <a:pt x="176" y="188"/>
                    </a:lnTo>
                    <a:lnTo>
                      <a:pt x="176" y="186"/>
                    </a:lnTo>
                    <a:lnTo>
                      <a:pt x="176" y="188"/>
                    </a:lnTo>
                    <a:lnTo>
                      <a:pt x="176" y="186"/>
                    </a:lnTo>
                    <a:lnTo>
                      <a:pt x="178" y="186"/>
                    </a:lnTo>
                    <a:lnTo>
                      <a:pt x="178" y="185"/>
                    </a:lnTo>
                    <a:lnTo>
                      <a:pt x="178" y="183"/>
                    </a:lnTo>
                    <a:lnTo>
                      <a:pt x="178" y="181"/>
                    </a:lnTo>
                    <a:lnTo>
                      <a:pt x="178" y="183"/>
                    </a:lnTo>
                    <a:lnTo>
                      <a:pt x="180" y="181"/>
                    </a:lnTo>
                    <a:lnTo>
                      <a:pt x="180" y="183"/>
                    </a:lnTo>
                    <a:lnTo>
                      <a:pt x="180" y="181"/>
                    </a:lnTo>
                    <a:lnTo>
                      <a:pt x="180" y="183"/>
                    </a:lnTo>
                    <a:lnTo>
                      <a:pt x="178" y="183"/>
                    </a:lnTo>
                    <a:lnTo>
                      <a:pt x="178" y="185"/>
                    </a:lnTo>
                    <a:lnTo>
                      <a:pt x="178" y="186"/>
                    </a:lnTo>
                    <a:lnTo>
                      <a:pt x="176" y="188"/>
                    </a:lnTo>
                    <a:lnTo>
                      <a:pt x="174" y="188"/>
                    </a:lnTo>
                    <a:lnTo>
                      <a:pt x="176" y="188"/>
                    </a:lnTo>
                    <a:lnTo>
                      <a:pt x="174" y="188"/>
                    </a:lnTo>
                    <a:lnTo>
                      <a:pt x="173" y="190"/>
                    </a:lnTo>
                    <a:lnTo>
                      <a:pt x="173" y="188"/>
                    </a:lnTo>
                    <a:lnTo>
                      <a:pt x="174" y="188"/>
                    </a:lnTo>
                    <a:lnTo>
                      <a:pt x="174" y="186"/>
                    </a:lnTo>
                    <a:lnTo>
                      <a:pt x="173" y="185"/>
                    </a:lnTo>
                    <a:lnTo>
                      <a:pt x="174" y="185"/>
                    </a:lnTo>
                    <a:lnTo>
                      <a:pt x="174" y="183"/>
                    </a:lnTo>
                    <a:lnTo>
                      <a:pt x="176" y="183"/>
                    </a:lnTo>
                    <a:lnTo>
                      <a:pt x="178" y="183"/>
                    </a:lnTo>
                    <a:lnTo>
                      <a:pt x="176" y="183"/>
                    </a:lnTo>
                    <a:lnTo>
                      <a:pt x="176" y="185"/>
                    </a:lnTo>
                    <a:lnTo>
                      <a:pt x="176" y="183"/>
                    </a:lnTo>
                    <a:lnTo>
                      <a:pt x="176" y="185"/>
                    </a:lnTo>
                    <a:lnTo>
                      <a:pt x="176" y="183"/>
                    </a:lnTo>
                    <a:lnTo>
                      <a:pt x="176" y="185"/>
                    </a:lnTo>
                    <a:lnTo>
                      <a:pt x="174" y="185"/>
                    </a:lnTo>
                    <a:lnTo>
                      <a:pt x="176" y="185"/>
                    </a:lnTo>
                    <a:lnTo>
                      <a:pt x="174" y="185"/>
                    </a:lnTo>
                    <a:lnTo>
                      <a:pt x="174" y="186"/>
                    </a:lnTo>
                    <a:lnTo>
                      <a:pt x="176" y="186"/>
                    </a:lnTo>
                    <a:close/>
                    <a:moveTo>
                      <a:pt x="155" y="173"/>
                    </a:moveTo>
                    <a:lnTo>
                      <a:pt x="153" y="173"/>
                    </a:lnTo>
                    <a:lnTo>
                      <a:pt x="155" y="173"/>
                    </a:lnTo>
                    <a:close/>
                    <a:moveTo>
                      <a:pt x="171" y="181"/>
                    </a:moveTo>
                    <a:lnTo>
                      <a:pt x="173" y="181"/>
                    </a:lnTo>
                    <a:lnTo>
                      <a:pt x="173" y="179"/>
                    </a:lnTo>
                    <a:lnTo>
                      <a:pt x="173" y="181"/>
                    </a:lnTo>
                    <a:lnTo>
                      <a:pt x="173" y="179"/>
                    </a:lnTo>
                    <a:lnTo>
                      <a:pt x="173" y="181"/>
                    </a:lnTo>
                    <a:lnTo>
                      <a:pt x="173" y="179"/>
                    </a:lnTo>
                    <a:lnTo>
                      <a:pt x="174" y="179"/>
                    </a:lnTo>
                    <a:lnTo>
                      <a:pt x="173" y="181"/>
                    </a:lnTo>
                    <a:lnTo>
                      <a:pt x="174" y="179"/>
                    </a:lnTo>
                    <a:lnTo>
                      <a:pt x="174" y="181"/>
                    </a:lnTo>
                    <a:lnTo>
                      <a:pt x="173" y="181"/>
                    </a:lnTo>
                    <a:lnTo>
                      <a:pt x="171" y="181"/>
                    </a:lnTo>
                    <a:lnTo>
                      <a:pt x="169" y="183"/>
                    </a:lnTo>
                    <a:lnTo>
                      <a:pt x="171" y="183"/>
                    </a:lnTo>
                    <a:lnTo>
                      <a:pt x="171" y="181"/>
                    </a:lnTo>
                    <a:lnTo>
                      <a:pt x="169" y="183"/>
                    </a:lnTo>
                    <a:lnTo>
                      <a:pt x="169" y="181"/>
                    </a:lnTo>
                    <a:lnTo>
                      <a:pt x="171" y="181"/>
                    </a:lnTo>
                    <a:close/>
                    <a:moveTo>
                      <a:pt x="180" y="177"/>
                    </a:moveTo>
                    <a:lnTo>
                      <a:pt x="180" y="179"/>
                    </a:lnTo>
                    <a:lnTo>
                      <a:pt x="180" y="177"/>
                    </a:lnTo>
                    <a:lnTo>
                      <a:pt x="180" y="179"/>
                    </a:lnTo>
                    <a:lnTo>
                      <a:pt x="178" y="179"/>
                    </a:lnTo>
                    <a:lnTo>
                      <a:pt x="178" y="181"/>
                    </a:lnTo>
                    <a:lnTo>
                      <a:pt x="178" y="183"/>
                    </a:lnTo>
                    <a:lnTo>
                      <a:pt x="178" y="181"/>
                    </a:lnTo>
                    <a:lnTo>
                      <a:pt x="178" y="179"/>
                    </a:lnTo>
                    <a:lnTo>
                      <a:pt x="180" y="179"/>
                    </a:lnTo>
                    <a:lnTo>
                      <a:pt x="178" y="179"/>
                    </a:lnTo>
                    <a:lnTo>
                      <a:pt x="178" y="177"/>
                    </a:lnTo>
                    <a:lnTo>
                      <a:pt x="178" y="179"/>
                    </a:lnTo>
                    <a:lnTo>
                      <a:pt x="180" y="179"/>
                    </a:lnTo>
                    <a:lnTo>
                      <a:pt x="178" y="177"/>
                    </a:lnTo>
                    <a:lnTo>
                      <a:pt x="178" y="179"/>
                    </a:lnTo>
                    <a:lnTo>
                      <a:pt x="178" y="177"/>
                    </a:lnTo>
                    <a:lnTo>
                      <a:pt x="180" y="177"/>
                    </a:lnTo>
                    <a:close/>
                    <a:moveTo>
                      <a:pt x="178" y="175"/>
                    </a:moveTo>
                    <a:lnTo>
                      <a:pt x="180" y="175"/>
                    </a:lnTo>
                    <a:lnTo>
                      <a:pt x="178" y="175"/>
                    </a:lnTo>
                    <a:lnTo>
                      <a:pt x="180" y="173"/>
                    </a:lnTo>
                    <a:lnTo>
                      <a:pt x="180" y="175"/>
                    </a:lnTo>
                    <a:lnTo>
                      <a:pt x="178" y="175"/>
                    </a:lnTo>
                    <a:close/>
                    <a:moveTo>
                      <a:pt x="165" y="167"/>
                    </a:moveTo>
                    <a:lnTo>
                      <a:pt x="163" y="167"/>
                    </a:lnTo>
                    <a:lnTo>
                      <a:pt x="165" y="167"/>
                    </a:lnTo>
                    <a:lnTo>
                      <a:pt x="163" y="167"/>
                    </a:lnTo>
                    <a:lnTo>
                      <a:pt x="165" y="167"/>
                    </a:lnTo>
                    <a:close/>
                    <a:moveTo>
                      <a:pt x="176" y="171"/>
                    </a:moveTo>
                    <a:lnTo>
                      <a:pt x="178" y="171"/>
                    </a:lnTo>
                    <a:lnTo>
                      <a:pt x="176" y="171"/>
                    </a:lnTo>
                    <a:close/>
                    <a:moveTo>
                      <a:pt x="176" y="171"/>
                    </a:moveTo>
                    <a:lnTo>
                      <a:pt x="178" y="171"/>
                    </a:lnTo>
                    <a:lnTo>
                      <a:pt x="176" y="171"/>
                    </a:lnTo>
                    <a:lnTo>
                      <a:pt x="178" y="171"/>
                    </a:lnTo>
                    <a:lnTo>
                      <a:pt x="178" y="169"/>
                    </a:lnTo>
                    <a:lnTo>
                      <a:pt x="178" y="171"/>
                    </a:lnTo>
                    <a:lnTo>
                      <a:pt x="178" y="169"/>
                    </a:lnTo>
                    <a:lnTo>
                      <a:pt x="178" y="171"/>
                    </a:lnTo>
                    <a:lnTo>
                      <a:pt x="178" y="169"/>
                    </a:lnTo>
                    <a:lnTo>
                      <a:pt x="178" y="171"/>
                    </a:lnTo>
                    <a:lnTo>
                      <a:pt x="178" y="169"/>
                    </a:lnTo>
                    <a:lnTo>
                      <a:pt x="178" y="171"/>
                    </a:lnTo>
                    <a:lnTo>
                      <a:pt x="178" y="173"/>
                    </a:lnTo>
                    <a:lnTo>
                      <a:pt x="178" y="171"/>
                    </a:lnTo>
                    <a:lnTo>
                      <a:pt x="178" y="173"/>
                    </a:lnTo>
                    <a:lnTo>
                      <a:pt x="178" y="171"/>
                    </a:lnTo>
                    <a:lnTo>
                      <a:pt x="178" y="173"/>
                    </a:lnTo>
                    <a:lnTo>
                      <a:pt x="176" y="173"/>
                    </a:lnTo>
                    <a:lnTo>
                      <a:pt x="176" y="171"/>
                    </a:lnTo>
                    <a:lnTo>
                      <a:pt x="176" y="173"/>
                    </a:lnTo>
                    <a:lnTo>
                      <a:pt x="176" y="171"/>
                    </a:lnTo>
                    <a:lnTo>
                      <a:pt x="176" y="173"/>
                    </a:lnTo>
                    <a:lnTo>
                      <a:pt x="176" y="171"/>
                    </a:lnTo>
                    <a:close/>
                    <a:moveTo>
                      <a:pt x="182" y="171"/>
                    </a:moveTo>
                    <a:lnTo>
                      <a:pt x="182" y="173"/>
                    </a:lnTo>
                    <a:lnTo>
                      <a:pt x="180" y="173"/>
                    </a:lnTo>
                    <a:lnTo>
                      <a:pt x="180" y="175"/>
                    </a:lnTo>
                    <a:lnTo>
                      <a:pt x="180" y="173"/>
                    </a:lnTo>
                    <a:lnTo>
                      <a:pt x="178" y="173"/>
                    </a:lnTo>
                    <a:lnTo>
                      <a:pt x="178" y="175"/>
                    </a:lnTo>
                    <a:lnTo>
                      <a:pt x="176" y="175"/>
                    </a:lnTo>
                    <a:lnTo>
                      <a:pt x="178" y="177"/>
                    </a:lnTo>
                    <a:lnTo>
                      <a:pt x="178" y="175"/>
                    </a:lnTo>
                    <a:lnTo>
                      <a:pt x="178" y="177"/>
                    </a:lnTo>
                    <a:lnTo>
                      <a:pt x="178" y="175"/>
                    </a:lnTo>
                    <a:lnTo>
                      <a:pt x="178" y="177"/>
                    </a:lnTo>
                    <a:lnTo>
                      <a:pt x="180" y="177"/>
                    </a:lnTo>
                    <a:lnTo>
                      <a:pt x="178" y="175"/>
                    </a:lnTo>
                    <a:lnTo>
                      <a:pt x="180" y="175"/>
                    </a:lnTo>
                    <a:lnTo>
                      <a:pt x="178" y="175"/>
                    </a:lnTo>
                    <a:lnTo>
                      <a:pt x="180" y="175"/>
                    </a:lnTo>
                    <a:lnTo>
                      <a:pt x="178" y="175"/>
                    </a:lnTo>
                    <a:lnTo>
                      <a:pt x="180" y="175"/>
                    </a:lnTo>
                    <a:lnTo>
                      <a:pt x="180" y="173"/>
                    </a:lnTo>
                    <a:lnTo>
                      <a:pt x="182" y="173"/>
                    </a:lnTo>
                    <a:lnTo>
                      <a:pt x="180" y="173"/>
                    </a:lnTo>
                    <a:lnTo>
                      <a:pt x="180" y="175"/>
                    </a:lnTo>
                    <a:lnTo>
                      <a:pt x="180" y="173"/>
                    </a:lnTo>
                    <a:lnTo>
                      <a:pt x="182" y="173"/>
                    </a:lnTo>
                    <a:lnTo>
                      <a:pt x="182" y="175"/>
                    </a:lnTo>
                    <a:lnTo>
                      <a:pt x="182" y="173"/>
                    </a:lnTo>
                    <a:lnTo>
                      <a:pt x="182" y="175"/>
                    </a:lnTo>
                    <a:lnTo>
                      <a:pt x="182" y="173"/>
                    </a:lnTo>
                    <a:lnTo>
                      <a:pt x="182" y="175"/>
                    </a:lnTo>
                    <a:lnTo>
                      <a:pt x="180" y="175"/>
                    </a:lnTo>
                    <a:lnTo>
                      <a:pt x="180" y="177"/>
                    </a:lnTo>
                    <a:lnTo>
                      <a:pt x="180" y="175"/>
                    </a:lnTo>
                    <a:lnTo>
                      <a:pt x="180" y="177"/>
                    </a:lnTo>
                    <a:lnTo>
                      <a:pt x="178" y="177"/>
                    </a:lnTo>
                    <a:lnTo>
                      <a:pt x="178" y="179"/>
                    </a:lnTo>
                    <a:lnTo>
                      <a:pt x="178" y="177"/>
                    </a:lnTo>
                    <a:lnTo>
                      <a:pt x="178" y="179"/>
                    </a:lnTo>
                    <a:lnTo>
                      <a:pt x="176" y="179"/>
                    </a:lnTo>
                    <a:lnTo>
                      <a:pt x="176" y="181"/>
                    </a:lnTo>
                    <a:lnTo>
                      <a:pt x="176" y="179"/>
                    </a:lnTo>
                    <a:lnTo>
                      <a:pt x="176" y="181"/>
                    </a:lnTo>
                    <a:lnTo>
                      <a:pt x="176" y="179"/>
                    </a:lnTo>
                    <a:lnTo>
                      <a:pt x="176" y="181"/>
                    </a:lnTo>
                    <a:lnTo>
                      <a:pt x="174" y="181"/>
                    </a:lnTo>
                    <a:lnTo>
                      <a:pt x="174" y="183"/>
                    </a:lnTo>
                    <a:lnTo>
                      <a:pt x="174" y="181"/>
                    </a:lnTo>
                    <a:lnTo>
                      <a:pt x="174" y="183"/>
                    </a:lnTo>
                    <a:lnTo>
                      <a:pt x="174" y="181"/>
                    </a:lnTo>
                    <a:lnTo>
                      <a:pt x="174" y="183"/>
                    </a:lnTo>
                    <a:lnTo>
                      <a:pt x="174" y="181"/>
                    </a:lnTo>
                    <a:lnTo>
                      <a:pt x="174" y="183"/>
                    </a:lnTo>
                    <a:lnTo>
                      <a:pt x="173" y="183"/>
                    </a:lnTo>
                    <a:lnTo>
                      <a:pt x="171" y="183"/>
                    </a:lnTo>
                    <a:lnTo>
                      <a:pt x="171" y="185"/>
                    </a:lnTo>
                    <a:lnTo>
                      <a:pt x="173" y="185"/>
                    </a:lnTo>
                    <a:lnTo>
                      <a:pt x="171" y="185"/>
                    </a:lnTo>
                    <a:lnTo>
                      <a:pt x="173" y="185"/>
                    </a:lnTo>
                    <a:lnTo>
                      <a:pt x="171" y="185"/>
                    </a:lnTo>
                    <a:lnTo>
                      <a:pt x="173" y="185"/>
                    </a:lnTo>
                    <a:lnTo>
                      <a:pt x="173" y="186"/>
                    </a:lnTo>
                    <a:lnTo>
                      <a:pt x="173" y="185"/>
                    </a:lnTo>
                    <a:lnTo>
                      <a:pt x="173" y="183"/>
                    </a:lnTo>
                    <a:lnTo>
                      <a:pt x="173" y="185"/>
                    </a:lnTo>
                    <a:lnTo>
                      <a:pt x="174" y="185"/>
                    </a:lnTo>
                    <a:lnTo>
                      <a:pt x="174" y="183"/>
                    </a:lnTo>
                    <a:lnTo>
                      <a:pt x="174" y="181"/>
                    </a:lnTo>
                    <a:lnTo>
                      <a:pt x="174" y="183"/>
                    </a:lnTo>
                    <a:lnTo>
                      <a:pt x="174" y="181"/>
                    </a:lnTo>
                    <a:lnTo>
                      <a:pt x="174" y="183"/>
                    </a:lnTo>
                    <a:lnTo>
                      <a:pt x="174" y="181"/>
                    </a:lnTo>
                    <a:lnTo>
                      <a:pt x="176" y="181"/>
                    </a:lnTo>
                    <a:lnTo>
                      <a:pt x="174" y="181"/>
                    </a:lnTo>
                    <a:lnTo>
                      <a:pt x="176" y="181"/>
                    </a:lnTo>
                    <a:lnTo>
                      <a:pt x="174" y="181"/>
                    </a:lnTo>
                    <a:lnTo>
                      <a:pt x="176" y="181"/>
                    </a:lnTo>
                    <a:lnTo>
                      <a:pt x="176" y="179"/>
                    </a:lnTo>
                    <a:lnTo>
                      <a:pt x="176" y="181"/>
                    </a:lnTo>
                    <a:lnTo>
                      <a:pt x="178" y="181"/>
                    </a:lnTo>
                    <a:lnTo>
                      <a:pt x="178" y="179"/>
                    </a:lnTo>
                    <a:lnTo>
                      <a:pt x="178" y="181"/>
                    </a:lnTo>
                    <a:lnTo>
                      <a:pt x="178" y="183"/>
                    </a:lnTo>
                    <a:lnTo>
                      <a:pt x="176" y="183"/>
                    </a:lnTo>
                    <a:lnTo>
                      <a:pt x="174" y="183"/>
                    </a:lnTo>
                    <a:lnTo>
                      <a:pt x="174" y="185"/>
                    </a:lnTo>
                    <a:lnTo>
                      <a:pt x="173" y="185"/>
                    </a:lnTo>
                    <a:lnTo>
                      <a:pt x="173" y="186"/>
                    </a:lnTo>
                    <a:lnTo>
                      <a:pt x="174" y="186"/>
                    </a:lnTo>
                    <a:lnTo>
                      <a:pt x="174" y="188"/>
                    </a:lnTo>
                    <a:lnTo>
                      <a:pt x="173" y="188"/>
                    </a:lnTo>
                    <a:lnTo>
                      <a:pt x="173" y="186"/>
                    </a:lnTo>
                    <a:lnTo>
                      <a:pt x="171" y="186"/>
                    </a:lnTo>
                    <a:lnTo>
                      <a:pt x="171" y="185"/>
                    </a:lnTo>
                    <a:lnTo>
                      <a:pt x="171" y="186"/>
                    </a:lnTo>
                    <a:lnTo>
                      <a:pt x="171" y="185"/>
                    </a:lnTo>
                    <a:lnTo>
                      <a:pt x="171" y="183"/>
                    </a:lnTo>
                    <a:lnTo>
                      <a:pt x="173" y="183"/>
                    </a:lnTo>
                    <a:lnTo>
                      <a:pt x="173" y="181"/>
                    </a:lnTo>
                    <a:lnTo>
                      <a:pt x="173" y="183"/>
                    </a:lnTo>
                    <a:lnTo>
                      <a:pt x="173" y="181"/>
                    </a:lnTo>
                    <a:lnTo>
                      <a:pt x="174" y="181"/>
                    </a:lnTo>
                    <a:lnTo>
                      <a:pt x="174" y="179"/>
                    </a:lnTo>
                    <a:lnTo>
                      <a:pt x="174" y="181"/>
                    </a:lnTo>
                    <a:lnTo>
                      <a:pt x="174" y="179"/>
                    </a:lnTo>
                    <a:lnTo>
                      <a:pt x="174" y="181"/>
                    </a:lnTo>
                    <a:lnTo>
                      <a:pt x="174" y="179"/>
                    </a:lnTo>
                    <a:lnTo>
                      <a:pt x="176" y="179"/>
                    </a:lnTo>
                    <a:lnTo>
                      <a:pt x="176" y="177"/>
                    </a:lnTo>
                    <a:lnTo>
                      <a:pt x="176" y="179"/>
                    </a:lnTo>
                    <a:lnTo>
                      <a:pt x="174" y="179"/>
                    </a:lnTo>
                    <a:lnTo>
                      <a:pt x="176" y="179"/>
                    </a:lnTo>
                    <a:lnTo>
                      <a:pt x="176" y="177"/>
                    </a:lnTo>
                    <a:lnTo>
                      <a:pt x="176" y="179"/>
                    </a:lnTo>
                    <a:lnTo>
                      <a:pt x="178" y="177"/>
                    </a:lnTo>
                    <a:lnTo>
                      <a:pt x="176" y="177"/>
                    </a:lnTo>
                    <a:lnTo>
                      <a:pt x="176" y="175"/>
                    </a:lnTo>
                    <a:lnTo>
                      <a:pt x="176" y="173"/>
                    </a:lnTo>
                    <a:lnTo>
                      <a:pt x="178" y="173"/>
                    </a:lnTo>
                    <a:lnTo>
                      <a:pt x="178" y="171"/>
                    </a:lnTo>
                    <a:lnTo>
                      <a:pt x="180" y="171"/>
                    </a:lnTo>
                    <a:lnTo>
                      <a:pt x="182" y="171"/>
                    </a:lnTo>
                    <a:lnTo>
                      <a:pt x="180" y="171"/>
                    </a:lnTo>
                    <a:lnTo>
                      <a:pt x="180" y="173"/>
                    </a:lnTo>
                    <a:lnTo>
                      <a:pt x="180" y="171"/>
                    </a:lnTo>
                    <a:lnTo>
                      <a:pt x="180" y="173"/>
                    </a:lnTo>
                    <a:lnTo>
                      <a:pt x="178" y="173"/>
                    </a:lnTo>
                    <a:lnTo>
                      <a:pt x="180" y="173"/>
                    </a:lnTo>
                    <a:lnTo>
                      <a:pt x="180" y="171"/>
                    </a:lnTo>
                    <a:lnTo>
                      <a:pt x="180" y="173"/>
                    </a:lnTo>
                    <a:lnTo>
                      <a:pt x="182" y="171"/>
                    </a:lnTo>
                    <a:lnTo>
                      <a:pt x="180" y="173"/>
                    </a:lnTo>
                    <a:lnTo>
                      <a:pt x="182" y="173"/>
                    </a:lnTo>
                    <a:lnTo>
                      <a:pt x="182" y="171"/>
                    </a:lnTo>
                    <a:close/>
                    <a:moveTo>
                      <a:pt x="178" y="175"/>
                    </a:moveTo>
                    <a:lnTo>
                      <a:pt x="176" y="175"/>
                    </a:lnTo>
                    <a:lnTo>
                      <a:pt x="178" y="175"/>
                    </a:lnTo>
                    <a:close/>
                    <a:moveTo>
                      <a:pt x="173" y="185"/>
                    </a:moveTo>
                    <a:lnTo>
                      <a:pt x="173" y="186"/>
                    </a:lnTo>
                    <a:lnTo>
                      <a:pt x="173" y="185"/>
                    </a:lnTo>
                    <a:lnTo>
                      <a:pt x="173" y="186"/>
                    </a:lnTo>
                    <a:lnTo>
                      <a:pt x="173" y="185"/>
                    </a:lnTo>
                    <a:lnTo>
                      <a:pt x="173" y="186"/>
                    </a:lnTo>
                    <a:lnTo>
                      <a:pt x="171" y="186"/>
                    </a:lnTo>
                    <a:lnTo>
                      <a:pt x="173" y="186"/>
                    </a:lnTo>
                    <a:lnTo>
                      <a:pt x="171" y="186"/>
                    </a:lnTo>
                    <a:lnTo>
                      <a:pt x="173" y="186"/>
                    </a:lnTo>
                    <a:lnTo>
                      <a:pt x="173" y="185"/>
                    </a:lnTo>
                    <a:close/>
                    <a:moveTo>
                      <a:pt x="182" y="167"/>
                    </a:moveTo>
                    <a:lnTo>
                      <a:pt x="180" y="167"/>
                    </a:lnTo>
                    <a:lnTo>
                      <a:pt x="182" y="167"/>
                    </a:lnTo>
                    <a:lnTo>
                      <a:pt x="182" y="169"/>
                    </a:lnTo>
                    <a:lnTo>
                      <a:pt x="182" y="167"/>
                    </a:lnTo>
                    <a:lnTo>
                      <a:pt x="182" y="169"/>
                    </a:lnTo>
                    <a:lnTo>
                      <a:pt x="180" y="169"/>
                    </a:lnTo>
                    <a:lnTo>
                      <a:pt x="182" y="169"/>
                    </a:lnTo>
                    <a:lnTo>
                      <a:pt x="180" y="169"/>
                    </a:lnTo>
                    <a:lnTo>
                      <a:pt x="180" y="171"/>
                    </a:lnTo>
                    <a:lnTo>
                      <a:pt x="180" y="169"/>
                    </a:lnTo>
                    <a:lnTo>
                      <a:pt x="180" y="171"/>
                    </a:lnTo>
                    <a:lnTo>
                      <a:pt x="180" y="169"/>
                    </a:lnTo>
                    <a:lnTo>
                      <a:pt x="180" y="171"/>
                    </a:lnTo>
                    <a:lnTo>
                      <a:pt x="182" y="171"/>
                    </a:lnTo>
                    <a:lnTo>
                      <a:pt x="182" y="169"/>
                    </a:lnTo>
                    <a:lnTo>
                      <a:pt x="180" y="169"/>
                    </a:lnTo>
                    <a:lnTo>
                      <a:pt x="182" y="169"/>
                    </a:lnTo>
                    <a:lnTo>
                      <a:pt x="184" y="169"/>
                    </a:lnTo>
                    <a:lnTo>
                      <a:pt x="182" y="169"/>
                    </a:lnTo>
                    <a:lnTo>
                      <a:pt x="182" y="167"/>
                    </a:lnTo>
                    <a:lnTo>
                      <a:pt x="184" y="167"/>
                    </a:lnTo>
                    <a:lnTo>
                      <a:pt x="182" y="167"/>
                    </a:lnTo>
                    <a:lnTo>
                      <a:pt x="182" y="169"/>
                    </a:lnTo>
                    <a:lnTo>
                      <a:pt x="184" y="169"/>
                    </a:lnTo>
                    <a:lnTo>
                      <a:pt x="184" y="167"/>
                    </a:lnTo>
                    <a:lnTo>
                      <a:pt x="184" y="169"/>
                    </a:lnTo>
                    <a:lnTo>
                      <a:pt x="184" y="167"/>
                    </a:lnTo>
                    <a:lnTo>
                      <a:pt x="184" y="169"/>
                    </a:lnTo>
                    <a:lnTo>
                      <a:pt x="182" y="169"/>
                    </a:lnTo>
                    <a:lnTo>
                      <a:pt x="184" y="169"/>
                    </a:lnTo>
                    <a:lnTo>
                      <a:pt x="182" y="169"/>
                    </a:lnTo>
                    <a:lnTo>
                      <a:pt x="182" y="171"/>
                    </a:lnTo>
                    <a:lnTo>
                      <a:pt x="180" y="171"/>
                    </a:lnTo>
                    <a:lnTo>
                      <a:pt x="178" y="171"/>
                    </a:lnTo>
                    <a:lnTo>
                      <a:pt x="178" y="169"/>
                    </a:lnTo>
                    <a:lnTo>
                      <a:pt x="180" y="167"/>
                    </a:lnTo>
                    <a:lnTo>
                      <a:pt x="182" y="167"/>
                    </a:lnTo>
                    <a:close/>
                    <a:moveTo>
                      <a:pt x="188" y="169"/>
                    </a:moveTo>
                    <a:lnTo>
                      <a:pt x="186" y="169"/>
                    </a:lnTo>
                    <a:lnTo>
                      <a:pt x="186" y="171"/>
                    </a:lnTo>
                    <a:lnTo>
                      <a:pt x="186" y="169"/>
                    </a:lnTo>
                    <a:lnTo>
                      <a:pt x="186" y="171"/>
                    </a:lnTo>
                    <a:lnTo>
                      <a:pt x="184" y="171"/>
                    </a:lnTo>
                    <a:lnTo>
                      <a:pt x="186" y="171"/>
                    </a:lnTo>
                    <a:lnTo>
                      <a:pt x="184" y="171"/>
                    </a:lnTo>
                    <a:lnTo>
                      <a:pt x="182" y="171"/>
                    </a:lnTo>
                    <a:lnTo>
                      <a:pt x="182" y="169"/>
                    </a:lnTo>
                    <a:lnTo>
                      <a:pt x="184" y="169"/>
                    </a:lnTo>
                    <a:lnTo>
                      <a:pt x="184" y="171"/>
                    </a:lnTo>
                    <a:lnTo>
                      <a:pt x="186" y="171"/>
                    </a:lnTo>
                    <a:lnTo>
                      <a:pt x="186" y="169"/>
                    </a:lnTo>
                    <a:lnTo>
                      <a:pt x="188" y="169"/>
                    </a:lnTo>
                    <a:lnTo>
                      <a:pt x="188" y="171"/>
                    </a:lnTo>
                    <a:lnTo>
                      <a:pt x="186" y="171"/>
                    </a:lnTo>
                    <a:lnTo>
                      <a:pt x="186" y="169"/>
                    </a:lnTo>
                    <a:lnTo>
                      <a:pt x="188" y="169"/>
                    </a:lnTo>
                    <a:close/>
                    <a:moveTo>
                      <a:pt x="184" y="171"/>
                    </a:moveTo>
                    <a:lnTo>
                      <a:pt x="184" y="169"/>
                    </a:lnTo>
                    <a:lnTo>
                      <a:pt x="184" y="171"/>
                    </a:lnTo>
                    <a:close/>
                    <a:moveTo>
                      <a:pt x="192" y="167"/>
                    </a:moveTo>
                    <a:lnTo>
                      <a:pt x="192" y="169"/>
                    </a:lnTo>
                    <a:lnTo>
                      <a:pt x="192" y="167"/>
                    </a:lnTo>
                    <a:close/>
                    <a:moveTo>
                      <a:pt x="186" y="167"/>
                    </a:moveTo>
                    <a:lnTo>
                      <a:pt x="186" y="169"/>
                    </a:lnTo>
                    <a:lnTo>
                      <a:pt x="184" y="169"/>
                    </a:lnTo>
                    <a:lnTo>
                      <a:pt x="184" y="167"/>
                    </a:lnTo>
                    <a:lnTo>
                      <a:pt x="186" y="167"/>
                    </a:lnTo>
                    <a:lnTo>
                      <a:pt x="186" y="165"/>
                    </a:lnTo>
                    <a:lnTo>
                      <a:pt x="186" y="167"/>
                    </a:lnTo>
                    <a:close/>
                    <a:moveTo>
                      <a:pt x="192" y="167"/>
                    </a:moveTo>
                    <a:lnTo>
                      <a:pt x="192" y="169"/>
                    </a:lnTo>
                    <a:lnTo>
                      <a:pt x="192" y="171"/>
                    </a:lnTo>
                    <a:lnTo>
                      <a:pt x="192" y="169"/>
                    </a:lnTo>
                    <a:lnTo>
                      <a:pt x="192" y="167"/>
                    </a:lnTo>
                    <a:lnTo>
                      <a:pt x="192" y="169"/>
                    </a:lnTo>
                    <a:lnTo>
                      <a:pt x="192" y="171"/>
                    </a:lnTo>
                    <a:lnTo>
                      <a:pt x="194" y="171"/>
                    </a:lnTo>
                    <a:lnTo>
                      <a:pt x="192" y="171"/>
                    </a:lnTo>
                    <a:lnTo>
                      <a:pt x="192" y="173"/>
                    </a:lnTo>
                    <a:lnTo>
                      <a:pt x="190" y="173"/>
                    </a:lnTo>
                    <a:lnTo>
                      <a:pt x="188" y="175"/>
                    </a:lnTo>
                    <a:lnTo>
                      <a:pt x="190" y="175"/>
                    </a:lnTo>
                    <a:lnTo>
                      <a:pt x="190" y="173"/>
                    </a:lnTo>
                    <a:lnTo>
                      <a:pt x="190" y="175"/>
                    </a:lnTo>
                    <a:lnTo>
                      <a:pt x="188" y="175"/>
                    </a:lnTo>
                    <a:lnTo>
                      <a:pt x="186" y="175"/>
                    </a:lnTo>
                    <a:lnTo>
                      <a:pt x="184" y="177"/>
                    </a:lnTo>
                    <a:lnTo>
                      <a:pt x="184" y="175"/>
                    </a:lnTo>
                    <a:lnTo>
                      <a:pt x="184" y="177"/>
                    </a:lnTo>
                    <a:lnTo>
                      <a:pt x="182" y="177"/>
                    </a:lnTo>
                    <a:lnTo>
                      <a:pt x="180" y="177"/>
                    </a:lnTo>
                    <a:lnTo>
                      <a:pt x="180" y="179"/>
                    </a:lnTo>
                    <a:lnTo>
                      <a:pt x="180" y="181"/>
                    </a:lnTo>
                    <a:lnTo>
                      <a:pt x="180" y="179"/>
                    </a:lnTo>
                    <a:lnTo>
                      <a:pt x="180" y="181"/>
                    </a:lnTo>
                    <a:lnTo>
                      <a:pt x="180" y="179"/>
                    </a:lnTo>
                    <a:lnTo>
                      <a:pt x="180" y="181"/>
                    </a:lnTo>
                    <a:lnTo>
                      <a:pt x="180" y="179"/>
                    </a:lnTo>
                    <a:lnTo>
                      <a:pt x="180" y="181"/>
                    </a:lnTo>
                    <a:lnTo>
                      <a:pt x="180" y="179"/>
                    </a:lnTo>
                    <a:lnTo>
                      <a:pt x="178" y="179"/>
                    </a:lnTo>
                    <a:lnTo>
                      <a:pt x="180" y="179"/>
                    </a:lnTo>
                    <a:lnTo>
                      <a:pt x="180" y="177"/>
                    </a:lnTo>
                    <a:lnTo>
                      <a:pt x="180" y="175"/>
                    </a:lnTo>
                    <a:lnTo>
                      <a:pt x="182" y="175"/>
                    </a:lnTo>
                    <a:lnTo>
                      <a:pt x="182" y="173"/>
                    </a:lnTo>
                    <a:lnTo>
                      <a:pt x="184" y="173"/>
                    </a:lnTo>
                    <a:lnTo>
                      <a:pt x="182" y="173"/>
                    </a:lnTo>
                    <a:lnTo>
                      <a:pt x="184" y="173"/>
                    </a:lnTo>
                    <a:lnTo>
                      <a:pt x="182" y="173"/>
                    </a:lnTo>
                    <a:lnTo>
                      <a:pt x="182" y="171"/>
                    </a:lnTo>
                    <a:lnTo>
                      <a:pt x="182" y="173"/>
                    </a:lnTo>
                    <a:lnTo>
                      <a:pt x="182" y="171"/>
                    </a:lnTo>
                    <a:lnTo>
                      <a:pt x="184" y="171"/>
                    </a:lnTo>
                    <a:lnTo>
                      <a:pt x="182" y="171"/>
                    </a:lnTo>
                    <a:lnTo>
                      <a:pt x="184" y="171"/>
                    </a:lnTo>
                    <a:lnTo>
                      <a:pt x="182" y="171"/>
                    </a:lnTo>
                    <a:lnTo>
                      <a:pt x="182" y="173"/>
                    </a:lnTo>
                    <a:lnTo>
                      <a:pt x="184" y="173"/>
                    </a:lnTo>
                    <a:lnTo>
                      <a:pt x="182" y="173"/>
                    </a:lnTo>
                    <a:lnTo>
                      <a:pt x="184" y="173"/>
                    </a:lnTo>
                    <a:lnTo>
                      <a:pt x="184" y="171"/>
                    </a:lnTo>
                    <a:lnTo>
                      <a:pt x="184" y="173"/>
                    </a:lnTo>
                    <a:lnTo>
                      <a:pt x="186" y="173"/>
                    </a:lnTo>
                    <a:lnTo>
                      <a:pt x="186" y="171"/>
                    </a:lnTo>
                    <a:lnTo>
                      <a:pt x="184" y="171"/>
                    </a:lnTo>
                    <a:lnTo>
                      <a:pt x="186" y="171"/>
                    </a:lnTo>
                    <a:lnTo>
                      <a:pt x="184" y="171"/>
                    </a:lnTo>
                    <a:lnTo>
                      <a:pt x="186" y="171"/>
                    </a:lnTo>
                    <a:lnTo>
                      <a:pt x="186" y="173"/>
                    </a:lnTo>
                    <a:lnTo>
                      <a:pt x="186" y="171"/>
                    </a:lnTo>
                    <a:lnTo>
                      <a:pt x="186" y="173"/>
                    </a:lnTo>
                    <a:lnTo>
                      <a:pt x="186" y="171"/>
                    </a:lnTo>
                    <a:lnTo>
                      <a:pt x="186" y="173"/>
                    </a:lnTo>
                    <a:lnTo>
                      <a:pt x="186" y="171"/>
                    </a:lnTo>
                    <a:lnTo>
                      <a:pt x="186" y="173"/>
                    </a:lnTo>
                    <a:lnTo>
                      <a:pt x="184" y="173"/>
                    </a:lnTo>
                    <a:lnTo>
                      <a:pt x="182" y="173"/>
                    </a:lnTo>
                    <a:lnTo>
                      <a:pt x="184" y="173"/>
                    </a:lnTo>
                    <a:lnTo>
                      <a:pt x="182" y="173"/>
                    </a:lnTo>
                    <a:lnTo>
                      <a:pt x="182" y="175"/>
                    </a:lnTo>
                    <a:lnTo>
                      <a:pt x="184" y="175"/>
                    </a:lnTo>
                    <a:lnTo>
                      <a:pt x="182" y="175"/>
                    </a:lnTo>
                    <a:lnTo>
                      <a:pt x="182" y="177"/>
                    </a:lnTo>
                    <a:lnTo>
                      <a:pt x="182" y="175"/>
                    </a:lnTo>
                    <a:lnTo>
                      <a:pt x="184" y="175"/>
                    </a:lnTo>
                    <a:lnTo>
                      <a:pt x="186" y="175"/>
                    </a:lnTo>
                    <a:lnTo>
                      <a:pt x="184" y="175"/>
                    </a:lnTo>
                    <a:lnTo>
                      <a:pt x="186" y="175"/>
                    </a:lnTo>
                    <a:lnTo>
                      <a:pt x="186" y="173"/>
                    </a:lnTo>
                    <a:lnTo>
                      <a:pt x="186" y="175"/>
                    </a:lnTo>
                    <a:lnTo>
                      <a:pt x="188" y="175"/>
                    </a:lnTo>
                    <a:lnTo>
                      <a:pt x="188" y="173"/>
                    </a:lnTo>
                    <a:lnTo>
                      <a:pt x="190" y="173"/>
                    </a:lnTo>
                    <a:lnTo>
                      <a:pt x="190" y="171"/>
                    </a:lnTo>
                    <a:lnTo>
                      <a:pt x="192" y="171"/>
                    </a:lnTo>
                    <a:lnTo>
                      <a:pt x="190" y="171"/>
                    </a:lnTo>
                    <a:lnTo>
                      <a:pt x="192" y="171"/>
                    </a:lnTo>
                    <a:lnTo>
                      <a:pt x="192" y="169"/>
                    </a:lnTo>
                    <a:lnTo>
                      <a:pt x="190" y="169"/>
                    </a:lnTo>
                    <a:lnTo>
                      <a:pt x="192" y="169"/>
                    </a:lnTo>
                    <a:lnTo>
                      <a:pt x="190" y="169"/>
                    </a:lnTo>
                    <a:lnTo>
                      <a:pt x="192" y="169"/>
                    </a:lnTo>
                    <a:lnTo>
                      <a:pt x="192" y="167"/>
                    </a:lnTo>
                    <a:lnTo>
                      <a:pt x="190" y="167"/>
                    </a:lnTo>
                    <a:lnTo>
                      <a:pt x="192" y="167"/>
                    </a:lnTo>
                    <a:close/>
                    <a:moveTo>
                      <a:pt x="180" y="177"/>
                    </a:moveTo>
                    <a:lnTo>
                      <a:pt x="180" y="179"/>
                    </a:lnTo>
                    <a:lnTo>
                      <a:pt x="180" y="177"/>
                    </a:lnTo>
                    <a:close/>
                    <a:moveTo>
                      <a:pt x="190" y="169"/>
                    </a:moveTo>
                    <a:lnTo>
                      <a:pt x="190" y="167"/>
                    </a:lnTo>
                    <a:lnTo>
                      <a:pt x="190" y="165"/>
                    </a:lnTo>
                    <a:lnTo>
                      <a:pt x="190" y="167"/>
                    </a:lnTo>
                    <a:lnTo>
                      <a:pt x="190" y="165"/>
                    </a:lnTo>
                    <a:lnTo>
                      <a:pt x="190" y="167"/>
                    </a:lnTo>
                    <a:lnTo>
                      <a:pt x="190" y="169"/>
                    </a:lnTo>
                    <a:close/>
                    <a:moveTo>
                      <a:pt x="190" y="167"/>
                    </a:moveTo>
                    <a:lnTo>
                      <a:pt x="188" y="169"/>
                    </a:lnTo>
                    <a:lnTo>
                      <a:pt x="188" y="167"/>
                    </a:lnTo>
                    <a:lnTo>
                      <a:pt x="188" y="169"/>
                    </a:lnTo>
                    <a:lnTo>
                      <a:pt x="190" y="169"/>
                    </a:lnTo>
                    <a:lnTo>
                      <a:pt x="190" y="167"/>
                    </a:lnTo>
                    <a:lnTo>
                      <a:pt x="190" y="169"/>
                    </a:lnTo>
                    <a:lnTo>
                      <a:pt x="188" y="169"/>
                    </a:lnTo>
                    <a:lnTo>
                      <a:pt x="188" y="171"/>
                    </a:lnTo>
                    <a:lnTo>
                      <a:pt x="188" y="169"/>
                    </a:lnTo>
                    <a:lnTo>
                      <a:pt x="188" y="167"/>
                    </a:lnTo>
                    <a:lnTo>
                      <a:pt x="188" y="165"/>
                    </a:lnTo>
                    <a:lnTo>
                      <a:pt x="188" y="167"/>
                    </a:lnTo>
                    <a:lnTo>
                      <a:pt x="190" y="167"/>
                    </a:lnTo>
                    <a:lnTo>
                      <a:pt x="190" y="165"/>
                    </a:lnTo>
                    <a:lnTo>
                      <a:pt x="190" y="167"/>
                    </a:lnTo>
                    <a:close/>
                    <a:moveTo>
                      <a:pt x="188" y="165"/>
                    </a:moveTo>
                    <a:lnTo>
                      <a:pt x="188" y="167"/>
                    </a:lnTo>
                    <a:lnTo>
                      <a:pt x="188" y="165"/>
                    </a:lnTo>
                    <a:close/>
                    <a:moveTo>
                      <a:pt x="184" y="163"/>
                    </a:moveTo>
                    <a:lnTo>
                      <a:pt x="182" y="165"/>
                    </a:lnTo>
                    <a:lnTo>
                      <a:pt x="184" y="165"/>
                    </a:lnTo>
                    <a:lnTo>
                      <a:pt x="182" y="165"/>
                    </a:lnTo>
                    <a:lnTo>
                      <a:pt x="184" y="165"/>
                    </a:lnTo>
                    <a:lnTo>
                      <a:pt x="182" y="167"/>
                    </a:lnTo>
                    <a:lnTo>
                      <a:pt x="184" y="167"/>
                    </a:lnTo>
                    <a:lnTo>
                      <a:pt x="184" y="165"/>
                    </a:lnTo>
                    <a:lnTo>
                      <a:pt x="184" y="163"/>
                    </a:lnTo>
                    <a:lnTo>
                      <a:pt x="186" y="163"/>
                    </a:lnTo>
                    <a:lnTo>
                      <a:pt x="186" y="165"/>
                    </a:lnTo>
                    <a:lnTo>
                      <a:pt x="186" y="163"/>
                    </a:lnTo>
                    <a:lnTo>
                      <a:pt x="186" y="165"/>
                    </a:lnTo>
                    <a:lnTo>
                      <a:pt x="186" y="163"/>
                    </a:lnTo>
                    <a:lnTo>
                      <a:pt x="186" y="165"/>
                    </a:lnTo>
                    <a:lnTo>
                      <a:pt x="184" y="165"/>
                    </a:lnTo>
                    <a:lnTo>
                      <a:pt x="182" y="167"/>
                    </a:lnTo>
                    <a:lnTo>
                      <a:pt x="180" y="167"/>
                    </a:lnTo>
                    <a:lnTo>
                      <a:pt x="180" y="165"/>
                    </a:lnTo>
                    <a:lnTo>
                      <a:pt x="182" y="165"/>
                    </a:lnTo>
                    <a:lnTo>
                      <a:pt x="182" y="163"/>
                    </a:lnTo>
                    <a:lnTo>
                      <a:pt x="184" y="163"/>
                    </a:lnTo>
                    <a:lnTo>
                      <a:pt x="182" y="163"/>
                    </a:lnTo>
                    <a:lnTo>
                      <a:pt x="182" y="165"/>
                    </a:lnTo>
                    <a:lnTo>
                      <a:pt x="182" y="163"/>
                    </a:lnTo>
                    <a:lnTo>
                      <a:pt x="182" y="165"/>
                    </a:lnTo>
                    <a:lnTo>
                      <a:pt x="182" y="163"/>
                    </a:lnTo>
                    <a:lnTo>
                      <a:pt x="184" y="163"/>
                    </a:lnTo>
                    <a:close/>
                    <a:moveTo>
                      <a:pt x="188" y="163"/>
                    </a:moveTo>
                    <a:lnTo>
                      <a:pt x="188" y="161"/>
                    </a:lnTo>
                    <a:lnTo>
                      <a:pt x="188" y="163"/>
                    </a:lnTo>
                    <a:close/>
                    <a:moveTo>
                      <a:pt x="188" y="163"/>
                    </a:moveTo>
                    <a:lnTo>
                      <a:pt x="190" y="163"/>
                    </a:lnTo>
                    <a:lnTo>
                      <a:pt x="188" y="161"/>
                    </a:lnTo>
                    <a:lnTo>
                      <a:pt x="188" y="163"/>
                    </a:lnTo>
                    <a:lnTo>
                      <a:pt x="188" y="161"/>
                    </a:lnTo>
                    <a:lnTo>
                      <a:pt x="188" y="160"/>
                    </a:lnTo>
                    <a:lnTo>
                      <a:pt x="188" y="161"/>
                    </a:lnTo>
                    <a:lnTo>
                      <a:pt x="190" y="161"/>
                    </a:lnTo>
                    <a:lnTo>
                      <a:pt x="190" y="160"/>
                    </a:lnTo>
                    <a:lnTo>
                      <a:pt x="188" y="160"/>
                    </a:lnTo>
                    <a:lnTo>
                      <a:pt x="190" y="160"/>
                    </a:lnTo>
                    <a:lnTo>
                      <a:pt x="190" y="161"/>
                    </a:lnTo>
                    <a:lnTo>
                      <a:pt x="190" y="160"/>
                    </a:lnTo>
                    <a:lnTo>
                      <a:pt x="190" y="161"/>
                    </a:lnTo>
                    <a:lnTo>
                      <a:pt x="188" y="161"/>
                    </a:lnTo>
                    <a:lnTo>
                      <a:pt x="190" y="161"/>
                    </a:lnTo>
                    <a:lnTo>
                      <a:pt x="190" y="163"/>
                    </a:lnTo>
                    <a:lnTo>
                      <a:pt x="188" y="163"/>
                    </a:lnTo>
                    <a:lnTo>
                      <a:pt x="188" y="161"/>
                    </a:lnTo>
                    <a:lnTo>
                      <a:pt x="188" y="163"/>
                    </a:lnTo>
                    <a:close/>
                    <a:moveTo>
                      <a:pt x="192" y="161"/>
                    </a:moveTo>
                    <a:lnTo>
                      <a:pt x="192" y="160"/>
                    </a:lnTo>
                    <a:lnTo>
                      <a:pt x="192" y="161"/>
                    </a:lnTo>
                    <a:close/>
                    <a:moveTo>
                      <a:pt x="186" y="160"/>
                    </a:moveTo>
                    <a:lnTo>
                      <a:pt x="186" y="161"/>
                    </a:lnTo>
                    <a:lnTo>
                      <a:pt x="186" y="160"/>
                    </a:lnTo>
                    <a:lnTo>
                      <a:pt x="186" y="158"/>
                    </a:lnTo>
                    <a:lnTo>
                      <a:pt x="186" y="160"/>
                    </a:lnTo>
                    <a:lnTo>
                      <a:pt x="186" y="158"/>
                    </a:lnTo>
                    <a:lnTo>
                      <a:pt x="186" y="160"/>
                    </a:lnTo>
                    <a:lnTo>
                      <a:pt x="186" y="158"/>
                    </a:lnTo>
                    <a:lnTo>
                      <a:pt x="186" y="160"/>
                    </a:lnTo>
                    <a:close/>
                    <a:moveTo>
                      <a:pt x="186" y="158"/>
                    </a:moveTo>
                    <a:lnTo>
                      <a:pt x="184" y="158"/>
                    </a:lnTo>
                    <a:lnTo>
                      <a:pt x="186" y="158"/>
                    </a:lnTo>
                    <a:close/>
                    <a:moveTo>
                      <a:pt x="198" y="161"/>
                    </a:moveTo>
                    <a:lnTo>
                      <a:pt x="198" y="160"/>
                    </a:lnTo>
                    <a:lnTo>
                      <a:pt x="198" y="161"/>
                    </a:lnTo>
                    <a:close/>
                    <a:moveTo>
                      <a:pt x="192" y="160"/>
                    </a:moveTo>
                    <a:lnTo>
                      <a:pt x="192" y="158"/>
                    </a:lnTo>
                    <a:lnTo>
                      <a:pt x="192" y="160"/>
                    </a:lnTo>
                    <a:lnTo>
                      <a:pt x="192" y="158"/>
                    </a:lnTo>
                    <a:lnTo>
                      <a:pt x="192" y="160"/>
                    </a:lnTo>
                    <a:close/>
                    <a:moveTo>
                      <a:pt x="188" y="158"/>
                    </a:moveTo>
                    <a:lnTo>
                      <a:pt x="190" y="158"/>
                    </a:lnTo>
                    <a:lnTo>
                      <a:pt x="188" y="158"/>
                    </a:lnTo>
                    <a:close/>
                    <a:moveTo>
                      <a:pt x="196" y="158"/>
                    </a:moveTo>
                    <a:lnTo>
                      <a:pt x="196" y="160"/>
                    </a:lnTo>
                    <a:lnTo>
                      <a:pt x="196" y="161"/>
                    </a:lnTo>
                    <a:lnTo>
                      <a:pt x="194" y="160"/>
                    </a:lnTo>
                    <a:lnTo>
                      <a:pt x="194" y="161"/>
                    </a:lnTo>
                    <a:lnTo>
                      <a:pt x="192" y="161"/>
                    </a:lnTo>
                    <a:lnTo>
                      <a:pt x="190" y="161"/>
                    </a:lnTo>
                    <a:lnTo>
                      <a:pt x="190" y="163"/>
                    </a:lnTo>
                    <a:lnTo>
                      <a:pt x="190" y="165"/>
                    </a:lnTo>
                    <a:lnTo>
                      <a:pt x="190" y="163"/>
                    </a:lnTo>
                    <a:lnTo>
                      <a:pt x="190" y="161"/>
                    </a:lnTo>
                    <a:lnTo>
                      <a:pt x="190" y="163"/>
                    </a:lnTo>
                    <a:lnTo>
                      <a:pt x="190" y="161"/>
                    </a:lnTo>
                    <a:lnTo>
                      <a:pt x="190" y="160"/>
                    </a:lnTo>
                    <a:lnTo>
                      <a:pt x="190" y="161"/>
                    </a:lnTo>
                    <a:lnTo>
                      <a:pt x="190" y="160"/>
                    </a:lnTo>
                    <a:lnTo>
                      <a:pt x="192" y="160"/>
                    </a:lnTo>
                    <a:lnTo>
                      <a:pt x="190" y="160"/>
                    </a:lnTo>
                    <a:lnTo>
                      <a:pt x="192" y="160"/>
                    </a:lnTo>
                    <a:lnTo>
                      <a:pt x="190" y="160"/>
                    </a:lnTo>
                    <a:lnTo>
                      <a:pt x="190" y="161"/>
                    </a:lnTo>
                    <a:lnTo>
                      <a:pt x="190" y="160"/>
                    </a:lnTo>
                    <a:lnTo>
                      <a:pt x="190" y="161"/>
                    </a:lnTo>
                    <a:lnTo>
                      <a:pt x="190" y="160"/>
                    </a:lnTo>
                    <a:lnTo>
                      <a:pt x="190" y="161"/>
                    </a:lnTo>
                    <a:lnTo>
                      <a:pt x="192" y="161"/>
                    </a:lnTo>
                    <a:lnTo>
                      <a:pt x="194" y="161"/>
                    </a:lnTo>
                    <a:lnTo>
                      <a:pt x="194" y="160"/>
                    </a:lnTo>
                    <a:lnTo>
                      <a:pt x="192" y="160"/>
                    </a:lnTo>
                    <a:lnTo>
                      <a:pt x="194" y="160"/>
                    </a:lnTo>
                    <a:lnTo>
                      <a:pt x="192" y="160"/>
                    </a:lnTo>
                    <a:lnTo>
                      <a:pt x="194" y="160"/>
                    </a:lnTo>
                    <a:lnTo>
                      <a:pt x="194" y="158"/>
                    </a:lnTo>
                    <a:lnTo>
                      <a:pt x="194" y="160"/>
                    </a:lnTo>
                    <a:lnTo>
                      <a:pt x="196" y="160"/>
                    </a:lnTo>
                    <a:lnTo>
                      <a:pt x="196" y="158"/>
                    </a:lnTo>
                    <a:lnTo>
                      <a:pt x="194" y="158"/>
                    </a:lnTo>
                    <a:lnTo>
                      <a:pt x="196" y="158"/>
                    </a:lnTo>
                    <a:close/>
                    <a:moveTo>
                      <a:pt x="190" y="158"/>
                    </a:moveTo>
                    <a:lnTo>
                      <a:pt x="188" y="158"/>
                    </a:lnTo>
                    <a:lnTo>
                      <a:pt x="190" y="158"/>
                    </a:lnTo>
                    <a:lnTo>
                      <a:pt x="192" y="158"/>
                    </a:lnTo>
                    <a:lnTo>
                      <a:pt x="192" y="156"/>
                    </a:lnTo>
                    <a:lnTo>
                      <a:pt x="192" y="158"/>
                    </a:lnTo>
                    <a:lnTo>
                      <a:pt x="190" y="158"/>
                    </a:lnTo>
                    <a:lnTo>
                      <a:pt x="192" y="158"/>
                    </a:lnTo>
                    <a:lnTo>
                      <a:pt x="190" y="158"/>
                    </a:lnTo>
                    <a:lnTo>
                      <a:pt x="190" y="160"/>
                    </a:lnTo>
                    <a:lnTo>
                      <a:pt x="190" y="158"/>
                    </a:lnTo>
                    <a:lnTo>
                      <a:pt x="190" y="160"/>
                    </a:lnTo>
                    <a:lnTo>
                      <a:pt x="190" y="158"/>
                    </a:lnTo>
                    <a:lnTo>
                      <a:pt x="188" y="158"/>
                    </a:lnTo>
                    <a:lnTo>
                      <a:pt x="190" y="158"/>
                    </a:lnTo>
                    <a:lnTo>
                      <a:pt x="188" y="158"/>
                    </a:lnTo>
                    <a:lnTo>
                      <a:pt x="190" y="158"/>
                    </a:lnTo>
                    <a:close/>
                    <a:moveTo>
                      <a:pt x="176" y="152"/>
                    </a:moveTo>
                    <a:lnTo>
                      <a:pt x="174" y="152"/>
                    </a:lnTo>
                    <a:lnTo>
                      <a:pt x="176" y="152"/>
                    </a:lnTo>
                    <a:lnTo>
                      <a:pt x="174" y="152"/>
                    </a:lnTo>
                    <a:lnTo>
                      <a:pt x="176" y="152"/>
                    </a:lnTo>
                    <a:close/>
                    <a:moveTo>
                      <a:pt x="192" y="158"/>
                    </a:moveTo>
                    <a:lnTo>
                      <a:pt x="192" y="160"/>
                    </a:lnTo>
                    <a:lnTo>
                      <a:pt x="190" y="160"/>
                    </a:lnTo>
                    <a:lnTo>
                      <a:pt x="190" y="158"/>
                    </a:lnTo>
                    <a:lnTo>
                      <a:pt x="192" y="158"/>
                    </a:lnTo>
                    <a:lnTo>
                      <a:pt x="192" y="156"/>
                    </a:lnTo>
                    <a:lnTo>
                      <a:pt x="192" y="158"/>
                    </a:lnTo>
                    <a:close/>
                    <a:moveTo>
                      <a:pt x="178" y="152"/>
                    </a:moveTo>
                    <a:lnTo>
                      <a:pt x="178" y="154"/>
                    </a:lnTo>
                    <a:lnTo>
                      <a:pt x="176" y="154"/>
                    </a:lnTo>
                    <a:lnTo>
                      <a:pt x="178" y="154"/>
                    </a:lnTo>
                    <a:lnTo>
                      <a:pt x="176" y="154"/>
                    </a:lnTo>
                    <a:lnTo>
                      <a:pt x="176" y="156"/>
                    </a:lnTo>
                    <a:lnTo>
                      <a:pt x="176" y="154"/>
                    </a:lnTo>
                    <a:lnTo>
                      <a:pt x="176" y="156"/>
                    </a:lnTo>
                    <a:lnTo>
                      <a:pt x="176" y="154"/>
                    </a:lnTo>
                    <a:lnTo>
                      <a:pt x="178" y="154"/>
                    </a:lnTo>
                    <a:lnTo>
                      <a:pt x="178" y="152"/>
                    </a:lnTo>
                    <a:lnTo>
                      <a:pt x="176" y="152"/>
                    </a:lnTo>
                    <a:lnTo>
                      <a:pt x="176" y="154"/>
                    </a:lnTo>
                    <a:lnTo>
                      <a:pt x="176" y="152"/>
                    </a:lnTo>
                    <a:lnTo>
                      <a:pt x="178" y="152"/>
                    </a:lnTo>
                    <a:lnTo>
                      <a:pt x="176" y="152"/>
                    </a:lnTo>
                    <a:lnTo>
                      <a:pt x="178" y="152"/>
                    </a:lnTo>
                    <a:lnTo>
                      <a:pt x="176" y="152"/>
                    </a:lnTo>
                    <a:lnTo>
                      <a:pt x="176" y="154"/>
                    </a:lnTo>
                    <a:lnTo>
                      <a:pt x="176" y="152"/>
                    </a:lnTo>
                    <a:lnTo>
                      <a:pt x="178" y="152"/>
                    </a:lnTo>
                    <a:close/>
                    <a:moveTo>
                      <a:pt x="199" y="160"/>
                    </a:moveTo>
                    <a:lnTo>
                      <a:pt x="199" y="158"/>
                    </a:lnTo>
                    <a:lnTo>
                      <a:pt x="199" y="160"/>
                    </a:lnTo>
                    <a:close/>
                    <a:moveTo>
                      <a:pt x="199" y="160"/>
                    </a:moveTo>
                    <a:lnTo>
                      <a:pt x="199" y="158"/>
                    </a:lnTo>
                    <a:lnTo>
                      <a:pt x="199" y="160"/>
                    </a:lnTo>
                    <a:close/>
                    <a:moveTo>
                      <a:pt x="201" y="161"/>
                    </a:moveTo>
                    <a:lnTo>
                      <a:pt x="199" y="161"/>
                    </a:lnTo>
                    <a:lnTo>
                      <a:pt x="201" y="161"/>
                    </a:lnTo>
                    <a:lnTo>
                      <a:pt x="199" y="161"/>
                    </a:lnTo>
                    <a:lnTo>
                      <a:pt x="201" y="161"/>
                    </a:lnTo>
                    <a:lnTo>
                      <a:pt x="199" y="161"/>
                    </a:lnTo>
                    <a:lnTo>
                      <a:pt x="199" y="163"/>
                    </a:lnTo>
                    <a:lnTo>
                      <a:pt x="201" y="161"/>
                    </a:lnTo>
                    <a:lnTo>
                      <a:pt x="201" y="163"/>
                    </a:lnTo>
                    <a:lnTo>
                      <a:pt x="203" y="161"/>
                    </a:lnTo>
                    <a:lnTo>
                      <a:pt x="203" y="163"/>
                    </a:lnTo>
                    <a:lnTo>
                      <a:pt x="203" y="161"/>
                    </a:lnTo>
                    <a:lnTo>
                      <a:pt x="201" y="160"/>
                    </a:lnTo>
                    <a:lnTo>
                      <a:pt x="203" y="161"/>
                    </a:lnTo>
                    <a:lnTo>
                      <a:pt x="203" y="163"/>
                    </a:lnTo>
                    <a:lnTo>
                      <a:pt x="201" y="163"/>
                    </a:lnTo>
                    <a:lnTo>
                      <a:pt x="199" y="163"/>
                    </a:lnTo>
                    <a:lnTo>
                      <a:pt x="198" y="163"/>
                    </a:lnTo>
                    <a:lnTo>
                      <a:pt x="198" y="165"/>
                    </a:lnTo>
                    <a:lnTo>
                      <a:pt x="196" y="165"/>
                    </a:lnTo>
                    <a:lnTo>
                      <a:pt x="194" y="165"/>
                    </a:lnTo>
                    <a:lnTo>
                      <a:pt x="192" y="165"/>
                    </a:lnTo>
                    <a:lnTo>
                      <a:pt x="190" y="165"/>
                    </a:lnTo>
                    <a:lnTo>
                      <a:pt x="190" y="163"/>
                    </a:lnTo>
                    <a:lnTo>
                      <a:pt x="192" y="163"/>
                    </a:lnTo>
                    <a:lnTo>
                      <a:pt x="190" y="163"/>
                    </a:lnTo>
                    <a:lnTo>
                      <a:pt x="190" y="161"/>
                    </a:lnTo>
                    <a:lnTo>
                      <a:pt x="192" y="161"/>
                    </a:lnTo>
                    <a:lnTo>
                      <a:pt x="192" y="163"/>
                    </a:lnTo>
                    <a:lnTo>
                      <a:pt x="192" y="161"/>
                    </a:lnTo>
                    <a:lnTo>
                      <a:pt x="194" y="161"/>
                    </a:lnTo>
                    <a:lnTo>
                      <a:pt x="196" y="161"/>
                    </a:lnTo>
                    <a:lnTo>
                      <a:pt x="196" y="160"/>
                    </a:lnTo>
                    <a:lnTo>
                      <a:pt x="196" y="158"/>
                    </a:lnTo>
                    <a:lnTo>
                      <a:pt x="196" y="160"/>
                    </a:lnTo>
                    <a:lnTo>
                      <a:pt x="198" y="158"/>
                    </a:lnTo>
                    <a:lnTo>
                      <a:pt x="198" y="160"/>
                    </a:lnTo>
                    <a:lnTo>
                      <a:pt x="198" y="158"/>
                    </a:lnTo>
                    <a:lnTo>
                      <a:pt x="198" y="160"/>
                    </a:lnTo>
                    <a:lnTo>
                      <a:pt x="196" y="160"/>
                    </a:lnTo>
                    <a:lnTo>
                      <a:pt x="198" y="160"/>
                    </a:lnTo>
                    <a:lnTo>
                      <a:pt x="198" y="161"/>
                    </a:lnTo>
                    <a:lnTo>
                      <a:pt x="198" y="160"/>
                    </a:lnTo>
                    <a:lnTo>
                      <a:pt x="196" y="161"/>
                    </a:lnTo>
                    <a:lnTo>
                      <a:pt x="198" y="161"/>
                    </a:lnTo>
                    <a:lnTo>
                      <a:pt x="196" y="161"/>
                    </a:lnTo>
                    <a:lnTo>
                      <a:pt x="198" y="161"/>
                    </a:lnTo>
                    <a:lnTo>
                      <a:pt x="196" y="161"/>
                    </a:lnTo>
                    <a:lnTo>
                      <a:pt x="198" y="161"/>
                    </a:lnTo>
                    <a:lnTo>
                      <a:pt x="198" y="160"/>
                    </a:lnTo>
                    <a:lnTo>
                      <a:pt x="199" y="160"/>
                    </a:lnTo>
                    <a:lnTo>
                      <a:pt x="199" y="161"/>
                    </a:lnTo>
                    <a:lnTo>
                      <a:pt x="199" y="160"/>
                    </a:lnTo>
                    <a:lnTo>
                      <a:pt x="199" y="161"/>
                    </a:lnTo>
                    <a:lnTo>
                      <a:pt x="199" y="160"/>
                    </a:lnTo>
                    <a:lnTo>
                      <a:pt x="199" y="161"/>
                    </a:lnTo>
                    <a:lnTo>
                      <a:pt x="199" y="160"/>
                    </a:lnTo>
                    <a:lnTo>
                      <a:pt x="199" y="161"/>
                    </a:lnTo>
                    <a:lnTo>
                      <a:pt x="199" y="160"/>
                    </a:lnTo>
                    <a:lnTo>
                      <a:pt x="198" y="160"/>
                    </a:lnTo>
                    <a:lnTo>
                      <a:pt x="198" y="161"/>
                    </a:lnTo>
                    <a:lnTo>
                      <a:pt x="199" y="161"/>
                    </a:lnTo>
                    <a:lnTo>
                      <a:pt x="198" y="161"/>
                    </a:lnTo>
                    <a:lnTo>
                      <a:pt x="199" y="161"/>
                    </a:lnTo>
                    <a:lnTo>
                      <a:pt x="198" y="161"/>
                    </a:lnTo>
                    <a:lnTo>
                      <a:pt x="199" y="161"/>
                    </a:lnTo>
                    <a:lnTo>
                      <a:pt x="201" y="160"/>
                    </a:lnTo>
                    <a:lnTo>
                      <a:pt x="199" y="160"/>
                    </a:lnTo>
                    <a:lnTo>
                      <a:pt x="199" y="158"/>
                    </a:lnTo>
                    <a:lnTo>
                      <a:pt x="201" y="160"/>
                    </a:lnTo>
                    <a:lnTo>
                      <a:pt x="201" y="158"/>
                    </a:lnTo>
                    <a:lnTo>
                      <a:pt x="201" y="160"/>
                    </a:lnTo>
                    <a:lnTo>
                      <a:pt x="201" y="161"/>
                    </a:lnTo>
                    <a:close/>
                    <a:moveTo>
                      <a:pt x="178" y="152"/>
                    </a:moveTo>
                    <a:lnTo>
                      <a:pt x="178" y="150"/>
                    </a:lnTo>
                    <a:lnTo>
                      <a:pt x="178" y="152"/>
                    </a:lnTo>
                    <a:lnTo>
                      <a:pt x="178" y="150"/>
                    </a:lnTo>
                    <a:lnTo>
                      <a:pt x="178" y="152"/>
                    </a:lnTo>
                    <a:lnTo>
                      <a:pt x="178" y="150"/>
                    </a:lnTo>
                    <a:lnTo>
                      <a:pt x="178" y="152"/>
                    </a:lnTo>
                    <a:close/>
                    <a:moveTo>
                      <a:pt x="196" y="156"/>
                    </a:moveTo>
                    <a:lnTo>
                      <a:pt x="196" y="158"/>
                    </a:lnTo>
                    <a:lnTo>
                      <a:pt x="196" y="156"/>
                    </a:lnTo>
                    <a:lnTo>
                      <a:pt x="196" y="158"/>
                    </a:lnTo>
                    <a:lnTo>
                      <a:pt x="196" y="156"/>
                    </a:lnTo>
                    <a:lnTo>
                      <a:pt x="196" y="158"/>
                    </a:lnTo>
                    <a:lnTo>
                      <a:pt x="198" y="158"/>
                    </a:lnTo>
                    <a:lnTo>
                      <a:pt x="198" y="156"/>
                    </a:lnTo>
                    <a:lnTo>
                      <a:pt x="198" y="158"/>
                    </a:lnTo>
                    <a:lnTo>
                      <a:pt x="196" y="158"/>
                    </a:lnTo>
                    <a:lnTo>
                      <a:pt x="198" y="158"/>
                    </a:lnTo>
                    <a:lnTo>
                      <a:pt x="198" y="160"/>
                    </a:lnTo>
                    <a:lnTo>
                      <a:pt x="198" y="158"/>
                    </a:lnTo>
                    <a:lnTo>
                      <a:pt x="196" y="158"/>
                    </a:lnTo>
                    <a:lnTo>
                      <a:pt x="196" y="160"/>
                    </a:lnTo>
                    <a:lnTo>
                      <a:pt x="196" y="158"/>
                    </a:lnTo>
                    <a:lnTo>
                      <a:pt x="194" y="158"/>
                    </a:lnTo>
                    <a:lnTo>
                      <a:pt x="196" y="158"/>
                    </a:lnTo>
                    <a:lnTo>
                      <a:pt x="194" y="158"/>
                    </a:lnTo>
                    <a:lnTo>
                      <a:pt x="194" y="156"/>
                    </a:lnTo>
                    <a:lnTo>
                      <a:pt x="196" y="156"/>
                    </a:lnTo>
                    <a:lnTo>
                      <a:pt x="194" y="156"/>
                    </a:lnTo>
                    <a:lnTo>
                      <a:pt x="196" y="156"/>
                    </a:lnTo>
                    <a:close/>
                    <a:moveTo>
                      <a:pt x="174" y="150"/>
                    </a:moveTo>
                    <a:lnTo>
                      <a:pt x="176" y="150"/>
                    </a:lnTo>
                    <a:lnTo>
                      <a:pt x="174" y="150"/>
                    </a:lnTo>
                    <a:close/>
                    <a:moveTo>
                      <a:pt x="176" y="150"/>
                    </a:moveTo>
                    <a:lnTo>
                      <a:pt x="176" y="148"/>
                    </a:lnTo>
                    <a:lnTo>
                      <a:pt x="176" y="150"/>
                    </a:lnTo>
                    <a:lnTo>
                      <a:pt x="176" y="148"/>
                    </a:lnTo>
                    <a:lnTo>
                      <a:pt x="176" y="150"/>
                    </a:lnTo>
                    <a:close/>
                    <a:moveTo>
                      <a:pt x="176" y="148"/>
                    </a:moveTo>
                    <a:lnTo>
                      <a:pt x="176" y="150"/>
                    </a:lnTo>
                    <a:lnTo>
                      <a:pt x="178" y="150"/>
                    </a:lnTo>
                    <a:lnTo>
                      <a:pt x="178" y="152"/>
                    </a:lnTo>
                    <a:lnTo>
                      <a:pt x="176" y="152"/>
                    </a:lnTo>
                    <a:lnTo>
                      <a:pt x="176" y="150"/>
                    </a:lnTo>
                    <a:lnTo>
                      <a:pt x="176" y="152"/>
                    </a:lnTo>
                    <a:lnTo>
                      <a:pt x="176" y="150"/>
                    </a:lnTo>
                    <a:lnTo>
                      <a:pt x="176" y="148"/>
                    </a:lnTo>
                    <a:close/>
                    <a:moveTo>
                      <a:pt x="176" y="150"/>
                    </a:moveTo>
                    <a:lnTo>
                      <a:pt x="176" y="148"/>
                    </a:lnTo>
                    <a:lnTo>
                      <a:pt x="176" y="150"/>
                    </a:lnTo>
                    <a:close/>
                    <a:moveTo>
                      <a:pt x="199" y="156"/>
                    </a:moveTo>
                    <a:lnTo>
                      <a:pt x="199" y="158"/>
                    </a:lnTo>
                    <a:lnTo>
                      <a:pt x="198" y="158"/>
                    </a:lnTo>
                    <a:lnTo>
                      <a:pt x="199" y="158"/>
                    </a:lnTo>
                    <a:lnTo>
                      <a:pt x="199" y="156"/>
                    </a:lnTo>
                    <a:close/>
                    <a:moveTo>
                      <a:pt x="184" y="150"/>
                    </a:moveTo>
                    <a:lnTo>
                      <a:pt x="182" y="150"/>
                    </a:lnTo>
                    <a:lnTo>
                      <a:pt x="184" y="150"/>
                    </a:lnTo>
                    <a:close/>
                    <a:moveTo>
                      <a:pt x="196" y="156"/>
                    </a:moveTo>
                    <a:lnTo>
                      <a:pt x="194" y="156"/>
                    </a:lnTo>
                    <a:lnTo>
                      <a:pt x="196" y="154"/>
                    </a:lnTo>
                    <a:lnTo>
                      <a:pt x="196" y="156"/>
                    </a:lnTo>
                    <a:close/>
                    <a:moveTo>
                      <a:pt x="199" y="156"/>
                    </a:moveTo>
                    <a:lnTo>
                      <a:pt x="198" y="156"/>
                    </a:lnTo>
                    <a:lnTo>
                      <a:pt x="198" y="158"/>
                    </a:lnTo>
                    <a:lnTo>
                      <a:pt x="198" y="156"/>
                    </a:lnTo>
                    <a:lnTo>
                      <a:pt x="199" y="156"/>
                    </a:lnTo>
                    <a:lnTo>
                      <a:pt x="198" y="156"/>
                    </a:lnTo>
                    <a:lnTo>
                      <a:pt x="199" y="156"/>
                    </a:lnTo>
                    <a:lnTo>
                      <a:pt x="198" y="156"/>
                    </a:lnTo>
                    <a:lnTo>
                      <a:pt x="199" y="156"/>
                    </a:lnTo>
                    <a:close/>
                    <a:moveTo>
                      <a:pt x="199" y="156"/>
                    </a:moveTo>
                    <a:lnTo>
                      <a:pt x="199" y="154"/>
                    </a:lnTo>
                    <a:lnTo>
                      <a:pt x="201" y="154"/>
                    </a:lnTo>
                    <a:lnTo>
                      <a:pt x="199" y="154"/>
                    </a:lnTo>
                    <a:lnTo>
                      <a:pt x="199" y="156"/>
                    </a:lnTo>
                    <a:lnTo>
                      <a:pt x="201" y="156"/>
                    </a:lnTo>
                    <a:lnTo>
                      <a:pt x="199" y="156"/>
                    </a:lnTo>
                    <a:close/>
                    <a:moveTo>
                      <a:pt x="201" y="154"/>
                    </a:moveTo>
                    <a:lnTo>
                      <a:pt x="199" y="154"/>
                    </a:lnTo>
                    <a:lnTo>
                      <a:pt x="201" y="154"/>
                    </a:lnTo>
                    <a:close/>
                    <a:moveTo>
                      <a:pt x="180" y="146"/>
                    </a:moveTo>
                    <a:lnTo>
                      <a:pt x="180" y="148"/>
                    </a:lnTo>
                    <a:lnTo>
                      <a:pt x="178" y="148"/>
                    </a:lnTo>
                    <a:lnTo>
                      <a:pt x="178" y="146"/>
                    </a:lnTo>
                    <a:lnTo>
                      <a:pt x="178" y="148"/>
                    </a:lnTo>
                    <a:lnTo>
                      <a:pt x="178" y="146"/>
                    </a:lnTo>
                    <a:lnTo>
                      <a:pt x="180" y="146"/>
                    </a:lnTo>
                    <a:lnTo>
                      <a:pt x="180" y="148"/>
                    </a:lnTo>
                    <a:lnTo>
                      <a:pt x="180" y="146"/>
                    </a:lnTo>
                    <a:lnTo>
                      <a:pt x="178" y="146"/>
                    </a:lnTo>
                    <a:lnTo>
                      <a:pt x="180" y="146"/>
                    </a:lnTo>
                    <a:close/>
                    <a:moveTo>
                      <a:pt x="199" y="154"/>
                    </a:moveTo>
                    <a:lnTo>
                      <a:pt x="198" y="152"/>
                    </a:lnTo>
                    <a:lnTo>
                      <a:pt x="198" y="154"/>
                    </a:lnTo>
                    <a:lnTo>
                      <a:pt x="199" y="154"/>
                    </a:lnTo>
                    <a:lnTo>
                      <a:pt x="198" y="154"/>
                    </a:lnTo>
                    <a:lnTo>
                      <a:pt x="199" y="154"/>
                    </a:lnTo>
                    <a:lnTo>
                      <a:pt x="198" y="154"/>
                    </a:lnTo>
                    <a:lnTo>
                      <a:pt x="198" y="152"/>
                    </a:lnTo>
                    <a:lnTo>
                      <a:pt x="199" y="152"/>
                    </a:lnTo>
                    <a:lnTo>
                      <a:pt x="199" y="154"/>
                    </a:lnTo>
                    <a:close/>
                    <a:moveTo>
                      <a:pt x="203" y="154"/>
                    </a:moveTo>
                    <a:lnTo>
                      <a:pt x="201" y="154"/>
                    </a:lnTo>
                    <a:lnTo>
                      <a:pt x="203" y="154"/>
                    </a:lnTo>
                    <a:close/>
                    <a:moveTo>
                      <a:pt x="182" y="148"/>
                    </a:moveTo>
                    <a:lnTo>
                      <a:pt x="182" y="146"/>
                    </a:lnTo>
                    <a:lnTo>
                      <a:pt x="182" y="148"/>
                    </a:lnTo>
                    <a:close/>
                    <a:moveTo>
                      <a:pt x="188" y="150"/>
                    </a:moveTo>
                    <a:lnTo>
                      <a:pt x="188" y="152"/>
                    </a:lnTo>
                    <a:lnTo>
                      <a:pt x="186" y="152"/>
                    </a:lnTo>
                    <a:lnTo>
                      <a:pt x="186" y="154"/>
                    </a:lnTo>
                    <a:lnTo>
                      <a:pt x="186" y="156"/>
                    </a:lnTo>
                    <a:lnTo>
                      <a:pt x="186" y="158"/>
                    </a:lnTo>
                    <a:lnTo>
                      <a:pt x="186" y="156"/>
                    </a:lnTo>
                    <a:lnTo>
                      <a:pt x="186" y="158"/>
                    </a:lnTo>
                    <a:lnTo>
                      <a:pt x="186" y="156"/>
                    </a:lnTo>
                    <a:lnTo>
                      <a:pt x="186" y="158"/>
                    </a:lnTo>
                    <a:lnTo>
                      <a:pt x="186" y="156"/>
                    </a:lnTo>
                    <a:lnTo>
                      <a:pt x="186" y="158"/>
                    </a:lnTo>
                    <a:lnTo>
                      <a:pt x="186" y="160"/>
                    </a:lnTo>
                    <a:lnTo>
                      <a:pt x="184" y="160"/>
                    </a:lnTo>
                    <a:lnTo>
                      <a:pt x="184" y="158"/>
                    </a:lnTo>
                    <a:lnTo>
                      <a:pt x="184" y="160"/>
                    </a:lnTo>
                    <a:lnTo>
                      <a:pt x="184" y="158"/>
                    </a:lnTo>
                    <a:lnTo>
                      <a:pt x="186" y="158"/>
                    </a:lnTo>
                    <a:lnTo>
                      <a:pt x="184" y="158"/>
                    </a:lnTo>
                    <a:lnTo>
                      <a:pt x="184" y="156"/>
                    </a:lnTo>
                    <a:lnTo>
                      <a:pt x="182" y="154"/>
                    </a:lnTo>
                    <a:lnTo>
                      <a:pt x="180" y="156"/>
                    </a:lnTo>
                    <a:lnTo>
                      <a:pt x="180" y="154"/>
                    </a:lnTo>
                    <a:lnTo>
                      <a:pt x="178" y="154"/>
                    </a:lnTo>
                    <a:lnTo>
                      <a:pt x="180" y="154"/>
                    </a:lnTo>
                    <a:lnTo>
                      <a:pt x="180" y="152"/>
                    </a:lnTo>
                    <a:lnTo>
                      <a:pt x="180" y="154"/>
                    </a:lnTo>
                    <a:lnTo>
                      <a:pt x="180" y="152"/>
                    </a:lnTo>
                    <a:lnTo>
                      <a:pt x="178" y="152"/>
                    </a:lnTo>
                    <a:lnTo>
                      <a:pt x="178" y="150"/>
                    </a:lnTo>
                    <a:lnTo>
                      <a:pt x="178" y="152"/>
                    </a:lnTo>
                    <a:lnTo>
                      <a:pt x="180" y="152"/>
                    </a:lnTo>
                    <a:lnTo>
                      <a:pt x="178" y="152"/>
                    </a:lnTo>
                    <a:lnTo>
                      <a:pt x="180" y="152"/>
                    </a:lnTo>
                    <a:lnTo>
                      <a:pt x="178" y="152"/>
                    </a:lnTo>
                    <a:lnTo>
                      <a:pt x="180" y="152"/>
                    </a:lnTo>
                    <a:lnTo>
                      <a:pt x="180" y="150"/>
                    </a:lnTo>
                    <a:lnTo>
                      <a:pt x="180" y="152"/>
                    </a:lnTo>
                    <a:lnTo>
                      <a:pt x="180" y="150"/>
                    </a:lnTo>
                    <a:lnTo>
                      <a:pt x="178" y="150"/>
                    </a:lnTo>
                    <a:lnTo>
                      <a:pt x="178" y="148"/>
                    </a:lnTo>
                    <a:lnTo>
                      <a:pt x="178" y="150"/>
                    </a:lnTo>
                    <a:lnTo>
                      <a:pt x="180" y="150"/>
                    </a:lnTo>
                    <a:lnTo>
                      <a:pt x="180" y="148"/>
                    </a:lnTo>
                    <a:lnTo>
                      <a:pt x="180" y="150"/>
                    </a:lnTo>
                    <a:lnTo>
                      <a:pt x="182" y="148"/>
                    </a:lnTo>
                    <a:lnTo>
                      <a:pt x="180" y="148"/>
                    </a:lnTo>
                    <a:lnTo>
                      <a:pt x="182" y="148"/>
                    </a:lnTo>
                    <a:lnTo>
                      <a:pt x="182" y="150"/>
                    </a:lnTo>
                    <a:lnTo>
                      <a:pt x="182" y="148"/>
                    </a:lnTo>
                    <a:lnTo>
                      <a:pt x="180" y="150"/>
                    </a:lnTo>
                    <a:lnTo>
                      <a:pt x="182" y="150"/>
                    </a:lnTo>
                    <a:lnTo>
                      <a:pt x="180" y="150"/>
                    </a:lnTo>
                    <a:lnTo>
                      <a:pt x="182" y="150"/>
                    </a:lnTo>
                    <a:lnTo>
                      <a:pt x="180" y="150"/>
                    </a:lnTo>
                    <a:lnTo>
                      <a:pt x="182" y="150"/>
                    </a:lnTo>
                    <a:lnTo>
                      <a:pt x="182" y="152"/>
                    </a:lnTo>
                    <a:lnTo>
                      <a:pt x="184" y="152"/>
                    </a:lnTo>
                    <a:lnTo>
                      <a:pt x="184" y="150"/>
                    </a:lnTo>
                    <a:lnTo>
                      <a:pt x="184" y="152"/>
                    </a:lnTo>
                    <a:lnTo>
                      <a:pt x="184" y="150"/>
                    </a:lnTo>
                    <a:lnTo>
                      <a:pt x="184" y="148"/>
                    </a:lnTo>
                    <a:lnTo>
                      <a:pt x="182" y="148"/>
                    </a:lnTo>
                    <a:lnTo>
                      <a:pt x="184" y="148"/>
                    </a:lnTo>
                    <a:lnTo>
                      <a:pt x="182" y="148"/>
                    </a:lnTo>
                    <a:lnTo>
                      <a:pt x="184" y="148"/>
                    </a:lnTo>
                    <a:lnTo>
                      <a:pt x="184" y="150"/>
                    </a:lnTo>
                    <a:lnTo>
                      <a:pt x="186" y="148"/>
                    </a:lnTo>
                    <a:lnTo>
                      <a:pt x="186" y="150"/>
                    </a:lnTo>
                    <a:lnTo>
                      <a:pt x="186" y="148"/>
                    </a:lnTo>
                    <a:lnTo>
                      <a:pt x="186" y="150"/>
                    </a:lnTo>
                    <a:lnTo>
                      <a:pt x="184" y="150"/>
                    </a:lnTo>
                    <a:lnTo>
                      <a:pt x="186" y="150"/>
                    </a:lnTo>
                    <a:lnTo>
                      <a:pt x="186" y="148"/>
                    </a:lnTo>
                    <a:lnTo>
                      <a:pt x="186" y="150"/>
                    </a:lnTo>
                    <a:lnTo>
                      <a:pt x="186" y="148"/>
                    </a:lnTo>
                    <a:lnTo>
                      <a:pt x="186" y="150"/>
                    </a:lnTo>
                    <a:lnTo>
                      <a:pt x="186" y="148"/>
                    </a:lnTo>
                    <a:lnTo>
                      <a:pt x="184" y="150"/>
                    </a:lnTo>
                    <a:lnTo>
                      <a:pt x="184" y="148"/>
                    </a:lnTo>
                    <a:lnTo>
                      <a:pt x="186" y="148"/>
                    </a:lnTo>
                    <a:lnTo>
                      <a:pt x="186" y="150"/>
                    </a:lnTo>
                    <a:lnTo>
                      <a:pt x="188" y="150"/>
                    </a:lnTo>
                    <a:close/>
                    <a:moveTo>
                      <a:pt x="201" y="154"/>
                    </a:moveTo>
                    <a:lnTo>
                      <a:pt x="201" y="152"/>
                    </a:lnTo>
                    <a:lnTo>
                      <a:pt x="201" y="154"/>
                    </a:lnTo>
                    <a:close/>
                    <a:moveTo>
                      <a:pt x="196" y="152"/>
                    </a:moveTo>
                    <a:lnTo>
                      <a:pt x="196" y="150"/>
                    </a:lnTo>
                    <a:lnTo>
                      <a:pt x="196" y="152"/>
                    </a:lnTo>
                    <a:lnTo>
                      <a:pt x="196" y="150"/>
                    </a:lnTo>
                    <a:lnTo>
                      <a:pt x="196" y="152"/>
                    </a:lnTo>
                    <a:lnTo>
                      <a:pt x="196" y="150"/>
                    </a:lnTo>
                    <a:lnTo>
                      <a:pt x="196" y="152"/>
                    </a:lnTo>
                    <a:close/>
                    <a:moveTo>
                      <a:pt x="199" y="152"/>
                    </a:moveTo>
                    <a:lnTo>
                      <a:pt x="198" y="152"/>
                    </a:lnTo>
                    <a:lnTo>
                      <a:pt x="199" y="152"/>
                    </a:lnTo>
                    <a:lnTo>
                      <a:pt x="198" y="152"/>
                    </a:lnTo>
                    <a:lnTo>
                      <a:pt x="199" y="152"/>
                    </a:lnTo>
                    <a:close/>
                    <a:moveTo>
                      <a:pt x="188" y="158"/>
                    </a:moveTo>
                    <a:lnTo>
                      <a:pt x="186" y="160"/>
                    </a:lnTo>
                    <a:lnTo>
                      <a:pt x="188" y="160"/>
                    </a:lnTo>
                    <a:lnTo>
                      <a:pt x="186" y="160"/>
                    </a:lnTo>
                    <a:lnTo>
                      <a:pt x="188" y="160"/>
                    </a:lnTo>
                    <a:lnTo>
                      <a:pt x="188" y="158"/>
                    </a:lnTo>
                    <a:lnTo>
                      <a:pt x="188" y="160"/>
                    </a:lnTo>
                    <a:lnTo>
                      <a:pt x="188" y="158"/>
                    </a:lnTo>
                    <a:lnTo>
                      <a:pt x="188" y="160"/>
                    </a:lnTo>
                    <a:lnTo>
                      <a:pt x="188" y="158"/>
                    </a:lnTo>
                    <a:lnTo>
                      <a:pt x="190" y="160"/>
                    </a:lnTo>
                    <a:lnTo>
                      <a:pt x="188" y="160"/>
                    </a:lnTo>
                    <a:lnTo>
                      <a:pt x="190" y="160"/>
                    </a:lnTo>
                    <a:lnTo>
                      <a:pt x="188" y="160"/>
                    </a:lnTo>
                    <a:lnTo>
                      <a:pt x="188" y="161"/>
                    </a:lnTo>
                    <a:lnTo>
                      <a:pt x="186" y="161"/>
                    </a:lnTo>
                    <a:lnTo>
                      <a:pt x="188" y="161"/>
                    </a:lnTo>
                    <a:lnTo>
                      <a:pt x="188" y="160"/>
                    </a:lnTo>
                    <a:lnTo>
                      <a:pt x="188" y="161"/>
                    </a:lnTo>
                    <a:lnTo>
                      <a:pt x="188" y="160"/>
                    </a:lnTo>
                    <a:lnTo>
                      <a:pt x="188" y="161"/>
                    </a:lnTo>
                    <a:lnTo>
                      <a:pt x="188" y="163"/>
                    </a:lnTo>
                    <a:lnTo>
                      <a:pt x="188" y="165"/>
                    </a:lnTo>
                    <a:lnTo>
                      <a:pt x="186" y="163"/>
                    </a:lnTo>
                    <a:lnTo>
                      <a:pt x="188" y="163"/>
                    </a:lnTo>
                    <a:lnTo>
                      <a:pt x="186" y="163"/>
                    </a:lnTo>
                    <a:lnTo>
                      <a:pt x="186" y="161"/>
                    </a:lnTo>
                    <a:lnTo>
                      <a:pt x="186" y="160"/>
                    </a:lnTo>
                    <a:lnTo>
                      <a:pt x="186" y="161"/>
                    </a:lnTo>
                    <a:lnTo>
                      <a:pt x="186" y="160"/>
                    </a:lnTo>
                    <a:lnTo>
                      <a:pt x="186" y="161"/>
                    </a:lnTo>
                    <a:lnTo>
                      <a:pt x="186" y="160"/>
                    </a:lnTo>
                    <a:lnTo>
                      <a:pt x="186" y="158"/>
                    </a:lnTo>
                    <a:lnTo>
                      <a:pt x="188" y="158"/>
                    </a:lnTo>
                    <a:lnTo>
                      <a:pt x="186" y="158"/>
                    </a:lnTo>
                    <a:lnTo>
                      <a:pt x="186" y="156"/>
                    </a:lnTo>
                    <a:lnTo>
                      <a:pt x="186" y="154"/>
                    </a:lnTo>
                    <a:lnTo>
                      <a:pt x="186" y="156"/>
                    </a:lnTo>
                    <a:lnTo>
                      <a:pt x="186" y="154"/>
                    </a:lnTo>
                    <a:lnTo>
                      <a:pt x="188" y="152"/>
                    </a:lnTo>
                    <a:lnTo>
                      <a:pt x="186" y="152"/>
                    </a:lnTo>
                    <a:lnTo>
                      <a:pt x="186" y="154"/>
                    </a:lnTo>
                    <a:lnTo>
                      <a:pt x="186" y="152"/>
                    </a:lnTo>
                    <a:lnTo>
                      <a:pt x="188" y="152"/>
                    </a:lnTo>
                    <a:lnTo>
                      <a:pt x="188" y="150"/>
                    </a:lnTo>
                    <a:lnTo>
                      <a:pt x="190" y="150"/>
                    </a:lnTo>
                    <a:lnTo>
                      <a:pt x="188" y="150"/>
                    </a:lnTo>
                    <a:lnTo>
                      <a:pt x="190" y="150"/>
                    </a:lnTo>
                    <a:lnTo>
                      <a:pt x="188" y="150"/>
                    </a:lnTo>
                    <a:lnTo>
                      <a:pt x="190" y="150"/>
                    </a:lnTo>
                    <a:lnTo>
                      <a:pt x="190" y="152"/>
                    </a:lnTo>
                    <a:lnTo>
                      <a:pt x="190" y="150"/>
                    </a:lnTo>
                    <a:lnTo>
                      <a:pt x="190" y="152"/>
                    </a:lnTo>
                    <a:lnTo>
                      <a:pt x="190" y="150"/>
                    </a:lnTo>
                    <a:lnTo>
                      <a:pt x="192" y="150"/>
                    </a:lnTo>
                    <a:lnTo>
                      <a:pt x="190" y="150"/>
                    </a:lnTo>
                    <a:lnTo>
                      <a:pt x="190" y="152"/>
                    </a:lnTo>
                    <a:lnTo>
                      <a:pt x="192" y="152"/>
                    </a:lnTo>
                    <a:lnTo>
                      <a:pt x="192" y="150"/>
                    </a:lnTo>
                    <a:lnTo>
                      <a:pt x="192" y="152"/>
                    </a:lnTo>
                    <a:lnTo>
                      <a:pt x="192" y="150"/>
                    </a:lnTo>
                    <a:lnTo>
                      <a:pt x="194" y="150"/>
                    </a:lnTo>
                    <a:lnTo>
                      <a:pt x="192" y="150"/>
                    </a:lnTo>
                    <a:lnTo>
                      <a:pt x="192" y="152"/>
                    </a:lnTo>
                    <a:lnTo>
                      <a:pt x="192" y="150"/>
                    </a:lnTo>
                    <a:lnTo>
                      <a:pt x="192" y="152"/>
                    </a:lnTo>
                    <a:lnTo>
                      <a:pt x="194" y="152"/>
                    </a:lnTo>
                    <a:lnTo>
                      <a:pt x="194" y="150"/>
                    </a:lnTo>
                    <a:lnTo>
                      <a:pt x="194" y="152"/>
                    </a:lnTo>
                    <a:lnTo>
                      <a:pt x="194" y="150"/>
                    </a:lnTo>
                    <a:lnTo>
                      <a:pt x="194" y="152"/>
                    </a:lnTo>
                    <a:lnTo>
                      <a:pt x="192" y="152"/>
                    </a:lnTo>
                    <a:lnTo>
                      <a:pt x="194" y="152"/>
                    </a:lnTo>
                    <a:lnTo>
                      <a:pt x="192" y="152"/>
                    </a:lnTo>
                    <a:lnTo>
                      <a:pt x="194" y="152"/>
                    </a:lnTo>
                    <a:lnTo>
                      <a:pt x="196" y="152"/>
                    </a:lnTo>
                    <a:lnTo>
                      <a:pt x="194" y="152"/>
                    </a:lnTo>
                    <a:lnTo>
                      <a:pt x="196" y="152"/>
                    </a:lnTo>
                    <a:lnTo>
                      <a:pt x="196" y="150"/>
                    </a:lnTo>
                    <a:lnTo>
                      <a:pt x="196" y="152"/>
                    </a:lnTo>
                    <a:lnTo>
                      <a:pt x="194" y="154"/>
                    </a:lnTo>
                    <a:lnTo>
                      <a:pt x="192" y="152"/>
                    </a:lnTo>
                    <a:lnTo>
                      <a:pt x="192" y="154"/>
                    </a:lnTo>
                    <a:lnTo>
                      <a:pt x="192" y="152"/>
                    </a:lnTo>
                    <a:lnTo>
                      <a:pt x="192" y="154"/>
                    </a:lnTo>
                    <a:lnTo>
                      <a:pt x="192" y="156"/>
                    </a:lnTo>
                    <a:lnTo>
                      <a:pt x="190" y="156"/>
                    </a:lnTo>
                    <a:lnTo>
                      <a:pt x="188" y="158"/>
                    </a:lnTo>
                    <a:close/>
                    <a:moveTo>
                      <a:pt x="198" y="150"/>
                    </a:moveTo>
                    <a:lnTo>
                      <a:pt x="198" y="152"/>
                    </a:lnTo>
                    <a:lnTo>
                      <a:pt x="196" y="152"/>
                    </a:lnTo>
                    <a:lnTo>
                      <a:pt x="198" y="152"/>
                    </a:lnTo>
                    <a:lnTo>
                      <a:pt x="196" y="152"/>
                    </a:lnTo>
                    <a:lnTo>
                      <a:pt x="196" y="154"/>
                    </a:lnTo>
                    <a:lnTo>
                      <a:pt x="196" y="152"/>
                    </a:lnTo>
                    <a:lnTo>
                      <a:pt x="196" y="154"/>
                    </a:lnTo>
                    <a:lnTo>
                      <a:pt x="196" y="152"/>
                    </a:lnTo>
                    <a:lnTo>
                      <a:pt x="198" y="152"/>
                    </a:lnTo>
                    <a:lnTo>
                      <a:pt x="196" y="154"/>
                    </a:lnTo>
                    <a:lnTo>
                      <a:pt x="196" y="152"/>
                    </a:lnTo>
                    <a:lnTo>
                      <a:pt x="196" y="150"/>
                    </a:lnTo>
                    <a:lnTo>
                      <a:pt x="196" y="152"/>
                    </a:lnTo>
                    <a:lnTo>
                      <a:pt x="198" y="152"/>
                    </a:lnTo>
                    <a:lnTo>
                      <a:pt x="198" y="150"/>
                    </a:lnTo>
                    <a:close/>
                    <a:moveTo>
                      <a:pt x="201" y="158"/>
                    </a:moveTo>
                    <a:lnTo>
                      <a:pt x="199" y="158"/>
                    </a:lnTo>
                    <a:lnTo>
                      <a:pt x="199" y="156"/>
                    </a:lnTo>
                    <a:lnTo>
                      <a:pt x="199" y="158"/>
                    </a:lnTo>
                    <a:lnTo>
                      <a:pt x="201" y="156"/>
                    </a:lnTo>
                    <a:lnTo>
                      <a:pt x="201" y="158"/>
                    </a:lnTo>
                    <a:lnTo>
                      <a:pt x="201" y="156"/>
                    </a:lnTo>
                    <a:lnTo>
                      <a:pt x="201" y="158"/>
                    </a:lnTo>
                    <a:lnTo>
                      <a:pt x="201" y="156"/>
                    </a:lnTo>
                    <a:lnTo>
                      <a:pt x="201" y="158"/>
                    </a:lnTo>
                    <a:lnTo>
                      <a:pt x="203" y="156"/>
                    </a:lnTo>
                    <a:lnTo>
                      <a:pt x="201" y="156"/>
                    </a:lnTo>
                    <a:lnTo>
                      <a:pt x="203" y="156"/>
                    </a:lnTo>
                    <a:lnTo>
                      <a:pt x="201" y="156"/>
                    </a:lnTo>
                    <a:lnTo>
                      <a:pt x="203" y="156"/>
                    </a:lnTo>
                    <a:lnTo>
                      <a:pt x="203" y="154"/>
                    </a:lnTo>
                    <a:lnTo>
                      <a:pt x="203" y="156"/>
                    </a:lnTo>
                    <a:lnTo>
                      <a:pt x="203" y="154"/>
                    </a:lnTo>
                    <a:lnTo>
                      <a:pt x="201" y="154"/>
                    </a:lnTo>
                    <a:lnTo>
                      <a:pt x="203" y="154"/>
                    </a:lnTo>
                    <a:lnTo>
                      <a:pt x="201" y="154"/>
                    </a:lnTo>
                    <a:lnTo>
                      <a:pt x="203" y="154"/>
                    </a:lnTo>
                    <a:lnTo>
                      <a:pt x="201" y="154"/>
                    </a:lnTo>
                    <a:lnTo>
                      <a:pt x="203" y="154"/>
                    </a:lnTo>
                    <a:lnTo>
                      <a:pt x="203" y="152"/>
                    </a:lnTo>
                    <a:lnTo>
                      <a:pt x="203" y="154"/>
                    </a:lnTo>
                    <a:lnTo>
                      <a:pt x="203" y="156"/>
                    </a:lnTo>
                    <a:lnTo>
                      <a:pt x="203" y="154"/>
                    </a:lnTo>
                    <a:lnTo>
                      <a:pt x="205" y="154"/>
                    </a:lnTo>
                    <a:lnTo>
                      <a:pt x="203" y="154"/>
                    </a:lnTo>
                    <a:lnTo>
                      <a:pt x="205" y="154"/>
                    </a:lnTo>
                    <a:lnTo>
                      <a:pt x="203" y="154"/>
                    </a:lnTo>
                    <a:lnTo>
                      <a:pt x="203" y="152"/>
                    </a:lnTo>
                    <a:lnTo>
                      <a:pt x="203" y="154"/>
                    </a:lnTo>
                    <a:lnTo>
                      <a:pt x="203" y="152"/>
                    </a:lnTo>
                    <a:lnTo>
                      <a:pt x="203" y="154"/>
                    </a:lnTo>
                    <a:lnTo>
                      <a:pt x="205" y="154"/>
                    </a:lnTo>
                    <a:lnTo>
                      <a:pt x="203" y="152"/>
                    </a:lnTo>
                    <a:lnTo>
                      <a:pt x="205" y="154"/>
                    </a:lnTo>
                    <a:lnTo>
                      <a:pt x="205" y="152"/>
                    </a:lnTo>
                    <a:lnTo>
                      <a:pt x="203" y="152"/>
                    </a:lnTo>
                    <a:lnTo>
                      <a:pt x="205" y="152"/>
                    </a:lnTo>
                    <a:lnTo>
                      <a:pt x="205" y="154"/>
                    </a:lnTo>
                    <a:lnTo>
                      <a:pt x="203" y="154"/>
                    </a:lnTo>
                    <a:lnTo>
                      <a:pt x="203" y="156"/>
                    </a:lnTo>
                    <a:lnTo>
                      <a:pt x="201" y="158"/>
                    </a:lnTo>
                    <a:close/>
                    <a:moveTo>
                      <a:pt x="201" y="152"/>
                    </a:moveTo>
                    <a:lnTo>
                      <a:pt x="201" y="150"/>
                    </a:lnTo>
                    <a:lnTo>
                      <a:pt x="201" y="152"/>
                    </a:lnTo>
                    <a:close/>
                    <a:moveTo>
                      <a:pt x="201" y="150"/>
                    </a:moveTo>
                    <a:lnTo>
                      <a:pt x="201" y="152"/>
                    </a:lnTo>
                    <a:lnTo>
                      <a:pt x="201" y="150"/>
                    </a:lnTo>
                    <a:lnTo>
                      <a:pt x="201" y="152"/>
                    </a:lnTo>
                    <a:lnTo>
                      <a:pt x="201" y="150"/>
                    </a:lnTo>
                    <a:close/>
                    <a:moveTo>
                      <a:pt x="194" y="150"/>
                    </a:moveTo>
                    <a:lnTo>
                      <a:pt x="194" y="148"/>
                    </a:lnTo>
                    <a:lnTo>
                      <a:pt x="194" y="150"/>
                    </a:lnTo>
                    <a:lnTo>
                      <a:pt x="196" y="150"/>
                    </a:lnTo>
                    <a:lnTo>
                      <a:pt x="194" y="150"/>
                    </a:lnTo>
                    <a:lnTo>
                      <a:pt x="196" y="150"/>
                    </a:lnTo>
                    <a:lnTo>
                      <a:pt x="196" y="148"/>
                    </a:lnTo>
                    <a:lnTo>
                      <a:pt x="196" y="150"/>
                    </a:lnTo>
                    <a:lnTo>
                      <a:pt x="196" y="148"/>
                    </a:lnTo>
                    <a:lnTo>
                      <a:pt x="196" y="150"/>
                    </a:lnTo>
                    <a:lnTo>
                      <a:pt x="194" y="150"/>
                    </a:lnTo>
                    <a:lnTo>
                      <a:pt x="196" y="150"/>
                    </a:lnTo>
                    <a:lnTo>
                      <a:pt x="194" y="150"/>
                    </a:lnTo>
                    <a:close/>
                    <a:moveTo>
                      <a:pt x="198" y="150"/>
                    </a:moveTo>
                    <a:lnTo>
                      <a:pt x="198" y="148"/>
                    </a:lnTo>
                    <a:lnTo>
                      <a:pt x="198" y="150"/>
                    </a:lnTo>
                    <a:close/>
                    <a:moveTo>
                      <a:pt x="199" y="150"/>
                    </a:moveTo>
                    <a:lnTo>
                      <a:pt x="199" y="152"/>
                    </a:lnTo>
                    <a:lnTo>
                      <a:pt x="199" y="150"/>
                    </a:lnTo>
                    <a:close/>
                    <a:moveTo>
                      <a:pt x="196" y="150"/>
                    </a:moveTo>
                    <a:lnTo>
                      <a:pt x="198" y="150"/>
                    </a:lnTo>
                    <a:lnTo>
                      <a:pt x="196" y="150"/>
                    </a:lnTo>
                    <a:lnTo>
                      <a:pt x="198" y="150"/>
                    </a:lnTo>
                    <a:lnTo>
                      <a:pt x="196" y="150"/>
                    </a:lnTo>
                    <a:lnTo>
                      <a:pt x="198" y="150"/>
                    </a:lnTo>
                    <a:lnTo>
                      <a:pt x="196" y="150"/>
                    </a:lnTo>
                    <a:lnTo>
                      <a:pt x="196" y="148"/>
                    </a:lnTo>
                    <a:lnTo>
                      <a:pt x="198" y="150"/>
                    </a:lnTo>
                    <a:lnTo>
                      <a:pt x="196" y="150"/>
                    </a:lnTo>
                    <a:lnTo>
                      <a:pt x="196" y="148"/>
                    </a:lnTo>
                    <a:lnTo>
                      <a:pt x="196" y="150"/>
                    </a:lnTo>
                    <a:close/>
                    <a:moveTo>
                      <a:pt x="198" y="148"/>
                    </a:moveTo>
                    <a:lnTo>
                      <a:pt x="198" y="150"/>
                    </a:lnTo>
                    <a:lnTo>
                      <a:pt x="196" y="148"/>
                    </a:lnTo>
                    <a:lnTo>
                      <a:pt x="198" y="148"/>
                    </a:lnTo>
                    <a:close/>
                    <a:moveTo>
                      <a:pt x="201" y="150"/>
                    </a:moveTo>
                    <a:lnTo>
                      <a:pt x="203" y="150"/>
                    </a:lnTo>
                    <a:lnTo>
                      <a:pt x="203" y="152"/>
                    </a:lnTo>
                    <a:lnTo>
                      <a:pt x="203" y="150"/>
                    </a:lnTo>
                    <a:lnTo>
                      <a:pt x="201" y="150"/>
                    </a:lnTo>
                    <a:lnTo>
                      <a:pt x="203" y="150"/>
                    </a:lnTo>
                    <a:lnTo>
                      <a:pt x="201" y="150"/>
                    </a:lnTo>
                    <a:lnTo>
                      <a:pt x="203" y="150"/>
                    </a:lnTo>
                    <a:lnTo>
                      <a:pt x="201" y="150"/>
                    </a:lnTo>
                    <a:close/>
                    <a:moveTo>
                      <a:pt x="205" y="152"/>
                    </a:moveTo>
                    <a:lnTo>
                      <a:pt x="205" y="150"/>
                    </a:lnTo>
                    <a:lnTo>
                      <a:pt x="205" y="152"/>
                    </a:lnTo>
                    <a:close/>
                    <a:moveTo>
                      <a:pt x="180" y="142"/>
                    </a:moveTo>
                    <a:lnTo>
                      <a:pt x="180" y="144"/>
                    </a:lnTo>
                    <a:lnTo>
                      <a:pt x="180" y="142"/>
                    </a:lnTo>
                    <a:close/>
                    <a:moveTo>
                      <a:pt x="201" y="150"/>
                    </a:moveTo>
                    <a:lnTo>
                      <a:pt x="203" y="150"/>
                    </a:lnTo>
                    <a:lnTo>
                      <a:pt x="201" y="150"/>
                    </a:lnTo>
                    <a:close/>
                    <a:moveTo>
                      <a:pt x="205" y="150"/>
                    </a:moveTo>
                    <a:lnTo>
                      <a:pt x="207" y="150"/>
                    </a:lnTo>
                    <a:lnTo>
                      <a:pt x="205" y="150"/>
                    </a:lnTo>
                    <a:close/>
                    <a:moveTo>
                      <a:pt x="198" y="148"/>
                    </a:moveTo>
                    <a:lnTo>
                      <a:pt x="196" y="148"/>
                    </a:lnTo>
                    <a:lnTo>
                      <a:pt x="198" y="148"/>
                    </a:lnTo>
                    <a:close/>
                    <a:moveTo>
                      <a:pt x="199" y="148"/>
                    </a:moveTo>
                    <a:lnTo>
                      <a:pt x="199" y="150"/>
                    </a:lnTo>
                    <a:lnTo>
                      <a:pt x="199" y="148"/>
                    </a:lnTo>
                    <a:close/>
                    <a:moveTo>
                      <a:pt x="213" y="154"/>
                    </a:moveTo>
                    <a:lnTo>
                      <a:pt x="215" y="154"/>
                    </a:lnTo>
                    <a:lnTo>
                      <a:pt x="213" y="152"/>
                    </a:lnTo>
                    <a:lnTo>
                      <a:pt x="215" y="152"/>
                    </a:lnTo>
                    <a:lnTo>
                      <a:pt x="215" y="154"/>
                    </a:lnTo>
                    <a:lnTo>
                      <a:pt x="213" y="154"/>
                    </a:lnTo>
                    <a:close/>
                    <a:moveTo>
                      <a:pt x="198" y="148"/>
                    </a:moveTo>
                    <a:lnTo>
                      <a:pt x="198" y="146"/>
                    </a:lnTo>
                    <a:lnTo>
                      <a:pt x="198" y="148"/>
                    </a:lnTo>
                    <a:lnTo>
                      <a:pt x="198" y="146"/>
                    </a:lnTo>
                    <a:lnTo>
                      <a:pt x="198" y="148"/>
                    </a:lnTo>
                    <a:close/>
                    <a:moveTo>
                      <a:pt x="186" y="144"/>
                    </a:moveTo>
                    <a:lnTo>
                      <a:pt x="186" y="142"/>
                    </a:lnTo>
                    <a:lnTo>
                      <a:pt x="186" y="144"/>
                    </a:lnTo>
                    <a:lnTo>
                      <a:pt x="186" y="142"/>
                    </a:lnTo>
                    <a:lnTo>
                      <a:pt x="186" y="144"/>
                    </a:lnTo>
                    <a:close/>
                    <a:moveTo>
                      <a:pt x="211" y="150"/>
                    </a:moveTo>
                    <a:lnTo>
                      <a:pt x="213" y="150"/>
                    </a:lnTo>
                    <a:lnTo>
                      <a:pt x="211" y="150"/>
                    </a:lnTo>
                    <a:lnTo>
                      <a:pt x="211" y="152"/>
                    </a:lnTo>
                    <a:lnTo>
                      <a:pt x="211" y="150"/>
                    </a:lnTo>
                    <a:close/>
                    <a:moveTo>
                      <a:pt x="194" y="146"/>
                    </a:moveTo>
                    <a:lnTo>
                      <a:pt x="194" y="148"/>
                    </a:lnTo>
                    <a:lnTo>
                      <a:pt x="194" y="146"/>
                    </a:lnTo>
                    <a:lnTo>
                      <a:pt x="194" y="144"/>
                    </a:lnTo>
                    <a:lnTo>
                      <a:pt x="194" y="146"/>
                    </a:lnTo>
                    <a:lnTo>
                      <a:pt x="194" y="144"/>
                    </a:lnTo>
                    <a:lnTo>
                      <a:pt x="196" y="144"/>
                    </a:lnTo>
                    <a:lnTo>
                      <a:pt x="196" y="146"/>
                    </a:lnTo>
                    <a:lnTo>
                      <a:pt x="194" y="146"/>
                    </a:lnTo>
                    <a:close/>
                    <a:moveTo>
                      <a:pt x="215" y="150"/>
                    </a:moveTo>
                    <a:lnTo>
                      <a:pt x="215" y="152"/>
                    </a:lnTo>
                    <a:lnTo>
                      <a:pt x="215" y="150"/>
                    </a:lnTo>
                    <a:close/>
                    <a:moveTo>
                      <a:pt x="203" y="146"/>
                    </a:moveTo>
                    <a:lnTo>
                      <a:pt x="201" y="148"/>
                    </a:lnTo>
                    <a:lnTo>
                      <a:pt x="201" y="146"/>
                    </a:lnTo>
                    <a:lnTo>
                      <a:pt x="203" y="146"/>
                    </a:lnTo>
                    <a:close/>
                    <a:moveTo>
                      <a:pt x="196" y="146"/>
                    </a:moveTo>
                    <a:lnTo>
                      <a:pt x="196" y="144"/>
                    </a:lnTo>
                    <a:lnTo>
                      <a:pt x="198" y="144"/>
                    </a:lnTo>
                    <a:lnTo>
                      <a:pt x="196" y="146"/>
                    </a:lnTo>
                    <a:close/>
                    <a:moveTo>
                      <a:pt x="199" y="146"/>
                    </a:moveTo>
                    <a:lnTo>
                      <a:pt x="201" y="146"/>
                    </a:lnTo>
                    <a:lnTo>
                      <a:pt x="199" y="146"/>
                    </a:lnTo>
                    <a:lnTo>
                      <a:pt x="201" y="146"/>
                    </a:lnTo>
                    <a:lnTo>
                      <a:pt x="199" y="146"/>
                    </a:lnTo>
                    <a:lnTo>
                      <a:pt x="201" y="146"/>
                    </a:lnTo>
                    <a:lnTo>
                      <a:pt x="199" y="148"/>
                    </a:lnTo>
                    <a:lnTo>
                      <a:pt x="199" y="146"/>
                    </a:lnTo>
                    <a:lnTo>
                      <a:pt x="199" y="148"/>
                    </a:lnTo>
                    <a:lnTo>
                      <a:pt x="199" y="146"/>
                    </a:lnTo>
                    <a:close/>
                    <a:moveTo>
                      <a:pt x="198" y="144"/>
                    </a:moveTo>
                    <a:lnTo>
                      <a:pt x="199" y="146"/>
                    </a:lnTo>
                    <a:lnTo>
                      <a:pt x="198" y="146"/>
                    </a:lnTo>
                    <a:lnTo>
                      <a:pt x="198" y="144"/>
                    </a:lnTo>
                    <a:close/>
                    <a:moveTo>
                      <a:pt x="198" y="144"/>
                    </a:moveTo>
                    <a:lnTo>
                      <a:pt x="198" y="146"/>
                    </a:lnTo>
                    <a:lnTo>
                      <a:pt x="198" y="144"/>
                    </a:lnTo>
                    <a:lnTo>
                      <a:pt x="198" y="146"/>
                    </a:lnTo>
                    <a:lnTo>
                      <a:pt x="198" y="144"/>
                    </a:lnTo>
                    <a:close/>
                    <a:moveTo>
                      <a:pt x="209" y="148"/>
                    </a:moveTo>
                    <a:lnTo>
                      <a:pt x="211" y="148"/>
                    </a:lnTo>
                    <a:lnTo>
                      <a:pt x="209" y="148"/>
                    </a:lnTo>
                    <a:close/>
                    <a:moveTo>
                      <a:pt x="198" y="144"/>
                    </a:moveTo>
                    <a:lnTo>
                      <a:pt x="198" y="146"/>
                    </a:lnTo>
                    <a:lnTo>
                      <a:pt x="198" y="144"/>
                    </a:lnTo>
                    <a:lnTo>
                      <a:pt x="198" y="146"/>
                    </a:lnTo>
                    <a:lnTo>
                      <a:pt x="198" y="144"/>
                    </a:lnTo>
                    <a:lnTo>
                      <a:pt x="198" y="146"/>
                    </a:lnTo>
                    <a:lnTo>
                      <a:pt x="198" y="144"/>
                    </a:lnTo>
                    <a:lnTo>
                      <a:pt x="199" y="144"/>
                    </a:lnTo>
                    <a:lnTo>
                      <a:pt x="199" y="146"/>
                    </a:lnTo>
                    <a:lnTo>
                      <a:pt x="199" y="144"/>
                    </a:lnTo>
                    <a:lnTo>
                      <a:pt x="199" y="146"/>
                    </a:lnTo>
                    <a:lnTo>
                      <a:pt x="199" y="144"/>
                    </a:lnTo>
                    <a:lnTo>
                      <a:pt x="198" y="144"/>
                    </a:lnTo>
                    <a:close/>
                    <a:moveTo>
                      <a:pt x="213" y="150"/>
                    </a:moveTo>
                    <a:lnTo>
                      <a:pt x="211" y="150"/>
                    </a:lnTo>
                    <a:lnTo>
                      <a:pt x="213" y="150"/>
                    </a:lnTo>
                    <a:lnTo>
                      <a:pt x="211" y="150"/>
                    </a:lnTo>
                    <a:lnTo>
                      <a:pt x="213" y="150"/>
                    </a:lnTo>
                    <a:lnTo>
                      <a:pt x="211" y="150"/>
                    </a:lnTo>
                    <a:lnTo>
                      <a:pt x="211" y="148"/>
                    </a:lnTo>
                    <a:lnTo>
                      <a:pt x="213" y="148"/>
                    </a:lnTo>
                    <a:lnTo>
                      <a:pt x="211" y="148"/>
                    </a:lnTo>
                    <a:lnTo>
                      <a:pt x="211" y="150"/>
                    </a:lnTo>
                    <a:lnTo>
                      <a:pt x="213" y="148"/>
                    </a:lnTo>
                    <a:lnTo>
                      <a:pt x="213" y="150"/>
                    </a:lnTo>
                    <a:lnTo>
                      <a:pt x="213" y="148"/>
                    </a:lnTo>
                    <a:lnTo>
                      <a:pt x="213" y="150"/>
                    </a:lnTo>
                    <a:lnTo>
                      <a:pt x="211" y="150"/>
                    </a:lnTo>
                    <a:lnTo>
                      <a:pt x="213" y="150"/>
                    </a:lnTo>
                    <a:close/>
                    <a:moveTo>
                      <a:pt x="215" y="150"/>
                    </a:moveTo>
                    <a:lnTo>
                      <a:pt x="217" y="150"/>
                    </a:lnTo>
                    <a:lnTo>
                      <a:pt x="215" y="150"/>
                    </a:lnTo>
                    <a:close/>
                    <a:moveTo>
                      <a:pt x="182" y="142"/>
                    </a:moveTo>
                    <a:lnTo>
                      <a:pt x="182" y="140"/>
                    </a:lnTo>
                    <a:lnTo>
                      <a:pt x="184" y="140"/>
                    </a:lnTo>
                    <a:lnTo>
                      <a:pt x="184" y="138"/>
                    </a:lnTo>
                    <a:lnTo>
                      <a:pt x="184" y="140"/>
                    </a:lnTo>
                    <a:lnTo>
                      <a:pt x="182" y="140"/>
                    </a:lnTo>
                    <a:lnTo>
                      <a:pt x="182" y="142"/>
                    </a:lnTo>
                    <a:lnTo>
                      <a:pt x="182" y="140"/>
                    </a:lnTo>
                    <a:lnTo>
                      <a:pt x="182" y="142"/>
                    </a:lnTo>
                    <a:lnTo>
                      <a:pt x="184" y="142"/>
                    </a:lnTo>
                    <a:lnTo>
                      <a:pt x="182" y="142"/>
                    </a:lnTo>
                    <a:close/>
                    <a:moveTo>
                      <a:pt x="201" y="146"/>
                    </a:moveTo>
                    <a:lnTo>
                      <a:pt x="201" y="144"/>
                    </a:lnTo>
                    <a:lnTo>
                      <a:pt x="201" y="146"/>
                    </a:lnTo>
                    <a:close/>
                    <a:moveTo>
                      <a:pt x="196" y="142"/>
                    </a:moveTo>
                    <a:lnTo>
                      <a:pt x="196" y="144"/>
                    </a:lnTo>
                    <a:lnTo>
                      <a:pt x="196" y="142"/>
                    </a:lnTo>
                    <a:lnTo>
                      <a:pt x="196" y="144"/>
                    </a:lnTo>
                    <a:lnTo>
                      <a:pt x="196" y="142"/>
                    </a:lnTo>
                    <a:lnTo>
                      <a:pt x="196" y="144"/>
                    </a:lnTo>
                    <a:lnTo>
                      <a:pt x="196" y="142"/>
                    </a:lnTo>
                    <a:lnTo>
                      <a:pt x="196" y="144"/>
                    </a:lnTo>
                    <a:lnTo>
                      <a:pt x="194" y="144"/>
                    </a:lnTo>
                    <a:lnTo>
                      <a:pt x="194" y="142"/>
                    </a:lnTo>
                    <a:lnTo>
                      <a:pt x="196" y="142"/>
                    </a:lnTo>
                    <a:lnTo>
                      <a:pt x="194" y="142"/>
                    </a:lnTo>
                    <a:lnTo>
                      <a:pt x="196" y="144"/>
                    </a:lnTo>
                    <a:lnTo>
                      <a:pt x="196" y="142"/>
                    </a:lnTo>
                    <a:lnTo>
                      <a:pt x="196" y="144"/>
                    </a:lnTo>
                    <a:lnTo>
                      <a:pt x="196" y="142"/>
                    </a:lnTo>
                    <a:close/>
                    <a:moveTo>
                      <a:pt x="184" y="138"/>
                    </a:moveTo>
                    <a:lnTo>
                      <a:pt x="182" y="138"/>
                    </a:lnTo>
                    <a:lnTo>
                      <a:pt x="184" y="138"/>
                    </a:lnTo>
                    <a:close/>
                    <a:moveTo>
                      <a:pt x="184" y="138"/>
                    </a:moveTo>
                    <a:lnTo>
                      <a:pt x="182" y="138"/>
                    </a:lnTo>
                    <a:lnTo>
                      <a:pt x="184" y="138"/>
                    </a:lnTo>
                    <a:close/>
                    <a:moveTo>
                      <a:pt x="199" y="142"/>
                    </a:moveTo>
                    <a:lnTo>
                      <a:pt x="199" y="144"/>
                    </a:lnTo>
                    <a:lnTo>
                      <a:pt x="199" y="142"/>
                    </a:lnTo>
                    <a:close/>
                    <a:moveTo>
                      <a:pt x="211" y="148"/>
                    </a:moveTo>
                    <a:lnTo>
                      <a:pt x="213" y="148"/>
                    </a:lnTo>
                    <a:lnTo>
                      <a:pt x="211" y="148"/>
                    </a:lnTo>
                    <a:lnTo>
                      <a:pt x="213" y="148"/>
                    </a:lnTo>
                    <a:lnTo>
                      <a:pt x="211" y="148"/>
                    </a:lnTo>
                    <a:lnTo>
                      <a:pt x="211" y="150"/>
                    </a:lnTo>
                    <a:lnTo>
                      <a:pt x="211" y="148"/>
                    </a:lnTo>
                    <a:lnTo>
                      <a:pt x="211" y="146"/>
                    </a:lnTo>
                    <a:lnTo>
                      <a:pt x="213" y="146"/>
                    </a:lnTo>
                    <a:lnTo>
                      <a:pt x="211" y="146"/>
                    </a:lnTo>
                    <a:lnTo>
                      <a:pt x="211" y="148"/>
                    </a:lnTo>
                    <a:close/>
                    <a:moveTo>
                      <a:pt x="196" y="142"/>
                    </a:moveTo>
                    <a:lnTo>
                      <a:pt x="196" y="140"/>
                    </a:lnTo>
                    <a:lnTo>
                      <a:pt x="196" y="142"/>
                    </a:lnTo>
                    <a:close/>
                    <a:moveTo>
                      <a:pt x="198" y="142"/>
                    </a:moveTo>
                    <a:lnTo>
                      <a:pt x="199" y="142"/>
                    </a:lnTo>
                    <a:lnTo>
                      <a:pt x="199" y="144"/>
                    </a:lnTo>
                    <a:lnTo>
                      <a:pt x="198" y="144"/>
                    </a:lnTo>
                    <a:lnTo>
                      <a:pt x="199" y="144"/>
                    </a:lnTo>
                    <a:lnTo>
                      <a:pt x="199" y="142"/>
                    </a:lnTo>
                    <a:lnTo>
                      <a:pt x="198" y="142"/>
                    </a:lnTo>
                    <a:lnTo>
                      <a:pt x="199" y="142"/>
                    </a:lnTo>
                    <a:lnTo>
                      <a:pt x="198" y="142"/>
                    </a:lnTo>
                    <a:close/>
                    <a:moveTo>
                      <a:pt x="211" y="146"/>
                    </a:moveTo>
                    <a:lnTo>
                      <a:pt x="211" y="148"/>
                    </a:lnTo>
                    <a:lnTo>
                      <a:pt x="209" y="148"/>
                    </a:lnTo>
                    <a:lnTo>
                      <a:pt x="211" y="148"/>
                    </a:lnTo>
                    <a:lnTo>
                      <a:pt x="209" y="148"/>
                    </a:lnTo>
                    <a:lnTo>
                      <a:pt x="209" y="146"/>
                    </a:lnTo>
                    <a:lnTo>
                      <a:pt x="209" y="144"/>
                    </a:lnTo>
                    <a:lnTo>
                      <a:pt x="209" y="146"/>
                    </a:lnTo>
                    <a:lnTo>
                      <a:pt x="211" y="146"/>
                    </a:lnTo>
                    <a:close/>
                    <a:moveTo>
                      <a:pt x="213" y="146"/>
                    </a:moveTo>
                    <a:lnTo>
                      <a:pt x="213" y="148"/>
                    </a:lnTo>
                    <a:lnTo>
                      <a:pt x="213" y="146"/>
                    </a:lnTo>
                    <a:close/>
                    <a:moveTo>
                      <a:pt x="196" y="140"/>
                    </a:moveTo>
                    <a:lnTo>
                      <a:pt x="196" y="142"/>
                    </a:lnTo>
                    <a:lnTo>
                      <a:pt x="196" y="140"/>
                    </a:lnTo>
                    <a:lnTo>
                      <a:pt x="196" y="142"/>
                    </a:lnTo>
                    <a:lnTo>
                      <a:pt x="198" y="144"/>
                    </a:lnTo>
                    <a:lnTo>
                      <a:pt x="198" y="142"/>
                    </a:lnTo>
                    <a:lnTo>
                      <a:pt x="198" y="144"/>
                    </a:lnTo>
                    <a:lnTo>
                      <a:pt x="196" y="144"/>
                    </a:lnTo>
                    <a:lnTo>
                      <a:pt x="196" y="146"/>
                    </a:lnTo>
                    <a:lnTo>
                      <a:pt x="196" y="144"/>
                    </a:lnTo>
                    <a:lnTo>
                      <a:pt x="198" y="144"/>
                    </a:lnTo>
                    <a:lnTo>
                      <a:pt x="196" y="144"/>
                    </a:lnTo>
                    <a:lnTo>
                      <a:pt x="198" y="144"/>
                    </a:lnTo>
                    <a:lnTo>
                      <a:pt x="196" y="144"/>
                    </a:lnTo>
                    <a:lnTo>
                      <a:pt x="196" y="142"/>
                    </a:lnTo>
                    <a:lnTo>
                      <a:pt x="196" y="144"/>
                    </a:lnTo>
                    <a:lnTo>
                      <a:pt x="196" y="142"/>
                    </a:lnTo>
                    <a:lnTo>
                      <a:pt x="196" y="144"/>
                    </a:lnTo>
                    <a:lnTo>
                      <a:pt x="196" y="142"/>
                    </a:lnTo>
                    <a:lnTo>
                      <a:pt x="196" y="140"/>
                    </a:lnTo>
                    <a:close/>
                    <a:moveTo>
                      <a:pt x="203" y="142"/>
                    </a:moveTo>
                    <a:lnTo>
                      <a:pt x="201" y="142"/>
                    </a:lnTo>
                    <a:lnTo>
                      <a:pt x="203" y="142"/>
                    </a:lnTo>
                    <a:close/>
                    <a:moveTo>
                      <a:pt x="199" y="142"/>
                    </a:moveTo>
                    <a:lnTo>
                      <a:pt x="201" y="142"/>
                    </a:lnTo>
                    <a:lnTo>
                      <a:pt x="201" y="144"/>
                    </a:lnTo>
                    <a:lnTo>
                      <a:pt x="201" y="142"/>
                    </a:lnTo>
                    <a:lnTo>
                      <a:pt x="199" y="142"/>
                    </a:lnTo>
                    <a:lnTo>
                      <a:pt x="199" y="144"/>
                    </a:lnTo>
                    <a:lnTo>
                      <a:pt x="199" y="142"/>
                    </a:lnTo>
                    <a:lnTo>
                      <a:pt x="198" y="142"/>
                    </a:lnTo>
                    <a:lnTo>
                      <a:pt x="199" y="142"/>
                    </a:lnTo>
                    <a:lnTo>
                      <a:pt x="199" y="140"/>
                    </a:lnTo>
                    <a:lnTo>
                      <a:pt x="199" y="142"/>
                    </a:lnTo>
                    <a:lnTo>
                      <a:pt x="199" y="140"/>
                    </a:lnTo>
                    <a:lnTo>
                      <a:pt x="199" y="142"/>
                    </a:lnTo>
                    <a:close/>
                    <a:moveTo>
                      <a:pt x="190" y="136"/>
                    </a:moveTo>
                    <a:lnTo>
                      <a:pt x="190" y="138"/>
                    </a:lnTo>
                    <a:lnTo>
                      <a:pt x="188" y="138"/>
                    </a:lnTo>
                    <a:lnTo>
                      <a:pt x="188" y="136"/>
                    </a:lnTo>
                    <a:lnTo>
                      <a:pt x="190" y="136"/>
                    </a:lnTo>
                    <a:close/>
                    <a:moveTo>
                      <a:pt x="190" y="136"/>
                    </a:moveTo>
                    <a:lnTo>
                      <a:pt x="188" y="136"/>
                    </a:lnTo>
                    <a:lnTo>
                      <a:pt x="190" y="136"/>
                    </a:lnTo>
                    <a:close/>
                    <a:moveTo>
                      <a:pt x="199" y="142"/>
                    </a:moveTo>
                    <a:lnTo>
                      <a:pt x="201" y="142"/>
                    </a:lnTo>
                    <a:lnTo>
                      <a:pt x="199" y="142"/>
                    </a:lnTo>
                    <a:lnTo>
                      <a:pt x="201" y="142"/>
                    </a:lnTo>
                    <a:lnTo>
                      <a:pt x="201" y="140"/>
                    </a:lnTo>
                    <a:lnTo>
                      <a:pt x="201" y="142"/>
                    </a:lnTo>
                    <a:lnTo>
                      <a:pt x="199" y="142"/>
                    </a:lnTo>
                    <a:close/>
                    <a:moveTo>
                      <a:pt x="194" y="138"/>
                    </a:moveTo>
                    <a:lnTo>
                      <a:pt x="192" y="138"/>
                    </a:lnTo>
                    <a:lnTo>
                      <a:pt x="194" y="138"/>
                    </a:lnTo>
                    <a:lnTo>
                      <a:pt x="192" y="138"/>
                    </a:lnTo>
                    <a:lnTo>
                      <a:pt x="192" y="140"/>
                    </a:lnTo>
                    <a:lnTo>
                      <a:pt x="194" y="140"/>
                    </a:lnTo>
                    <a:lnTo>
                      <a:pt x="192" y="140"/>
                    </a:lnTo>
                    <a:lnTo>
                      <a:pt x="192" y="142"/>
                    </a:lnTo>
                    <a:lnTo>
                      <a:pt x="194" y="142"/>
                    </a:lnTo>
                    <a:lnTo>
                      <a:pt x="192" y="142"/>
                    </a:lnTo>
                    <a:lnTo>
                      <a:pt x="194" y="142"/>
                    </a:lnTo>
                    <a:lnTo>
                      <a:pt x="192" y="142"/>
                    </a:lnTo>
                    <a:lnTo>
                      <a:pt x="194" y="142"/>
                    </a:lnTo>
                    <a:lnTo>
                      <a:pt x="194" y="140"/>
                    </a:lnTo>
                    <a:lnTo>
                      <a:pt x="194" y="138"/>
                    </a:lnTo>
                    <a:lnTo>
                      <a:pt x="194" y="140"/>
                    </a:lnTo>
                    <a:lnTo>
                      <a:pt x="196" y="140"/>
                    </a:lnTo>
                    <a:lnTo>
                      <a:pt x="194" y="140"/>
                    </a:lnTo>
                    <a:lnTo>
                      <a:pt x="194" y="142"/>
                    </a:lnTo>
                    <a:lnTo>
                      <a:pt x="194" y="144"/>
                    </a:lnTo>
                    <a:lnTo>
                      <a:pt x="192" y="146"/>
                    </a:lnTo>
                    <a:lnTo>
                      <a:pt x="194" y="146"/>
                    </a:lnTo>
                    <a:lnTo>
                      <a:pt x="192" y="146"/>
                    </a:lnTo>
                    <a:lnTo>
                      <a:pt x="192" y="148"/>
                    </a:lnTo>
                    <a:lnTo>
                      <a:pt x="194" y="148"/>
                    </a:lnTo>
                    <a:lnTo>
                      <a:pt x="194" y="146"/>
                    </a:lnTo>
                    <a:lnTo>
                      <a:pt x="194" y="148"/>
                    </a:lnTo>
                    <a:lnTo>
                      <a:pt x="194" y="150"/>
                    </a:lnTo>
                    <a:lnTo>
                      <a:pt x="192" y="150"/>
                    </a:lnTo>
                    <a:lnTo>
                      <a:pt x="194" y="150"/>
                    </a:lnTo>
                    <a:lnTo>
                      <a:pt x="192" y="150"/>
                    </a:lnTo>
                    <a:lnTo>
                      <a:pt x="190" y="148"/>
                    </a:lnTo>
                    <a:lnTo>
                      <a:pt x="188" y="148"/>
                    </a:lnTo>
                    <a:lnTo>
                      <a:pt x="188" y="150"/>
                    </a:lnTo>
                    <a:lnTo>
                      <a:pt x="186" y="150"/>
                    </a:lnTo>
                    <a:lnTo>
                      <a:pt x="186" y="148"/>
                    </a:lnTo>
                    <a:lnTo>
                      <a:pt x="184" y="150"/>
                    </a:lnTo>
                    <a:lnTo>
                      <a:pt x="184" y="148"/>
                    </a:lnTo>
                    <a:lnTo>
                      <a:pt x="184" y="146"/>
                    </a:lnTo>
                    <a:lnTo>
                      <a:pt x="184" y="148"/>
                    </a:lnTo>
                    <a:lnTo>
                      <a:pt x="182" y="148"/>
                    </a:lnTo>
                    <a:lnTo>
                      <a:pt x="182" y="146"/>
                    </a:lnTo>
                    <a:lnTo>
                      <a:pt x="182" y="148"/>
                    </a:lnTo>
                    <a:lnTo>
                      <a:pt x="180" y="148"/>
                    </a:lnTo>
                    <a:lnTo>
                      <a:pt x="180" y="146"/>
                    </a:lnTo>
                    <a:lnTo>
                      <a:pt x="180" y="144"/>
                    </a:lnTo>
                    <a:lnTo>
                      <a:pt x="180" y="142"/>
                    </a:lnTo>
                    <a:lnTo>
                      <a:pt x="180" y="144"/>
                    </a:lnTo>
                    <a:lnTo>
                      <a:pt x="180" y="146"/>
                    </a:lnTo>
                    <a:lnTo>
                      <a:pt x="180" y="144"/>
                    </a:lnTo>
                    <a:lnTo>
                      <a:pt x="180" y="146"/>
                    </a:lnTo>
                    <a:lnTo>
                      <a:pt x="182" y="146"/>
                    </a:lnTo>
                    <a:lnTo>
                      <a:pt x="180" y="146"/>
                    </a:lnTo>
                    <a:lnTo>
                      <a:pt x="182" y="146"/>
                    </a:lnTo>
                    <a:lnTo>
                      <a:pt x="180" y="146"/>
                    </a:lnTo>
                    <a:lnTo>
                      <a:pt x="182" y="144"/>
                    </a:lnTo>
                    <a:lnTo>
                      <a:pt x="182" y="146"/>
                    </a:lnTo>
                    <a:lnTo>
                      <a:pt x="184" y="146"/>
                    </a:lnTo>
                    <a:lnTo>
                      <a:pt x="182" y="146"/>
                    </a:lnTo>
                    <a:lnTo>
                      <a:pt x="184" y="146"/>
                    </a:lnTo>
                    <a:lnTo>
                      <a:pt x="182" y="146"/>
                    </a:lnTo>
                    <a:lnTo>
                      <a:pt x="184" y="146"/>
                    </a:lnTo>
                    <a:lnTo>
                      <a:pt x="182" y="146"/>
                    </a:lnTo>
                    <a:lnTo>
                      <a:pt x="184" y="146"/>
                    </a:lnTo>
                    <a:lnTo>
                      <a:pt x="184" y="144"/>
                    </a:lnTo>
                    <a:lnTo>
                      <a:pt x="182" y="144"/>
                    </a:lnTo>
                    <a:lnTo>
                      <a:pt x="184" y="144"/>
                    </a:lnTo>
                    <a:lnTo>
                      <a:pt x="182" y="144"/>
                    </a:lnTo>
                    <a:lnTo>
                      <a:pt x="182" y="142"/>
                    </a:lnTo>
                    <a:lnTo>
                      <a:pt x="184" y="142"/>
                    </a:lnTo>
                    <a:lnTo>
                      <a:pt x="182" y="142"/>
                    </a:lnTo>
                    <a:lnTo>
                      <a:pt x="184" y="142"/>
                    </a:lnTo>
                    <a:lnTo>
                      <a:pt x="184" y="144"/>
                    </a:lnTo>
                    <a:lnTo>
                      <a:pt x="184" y="142"/>
                    </a:lnTo>
                    <a:lnTo>
                      <a:pt x="184" y="144"/>
                    </a:lnTo>
                    <a:lnTo>
                      <a:pt x="186" y="144"/>
                    </a:lnTo>
                    <a:lnTo>
                      <a:pt x="184" y="144"/>
                    </a:lnTo>
                    <a:lnTo>
                      <a:pt x="186" y="144"/>
                    </a:lnTo>
                    <a:lnTo>
                      <a:pt x="184" y="144"/>
                    </a:lnTo>
                    <a:lnTo>
                      <a:pt x="186" y="144"/>
                    </a:lnTo>
                    <a:lnTo>
                      <a:pt x="184" y="144"/>
                    </a:lnTo>
                    <a:lnTo>
                      <a:pt x="184" y="146"/>
                    </a:lnTo>
                    <a:lnTo>
                      <a:pt x="186" y="146"/>
                    </a:lnTo>
                    <a:lnTo>
                      <a:pt x="186" y="144"/>
                    </a:lnTo>
                    <a:lnTo>
                      <a:pt x="186" y="142"/>
                    </a:lnTo>
                    <a:lnTo>
                      <a:pt x="188" y="142"/>
                    </a:lnTo>
                    <a:lnTo>
                      <a:pt x="186" y="144"/>
                    </a:lnTo>
                    <a:lnTo>
                      <a:pt x="188" y="144"/>
                    </a:lnTo>
                    <a:lnTo>
                      <a:pt x="188" y="142"/>
                    </a:lnTo>
                    <a:lnTo>
                      <a:pt x="188" y="144"/>
                    </a:lnTo>
                    <a:lnTo>
                      <a:pt x="186" y="144"/>
                    </a:lnTo>
                    <a:lnTo>
                      <a:pt x="188" y="144"/>
                    </a:lnTo>
                    <a:lnTo>
                      <a:pt x="190" y="142"/>
                    </a:lnTo>
                    <a:lnTo>
                      <a:pt x="188" y="142"/>
                    </a:lnTo>
                    <a:lnTo>
                      <a:pt x="190" y="142"/>
                    </a:lnTo>
                    <a:lnTo>
                      <a:pt x="188" y="142"/>
                    </a:lnTo>
                    <a:lnTo>
                      <a:pt x="190" y="142"/>
                    </a:lnTo>
                    <a:lnTo>
                      <a:pt x="192" y="142"/>
                    </a:lnTo>
                    <a:lnTo>
                      <a:pt x="190" y="142"/>
                    </a:lnTo>
                    <a:lnTo>
                      <a:pt x="192" y="142"/>
                    </a:lnTo>
                    <a:lnTo>
                      <a:pt x="190" y="140"/>
                    </a:lnTo>
                    <a:lnTo>
                      <a:pt x="190" y="138"/>
                    </a:lnTo>
                    <a:lnTo>
                      <a:pt x="190" y="140"/>
                    </a:lnTo>
                    <a:lnTo>
                      <a:pt x="190" y="138"/>
                    </a:lnTo>
                    <a:lnTo>
                      <a:pt x="190" y="140"/>
                    </a:lnTo>
                    <a:lnTo>
                      <a:pt x="192" y="140"/>
                    </a:lnTo>
                    <a:lnTo>
                      <a:pt x="190" y="140"/>
                    </a:lnTo>
                    <a:lnTo>
                      <a:pt x="192" y="140"/>
                    </a:lnTo>
                    <a:lnTo>
                      <a:pt x="190" y="140"/>
                    </a:lnTo>
                    <a:lnTo>
                      <a:pt x="192" y="140"/>
                    </a:lnTo>
                    <a:lnTo>
                      <a:pt x="192" y="142"/>
                    </a:lnTo>
                    <a:lnTo>
                      <a:pt x="192" y="144"/>
                    </a:lnTo>
                    <a:lnTo>
                      <a:pt x="192" y="142"/>
                    </a:lnTo>
                    <a:lnTo>
                      <a:pt x="192" y="140"/>
                    </a:lnTo>
                    <a:lnTo>
                      <a:pt x="192" y="142"/>
                    </a:lnTo>
                    <a:lnTo>
                      <a:pt x="192" y="140"/>
                    </a:lnTo>
                    <a:lnTo>
                      <a:pt x="192" y="138"/>
                    </a:lnTo>
                    <a:lnTo>
                      <a:pt x="192" y="140"/>
                    </a:lnTo>
                    <a:lnTo>
                      <a:pt x="192" y="138"/>
                    </a:lnTo>
                    <a:lnTo>
                      <a:pt x="194" y="138"/>
                    </a:lnTo>
                    <a:close/>
                    <a:moveTo>
                      <a:pt x="199" y="140"/>
                    </a:moveTo>
                    <a:lnTo>
                      <a:pt x="201" y="140"/>
                    </a:lnTo>
                    <a:lnTo>
                      <a:pt x="199" y="140"/>
                    </a:lnTo>
                    <a:close/>
                    <a:moveTo>
                      <a:pt x="203" y="140"/>
                    </a:moveTo>
                    <a:lnTo>
                      <a:pt x="203" y="142"/>
                    </a:lnTo>
                    <a:lnTo>
                      <a:pt x="201" y="142"/>
                    </a:lnTo>
                    <a:lnTo>
                      <a:pt x="201" y="140"/>
                    </a:lnTo>
                    <a:lnTo>
                      <a:pt x="201" y="142"/>
                    </a:lnTo>
                    <a:lnTo>
                      <a:pt x="203" y="140"/>
                    </a:lnTo>
                    <a:lnTo>
                      <a:pt x="203" y="142"/>
                    </a:lnTo>
                    <a:lnTo>
                      <a:pt x="203" y="140"/>
                    </a:lnTo>
                    <a:lnTo>
                      <a:pt x="203" y="142"/>
                    </a:lnTo>
                    <a:lnTo>
                      <a:pt x="203" y="140"/>
                    </a:lnTo>
                    <a:close/>
                    <a:moveTo>
                      <a:pt x="205" y="140"/>
                    </a:moveTo>
                    <a:lnTo>
                      <a:pt x="203" y="140"/>
                    </a:lnTo>
                    <a:lnTo>
                      <a:pt x="205" y="140"/>
                    </a:lnTo>
                    <a:lnTo>
                      <a:pt x="203" y="140"/>
                    </a:lnTo>
                    <a:lnTo>
                      <a:pt x="203" y="142"/>
                    </a:lnTo>
                    <a:lnTo>
                      <a:pt x="205" y="142"/>
                    </a:lnTo>
                    <a:lnTo>
                      <a:pt x="203" y="142"/>
                    </a:lnTo>
                    <a:lnTo>
                      <a:pt x="203" y="140"/>
                    </a:lnTo>
                    <a:lnTo>
                      <a:pt x="205" y="140"/>
                    </a:lnTo>
                    <a:close/>
                    <a:moveTo>
                      <a:pt x="203" y="148"/>
                    </a:moveTo>
                    <a:lnTo>
                      <a:pt x="203" y="146"/>
                    </a:lnTo>
                    <a:lnTo>
                      <a:pt x="201" y="144"/>
                    </a:lnTo>
                    <a:lnTo>
                      <a:pt x="201" y="146"/>
                    </a:lnTo>
                    <a:lnTo>
                      <a:pt x="201" y="148"/>
                    </a:lnTo>
                    <a:lnTo>
                      <a:pt x="201" y="146"/>
                    </a:lnTo>
                    <a:lnTo>
                      <a:pt x="201" y="144"/>
                    </a:lnTo>
                    <a:lnTo>
                      <a:pt x="203" y="144"/>
                    </a:lnTo>
                    <a:lnTo>
                      <a:pt x="201" y="144"/>
                    </a:lnTo>
                    <a:lnTo>
                      <a:pt x="203" y="144"/>
                    </a:lnTo>
                    <a:lnTo>
                      <a:pt x="201" y="144"/>
                    </a:lnTo>
                    <a:lnTo>
                      <a:pt x="203" y="144"/>
                    </a:lnTo>
                    <a:lnTo>
                      <a:pt x="203" y="142"/>
                    </a:lnTo>
                    <a:lnTo>
                      <a:pt x="203" y="144"/>
                    </a:lnTo>
                    <a:lnTo>
                      <a:pt x="203" y="142"/>
                    </a:lnTo>
                    <a:lnTo>
                      <a:pt x="205" y="142"/>
                    </a:lnTo>
                    <a:lnTo>
                      <a:pt x="205" y="140"/>
                    </a:lnTo>
                    <a:lnTo>
                      <a:pt x="205" y="142"/>
                    </a:lnTo>
                    <a:lnTo>
                      <a:pt x="205" y="140"/>
                    </a:lnTo>
                    <a:lnTo>
                      <a:pt x="205" y="142"/>
                    </a:lnTo>
                    <a:lnTo>
                      <a:pt x="205" y="144"/>
                    </a:lnTo>
                    <a:lnTo>
                      <a:pt x="203" y="144"/>
                    </a:lnTo>
                    <a:lnTo>
                      <a:pt x="205" y="144"/>
                    </a:lnTo>
                    <a:lnTo>
                      <a:pt x="207" y="144"/>
                    </a:lnTo>
                    <a:lnTo>
                      <a:pt x="205" y="144"/>
                    </a:lnTo>
                    <a:lnTo>
                      <a:pt x="205" y="146"/>
                    </a:lnTo>
                    <a:lnTo>
                      <a:pt x="207" y="146"/>
                    </a:lnTo>
                    <a:lnTo>
                      <a:pt x="207" y="144"/>
                    </a:lnTo>
                    <a:lnTo>
                      <a:pt x="207" y="146"/>
                    </a:lnTo>
                    <a:lnTo>
                      <a:pt x="205" y="146"/>
                    </a:lnTo>
                    <a:lnTo>
                      <a:pt x="203" y="146"/>
                    </a:lnTo>
                    <a:lnTo>
                      <a:pt x="205" y="146"/>
                    </a:lnTo>
                    <a:lnTo>
                      <a:pt x="203" y="146"/>
                    </a:lnTo>
                    <a:lnTo>
                      <a:pt x="203" y="148"/>
                    </a:lnTo>
                    <a:lnTo>
                      <a:pt x="203" y="146"/>
                    </a:lnTo>
                    <a:lnTo>
                      <a:pt x="203" y="148"/>
                    </a:lnTo>
                    <a:lnTo>
                      <a:pt x="205" y="148"/>
                    </a:lnTo>
                    <a:lnTo>
                      <a:pt x="203" y="148"/>
                    </a:lnTo>
                    <a:lnTo>
                      <a:pt x="205" y="148"/>
                    </a:lnTo>
                    <a:lnTo>
                      <a:pt x="205" y="146"/>
                    </a:lnTo>
                    <a:lnTo>
                      <a:pt x="205" y="148"/>
                    </a:lnTo>
                    <a:lnTo>
                      <a:pt x="205" y="146"/>
                    </a:lnTo>
                    <a:lnTo>
                      <a:pt x="205" y="148"/>
                    </a:lnTo>
                    <a:lnTo>
                      <a:pt x="205" y="150"/>
                    </a:lnTo>
                    <a:lnTo>
                      <a:pt x="205" y="148"/>
                    </a:lnTo>
                    <a:lnTo>
                      <a:pt x="207" y="148"/>
                    </a:lnTo>
                    <a:lnTo>
                      <a:pt x="207" y="146"/>
                    </a:lnTo>
                    <a:lnTo>
                      <a:pt x="207" y="148"/>
                    </a:lnTo>
                    <a:lnTo>
                      <a:pt x="207" y="146"/>
                    </a:lnTo>
                    <a:lnTo>
                      <a:pt x="207" y="148"/>
                    </a:lnTo>
                    <a:lnTo>
                      <a:pt x="207" y="146"/>
                    </a:lnTo>
                    <a:lnTo>
                      <a:pt x="209" y="146"/>
                    </a:lnTo>
                    <a:lnTo>
                      <a:pt x="207" y="146"/>
                    </a:lnTo>
                    <a:lnTo>
                      <a:pt x="209" y="146"/>
                    </a:lnTo>
                    <a:lnTo>
                      <a:pt x="207" y="144"/>
                    </a:lnTo>
                    <a:lnTo>
                      <a:pt x="209" y="146"/>
                    </a:lnTo>
                    <a:lnTo>
                      <a:pt x="207" y="146"/>
                    </a:lnTo>
                    <a:lnTo>
                      <a:pt x="209" y="146"/>
                    </a:lnTo>
                    <a:lnTo>
                      <a:pt x="207" y="146"/>
                    </a:lnTo>
                    <a:lnTo>
                      <a:pt x="207" y="144"/>
                    </a:lnTo>
                    <a:lnTo>
                      <a:pt x="207" y="146"/>
                    </a:lnTo>
                    <a:lnTo>
                      <a:pt x="207" y="144"/>
                    </a:lnTo>
                    <a:lnTo>
                      <a:pt x="207" y="146"/>
                    </a:lnTo>
                    <a:lnTo>
                      <a:pt x="207" y="144"/>
                    </a:lnTo>
                    <a:lnTo>
                      <a:pt x="207" y="142"/>
                    </a:lnTo>
                    <a:lnTo>
                      <a:pt x="207" y="144"/>
                    </a:lnTo>
                    <a:lnTo>
                      <a:pt x="209" y="144"/>
                    </a:lnTo>
                    <a:lnTo>
                      <a:pt x="207" y="144"/>
                    </a:lnTo>
                    <a:lnTo>
                      <a:pt x="209" y="144"/>
                    </a:lnTo>
                    <a:lnTo>
                      <a:pt x="209" y="146"/>
                    </a:lnTo>
                    <a:lnTo>
                      <a:pt x="209" y="148"/>
                    </a:lnTo>
                    <a:lnTo>
                      <a:pt x="209" y="150"/>
                    </a:lnTo>
                    <a:lnTo>
                      <a:pt x="207" y="150"/>
                    </a:lnTo>
                    <a:lnTo>
                      <a:pt x="205" y="150"/>
                    </a:lnTo>
                    <a:lnTo>
                      <a:pt x="205" y="148"/>
                    </a:lnTo>
                    <a:lnTo>
                      <a:pt x="203" y="148"/>
                    </a:lnTo>
                    <a:lnTo>
                      <a:pt x="203" y="150"/>
                    </a:lnTo>
                    <a:lnTo>
                      <a:pt x="203" y="148"/>
                    </a:lnTo>
                    <a:lnTo>
                      <a:pt x="201" y="148"/>
                    </a:lnTo>
                    <a:lnTo>
                      <a:pt x="203" y="148"/>
                    </a:lnTo>
                    <a:lnTo>
                      <a:pt x="201" y="148"/>
                    </a:lnTo>
                    <a:lnTo>
                      <a:pt x="203" y="148"/>
                    </a:lnTo>
                    <a:close/>
                    <a:moveTo>
                      <a:pt x="209" y="142"/>
                    </a:moveTo>
                    <a:lnTo>
                      <a:pt x="211" y="142"/>
                    </a:lnTo>
                    <a:lnTo>
                      <a:pt x="209" y="142"/>
                    </a:lnTo>
                    <a:lnTo>
                      <a:pt x="209" y="144"/>
                    </a:lnTo>
                    <a:lnTo>
                      <a:pt x="209" y="142"/>
                    </a:lnTo>
                    <a:lnTo>
                      <a:pt x="209" y="144"/>
                    </a:lnTo>
                    <a:lnTo>
                      <a:pt x="209" y="142"/>
                    </a:lnTo>
                    <a:lnTo>
                      <a:pt x="209" y="144"/>
                    </a:lnTo>
                    <a:lnTo>
                      <a:pt x="211" y="144"/>
                    </a:lnTo>
                    <a:lnTo>
                      <a:pt x="211" y="146"/>
                    </a:lnTo>
                    <a:lnTo>
                      <a:pt x="211" y="144"/>
                    </a:lnTo>
                    <a:lnTo>
                      <a:pt x="209" y="144"/>
                    </a:lnTo>
                    <a:lnTo>
                      <a:pt x="209" y="146"/>
                    </a:lnTo>
                    <a:lnTo>
                      <a:pt x="209" y="144"/>
                    </a:lnTo>
                    <a:lnTo>
                      <a:pt x="209" y="142"/>
                    </a:lnTo>
                    <a:lnTo>
                      <a:pt x="209" y="144"/>
                    </a:lnTo>
                    <a:lnTo>
                      <a:pt x="209" y="142"/>
                    </a:lnTo>
                    <a:close/>
                    <a:moveTo>
                      <a:pt x="188" y="136"/>
                    </a:moveTo>
                    <a:lnTo>
                      <a:pt x="190" y="136"/>
                    </a:lnTo>
                    <a:lnTo>
                      <a:pt x="188" y="136"/>
                    </a:lnTo>
                    <a:lnTo>
                      <a:pt x="190" y="136"/>
                    </a:lnTo>
                    <a:lnTo>
                      <a:pt x="190" y="135"/>
                    </a:lnTo>
                    <a:lnTo>
                      <a:pt x="190" y="136"/>
                    </a:lnTo>
                    <a:lnTo>
                      <a:pt x="188" y="136"/>
                    </a:lnTo>
                    <a:close/>
                    <a:moveTo>
                      <a:pt x="211" y="142"/>
                    </a:moveTo>
                    <a:lnTo>
                      <a:pt x="209" y="142"/>
                    </a:lnTo>
                    <a:lnTo>
                      <a:pt x="211" y="142"/>
                    </a:lnTo>
                    <a:close/>
                    <a:moveTo>
                      <a:pt x="209" y="140"/>
                    </a:moveTo>
                    <a:lnTo>
                      <a:pt x="211" y="140"/>
                    </a:lnTo>
                    <a:lnTo>
                      <a:pt x="209" y="140"/>
                    </a:lnTo>
                    <a:lnTo>
                      <a:pt x="209" y="138"/>
                    </a:lnTo>
                    <a:lnTo>
                      <a:pt x="209" y="140"/>
                    </a:lnTo>
                    <a:close/>
                    <a:moveTo>
                      <a:pt x="211" y="142"/>
                    </a:moveTo>
                    <a:lnTo>
                      <a:pt x="211" y="140"/>
                    </a:lnTo>
                    <a:lnTo>
                      <a:pt x="211" y="142"/>
                    </a:lnTo>
                    <a:lnTo>
                      <a:pt x="211" y="140"/>
                    </a:lnTo>
                    <a:lnTo>
                      <a:pt x="211" y="142"/>
                    </a:lnTo>
                    <a:close/>
                    <a:moveTo>
                      <a:pt x="203" y="138"/>
                    </a:moveTo>
                    <a:lnTo>
                      <a:pt x="203" y="136"/>
                    </a:lnTo>
                    <a:lnTo>
                      <a:pt x="203" y="138"/>
                    </a:lnTo>
                    <a:lnTo>
                      <a:pt x="203" y="140"/>
                    </a:lnTo>
                    <a:lnTo>
                      <a:pt x="205" y="140"/>
                    </a:lnTo>
                    <a:lnTo>
                      <a:pt x="205" y="138"/>
                    </a:lnTo>
                    <a:lnTo>
                      <a:pt x="205" y="140"/>
                    </a:lnTo>
                    <a:lnTo>
                      <a:pt x="205" y="138"/>
                    </a:lnTo>
                    <a:lnTo>
                      <a:pt x="205" y="140"/>
                    </a:lnTo>
                    <a:lnTo>
                      <a:pt x="205" y="138"/>
                    </a:lnTo>
                    <a:lnTo>
                      <a:pt x="205" y="140"/>
                    </a:lnTo>
                    <a:lnTo>
                      <a:pt x="203" y="140"/>
                    </a:lnTo>
                    <a:lnTo>
                      <a:pt x="203" y="138"/>
                    </a:lnTo>
                    <a:lnTo>
                      <a:pt x="203" y="136"/>
                    </a:lnTo>
                    <a:lnTo>
                      <a:pt x="203" y="138"/>
                    </a:lnTo>
                    <a:close/>
                    <a:moveTo>
                      <a:pt x="188" y="131"/>
                    </a:moveTo>
                    <a:lnTo>
                      <a:pt x="188" y="133"/>
                    </a:lnTo>
                    <a:lnTo>
                      <a:pt x="188" y="131"/>
                    </a:lnTo>
                    <a:close/>
                    <a:moveTo>
                      <a:pt x="205" y="136"/>
                    </a:moveTo>
                    <a:lnTo>
                      <a:pt x="205" y="135"/>
                    </a:lnTo>
                    <a:lnTo>
                      <a:pt x="205" y="136"/>
                    </a:lnTo>
                    <a:lnTo>
                      <a:pt x="205" y="135"/>
                    </a:lnTo>
                    <a:lnTo>
                      <a:pt x="205" y="136"/>
                    </a:lnTo>
                    <a:close/>
                    <a:moveTo>
                      <a:pt x="207" y="136"/>
                    </a:moveTo>
                    <a:lnTo>
                      <a:pt x="205" y="136"/>
                    </a:lnTo>
                    <a:lnTo>
                      <a:pt x="205" y="138"/>
                    </a:lnTo>
                    <a:lnTo>
                      <a:pt x="207" y="138"/>
                    </a:lnTo>
                    <a:lnTo>
                      <a:pt x="205" y="138"/>
                    </a:lnTo>
                    <a:lnTo>
                      <a:pt x="207" y="138"/>
                    </a:lnTo>
                    <a:lnTo>
                      <a:pt x="205" y="140"/>
                    </a:lnTo>
                    <a:lnTo>
                      <a:pt x="205" y="138"/>
                    </a:lnTo>
                    <a:lnTo>
                      <a:pt x="205" y="136"/>
                    </a:lnTo>
                    <a:lnTo>
                      <a:pt x="205" y="138"/>
                    </a:lnTo>
                    <a:lnTo>
                      <a:pt x="205" y="136"/>
                    </a:lnTo>
                    <a:lnTo>
                      <a:pt x="207" y="136"/>
                    </a:lnTo>
                    <a:lnTo>
                      <a:pt x="205" y="136"/>
                    </a:lnTo>
                    <a:lnTo>
                      <a:pt x="207" y="136"/>
                    </a:lnTo>
                    <a:lnTo>
                      <a:pt x="207" y="135"/>
                    </a:lnTo>
                    <a:lnTo>
                      <a:pt x="207" y="136"/>
                    </a:lnTo>
                    <a:lnTo>
                      <a:pt x="207" y="135"/>
                    </a:lnTo>
                    <a:lnTo>
                      <a:pt x="207" y="136"/>
                    </a:lnTo>
                    <a:close/>
                    <a:moveTo>
                      <a:pt x="190" y="133"/>
                    </a:moveTo>
                    <a:lnTo>
                      <a:pt x="192" y="133"/>
                    </a:lnTo>
                    <a:lnTo>
                      <a:pt x="192" y="131"/>
                    </a:lnTo>
                    <a:lnTo>
                      <a:pt x="194" y="131"/>
                    </a:lnTo>
                    <a:lnTo>
                      <a:pt x="192" y="131"/>
                    </a:lnTo>
                    <a:lnTo>
                      <a:pt x="194" y="131"/>
                    </a:lnTo>
                    <a:lnTo>
                      <a:pt x="192" y="131"/>
                    </a:lnTo>
                    <a:lnTo>
                      <a:pt x="194" y="131"/>
                    </a:lnTo>
                    <a:lnTo>
                      <a:pt x="194" y="133"/>
                    </a:lnTo>
                    <a:lnTo>
                      <a:pt x="194" y="131"/>
                    </a:lnTo>
                    <a:lnTo>
                      <a:pt x="192" y="133"/>
                    </a:lnTo>
                    <a:lnTo>
                      <a:pt x="192" y="131"/>
                    </a:lnTo>
                    <a:lnTo>
                      <a:pt x="192" y="133"/>
                    </a:lnTo>
                    <a:lnTo>
                      <a:pt x="190" y="133"/>
                    </a:lnTo>
                    <a:close/>
                    <a:moveTo>
                      <a:pt x="213" y="138"/>
                    </a:moveTo>
                    <a:lnTo>
                      <a:pt x="213" y="136"/>
                    </a:lnTo>
                    <a:lnTo>
                      <a:pt x="215" y="136"/>
                    </a:lnTo>
                    <a:lnTo>
                      <a:pt x="213" y="136"/>
                    </a:lnTo>
                    <a:lnTo>
                      <a:pt x="213" y="138"/>
                    </a:lnTo>
                    <a:close/>
                    <a:moveTo>
                      <a:pt x="209" y="135"/>
                    </a:moveTo>
                    <a:lnTo>
                      <a:pt x="211" y="135"/>
                    </a:lnTo>
                    <a:lnTo>
                      <a:pt x="209" y="135"/>
                    </a:lnTo>
                    <a:close/>
                    <a:moveTo>
                      <a:pt x="201" y="133"/>
                    </a:moveTo>
                    <a:lnTo>
                      <a:pt x="199" y="133"/>
                    </a:lnTo>
                    <a:lnTo>
                      <a:pt x="199" y="131"/>
                    </a:lnTo>
                    <a:lnTo>
                      <a:pt x="199" y="133"/>
                    </a:lnTo>
                    <a:lnTo>
                      <a:pt x="201" y="133"/>
                    </a:lnTo>
                    <a:close/>
                    <a:moveTo>
                      <a:pt x="209" y="138"/>
                    </a:moveTo>
                    <a:lnTo>
                      <a:pt x="209" y="136"/>
                    </a:lnTo>
                    <a:lnTo>
                      <a:pt x="207" y="138"/>
                    </a:lnTo>
                    <a:lnTo>
                      <a:pt x="209" y="138"/>
                    </a:lnTo>
                    <a:lnTo>
                      <a:pt x="207" y="138"/>
                    </a:lnTo>
                    <a:lnTo>
                      <a:pt x="209" y="138"/>
                    </a:lnTo>
                    <a:lnTo>
                      <a:pt x="207" y="138"/>
                    </a:lnTo>
                    <a:lnTo>
                      <a:pt x="207" y="140"/>
                    </a:lnTo>
                    <a:lnTo>
                      <a:pt x="209" y="140"/>
                    </a:lnTo>
                    <a:lnTo>
                      <a:pt x="207" y="140"/>
                    </a:lnTo>
                    <a:lnTo>
                      <a:pt x="209" y="140"/>
                    </a:lnTo>
                    <a:lnTo>
                      <a:pt x="209" y="138"/>
                    </a:lnTo>
                    <a:lnTo>
                      <a:pt x="209" y="140"/>
                    </a:lnTo>
                    <a:lnTo>
                      <a:pt x="209" y="138"/>
                    </a:lnTo>
                    <a:lnTo>
                      <a:pt x="207" y="138"/>
                    </a:lnTo>
                    <a:lnTo>
                      <a:pt x="209" y="138"/>
                    </a:lnTo>
                    <a:lnTo>
                      <a:pt x="209" y="136"/>
                    </a:lnTo>
                    <a:lnTo>
                      <a:pt x="211" y="136"/>
                    </a:lnTo>
                    <a:lnTo>
                      <a:pt x="211" y="135"/>
                    </a:lnTo>
                    <a:lnTo>
                      <a:pt x="211" y="136"/>
                    </a:lnTo>
                    <a:lnTo>
                      <a:pt x="211" y="135"/>
                    </a:lnTo>
                    <a:lnTo>
                      <a:pt x="211" y="136"/>
                    </a:lnTo>
                    <a:lnTo>
                      <a:pt x="211" y="138"/>
                    </a:lnTo>
                    <a:lnTo>
                      <a:pt x="209" y="138"/>
                    </a:lnTo>
                    <a:lnTo>
                      <a:pt x="209" y="140"/>
                    </a:lnTo>
                    <a:lnTo>
                      <a:pt x="207" y="140"/>
                    </a:lnTo>
                    <a:lnTo>
                      <a:pt x="207" y="142"/>
                    </a:lnTo>
                    <a:lnTo>
                      <a:pt x="205" y="140"/>
                    </a:lnTo>
                    <a:lnTo>
                      <a:pt x="207" y="138"/>
                    </a:lnTo>
                    <a:lnTo>
                      <a:pt x="207" y="140"/>
                    </a:lnTo>
                    <a:lnTo>
                      <a:pt x="207" y="138"/>
                    </a:lnTo>
                    <a:lnTo>
                      <a:pt x="207" y="136"/>
                    </a:lnTo>
                    <a:lnTo>
                      <a:pt x="207" y="138"/>
                    </a:lnTo>
                    <a:lnTo>
                      <a:pt x="207" y="136"/>
                    </a:lnTo>
                    <a:lnTo>
                      <a:pt x="207" y="138"/>
                    </a:lnTo>
                    <a:lnTo>
                      <a:pt x="207" y="136"/>
                    </a:lnTo>
                    <a:lnTo>
                      <a:pt x="209" y="136"/>
                    </a:lnTo>
                    <a:lnTo>
                      <a:pt x="207" y="136"/>
                    </a:lnTo>
                    <a:lnTo>
                      <a:pt x="209" y="136"/>
                    </a:lnTo>
                    <a:lnTo>
                      <a:pt x="207" y="136"/>
                    </a:lnTo>
                    <a:lnTo>
                      <a:pt x="209" y="136"/>
                    </a:lnTo>
                    <a:lnTo>
                      <a:pt x="207" y="136"/>
                    </a:lnTo>
                    <a:lnTo>
                      <a:pt x="209" y="136"/>
                    </a:lnTo>
                    <a:lnTo>
                      <a:pt x="211" y="136"/>
                    </a:lnTo>
                    <a:lnTo>
                      <a:pt x="209" y="136"/>
                    </a:lnTo>
                    <a:lnTo>
                      <a:pt x="211" y="136"/>
                    </a:lnTo>
                    <a:lnTo>
                      <a:pt x="211" y="135"/>
                    </a:lnTo>
                    <a:lnTo>
                      <a:pt x="209" y="135"/>
                    </a:lnTo>
                    <a:lnTo>
                      <a:pt x="211" y="135"/>
                    </a:lnTo>
                    <a:lnTo>
                      <a:pt x="209" y="135"/>
                    </a:lnTo>
                    <a:lnTo>
                      <a:pt x="211" y="135"/>
                    </a:lnTo>
                    <a:lnTo>
                      <a:pt x="209" y="135"/>
                    </a:lnTo>
                    <a:lnTo>
                      <a:pt x="211" y="135"/>
                    </a:lnTo>
                    <a:lnTo>
                      <a:pt x="209" y="135"/>
                    </a:lnTo>
                    <a:lnTo>
                      <a:pt x="211" y="135"/>
                    </a:lnTo>
                    <a:lnTo>
                      <a:pt x="211" y="133"/>
                    </a:lnTo>
                    <a:lnTo>
                      <a:pt x="209" y="133"/>
                    </a:lnTo>
                    <a:lnTo>
                      <a:pt x="209" y="135"/>
                    </a:lnTo>
                    <a:lnTo>
                      <a:pt x="209" y="133"/>
                    </a:lnTo>
                    <a:lnTo>
                      <a:pt x="211" y="133"/>
                    </a:lnTo>
                    <a:lnTo>
                      <a:pt x="211" y="135"/>
                    </a:lnTo>
                    <a:lnTo>
                      <a:pt x="211" y="133"/>
                    </a:lnTo>
                    <a:lnTo>
                      <a:pt x="211" y="135"/>
                    </a:lnTo>
                    <a:lnTo>
                      <a:pt x="211" y="133"/>
                    </a:lnTo>
                    <a:lnTo>
                      <a:pt x="211" y="135"/>
                    </a:lnTo>
                    <a:lnTo>
                      <a:pt x="211" y="136"/>
                    </a:lnTo>
                    <a:lnTo>
                      <a:pt x="209" y="138"/>
                    </a:lnTo>
                    <a:lnTo>
                      <a:pt x="209" y="136"/>
                    </a:lnTo>
                    <a:lnTo>
                      <a:pt x="209" y="138"/>
                    </a:lnTo>
                    <a:close/>
                    <a:moveTo>
                      <a:pt x="201" y="133"/>
                    </a:moveTo>
                    <a:lnTo>
                      <a:pt x="199" y="133"/>
                    </a:lnTo>
                    <a:lnTo>
                      <a:pt x="201" y="133"/>
                    </a:lnTo>
                    <a:lnTo>
                      <a:pt x="201" y="131"/>
                    </a:lnTo>
                    <a:lnTo>
                      <a:pt x="201" y="133"/>
                    </a:lnTo>
                    <a:lnTo>
                      <a:pt x="201" y="131"/>
                    </a:lnTo>
                    <a:lnTo>
                      <a:pt x="203" y="131"/>
                    </a:lnTo>
                    <a:lnTo>
                      <a:pt x="201" y="131"/>
                    </a:lnTo>
                    <a:lnTo>
                      <a:pt x="203" y="131"/>
                    </a:lnTo>
                    <a:lnTo>
                      <a:pt x="201" y="131"/>
                    </a:lnTo>
                    <a:lnTo>
                      <a:pt x="203" y="131"/>
                    </a:lnTo>
                    <a:lnTo>
                      <a:pt x="203" y="133"/>
                    </a:lnTo>
                    <a:lnTo>
                      <a:pt x="201" y="133"/>
                    </a:lnTo>
                    <a:lnTo>
                      <a:pt x="201" y="135"/>
                    </a:lnTo>
                    <a:lnTo>
                      <a:pt x="199" y="135"/>
                    </a:lnTo>
                    <a:lnTo>
                      <a:pt x="201" y="135"/>
                    </a:lnTo>
                    <a:lnTo>
                      <a:pt x="201" y="133"/>
                    </a:lnTo>
                    <a:lnTo>
                      <a:pt x="201" y="135"/>
                    </a:lnTo>
                    <a:lnTo>
                      <a:pt x="199" y="133"/>
                    </a:lnTo>
                    <a:lnTo>
                      <a:pt x="201" y="133"/>
                    </a:lnTo>
                    <a:close/>
                    <a:moveTo>
                      <a:pt x="209" y="133"/>
                    </a:moveTo>
                    <a:lnTo>
                      <a:pt x="209" y="135"/>
                    </a:lnTo>
                    <a:lnTo>
                      <a:pt x="209" y="133"/>
                    </a:lnTo>
                    <a:lnTo>
                      <a:pt x="209" y="135"/>
                    </a:lnTo>
                    <a:lnTo>
                      <a:pt x="209" y="136"/>
                    </a:lnTo>
                    <a:lnTo>
                      <a:pt x="209" y="135"/>
                    </a:lnTo>
                    <a:lnTo>
                      <a:pt x="207" y="135"/>
                    </a:lnTo>
                    <a:lnTo>
                      <a:pt x="209" y="135"/>
                    </a:lnTo>
                    <a:lnTo>
                      <a:pt x="207" y="135"/>
                    </a:lnTo>
                    <a:lnTo>
                      <a:pt x="207" y="136"/>
                    </a:lnTo>
                    <a:lnTo>
                      <a:pt x="207" y="135"/>
                    </a:lnTo>
                    <a:lnTo>
                      <a:pt x="209" y="135"/>
                    </a:lnTo>
                    <a:lnTo>
                      <a:pt x="209" y="133"/>
                    </a:lnTo>
                    <a:lnTo>
                      <a:pt x="207" y="133"/>
                    </a:lnTo>
                    <a:lnTo>
                      <a:pt x="209" y="133"/>
                    </a:lnTo>
                    <a:close/>
                    <a:moveTo>
                      <a:pt x="207" y="135"/>
                    </a:moveTo>
                    <a:lnTo>
                      <a:pt x="209" y="135"/>
                    </a:lnTo>
                    <a:lnTo>
                      <a:pt x="207" y="135"/>
                    </a:lnTo>
                    <a:close/>
                    <a:moveTo>
                      <a:pt x="198" y="133"/>
                    </a:moveTo>
                    <a:lnTo>
                      <a:pt x="198" y="131"/>
                    </a:lnTo>
                    <a:lnTo>
                      <a:pt x="199" y="129"/>
                    </a:lnTo>
                    <a:lnTo>
                      <a:pt x="199" y="131"/>
                    </a:lnTo>
                    <a:lnTo>
                      <a:pt x="199" y="129"/>
                    </a:lnTo>
                    <a:lnTo>
                      <a:pt x="199" y="131"/>
                    </a:lnTo>
                    <a:lnTo>
                      <a:pt x="198" y="131"/>
                    </a:lnTo>
                    <a:lnTo>
                      <a:pt x="198" y="133"/>
                    </a:lnTo>
                    <a:close/>
                    <a:moveTo>
                      <a:pt x="215" y="133"/>
                    </a:moveTo>
                    <a:lnTo>
                      <a:pt x="213" y="133"/>
                    </a:lnTo>
                    <a:lnTo>
                      <a:pt x="215" y="133"/>
                    </a:lnTo>
                    <a:close/>
                    <a:moveTo>
                      <a:pt x="215" y="133"/>
                    </a:moveTo>
                    <a:lnTo>
                      <a:pt x="213" y="133"/>
                    </a:lnTo>
                    <a:lnTo>
                      <a:pt x="215" y="133"/>
                    </a:lnTo>
                    <a:close/>
                    <a:moveTo>
                      <a:pt x="201" y="129"/>
                    </a:moveTo>
                    <a:lnTo>
                      <a:pt x="201" y="131"/>
                    </a:lnTo>
                    <a:lnTo>
                      <a:pt x="201" y="129"/>
                    </a:lnTo>
                    <a:close/>
                    <a:moveTo>
                      <a:pt x="196" y="127"/>
                    </a:moveTo>
                    <a:lnTo>
                      <a:pt x="194" y="127"/>
                    </a:lnTo>
                    <a:lnTo>
                      <a:pt x="196" y="127"/>
                    </a:lnTo>
                    <a:close/>
                    <a:moveTo>
                      <a:pt x="196" y="127"/>
                    </a:moveTo>
                    <a:lnTo>
                      <a:pt x="196" y="129"/>
                    </a:lnTo>
                    <a:lnTo>
                      <a:pt x="196" y="127"/>
                    </a:lnTo>
                    <a:close/>
                    <a:moveTo>
                      <a:pt x="201" y="129"/>
                    </a:moveTo>
                    <a:lnTo>
                      <a:pt x="201" y="131"/>
                    </a:lnTo>
                    <a:lnTo>
                      <a:pt x="201" y="129"/>
                    </a:lnTo>
                    <a:lnTo>
                      <a:pt x="199" y="129"/>
                    </a:lnTo>
                    <a:lnTo>
                      <a:pt x="201" y="129"/>
                    </a:lnTo>
                    <a:close/>
                    <a:moveTo>
                      <a:pt x="205" y="131"/>
                    </a:moveTo>
                    <a:lnTo>
                      <a:pt x="205" y="129"/>
                    </a:lnTo>
                    <a:lnTo>
                      <a:pt x="205" y="131"/>
                    </a:lnTo>
                    <a:close/>
                    <a:moveTo>
                      <a:pt x="213" y="133"/>
                    </a:moveTo>
                    <a:lnTo>
                      <a:pt x="211" y="133"/>
                    </a:lnTo>
                    <a:lnTo>
                      <a:pt x="213" y="133"/>
                    </a:lnTo>
                    <a:lnTo>
                      <a:pt x="211" y="133"/>
                    </a:lnTo>
                    <a:lnTo>
                      <a:pt x="213" y="133"/>
                    </a:lnTo>
                    <a:lnTo>
                      <a:pt x="211" y="133"/>
                    </a:lnTo>
                    <a:lnTo>
                      <a:pt x="211" y="131"/>
                    </a:lnTo>
                    <a:lnTo>
                      <a:pt x="213" y="131"/>
                    </a:lnTo>
                    <a:lnTo>
                      <a:pt x="213" y="133"/>
                    </a:lnTo>
                    <a:close/>
                    <a:moveTo>
                      <a:pt x="211" y="129"/>
                    </a:moveTo>
                    <a:lnTo>
                      <a:pt x="211" y="131"/>
                    </a:lnTo>
                    <a:lnTo>
                      <a:pt x="211" y="129"/>
                    </a:lnTo>
                    <a:close/>
                    <a:moveTo>
                      <a:pt x="215" y="135"/>
                    </a:moveTo>
                    <a:lnTo>
                      <a:pt x="213" y="135"/>
                    </a:lnTo>
                    <a:lnTo>
                      <a:pt x="213" y="136"/>
                    </a:lnTo>
                    <a:lnTo>
                      <a:pt x="215" y="135"/>
                    </a:lnTo>
                    <a:lnTo>
                      <a:pt x="213" y="135"/>
                    </a:lnTo>
                    <a:lnTo>
                      <a:pt x="215" y="135"/>
                    </a:lnTo>
                    <a:lnTo>
                      <a:pt x="215" y="136"/>
                    </a:lnTo>
                    <a:lnTo>
                      <a:pt x="215" y="135"/>
                    </a:lnTo>
                    <a:lnTo>
                      <a:pt x="215" y="136"/>
                    </a:lnTo>
                    <a:lnTo>
                      <a:pt x="213" y="136"/>
                    </a:lnTo>
                    <a:lnTo>
                      <a:pt x="215" y="136"/>
                    </a:lnTo>
                    <a:lnTo>
                      <a:pt x="213" y="136"/>
                    </a:lnTo>
                    <a:lnTo>
                      <a:pt x="213" y="138"/>
                    </a:lnTo>
                    <a:lnTo>
                      <a:pt x="215" y="138"/>
                    </a:lnTo>
                    <a:lnTo>
                      <a:pt x="213" y="138"/>
                    </a:lnTo>
                    <a:lnTo>
                      <a:pt x="211" y="138"/>
                    </a:lnTo>
                    <a:lnTo>
                      <a:pt x="213" y="138"/>
                    </a:lnTo>
                    <a:lnTo>
                      <a:pt x="211" y="138"/>
                    </a:lnTo>
                    <a:lnTo>
                      <a:pt x="213" y="138"/>
                    </a:lnTo>
                    <a:lnTo>
                      <a:pt x="211" y="140"/>
                    </a:lnTo>
                    <a:lnTo>
                      <a:pt x="211" y="142"/>
                    </a:lnTo>
                    <a:lnTo>
                      <a:pt x="211" y="140"/>
                    </a:lnTo>
                    <a:lnTo>
                      <a:pt x="209" y="138"/>
                    </a:lnTo>
                    <a:lnTo>
                      <a:pt x="211" y="138"/>
                    </a:lnTo>
                    <a:lnTo>
                      <a:pt x="209" y="138"/>
                    </a:lnTo>
                    <a:lnTo>
                      <a:pt x="211" y="138"/>
                    </a:lnTo>
                    <a:lnTo>
                      <a:pt x="211" y="136"/>
                    </a:lnTo>
                    <a:lnTo>
                      <a:pt x="211" y="135"/>
                    </a:lnTo>
                    <a:lnTo>
                      <a:pt x="211" y="133"/>
                    </a:lnTo>
                    <a:lnTo>
                      <a:pt x="213" y="133"/>
                    </a:lnTo>
                    <a:lnTo>
                      <a:pt x="211" y="133"/>
                    </a:lnTo>
                    <a:lnTo>
                      <a:pt x="213" y="133"/>
                    </a:lnTo>
                    <a:lnTo>
                      <a:pt x="213" y="135"/>
                    </a:lnTo>
                    <a:lnTo>
                      <a:pt x="213" y="133"/>
                    </a:lnTo>
                    <a:lnTo>
                      <a:pt x="213" y="135"/>
                    </a:lnTo>
                    <a:lnTo>
                      <a:pt x="211" y="135"/>
                    </a:lnTo>
                    <a:lnTo>
                      <a:pt x="213" y="135"/>
                    </a:lnTo>
                    <a:lnTo>
                      <a:pt x="211" y="135"/>
                    </a:lnTo>
                    <a:lnTo>
                      <a:pt x="213" y="135"/>
                    </a:lnTo>
                    <a:lnTo>
                      <a:pt x="213" y="136"/>
                    </a:lnTo>
                    <a:lnTo>
                      <a:pt x="213" y="138"/>
                    </a:lnTo>
                    <a:lnTo>
                      <a:pt x="213" y="136"/>
                    </a:lnTo>
                    <a:lnTo>
                      <a:pt x="213" y="135"/>
                    </a:lnTo>
                    <a:lnTo>
                      <a:pt x="213" y="133"/>
                    </a:lnTo>
                    <a:lnTo>
                      <a:pt x="215" y="133"/>
                    </a:lnTo>
                    <a:lnTo>
                      <a:pt x="213" y="133"/>
                    </a:lnTo>
                    <a:lnTo>
                      <a:pt x="215" y="133"/>
                    </a:lnTo>
                    <a:lnTo>
                      <a:pt x="215" y="135"/>
                    </a:lnTo>
                    <a:lnTo>
                      <a:pt x="215" y="133"/>
                    </a:lnTo>
                    <a:lnTo>
                      <a:pt x="215" y="135"/>
                    </a:lnTo>
                    <a:lnTo>
                      <a:pt x="215" y="133"/>
                    </a:lnTo>
                    <a:lnTo>
                      <a:pt x="217" y="133"/>
                    </a:lnTo>
                    <a:lnTo>
                      <a:pt x="217" y="131"/>
                    </a:lnTo>
                    <a:lnTo>
                      <a:pt x="217" y="133"/>
                    </a:lnTo>
                    <a:lnTo>
                      <a:pt x="217" y="131"/>
                    </a:lnTo>
                    <a:lnTo>
                      <a:pt x="219" y="131"/>
                    </a:lnTo>
                    <a:lnTo>
                      <a:pt x="217" y="131"/>
                    </a:lnTo>
                    <a:lnTo>
                      <a:pt x="217" y="133"/>
                    </a:lnTo>
                    <a:lnTo>
                      <a:pt x="217" y="131"/>
                    </a:lnTo>
                    <a:lnTo>
                      <a:pt x="217" y="133"/>
                    </a:lnTo>
                    <a:lnTo>
                      <a:pt x="219" y="133"/>
                    </a:lnTo>
                    <a:lnTo>
                      <a:pt x="219" y="131"/>
                    </a:lnTo>
                    <a:lnTo>
                      <a:pt x="219" y="133"/>
                    </a:lnTo>
                    <a:lnTo>
                      <a:pt x="217" y="133"/>
                    </a:lnTo>
                    <a:lnTo>
                      <a:pt x="215" y="135"/>
                    </a:lnTo>
                    <a:lnTo>
                      <a:pt x="213" y="135"/>
                    </a:lnTo>
                    <a:lnTo>
                      <a:pt x="215" y="135"/>
                    </a:lnTo>
                    <a:close/>
                    <a:moveTo>
                      <a:pt x="215" y="135"/>
                    </a:moveTo>
                    <a:lnTo>
                      <a:pt x="213" y="135"/>
                    </a:lnTo>
                    <a:lnTo>
                      <a:pt x="215" y="135"/>
                    </a:lnTo>
                    <a:close/>
                    <a:moveTo>
                      <a:pt x="217" y="131"/>
                    </a:moveTo>
                    <a:lnTo>
                      <a:pt x="217" y="133"/>
                    </a:lnTo>
                    <a:lnTo>
                      <a:pt x="217" y="131"/>
                    </a:lnTo>
                    <a:lnTo>
                      <a:pt x="217" y="133"/>
                    </a:lnTo>
                    <a:lnTo>
                      <a:pt x="215" y="133"/>
                    </a:lnTo>
                    <a:lnTo>
                      <a:pt x="217" y="133"/>
                    </a:lnTo>
                    <a:lnTo>
                      <a:pt x="217" y="131"/>
                    </a:lnTo>
                    <a:close/>
                    <a:moveTo>
                      <a:pt x="215" y="131"/>
                    </a:moveTo>
                    <a:lnTo>
                      <a:pt x="215" y="133"/>
                    </a:lnTo>
                    <a:lnTo>
                      <a:pt x="215" y="131"/>
                    </a:lnTo>
                    <a:lnTo>
                      <a:pt x="217" y="131"/>
                    </a:lnTo>
                    <a:lnTo>
                      <a:pt x="215" y="131"/>
                    </a:lnTo>
                    <a:lnTo>
                      <a:pt x="217" y="131"/>
                    </a:lnTo>
                    <a:lnTo>
                      <a:pt x="215" y="131"/>
                    </a:lnTo>
                    <a:lnTo>
                      <a:pt x="215" y="133"/>
                    </a:lnTo>
                    <a:lnTo>
                      <a:pt x="215" y="131"/>
                    </a:lnTo>
                    <a:close/>
                    <a:moveTo>
                      <a:pt x="213" y="129"/>
                    </a:moveTo>
                    <a:lnTo>
                      <a:pt x="211" y="129"/>
                    </a:lnTo>
                    <a:lnTo>
                      <a:pt x="213" y="129"/>
                    </a:lnTo>
                    <a:lnTo>
                      <a:pt x="211" y="129"/>
                    </a:lnTo>
                    <a:lnTo>
                      <a:pt x="211" y="131"/>
                    </a:lnTo>
                    <a:lnTo>
                      <a:pt x="213" y="131"/>
                    </a:lnTo>
                    <a:lnTo>
                      <a:pt x="211" y="131"/>
                    </a:lnTo>
                    <a:lnTo>
                      <a:pt x="211" y="129"/>
                    </a:lnTo>
                    <a:lnTo>
                      <a:pt x="213" y="129"/>
                    </a:lnTo>
                    <a:close/>
                    <a:moveTo>
                      <a:pt x="198" y="131"/>
                    </a:moveTo>
                    <a:lnTo>
                      <a:pt x="196" y="131"/>
                    </a:lnTo>
                    <a:lnTo>
                      <a:pt x="198" y="131"/>
                    </a:lnTo>
                    <a:lnTo>
                      <a:pt x="196" y="131"/>
                    </a:lnTo>
                    <a:lnTo>
                      <a:pt x="198" y="131"/>
                    </a:lnTo>
                    <a:lnTo>
                      <a:pt x="196" y="131"/>
                    </a:lnTo>
                    <a:lnTo>
                      <a:pt x="194" y="131"/>
                    </a:lnTo>
                    <a:lnTo>
                      <a:pt x="194" y="133"/>
                    </a:lnTo>
                    <a:lnTo>
                      <a:pt x="196" y="133"/>
                    </a:lnTo>
                    <a:lnTo>
                      <a:pt x="194" y="133"/>
                    </a:lnTo>
                    <a:lnTo>
                      <a:pt x="196" y="133"/>
                    </a:lnTo>
                    <a:lnTo>
                      <a:pt x="198" y="131"/>
                    </a:lnTo>
                    <a:lnTo>
                      <a:pt x="198" y="133"/>
                    </a:lnTo>
                    <a:lnTo>
                      <a:pt x="198" y="131"/>
                    </a:lnTo>
                    <a:lnTo>
                      <a:pt x="198" y="133"/>
                    </a:lnTo>
                    <a:lnTo>
                      <a:pt x="196" y="133"/>
                    </a:lnTo>
                    <a:lnTo>
                      <a:pt x="198" y="133"/>
                    </a:lnTo>
                    <a:lnTo>
                      <a:pt x="196" y="133"/>
                    </a:lnTo>
                    <a:lnTo>
                      <a:pt x="194" y="133"/>
                    </a:lnTo>
                    <a:lnTo>
                      <a:pt x="192" y="133"/>
                    </a:lnTo>
                    <a:lnTo>
                      <a:pt x="194" y="133"/>
                    </a:lnTo>
                    <a:lnTo>
                      <a:pt x="194" y="131"/>
                    </a:lnTo>
                    <a:lnTo>
                      <a:pt x="194" y="133"/>
                    </a:lnTo>
                    <a:lnTo>
                      <a:pt x="194" y="131"/>
                    </a:lnTo>
                    <a:lnTo>
                      <a:pt x="194" y="129"/>
                    </a:lnTo>
                    <a:lnTo>
                      <a:pt x="196" y="129"/>
                    </a:lnTo>
                    <a:lnTo>
                      <a:pt x="194" y="129"/>
                    </a:lnTo>
                    <a:lnTo>
                      <a:pt x="196" y="129"/>
                    </a:lnTo>
                    <a:lnTo>
                      <a:pt x="194" y="129"/>
                    </a:lnTo>
                    <a:lnTo>
                      <a:pt x="196" y="129"/>
                    </a:lnTo>
                    <a:lnTo>
                      <a:pt x="194" y="131"/>
                    </a:lnTo>
                    <a:lnTo>
                      <a:pt x="196" y="131"/>
                    </a:lnTo>
                    <a:lnTo>
                      <a:pt x="194" y="131"/>
                    </a:lnTo>
                    <a:lnTo>
                      <a:pt x="194" y="129"/>
                    </a:lnTo>
                    <a:lnTo>
                      <a:pt x="194" y="131"/>
                    </a:lnTo>
                    <a:lnTo>
                      <a:pt x="196" y="131"/>
                    </a:lnTo>
                    <a:lnTo>
                      <a:pt x="196" y="129"/>
                    </a:lnTo>
                    <a:lnTo>
                      <a:pt x="196" y="131"/>
                    </a:lnTo>
                    <a:lnTo>
                      <a:pt x="196" y="129"/>
                    </a:lnTo>
                    <a:lnTo>
                      <a:pt x="196" y="131"/>
                    </a:lnTo>
                    <a:lnTo>
                      <a:pt x="198" y="131"/>
                    </a:lnTo>
                    <a:lnTo>
                      <a:pt x="198" y="129"/>
                    </a:lnTo>
                    <a:lnTo>
                      <a:pt x="198" y="131"/>
                    </a:lnTo>
                    <a:lnTo>
                      <a:pt x="198" y="129"/>
                    </a:lnTo>
                    <a:lnTo>
                      <a:pt x="198" y="131"/>
                    </a:lnTo>
                    <a:lnTo>
                      <a:pt x="198" y="129"/>
                    </a:lnTo>
                    <a:lnTo>
                      <a:pt x="198" y="131"/>
                    </a:lnTo>
                    <a:lnTo>
                      <a:pt x="198" y="129"/>
                    </a:lnTo>
                    <a:lnTo>
                      <a:pt x="198" y="127"/>
                    </a:lnTo>
                    <a:lnTo>
                      <a:pt x="198" y="125"/>
                    </a:lnTo>
                    <a:lnTo>
                      <a:pt x="199" y="125"/>
                    </a:lnTo>
                    <a:lnTo>
                      <a:pt x="199" y="123"/>
                    </a:lnTo>
                    <a:lnTo>
                      <a:pt x="199" y="125"/>
                    </a:lnTo>
                    <a:lnTo>
                      <a:pt x="201" y="125"/>
                    </a:lnTo>
                    <a:lnTo>
                      <a:pt x="199" y="125"/>
                    </a:lnTo>
                    <a:lnTo>
                      <a:pt x="199" y="127"/>
                    </a:lnTo>
                    <a:lnTo>
                      <a:pt x="199" y="125"/>
                    </a:lnTo>
                    <a:lnTo>
                      <a:pt x="198" y="125"/>
                    </a:lnTo>
                    <a:lnTo>
                      <a:pt x="198" y="127"/>
                    </a:lnTo>
                    <a:lnTo>
                      <a:pt x="198" y="129"/>
                    </a:lnTo>
                    <a:lnTo>
                      <a:pt x="199" y="129"/>
                    </a:lnTo>
                    <a:lnTo>
                      <a:pt x="199" y="127"/>
                    </a:lnTo>
                    <a:lnTo>
                      <a:pt x="199" y="129"/>
                    </a:lnTo>
                    <a:lnTo>
                      <a:pt x="199" y="127"/>
                    </a:lnTo>
                    <a:lnTo>
                      <a:pt x="199" y="125"/>
                    </a:lnTo>
                    <a:lnTo>
                      <a:pt x="199" y="127"/>
                    </a:lnTo>
                    <a:lnTo>
                      <a:pt x="199" y="125"/>
                    </a:lnTo>
                    <a:lnTo>
                      <a:pt x="199" y="127"/>
                    </a:lnTo>
                    <a:lnTo>
                      <a:pt x="199" y="125"/>
                    </a:lnTo>
                    <a:lnTo>
                      <a:pt x="199" y="127"/>
                    </a:lnTo>
                    <a:lnTo>
                      <a:pt x="201" y="127"/>
                    </a:lnTo>
                    <a:lnTo>
                      <a:pt x="201" y="125"/>
                    </a:lnTo>
                    <a:lnTo>
                      <a:pt x="203" y="125"/>
                    </a:lnTo>
                    <a:lnTo>
                      <a:pt x="201" y="125"/>
                    </a:lnTo>
                    <a:lnTo>
                      <a:pt x="203" y="125"/>
                    </a:lnTo>
                    <a:lnTo>
                      <a:pt x="203" y="127"/>
                    </a:lnTo>
                    <a:lnTo>
                      <a:pt x="201" y="127"/>
                    </a:lnTo>
                    <a:lnTo>
                      <a:pt x="201" y="125"/>
                    </a:lnTo>
                    <a:lnTo>
                      <a:pt x="201" y="127"/>
                    </a:lnTo>
                    <a:lnTo>
                      <a:pt x="199" y="127"/>
                    </a:lnTo>
                    <a:lnTo>
                      <a:pt x="199" y="129"/>
                    </a:lnTo>
                    <a:lnTo>
                      <a:pt x="201" y="127"/>
                    </a:lnTo>
                    <a:lnTo>
                      <a:pt x="201" y="129"/>
                    </a:lnTo>
                    <a:lnTo>
                      <a:pt x="199" y="129"/>
                    </a:lnTo>
                    <a:lnTo>
                      <a:pt x="198" y="129"/>
                    </a:lnTo>
                    <a:lnTo>
                      <a:pt x="198" y="131"/>
                    </a:lnTo>
                    <a:close/>
                    <a:moveTo>
                      <a:pt x="205" y="127"/>
                    </a:moveTo>
                    <a:lnTo>
                      <a:pt x="205" y="129"/>
                    </a:lnTo>
                    <a:lnTo>
                      <a:pt x="205" y="127"/>
                    </a:lnTo>
                    <a:lnTo>
                      <a:pt x="205" y="129"/>
                    </a:lnTo>
                    <a:lnTo>
                      <a:pt x="205" y="131"/>
                    </a:lnTo>
                    <a:lnTo>
                      <a:pt x="205" y="129"/>
                    </a:lnTo>
                    <a:lnTo>
                      <a:pt x="205" y="131"/>
                    </a:lnTo>
                    <a:lnTo>
                      <a:pt x="205" y="133"/>
                    </a:lnTo>
                    <a:lnTo>
                      <a:pt x="205" y="135"/>
                    </a:lnTo>
                    <a:lnTo>
                      <a:pt x="203" y="135"/>
                    </a:lnTo>
                    <a:lnTo>
                      <a:pt x="205" y="133"/>
                    </a:lnTo>
                    <a:lnTo>
                      <a:pt x="203" y="133"/>
                    </a:lnTo>
                    <a:lnTo>
                      <a:pt x="205" y="133"/>
                    </a:lnTo>
                    <a:lnTo>
                      <a:pt x="203" y="135"/>
                    </a:lnTo>
                    <a:lnTo>
                      <a:pt x="205" y="135"/>
                    </a:lnTo>
                    <a:lnTo>
                      <a:pt x="205" y="133"/>
                    </a:lnTo>
                    <a:lnTo>
                      <a:pt x="205" y="131"/>
                    </a:lnTo>
                    <a:lnTo>
                      <a:pt x="205" y="133"/>
                    </a:lnTo>
                    <a:lnTo>
                      <a:pt x="205" y="131"/>
                    </a:lnTo>
                    <a:lnTo>
                      <a:pt x="205" y="133"/>
                    </a:lnTo>
                    <a:lnTo>
                      <a:pt x="205" y="135"/>
                    </a:lnTo>
                    <a:lnTo>
                      <a:pt x="203" y="135"/>
                    </a:lnTo>
                    <a:lnTo>
                      <a:pt x="203" y="136"/>
                    </a:lnTo>
                    <a:lnTo>
                      <a:pt x="203" y="138"/>
                    </a:lnTo>
                    <a:lnTo>
                      <a:pt x="203" y="136"/>
                    </a:lnTo>
                    <a:lnTo>
                      <a:pt x="203" y="138"/>
                    </a:lnTo>
                    <a:lnTo>
                      <a:pt x="201" y="140"/>
                    </a:lnTo>
                    <a:lnTo>
                      <a:pt x="199" y="140"/>
                    </a:lnTo>
                    <a:lnTo>
                      <a:pt x="199" y="138"/>
                    </a:lnTo>
                    <a:lnTo>
                      <a:pt x="199" y="140"/>
                    </a:lnTo>
                    <a:lnTo>
                      <a:pt x="198" y="140"/>
                    </a:lnTo>
                    <a:lnTo>
                      <a:pt x="198" y="142"/>
                    </a:lnTo>
                    <a:lnTo>
                      <a:pt x="196" y="140"/>
                    </a:lnTo>
                    <a:lnTo>
                      <a:pt x="194" y="138"/>
                    </a:lnTo>
                    <a:lnTo>
                      <a:pt x="194" y="136"/>
                    </a:lnTo>
                    <a:lnTo>
                      <a:pt x="192" y="136"/>
                    </a:lnTo>
                    <a:lnTo>
                      <a:pt x="192" y="138"/>
                    </a:lnTo>
                    <a:lnTo>
                      <a:pt x="192" y="136"/>
                    </a:lnTo>
                    <a:lnTo>
                      <a:pt x="192" y="135"/>
                    </a:lnTo>
                    <a:lnTo>
                      <a:pt x="194" y="135"/>
                    </a:lnTo>
                    <a:lnTo>
                      <a:pt x="194" y="136"/>
                    </a:lnTo>
                    <a:lnTo>
                      <a:pt x="194" y="135"/>
                    </a:lnTo>
                    <a:lnTo>
                      <a:pt x="194" y="136"/>
                    </a:lnTo>
                    <a:lnTo>
                      <a:pt x="194" y="135"/>
                    </a:lnTo>
                    <a:lnTo>
                      <a:pt x="194" y="136"/>
                    </a:lnTo>
                    <a:lnTo>
                      <a:pt x="194" y="135"/>
                    </a:lnTo>
                    <a:lnTo>
                      <a:pt x="196" y="136"/>
                    </a:lnTo>
                    <a:lnTo>
                      <a:pt x="196" y="135"/>
                    </a:lnTo>
                    <a:lnTo>
                      <a:pt x="196" y="136"/>
                    </a:lnTo>
                    <a:lnTo>
                      <a:pt x="196" y="135"/>
                    </a:lnTo>
                    <a:lnTo>
                      <a:pt x="196" y="136"/>
                    </a:lnTo>
                    <a:lnTo>
                      <a:pt x="196" y="135"/>
                    </a:lnTo>
                    <a:lnTo>
                      <a:pt x="196" y="136"/>
                    </a:lnTo>
                    <a:lnTo>
                      <a:pt x="196" y="135"/>
                    </a:lnTo>
                    <a:lnTo>
                      <a:pt x="194" y="135"/>
                    </a:lnTo>
                    <a:lnTo>
                      <a:pt x="194" y="133"/>
                    </a:lnTo>
                    <a:lnTo>
                      <a:pt x="196" y="133"/>
                    </a:lnTo>
                    <a:lnTo>
                      <a:pt x="196" y="135"/>
                    </a:lnTo>
                    <a:lnTo>
                      <a:pt x="196" y="136"/>
                    </a:lnTo>
                    <a:lnTo>
                      <a:pt x="196" y="135"/>
                    </a:lnTo>
                    <a:lnTo>
                      <a:pt x="198" y="135"/>
                    </a:lnTo>
                    <a:lnTo>
                      <a:pt x="196" y="135"/>
                    </a:lnTo>
                    <a:lnTo>
                      <a:pt x="198" y="135"/>
                    </a:lnTo>
                    <a:lnTo>
                      <a:pt x="196" y="135"/>
                    </a:lnTo>
                    <a:lnTo>
                      <a:pt x="196" y="133"/>
                    </a:lnTo>
                    <a:lnTo>
                      <a:pt x="198" y="135"/>
                    </a:lnTo>
                    <a:lnTo>
                      <a:pt x="198" y="133"/>
                    </a:lnTo>
                    <a:lnTo>
                      <a:pt x="198" y="135"/>
                    </a:lnTo>
                    <a:lnTo>
                      <a:pt x="198" y="133"/>
                    </a:lnTo>
                    <a:lnTo>
                      <a:pt x="198" y="135"/>
                    </a:lnTo>
                    <a:lnTo>
                      <a:pt x="198" y="133"/>
                    </a:lnTo>
                    <a:lnTo>
                      <a:pt x="198" y="135"/>
                    </a:lnTo>
                    <a:lnTo>
                      <a:pt x="198" y="133"/>
                    </a:lnTo>
                    <a:lnTo>
                      <a:pt x="198" y="135"/>
                    </a:lnTo>
                    <a:lnTo>
                      <a:pt x="198" y="136"/>
                    </a:lnTo>
                    <a:lnTo>
                      <a:pt x="196" y="136"/>
                    </a:lnTo>
                    <a:lnTo>
                      <a:pt x="198" y="136"/>
                    </a:lnTo>
                    <a:lnTo>
                      <a:pt x="198" y="135"/>
                    </a:lnTo>
                    <a:lnTo>
                      <a:pt x="199" y="135"/>
                    </a:lnTo>
                    <a:lnTo>
                      <a:pt x="199" y="136"/>
                    </a:lnTo>
                    <a:lnTo>
                      <a:pt x="199" y="135"/>
                    </a:lnTo>
                    <a:lnTo>
                      <a:pt x="199" y="136"/>
                    </a:lnTo>
                    <a:lnTo>
                      <a:pt x="198" y="136"/>
                    </a:lnTo>
                    <a:lnTo>
                      <a:pt x="199" y="136"/>
                    </a:lnTo>
                    <a:lnTo>
                      <a:pt x="198" y="136"/>
                    </a:lnTo>
                    <a:lnTo>
                      <a:pt x="199" y="136"/>
                    </a:lnTo>
                    <a:lnTo>
                      <a:pt x="199" y="138"/>
                    </a:lnTo>
                    <a:lnTo>
                      <a:pt x="199" y="136"/>
                    </a:lnTo>
                    <a:lnTo>
                      <a:pt x="199" y="138"/>
                    </a:lnTo>
                    <a:lnTo>
                      <a:pt x="198" y="138"/>
                    </a:lnTo>
                    <a:lnTo>
                      <a:pt x="199" y="138"/>
                    </a:lnTo>
                    <a:lnTo>
                      <a:pt x="198" y="138"/>
                    </a:lnTo>
                    <a:lnTo>
                      <a:pt x="199" y="138"/>
                    </a:lnTo>
                    <a:lnTo>
                      <a:pt x="199" y="140"/>
                    </a:lnTo>
                    <a:lnTo>
                      <a:pt x="199" y="138"/>
                    </a:lnTo>
                    <a:lnTo>
                      <a:pt x="201" y="136"/>
                    </a:lnTo>
                    <a:lnTo>
                      <a:pt x="199" y="136"/>
                    </a:lnTo>
                    <a:lnTo>
                      <a:pt x="201" y="136"/>
                    </a:lnTo>
                    <a:lnTo>
                      <a:pt x="199" y="138"/>
                    </a:lnTo>
                    <a:lnTo>
                      <a:pt x="201" y="138"/>
                    </a:lnTo>
                    <a:lnTo>
                      <a:pt x="199" y="138"/>
                    </a:lnTo>
                    <a:lnTo>
                      <a:pt x="201" y="138"/>
                    </a:lnTo>
                    <a:lnTo>
                      <a:pt x="201" y="136"/>
                    </a:lnTo>
                    <a:lnTo>
                      <a:pt x="201" y="138"/>
                    </a:lnTo>
                    <a:lnTo>
                      <a:pt x="201" y="136"/>
                    </a:lnTo>
                    <a:lnTo>
                      <a:pt x="203" y="136"/>
                    </a:lnTo>
                    <a:lnTo>
                      <a:pt x="201" y="135"/>
                    </a:lnTo>
                    <a:lnTo>
                      <a:pt x="201" y="133"/>
                    </a:lnTo>
                    <a:lnTo>
                      <a:pt x="201" y="135"/>
                    </a:lnTo>
                    <a:lnTo>
                      <a:pt x="201" y="133"/>
                    </a:lnTo>
                    <a:lnTo>
                      <a:pt x="203" y="133"/>
                    </a:lnTo>
                    <a:lnTo>
                      <a:pt x="201" y="133"/>
                    </a:lnTo>
                    <a:lnTo>
                      <a:pt x="203" y="133"/>
                    </a:lnTo>
                    <a:lnTo>
                      <a:pt x="203" y="131"/>
                    </a:lnTo>
                    <a:lnTo>
                      <a:pt x="201" y="129"/>
                    </a:lnTo>
                    <a:lnTo>
                      <a:pt x="203" y="129"/>
                    </a:lnTo>
                    <a:lnTo>
                      <a:pt x="201" y="129"/>
                    </a:lnTo>
                    <a:lnTo>
                      <a:pt x="201" y="127"/>
                    </a:lnTo>
                    <a:lnTo>
                      <a:pt x="201" y="129"/>
                    </a:lnTo>
                    <a:lnTo>
                      <a:pt x="203" y="129"/>
                    </a:lnTo>
                    <a:lnTo>
                      <a:pt x="203" y="127"/>
                    </a:lnTo>
                    <a:lnTo>
                      <a:pt x="203" y="129"/>
                    </a:lnTo>
                    <a:lnTo>
                      <a:pt x="203" y="127"/>
                    </a:lnTo>
                    <a:lnTo>
                      <a:pt x="203" y="129"/>
                    </a:lnTo>
                    <a:lnTo>
                      <a:pt x="203" y="131"/>
                    </a:lnTo>
                    <a:lnTo>
                      <a:pt x="203" y="129"/>
                    </a:lnTo>
                    <a:lnTo>
                      <a:pt x="205" y="129"/>
                    </a:lnTo>
                    <a:lnTo>
                      <a:pt x="203" y="129"/>
                    </a:lnTo>
                    <a:lnTo>
                      <a:pt x="203" y="127"/>
                    </a:lnTo>
                    <a:lnTo>
                      <a:pt x="205" y="127"/>
                    </a:lnTo>
                    <a:lnTo>
                      <a:pt x="203" y="127"/>
                    </a:lnTo>
                    <a:lnTo>
                      <a:pt x="205" y="127"/>
                    </a:lnTo>
                    <a:lnTo>
                      <a:pt x="205" y="129"/>
                    </a:lnTo>
                    <a:lnTo>
                      <a:pt x="205" y="127"/>
                    </a:lnTo>
                    <a:lnTo>
                      <a:pt x="205" y="125"/>
                    </a:lnTo>
                    <a:lnTo>
                      <a:pt x="203" y="125"/>
                    </a:lnTo>
                    <a:lnTo>
                      <a:pt x="205" y="125"/>
                    </a:lnTo>
                    <a:lnTo>
                      <a:pt x="203" y="125"/>
                    </a:lnTo>
                    <a:lnTo>
                      <a:pt x="205" y="125"/>
                    </a:lnTo>
                    <a:lnTo>
                      <a:pt x="205" y="127"/>
                    </a:lnTo>
                    <a:lnTo>
                      <a:pt x="205" y="125"/>
                    </a:lnTo>
                    <a:lnTo>
                      <a:pt x="205" y="127"/>
                    </a:lnTo>
                    <a:close/>
                    <a:moveTo>
                      <a:pt x="205" y="131"/>
                    </a:moveTo>
                    <a:lnTo>
                      <a:pt x="205" y="133"/>
                    </a:lnTo>
                    <a:lnTo>
                      <a:pt x="205" y="131"/>
                    </a:lnTo>
                    <a:close/>
                    <a:moveTo>
                      <a:pt x="219" y="129"/>
                    </a:moveTo>
                    <a:lnTo>
                      <a:pt x="219" y="127"/>
                    </a:lnTo>
                    <a:lnTo>
                      <a:pt x="219" y="129"/>
                    </a:lnTo>
                    <a:close/>
                    <a:moveTo>
                      <a:pt x="203" y="125"/>
                    </a:moveTo>
                    <a:lnTo>
                      <a:pt x="203" y="123"/>
                    </a:lnTo>
                    <a:lnTo>
                      <a:pt x="203" y="125"/>
                    </a:lnTo>
                    <a:close/>
                    <a:moveTo>
                      <a:pt x="203" y="125"/>
                    </a:moveTo>
                    <a:lnTo>
                      <a:pt x="203" y="123"/>
                    </a:lnTo>
                    <a:lnTo>
                      <a:pt x="203" y="125"/>
                    </a:lnTo>
                    <a:close/>
                    <a:moveTo>
                      <a:pt x="213" y="127"/>
                    </a:moveTo>
                    <a:lnTo>
                      <a:pt x="213" y="125"/>
                    </a:lnTo>
                    <a:lnTo>
                      <a:pt x="213" y="127"/>
                    </a:lnTo>
                    <a:lnTo>
                      <a:pt x="213" y="125"/>
                    </a:lnTo>
                    <a:lnTo>
                      <a:pt x="211" y="125"/>
                    </a:lnTo>
                    <a:lnTo>
                      <a:pt x="211" y="127"/>
                    </a:lnTo>
                    <a:lnTo>
                      <a:pt x="211" y="125"/>
                    </a:lnTo>
                    <a:lnTo>
                      <a:pt x="213" y="127"/>
                    </a:lnTo>
                    <a:lnTo>
                      <a:pt x="211" y="127"/>
                    </a:lnTo>
                    <a:lnTo>
                      <a:pt x="211" y="129"/>
                    </a:lnTo>
                    <a:lnTo>
                      <a:pt x="211" y="127"/>
                    </a:lnTo>
                    <a:lnTo>
                      <a:pt x="213" y="127"/>
                    </a:lnTo>
                    <a:lnTo>
                      <a:pt x="211" y="127"/>
                    </a:lnTo>
                    <a:lnTo>
                      <a:pt x="211" y="129"/>
                    </a:lnTo>
                    <a:lnTo>
                      <a:pt x="209" y="129"/>
                    </a:lnTo>
                    <a:lnTo>
                      <a:pt x="209" y="131"/>
                    </a:lnTo>
                    <a:lnTo>
                      <a:pt x="211" y="131"/>
                    </a:lnTo>
                    <a:lnTo>
                      <a:pt x="211" y="129"/>
                    </a:lnTo>
                    <a:lnTo>
                      <a:pt x="211" y="131"/>
                    </a:lnTo>
                    <a:lnTo>
                      <a:pt x="211" y="129"/>
                    </a:lnTo>
                    <a:lnTo>
                      <a:pt x="211" y="131"/>
                    </a:lnTo>
                    <a:lnTo>
                      <a:pt x="209" y="129"/>
                    </a:lnTo>
                    <a:lnTo>
                      <a:pt x="211" y="129"/>
                    </a:lnTo>
                    <a:lnTo>
                      <a:pt x="209" y="129"/>
                    </a:lnTo>
                    <a:lnTo>
                      <a:pt x="211" y="131"/>
                    </a:lnTo>
                    <a:lnTo>
                      <a:pt x="211" y="133"/>
                    </a:lnTo>
                    <a:lnTo>
                      <a:pt x="209" y="133"/>
                    </a:lnTo>
                    <a:lnTo>
                      <a:pt x="207" y="133"/>
                    </a:lnTo>
                    <a:lnTo>
                      <a:pt x="209" y="133"/>
                    </a:lnTo>
                    <a:lnTo>
                      <a:pt x="207" y="133"/>
                    </a:lnTo>
                    <a:lnTo>
                      <a:pt x="207" y="135"/>
                    </a:lnTo>
                    <a:lnTo>
                      <a:pt x="205" y="135"/>
                    </a:lnTo>
                    <a:lnTo>
                      <a:pt x="207" y="135"/>
                    </a:lnTo>
                    <a:lnTo>
                      <a:pt x="205" y="135"/>
                    </a:lnTo>
                    <a:lnTo>
                      <a:pt x="207" y="135"/>
                    </a:lnTo>
                    <a:lnTo>
                      <a:pt x="205" y="135"/>
                    </a:lnTo>
                    <a:lnTo>
                      <a:pt x="205" y="133"/>
                    </a:lnTo>
                    <a:lnTo>
                      <a:pt x="207" y="135"/>
                    </a:lnTo>
                    <a:lnTo>
                      <a:pt x="207" y="133"/>
                    </a:lnTo>
                    <a:lnTo>
                      <a:pt x="207" y="135"/>
                    </a:lnTo>
                    <a:lnTo>
                      <a:pt x="207" y="133"/>
                    </a:lnTo>
                    <a:lnTo>
                      <a:pt x="205" y="133"/>
                    </a:lnTo>
                    <a:lnTo>
                      <a:pt x="207" y="133"/>
                    </a:lnTo>
                    <a:lnTo>
                      <a:pt x="207" y="131"/>
                    </a:lnTo>
                    <a:lnTo>
                      <a:pt x="207" y="129"/>
                    </a:lnTo>
                    <a:lnTo>
                      <a:pt x="209" y="131"/>
                    </a:lnTo>
                    <a:lnTo>
                      <a:pt x="209" y="129"/>
                    </a:lnTo>
                    <a:lnTo>
                      <a:pt x="209" y="131"/>
                    </a:lnTo>
                    <a:lnTo>
                      <a:pt x="209" y="133"/>
                    </a:lnTo>
                    <a:lnTo>
                      <a:pt x="211" y="133"/>
                    </a:lnTo>
                    <a:lnTo>
                      <a:pt x="211" y="131"/>
                    </a:lnTo>
                    <a:lnTo>
                      <a:pt x="209" y="131"/>
                    </a:lnTo>
                    <a:lnTo>
                      <a:pt x="211" y="131"/>
                    </a:lnTo>
                    <a:lnTo>
                      <a:pt x="209" y="131"/>
                    </a:lnTo>
                    <a:lnTo>
                      <a:pt x="211" y="131"/>
                    </a:lnTo>
                    <a:lnTo>
                      <a:pt x="209" y="131"/>
                    </a:lnTo>
                    <a:lnTo>
                      <a:pt x="209" y="129"/>
                    </a:lnTo>
                    <a:lnTo>
                      <a:pt x="207" y="131"/>
                    </a:lnTo>
                    <a:lnTo>
                      <a:pt x="207" y="133"/>
                    </a:lnTo>
                    <a:lnTo>
                      <a:pt x="205" y="133"/>
                    </a:lnTo>
                    <a:lnTo>
                      <a:pt x="207" y="133"/>
                    </a:lnTo>
                    <a:lnTo>
                      <a:pt x="205" y="133"/>
                    </a:lnTo>
                    <a:lnTo>
                      <a:pt x="205" y="131"/>
                    </a:lnTo>
                    <a:lnTo>
                      <a:pt x="207" y="131"/>
                    </a:lnTo>
                    <a:lnTo>
                      <a:pt x="207" y="129"/>
                    </a:lnTo>
                    <a:lnTo>
                      <a:pt x="207" y="127"/>
                    </a:lnTo>
                    <a:lnTo>
                      <a:pt x="209" y="127"/>
                    </a:lnTo>
                    <a:lnTo>
                      <a:pt x="207" y="127"/>
                    </a:lnTo>
                    <a:lnTo>
                      <a:pt x="209" y="127"/>
                    </a:lnTo>
                    <a:lnTo>
                      <a:pt x="209" y="129"/>
                    </a:lnTo>
                    <a:lnTo>
                      <a:pt x="209" y="127"/>
                    </a:lnTo>
                    <a:lnTo>
                      <a:pt x="209" y="129"/>
                    </a:lnTo>
                    <a:lnTo>
                      <a:pt x="209" y="127"/>
                    </a:lnTo>
                    <a:lnTo>
                      <a:pt x="209" y="129"/>
                    </a:lnTo>
                    <a:lnTo>
                      <a:pt x="211" y="129"/>
                    </a:lnTo>
                    <a:lnTo>
                      <a:pt x="211" y="127"/>
                    </a:lnTo>
                    <a:lnTo>
                      <a:pt x="209" y="127"/>
                    </a:lnTo>
                    <a:lnTo>
                      <a:pt x="211" y="127"/>
                    </a:lnTo>
                    <a:lnTo>
                      <a:pt x="209" y="127"/>
                    </a:lnTo>
                    <a:lnTo>
                      <a:pt x="211" y="127"/>
                    </a:lnTo>
                    <a:lnTo>
                      <a:pt x="209" y="127"/>
                    </a:lnTo>
                    <a:lnTo>
                      <a:pt x="211" y="127"/>
                    </a:lnTo>
                    <a:lnTo>
                      <a:pt x="211" y="125"/>
                    </a:lnTo>
                    <a:lnTo>
                      <a:pt x="213" y="125"/>
                    </a:lnTo>
                    <a:lnTo>
                      <a:pt x="213" y="127"/>
                    </a:lnTo>
                    <a:close/>
                    <a:moveTo>
                      <a:pt x="213" y="125"/>
                    </a:moveTo>
                    <a:lnTo>
                      <a:pt x="211" y="125"/>
                    </a:lnTo>
                    <a:lnTo>
                      <a:pt x="213" y="125"/>
                    </a:lnTo>
                    <a:close/>
                    <a:moveTo>
                      <a:pt x="215" y="125"/>
                    </a:moveTo>
                    <a:lnTo>
                      <a:pt x="215" y="127"/>
                    </a:lnTo>
                    <a:lnTo>
                      <a:pt x="213" y="129"/>
                    </a:lnTo>
                    <a:lnTo>
                      <a:pt x="213" y="127"/>
                    </a:lnTo>
                    <a:lnTo>
                      <a:pt x="213" y="125"/>
                    </a:lnTo>
                    <a:lnTo>
                      <a:pt x="213" y="127"/>
                    </a:lnTo>
                    <a:lnTo>
                      <a:pt x="213" y="125"/>
                    </a:lnTo>
                    <a:lnTo>
                      <a:pt x="213" y="127"/>
                    </a:lnTo>
                    <a:lnTo>
                      <a:pt x="215" y="127"/>
                    </a:lnTo>
                    <a:lnTo>
                      <a:pt x="215" y="125"/>
                    </a:lnTo>
                    <a:close/>
                    <a:moveTo>
                      <a:pt x="219" y="125"/>
                    </a:moveTo>
                    <a:lnTo>
                      <a:pt x="219" y="127"/>
                    </a:lnTo>
                    <a:lnTo>
                      <a:pt x="219" y="125"/>
                    </a:lnTo>
                    <a:close/>
                    <a:moveTo>
                      <a:pt x="215" y="123"/>
                    </a:moveTo>
                    <a:lnTo>
                      <a:pt x="215" y="125"/>
                    </a:lnTo>
                    <a:lnTo>
                      <a:pt x="213" y="125"/>
                    </a:lnTo>
                    <a:lnTo>
                      <a:pt x="215" y="125"/>
                    </a:lnTo>
                    <a:lnTo>
                      <a:pt x="215" y="123"/>
                    </a:lnTo>
                    <a:close/>
                    <a:moveTo>
                      <a:pt x="211" y="121"/>
                    </a:moveTo>
                    <a:lnTo>
                      <a:pt x="209" y="121"/>
                    </a:lnTo>
                    <a:lnTo>
                      <a:pt x="211" y="121"/>
                    </a:lnTo>
                    <a:close/>
                    <a:moveTo>
                      <a:pt x="203" y="119"/>
                    </a:moveTo>
                    <a:lnTo>
                      <a:pt x="203" y="117"/>
                    </a:lnTo>
                    <a:lnTo>
                      <a:pt x="203" y="119"/>
                    </a:lnTo>
                    <a:close/>
                    <a:moveTo>
                      <a:pt x="217" y="121"/>
                    </a:moveTo>
                    <a:lnTo>
                      <a:pt x="217" y="123"/>
                    </a:lnTo>
                    <a:lnTo>
                      <a:pt x="217" y="121"/>
                    </a:lnTo>
                    <a:close/>
                    <a:moveTo>
                      <a:pt x="217" y="127"/>
                    </a:moveTo>
                    <a:lnTo>
                      <a:pt x="217" y="129"/>
                    </a:lnTo>
                    <a:lnTo>
                      <a:pt x="217" y="127"/>
                    </a:lnTo>
                    <a:lnTo>
                      <a:pt x="217" y="129"/>
                    </a:lnTo>
                    <a:lnTo>
                      <a:pt x="215" y="129"/>
                    </a:lnTo>
                    <a:lnTo>
                      <a:pt x="217" y="129"/>
                    </a:lnTo>
                    <a:lnTo>
                      <a:pt x="215" y="129"/>
                    </a:lnTo>
                    <a:lnTo>
                      <a:pt x="217" y="129"/>
                    </a:lnTo>
                    <a:lnTo>
                      <a:pt x="217" y="131"/>
                    </a:lnTo>
                    <a:lnTo>
                      <a:pt x="217" y="129"/>
                    </a:lnTo>
                    <a:lnTo>
                      <a:pt x="219" y="129"/>
                    </a:lnTo>
                    <a:lnTo>
                      <a:pt x="217" y="129"/>
                    </a:lnTo>
                    <a:lnTo>
                      <a:pt x="219" y="129"/>
                    </a:lnTo>
                    <a:lnTo>
                      <a:pt x="217" y="129"/>
                    </a:lnTo>
                    <a:lnTo>
                      <a:pt x="219" y="127"/>
                    </a:lnTo>
                    <a:lnTo>
                      <a:pt x="217" y="127"/>
                    </a:lnTo>
                    <a:lnTo>
                      <a:pt x="217" y="129"/>
                    </a:lnTo>
                    <a:lnTo>
                      <a:pt x="219" y="129"/>
                    </a:lnTo>
                    <a:lnTo>
                      <a:pt x="219" y="127"/>
                    </a:lnTo>
                    <a:lnTo>
                      <a:pt x="219" y="125"/>
                    </a:lnTo>
                    <a:lnTo>
                      <a:pt x="221" y="125"/>
                    </a:lnTo>
                    <a:lnTo>
                      <a:pt x="219" y="125"/>
                    </a:lnTo>
                    <a:lnTo>
                      <a:pt x="221" y="125"/>
                    </a:lnTo>
                    <a:lnTo>
                      <a:pt x="221" y="123"/>
                    </a:lnTo>
                    <a:lnTo>
                      <a:pt x="221" y="125"/>
                    </a:lnTo>
                    <a:lnTo>
                      <a:pt x="221" y="123"/>
                    </a:lnTo>
                    <a:lnTo>
                      <a:pt x="221" y="125"/>
                    </a:lnTo>
                    <a:lnTo>
                      <a:pt x="221" y="123"/>
                    </a:lnTo>
                    <a:lnTo>
                      <a:pt x="219" y="123"/>
                    </a:lnTo>
                    <a:lnTo>
                      <a:pt x="221" y="123"/>
                    </a:lnTo>
                    <a:lnTo>
                      <a:pt x="219" y="123"/>
                    </a:lnTo>
                    <a:lnTo>
                      <a:pt x="221" y="123"/>
                    </a:lnTo>
                    <a:lnTo>
                      <a:pt x="219" y="123"/>
                    </a:lnTo>
                    <a:lnTo>
                      <a:pt x="221" y="123"/>
                    </a:lnTo>
                    <a:lnTo>
                      <a:pt x="219" y="123"/>
                    </a:lnTo>
                    <a:lnTo>
                      <a:pt x="221" y="123"/>
                    </a:lnTo>
                    <a:lnTo>
                      <a:pt x="221" y="125"/>
                    </a:lnTo>
                    <a:lnTo>
                      <a:pt x="221" y="127"/>
                    </a:lnTo>
                    <a:lnTo>
                      <a:pt x="219" y="127"/>
                    </a:lnTo>
                    <a:lnTo>
                      <a:pt x="221" y="127"/>
                    </a:lnTo>
                    <a:lnTo>
                      <a:pt x="219" y="129"/>
                    </a:lnTo>
                    <a:lnTo>
                      <a:pt x="219" y="127"/>
                    </a:lnTo>
                    <a:lnTo>
                      <a:pt x="219" y="129"/>
                    </a:lnTo>
                    <a:lnTo>
                      <a:pt x="219" y="131"/>
                    </a:lnTo>
                    <a:lnTo>
                      <a:pt x="219" y="129"/>
                    </a:lnTo>
                    <a:lnTo>
                      <a:pt x="219" y="131"/>
                    </a:lnTo>
                    <a:lnTo>
                      <a:pt x="219" y="129"/>
                    </a:lnTo>
                    <a:lnTo>
                      <a:pt x="219" y="131"/>
                    </a:lnTo>
                    <a:lnTo>
                      <a:pt x="219" y="129"/>
                    </a:lnTo>
                    <a:lnTo>
                      <a:pt x="221" y="129"/>
                    </a:lnTo>
                    <a:lnTo>
                      <a:pt x="221" y="127"/>
                    </a:lnTo>
                    <a:lnTo>
                      <a:pt x="221" y="129"/>
                    </a:lnTo>
                    <a:lnTo>
                      <a:pt x="221" y="127"/>
                    </a:lnTo>
                    <a:lnTo>
                      <a:pt x="221" y="129"/>
                    </a:lnTo>
                    <a:lnTo>
                      <a:pt x="219" y="131"/>
                    </a:lnTo>
                    <a:lnTo>
                      <a:pt x="217" y="131"/>
                    </a:lnTo>
                    <a:lnTo>
                      <a:pt x="217" y="129"/>
                    </a:lnTo>
                    <a:lnTo>
                      <a:pt x="215" y="129"/>
                    </a:lnTo>
                    <a:lnTo>
                      <a:pt x="215" y="131"/>
                    </a:lnTo>
                    <a:lnTo>
                      <a:pt x="215" y="133"/>
                    </a:lnTo>
                    <a:lnTo>
                      <a:pt x="213" y="133"/>
                    </a:lnTo>
                    <a:lnTo>
                      <a:pt x="213" y="131"/>
                    </a:lnTo>
                    <a:lnTo>
                      <a:pt x="211" y="131"/>
                    </a:lnTo>
                    <a:lnTo>
                      <a:pt x="213" y="131"/>
                    </a:lnTo>
                    <a:lnTo>
                      <a:pt x="213" y="129"/>
                    </a:lnTo>
                    <a:lnTo>
                      <a:pt x="215" y="131"/>
                    </a:lnTo>
                    <a:lnTo>
                      <a:pt x="213" y="131"/>
                    </a:lnTo>
                    <a:lnTo>
                      <a:pt x="213" y="129"/>
                    </a:lnTo>
                    <a:lnTo>
                      <a:pt x="213" y="131"/>
                    </a:lnTo>
                    <a:lnTo>
                      <a:pt x="215" y="131"/>
                    </a:lnTo>
                    <a:lnTo>
                      <a:pt x="215" y="129"/>
                    </a:lnTo>
                    <a:lnTo>
                      <a:pt x="215" y="127"/>
                    </a:lnTo>
                    <a:lnTo>
                      <a:pt x="215" y="125"/>
                    </a:lnTo>
                    <a:lnTo>
                      <a:pt x="217" y="125"/>
                    </a:lnTo>
                    <a:lnTo>
                      <a:pt x="215" y="125"/>
                    </a:lnTo>
                    <a:lnTo>
                      <a:pt x="217" y="125"/>
                    </a:lnTo>
                    <a:lnTo>
                      <a:pt x="215" y="125"/>
                    </a:lnTo>
                    <a:lnTo>
                      <a:pt x="215" y="127"/>
                    </a:lnTo>
                    <a:lnTo>
                      <a:pt x="217" y="125"/>
                    </a:lnTo>
                    <a:lnTo>
                      <a:pt x="217" y="127"/>
                    </a:lnTo>
                    <a:lnTo>
                      <a:pt x="215" y="127"/>
                    </a:lnTo>
                    <a:lnTo>
                      <a:pt x="217" y="127"/>
                    </a:lnTo>
                    <a:lnTo>
                      <a:pt x="215" y="127"/>
                    </a:lnTo>
                    <a:lnTo>
                      <a:pt x="215" y="129"/>
                    </a:lnTo>
                    <a:lnTo>
                      <a:pt x="215" y="127"/>
                    </a:lnTo>
                    <a:lnTo>
                      <a:pt x="215" y="129"/>
                    </a:lnTo>
                    <a:lnTo>
                      <a:pt x="215" y="127"/>
                    </a:lnTo>
                    <a:lnTo>
                      <a:pt x="215" y="129"/>
                    </a:lnTo>
                    <a:lnTo>
                      <a:pt x="217" y="129"/>
                    </a:lnTo>
                    <a:lnTo>
                      <a:pt x="217" y="127"/>
                    </a:lnTo>
                    <a:close/>
                    <a:moveTo>
                      <a:pt x="217" y="121"/>
                    </a:moveTo>
                    <a:lnTo>
                      <a:pt x="217" y="123"/>
                    </a:lnTo>
                    <a:lnTo>
                      <a:pt x="215" y="123"/>
                    </a:lnTo>
                    <a:lnTo>
                      <a:pt x="217" y="123"/>
                    </a:lnTo>
                    <a:lnTo>
                      <a:pt x="215" y="123"/>
                    </a:lnTo>
                    <a:lnTo>
                      <a:pt x="217" y="121"/>
                    </a:lnTo>
                    <a:lnTo>
                      <a:pt x="217" y="123"/>
                    </a:lnTo>
                    <a:lnTo>
                      <a:pt x="217" y="121"/>
                    </a:lnTo>
                    <a:close/>
                    <a:moveTo>
                      <a:pt x="205" y="119"/>
                    </a:moveTo>
                    <a:lnTo>
                      <a:pt x="203" y="119"/>
                    </a:lnTo>
                    <a:lnTo>
                      <a:pt x="203" y="117"/>
                    </a:lnTo>
                    <a:lnTo>
                      <a:pt x="205" y="117"/>
                    </a:lnTo>
                    <a:lnTo>
                      <a:pt x="203" y="117"/>
                    </a:lnTo>
                    <a:lnTo>
                      <a:pt x="205" y="117"/>
                    </a:lnTo>
                    <a:lnTo>
                      <a:pt x="205" y="119"/>
                    </a:lnTo>
                    <a:lnTo>
                      <a:pt x="205" y="117"/>
                    </a:lnTo>
                    <a:lnTo>
                      <a:pt x="205" y="119"/>
                    </a:lnTo>
                    <a:close/>
                    <a:moveTo>
                      <a:pt x="203" y="115"/>
                    </a:moveTo>
                    <a:lnTo>
                      <a:pt x="203" y="117"/>
                    </a:lnTo>
                    <a:lnTo>
                      <a:pt x="203" y="115"/>
                    </a:lnTo>
                    <a:close/>
                    <a:moveTo>
                      <a:pt x="217" y="121"/>
                    </a:moveTo>
                    <a:lnTo>
                      <a:pt x="219" y="121"/>
                    </a:lnTo>
                    <a:lnTo>
                      <a:pt x="217" y="121"/>
                    </a:lnTo>
                    <a:lnTo>
                      <a:pt x="219" y="121"/>
                    </a:lnTo>
                    <a:lnTo>
                      <a:pt x="217" y="121"/>
                    </a:lnTo>
                    <a:close/>
                    <a:moveTo>
                      <a:pt x="217" y="119"/>
                    </a:moveTo>
                    <a:lnTo>
                      <a:pt x="217" y="121"/>
                    </a:lnTo>
                    <a:lnTo>
                      <a:pt x="215" y="121"/>
                    </a:lnTo>
                    <a:lnTo>
                      <a:pt x="217" y="121"/>
                    </a:lnTo>
                    <a:lnTo>
                      <a:pt x="215" y="121"/>
                    </a:lnTo>
                    <a:lnTo>
                      <a:pt x="215" y="119"/>
                    </a:lnTo>
                    <a:lnTo>
                      <a:pt x="215" y="121"/>
                    </a:lnTo>
                    <a:lnTo>
                      <a:pt x="217" y="121"/>
                    </a:lnTo>
                    <a:lnTo>
                      <a:pt x="217" y="119"/>
                    </a:lnTo>
                    <a:lnTo>
                      <a:pt x="217" y="121"/>
                    </a:lnTo>
                    <a:lnTo>
                      <a:pt x="217" y="119"/>
                    </a:lnTo>
                    <a:close/>
                    <a:moveTo>
                      <a:pt x="215" y="119"/>
                    </a:moveTo>
                    <a:lnTo>
                      <a:pt x="215" y="121"/>
                    </a:lnTo>
                    <a:lnTo>
                      <a:pt x="215" y="119"/>
                    </a:lnTo>
                    <a:close/>
                    <a:moveTo>
                      <a:pt x="224" y="121"/>
                    </a:moveTo>
                    <a:lnTo>
                      <a:pt x="223" y="121"/>
                    </a:lnTo>
                    <a:lnTo>
                      <a:pt x="224" y="121"/>
                    </a:lnTo>
                    <a:close/>
                    <a:moveTo>
                      <a:pt x="211" y="117"/>
                    </a:moveTo>
                    <a:lnTo>
                      <a:pt x="209" y="117"/>
                    </a:lnTo>
                    <a:lnTo>
                      <a:pt x="209" y="119"/>
                    </a:lnTo>
                    <a:lnTo>
                      <a:pt x="211" y="119"/>
                    </a:lnTo>
                    <a:lnTo>
                      <a:pt x="211" y="117"/>
                    </a:lnTo>
                    <a:lnTo>
                      <a:pt x="211" y="119"/>
                    </a:lnTo>
                    <a:lnTo>
                      <a:pt x="209" y="119"/>
                    </a:lnTo>
                    <a:lnTo>
                      <a:pt x="209" y="117"/>
                    </a:lnTo>
                    <a:lnTo>
                      <a:pt x="209" y="119"/>
                    </a:lnTo>
                    <a:lnTo>
                      <a:pt x="209" y="117"/>
                    </a:lnTo>
                    <a:lnTo>
                      <a:pt x="211" y="117"/>
                    </a:lnTo>
                    <a:close/>
                    <a:moveTo>
                      <a:pt x="223" y="121"/>
                    </a:moveTo>
                    <a:lnTo>
                      <a:pt x="224" y="121"/>
                    </a:lnTo>
                    <a:lnTo>
                      <a:pt x="223" y="121"/>
                    </a:lnTo>
                    <a:close/>
                    <a:moveTo>
                      <a:pt x="215" y="119"/>
                    </a:moveTo>
                    <a:lnTo>
                      <a:pt x="215" y="117"/>
                    </a:lnTo>
                    <a:lnTo>
                      <a:pt x="215" y="119"/>
                    </a:lnTo>
                    <a:close/>
                    <a:moveTo>
                      <a:pt x="213" y="121"/>
                    </a:moveTo>
                    <a:lnTo>
                      <a:pt x="213" y="119"/>
                    </a:lnTo>
                    <a:lnTo>
                      <a:pt x="215" y="119"/>
                    </a:lnTo>
                    <a:lnTo>
                      <a:pt x="213" y="119"/>
                    </a:lnTo>
                    <a:lnTo>
                      <a:pt x="215" y="119"/>
                    </a:lnTo>
                    <a:lnTo>
                      <a:pt x="213" y="119"/>
                    </a:lnTo>
                    <a:lnTo>
                      <a:pt x="213" y="121"/>
                    </a:lnTo>
                    <a:lnTo>
                      <a:pt x="215" y="121"/>
                    </a:lnTo>
                    <a:lnTo>
                      <a:pt x="213" y="121"/>
                    </a:lnTo>
                    <a:lnTo>
                      <a:pt x="215" y="121"/>
                    </a:lnTo>
                    <a:lnTo>
                      <a:pt x="213" y="121"/>
                    </a:lnTo>
                    <a:lnTo>
                      <a:pt x="213" y="123"/>
                    </a:lnTo>
                    <a:lnTo>
                      <a:pt x="215" y="123"/>
                    </a:lnTo>
                    <a:lnTo>
                      <a:pt x="215" y="121"/>
                    </a:lnTo>
                    <a:lnTo>
                      <a:pt x="215" y="123"/>
                    </a:lnTo>
                    <a:lnTo>
                      <a:pt x="213" y="123"/>
                    </a:lnTo>
                    <a:lnTo>
                      <a:pt x="213" y="125"/>
                    </a:lnTo>
                    <a:lnTo>
                      <a:pt x="213" y="123"/>
                    </a:lnTo>
                    <a:lnTo>
                      <a:pt x="213" y="125"/>
                    </a:lnTo>
                    <a:lnTo>
                      <a:pt x="215" y="123"/>
                    </a:lnTo>
                    <a:lnTo>
                      <a:pt x="213" y="125"/>
                    </a:lnTo>
                    <a:lnTo>
                      <a:pt x="211" y="125"/>
                    </a:lnTo>
                    <a:lnTo>
                      <a:pt x="211" y="127"/>
                    </a:lnTo>
                    <a:lnTo>
                      <a:pt x="209" y="127"/>
                    </a:lnTo>
                    <a:lnTo>
                      <a:pt x="209" y="125"/>
                    </a:lnTo>
                    <a:lnTo>
                      <a:pt x="209" y="127"/>
                    </a:lnTo>
                    <a:lnTo>
                      <a:pt x="207" y="127"/>
                    </a:lnTo>
                    <a:lnTo>
                      <a:pt x="207" y="125"/>
                    </a:lnTo>
                    <a:lnTo>
                      <a:pt x="207" y="127"/>
                    </a:lnTo>
                    <a:lnTo>
                      <a:pt x="207" y="125"/>
                    </a:lnTo>
                    <a:lnTo>
                      <a:pt x="207" y="127"/>
                    </a:lnTo>
                    <a:lnTo>
                      <a:pt x="207" y="125"/>
                    </a:lnTo>
                    <a:lnTo>
                      <a:pt x="207" y="123"/>
                    </a:lnTo>
                    <a:lnTo>
                      <a:pt x="205" y="121"/>
                    </a:lnTo>
                    <a:lnTo>
                      <a:pt x="205" y="119"/>
                    </a:lnTo>
                    <a:lnTo>
                      <a:pt x="205" y="121"/>
                    </a:lnTo>
                    <a:lnTo>
                      <a:pt x="205" y="119"/>
                    </a:lnTo>
                    <a:lnTo>
                      <a:pt x="205" y="121"/>
                    </a:lnTo>
                    <a:lnTo>
                      <a:pt x="205" y="119"/>
                    </a:lnTo>
                    <a:lnTo>
                      <a:pt x="207" y="119"/>
                    </a:lnTo>
                    <a:lnTo>
                      <a:pt x="205" y="119"/>
                    </a:lnTo>
                    <a:lnTo>
                      <a:pt x="205" y="121"/>
                    </a:lnTo>
                    <a:lnTo>
                      <a:pt x="205" y="119"/>
                    </a:lnTo>
                    <a:lnTo>
                      <a:pt x="205" y="121"/>
                    </a:lnTo>
                    <a:lnTo>
                      <a:pt x="205" y="119"/>
                    </a:lnTo>
                    <a:lnTo>
                      <a:pt x="207" y="119"/>
                    </a:lnTo>
                    <a:lnTo>
                      <a:pt x="205" y="119"/>
                    </a:lnTo>
                    <a:lnTo>
                      <a:pt x="207" y="121"/>
                    </a:lnTo>
                    <a:lnTo>
                      <a:pt x="205" y="121"/>
                    </a:lnTo>
                    <a:lnTo>
                      <a:pt x="207" y="121"/>
                    </a:lnTo>
                    <a:lnTo>
                      <a:pt x="205" y="121"/>
                    </a:lnTo>
                    <a:lnTo>
                      <a:pt x="207" y="121"/>
                    </a:lnTo>
                    <a:lnTo>
                      <a:pt x="205" y="121"/>
                    </a:lnTo>
                    <a:lnTo>
                      <a:pt x="207" y="121"/>
                    </a:lnTo>
                    <a:lnTo>
                      <a:pt x="207" y="123"/>
                    </a:lnTo>
                    <a:lnTo>
                      <a:pt x="207" y="121"/>
                    </a:lnTo>
                    <a:lnTo>
                      <a:pt x="207" y="119"/>
                    </a:lnTo>
                    <a:lnTo>
                      <a:pt x="207" y="121"/>
                    </a:lnTo>
                    <a:lnTo>
                      <a:pt x="207" y="119"/>
                    </a:lnTo>
                    <a:lnTo>
                      <a:pt x="209" y="119"/>
                    </a:lnTo>
                    <a:lnTo>
                      <a:pt x="207" y="119"/>
                    </a:lnTo>
                    <a:lnTo>
                      <a:pt x="209" y="119"/>
                    </a:lnTo>
                    <a:lnTo>
                      <a:pt x="209" y="117"/>
                    </a:lnTo>
                    <a:lnTo>
                      <a:pt x="209" y="119"/>
                    </a:lnTo>
                    <a:lnTo>
                      <a:pt x="209" y="117"/>
                    </a:lnTo>
                    <a:lnTo>
                      <a:pt x="209" y="119"/>
                    </a:lnTo>
                    <a:lnTo>
                      <a:pt x="209" y="117"/>
                    </a:lnTo>
                    <a:lnTo>
                      <a:pt x="209" y="119"/>
                    </a:lnTo>
                    <a:lnTo>
                      <a:pt x="207" y="119"/>
                    </a:lnTo>
                    <a:lnTo>
                      <a:pt x="209" y="119"/>
                    </a:lnTo>
                    <a:lnTo>
                      <a:pt x="207" y="119"/>
                    </a:lnTo>
                    <a:lnTo>
                      <a:pt x="209" y="121"/>
                    </a:lnTo>
                    <a:lnTo>
                      <a:pt x="209" y="119"/>
                    </a:lnTo>
                    <a:lnTo>
                      <a:pt x="209" y="121"/>
                    </a:lnTo>
                    <a:lnTo>
                      <a:pt x="207" y="121"/>
                    </a:lnTo>
                    <a:lnTo>
                      <a:pt x="209" y="121"/>
                    </a:lnTo>
                    <a:lnTo>
                      <a:pt x="209" y="123"/>
                    </a:lnTo>
                    <a:lnTo>
                      <a:pt x="207" y="123"/>
                    </a:lnTo>
                    <a:lnTo>
                      <a:pt x="207" y="125"/>
                    </a:lnTo>
                    <a:lnTo>
                      <a:pt x="207" y="123"/>
                    </a:lnTo>
                    <a:lnTo>
                      <a:pt x="209" y="123"/>
                    </a:lnTo>
                    <a:lnTo>
                      <a:pt x="209" y="121"/>
                    </a:lnTo>
                    <a:lnTo>
                      <a:pt x="209" y="123"/>
                    </a:lnTo>
                    <a:lnTo>
                      <a:pt x="209" y="121"/>
                    </a:lnTo>
                    <a:lnTo>
                      <a:pt x="209" y="123"/>
                    </a:lnTo>
                    <a:lnTo>
                      <a:pt x="209" y="121"/>
                    </a:lnTo>
                    <a:lnTo>
                      <a:pt x="211" y="121"/>
                    </a:lnTo>
                    <a:lnTo>
                      <a:pt x="209" y="121"/>
                    </a:lnTo>
                    <a:lnTo>
                      <a:pt x="211" y="121"/>
                    </a:lnTo>
                    <a:lnTo>
                      <a:pt x="211" y="119"/>
                    </a:lnTo>
                    <a:lnTo>
                      <a:pt x="211" y="117"/>
                    </a:lnTo>
                    <a:lnTo>
                      <a:pt x="213" y="117"/>
                    </a:lnTo>
                    <a:lnTo>
                      <a:pt x="211" y="117"/>
                    </a:lnTo>
                    <a:lnTo>
                      <a:pt x="211" y="119"/>
                    </a:lnTo>
                    <a:lnTo>
                      <a:pt x="211" y="121"/>
                    </a:lnTo>
                    <a:lnTo>
                      <a:pt x="211" y="119"/>
                    </a:lnTo>
                    <a:lnTo>
                      <a:pt x="211" y="121"/>
                    </a:lnTo>
                    <a:lnTo>
                      <a:pt x="213" y="121"/>
                    </a:lnTo>
                    <a:lnTo>
                      <a:pt x="213" y="119"/>
                    </a:lnTo>
                    <a:lnTo>
                      <a:pt x="213" y="117"/>
                    </a:lnTo>
                    <a:lnTo>
                      <a:pt x="215" y="117"/>
                    </a:lnTo>
                    <a:lnTo>
                      <a:pt x="213" y="117"/>
                    </a:lnTo>
                    <a:lnTo>
                      <a:pt x="215" y="117"/>
                    </a:lnTo>
                    <a:lnTo>
                      <a:pt x="213" y="117"/>
                    </a:lnTo>
                    <a:lnTo>
                      <a:pt x="213" y="119"/>
                    </a:lnTo>
                    <a:lnTo>
                      <a:pt x="213" y="121"/>
                    </a:lnTo>
                    <a:lnTo>
                      <a:pt x="213" y="119"/>
                    </a:lnTo>
                    <a:lnTo>
                      <a:pt x="213" y="121"/>
                    </a:lnTo>
                    <a:close/>
                    <a:moveTo>
                      <a:pt x="211" y="121"/>
                    </a:moveTo>
                    <a:lnTo>
                      <a:pt x="211" y="123"/>
                    </a:lnTo>
                    <a:lnTo>
                      <a:pt x="211" y="121"/>
                    </a:lnTo>
                    <a:close/>
                    <a:moveTo>
                      <a:pt x="209" y="125"/>
                    </a:moveTo>
                    <a:lnTo>
                      <a:pt x="207" y="125"/>
                    </a:lnTo>
                    <a:lnTo>
                      <a:pt x="209" y="125"/>
                    </a:lnTo>
                    <a:close/>
                    <a:moveTo>
                      <a:pt x="209" y="117"/>
                    </a:moveTo>
                    <a:lnTo>
                      <a:pt x="211" y="117"/>
                    </a:lnTo>
                    <a:lnTo>
                      <a:pt x="209" y="117"/>
                    </a:lnTo>
                    <a:lnTo>
                      <a:pt x="211" y="117"/>
                    </a:lnTo>
                    <a:lnTo>
                      <a:pt x="209" y="117"/>
                    </a:lnTo>
                    <a:lnTo>
                      <a:pt x="211" y="117"/>
                    </a:lnTo>
                    <a:lnTo>
                      <a:pt x="209" y="117"/>
                    </a:lnTo>
                    <a:close/>
                    <a:moveTo>
                      <a:pt x="205" y="119"/>
                    </a:moveTo>
                    <a:lnTo>
                      <a:pt x="205" y="117"/>
                    </a:lnTo>
                    <a:lnTo>
                      <a:pt x="205" y="119"/>
                    </a:lnTo>
                    <a:lnTo>
                      <a:pt x="205" y="117"/>
                    </a:lnTo>
                    <a:lnTo>
                      <a:pt x="207" y="115"/>
                    </a:lnTo>
                    <a:lnTo>
                      <a:pt x="207" y="117"/>
                    </a:lnTo>
                    <a:lnTo>
                      <a:pt x="207" y="115"/>
                    </a:lnTo>
                    <a:lnTo>
                      <a:pt x="207" y="117"/>
                    </a:lnTo>
                    <a:lnTo>
                      <a:pt x="207" y="115"/>
                    </a:lnTo>
                    <a:lnTo>
                      <a:pt x="207" y="117"/>
                    </a:lnTo>
                    <a:lnTo>
                      <a:pt x="207" y="115"/>
                    </a:lnTo>
                    <a:lnTo>
                      <a:pt x="207" y="117"/>
                    </a:lnTo>
                    <a:lnTo>
                      <a:pt x="205" y="119"/>
                    </a:lnTo>
                    <a:lnTo>
                      <a:pt x="205" y="117"/>
                    </a:lnTo>
                    <a:lnTo>
                      <a:pt x="205" y="119"/>
                    </a:lnTo>
                    <a:close/>
                    <a:moveTo>
                      <a:pt x="215" y="115"/>
                    </a:moveTo>
                    <a:lnTo>
                      <a:pt x="213" y="115"/>
                    </a:lnTo>
                    <a:lnTo>
                      <a:pt x="215" y="115"/>
                    </a:lnTo>
                    <a:lnTo>
                      <a:pt x="213" y="115"/>
                    </a:lnTo>
                    <a:lnTo>
                      <a:pt x="215" y="115"/>
                    </a:lnTo>
                    <a:close/>
                    <a:moveTo>
                      <a:pt x="209" y="115"/>
                    </a:moveTo>
                    <a:lnTo>
                      <a:pt x="211" y="115"/>
                    </a:lnTo>
                    <a:lnTo>
                      <a:pt x="209" y="115"/>
                    </a:lnTo>
                    <a:lnTo>
                      <a:pt x="211" y="115"/>
                    </a:lnTo>
                    <a:lnTo>
                      <a:pt x="209" y="115"/>
                    </a:lnTo>
                    <a:lnTo>
                      <a:pt x="211" y="115"/>
                    </a:lnTo>
                    <a:lnTo>
                      <a:pt x="209" y="115"/>
                    </a:lnTo>
                    <a:lnTo>
                      <a:pt x="209" y="117"/>
                    </a:lnTo>
                    <a:lnTo>
                      <a:pt x="209" y="115"/>
                    </a:lnTo>
                    <a:lnTo>
                      <a:pt x="209" y="117"/>
                    </a:lnTo>
                    <a:lnTo>
                      <a:pt x="209" y="115"/>
                    </a:lnTo>
                    <a:lnTo>
                      <a:pt x="211" y="115"/>
                    </a:lnTo>
                    <a:lnTo>
                      <a:pt x="211" y="117"/>
                    </a:lnTo>
                    <a:lnTo>
                      <a:pt x="213" y="117"/>
                    </a:lnTo>
                    <a:lnTo>
                      <a:pt x="213" y="115"/>
                    </a:lnTo>
                    <a:lnTo>
                      <a:pt x="213" y="117"/>
                    </a:lnTo>
                    <a:lnTo>
                      <a:pt x="213" y="115"/>
                    </a:lnTo>
                    <a:lnTo>
                      <a:pt x="213" y="117"/>
                    </a:lnTo>
                    <a:lnTo>
                      <a:pt x="215" y="115"/>
                    </a:lnTo>
                    <a:lnTo>
                      <a:pt x="213" y="117"/>
                    </a:lnTo>
                    <a:lnTo>
                      <a:pt x="211" y="117"/>
                    </a:lnTo>
                    <a:lnTo>
                      <a:pt x="211" y="115"/>
                    </a:lnTo>
                    <a:lnTo>
                      <a:pt x="211" y="117"/>
                    </a:lnTo>
                    <a:lnTo>
                      <a:pt x="209" y="117"/>
                    </a:lnTo>
                    <a:lnTo>
                      <a:pt x="209" y="115"/>
                    </a:lnTo>
                    <a:close/>
                    <a:moveTo>
                      <a:pt x="224" y="119"/>
                    </a:moveTo>
                    <a:lnTo>
                      <a:pt x="223" y="119"/>
                    </a:lnTo>
                    <a:lnTo>
                      <a:pt x="224" y="119"/>
                    </a:lnTo>
                    <a:lnTo>
                      <a:pt x="223" y="119"/>
                    </a:lnTo>
                    <a:lnTo>
                      <a:pt x="224" y="119"/>
                    </a:lnTo>
                    <a:close/>
                    <a:moveTo>
                      <a:pt x="217" y="117"/>
                    </a:moveTo>
                    <a:lnTo>
                      <a:pt x="217" y="119"/>
                    </a:lnTo>
                    <a:lnTo>
                      <a:pt x="217" y="117"/>
                    </a:lnTo>
                    <a:lnTo>
                      <a:pt x="215" y="119"/>
                    </a:lnTo>
                    <a:lnTo>
                      <a:pt x="217" y="119"/>
                    </a:lnTo>
                    <a:lnTo>
                      <a:pt x="215" y="119"/>
                    </a:lnTo>
                    <a:lnTo>
                      <a:pt x="215" y="117"/>
                    </a:lnTo>
                    <a:lnTo>
                      <a:pt x="217" y="117"/>
                    </a:lnTo>
                    <a:lnTo>
                      <a:pt x="217" y="115"/>
                    </a:lnTo>
                    <a:lnTo>
                      <a:pt x="217" y="117"/>
                    </a:lnTo>
                    <a:lnTo>
                      <a:pt x="215" y="117"/>
                    </a:lnTo>
                    <a:lnTo>
                      <a:pt x="217" y="117"/>
                    </a:lnTo>
                    <a:close/>
                    <a:moveTo>
                      <a:pt x="224" y="119"/>
                    </a:moveTo>
                    <a:lnTo>
                      <a:pt x="224" y="117"/>
                    </a:lnTo>
                    <a:lnTo>
                      <a:pt x="224" y="119"/>
                    </a:lnTo>
                    <a:close/>
                    <a:moveTo>
                      <a:pt x="217" y="117"/>
                    </a:moveTo>
                    <a:lnTo>
                      <a:pt x="217" y="115"/>
                    </a:lnTo>
                    <a:lnTo>
                      <a:pt x="219" y="115"/>
                    </a:lnTo>
                    <a:lnTo>
                      <a:pt x="219" y="117"/>
                    </a:lnTo>
                    <a:lnTo>
                      <a:pt x="217" y="117"/>
                    </a:lnTo>
                    <a:close/>
                    <a:moveTo>
                      <a:pt x="219" y="117"/>
                    </a:moveTo>
                    <a:lnTo>
                      <a:pt x="219" y="115"/>
                    </a:lnTo>
                    <a:lnTo>
                      <a:pt x="219" y="117"/>
                    </a:lnTo>
                    <a:close/>
                    <a:moveTo>
                      <a:pt x="223" y="117"/>
                    </a:moveTo>
                    <a:lnTo>
                      <a:pt x="221" y="117"/>
                    </a:lnTo>
                    <a:lnTo>
                      <a:pt x="221" y="119"/>
                    </a:lnTo>
                    <a:lnTo>
                      <a:pt x="223" y="117"/>
                    </a:lnTo>
                    <a:lnTo>
                      <a:pt x="223" y="119"/>
                    </a:lnTo>
                    <a:lnTo>
                      <a:pt x="221" y="119"/>
                    </a:lnTo>
                    <a:lnTo>
                      <a:pt x="221" y="117"/>
                    </a:lnTo>
                    <a:lnTo>
                      <a:pt x="221" y="119"/>
                    </a:lnTo>
                    <a:lnTo>
                      <a:pt x="221" y="117"/>
                    </a:lnTo>
                    <a:lnTo>
                      <a:pt x="223" y="117"/>
                    </a:lnTo>
                    <a:close/>
                    <a:moveTo>
                      <a:pt x="223" y="119"/>
                    </a:moveTo>
                    <a:lnTo>
                      <a:pt x="224" y="119"/>
                    </a:lnTo>
                    <a:lnTo>
                      <a:pt x="223" y="119"/>
                    </a:lnTo>
                    <a:lnTo>
                      <a:pt x="223" y="117"/>
                    </a:lnTo>
                    <a:lnTo>
                      <a:pt x="223" y="119"/>
                    </a:lnTo>
                    <a:close/>
                    <a:moveTo>
                      <a:pt x="217" y="115"/>
                    </a:moveTo>
                    <a:lnTo>
                      <a:pt x="215" y="115"/>
                    </a:lnTo>
                    <a:lnTo>
                      <a:pt x="215" y="117"/>
                    </a:lnTo>
                    <a:lnTo>
                      <a:pt x="213" y="117"/>
                    </a:lnTo>
                    <a:lnTo>
                      <a:pt x="215" y="117"/>
                    </a:lnTo>
                    <a:lnTo>
                      <a:pt x="215" y="115"/>
                    </a:lnTo>
                    <a:lnTo>
                      <a:pt x="217" y="115"/>
                    </a:lnTo>
                    <a:close/>
                    <a:moveTo>
                      <a:pt x="207" y="113"/>
                    </a:moveTo>
                    <a:lnTo>
                      <a:pt x="207" y="111"/>
                    </a:lnTo>
                    <a:lnTo>
                      <a:pt x="207" y="113"/>
                    </a:lnTo>
                    <a:close/>
                    <a:moveTo>
                      <a:pt x="223" y="117"/>
                    </a:moveTo>
                    <a:lnTo>
                      <a:pt x="223" y="115"/>
                    </a:lnTo>
                    <a:lnTo>
                      <a:pt x="223" y="117"/>
                    </a:lnTo>
                    <a:close/>
                    <a:moveTo>
                      <a:pt x="219" y="117"/>
                    </a:moveTo>
                    <a:lnTo>
                      <a:pt x="219" y="119"/>
                    </a:lnTo>
                    <a:lnTo>
                      <a:pt x="219" y="117"/>
                    </a:lnTo>
                    <a:lnTo>
                      <a:pt x="221" y="117"/>
                    </a:lnTo>
                    <a:lnTo>
                      <a:pt x="219" y="117"/>
                    </a:lnTo>
                    <a:lnTo>
                      <a:pt x="221" y="117"/>
                    </a:lnTo>
                    <a:lnTo>
                      <a:pt x="219" y="117"/>
                    </a:lnTo>
                    <a:lnTo>
                      <a:pt x="221" y="119"/>
                    </a:lnTo>
                    <a:lnTo>
                      <a:pt x="221" y="117"/>
                    </a:lnTo>
                    <a:lnTo>
                      <a:pt x="221" y="115"/>
                    </a:lnTo>
                    <a:lnTo>
                      <a:pt x="221" y="117"/>
                    </a:lnTo>
                    <a:lnTo>
                      <a:pt x="221" y="119"/>
                    </a:lnTo>
                    <a:lnTo>
                      <a:pt x="219" y="119"/>
                    </a:lnTo>
                    <a:lnTo>
                      <a:pt x="217" y="119"/>
                    </a:lnTo>
                    <a:lnTo>
                      <a:pt x="219" y="119"/>
                    </a:lnTo>
                    <a:lnTo>
                      <a:pt x="217" y="119"/>
                    </a:lnTo>
                    <a:lnTo>
                      <a:pt x="217" y="117"/>
                    </a:lnTo>
                    <a:lnTo>
                      <a:pt x="219" y="117"/>
                    </a:lnTo>
                    <a:lnTo>
                      <a:pt x="219" y="115"/>
                    </a:lnTo>
                    <a:lnTo>
                      <a:pt x="219" y="117"/>
                    </a:lnTo>
                    <a:lnTo>
                      <a:pt x="217" y="117"/>
                    </a:lnTo>
                    <a:lnTo>
                      <a:pt x="217" y="119"/>
                    </a:lnTo>
                    <a:lnTo>
                      <a:pt x="219" y="119"/>
                    </a:lnTo>
                    <a:lnTo>
                      <a:pt x="219" y="117"/>
                    </a:lnTo>
                    <a:close/>
                    <a:moveTo>
                      <a:pt x="207" y="111"/>
                    </a:moveTo>
                    <a:lnTo>
                      <a:pt x="205" y="111"/>
                    </a:lnTo>
                    <a:lnTo>
                      <a:pt x="207" y="111"/>
                    </a:lnTo>
                    <a:lnTo>
                      <a:pt x="205" y="111"/>
                    </a:lnTo>
                    <a:lnTo>
                      <a:pt x="205" y="113"/>
                    </a:lnTo>
                    <a:lnTo>
                      <a:pt x="205" y="111"/>
                    </a:lnTo>
                    <a:lnTo>
                      <a:pt x="207" y="111"/>
                    </a:lnTo>
                    <a:lnTo>
                      <a:pt x="205" y="111"/>
                    </a:lnTo>
                    <a:lnTo>
                      <a:pt x="205" y="110"/>
                    </a:lnTo>
                    <a:lnTo>
                      <a:pt x="205" y="111"/>
                    </a:lnTo>
                    <a:lnTo>
                      <a:pt x="207" y="111"/>
                    </a:lnTo>
                    <a:close/>
                    <a:moveTo>
                      <a:pt x="221" y="115"/>
                    </a:moveTo>
                    <a:lnTo>
                      <a:pt x="223" y="115"/>
                    </a:lnTo>
                    <a:lnTo>
                      <a:pt x="221" y="115"/>
                    </a:lnTo>
                    <a:lnTo>
                      <a:pt x="223" y="115"/>
                    </a:lnTo>
                    <a:lnTo>
                      <a:pt x="221" y="115"/>
                    </a:lnTo>
                    <a:lnTo>
                      <a:pt x="221" y="113"/>
                    </a:lnTo>
                    <a:lnTo>
                      <a:pt x="221" y="115"/>
                    </a:lnTo>
                    <a:close/>
                    <a:moveTo>
                      <a:pt x="207" y="111"/>
                    </a:moveTo>
                    <a:lnTo>
                      <a:pt x="205" y="110"/>
                    </a:lnTo>
                    <a:lnTo>
                      <a:pt x="207" y="110"/>
                    </a:lnTo>
                    <a:lnTo>
                      <a:pt x="207" y="111"/>
                    </a:lnTo>
                    <a:close/>
                    <a:moveTo>
                      <a:pt x="217" y="113"/>
                    </a:moveTo>
                    <a:lnTo>
                      <a:pt x="217" y="111"/>
                    </a:lnTo>
                    <a:lnTo>
                      <a:pt x="217" y="113"/>
                    </a:lnTo>
                    <a:lnTo>
                      <a:pt x="219" y="111"/>
                    </a:lnTo>
                    <a:lnTo>
                      <a:pt x="217" y="113"/>
                    </a:lnTo>
                    <a:close/>
                    <a:moveTo>
                      <a:pt x="207" y="106"/>
                    </a:moveTo>
                    <a:lnTo>
                      <a:pt x="209" y="106"/>
                    </a:lnTo>
                    <a:lnTo>
                      <a:pt x="207" y="106"/>
                    </a:lnTo>
                    <a:close/>
                    <a:moveTo>
                      <a:pt x="217" y="110"/>
                    </a:moveTo>
                    <a:lnTo>
                      <a:pt x="219" y="110"/>
                    </a:lnTo>
                    <a:lnTo>
                      <a:pt x="217" y="110"/>
                    </a:lnTo>
                    <a:close/>
                    <a:moveTo>
                      <a:pt x="215" y="108"/>
                    </a:moveTo>
                    <a:lnTo>
                      <a:pt x="213" y="108"/>
                    </a:lnTo>
                    <a:lnTo>
                      <a:pt x="215" y="108"/>
                    </a:lnTo>
                    <a:close/>
                    <a:moveTo>
                      <a:pt x="219" y="110"/>
                    </a:moveTo>
                    <a:lnTo>
                      <a:pt x="217" y="110"/>
                    </a:lnTo>
                    <a:lnTo>
                      <a:pt x="217" y="108"/>
                    </a:lnTo>
                    <a:lnTo>
                      <a:pt x="219" y="108"/>
                    </a:lnTo>
                    <a:lnTo>
                      <a:pt x="217" y="110"/>
                    </a:lnTo>
                    <a:lnTo>
                      <a:pt x="219" y="110"/>
                    </a:lnTo>
                    <a:close/>
                    <a:moveTo>
                      <a:pt x="219" y="110"/>
                    </a:moveTo>
                    <a:lnTo>
                      <a:pt x="219" y="108"/>
                    </a:lnTo>
                    <a:lnTo>
                      <a:pt x="219" y="110"/>
                    </a:lnTo>
                    <a:lnTo>
                      <a:pt x="219" y="108"/>
                    </a:lnTo>
                    <a:lnTo>
                      <a:pt x="219" y="110"/>
                    </a:lnTo>
                    <a:close/>
                    <a:moveTo>
                      <a:pt x="205" y="104"/>
                    </a:moveTo>
                    <a:lnTo>
                      <a:pt x="203" y="104"/>
                    </a:lnTo>
                    <a:lnTo>
                      <a:pt x="205" y="104"/>
                    </a:lnTo>
                    <a:close/>
                    <a:moveTo>
                      <a:pt x="223" y="108"/>
                    </a:moveTo>
                    <a:lnTo>
                      <a:pt x="223" y="110"/>
                    </a:lnTo>
                    <a:lnTo>
                      <a:pt x="223" y="108"/>
                    </a:lnTo>
                    <a:close/>
                    <a:moveTo>
                      <a:pt x="223" y="110"/>
                    </a:moveTo>
                    <a:lnTo>
                      <a:pt x="223" y="111"/>
                    </a:lnTo>
                    <a:lnTo>
                      <a:pt x="223" y="110"/>
                    </a:lnTo>
                    <a:lnTo>
                      <a:pt x="223" y="108"/>
                    </a:lnTo>
                    <a:lnTo>
                      <a:pt x="223" y="110"/>
                    </a:lnTo>
                    <a:close/>
                    <a:moveTo>
                      <a:pt x="221" y="110"/>
                    </a:moveTo>
                    <a:lnTo>
                      <a:pt x="223" y="110"/>
                    </a:lnTo>
                    <a:lnTo>
                      <a:pt x="221" y="110"/>
                    </a:lnTo>
                    <a:lnTo>
                      <a:pt x="221" y="111"/>
                    </a:lnTo>
                    <a:lnTo>
                      <a:pt x="221" y="110"/>
                    </a:lnTo>
                    <a:lnTo>
                      <a:pt x="221" y="111"/>
                    </a:lnTo>
                    <a:lnTo>
                      <a:pt x="223" y="111"/>
                    </a:lnTo>
                    <a:lnTo>
                      <a:pt x="223" y="110"/>
                    </a:lnTo>
                    <a:lnTo>
                      <a:pt x="223" y="111"/>
                    </a:lnTo>
                    <a:lnTo>
                      <a:pt x="221" y="111"/>
                    </a:lnTo>
                    <a:lnTo>
                      <a:pt x="223" y="111"/>
                    </a:lnTo>
                    <a:lnTo>
                      <a:pt x="223" y="110"/>
                    </a:lnTo>
                    <a:lnTo>
                      <a:pt x="223" y="111"/>
                    </a:lnTo>
                    <a:lnTo>
                      <a:pt x="223" y="113"/>
                    </a:lnTo>
                    <a:lnTo>
                      <a:pt x="223" y="111"/>
                    </a:lnTo>
                    <a:lnTo>
                      <a:pt x="223" y="113"/>
                    </a:lnTo>
                    <a:lnTo>
                      <a:pt x="223" y="111"/>
                    </a:lnTo>
                    <a:lnTo>
                      <a:pt x="223" y="110"/>
                    </a:lnTo>
                    <a:lnTo>
                      <a:pt x="223" y="111"/>
                    </a:lnTo>
                    <a:lnTo>
                      <a:pt x="223" y="113"/>
                    </a:lnTo>
                    <a:lnTo>
                      <a:pt x="221" y="113"/>
                    </a:lnTo>
                    <a:lnTo>
                      <a:pt x="223" y="113"/>
                    </a:lnTo>
                    <a:lnTo>
                      <a:pt x="221" y="113"/>
                    </a:lnTo>
                    <a:lnTo>
                      <a:pt x="223" y="113"/>
                    </a:lnTo>
                    <a:lnTo>
                      <a:pt x="223" y="115"/>
                    </a:lnTo>
                    <a:lnTo>
                      <a:pt x="223" y="113"/>
                    </a:lnTo>
                    <a:lnTo>
                      <a:pt x="223" y="115"/>
                    </a:lnTo>
                    <a:lnTo>
                      <a:pt x="223" y="113"/>
                    </a:lnTo>
                    <a:lnTo>
                      <a:pt x="223" y="115"/>
                    </a:lnTo>
                    <a:lnTo>
                      <a:pt x="223" y="113"/>
                    </a:lnTo>
                    <a:lnTo>
                      <a:pt x="224" y="113"/>
                    </a:lnTo>
                    <a:lnTo>
                      <a:pt x="224" y="111"/>
                    </a:lnTo>
                    <a:lnTo>
                      <a:pt x="223" y="111"/>
                    </a:lnTo>
                    <a:lnTo>
                      <a:pt x="224" y="111"/>
                    </a:lnTo>
                    <a:lnTo>
                      <a:pt x="223" y="111"/>
                    </a:lnTo>
                    <a:lnTo>
                      <a:pt x="224" y="111"/>
                    </a:lnTo>
                    <a:lnTo>
                      <a:pt x="224" y="110"/>
                    </a:lnTo>
                    <a:lnTo>
                      <a:pt x="223" y="110"/>
                    </a:lnTo>
                    <a:lnTo>
                      <a:pt x="224" y="110"/>
                    </a:lnTo>
                    <a:lnTo>
                      <a:pt x="224" y="111"/>
                    </a:lnTo>
                    <a:lnTo>
                      <a:pt x="224" y="113"/>
                    </a:lnTo>
                    <a:lnTo>
                      <a:pt x="224" y="115"/>
                    </a:lnTo>
                    <a:lnTo>
                      <a:pt x="223" y="115"/>
                    </a:lnTo>
                    <a:lnTo>
                      <a:pt x="221" y="115"/>
                    </a:lnTo>
                    <a:lnTo>
                      <a:pt x="221" y="113"/>
                    </a:lnTo>
                    <a:lnTo>
                      <a:pt x="221" y="111"/>
                    </a:lnTo>
                    <a:lnTo>
                      <a:pt x="221" y="110"/>
                    </a:lnTo>
                    <a:lnTo>
                      <a:pt x="221" y="108"/>
                    </a:lnTo>
                    <a:lnTo>
                      <a:pt x="223" y="108"/>
                    </a:lnTo>
                    <a:lnTo>
                      <a:pt x="221" y="108"/>
                    </a:lnTo>
                    <a:lnTo>
                      <a:pt x="223" y="108"/>
                    </a:lnTo>
                    <a:lnTo>
                      <a:pt x="221" y="108"/>
                    </a:lnTo>
                    <a:lnTo>
                      <a:pt x="223" y="108"/>
                    </a:lnTo>
                    <a:lnTo>
                      <a:pt x="221" y="108"/>
                    </a:lnTo>
                    <a:lnTo>
                      <a:pt x="221" y="110"/>
                    </a:lnTo>
                    <a:close/>
                    <a:moveTo>
                      <a:pt x="213" y="115"/>
                    </a:moveTo>
                    <a:lnTo>
                      <a:pt x="215" y="115"/>
                    </a:lnTo>
                    <a:lnTo>
                      <a:pt x="213" y="115"/>
                    </a:lnTo>
                    <a:lnTo>
                      <a:pt x="211" y="115"/>
                    </a:lnTo>
                    <a:lnTo>
                      <a:pt x="209" y="115"/>
                    </a:lnTo>
                    <a:lnTo>
                      <a:pt x="207" y="115"/>
                    </a:lnTo>
                    <a:lnTo>
                      <a:pt x="207" y="113"/>
                    </a:lnTo>
                    <a:lnTo>
                      <a:pt x="207" y="111"/>
                    </a:lnTo>
                    <a:lnTo>
                      <a:pt x="209" y="111"/>
                    </a:lnTo>
                    <a:lnTo>
                      <a:pt x="211" y="111"/>
                    </a:lnTo>
                    <a:lnTo>
                      <a:pt x="211" y="110"/>
                    </a:lnTo>
                    <a:lnTo>
                      <a:pt x="211" y="111"/>
                    </a:lnTo>
                    <a:lnTo>
                      <a:pt x="211" y="110"/>
                    </a:lnTo>
                    <a:lnTo>
                      <a:pt x="213" y="110"/>
                    </a:lnTo>
                    <a:lnTo>
                      <a:pt x="211" y="111"/>
                    </a:lnTo>
                    <a:lnTo>
                      <a:pt x="213" y="110"/>
                    </a:lnTo>
                    <a:lnTo>
                      <a:pt x="213" y="111"/>
                    </a:lnTo>
                    <a:lnTo>
                      <a:pt x="213" y="110"/>
                    </a:lnTo>
                    <a:lnTo>
                      <a:pt x="213" y="111"/>
                    </a:lnTo>
                    <a:lnTo>
                      <a:pt x="213" y="110"/>
                    </a:lnTo>
                    <a:lnTo>
                      <a:pt x="213" y="108"/>
                    </a:lnTo>
                    <a:lnTo>
                      <a:pt x="213" y="106"/>
                    </a:lnTo>
                    <a:lnTo>
                      <a:pt x="215" y="106"/>
                    </a:lnTo>
                    <a:lnTo>
                      <a:pt x="215" y="104"/>
                    </a:lnTo>
                    <a:lnTo>
                      <a:pt x="215" y="106"/>
                    </a:lnTo>
                    <a:lnTo>
                      <a:pt x="215" y="104"/>
                    </a:lnTo>
                    <a:lnTo>
                      <a:pt x="215" y="106"/>
                    </a:lnTo>
                    <a:lnTo>
                      <a:pt x="215" y="108"/>
                    </a:lnTo>
                    <a:lnTo>
                      <a:pt x="215" y="106"/>
                    </a:lnTo>
                    <a:lnTo>
                      <a:pt x="213" y="106"/>
                    </a:lnTo>
                    <a:lnTo>
                      <a:pt x="213" y="108"/>
                    </a:lnTo>
                    <a:lnTo>
                      <a:pt x="215" y="108"/>
                    </a:lnTo>
                    <a:lnTo>
                      <a:pt x="217" y="108"/>
                    </a:lnTo>
                    <a:lnTo>
                      <a:pt x="217" y="106"/>
                    </a:lnTo>
                    <a:lnTo>
                      <a:pt x="217" y="108"/>
                    </a:lnTo>
                    <a:lnTo>
                      <a:pt x="217" y="110"/>
                    </a:lnTo>
                    <a:lnTo>
                      <a:pt x="217" y="108"/>
                    </a:lnTo>
                    <a:lnTo>
                      <a:pt x="219" y="108"/>
                    </a:lnTo>
                    <a:lnTo>
                      <a:pt x="219" y="106"/>
                    </a:lnTo>
                    <a:lnTo>
                      <a:pt x="219" y="108"/>
                    </a:lnTo>
                    <a:lnTo>
                      <a:pt x="219" y="106"/>
                    </a:lnTo>
                    <a:lnTo>
                      <a:pt x="219" y="108"/>
                    </a:lnTo>
                    <a:lnTo>
                      <a:pt x="217" y="108"/>
                    </a:lnTo>
                    <a:lnTo>
                      <a:pt x="217" y="110"/>
                    </a:lnTo>
                    <a:lnTo>
                      <a:pt x="217" y="108"/>
                    </a:lnTo>
                    <a:lnTo>
                      <a:pt x="217" y="110"/>
                    </a:lnTo>
                    <a:lnTo>
                      <a:pt x="215" y="110"/>
                    </a:lnTo>
                    <a:lnTo>
                      <a:pt x="217" y="110"/>
                    </a:lnTo>
                    <a:lnTo>
                      <a:pt x="215" y="110"/>
                    </a:lnTo>
                    <a:lnTo>
                      <a:pt x="215" y="111"/>
                    </a:lnTo>
                    <a:lnTo>
                      <a:pt x="215" y="113"/>
                    </a:lnTo>
                    <a:lnTo>
                      <a:pt x="217" y="113"/>
                    </a:lnTo>
                    <a:lnTo>
                      <a:pt x="215" y="113"/>
                    </a:lnTo>
                    <a:lnTo>
                      <a:pt x="217" y="113"/>
                    </a:lnTo>
                    <a:lnTo>
                      <a:pt x="217" y="115"/>
                    </a:lnTo>
                    <a:lnTo>
                      <a:pt x="217" y="113"/>
                    </a:lnTo>
                    <a:lnTo>
                      <a:pt x="219" y="113"/>
                    </a:lnTo>
                    <a:lnTo>
                      <a:pt x="219" y="111"/>
                    </a:lnTo>
                    <a:lnTo>
                      <a:pt x="219" y="113"/>
                    </a:lnTo>
                    <a:lnTo>
                      <a:pt x="219" y="111"/>
                    </a:lnTo>
                    <a:lnTo>
                      <a:pt x="219" y="113"/>
                    </a:lnTo>
                    <a:lnTo>
                      <a:pt x="219" y="111"/>
                    </a:lnTo>
                    <a:lnTo>
                      <a:pt x="219" y="113"/>
                    </a:lnTo>
                    <a:lnTo>
                      <a:pt x="221" y="111"/>
                    </a:lnTo>
                    <a:lnTo>
                      <a:pt x="219" y="111"/>
                    </a:lnTo>
                    <a:lnTo>
                      <a:pt x="219" y="110"/>
                    </a:lnTo>
                    <a:lnTo>
                      <a:pt x="221" y="110"/>
                    </a:lnTo>
                    <a:lnTo>
                      <a:pt x="221" y="108"/>
                    </a:lnTo>
                    <a:lnTo>
                      <a:pt x="221" y="110"/>
                    </a:lnTo>
                    <a:lnTo>
                      <a:pt x="219" y="110"/>
                    </a:lnTo>
                    <a:lnTo>
                      <a:pt x="219" y="111"/>
                    </a:lnTo>
                    <a:lnTo>
                      <a:pt x="219" y="110"/>
                    </a:lnTo>
                    <a:lnTo>
                      <a:pt x="219" y="111"/>
                    </a:lnTo>
                    <a:lnTo>
                      <a:pt x="219" y="110"/>
                    </a:lnTo>
                    <a:lnTo>
                      <a:pt x="219" y="108"/>
                    </a:lnTo>
                    <a:lnTo>
                      <a:pt x="221" y="108"/>
                    </a:lnTo>
                    <a:lnTo>
                      <a:pt x="219" y="108"/>
                    </a:lnTo>
                    <a:lnTo>
                      <a:pt x="221" y="108"/>
                    </a:lnTo>
                    <a:lnTo>
                      <a:pt x="221" y="106"/>
                    </a:lnTo>
                    <a:lnTo>
                      <a:pt x="219" y="106"/>
                    </a:lnTo>
                    <a:lnTo>
                      <a:pt x="221" y="108"/>
                    </a:lnTo>
                    <a:lnTo>
                      <a:pt x="221" y="110"/>
                    </a:lnTo>
                    <a:lnTo>
                      <a:pt x="221" y="111"/>
                    </a:lnTo>
                    <a:lnTo>
                      <a:pt x="219" y="113"/>
                    </a:lnTo>
                    <a:lnTo>
                      <a:pt x="221" y="113"/>
                    </a:lnTo>
                    <a:lnTo>
                      <a:pt x="219" y="113"/>
                    </a:lnTo>
                    <a:lnTo>
                      <a:pt x="221" y="113"/>
                    </a:lnTo>
                    <a:lnTo>
                      <a:pt x="221" y="111"/>
                    </a:lnTo>
                    <a:lnTo>
                      <a:pt x="221" y="113"/>
                    </a:lnTo>
                    <a:lnTo>
                      <a:pt x="219" y="113"/>
                    </a:lnTo>
                    <a:lnTo>
                      <a:pt x="219" y="115"/>
                    </a:lnTo>
                    <a:lnTo>
                      <a:pt x="217" y="115"/>
                    </a:lnTo>
                    <a:lnTo>
                      <a:pt x="215" y="115"/>
                    </a:lnTo>
                    <a:lnTo>
                      <a:pt x="217" y="115"/>
                    </a:lnTo>
                    <a:lnTo>
                      <a:pt x="215" y="115"/>
                    </a:lnTo>
                    <a:lnTo>
                      <a:pt x="213" y="115"/>
                    </a:lnTo>
                    <a:lnTo>
                      <a:pt x="215" y="115"/>
                    </a:lnTo>
                    <a:lnTo>
                      <a:pt x="213" y="115"/>
                    </a:lnTo>
                    <a:close/>
                    <a:moveTo>
                      <a:pt x="219" y="110"/>
                    </a:moveTo>
                    <a:lnTo>
                      <a:pt x="221" y="110"/>
                    </a:lnTo>
                    <a:lnTo>
                      <a:pt x="221" y="111"/>
                    </a:lnTo>
                    <a:lnTo>
                      <a:pt x="221" y="110"/>
                    </a:lnTo>
                    <a:lnTo>
                      <a:pt x="219" y="110"/>
                    </a:lnTo>
                    <a:close/>
                    <a:moveTo>
                      <a:pt x="215" y="111"/>
                    </a:moveTo>
                    <a:lnTo>
                      <a:pt x="215" y="110"/>
                    </a:lnTo>
                    <a:lnTo>
                      <a:pt x="215" y="111"/>
                    </a:lnTo>
                    <a:close/>
                    <a:moveTo>
                      <a:pt x="228" y="108"/>
                    </a:moveTo>
                    <a:lnTo>
                      <a:pt x="226" y="108"/>
                    </a:lnTo>
                    <a:lnTo>
                      <a:pt x="228" y="108"/>
                    </a:lnTo>
                    <a:close/>
                    <a:moveTo>
                      <a:pt x="228" y="108"/>
                    </a:moveTo>
                    <a:lnTo>
                      <a:pt x="226" y="108"/>
                    </a:lnTo>
                    <a:lnTo>
                      <a:pt x="226" y="106"/>
                    </a:lnTo>
                    <a:lnTo>
                      <a:pt x="226" y="108"/>
                    </a:lnTo>
                    <a:lnTo>
                      <a:pt x="226" y="106"/>
                    </a:lnTo>
                    <a:lnTo>
                      <a:pt x="228" y="106"/>
                    </a:lnTo>
                    <a:lnTo>
                      <a:pt x="228" y="108"/>
                    </a:lnTo>
                    <a:close/>
                    <a:moveTo>
                      <a:pt x="221" y="106"/>
                    </a:moveTo>
                    <a:lnTo>
                      <a:pt x="221" y="108"/>
                    </a:lnTo>
                    <a:lnTo>
                      <a:pt x="221" y="106"/>
                    </a:lnTo>
                    <a:lnTo>
                      <a:pt x="223" y="106"/>
                    </a:lnTo>
                    <a:lnTo>
                      <a:pt x="223" y="108"/>
                    </a:lnTo>
                    <a:lnTo>
                      <a:pt x="223" y="106"/>
                    </a:lnTo>
                    <a:lnTo>
                      <a:pt x="221" y="106"/>
                    </a:lnTo>
                    <a:lnTo>
                      <a:pt x="223" y="106"/>
                    </a:lnTo>
                    <a:lnTo>
                      <a:pt x="223" y="108"/>
                    </a:lnTo>
                    <a:lnTo>
                      <a:pt x="223" y="106"/>
                    </a:lnTo>
                    <a:lnTo>
                      <a:pt x="223" y="108"/>
                    </a:lnTo>
                    <a:lnTo>
                      <a:pt x="223" y="106"/>
                    </a:lnTo>
                    <a:lnTo>
                      <a:pt x="221" y="106"/>
                    </a:lnTo>
                    <a:lnTo>
                      <a:pt x="223" y="106"/>
                    </a:lnTo>
                    <a:lnTo>
                      <a:pt x="223" y="108"/>
                    </a:lnTo>
                    <a:lnTo>
                      <a:pt x="223" y="106"/>
                    </a:lnTo>
                    <a:lnTo>
                      <a:pt x="221" y="104"/>
                    </a:lnTo>
                    <a:lnTo>
                      <a:pt x="223" y="106"/>
                    </a:lnTo>
                    <a:lnTo>
                      <a:pt x="223" y="108"/>
                    </a:lnTo>
                    <a:lnTo>
                      <a:pt x="221" y="108"/>
                    </a:lnTo>
                    <a:lnTo>
                      <a:pt x="221" y="106"/>
                    </a:lnTo>
                    <a:lnTo>
                      <a:pt x="219" y="106"/>
                    </a:lnTo>
                    <a:lnTo>
                      <a:pt x="219" y="104"/>
                    </a:lnTo>
                    <a:lnTo>
                      <a:pt x="219" y="106"/>
                    </a:lnTo>
                    <a:lnTo>
                      <a:pt x="221" y="106"/>
                    </a:lnTo>
                    <a:lnTo>
                      <a:pt x="221" y="108"/>
                    </a:lnTo>
                    <a:lnTo>
                      <a:pt x="221" y="106"/>
                    </a:lnTo>
                    <a:close/>
                    <a:moveTo>
                      <a:pt x="211" y="102"/>
                    </a:moveTo>
                    <a:lnTo>
                      <a:pt x="211" y="100"/>
                    </a:lnTo>
                    <a:lnTo>
                      <a:pt x="213" y="102"/>
                    </a:lnTo>
                    <a:lnTo>
                      <a:pt x="213" y="100"/>
                    </a:lnTo>
                    <a:lnTo>
                      <a:pt x="213" y="102"/>
                    </a:lnTo>
                    <a:lnTo>
                      <a:pt x="211" y="102"/>
                    </a:lnTo>
                    <a:lnTo>
                      <a:pt x="213" y="102"/>
                    </a:lnTo>
                    <a:lnTo>
                      <a:pt x="211" y="102"/>
                    </a:lnTo>
                    <a:lnTo>
                      <a:pt x="213" y="102"/>
                    </a:lnTo>
                    <a:lnTo>
                      <a:pt x="211" y="102"/>
                    </a:lnTo>
                    <a:close/>
                    <a:moveTo>
                      <a:pt x="213" y="102"/>
                    </a:moveTo>
                    <a:lnTo>
                      <a:pt x="213" y="100"/>
                    </a:lnTo>
                    <a:lnTo>
                      <a:pt x="213" y="102"/>
                    </a:lnTo>
                    <a:close/>
                    <a:moveTo>
                      <a:pt x="217" y="102"/>
                    </a:moveTo>
                    <a:lnTo>
                      <a:pt x="217" y="104"/>
                    </a:lnTo>
                    <a:lnTo>
                      <a:pt x="217" y="102"/>
                    </a:lnTo>
                    <a:close/>
                    <a:moveTo>
                      <a:pt x="209" y="98"/>
                    </a:moveTo>
                    <a:lnTo>
                      <a:pt x="209" y="100"/>
                    </a:lnTo>
                    <a:lnTo>
                      <a:pt x="209" y="98"/>
                    </a:lnTo>
                    <a:close/>
                    <a:moveTo>
                      <a:pt x="207" y="106"/>
                    </a:moveTo>
                    <a:lnTo>
                      <a:pt x="209" y="106"/>
                    </a:lnTo>
                    <a:lnTo>
                      <a:pt x="211" y="106"/>
                    </a:lnTo>
                    <a:lnTo>
                      <a:pt x="209" y="106"/>
                    </a:lnTo>
                    <a:lnTo>
                      <a:pt x="211" y="106"/>
                    </a:lnTo>
                    <a:lnTo>
                      <a:pt x="209" y="106"/>
                    </a:lnTo>
                    <a:lnTo>
                      <a:pt x="209" y="108"/>
                    </a:lnTo>
                    <a:lnTo>
                      <a:pt x="209" y="106"/>
                    </a:lnTo>
                    <a:lnTo>
                      <a:pt x="209" y="108"/>
                    </a:lnTo>
                    <a:lnTo>
                      <a:pt x="211" y="108"/>
                    </a:lnTo>
                    <a:lnTo>
                      <a:pt x="211" y="106"/>
                    </a:lnTo>
                    <a:lnTo>
                      <a:pt x="211" y="108"/>
                    </a:lnTo>
                    <a:lnTo>
                      <a:pt x="209" y="108"/>
                    </a:lnTo>
                    <a:lnTo>
                      <a:pt x="211" y="110"/>
                    </a:lnTo>
                    <a:lnTo>
                      <a:pt x="211" y="108"/>
                    </a:lnTo>
                    <a:lnTo>
                      <a:pt x="211" y="106"/>
                    </a:lnTo>
                    <a:lnTo>
                      <a:pt x="213" y="106"/>
                    </a:lnTo>
                    <a:lnTo>
                      <a:pt x="213" y="104"/>
                    </a:lnTo>
                    <a:lnTo>
                      <a:pt x="215" y="104"/>
                    </a:lnTo>
                    <a:lnTo>
                      <a:pt x="213" y="104"/>
                    </a:lnTo>
                    <a:lnTo>
                      <a:pt x="215" y="104"/>
                    </a:lnTo>
                    <a:lnTo>
                      <a:pt x="215" y="102"/>
                    </a:lnTo>
                    <a:lnTo>
                      <a:pt x="215" y="104"/>
                    </a:lnTo>
                    <a:lnTo>
                      <a:pt x="215" y="102"/>
                    </a:lnTo>
                    <a:lnTo>
                      <a:pt x="215" y="104"/>
                    </a:lnTo>
                    <a:lnTo>
                      <a:pt x="217" y="104"/>
                    </a:lnTo>
                    <a:lnTo>
                      <a:pt x="215" y="104"/>
                    </a:lnTo>
                    <a:lnTo>
                      <a:pt x="217" y="104"/>
                    </a:lnTo>
                    <a:lnTo>
                      <a:pt x="215" y="102"/>
                    </a:lnTo>
                    <a:lnTo>
                      <a:pt x="215" y="100"/>
                    </a:lnTo>
                    <a:lnTo>
                      <a:pt x="215" y="102"/>
                    </a:lnTo>
                    <a:lnTo>
                      <a:pt x="217" y="102"/>
                    </a:lnTo>
                    <a:lnTo>
                      <a:pt x="217" y="104"/>
                    </a:lnTo>
                    <a:lnTo>
                      <a:pt x="215" y="104"/>
                    </a:lnTo>
                    <a:lnTo>
                      <a:pt x="215" y="106"/>
                    </a:lnTo>
                    <a:lnTo>
                      <a:pt x="213" y="106"/>
                    </a:lnTo>
                    <a:lnTo>
                      <a:pt x="213" y="108"/>
                    </a:lnTo>
                    <a:lnTo>
                      <a:pt x="213" y="110"/>
                    </a:lnTo>
                    <a:lnTo>
                      <a:pt x="211" y="110"/>
                    </a:lnTo>
                    <a:lnTo>
                      <a:pt x="209" y="111"/>
                    </a:lnTo>
                    <a:lnTo>
                      <a:pt x="209" y="110"/>
                    </a:lnTo>
                    <a:lnTo>
                      <a:pt x="207" y="110"/>
                    </a:lnTo>
                    <a:lnTo>
                      <a:pt x="207" y="108"/>
                    </a:lnTo>
                    <a:lnTo>
                      <a:pt x="207" y="106"/>
                    </a:lnTo>
                    <a:lnTo>
                      <a:pt x="207" y="104"/>
                    </a:lnTo>
                    <a:lnTo>
                      <a:pt x="209" y="104"/>
                    </a:lnTo>
                    <a:lnTo>
                      <a:pt x="211" y="104"/>
                    </a:lnTo>
                    <a:lnTo>
                      <a:pt x="211" y="102"/>
                    </a:lnTo>
                    <a:lnTo>
                      <a:pt x="211" y="104"/>
                    </a:lnTo>
                    <a:lnTo>
                      <a:pt x="211" y="102"/>
                    </a:lnTo>
                    <a:lnTo>
                      <a:pt x="211" y="104"/>
                    </a:lnTo>
                    <a:lnTo>
                      <a:pt x="209" y="104"/>
                    </a:lnTo>
                    <a:lnTo>
                      <a:pt x="211" y="104"/>
                    </a:lnTo>
                    <a:lnTo>
                      <a:pt x="211" y="106"/>
                    </a:lnTo>
                    <a:lnTo>
                      <a:pt x="211" y="104"/>
                    </a:lnTo>
                    <a:lnTo>
                      <a:pt x="211" y="106"/>
                    </a:lnTo>
                    <a:lnTo>
                      <a:pt x="211" y="104"/>
                    </a:lnTo>
                    <a:lnTo>
                      <a:pt x="209" y="104"/>
                    </a:lnTo>
                    <a:lnTo>
                      <a:pt x="209" y="106"/>
                    </a:lnTo>
                    <a:lnTo>
                      <a:pt x="209" y="104"/>
                    </a:lnTo>
                    <a:lnTo>
                      <a:pt x="209" y="106"/>
                    </a:lnTo>
                    <a:lnTo>
                      <a:pt x="209" y="104"/>
                    </a:lnTo>
                    <a:lnTo>
                      <a:pt x="209" y="106"/>
                    </a:lnTo>
                    <a:lnTo>
                      <a:pt x="207" y="106"/>
                    </a:lnTo>
                    <a:lnTo>
                      <a:pt x="209" y="106"/>
                    </a:lnTo>
                    <a:lnTo>
                      <a:pt x="207" y="106"/>
                    </a:lnTo>
                    <a:close/>
                    <a:moveTo>
                      <a:pt x="211" y="102"/>
                    </a:moveTo>
                    <a:lnTo>
                      <a:pt x="209" y="102"/>
                    </a:lnTo>
                    <a:lnTo>
                      <a:pt x="209" y="104"/>
                    </a:lnTo>
                    <a:lnTo>
                      <a:pt x="207" y="104"/>
                    </a:lnTo>
                    <a:lnTo>
                      <a:pt x="207" y="106"/>
                    </a:lnTo>
                    <a:lnTo>
                      <a:pt x="207" y="104"/>
                    </a:lnTo>
                    <a:lnTo>
                      <a:pt x="207" y="106"/>
                    </a:lnTo>
                    <a:lnTo>
                      <a:pt x="205" y="106"/>
                    </a:lnTo>
                    <a:lnTo>
                      <a:pt x="207" y="104"/>
                    </a:lnTo>
                    <a:lnTo>
                      <a:pt x="205" y="104"/>
                    </a:lnTo>
                    <a:lnTo>
                      <a:pt x="205" y="102"/>
                    </a:lnTo>
                    <a:lnTo>
                      <a:pt x="205" y="100"/>
                    </a:lnTo>
                    <a:lnTo>
                      <a:pt x="207" y="102"/>
                    </a:lnTo>
                    <a:lnTo>
                      <a:pt x="205" y="100"/>
                    </a:lnTo>
                    <a:lnTo>
                      <a:pt x="207" y="100"/>
                    </a:lnTo>
                    <a:lnTo>
                      <a:pt x="207" y="102"/>
                    </a:lnTo>
                    <a:lnTo>
                      <a:pt x="205" y="102"/>
                    </a:lnTo>
                    <a:lnTo>
                      <a:pt x="207" y="102"/>
                    </a:lnTo>
                    <a:lnTo>
                      <a:pt x="207" y="100"/>
                    </a:lnTo>
                    <a:lnTo>
                      <a:pt x="207" y="102"/>
                    </a:lnTo>
                    <a:lnTo>
                      <a:pt x="207" y="100"/>
                    </a:lnTo>
                    <a:lnTo>
                      <a:pt x="207" y="102"/>
                    </a:lnTo>
                    <a:lnTo>
                      <a:pt x="209" y="102"/>
                    </a:lnTo>
                    <a:lnTo>
                      <a:pt x="207" y="102"/>
                    </a:lnTo>
                    <a:lnTo>
                      <a:pt x="209" y="102"/>
                    </a:lnTo>
                    <a:lnTo>
                      <a:pt x="209" y="100"/>
                    </a:lnTo>
                    <a:lnTo>
                      <a:pt x="207" y="100"/>
                    </a:lnTo>
                    <a:lnTo>
                      <a:pt x="209" y="100"/>
                    </a:lnTo>
                    <a:lnTo>
                      <a:pt x="209" y="98"/>
                    </a:lnTo>
                    <a:lnTo>
                      <a:pt x="209" y="100"/>
                    </a:lnTo>
                    <a:lnTo>
                      <a:pt x="211" y="102"/>
                    </a:lnTo>
                    <a:lnTo>
                      <a:pt x="209" y="102"/>
                    </a:lnTo>
                    <a:lnTo>
                      <a:pt x="211" y="102"/>
                    </a:lnTo>
                    <a:close/>
                    <a:moveTo>
                      <a:pt x="213" y="100"/>
                    </a:moveTo>
                    <a:lnTo>
                      <a:pt x="211" y="100"/>
                    </a:lnTo>
                    <a:lnTo>
                      <a:pt x="211" y="102"/>
                    </a:lnTo>
                    <a:lnTo>
                      <a:pt x="211" y="100"/>
                    </a:lnTo>
                    <a:lnTo>
                      <a:pt x="209" y="98"/>
                    </a:lnTo>
                    <a:lnTo>
                      <a:pt x="211" y="98"/>
                    </a:lnTo>
                    <a:lnTo>
                      <a:pt x="213" y="100"/>
                    </a:lnTo>
                    <a:close/>
                    <a:moveTo>
                      <a:pt x="217" y="100"/>
                    </a:moveTo>
                    <a:lnTo>
                      <a:pt x="217" y="102"/>
                    </a:lnTo>
                    <a:lnTo>
                      <a:pt x="219" y="102"/>
                    </a:lnTo>
                    <a:lnTo>
                      <a:pt x="219" y="100"/>
                    </a:lnTo>
                    <a:lnTo>
                      <a:pt x="219" y="102"/>
                    </a:lnTo>
                    <a:lnTo>
                      <a:pt x="217" y="102"/>
                    </a:lnTo>
                    <a:lnTo>
                      <a:pt x="219" y="102"/>
                    </a:lnTo>
                    <a:lnTo>
                      <a:pt x="219" y="100"/>
                    </a:lnTo>
                    <a:lnTo>
                      <a:pt x="219" y="102"/>
                    </a:lnTo>
                    <a:lnTo>
                      <a:pt x="221" y="102"/>
                    </a:lnTo>
                    <a:lnTo>
                      <a:pt x="221" y="104"/>
                    </a:lnTo>
                    <a:lnTo>
                      <a:pt x="219" y="104"/>
                    </a:lnTo>
                    <a:lnTo>
                      <a:pt x="219" y="102"/>
                    </a:lnTo>
                    <a:lnTo>
                      <a:pt x="217" y="102"/>
                    </a:lnTo>
                    <a:lnTo>
                      <a:pt x="217" y="100"/>
                    </a:lnTo>
                    <a:close/>
                    <a:moveTo>
                      <a:pt x="217" y="102"/>
                    </a:moveTo>
                    <a:lnTo>
                      <a:pt x="215" y="100"/>
                    </a:lnTo>
                    <a:lnTo>
                      <a:pt x="215" y="102"/>
                    </a:lnTo>
                    <a:lnTo>
                      <a:pt x="215" y="100"/>
                    </a:lnTo>
                    <a:lnTo>
                      <a:pt x="215" y="102"/>
                    </a:lnTo>
                    <a:lnTo>
                      <a:pt x="217" y="102"/>
                    </a:lnTo>
                    <a:lnTo>
                      <a:pt x="215" y="100"/>
                    </a:lnTo>
                    <a:lnTo>
                      <a:pt x="217" y="100"/>
                    </a:lnTo>
                    <a:lnTo>
                      <a:pt x="217" y="102"/>
                    </a:lnTo>
                    <a:close/>
                    <a:moveTo>
                      <a:pt x="217" y="102"/>
                    </a:moveTo>
                    <a:lnTo>
                      <a:pt x="215" y="102"/>
                    </a:lnTo>
                    <a:lnTo>
                      <a:pt x="217" y="102"/>
                    </a:lnTo>
                    <a:close/>
                    <a:moveTo>
                      <a:pt x="223" y="104"/>
                    </a:moveTo>
                    <a:lnTo>
                      <a:pt x="223" y="102"/>
                    </a:lnTo>
                    <a:lnTo>
                      <a:pt x="223" y="104"/>
                    </a:lnTo>
                    <a:lnTo>
                      <a:pt x="221" y="104"/>
                    </a:lnTo>
                    <a:lnTo>
                      <a:pt x="221" y="102"/>
                    </a:lnTo>
                    <a:lnTo>
                      <a:pt x="221" y="104"/>
                    </a:lnTo>
                    <a:lnTo>
                      <a:pt x="221" y="102"/>
                    </a:lnTo>
                    <a:lnTo>
                      <a:pt x="219" y="102"/>
                    </a:lnTo>
                    <a:lnTo>
                      <a:pt x="221" y="102"/>
                    </a:lnTo>
                    <a:lnTo>
                      <a:pt x="219" y="102"/>
                    </a:lnTo>
                    <a:lnTo>
                      <a:pt x="221" y="102"/>
                    </a:lnTo>
                    <a:lnTo>
                      <a:pt x="223" y="102"/>
                    </a:lnTo>
                    <a:lnTo>
                      <a:pt x="224" y="104"/>
                    </a:lnTo>
                    <a:lnTo>
                      <a:pt x="226" y="102"/>
                    </a:lnTo>
                    <a:lnTo>
                      <a:pt x="226" y="104"/>
                    </a:lnTo>
                    <a:lnTo>
                      <a:pt x="226" y="106"/>
                    </a:lnTo>
                    <a:lnTo>
                      <a:pt x="224" y="106"/>
                    </a:lnTo>
                    <a:lnTo>
                      <a:pt x="223" y="106"/>
                    </a:lnTo>
                    <a:lnTo>
                      <a:pt x="223" y="104"/>
                    </a:lnTo>
                    <a:close/>
                    <a:moveTo>
                      <a:pt x="224" y="104"/>
                    </a:moveTo>
                    <a:lnTo>
                      <a:pt x="224" y="106"/>
                    </a:lnTo>
                    <a:lnTo>
                      <a:pt x="226" y="106"/>
                    </a:lnTo>
                    <a:lnTo>
                      <a:pt x="224" y="106"/>
                    </a:lnTo>
                    <a:lnTo>
                      <a:pt x="224" y="104"/>
                    </a:lnTo>
                    <a:lnTo>
                      <a:pt x="226" y="104"/>
                    </a:lnTo>
                    <a:lnTo>
                      <a:pt x="224" y="104"/>
                    </a:lnTo>
                    <a:close/>
                    <a:moveTo>
                      <a:pt x="203" y="104"/>
                    </a:moveTo>
                    <a:lnTo>
                      <a:pt x="203" y="102"/>
                    </a:lnTo>
                    <a:lnTo>
                      <a:pt x="201" y="104"/>
                    </a:lnTo>
                    <a:lnTo>
                      <a:pt x="201" y="102"/>
                    </a:lnTo>
                    <a:lnTo>
                      <a:pt x="201" y="104"/>
                    </a:lnTo>
                    <a:lnTo>
                      <a:pt x="203" y="104"/>
                    </a:lnTo>
                    <a:lnTo>
                      <a:pt x="203" y="102"/>
                    </a:lnTo>
                    <a:lnTo>
                      <a:pt x="203" y="104"/>
                    </a:lnTo>
                    <a:lnTo>
                      <a:pt x="203" y="106"/>
                    </a:lnTo>
                    <a:lnTo>
                      <a:pt x="203" y="104"/>
                    </a:lnTo>
                    <a:lnTo>
                      <a:pt x="203" y="106"/>
                    </a:lnTo>
                    <a:lnTo>
                      <a:pt x="203" y="104"/>
                    </a:lnTo>
                    <a:lnTo>
                      <a:pt x="205" y="104"/>
                    </a:lnTo>
                    <a:lnTo>
                      <a:pt x="205" y="106"/>
                    </a:lnTo>
                    <a:lnTo>
                      <a:pt x="205" y="104"/>
                    </a:lnTo>
                    <a:lnTo>
                      <a:pt x="203" y="104"/>
                    </a:lnTo>
                    <a:lnTo>
                      <a:pt x="205" y="104"/>
                    </a:lnTo>
                    <a:lnTo>
                      <a:pt x="205" y="106"/>
                    </a:lnTo>
                    <a:lnTo>
                      <a:pt x="205" y="104"/>
                    </a:lnTo>
                    <a:lnTo>
                      <a:pt x="205" y="102"/>
                    </a:lnTo>
                    <a:lnTo>
                      <a:pt x="205" y="104"/>
                    </a:lnTo>
                    <a:lnTo>
                      <a:pt x="205" y="102"/>
                    </a:lnTo>
                    <a:lnTo>
                      <a:pt x="205" y="104"/>
                    </a:lnTo>
                    <a:lnTo>
                      <a:pt x="205" y="102"/>
                    </a:lnTo>
                    <a:lnTo>
                      <a:pt x="205" y="104"/>
                    </a:lnTo>
                    <a:lnTo>
                      <a:pt x="205" y="102"/>
                    </a:lnTo>
                    <a:lnTo>
                      <a:pt x="203" y="102"/>
                    </a:lnTo>
                    <a:lnTo>
                      <a:pt x="205" y="102"/>
                    </a:lnTo>
                    <a:lnTo>
                      <a:pt x="205" y="104"/>
                    </a:lnTo>
                    <a:lnTo>
                      <a:pt x="207" y="104"/>
                    </a:lnTo>
                    <a:lnTo>
                      <a:pt x="205" y="104"/>
                    </a:lnTo>
                    <a:lnTo>
                      <a:pt x="205" y="106"/>
                    </a:lnTo>
                    <a:lnTo>
                      <a:pt x="207" y="106"/>
                    </a:lnTo>
                    <a:lnTo>
                      <a:pt x="205" y="106"/>
                    </a:lnTo>
                    <a:lnTo>
                      <a:pt x="205" y="108"/>
                    </a:lnTo>
                    <a:lnTo>
                      <a:pt x="207" y="108"/>
                    </a:lnTo>
                    <a:lnTo>
                      <a:pt x="205" y="108"/>
                    </a:lnTo>
                    <a:lnTo>
                      <a:pt x="205" y="106"/>
                    </a:lnTo>
                    <a:lnTo>
                      <a:pt x="207" y="106"/>
                    </a:lnTo>
                    <a:lnTo>
                      <a:pt x="207" y="108"/>
                    </a:lnTo>
                    <a:lnTo>
                      <a:pt x="207" y="110"/>
                    </a:lnTo>
                    <a:lnTo>
                      <a:pt x="205" y="110"/>
                    </a:lnTo>
                    <a:lnTo>
                      <a:pt x="205" y="108"/>
                    </a:lnTo>
                    <a:lnTo>
                      <a:pt x="205" y="110"/>
                    </a:lnTo>
                    <a:lnTo>
                      <a:pt x="205" y="111"/>
                    </a:lnTo>
                    <a:lnTo>
                      <a:pt x="203" y="111"/>
                    </a:lnTo>
                    <a:lnTo>
                      <a:pt x="201" y="111"/>
                    </a:lnTo>
                    <a:lnTo>
                      <a:pt x="203" y="111"/>
                    </a:lnTo>
                    <a:lnTo>
                      <a:pt x="205" y="111"/>
                    </a:lnTo>
                    <a:lnTo>
                      <a:pt x="205" y="113"/>
                    </a:lnTo>
                    <a:lnTo>
                      <a:pt x="205" y="115"/>
                    </a:lnTo>
                    <a:lnTo>
                      <a:pt x="203" y="115"/>
                    </a:lnTo>
                    <a:lnTo>
                      <a:pt x="203" y="117"/>
                    </a:lnTo>
                    <a:lnTo>
                      <a:pt x="201" y="117"/>
                    </a:lnTo>
                    <a:lnTo>
                      <a:pt x="203" y="117"/>
                    </a:lnTo>
                    <a:lnTo>
                      <a:pt x="203" y="119"/>
                    </a:lnTo>
                    <a:lnTo>
                      <a:pt x="203" y="117"/>
                    </a:lnTo>
                    <a:lnTo>
                      <a:pt x="201" y="119"/>
                    </a:lnTo>
                    <a:lnTo>
                      <a:pt x="203" y="119"/>
                    </a:lnTo>
                    <a:lnTo>
                      <a:pt x="201" y="119"/>
                    </a:lnTo>
                    <a:lnTo>
                      <a:pt x="201" y="121"/>
                    </a:lnTo>
                    <a:lnTo>
                      <a:pt x="201" y="119"/>
                    </a:lnTo>
                    <a:lnTo>
                      <a:pt x="203" y="119"/>
                    </a:lnTo>
                    <a:lnTo>
                      <a:pt x="205" y="119"/>
                    </a:lnTo>
                    <a:lnTo>
                      <a:pt x="205" y="117"/>
                    </a:lnTo>
                    <a:lnTo>
                      <a:pt x="205" y="115"/>
                    </a:lnTo>
                    <a:lnTo>
                      <a:pt x="205" y="117"/>
                    </a:lnTo>
                    <a:lnTo>
                      <a:pt x="205" y="115"/>
                    </a:lnTo>
                    <a:lnTo>
                      <a:pt x="207" y="115"/>
                    </a:lnTo>
                    <a:lnTo>
                      <a:pt x="205" y="115"/>
                    </a:lnTo>
                    <a:lnTo>
                      <a:pt x="205" y="117"/>
                    </a:lnTo>
                    <a:lnTo>
                      <a:pt x="205" y="119"/>
                    </a:lnTo>
                    <a:lnTo>
                      <a:pt x="203" y="119"/>
                    </a:lnTo>
                    <a:lnTo>
                      <a:pt x="205" y="119"/>
                    </a:lnTo>
                    <a:lnTo>
                      <a:pt x="205" y="121"/>
                    </a:lnTo>
                    <a:lnTo>
                      <a:pt x="203" y="121"/>
                    </a:lnTo>
                    <a:lnTo>
                      <a:pt x="203" y="119"/>
                    </a:lnTo>
                    <a:lnTo>
                      <a:pt x="205" y="119"/>
                    </a:lnTo>
                    <a:lnTo>
                      <a:pt x="203" y="119"/>
                    </a:lnTo>
                    <a:lnTo>
                      <a:pt x="203" y="121"/>
                    </a:lnTo>
                    <a:lnTo>
                      <a:pt x="203" y="119"/>
                    </a:lnTo>
                    <a:lnTo>
                      <a:pt x="203" y="121"/>
                    </a:lnTo>
                    <a:lnTo>
                      <a:pt x="203" y="123"/>
                    </a:lnTo>
                    <a:lnTo>
                      <a:pt x="203" y="121"/>
                    </a:lnTo>
                    <a:lnTo>
                      <a:pt x="203" y="123"/>
                    </a:lnTo>
                    <a:lnTo>
                      <a:pt x="203" y="121"/>
                    </a:lnTo>
                    <a:lnTo>
                      <a:pt x="201" y="121"/>
                    </a:lnTo>
                    <a:lnTo>
                      <a:pt x="203" y="121"/>
                    </a:lnTo>
                    <a:lnTo>
                      <a:pt x="201" y="121"/>
                    </a:lnTo>
                    <a:lnTo>
                      <a:pt x="203" y="121"/>
                    </a:lnTo>
                    <a:lnTo>
                      <a:pt x="203" y="123"/>
                    </a:lnTo>
                    <a:lnTo>
                      <a:pt x="201" y="123"/>
                    </a:lnTo>
                    <a:lnTo>
                      <a:pt x="201" y="121"/>
                    </a:lnTo>
                    <a:lnTo>
                      <a:pt x="201" y="123"/>
                    </a:lnTo>
                    <a:lnTo>
                      <a:pt x="199" y="123"/>
                    </a:lnTo>
                    <a:lnTo>
                      <a:pt x="201" y="123"/>
                    </a:lnTo>
                    <a:lnTo>
                      <a:pt x="199" y="123"/>
                    </a:lnTo>
                    <a:lnTo>
                      <a:pt x="201" y="123"/>
                    </a:lnTo>
                    <a:lnTo>
                      <a:pt x="199" y="121"/>
                    </a:lnTo>
                    <a:lnTo>
                      <a:pt x="199" y="123"/>
                    </a:lnTo>
                    <a:lnTo>
                      <a:pt x="199" y="121"/>
                    </a:lnTo>
                    <a:lnTo>
                      <a:pt x="199" y="119"/>
                    </a:lnTo>
                    <a:lnTo>
                      <a:pt x="198" y="119"/>
                    </a:lnTo>
                    <a:lnTo>
                      <a:pt x="199" y="119"/>
                    </a:lnTo>
                    <a:lnTo>
                      <a:pt x="198" y="119"/>
                    </a:lnTo>
                    <a:lnTo>
                      <a:pt x="198" y="121"/>
                    </a:lnTo>
                    <a:lnTo>
                      <a:pt x="199" y="121"/>
                    </a:lnTo>
                    <a:lnTo>
                      <a:pt x="198" y="121"/>
                    </a:lnTo>
                    <a:lnTo>
                      <a:pt x="198" y="123"/>
                    </a:lnTo>
                    <a:lnTo>
                      <a:pt x="196" y="123"/>
                    </a:lnTo>
                    <a:lnTo>
                      <a:pt x="198" y="123"/>
                    </a:lnTo>
                    <a:lnTo>
                      <a:pt x="196" y="123"/>
                    </a:lnTo>
                    <a:lnTo>
                      <a:pt x="196" y="125"/>
                    </a:lnTo>
                    <a:lnTo>
                      <a:pt x="196" y="123"/>
                    </a:lnTo>
                    <a:lnTo>
                      <a:pt x="198" y="123"/>
                    </a:lnTo>
                    <a:lnTo>
                      <a:pt x="199" y="123"/>
                    </a:lnTo>
                    <a:lnTo>
                      <a:pt x="201" y="123"/>
                    </a:lnTo>
                    <a:lnTo>
                      <a:pt x="199" y="123"/>
                    </a:lnTo>
                    <a:lnTo>
                      <a:pt x="198" y="125"/>
                    </a:lnTo>
                    <a:lnTo>
                      <a:pt x="196" y="125"/>
                    </a:lnTo>
                    <a:lnTo>
                      <a:pt x="196" y="127"/>
                    </a:lnTo>
                    <a:lnTo>
                      <a:pt x="194" y="127"/>
                    </a:lnTo>
                    <a:lnTo>
                      <a:pt x="194" y="129"/>
                    </a:lnTo>
                    <a:lnTo>
                      <a:pt x="194" y="127"/>
                    </a:lnTo>
                    <a:lnTo>
                      <a:pt x="196" y="127"/>
                    </a:lnTo>
                    <a:lnTo>
                      <a:pt x="194" y="127"/>
                    </a:lnTo>
                    <a:lnTo>
                      <a:pt x="196" y="127"/>
                    </a:lnTo>
                    <a:lnTo>
                      <a:pt x="194" y="127"/>
                    </a:lnTo>
                    <a:lnTo>
                      <a:pt x="196" y="127"/>
                    </a:lnTo>
                    <a:lnTo>
                      <a:pt x="194" y="127"/>
                    </a:lnTo>
                    <a:lnTo>
                      <a:pt x="194" y="129"/>
                    </a:lnTo>
                    <a:lnTo>
                      <a:pt x="196" y="129"/>
                    </a:lnTo>
                    <a:lnTo>
                      <a:pt x="194" y="129"/>
                    </a:lnTo>
                    <a:lnTo>
                      <a:pt x="194" y="131"/>
                    </a:lnTo>
                    <a:lnTo>
                      <a:pt x="194" y="129"/>
                    </a:lnTo>
                    <a:lnTo>
                      <a:pt x="194" y="131"/>
                    </a:lnTo>
                    <a:lnTo>
                      <a:pt x="192" y="131"/>
                    </a:lnTo>
                    <a:lnTo>
                      <a:pt x="192" y="129"/>
                    </a:lnTo>
                    <a:lnTo>
                      <a:pt x="192" y="131"/>
                    </a:lnTo>
                    <a:lnTo>
                      <a:pt x="190" y="131"/>
                    </a:lnTo>
                    <a:lnTo>
                      <a:pt x="192" y="131"/>
                    </a:lnTo>
                    <a:lnTo>
                      <a:pt x="190" y="131"/>
                    </a:lnTo>
                    <a:lnTo>
                      <a:pt x="188" y="131"/>
                    </a:lnTo>
                    <a:lnTo>
                      <a:pt x="190" y="131"/>
                    </a:lnTo>
                    <a:lnTo>
                      <a:pt x="190" y="129"/>
                    </a:lnTo>
                    <a:lnTo>
                      <a:pt x="190" y="131"/>
                    </a:lnTo>
                    <a:lnTo>
                      <a:pt x="188" y="131"/>
                    </a:lnTo>
                    <a:lnTo>
                      <a:pt x="188" y="129"/>
                    </a:lnTo>
                    <a:lnTo>
                      <a:pt x="186" y="129"/>
                    </a:lnTo>
                    <a:lnTo>
                      <a:pt x="184" y="129"/>
                    </a:lnTo>
                    <a:lnTo>
                      <a:pt x="184" y="127"/>
                    </a:lnTo>
                    <a:lnTo>
                      <a:pt x="184" y="129"/>
                    </a:lnTo>
                    <a:lnTo>
                      <a:pt x="184" y="127"/>
                    </a:lnTo>
                    <a:lnTo>
                      <a:pt x="184" y="129"/>
                    </a:lnTo>
                    <a:lnTo>
                      <a:pt x="182" y="129"/>
                    </a:lnTo>
                    <a:lnTo>
                      <a:pt x="180" y="129"/>
                    </a:lnTo>
                    <a:lnTo>
                      <a:pt x="178" y="127"/>
                    </a:lnTo>
                    <a:lnTo>
                      <a:pt x="178" y="129"/>
                    </a:lnTo>
                    <a:lnTo>
                      <a:pt x="176" y="129"/>
                    </a:lnTo>
                    <a:lnTo>
                      <a:pt x="176" y="131"/>
                    </a:lnTo>
                    <a:lnTo>
                      <a:pt x="176" y="129"/>
                    </a:lnTo>
                    <a:lnTo>
                      <a:pt x="174" y="129"/>
                    </a:lnTo>
                    <a:lnTo>
                      <a:pt x="176" y="131"/>
                    </a:lnTo>
                    <a:lnTo>
                      <a:pt x="174" y="131"/>
                    </a:lnTo>
                    <a:lnTo>
                      <a:pt x="173" y="131"/>
                    </a:lnTo>
                    <a:lnTo>
                      <a:pt x="173" y="129"/>
                    </a:lnTo>
                    <a:lnTo>
                      <a:pt x="173" y="131"/>
                    </a:lnTo>
                    <a:lnTo>
                      <a:pt x="174" y="131"/>
                    </a:lnTo>
                    <a:lnTo>
                      <a:pt x="176" y="131"/>
                    </a:lnTo>
                    <a:lnTo>
                      <a:pt x="176" y="129"/>
                    </a:lnTo>
                    <a:lnTo>
                      <a:pt x="176" y="131"/>
                    </a:lnTo>
                    <a:lnTo>
                      <a:pt x="174" y="131"/>
                    </a:lnTo>
                    <a:lnTo>
                      <a:pt x="176" y="131"/>
                    </a:lnTo>
                    <a:lnTo>
                      <a:pt x="176" y="129"/>
                    </a:lnTo>
                    <a:lnTo>
                      <a:pt x="176" y="131"/>
                    </a:lnTo>
                    <a:lnTo>
                      <a:pt x="178" y="129"/>
                    </a:lnTo>
                    <a:lnTo>
                      <a:pt x="180" y="129"/>
                    </a:lnTo>
                    <a:lnTo>
                      <a:pt x="178" y="129"/>
                    </a:lnTo>
                    <a:lnTo>
                      <a:pt x="180" y="129"/>
                    </a:lnTo>
                    <a:lnTo>
                      <a:pt x="182" y="129"/>
                    </a:lnTo>
                    <a:lnTo>
                      <a:pt x="184" y="129"/>
                    </a:lnTo>
                    <a:lnTo>
                      <a:pt x="186" y="129"/>
                    </a:lnTo>
                    <a:lnTo>
                      <a:pt x="188" y="129"/>
                    </a:lnTo>
                    <a:lnTo>
                      <a:pt x="186" y="129"/>
                    </a:lnTo>
                    <a:lnTo>
                      <a:pt x="188" y="131"/>
                    </a:lnTo>
                    <a:lnTo>
                      <a:pt x="188" y="133"/>
                    </a:lnTo>
                    <a:lnTo>
                      <a:pt x="190" y="133"/>
                    </a:lnTo>
                    <a:lnTo>
                      <a:pt x="190" y="135"/>
                    </a:lnTo>
                    <a:lnTo>
                      <a:pt x="188" y="135"/>
                    </a:lnTo>
                    <a:lnTo>
                      <a:pt x="190" y="135"/>
                    </a:lnTo>
                    <a:lnTo>
                      <a:pt x="188" y="135"/>
                    </a:lnTo>
                    <a:lnTo>
                      <a:pt x="190" y="135"/>
                    </a:lnTo>
                    <a:lnTo>
                      <a:pt x="188" y="135"/>
                    </a:lnTo>
                    <a:lnTo>
                      <a:pt x="190" y="135"/>
                    </a:lnTo>
                    <a:lnTo>
                      <a:pt x="188" y="136"/>
                    </a:lnTo>
                    <a:lnTo>
                      <a:pt x="186" y="135"/>
                    </a:lnTo>
                    <a:lnTo>
                      <a:pt x="186" y="133"/>
                    </a:lnTo>
                    <a:lnTo>
                      <a:pt x="186" y="135"/>
                    </a:lnTo>
                    <a:lnTo>
                      <a:pt x="186" y="136"/>
                    </a:lnTo>
                    <a:lnTo>
                      <a:pt x="184" y="136"/>
                    </a:lnTo>
                    <a:lnTo>
                      <a:pt x="182" y="136"/>
                    </a:lnTo>
                    <a:lnTo>
                      <a:pt x="182" y="138"/>
                    </a:lnTo>
                    <a:lnTo>
                      <a:pt x="182" y="140"/>
                    </a:lnTo>
                    <a:lnTo>
                      <a:pt x="182" y="138"/>
                    </a:lnTo>
                    <a:lnTo>
                      <a:pt x="182" y="140"/>
                    </a:lnTo>
                    <a:lnTo>
                      <a:pt x="182" y="138"/>
                    </a:lnTo>
                    <a:lnTo>
                      <a:pt x="182" y="140"/>
                    </a:lnTo>
                    <a:lnTo>
                      <a:pt x="180" y="140"/>
                    </a:lnTo>
                    <a:lnTo>
                      <a:pt x="182" y="140"/>
                    </a:lnTo>
                    <a:lnTo>
                      <a:pt x="180" y="140"/>
                    </a:lnTo>
                    <a:lnTo>
                      <a:pt x="180" y="142"/>
                    </a:lnTo>
                    <a:lnTo>
                      <a:pt x="180" y="140"/>
                    </a:lnTo>
                    <a:lnTo>
                      <a:pt x="180" y="142"/>
                    </a:lnTo>
                    <a:lnTo>
                      <a:pt x="180" y="140"/>
                    </a:lnTo>
                    <a:lnTo>
                      <a:pt x="178" y="140"/>
                    </a:lnTo>
                    <a:lnTo>
                      <a:pt x="178" y="142"/>
                    </a:lnTo>
                    <a:lnTo>
                      <a:pt x="178" y="140"/>
                    </a:lnTo>
                    <a:lnTo>
                      <a:pt x="178" y="142"/>
                    </a:lnTo>
                    <a:lnTo>
                      <a:pt x="176" y="142"/>
                    </a:lnTo>
                    <a:lnTo>
                      <a:pt x="178" y="142"/>
                    </a:lnTo>
                    <a:lnTo>
                      <a:pt x="178" y="140"/>
                    </a:lnTo>
                    <a:lnTo>
                      <a:pt x="178" y="142"/>
                    </a:lnTo>
                    <a:lnTo>
                      <a:pt x="180" y="142"/>
                    </a:lnTo>
                    <a:lnTo>
                      <a:pt x="178" y="142"/>
                    </a:lnTo>
                    <a:lnTo>
                      <a:pt x="178" y="144"/>
                    </a:lnTo>
                    <a:lnTo>
                      <a:pt x="176" y="144"/>
                    </a:lnTo>
                    <a:lnTo>
                      <a:pt x="176" y="146"/>
                    </a:lnTo>
                    <a:lnTo>
                      <a:pt x="174" y="146"/>
                    </a:lnTo>
                    <a:lnTo>
                      <a:pt x="176" y="146"/>
                    </a:lnTo>
                    <a:lnTo>
                      <a:pt x="176" y="148"/>
                    </a:lnTo>
                    <a:lnTo>
                      <a:pt x="174" y="148"/>
                    </a:lnTo>
                    <a:lnTo>
                      <a:pt x="176" y="148"/>
                    </a:lnTo>
                    <a:lnTo>
                      <a:pt x="174" y="148"/>
                    </a:lnTo>
                    <a:lnTo>
                      <a:pt x="176" y="148"/>
                    </a:lnTo>
                    <a:lnTo>
                      <a:pt x="174" y="148"/>
                    </a:lnTo>
                    <a:lnTo>
                      <a:pt x="173" y="148"/>
                    </a:lnTo>
                    <a:lnTo>
                      <a:pt x="171" y="148"/>
                    </a:lnTo>
                    <a:lnTo>
                      <a:pt x="173" y="148"/>
                    </a:lnTo>
                    <a:lnTo>
                      <a:pt x="171" y="148"/>
                    </a:lnTo>
                    <a:lnTo>
                      <a:pt x="171" y="146"/>
                    </a:lnTo>
                    <a:lnTo>
                      <a:pt x="171" y="148"/>
                    </a:lnTo>
                    <a:lnTo>
                      <a:pt x="173" y="148"/>
                    </a:lnTo>
                    <a:lnTo>
                      <a:pt x="173" y="150"/>
                    </a:lnTo>
                    <a:lnTo>
                      <a:pt x="174" y="150"/>
                    </a:lnTo>
                    <a:lnTo>
                      <a:pt x="174" y="152"/>
                    </a:lnTo>
                    <a:lnTo>
                      <a:pt x="174" y="154"/>
                    </a:lnTo>
                    <a:lnTo>
                      <a:pt x="173" y="154"/>
                    </a:lnTo>
                    <a:lnTo>
                      <a:pt x="173" y="156"/>
                    </a:lnTo>
                    <a:lnTo>
                      <a:pt x="171" y="156"/>
                    </a:lnTo>
                    <a:lnTo>
                      <a:pt x="171" y="158"/>
                    </a:lnTo>
                    <a:lnTo>
                      <a:pt x="171" y="156"/>
                    </a:lnTo>
                    <a:lnTo>
                      <a:pt x="171" y="158"/>
                    </a:lnTo>
                    <a:lnTo>
                      <a:pt x="169" y="158"/>
                    </a:lnTo>
                    <a:lnTo>
                      <a:pt x="169" y="160"/>
                    </a:lnTo>
                    <a:lnTo>
                      <a:pt x="169" y="161"/>
                    </a:lnTo>
                    <a:lnTo>
                      <a:pt x="169" y="160"/>
                    </a:lnTo>
                    <a:lnTo>
                      <a:pt x="169" y="161"/>
                    </a:lnTo>
                    <a:lnTo>
                      <a:pt x="169" y="160"/>
                    </a:lnTo>
                    <a:lnTo>
                      <a:pt x="167" y="160"/>
                    </a:lnTo>
                    <a:lnTo>
                      <a:pt x="167" y="161"/>
                    </a:lnTo>
                    <a:lnTo>
                      <a:pt x="167" y="160"/>
                    </a:lnTo>
                    <a:lnTo>
                      <a:pt x="165" y="160"/>
                    </a:lnTo>
                    <a:lnTo>
                      <a:pt x="167" y="160"/>
                    </a:lnTo>
                    <a:lnTo>
                      <a:pt x="165" y="161"/>
                    </a:lnTo>
                    <a:lnTo>
                      <a:pt x="167" y="161"/>
                    </a:lnTo>
                    <a:lnTo>
                      <a:pt x="165" y="161"/>
                    </a:lnTo>
                    <a:lnTo>
                      <a:pt x="165" y="163"/>
                    </a:lnTo>
                    <a:lnTo>
                      <a:pt x="167" y="163"/>
                    </a:lnTo>
                    <a:lnTo>
                      <a:pt x="167" y="161"/>
                    </a:lnTo>
                    <a:lnTo>
                      <a:pt x="169" y="161"/>
                    </a:lnTo>
                    <a:lnTo>
                      <a:pt x="169" y="163"/>
                    </a:lnTo>
                    <a:lnTo>
                      <a:pt x="167" y="163"/>
                    </a:lnTo>
                    <a:lnTo>
                      <a:pt x="169" y="163"/>
                    </a:lnTo>
                    <a:lnTo>
                      <a:pt x="169" y="161"/>
                    </a:lnTo>
                    <a:lnTo>
                      <a:pt x="169" y="163"/>
                    </a:lnTo>
                    <a:lnTo>
                      <a:pt x="169" y="161"/>
                    </a:lnTo>
                    <a:lnTo>
                      <a:pt x="171" y="161"/>
                    </a:lnTo>
                    <a:lnTo>
                      <a:pt x="171" y="163"/>
                    </a:lnTo>
                    <a:lnTo>
                      <a:pt x="169" y="161"/>
                    </a:lnTo>
                    <a:lnTo>
                      <a:pt x="169" y="163"/>
                    </a:lnTo>
                    <a:lnTo>
                      <a:pt x="167" y="163"/>
                    </a:lnTo>
                    <a:lnTo>
                      <a:pt x="165" y="163"/>
                    </a:lnTo>
                    <a:lnTo>
                      <a:pt x="167" y="163"/>
                    </a:lnTo>
                    <a:lnTo>
                      <a:pt x="165" y="163"/>
                    </a:lnTo>
                    <a:lnTo>
                      <a:pt x="167" y="163"/>
                    </a:lnTo>
                    <a:lnTo>
                      <a:pt x="165" y="163"/>
                    </a:lnTo>
                    <a:lnTo>
                      <a:pt x="165" y="165"/>
                    </a:lnTo>
                    <a:lnTo>
                      <a:pt x="163" y="165"/>
                    </a:lnTo>
                    <a:lnTo>
                      <a:pt x="165" y="167"/>
                    </a:lnTo>
                    <a:lnTo>
                      <a:pt x="165" y="165"/>
                    </a:lnTo>
                    <a:lnTo>
                      <a:pt x="165" y="167"/>
                    </a:lnTo>
                    <a:lnTo>
                      <a:pt x="165" y="165"/>
                    </a:lnTo>
                    <a:lnTo>
                      <a:pt x="163" y="167"/>
                    </a:lnTo>
                    <a:lnTo>
                      <a:pt x="163" y="169"/>
                    </a:lnTo>
                    <a:lnTo>
                      <a:pt x="163" y="167"/>
                    </a:lnTo>
                    <a:lnTo>
                      <a:pt x="163" y="169"/>
                    </a:lnTo>
                    <a:lnTo>
                      <a:pt x="163" y="167"/>
                    </a:lnTo>
                    <a:lnTo>
                      <a:pt x="161" y="167"/>
                    </a:lnTo>
                    <a:lnTo>
                      <a:pt x="163" y="169"/>
                    </a:lnTo>
                    <a:lnTo>
                      <a:pt x="163" y="171"/>
                    </a:lnTo>
                    <a:lnTo>
                      <a:pt x="161" y="171"/>
                    </a:lnTo>
                    <a:lnTo>
                      <a:pt x="161" y="169"/>
                    </a:lnTo>
                    <a:lnTo>
                      <a:pt x="161" y="167"/>
                    </a:lnTo>
                    <a:lnTo>
                      <a:pt x="159" y="167"/>
                    </a:lnTo>
                    <a:lnTo>
                      <a:pt x="159" y="169"/>
                    </a:lnTo>
                    <a:lnTo>
                      <a:pt x="159" y="167"/>
                    </a:lnTo>
                    <a:lnTo>
                      <a:pt x="159" y="169"/>
                    </a:lnTo>
                    <a:lnTo>
                      <a:pt x="157" y="171"/>
                    </a:lnTo>
                    <a:lnTo>
                      <a:pt x="157" y="169"/>
                    </a:lnTo>
                    <a:lnTo>
                      <a:pt x="157" y="171"/>
                    </a:lnTo>
                    <a:lnTo>
                      <a:pt x="159" y="171"/>
                    </a:lnTo>
                    <a:lnTo>
                      <a:pt x="159" y="169"/>
                    </a:lnTo>
                    <a:lnTo>
                      <a:pt x="161" y="169"/>
                    </a:lnTo>
                    <a:lnTo>
                      <a:pt x="161" y="171"/>
                    </a:lnTo>
                    <a:lnTo>
                      <a:pt x="159" y="171"/>
                    </a:lnTo>
                    <a:lnTo>
                      <a:pt x="161" y="171"/>
                    </a:lnTo>
                    <a:lnTo>
                      <a:pt x="159" y="171"/>
                    </a:lnTo>
                    <a:lnTo>
                      <a:pt x="157" y="173"/>
                    </a:lnTo>
                    <a:lnTo>
                      <a:pt x="155" y="173"/>
                    </a:lnTo>
                    <a:lnTo>
                      <a:pt x="155" y="171"/>
                    </a:lnTo>
                    <a:lnTo>
                      <a:pt x="155" y="173"/>
                    </a:lnTo>
                    <a:lnTo>
                      <a:pt x="153" y="173"/>
                    </a:lnTo>
                    <a:lnTo>
                      <a:pt x="153" y="171"/>
                    </a:lnTo>
                    <a:lnTo>
                      <a:pt x="151" y="171"/>
                    </a:lnTo>
                    <a:lnTo>
                      <a:pt x="151" y="173"/>
                    </a:lnTo>
                    <a:lnTo>
                      <a:pt x="149" y="173"/>
                    </a:lnTo>
                    <a:lnTo>
                      <a:pt x="151" y="173"/>
                    </a:lnTo>
                    <a:lnTo>
                      <a:pt x="153" y="173"/>
                    </a:lnTo>
                    <a:lnTo>
                      <a:pt x="151" y="173"/>
                    </a:lnTo>
                    <a:lnTo>
                      <a:pt x="153" y="173"/>
                    </a:lnTo>
                    <a:lnTo>
                      <a:pt x="151" y="173"/>
                    </a:lnTo>
                    <a:lnTo>
                      <a:pt x="153" y="173"/>
                    </a:lnTo>
                    <a:lnTo>
                      <a:pt x="151" y="173"/>
                    </a:lnTo>
                    <a:lnTo>
                      <a:pt x="153" y="173"/>
                    </a:lnTo>
                    <a:lnTo>
                      <a:pt x="151" y="173"/>
                    </a:lnTo>
                    <a:lnTo>
                      <a:pt x="153" y="173"/>
                    </a:lnTo>
                    <a:lnTo>
                      <a:pt x="153" y="175"/>
                    </a:lnTo>
                    <a:lnTo>
                      <a:pt x="153" y="173"/>
                    </a:lnTo>
                    <a:lnTo>
                      <a:pt x="153" y="175"/>
                    </a:lnTo>
                    <a:lnTo>
                      <a:pt x="153" y="173"/>
                    </a:lnTo>
                    <a:lnTo>
                      <a:pt x="155" y="173"/>
                    </a:lnTo>
                    <a:lnTo>
                      <a:pt x="155" y="175"/>
                    </a:lnTo>
                    <a:lnTo>
                      <a:pt x="155" y="173"/>
                    </a:lnTo>
                    <a:lnTo>
                      <a:pt x="153" y="173"/>
                    </a:lnTo>
                    <a:lnTo>
                      <a:pt x="155" y="173"/>
                    </a:lnTo>
                    <a:lnTo>
                      <a:pt x="155" y="175"/>
                    </a:lnTo>
                    <a:lnTo>
                      <a:pt x="155" y="173"/>
                    </a:lnTo>
                    <a:lnTo>
                      <a:pt x="157" y="173"/>
                    </a:lnTo>
                    <a:lnTo>
                      <a:pt x="157" y="175"/>
                    </a:lnTo>
                    <a:lnTo>
                      <a:pt x="157" y="173"/>
                    </a:lnTo>
                    <a:lnTo>
                      <a:pt x="157" y="175"/>
                    </a:lnTo>
                    <a:lnTo>
                      <a:pt x="155" y="175"/>
                    </a:lnTo>
                    <a:lnTo>
                      <a:pt x="155" y="177"/>
                    </a:lnTo>
                    <a:lnTo>
                      <a:pt x="153" y="177"/>
                    </a:lnTo>
                    <a:lnTo>
                      <a:pt x="151" y="177"/>
                    </a:lnTo>
                    <a:lnTo>
                      <a:pt x="151" y="175"/>
                    </a:lnTo>
                    <a:lnTo>
                      <a:pt x="149" y="173"/>
                    </a:lnTo>
                    <a:lnTo>
                      <a:pt x="148" y="173"/>
                    </a:lnTo>
                    <a:lnTo>
                      <a:pt x="146" y="173"/>
                    </a:lnTo>
                    <a:lnTo>
                      <a:pt x="146" y="175"/>
                    </a:lnTo>
                    <a:lnTo>
                      <a:pt x="146" y="177"/>
                    </a:lnTo>
                    <a:lnTo>
                      <a:pt x="144" y="177"/>
                    </a:lnTo>
                    <a:lnTo>
                      <a:pt x="144" y="179"/>
                    </a:lnTo>
                    <a:lnTo>
                      <a:pt x="142" y="179"/>
                    </a:lnTo>
                    <a:lnTo>
                      <a:pt x="142" y="177"/>
                    </a:lnTo>
                    <a:lnTo>
                      <a:pt x="142" y="175"/>
                    </a:lnTo>
                    <a:lnTo>
                      <a:pt x="142" y="173"/>
                    </a:lnTo>
                    <a:lnTo>
                      <a:pt x="142" y="171"/>
                    </a:lnTo>
                    <a:lnTo>
                      <a:pt x="142" y="169"/>
                    </a:lnTo>
                    <a:lnTo>
                      <a:pt x="140" y="167"/>
                    </a:lnTo>
                    <a:lnTo>
                      <a:pt x="138" y="167"/>
                    </a:lnTo>
                    <a:lnTo>
                      <a:pt x="136" y="167"/>
                    </a:lnTo>
                    <a:lnTo>
                      <a:pt x="136" y="165"/>
                    </a:lnTo>
                    <a:lnTo>
                      <a:pt x="134" y="165"/>
                    </a:lnTo>
                    <a:lnTo>
                      <a:pt x="132" y="165"/>
                    </a:lnTo>
                    <a:lnTo>
                      <a:pt x="130" y="165"/>
                    </a:lnTo>
                    <a:lnTo>
                      <a:pt x="130" y="163"/>
                    </a:lnTo>
                    <a:lnTo>
                      <a:pt x="128" y="163"/>
                    </a:lnTo>
                    <a:lnTo>
                      <a:pt x="128" y="161"/>
                    </a:lnTo>
                    <a:lnTo>
                      <a:pt x="126" y="161"/>
                    </a:lnTo>
                    <a:lnTo>
                      <a:pt x="126" y="160"/>
                    </a:lnTo>
                    <a:lnTo>
                      <a:pt x="126" y="158"/>
                    </a:lnTo>
                    <a:lnTo>
                      <a:pt x="125" y="158"/>
                    </a:lnTo>
                    <a:lnTo>
                      <a:pt x="125" y="156"/>
                    </a:lnTo>
                    <a:lnTo>
                      <a:pt x="126" y="156"/>
                    </a:lnTo>
                    <a:lnTo>
                      <a:pt x="126" y="154"/>
                    </a:lnTo>
                    <a:lnTo>
                      <a:pt x="126" y="152"/>
                    </a:lnTo>
                    <a:lnTo>
                      <a:pt x="125" y="150"/>
                    </a:lnTo>
                    <a:lnTo>
                      <a:pt x="125" y="148"/>
                    </a:lnTo>
                    <a:lnTo>
                      <a:pt x="125" y="150"/>
                    </a:lnTo>
                    <a:lnTo>
                      <a:pt x="123" y="150"/>
                    </a:lnTo>
                    <a:lnTo>
                      <a:pt x="121" y="150"/>
                    </a:lnTo>
                    <a:lnTo>
                      <a:pt x="121" y="148"/>
                    </a:lnTo>
                    <a:lnTo>
                      <a:pt x="119" y="148"/>
                    </a:lnTo>
                    <a:lnTo>
                      <a:pt x="119" y="150"/>
                    </a:lnTo>
                    <a:lnTo>
                      <a:pt x="117" y="150"/>
                    </a:lnTo>
                    <a:lnTo>
                      <a:pt x="117" y="148"/>
                    </a:lnTo>
                    <a:lnTo>
                      <a:pt x="115" y="148"/>
                    </a:lnTo>
                    <a:lnTo>
                      <a:pt x="115" y="146"/>
                    </a:lnTo>
                    <a:lnTo>
                      <a:pt x="113" y="144"/>
                    </a:lnTo>
                    <a:lnTo>
                      <a:pt x="113" y="142"/>
                    </a:lnTo>
                    <a:lnTo>
                      <a:pt x="111" y="142"/>
                    </a:lnTo>
                    <a:lnTo>
                      <a:pt x="111" y="140"/>
                    </a:lnTo>
                    <a:lnTo>
                      <a:pt x="111" y="138"/>
                    </a:lnTo>
                    <a:lnTo>
                      <a:pt x="109" y="138"/>
                    </a:lnTo>
                    <a:lnTo>
                      <a:pt x="107" y="138"/>
                    </a:lnTo>
                    <a:lnTo>
                      <a:pt x="107" y="136"/>
                    </a:lnTo>
                    <a:lnTo>
                      <a:pt x="107" y="135"/>
                    </a:lnTo>
                    <a:lnTo>
                      <a:pt x="107" y="133"/>
                    </a:lnTo>
                    <a:lnTo>
                      <a:pt x="107" y="131"/>
                    </a:lnTo>
                    <a:lnTo>
                      <a:pt x="105" y="129"/>
                    </a:lnTo>
                    <a:lnTo>
                      <a:pt x="105" y="127"/>
                    </a:lnTo>
                    <a:lnTo>
                      <a:pt x="107" y="127"/>
                    </a:lnTo>
                    <a:lnTo>
                      <a:pt x="107" y="125"/>
                    </a:lnTo>
                    <a:lnTo>
                      <a:pt x="105" y="125"/>
                    </a:lnTo>
                    <a:lnTo>
                      <a:pt x="105" y="127"/>
                    </a:lnTo>
                    <a:lnTo>
                      <a:pt x="103" y="127"/>
                    </a:lnTo>
                    <a:lnTo>
                      <a:pt x="101" y="125"/>
                    </a:lnTo>
                    <a:lnTo>
                      <a:pt x="101" y="123"/>
                    </a:lnTo>
                    <a:lnTo>
                      <a:pt x="100" y="123"/>
                    </a:lnTo>
                    <a:lnTo>
                      <a:pt x="100" y="121"/>
                    </a:lnTo>
                    <a:lnTo>
                      <a:pt x="100" y="119"/>
                    </a:lnTo>
                    <a:lnTo>
                      <a:pt x="100" y="121"/>
                    </a:lnTo>
                    <a:lnTo>
                      <a:pt x="100" y="123"/>
                    </a:lnTo>
                    <a:lnTo>
                      <a:pt x="100" y="121"/>
                    </a:lnTo>
                    <a:lnTo>
                      <a:pt x="100" y="123"/>
                    </a:lnTo>
                    <a:lnTo>
                      <a:pt x="101" y="123"/>
                    </a:lnTo>
                    <a:lnTo>
                      <a:pt x="101" y="125"/>
                    </a:lnTo>
                    <a:lnTo>
                      <a:pt x="100" y="125"/>
                    </a:lnTo>
                    <a:lnTo>
                      <a:pt x="100" y="123"/>
                    </a:lnTo>
                    <a:lnTo>
                      <a:pt x="98" y="123"/>
                    </a:lnTo>
                    <a:lnTo>
                      <a:pt x="98" y="125"/>
                    </a:lnTo>
                    <a:lnTo>
                      <a:pt x="96" y="123"/>
                    </a:lnTo>
                    <a:lnTo>
                      <a:pt x="96" y="125"/>
                    </a:lnTo>
                    <a:lnTo>
                      <a:pt x="98" y="125"/>
                    </a:lnTo>
                    <a:lnTo>
                      <a:pt x="98" y="123"/>
                    </a:lnTo>
                    <a:lnTo>
                      <a:pt x="100" y="123"/>
                    </a:lnTo>
                    <a:lnTo>
                      <a:pt x="100" y="125"/>
                    </a:lnTo>
                    <a:lnTo>
                      <a:pt x="101" y="125"/>
                    </a:lnTo>
                    <a:lnTo>
                      <a:pt x="101" y="127"/>
                    </a:lnTo>
                    <a:lnTo>
                      <a:pt x="103" y="127"/>
                    </a:lnTo>
                    <a:lnTo>
                      <a:pt x="105" y="127"/>
                    </a:lnTo>
                    <a:lnTo>
                      <a:pt x="107" y="125"/>
                    </a:lnTo>
                    <a:lnTo>
                      <a:pt x="107" y="127"/>
                    </a:lnTo>
                    <a:lnTo>
                      <a:pt x="105" y="127"/>
                    </a:lnTo>
                    <a:lnTo>
                      <a:pt x="105" y="129"/>
                    </a:lnTo>
                    <a:lnTo>
                      <a:pt x="105" y="131"/>
                    </a:lnTo>
                    <a:lnTo>
                      <a:pt x="107" y="131"/>
                    </a:lnTo>
                    <a:lnTo>
                      <a:pt x="107" y="133"/>
                    </a:lnTo>
                    <a:lnTo>
                      <a:pt x="107" y="135"/>
                    </a:lnTo>
                    <a:lnTo>
                      <a:pt x="107" y="136"/>
                    </a:lnTo>
                    <a:lnTo>
                      <a:pt x="107" y="138"/>
                    </a:lnTo>
                    <a:lnTo>
                      <a:pt x="109" y="138"/>
                    </a:lnTo>
                    <a:lnTo>
                      <a:pt x="111" y="140"/>
                    </a:lnTo>
                    <a:lnTo>
                      <a:pt x="111" y="142"/>
                    </a:lnTo>
                    <a:lnTo>
                      <a:pt x="113" y="144"/>
                    </a:lnTo>
                    <a:lnTo>
                      <a:pt x="113" y="146"/>
                    </a:lnTo>
                    <a:lnTo>
                      <a:pt x="115" y="146"/>
                    </a:lnTo>
                    <a:lnTo>
                      <a:pt x="115" y="148"/>
                    </a:lnTo>
                    <a:lnTo>
                      <a:pt x="117" y="148"/>
                    </a:lnTo>
                    <a:lnTo>
                      <a:pt x="117" y="150"/>
                    </a:lnTo>
                    <a:lnTo>
                      <a:pt x="119" y="150"/>
                    </a:lnTo>
                    <a:lnTo>
                      <a:pt x="119" y="148"/>
                    </a:lnTo>
                    <a:lnTo>
                      <a:pt x="121" y="148"/>
                    </a:lnTo>
                    <a:lnTo>
                      <a:pt x="121" y="150"/>
                    </a:lnTo>
                    <a:lnTo>
                      <a:pt x="123" y="150"/>
                    </a:lnTo>
                    <a:lnTo>
                      <a:pt x="125" y="150"/>
                    </a:lnTo>
                    <a:lnTo>
                      <a:pt x="125" y="152"/>
                    </a:lnTo>
                    <a:lnTo>
                      <a:pt x="126" y="152"/>
                    </a:lnTo>
                    <a:lnTo>
                      <a:pt x="125" y="154"/>
                    </a:lnTo>
                    <a:lnTo>
                      <a:pt x="125" y="156"/>
                    </a:lnTo>
                    <a:lnTo>
                      <a:pt x="125" y="158"/>
                    </a:lnTo>
                    <a:lnTo>
                      <a:pt x="125" y="160"/>
                    </a:lnTo>
                    <a:lnTo>
                      <a:pt x="125" y="161"/>
                    </a:lnTo>
                    <a:lnTo>
                      <a:pt x="126" y="161"/>
                    </a:lnTo>
                    <a:lnTo>
                      <a:pt x="126" y="163"/>
                    </a:lnTo>
                    <a:lnTo>
                      <a:pt x="128" y="163"/>
                    </a:lnTo>
                    <a:lnTo>
                      <a:pt x="126" y="163"/>
                    </a:lnTo>
                    <a:lnTo>
                      <a:pt x="126" y="165"/>
                    </a:lnTo>
                    <a:lnTo>
                      <a:pt x="126" y="163"/>
                    </a:lnTo>
                    <a:lnTo>
                      <a:pt x="126" y="165"/>
                    </a:lnTo>
                    <a:lnTo>
                      <a:pt x="126" y="163"/>
                    </a:lnTo>
                    <a:lnTo>
                      <a:pt x="125" y="163"/>
                    </a:lnTo>
                    <a:lnTo>
                      <a:pt x="125" y="165"/>
                    </a:lnTo>
                    <a:lnTo>
                      <a:pt x="123" y="165"/>
                    </a:lnTo>
                    <a:lnTo>
                      <a:pt x="125" y="165"/>
                    </a:lnTo>
                    <a:lnTo>
                      <a:pt x="125" y="163"/>
                    </a:lnTo>
                    <a:lnTo>
                      <a:pt x="125" y="165"/>
                    </a:lnTo>
                    <a:lnTo>
                      <a:pt x="126" y="163"/>
                    </a:lnTo>
                    <a:lnTo>
                      <a:pt x="126" y="165"/>
                    </a:lnTo>
                    <a:lnTo>
                      <a:pt x="126" y="163"/>
                    </a:lnTo>
                    <a:lnTo>
                      <a:pt x="128" y="163"/>
                    </a:lnTo>
                    <a:lnTo>
                      <a:pt x="126" y="163"/>
                    </a:lnTo>
                    <a:lnTo>
                      <a:pt x="128" y="163"/>
                    </a:lnTo>
                    <a:lnTo>
                      <a:pt x="130" y="163"/>
                    </a:lnTo>
                    <a:lnTo>
                      <a:pt x="130" y="165"/>
                    </a:lnTo>
                    <a:lnTo>
                      <a:pt x="132" y="165"/>
                    </a:lnTo>
                    <a:lnTo>
                      <a:pt x="130" y="165"/>
                    </a:lnTo>
                    <a:lnTo>
                      <a:pt x="132" y="165"/>
                    </a:lnTo>
                    <a:lnTo>
                      <a:pt x="134" y="165"/>
                    </a:lnTo>
                    <a:lnTo>
                      <a:pt x="136" y="167"/>
                    </a:lnTo>
                    <a:lnTo>
                      <a:pt x="138" y="167"/>
                    </a:lnTo>
                    <a:lnTo>
                      <a:pt x="136" y="167"/>
                    </a:lnTo>
                    <a:lnTo>
                      <a:pt x="138" y="167"/>
                    </a:lnTo>
                    <a:lnTo>
                      <a:pt x="140" y="167"/>
                    </a:lnTo>
                    <a:lnTo>
                      <a:pt x="138" y="167"/>
                    </a:lnTo>
                    <a:lnTo>
                      <a:pt x="138" y="169"/>
                    </a:lnTo>
                    <a:lnTo>
                      <a:pt x="140" y="167"/>
                    </a:lnTo>
                    <a:lnTo>
                      <a:pt x="140" y="169"/>
                    </a:lnTo>
                    <a:lnTo>
                      <a:pt x="142" y="171"/>
                    </a:lnTo>
                    <a:lnTo>
                      <a:pt x="142" y="173"/>
                    </a:lnTo>
                    <a:lnTo>
                      <a:pt x="142" y="175"/>
                    </a:lnTo>
                    <a:lnTo>
                      <a:pt x="142" y="177"/>
                    </a:lnTo>
                    <a:lnTo>
                      <a:pt x="142" y="175"/>
                    </a:lnTo>
                    <a:lnTo>
                      <a:pt x="142" y="173"/>
                    </a:lnTo>
                    <a:lnTo>
                      <a:pt x="142" y="175"/>
                    </a:lnTo>
                    <a:lnTo>
                      <a:pt x="142" y="177"/>
                    </a:lnTo>
                    <a:lnTo>
                      <a:pt x="142" y="179"/>
                    </a:lnTo>
                    <a:lnTo>
                      <a:pt x="142" y="181"/>
                    </a:lnTo>
                    <a:lnTo>
                      <a:pt x="142" y="183"/>
                    </a:lnTo>
                    <a:lnTo>
                      <a:pt x="142" y="185"/>
                    </a:lnTo>
                    <a:lnTo>
                      <a:pt x="142" y="183"/>
                    </a:lnTo>
                    <a:lnTo>
                      <a:pt x="142" y="185"/>
                    </a:lnTo>
                    <a:lnTo>
                      <a:pt x="142" y="183"/>
                    </a:lnTo>
                    <a:lnTo>
                      <a:pt x="142" y="185"/>
                    </a:lnTo>
                    <a:lnTo>
                      <a:pt x="144" y="185"/>
                    </a:lnTo>
                    <a:lnTo>
                      <a:pt x="142" y="185"/>
                    </a:lnTo>
                    <a:lnTo>
                      <a:pt x="144" y="185"/>
                    </a:lnTo>
                    <a:lnTo>
                      <a:pt x="142" y="185"/>
                    </a:lnTo>
                    <a:lnTo>
                      <a:pt x="142" y="183"/>
                    </a:lnTo>
                    <a:lnTo>
                      <a:pt x="144" y="185"/>
                    </a:lnTo>
                    <a:lnTo>
                      <a:pt x="144" y="183"/>
                    </a:lnTo>
                    <a:lnTo>
                      <a:pt x="142" y="183"/>
                    </a:lnTo>
                    <a:lnTo>
                      <a:pt x="142" y="181"/>
                    </a:lnTo>
                    <a:lnTo>
                      <a:pt x="144" y="181"/>
                    </a:lnTo>
                    <a:lnTo>
                      <a:pt x="142" y="181"/>
                    </a:lnTo>
                    <a:lnTo>
                      <a:pt x="144" y="181"/>
                    </a:lnTo>
                    <a:lnTo>
                      <a:pt x="144" y="179"/>
                    </a:lnTo>
                    <a:lnTo>
                      <a:pt x="146" y="179"/>
                    </a:lnTo>
                    <a:lnTo>
                      <a:pt x="144" y="179"/>
                    </a:lnTo>
                    <a:lnTo>
                      <a:pt x="146" y="179"/>
                    </a:lnTo>
                    <a:lnTo>
                      <a:pt x="144" y="179"/>
                    </a:lnTo>
                    <a:lnTo>
                      <a:pt x="144" y="181"/>
                    </a:lnTo>
                    <a:lnTo>
                      <a:pt x="146" y="181"/>
                    </a:lnTo>
                    <a:lnTo>
                      <a:pt x="146" y="179"/>
                    </a:lnTo>
                    <a:lnTo>
                      <a:pt x="144" y="179"/>
                    </a:lnTo>
                    <a:lnTo>
                      <a:pt x="142" y="179"/>
                    </a:lnTo>
                    <a:lnTo>
                      <a:pt x="144" y="179"/>
                    </a:lnTo>
                    <a:lnTo>
                      <a:pt x="142" y="179"/>
                    </a:lnTo>
                    <a:lnTo>
                      <a:pt x="144" y="179"/>
                    </a:lnTo>
                    <a:lnTo>
                      <a:pt x="142" y="179"/>
                    </a:lnTo>
                    <a:lnTo>
                      <a:pt x="142" y="177"/>
                    </a:lnTo>
                    <a:lnTo>
                      <a:pt x="142" y="179"/>
                    </a:lnTo>
                    <a:lnTo>
                      <a:pt x="144" y="179"/>
                    </a:lnTo>
                    <a:lnTo>
                      <a:pt x="146" y="177"/>
                    </a:lnTo>
                    <a:lnTo>
                      <a:pt x="146" y="175"/>
                    </a:lnTo>
                    <a:lnTo>
                      <a:pt x="146" y="173"/>
                    </a:lnTo>
                    <a:lnTo>
                      <a:pt x="148" y="173"/>
                    </a:lnTo>
                    <a:lnTo>
                      <a:pt x="149" y="173"/>
                    </a:lnTo>
                    <a:lnTo>
                      <a:pt x="149" y="175"/>
                    </a:lnTo>
                    <a:lnTo>
                      <a:pt x="151" y="175"/>
                    </a:lnTo>
                    <a:lnTo>
                      <a:pt x="149" y="175"/>
                    </a:lnTo>
                    <a:lnTo>
                      <a:pt x="151" y="175"/>
                    </a:lnTo>
                    <a:lnTo>
                      <a:pt x="149" y="175"/>
                    </a:lnTo>
                    <a:lnTo>
                      <a:pt x="148" y="175"/>
                    </a:lnTo>
                    <a:lnTo>
                      <a:pt x="149" y="175"/>
                    </a:lnTo>
                    <a:lnTo>
                      <a:pt x="148" y="175"/>
                    </a:lnTo>
                    <a:lnTo>
                      <a:pt x="148" y="177"/>
                    </a:lnTo>
                    <a:lnTo>
                      <a:pt x="148" y="175"/>
                    </a:lnTo>
                    <a:lnTo>
                      <a:pt x="149" y="175"/>
                    </a:lnTo>
                    <a:lnTo>
                      <a:pt x="149" y="177"/>
                    </a:lnTo>
                    <a:lnTo>
                      <a:pt x="149" y="179"/>
                    </a:lnTo>
                    <a:lnTo>
                      <a:pt x="149" y="177"/>
                    </a:lnTo>
                    <a:lnTo>
                      <a:pt x="151" y="177"/>
                    </a:lnTo>
                    <a:lnTo>
                      <a:pt x="153" y="177"/>
                    </a:lnTo>
                    <a:lnTo>
                      <a:pt x="155" y="177"/>
                    </a:lnTo>
                    <a:lnTo>
                      <a:pt x="155" y="175"/>
                    </a:lnTo>
                    <a:lnTo>
                      <a:pt x="157" y="175"/>
                    </a:lnTo>
                    <a:lnTo>
                      <a:pt x="157" y="177"/>
                    </a:lnTo>
                    <a:lnTo>
                      <a:pt x="157" y="175"/>
                    </a:lnTo>
                    <a:lnTo>
                      <a:pt x="155" y="175"/>
                    </a:lnTo>
                    <a:lnTo>
                      <a:pt x="157" y="175"/>
                    </a:lnTo>
                    <a:lnTo>
                      <a:pt x="155" y="175"/>
                    </a:lnTo>
                    <a:lnTo>
                      <a:pt x="157" y="175"/>
                    </a:lnTo>
                    <a:lnTo>
                      <a:pt x="157" y="177"/>
                    </a:lnTo>
                    <a:lnTo>
                      <a:pt x="157" y="175"/>
                    </a:lnTo>
                    <a:lnTo>
                      <a:pt x="157" y="177"/>
                    </a:lnTo>
                    <a:lnTo>
                      <a:pt x="155" y="177"/>
                    </a:lnTo>
                    <a:lnTo>
                      <a:pt x="155" y="179"/>
                    </a:lnTo>
                    <a:lnTo>
                      <a:pt x="153" y="179"/>
                    </a:lnTo>
                    <a:lnTo>
                      <a:pt x="155" y="179"/>
                    </a:lnTo>
                    <a:lnTo>
                      <a:pt x="153" y="179"/>
                    </a:lnTo>
                    <a:lnTo>
                      <a:pt x="151" y="179"/>
                    </a:lnTo>
                    <a:lnTo>
                      <a:pt x="151" y="181"/>
                    </a:lnTo>
                    <a:lnTo>
                      <a:pt x="153" y="181"/>
                    </a:lnTo>
                    <a:lnTo>
                      <a:pt x="151" y="181"/>
                    </a:lnTo>
                    <a:lnTo>
                      <a:pt x="153" y="181"/>
                    </a:lnTo>
                    <a:lnTo>
                      <a:pt x="151" y="181"/>
                    </a:lnTo>
                    <a:lnTo>
                      <a:pt x="151" y="183"/>
                    </a:lnTo>
                    <a:lnTo>
                      <a:pt x="149" y="183"/>
                    </a:lnTo>
                    <a:lnTo>
                      <a:pt x="151" y="183"/>
                    </a:lnTo>
                    <a:lnTo>
                      <a:pt x="149" y="183"/>
                    </a:lnTo>
                    <a:lnTo>
                      <a:pt x="149" y="185"/>
                    </a:lnTo>
                    <a:lnTo>
                      <a:pt x="149" y="183"/>
                    </a:lnTo>
                    <a:lnTo>
                      <a:pt x="151" y="183"/>
                    </a:lnTo>
                    <a:lnTo>
                      <a:pt x="153" y="183"/>
                    </a:lnTo>
                    <a:lnTo>
                      <a:pt x="151" y="183"/>
                    </a:lnTo>
                    <a:lnTo>
                      <a:pt x="153" y="183"/>
                    </a:lnTo>
                    <a:lnTo>
                      <a:pt x="153" y="185"/>
                    </a:lnTo>
                    <a:lnTo>
                      <a:pt x="153" y="183"/>
                    </a:lnTo>
                    <a:lnTo>
                      <a:pt x="153" y="185"/>
                    </a:lnTo>
                    <a:lnTo>
                      <a:pt x="153" y="183"/>
                    </a:lnTo>
                    <a:lnTo>
                      <a:pt x="153" y="185"/>
                    </a:lnTo>
                    <a:lnTo>
                      <a:pt x="155" y="185"/>
                    </a:lnTo>
                    <a:lnTo>
                      <a:pt x="153" y="185"/>
                    </a:lnTo>
                    <a:lnTo>
                      <a:pt x="155" y="185"/>
                    </a:lnTo>
                    <a:lnTo>
                      <a:pt x="153" y="185"/>
                    </a:lnTo>
                    <a:lnTo>
                      <a:pt x="153" y="183"/>
                    </a:lnTo>
                    <a:lnTo>
                      <a:pt x="153" y="185"/>
                    </a:lnTo>
                    <a:lnTo>
                      <a:pt x="153" y="183"/>
                    </a:lnTo>
                    <a:lnTo>
                      <a:pt x="153" y="181"/>
                    </a:lnTo>
                    <a:lnTo>
                      <a:pt x="153" y="179"/>
                    </a:lnTo>
                    <a:lnTo>
                      <a:pt x="153" y="181"/>
                    </a:lnTo>
                    <a:lnTo>
                      <a:pt x="153" y="179"/>
                    </a:lnTo>
                    <a:lnTo>
                      <a:pt x="155" y="179"/>
                    </a:lnTo>
                    <a:lnTo>
                      <a:pt x="155" y="177"/>
                    </a:lnTo>
                    <a:lnTo>
                      <a:pt x="157" y="177"/>
                    </a:lnTo>
                    <a:lnTo>
                      <a:pt x="157" y="179"/>
                    </a:lnTo>
                    <a:lnTo>
                      <a:pt x="157" y="181"/>
                    </a:lnTo>
                    <a:lnTo>
                      <a:pt x="155" y="181"/>
                    </a:lnTo>
                    <a:lnTo>
                      <a:pt x="157" y="181"/>
                    </a:lnTo>
                    <a:lnTo>
                      <a:pt x="157" y="183"/>
                    </a:lnTo>
                    <a:lnTo>
                      <a:pt x="155" y="183"/>
                    </a:lnTo>
                    <a:lnTo>
                      <a:pt x="157" y="183"/>
                    </a:lnTo>
                    <a:lnTo>
                      <a:pt x="157" y="181"/>
                    </a:lnTo>
                    <a:lnTo>
                      <a:pt x="155" y="181"/>
                    </a:lnTo>
                    <a:lnTo>
                      <a:pt x="157" y="181"/>
                    </a:lnTo>
                    <a:lnTo>
                      <a:pt x="159" y="181"/>
                    </a:lnTo>
                    <a:lnTo>
                      <a:pt x="159" y="179"/>
                    </a:lnTo>
                    <a:lnTo>
                      <a:pt x="159" y="181"/>
                    </a:lnTo>
                    <a:lnTo>
                      <a:pt x="159" y="179"/>
                    </a:lnTo>
                    <a:lnTo>
                      <a:pt x="159" y="181"/>
                    </a:lnTo>
                    <a:lnTo>
                      <a:pt x="159" y="179"/>
                    </a:lnTo>
                    <a:lnTo>
                      <a:pt x="159" y="177"/>
                    </a:lnTo>
                    <a:lnTo>
                      <a:pt x="159" y="179"/>
                    </a:lnTo>
                    <a:lnTo>
                      <a:pt x="159" y="177"/>
                    </a:lnTo>
                    <a:lnTo>
                      <a:pt x="159" y="175"/>
                    </a:lnTo>
                    <a:lnTo>
                      <a:pt x="157" y="175"/>
                    </a:lnTo>
                    <a:lnTo>
                      <a:pt x="157" y="173"/>
                    </a:lnTo>
                    <a:lnTo>
                      <a:pt x="159" y="173"/>
                    </a:lnTo>
                    <a:lnTo>
                      <a:pt x="159" y="171"/>
                    </a:lnTo>
                    <a:lnTo>
                      <a:pt x="161" y="171"/>
                    </a:lnTo>
                    <a:lnTo>
                      <a:pt x="159" y="171"/>
                    </a:lnTo>
                    <a:lnTo>
                      <a:pt x="161" y="171"/>
                    </a:lnTo>
                    <a:lnTo>
                      <a:pt x="159" y="171"/>
                    </a:lnTo>
                    <a:lnTo>
                      <a:pt x="161" y="171"/>
                    </a:lnTo>
                    <a:lnTo>
                      <a:pt x="159" y="173"/>
                    </a:lnTo>
                    <a:lnTo>
                      <a:pt x="159" y="171"/>
                    </a:lnTo>
                    <a:lnTo>
                      <a:pt x="159" y="173"/>
                    </a:lnTo>
                    <a:lnTo>
                      <a:pt x="157" y="173"/>
                    </a:lnTo>
                    <a:lnTo>
                      <a:pt x="159" y="173"/>
                    </a:lnTo>
                    <a:lnTo>
                      <a:pt x="157" y="173"/>
                    </a:lnTo>
                    <a:lnTo>
                      <a:pt x="159" y="173"/>
                    </a:lnTo>
                    <a:lnTo>
                      <a:pt x="161" y="173"/>
                    </a:lnTo>
                    <a:lnTo>
                      <a:pt x="159" y="173"/>
                    </a:lnTo>
                    <a:lnTo>
                      <a:pt x="161" y="173"/>
                    </a:lnTo>
                    <a:lnTo>
                      <a:pt x="161" y="171"/>
                    </a:lnTo>
                    <a:lnTo>
                      <a:pt x="161" y="173"/>
                    </a:lnTo>
                    <a:lnTo>
                      <a:pt x="161" y="171"/>
                    </a:lnTo>
                    <a:lnTo>
                      <a:pt x="163" y="171"/>
                    </a:lnTo>
                    <a:lnTo>
                      <a:pt x="161" y="171"/>
                    </a:lnTo>
                    <a:lnTo>
                      <a:pt x="163" y="171"/>
                    </a:lnTo>
                    <a:lnTo>
                      <a:pt x="163" y="173"/>
                    </a:lnTo>
                    <a:lnTo>
                      <a:pt x="163" y="171"/>
                    </a:lnTo>
                    <a:lnTo>
                      <a:pt x="163" y="169"/>
                    </a:lnTo>
                    <a:lnTo>
                      <a:pt x="163" y="167"/>
                    </a:lnTo>
                    <a:lnTo>
                      <a:pt x="163" y="169"/>
                    </a:lnTo>
                    <a:lnTo>
                      <a:pt x="163" y="167"/>
                    </a:lnTo>
                    <a:lnTo>
                      <a:pt x="165" y="167"/>
                    </a:lnTo>
                    <a:lnTo>
                      <a:pt x="165" y="165"/>
                    </a:lnTo>
                    <a:lnTo>
                      <a:pt x="167" y="165"/>
                    </a:lnTo>
                    <a:lnTo>
                      <a:pt x="169" y="163"/>
                    </a:lnTo>
                    <a:lnTo>
                      <a:pt x="169" y="165"/>
                    </a:lnTo>
                    <a:lnTo>
                      <a:pt x="169" y="163"/>
                    </a:lnTo>
                    <a:lnTo>
                      <a:pt x="171" y="163"/>
                    </a:lnTo>
                    <a:lnTo>
                      <a:pt x="173" y="163"/>
                    </a:lnTo>
                    <a:lnTo>
                      <a:pt x="173" y="161"/>
                    </a:lnTo>
                    <a:lnTo>
                      <a:pt x="174" y="161"/>
                    </a:lnTo>
                    <a:lnTo>
                      <a:pt x="174" y="163"/>
                    </a:lnTo>
                    <a:lnTo>
                      <a:pt x="174" y="161"/>
                    </a:lnTo>
                    <a:lnTo>
                      <a:pt x="173" y="161"/>
                    </a:lnTo>
                    <a:lnTo>
                      <a:pt x="174" y="161"/>
                    </a:lnTo>
                    <a:lnTo>
                      <a:pt x="174" y="160"/>
                    </a:lnTo>
                    <a:lnTo>
                      <a:pt x="174" y="158"/>
                    </a:lnTo>
                    <a:lnTo>
                      <a:pt x="174" y="156"/>
                    </a:lnTo>
                    <a:lnTo>
                      <a:pt x="176" y="156"/>
                    </a:lnTo>
                    <a:lnTo>
                      <a:pt x="178" y="156"/>
                    </a:lnTo>
                    <a:lnTo>
                      <a:pt x="178" y="154"/>
                    </a:lnTo>
                    <a:lnTo>
                      <a:pt x="176" y="156"/>
                    </a:lnTo>
                    <a:lnTo>
                      <a:pt x="176" y="154"/>
                    </a:lnTo>
                    <a:lnTo>
                      <a:pt x="178" y="154"/>
                    </a:lnTo>
                    <a:lnTo>
                      <a:pt x="180" y="156"/>
                    </a:lnTo>
                    <a:lnTo>
                      <a:pt x="182" y="156"/>
                    </a:lnTo>
                    <a:lnTo>
                      <a:pt x="182" y="154"/>
                    </a:lnTo>
                    <a:lnTo>
                      <a:pt x="182" y="156"/>
                    </a:lnTo>
                    <a:lnTo>
                      <a:pt x="184" y="156"/>
                    </a:lnTo>
                    <a:lnTo>
                      <a:pt x="184" y="158"/>
                    </a:lnTo>
                    <a:lnTo>
                      <a:pt x="184" y="160"/>
                    </a:lnTo>
                    <a:lnTo>
                      <a:pt x="186" y="160"/>
                    </a:lnTo>
                    <a:lnTo>
                      <a:pt x="184" y="160"/>
                    </a:lnTo>
                    <a:lnTo>
                      <a:pt x="184" y="161"/>
                    </a:lnTo>
                    <a:lnTo>
                      <a:pt x="184" y="163"/>
                    </a:lnTo>
                    <a:lnTo>
                      <a:pt x="182" y="163"/>
                    </a:lnTo>
                    <a:lnTo>
                      <a:pt x="182" y="165"/>
                    </a:lnTo>
                    <a:lnTo>
                      <a:pt x="180" y="165"/>
                    </a:lnTo>
                    <a:lnTo>
                      <a:pt x="180" y="167"/>
                    </a:lnTo>
                    <a:lnTo>
                      <a:pt x="178" y="167"/>
                    </a:lnTo>
                    <a:lnTo>
                      <a:pt x="180" y="167"/>
                    </a:lnTo>
                    <a:lnTo>
                      <a:pt x="178" y="167"/>
                    </a:lnTo>
                    <a:lnTo>
                      <a:pt x="178" y="169"/>
                    </a:lnTo>
                    <a:lnTo>
                      <a:pt x="178" y="167"/>
                    </a:lnTo>
                    <a:lnTo>
                      <a:pt x="178" y="169"/>
                    </a:lnTo>
                    <a:lnTo>
                      <a:pt x="176" y="169"/>
                    </a:lnTo>
                    <a:lnTo>
                      <a:pt x="176" y="171"/>
                    </a:lnTo>
                    <a:lnTo>
                      <a:pt x="176" y="173"/>
                    </a:lnTo>
                    <a:lnTo>
                      <a:pt x="174" y="173"/>
                    </a:lnTo>
                    <a:lnTo>
                      <a:pt x="174" y="175"/>
                    </a:lnTo>
                    <a:lnTo>
                      <a:pt x="174" y="177"/>
                    </a:lnTo>
                    <a:lnTo>
                      <a:pt x="173" y="177"/>
                    </a:lnTo>
                    <a:lnTo>
                      <a:pt x="174" y="177"/>
                    </a:lnTo>
                    <a:lnTo>
                      <a:pt x="173" y="177"/>
                    </a:lnTo>
                    <a:lnTo>
                      <a:pt x="174" y="177"/>
                    </a:lnTo>
                    <a:lnTo>
                      <a:pt x="173" y="179"/>
                    </a:lnTo>
                    <a:lnTo>
                      <a:pt x="174" y="179"/>
                    </a:lnTo>
                    <a:lnTo>
                      <a:pt x="174" y="177"/>
                    </a:lnTo>
                    <a:lnTo>
                      <a:pt x="174" y="175"/>
                    </a:lnTo>
                    <a:lnTo>
                      <a:pt x="174" y="177"/>
                    </a:lnTo>
                    <a:lnTo>
                      <a:pt x="174" y="179"/>
                    </a:lnTo>
                    <a:lnTo>
                      <a:pt x="173" y="179"/>
                    </a:lnTo>
                    <a:lnTo>
                      <a:pt x="171" y="179"/>
                    </a:lnTo>
                    <a:lnTo>
                      <a:pt x="171" y="181"/>
                    </a:lnTo>
                    <a:lnTo>
                      <a:pt x="169" y="181"/>
                    </a:lnTo>
                    <a:lnTo>
                      <a:pt x="171" y="181"/>
                    </a:lnTo>
                    <a:lnTo>
                      <a:pt x="171" y="179"/>
                    </a:lnTo>
                    <a:lnTo>
                      <a:pt x="169" y="179"/>
                    </a:lnTo>
                    <a:lnTo>
                      <a:pt x="169" y="181"/>
                    </a:lnTo>
                    <a:lnTo>
                      <a:pt x="169" y="179"/>
                    </a:lnTo>
                    <a:lnTo>
                      <a:pt x="169" y="181"/>
                    </a:lnTo>
                    <a:lnTo>
                      <a:pt x="167" y="181"/>
                    </a:lnTo>
                    <a:lnTo>
                      <a:pt x="167" y="183"/>
                    </a:lnTo>
                    <a:lnTo>
                      <a:pt x="167" y="185"/>
                    </a:lnTo>
                    <a:lnTo>
                      <a:pt x="165" y="183"/>
                    </a:lnTo>
                    <a:lnTo>
                      <a:pt x="167" y="185"/>
                    </a:lnTo>
                    <a:lnTo>
                      <a:pt x="165" y="185"/>
                    </a:lnTo>
                    <a:lnTo>
                      <a:pt x="167" y="185"/>
                    </a:lnTo>
                    <a:lnTo>
                      <a:pt x="165" y="185"/>
                    </a:lnTo>
                    <a:lnTo>
                      <a:pt x="165" y="186"/>
                    </a:lnTo>
                    <a:lnTo>
                      <a:pt x="167" y="186"/>
                    </a:lnTo>
                    <a:lnTo>
                      <a:pt x="165" y="186"/>
                    </a:lnTo>
                    <a:lnTo>
                      <a:pt x="165" y="188"/>
                    </a:lnTo>
                    <a:lnTo>
                      <a:pt x="165" y="190"/>
                    </a:lnTo>
                    <a:lnTo>
                      <a:pt x="165" y="192"/>
                    </a:lnTo>
                    <a:lnTo>
                      <a:pt x="165" y="190"/>
                    </a:lnTo>
                    <a:lnTo>
                      <a:pt x="165" y="192"/>
                    </a:lnTo>
                    <a:lnTo>
                      <a:pt x="167" y="192"/>
                    </a:lnTo>
                    <a:lnTo>
                      <a:pt x="165" y="192"/>
                    </a:lnTo>
                    <a:lnTo>
                      <a:pt x="167" y="192"/>
                    </a:lnTo>
                    <a:lnTo>
                      <a:pt x="167" y="190"/>
                    </a:lnTo>
                    <a:lnTo>
                      <a:pt x="167" y="192"/>
                    </a:lnTo>
                    <a:lnTo>
                      <a:pt x="167" y="190"/>
                    </a:lnTo>
                    <a:lnTo>
                      <a:pt x="165" y="190"/>
                    </a:lnTo>
                    <a:lnTo>
                      <a:pt x="167" y="190"/>
                    </a:lnTo>
                    <a:lnTo>
                      <a:pt x="165" y="190"/>
                    </a:lnTo>
                    <a:lnTo>
                      <a:pt x="167" y="190"/>
                    </a:lnTo>
                    <a:lnTo>
                      <a:pt x="165" y="190"/>
                    </a:lnTo>
                    <a:lnTo>
                      <a:pt x="167" y="190"/>
                    </a:lnTo>
                    <a:lnTo>
                      <a:pt x="169" y="190"/>
                    </a:lnTo>
                    <a:lnTo>
                      <a:pt x="169" y="188"/>
                    </a:lnTo>
                    <a:lnTo>
                      <a:pt x="167" y="190"/>
                    </a:lnTo>
                    <a:lnTo>
                      <a:pt x="167" y="188"/>
                    </a:lnTo>
                    <a:lnTo>
                      <a:pt x="167" y="190"/>
                    </a:lnTo>
                    <a:lnTo>
                      <a:pt x="167" y="188"/>
                    </a:lnTo>
                    <a:lnTo>
                      <a:pt x="169" y="188"/>
                    </a:lnTo>
                    <a:lnTo>
                      <a:pt x="167" y="188"/>
                    </a:lnTo>
                    <a:lnTo>
                      <a:pt x="167" y="186"/>
                    </a:lnTo>
                    <a:lnTo>
                      <a:pt x="169" y="186"/>
                    </a:lnTo>
                    <a:lnTo>
                      <a:pt x="167" y="186"/>
                    </a:lnTo>
                    <a:lnTo>
                      <a:pt x="167" y="188"/>
                    </a:lnTo>
                    <a:lnTo>
                      <a:pt x="169" y="188"/>
                    </a:lnTo>
                    <a:lnTo>
                      <a:pt x="169" y="190"/>
                    </a:lnTo>
                    <a:lnTo>
                      <a:pt x="171" y="190"/>
                    </a:lnTo>
                    <a:lnTo>
                      <a:pt x="169" y="190"/>
                    </a:lnTo>
                    <a:lnTo>
                      <a:pt x="171" y="190"/>
                    </a:lnTo>
                    <a:lnTo>
                      <a:pt x="171" y="192"/>
                    </a:lnTo>
                    <a:lnTo>
                      <a:pt x="169" y="192"/>
                    </a:lnTo>
                    <a:lnTo>
                      <a:pt x="171" y="192"/>
                    </a:lnTo>
                    <a:lnTo>
                      <a:pt x="171" y="190"/>
                    </a:lnTo>
                    <a:lnTo>
                      <a:pt x="169" y="190"/>
                    </a:lnTo>
                    <a:lnTo>
                      <a:pt x="171" y="190"/>
                    </a:lnTo>
                    <a:lnTo>
                      <a:pt x="171" y="192"/>
                    </a:lnTo>
                    <a:lnTo>
                      <a:pt x="171" y="190"/>
                    </a:lnTo>
                    <a:lnTo>
                      <a:pt x="169" y="190"/>
                    </a:lnTo>
                    <a:lnTo>
                      <a:pt x="169" y="188"/>
                    </a:lnTo>
                    <a:lnTo>
                      <a:pt x="169" y="190"/>
                    </a:lnTo>
                    <a:lnTo>
                      <a:pt x="169" y="192"/>
                    </a:lnTo>
                    <a:lnTo>
                      <a:pt x="167" y="192"/>
                    </a:lnTo>
                    <a:lnTo>
                      <a:pt x="167" y="190"/>
                    </a:lnTo>
                    <a:lnTo>
                      <a:pt x="167" y="192"/>
                    </a:lnTo>
                    <a:lnTo>
                      <a:pt x="167" y="194"/>
                    </a:lnTo>
                    <a:lnTo>
                      <a:pt x="167" y="196"/>
                    </a:lnTo>
                    <a:lnTo>
                      <a:pt x="165" y="196"/>
                    </a:lnTo>
                    <a:lnTo>
                      <a:pt x="165" y="194"/>
                    </a:lnTo>
                    <a:lnTo>
                      <a:pt x="165" y="196"/>
                    </a:lnTo>
                    <a:lnTo>
                      <a:pt x="165" y="194"/>
                    </a:lnTo>
                    <a:lnTo>
                      <a:pt x="165" y="196"/>
                    </a:lnTo>
                    <a:lnTo>
                      <a:pt x="163" y="196"/>
                    </a:lnTo>
                    <a:lnTo>
                      <a:pt x="165" y="196"/>
                    </a:lnTo>
                    <a:lnTo>
                      <a:pt x="167" y="196"/>
                    </a:lnTo>
                    <a:lnTo>
                      <a:pt x="167" y="198"/>
                    </a:lnTo>
                    <a:lnTo>
                      <a:pt x="167" y="196"/>
                    </a:lnTo>
                    <a:lnTo>
                      <a:pt x="167" y="198"/>
                    </a:lnTo>
                    <a:lnTo>
                      <a:pt x="167" y="200"/>
                    </a:lnTo>
                    <a:lnTo>
                      <a:pt x="167" y="198"/>
                    </a:lnTo>
                    <a:lnTo>
                      <a:pt x="169" y="198"/>
                    </a:lnTo>
                    <a:lnTo>
                      <a:pt x="167" y="198"/>
                    </a:lnTo>
                    <a:lnTo>
                      <a:pt x="169" y="198"/>
                    </a:lnTo>
                    <a:lnTo>
                      <a:pt x="167" y="198"/>
                    </a:lnTo>
                    <a:lnTo>
                      <a:pt x="167" y="200"/>
                    </a:lnTo>
                    <a:lnTo>
                      <a:pt x="167" y="198"/>
                    </a:lnTo>
                    <a:lnTo>
                      <a:pt x="167" y="200"/>
                    </a:lnTo>
                    <a:lnTo>
                      <a:pt x="165" y="200"/>
                    </a:lnTo>
                    <a:lnTo>
                      <a:pt x="165" y="198"/>
                    </a:lnTo>
                    <a:lnTo>
                      <a:pt x="165" y="200"/>
                    </a:lnTo>
                    <a:lnTo>
                      <a:pt x="165" y="202"/>
                    </a:lnTo>
                    <a:lnTo>
                      <a:pt x="163" y="202"/>
                    </a:lnTo>
                    <a:lnTo>
                      <a:pt x="161" y="202"/>
                    </a:lnTo>
                    <a:lnTo>
                      <a:pt x="161" y="204"/>
                    </a:lnTo>
                    <a:lnTo>
                      <a:pt x="161" y="202"/>
                    </a:lnTo>
                    <a:lnTo>
                      <a:pt x="161" y="204"/>
                    </a:lnTo>
                    <a:lnTo>
                      <a:pt x="161" y="202"/>
                    </a:lnTo>
                    <a:lnTo>
                      <a:pt x="163" y="202"/>
                    </a:lnTo>
                    <a:lnTo>
                      <a:pt x="163" y="204"/>
                    </a:lnTo>
                    <a:lnTo>
                      <a:pt x="165" y="204"/>
                    </a:lnTo>
                    <a:lnTo>
                      <a:pt x="165" y="202"/>
                    </a:lnTo>
                    <a:lnTo>
                      <a:pt x="165" y="204"/>
                    </a:lnTo>
                    <a:lnTo>
                      <a:pt x="165" y="202"/>
                    </a:lnTo>
                    <a:lnTo>
                      <a:pt x="165" y="204"/>
                    </a:lnTo>
                    <a:lnTo>
                      <a:pt x="167" y="204"/>
                    </a:lnTo>
                    <a:lnTo>
                      <a:pt x="165" y="204"/>
                    </a:lnTo>
                    <a:lnTo>
                      <a:pt x="165" y="202"/>
                    </a:lnTo>
                    <a:lnTo>
                      <a:pt x="167" y="202"/>
                    </a:lnTo>
                    <a:lnTo>
                      <a:pt x="165" y="202"/>
                    </a:lnTo>
                    <a:lnTo>
                      <a:pt x="165" y="204"/>
                    </a:lnTo>
                    <a:lnTo>
                      <a:pt x="167" y="204"/>
                    </a:lnTo>
                    <a:lnTo>
                      <a:pt x="169" y="206"/>
                    </a:lnTo>
                    <a:lnTo>
                      <a:pt x="169" y="204"/>
                    </a:lnTo>
                    <a:lnTo>
                      <a:pt x="169" y="202"/>
                    </a:lnTo>
                    <a:lnTo>
                      <a:pt x="171" y="202"/>
                    </a:lnTo>
                    <a:lnTo>
                      <a:pt x="169" y="202"/>
                    </a:lnTo>
                    <a:lnTo>
                      <a:pt x="171" y="202"/>
                    </a:lnTo>
                    <a:lnTo>
                      <a:pt x="169" y="202"/>
                    </a:lnTo>
                    <a:lnTo>
                      <a:pt x="169" y="204"/>
                    </a:lnTo>
                    <a:lnTo>
                      <a:pt x="171" y="204"/>
                    </a:lnTo>
                    <a:lnTo>
                      <a:pt x="171" y="206"/>
                    </a:lnTo>
                    <a:lnTo>
                      <a:pt x="171" y="204"/>
                    </a:lnTo>
                    <a:lnTo>
                      <a:pt x="171" y="206"/>
                    </a:lnTo>
                    <a:lnTo>
                      <a:pt x="171" y="204"/>
                    </a:lnTo>
                    <a:lnTo>
                      <a:pt x="169" y="204"/>
                    </a:lnTo>
                    <a:lnTo>
                      <a:pt x="169" y="206"/>
                    </a:lnTo>
                    <a:lnTo>
                      <a:pt x="171" y="206"/>
                    </a:lnTo>
                    <a:lnTo>
                      <a:pt x="169" y="206"/>
                    </a:lnTo>
                    <a:lnTo>
                      <a:pt x="169" y="208"/>
                    </a:lnTo>
                    <a:lnTo>
                      <a:pt x="169" y="206"/>
                    </a:lnTo>
                    <a:lnTo>
                      <a:pt x="169" y="208"/>
                    </a:lnTo>
                    <a:lnTo>
                      <a:pt x="169" y="206"/>
                    </a:lnTo>
                    <a:lnTo>
                      <a:pt x="169" y="208"/>
                    </a:lnTo>
                    <a:lnTo>
                      <a:pt x="169" y="206"/>
                    </a:lnTo>
                    <a:lnTo>
                      <a:pt x="171" y="206"/>
                    </a:lnTo>
                    <a:lnTo>
                      <a:pt x="171" y="208"/>
                    </a:lnTo>
                    <a:lnTo>
                      <a:pt x="171" y="206"/>
                    </a:lnTo>
                    <a:lnTo>
                      <a:pt x="171" y="208"/>
                    </a:lnTo>
                    <a:lnTo>
                      <a:pt x="171" y="210"/>
                    </a:lnTo>
                    <a:lnTo>
                      <a:pt x="171" y="208"/>
                    </a:lnTo>
                    <a:lnTo>
                      <a:pt x="171" y="210"/>
                    </a:lnTo>
                    <a:lnTo>
                      <a:pt x="171" y="208"/>
                    </a:lnTo>
                    <a:lnTo>
                      <a:pt x="171" y="206"/>
                    </a:lnTo>
                    <a:lnTo>
                      <a:pt x="171" y="208"/>
                    </a:lnTo>
                    <a:lnTo>
                      <a:pt x="173" y="208"/>
                    </a:lnTo>
                    <a:lnTo>
                      <a:pt x="171" y="208"/>
                    </a:lnTo>
                    <a:lnTo>
                      <a:pt x="173" y="206"/>
                    </a:lnTo>
                    <a:lnTo>
                      <a:pt x="173" y="208"/>
                    </a:lnTo>
                    <a:lnTo>
                      <a:pt x="173" y="210"/>
                    </a:lnTo>
                    <a:lnTo>
                      <a:pt x="173" y="208"/>
                    </a:lnTo>
                    <a:lnTo>
                      <a:pt x="174" y="208"/>
                    </a:lnTo>
                    <a:lnTo>
                      <a:pt x="173" y="208"/>
                    </a:lnTo>
                    <a:lnTo>
                      <a:pt x="174" y="208"/>
                    </a:lnTo>
                    <a:lnTo>
                      <a:pt x="173" y="208"/>
                    </a:lnTo>
                    <a:lnTo>
                      <a:pt x="174" y="208"/>
                    </a:lnTo>
                    <a:lnTo>
                      <a:pt x="174" y="206"/>
                    </a:lnTo>
                    <a:lnTo>
                      <a:pt x="174" y="208"/>
                    </a:lnTo>
                    <a:lnTo>
                      <a:pt x="174" y="206"/>
                    </a:lnTo>
                    <a:lnTo>
                      <a:pt x="173" y="206"/>
                    </a:lnTo>
                    <a:lnTo>
                      <a:pt x="173" y="204"/>
                    </a:lnTo>
                    <a:lnTo>
                      <a:pt x="173" y="206"/>
                    </a:lnTo>
                    <a:lnTo>
                      <a:pt x="173" y="204"/>
                    </a:lnTo>
                    <a:lnTo>
                      <a:pt x="173" y="206"/>
                    </a:lnTo>
                    <a:lnTo>
                      <a:pt x="173" y="204"/>
                    </a:lnTo>
                    <a:lnTo>
                      <a:pt x="173" y="206"/>
                    </a:lnTo>
                    <a:lnTo>
                      <a:pt x="173" y="204"/>
                    </a:lnTo>
                    <a:lnTo>
                      <a:pt x="173" y="206"/>
                    </a:lnTo>
                    <a:lnTo>
                      <a:pt x="173" y="204"/>
                    </a:lnTo>
                    <a:lnTo>
                      <a:pt x="174" y="204"/>
                    </a:lnTo>
                    <a:lnTo>
                      <a:pt x="173" y="204"/>
                    </a:lnTo>
                    <a:lnTo>
                      <a:pt x="174" y="204"/>
                    </a:lnTo>
                    <a:lnTo>
                      <a:pt x="174" y="202"/>
                    </a:lnTo>
                    <a:lnTo>
                      <a:pt x="173" y="202"/>
                    </a:lnTo>
                    <a:lnTo>
                      <a:pt x="173" y="200"/>
                    </a:lnTo>
                    <a:lnTo>
                      <a:pt x="171" y="200"/>
                    </a:lnTo>
                    <a:lnTo>
                      <a:pt x="171" y="198"/>
                    </a:lnTo>
                    <a:lnTo>
                      <a:pt x="171" y="200"/>
                    </a:lnTo>
                    <a:lnTo>
                      <a:pt x="171" y="198"/>
                    </a:lnTo>
                    <a:lnTo>
                      <a:pt x="171" y="200"/>
                    </a:lnTo>
                    <a:lnTo>
                      <a:pt x="173" y="200"/>
                    </a:lnTo>
                    <a:lnTo>
                      <a:pt x="173" y="198"/>
                    </a:lnTo>
                    <a:lnTo>
                      <a:pt x="173" y="200"/>
                    </a:lnTo>
                    <a:lnTo>
                      <a:pt x="173" y="198"/>
                    </a:lnTo>
                    <a:lnTo>
                      <a:pt x="173" y="196"/>
                    </a:lnTo>
                    <a:lnTo>
                      <a:pt x="173" y="198"/>
                    </a:lnTo>
                    <a:lnTo>
                      <a:pt x="173" y="196"/>
                    </a:lnTo>
                    <a:lnTo>
                      <a:pt x="171" y="196"/>
                    </a:lnTo>
                    <a:lnTo>
                      <a:pt x="171" y="194"/>
                    </a:lnTo>
                    <a:lnTo>
                      <a:pt x="171" y="196"/>
                    </a:lnTo>
                    <a:lnTo>
                      <a:pt x="171" y="194"/>
                    </a:lnTo>
                    <a:lnTo>
                      <a:pt x="171" y="196"/>
                    </a:lnTo>
                    <a:lnTo>
                      <a:pt x="171" y="194"/>
                    </a:lnTo>
                    <a:lnTo>
                      <a:pt x="171" y="196"/>
                    </a:lnTo>
                    <a:lnTo>
                      <a:pt x="173" y="196"/>
                    </a:lnTo>
                    <a:lnTo>
                      <a:pt x="173" y="198"/>
                    </a:lnTo>
                    <a:lnTo>
                      <a:pt x="174" y="200"/>
                    </a:lnTo>
                    <a:lnTo>
                      <a:pt x="174" y="202"/>
                    </a:lnTo>
                    <a:lnTo>
                      <a:pt x="174" y="204"/>
                    </a:lnTo>
                    <a:lnTo>
                      <a:pt x="174" y="206"/>
                    </a:lnTo>
                    <a:lnTo>
                      <a:pt x="176" y="206"/>
                    </a:lnTo>
                    <a:lnTo>
                      <a:pt x="174" y="208"/>
                    </a:lnTo>
                    <a:lnTo>
                      <a:pt x="174" y="210"/>
                    </a:lnTo>
                    <a:lnTo>
                      <a:pt x="174" y="211"/>
                    </a:lnTo>
                    <a:lnTo>
                      <a:pt x="174" y="210"/>
                    </a:lnTo>
                    <a:lnTo>
                      <a:pt x="173" y="210"/>
                    </a:lnTo>
                    <a:lnTo>
                      <a:pt x="171" y="210"/>
                    </a:lnTo>
                    <a:lnTo>
                      <a:pt x="171" y="208"/>
                    </a:lnTo>
                    <a:lnTo>
                      <a:pt x="169" y="208"/>
                    </a:lnTo>
                    <a:lnTo>
                      <a:pt x="171" y="208"/>
                    </a:lnTo>
                    <a:lnTo>
                      <a:pt x="171" y="210"/>
                    </a:lnTo>
                    <a:lnTo>
                      <a:pt x="169" y="210"/>
                    </a:lnTo>
                    <a:lnTo>
                      <a:pt x="169" y="211"/>
                    </a:lnTo>
                    <a:lnTo>
                      <a:pt x="167" y="211"/>
                    </a:lnTo>
                    <a:lnTo>
                      <a:pt x="165" y="211"/>
                    </a:lnTo>
                    <a:lnTo>
                      <a:pt x="163" y="211"/>
                    </a:lnTo>
                    <a:lnTo>
                      <a:pt x="165" y="213"/>
                    </a:lnTo>
                    <a:lnTo>
                      <a:pt x="163" y="213"/>
                    </a:lnTo>
                    <a:lnTo>
                      <a:pt x="165" y="213"/>
                    </a:lnTo>
                    <a:lnTo>
                      <a:pt x="165" y="215"/>
                    </a:lnTo>
                    <a:lnTo>
                      <a:pt x="163" y="215"/>
                    </a:lnTo>
                    <a:lnTo>
                      <a:pt x="165" y="215"/>
                    </a:lnTo>
                    <a:lnTo>
                      <a:pt x="165" y="213"/>
                    </a:lnTo>
                    <a:lnTo>
                      <a:pt x="165" y="215"/>
                    </a:lnTo>
                    <a:lnTo>
                      <a:pt x="167" y="215"/>
                    </a:lnTo>
                    <a:lnTo>
                      <a:pt x="165" y="215"/>
                    </a:lnTo>
                    <a:lnTo>
                      <a:pt x="167" y="215"/>
                    </a:lnTo>
                    <a:lnTo>
                      <a:pt x="167" y="217"/>
                    </a:lnTo>
                    <a:lnTo>
                      <a:pt x="167" y="219"/>
                    </a:lnTo>
                    <a:lnTo>
                      <a:pt x="167" y="217"/>
                    </a:lnTo>
                    <a:lnTo>
                      <a:pt x="167" y="219"/>
                    </a:lnTo>
                    <a:lnTo>
                      <a:pt x="167" y="221"/>
                    </a:lnTo>
                    <a:lnTo>
                      <a:pt x="167" y="219"/>
                    </a:lnTo>
                    <a:lnTo>
                      <a:pt x="167" y="221"/>
                    </a:lnTo>
                    <a:lnTo>
                      <a:pt x="167" y="219"/>
                    </a:lnTo>
                    <a:lnTo>
                      <a:pt x="169" y="219"/>
                    </a:lnTo>
                    <a:lnTo>
                      <a:pt x="169" y="217"/>
                    </a:lnTo>
                    <a:lnTo>
                      <a:pt x="169" y="215"/>
                    </a:lnTo>
                    <a:lnTo>
                      <a:pt x="169" y="217"/>
                    </a:lnTo>
                    <a:lnTo>
                      <a:pt x="169" y="215"/>
                    </a:lnTo>
                    <a:lnTo>
                      <a:pt x="171" y="215"/>
                    </a:lnTo>
                    <a:lnTo>
                      <a:pt x="169" y="215"/>
                    </a:lnTo>
                    <a:lnTo>
                      <a:pt x="171" y="215"/>
                    </a:lnTo>
                    <a:lnTo>
                      <a:pt x="171" y="213"/>
                    </a:lnTo>
                    <a:lnTo>
                      <a:pt x="171" y="211"/>
                    </a:lnTo>
                    <a:lnTo>
                      <a:pt x="171" y="213"/>
                    </a:lnTo>
                    <a:lnTo>
                      <a:pt x="171" y="211"/>
                    </a:lnTo>
                    <a:lnTo>
                      <a:pt x="173" y="211"/>
                    </a:lnTo>
                    <a:lnTo>
                      <a:pt x="173" y="213"/>
                    </a:lnTo>
                    <a:lnTo>
                      <a:pt x="174" y="213"/>
                    </a:lnTo>
                    <a:lnTo>
                      <a:pt x="173" y="213"/>
                    </a:lnTo>
                    <a:lnTo>
                      <a:pt x="174" y="213"/>
                    </a:lnTo>
                    <a:lnTo>
                      <a:pt x="173" y="211"/>
                    </a:lnTo>
                    <a:lnTo>
                      <a:pt x="174" y="211"/>
                    </a:lnTo>
                    <a:lnTo>
                      <a:pt x="173" y="211"/>
                    </a:lnTo>
                    <a:lnTo>
                      <a:pt x="173" y="210"/>
                    </a:lnTo>
                    <a:lnTo>
                      <a:pt x="173" y="211"/>
                    </a:lnTo>
                    <a:lnTo>
                      <a:pt x="173" y="210"/>
                    </a:lnTo>
                    <a:lnTo>
                      <a:pt x="173" y="211"/>
                    </a:lnTo>
                    <a:lnTo>
                      <a:pt x="173" y="210"/>
                    </a:lnTo>
                    <a:lnTo>
                      <a:pt x="171" y="210"/>
                    </a:lnTo>
                    <a:lnTo>
                      <a:pt x="171" y="211"/>
                    </a:lnTo>
                    <a:lnTo>
                      <a:pt x="169" y="211"/>
                    </a:lnTo>
                    <a:lnTo>
                      <a:pt x="171" y="211"/>
                    </a:lnTo>
                    <a:lnTo>
                      <a:pt x="171" y="210"/>
                    </a:lnTo>
                    <a:lnTo>
                      <a:pt x="169" y="210"/>
                    </a:lnTo>
                    <a:lnTo>
                      <a:pt x="171" y="210"/>
                    </a:lnTo>
                    <a:lnTo>
                      <a:pt x="173" y="210"/>
                    </a:lnTo>
                    <a:lnTo>
                      <a:pt x="174" y="210"/>
                    </a:lnTo>
                    <a:lnTo>
                      <a:pt x="174" y="211"/>
                    </a:lnTo>
                    <a:lnTo>
                      <a:pt x="173" y="213"/>
                    </a:lnTo>
                    <a:lnTo>
                      <a:pt x="174" y="213"/>
                    </a:lnTo>
                    <a:lnTo>
                      <a:pt x="174" y="215"/>
                    </a:lnTo>
                    <a:lnTo>
                      <a:pt x="174" y="213"/>
                    </a:lnTo>
                    <a:lnTo>
                      <a:pt x="174" y="215"/>
                    </a:lnTo>
                    <a:lnTo>
                      <a:pt x="174" y="217"/>
                    </a:lnTo>
                    <a:lnTo>
                      <a:pt x="174" y="219"/>
                    </a:lnTo>
                    <a:lnTo>
                      <a:pt x="173" y="219"/>
                    </a:lnTo>
                    <a:lnTo>
                      <a:pt x="174" y="219"/>
                    </a:lnTo>
                    <a:lnTo>
                      <a:pt x="174" y="221"/>
                    </a:lnTo>
                    <a:lnTo>
                      <a:pt x="176" y="221"/>
                    </a:lnTo>
                    <a:lnTo>
                      <a:pt x="176" y="223"/>
                    </a:lnTo>
                    <a:lnTo>
                      <a:pt x="176" y="221"/>
                    </a:lnTo>
                    <a:lnTo>
                      <a:pt x="174" y="221"/>
                    </a:lnTo>
                    <a:lnTo>
                      <a:pt x="176" y="221"/>
                    </a:lnTo>
                    <a:lnTo>
                      <a:pt x="178" y="221"/>
                    </a:lnTo>
                    <a:lnTo>
                      <a:pt x="176" y="221"/>
                    </a:lnTo>
                    <a:lnTo>
                      <a:pt x="176" y="223"/>
                    </a:lnTo>
                    <a:lnTo>
                      <a:pt x="174" y="223"/>
                    </a:lnTo>
                    <a:lnTo>
                      <a:pt x="176" y="223"/>
                    </a:lnTo>
                    <a:lnTo>
                      <a:pt x="176" y="221"/>
                    </a:lnTo>
                    <a:lnTo>
                      <a:pt x="176" y="223"/>
                    </a:lnTo>
                    <a:lnTo>
                      <a:pt x="176" y="225"/>
                    </a:lnTo>
                    <a:lnTo>
                      <a:pt x="176" y="223"/>
                    </a:lnTo>
                    <a:lnTo>
                      <a:pt x="176" y="225"/>
                    </a:lnTo>
                    <a:lnTo>
                      <a:pt x="178" y="225"/>
                    </a:lnTo>
                    <a:lnTo>
                      <a:pt x="178" y="223"/>
                    </a:lnTo>
                    <a:lnTo>
                      <a:pt x="178" y="221"/>
                    </a:lnTo>
                    <a:lnTo>
                      <a:pt x="180" y="223"/>
                    </a:lnTo>
                    <a:lnTo>
                      <a:pt x="178" y="223"/>
                    </a:lnTo>
                    <a:lnTo>
                      <a:pt x="180" y="225"/>
                    </a:lnTo>
                    <a:lnTo>
                      <a:pt x="178" y="225"/>
                    </a:lnTo>
                    <a:lnTo>
                      <a:pt x="176" y="225"/>
                    </a:lnTo>
                    <a:lnTo>
                      <a:pt x="176" y="227"/>
                    </a:lnTo>
                    <a:lnTo>
                      <a:pt x="176" y="229"/>
                    </a:lnTo>
                    <a:lnTo>
                      <a:pt x="178" y="229"/>
                    </a:lnTo>
                    <a:lnTo>
                      <a:pt x="176" y="229"/>
                    </a:lnTo>
                    <a:lnTo>
                      <a:pt x="178" y="229"/>
                    </a:lnTo>
                    <a:lnTo>
                      <a:pt x="178" y="231"/>
                    </a:lnTo>
                    <a:lnTo>
                      <a:pt x="178" y="229"/>
                    </a:lnTo>
                    <a:lnTo>
                      <a:pt x="178" y="231"/>
                    </a:lnTo>
                    <a:lnTo>
                      <a:pt x="178" y="233"/>
                    </a:lnTo>
                    <a:lnTo>
                      <a:pt x="178" y="231"/>
                    </a:lnTo>
                    <a:lnTo>
                      <a:pt x="178" y="233"/>
                    </a:lnTo>
                    <a:lnTo>
                      <a:pt x="178" y="235"/>
                    </a:lnTo>
                    <a:lnTo>
                      <a:pt x="178" y="233"/>
                    </a:lnTo>
                    <a:lnTo>
                      <a:pt x="178" y="235"/>
                    </a:lnTo>
                    <a:lnTo>
                      <a:pt x="180" y="235"/>
                    </a:lnTo>
                    <a:lnTo>
                      <a:pt x="178" y="235"/>
                    </a:lnTo>
                    <a:lnTo>
                      <a:pt x="178" y="236"/>
                    </a:lnTo>
                    <a:lnTo>
                      <a:pt x="178" y="235"/>
                    </a:lnTo>
                    <a:lnTo>
                      <a:pt x="178" y="236"/>
                    </a:lnTo>
                    <a:lnTo>
                      <a:pt x="180" y="236"/>
                    </a:lnTo>
                    <a:lnTo>
                      <a:pt x="180" y="238"/>
                    </a:lnTo>
                    <a:lnTo>
                      <a:pt x="180" y="240"/>
                    </a:lnTo>
                    <a:lnTo>
                      <a:pt x="178" y="240"/>
                    </a:lnTo>
                    <a:lnTo>
                      <a:pt x="178" y="238"/>
                    </a:lnTo>
                    <a:lnTo>
                      <a:pt x="176" y="238"/>
                    </a:lnTo>
                    <a:lnTo>
                      <a:pt x="176" y="240"/>
                    </a:lnTo>
                    <a:lnTo>
                      <a:pt x="174" y="240"/>
                    </a:lnTo>
                    <a:lnTo>
                      <a:pt x="174" y="238"/>
                    </a:lnTo>
                    <a:lnTo>
                      <a:pt x="174" y="240"/>
                    </a:lnTo>
                    <a:lnTo>
                      <a:pt x="173" y="240"/>
                    </a:lnTo>
                    <a:lnTo>
                      <a:pt x="171" y="240"/>
                    </a:lnTo>
                    <a:lnTo>
                      <a:pt x="171" y="238"/>
                    </a:lnTo>
                    <a:lnTo>
                      <a:pt x="171" y="240"/>
                    </a:lnTo>
                    <a:lnTo>
                      <a:pt x="173" y="240"/>
                    </a:lnTo>
                    <a:lnTo>
                      <a:pt x="174" y="240"/>
                    </a:lnTo>
                    <a:lnTo>
                      <a:pt x="174" y="242"/>
                    </a:lnTo>
                    <a:lnTo>
                      <a:pt x="174" y="244"/>
                    </a:lnTo>
                    <a:lnTo>
                      <a:pt x="173" y="242"/>
                    </a:lnTo>
                    <a:lnTo>
                      <a:pt x="173" y="244"/>
                    </a:lnTo>
                    <a:lnTo>
                      <a:pt x="171" y="244"/>
                    </a:lnTo>
                    <a:lnTo>
                      <a:pt x="173" y="244"/>
                    </a:lnTo>
                    <a:lnTo>
                      <a:pt x="171" y="244"/>
                    </a:lnTo>
                    <a:lnTo>
                      <a:pt x="173" y="244"/>
                    </a:lnTo>
                    <a:lnTo>
                      <a:pt x="171" y="246"/>
                    </a:lnTo>
                    <a:lnTo>
                      <a:pt x="173" y="244"/>
                    </a:lnTo>
                    <a:lnTo>
                      <a:pt x="173" y="246"/>
                    </a:lnTo>
                    <a:lnTo>
                      <a:pt x="173" y="244"/>
                    </a:lnTo>
                    <a:lnTo>
                      <a:pt x="174" y="244"/>
                    </a:lnTo>
                    <a:lnTo>
                      <a:pt x="176" y="244"/>
                    </a:lnTo>
                    <a:lnTo>
                      <a:pt x="176" y="246"/>
                    </a:lnTo>
                    <a:lnTo>
                      <a:pt x="174" y="246"/>
                    </a:lnTo>
                    <a:lnTo>
                      <a:pt x="174" y="248"/>
                    </a:lnTo>
                    <a:lnTo>
                      <a:pt x="174" y="246"/>
                    </a:lnTo>
                    <a:lnTo>
                      <a:pt x="174" y="248"/>
                    </a:lnTo>
                    <a:lnTo>
                      <a:pt x="176" y="248"/>
                    </a:lnTo>
                    <a:lnTo>
                      <a:pt x="176" y="246"/>
                    </a:lnTo>
                    <a:lnTo>
                      <a:pt x="178" y="244"/>
                    </a:lnTo>
                    <a:lnTo>
                      <a:pt x="180" y="244"/>
                    </a:lnTo>
                    <a:lnTo>
                      <a:pt x="180" y="242"/>
                    </a:lnTo>
                    <a:lnTo>
                      <a:pt x="180" y="244"/>
                    </a:lnTo>
                    <a:lnTo>
                      <a:pt x="180" y="246"/>
                    </a:lnTo>
                    <a:lnTo>
                      <a:pt x="180" y="248"/>
                    </a:lnTo>
                    <a:lnTo>
                      <a:pt x="182" y="250"/>
                    </a:lnTo>
                    <a:lnTo>
                      <a:pt x="182" y="248"/>
                    </a:lnTo>
                    <a:lnTo>
                      <a:pt x="180" y="248"/>
                    </a:lnTo>
                    <a:lnTo>
                      <a:pt x="182" y="248"/>
                    </a:lnTo>
                    <a:lnTo>
                      <a:pt x="180" y="248"/>
                    </a:lnTo>
                    <a:lnTo>
                      <a:pt x="180" y="246"/>
                    </a:lnTo>
                    <a:lnTo>
                      <a:pt x="180" y="244"/>
                    </a:lnTo>
                    <a:lnTo>
                      <a:pt x="182" y="244"/>
                    </a:lnTo>
                    <a:lnTo>
                      <a:pt x="182" y="242"/>
                    </a:lnTo>
                    <a:lnTo>
                      <a:pt x="182" y="240"/>
                    </a:lnTo>
                    <a:lnTo>
                      <a:pt x="182" y="242"/>
                    </a:lnTo>
                    <a:lnTo>
                      <a:pt x="182" y="240"/>
                    </a:lnTo>
                    <a:lnTo>
                      <a:pt x="182" y="242"/>
                    </a:lnTo>
                    <a:lnTo>
                      <a:pt x="182" y="240"/>
                    </a:lnTo>
                    <a:lnTo>
                      <a:pt x="182" y="242"/>
                    </a:lnTo>
                    <a:lnTo>
                      <a:pt x="184" y="240"/>
                    </a:lnTo>
                    <a:lnTo>
                      <a:pt x="184" y="242"/>
                    </a:lnTo>
                    <a:lnTo>
                      <a:pt x="184" y="240"/>
                    </a:lnTo>
                    <a:lnTo>
                      <a:pt x="184" y="242"/>
                    </a:lnTo>
                    <a:lnTo>
                      <a:pt x="184" y="240"/>
                    </a:lnTo>
                    <a:lnTo>
                      <a:pt x="184" y="242"/>
                    </a:lnTo>
                    <a:lnTo>
                      <a:pt x="184" y="240"/>
                    </a:lnTo>
                    <a:lnTo>
                      <a:pt x="184" y="242"/>
                    </a:lnTo>
                    <a:lnTo>
                      <a:pt x="184" y="240"/>
                    </a:lnTo>
                    <a:lnTo>
                      <a:pt x="184" y="238"/>
                    </a:lnTo>
                    <a:lnTo>
                      <a:pt x="184" y="240"/>
                    </a:lnTo>
                    <a:lnTo>
                      <a:pt x="184" y="238"/>
                    </a:lnTo>
                    <a:lnTo>
                      <a:pt x="184" y="240"/>
                    </a:lnTo>
                    <a:lnTo>
                      <a:pt x="184" y="238"/>
                    </a:lnTo>
                    <a:lnTo>
                      <a:pt x="184" y="240"/>
                    </a:lnTo>
                    <a:lnTo>
                      <a:pt x="184" y="238"/>
                    </a:lnTo>
                    <a:lnTo>
                      <a:pt x="182" y="238"/>
                    </a:lnTo>
                    <a:lnTo>
                      <a:pt x="184" y="238"/>
                    </a:lnTo>
                    <a:lnTo>
                      <a:pt x="184" y="240"/>
                    </a:lnTo>
                    <a:lnTo>
                      <a:pt x="184" y="242"/>
                    </a:lnTo>
                    <a:lnTo>
                      <a:pt x="184" y="244"/>
                    </a:lnTo>
                    <a:lnTo>
                      <a:pt x="186" y="244"/>
                    </a:lnTo>
                    <a:lnTo>
                      <a:pt x="184" y="244"/>
                    </a:lnTo>
                    <a:lnTo>
                      <a:pt x="186" y="244"/>
                    </a:lnTo>
                    <a:lnTo>
                      <a:pt x="184" y="244"/>
                    </a:lnTo>
                    <a:lnTo>
                      <a:pt x="186" y="246"/>
                    </a:lnTo>
                    <a:lnTo>
                      <a:pt x="184" y="246"/>
                    </a:lnTo>
                    <a:lnTo>
                      <a:pt x="186" y="246"/>
                    </a:lnTo>
                    <a:lnTo>
                      <a:pt x="184" y="246"/>
                    </a:lnTo>
                    <a:lnTo>
                      <a:pt x="186" y="246"/>
                    </a:lnTo>
                    <a:lnTo>
                      <a:pt x="186" y="248"/>
                    </a:lnTo>
                    <a:lnTo>
                      <a:pt x="186" y="250"/>
                    </a:lnTo>
                    <a:lnTo>
                      <a:pt x="186" y="248"/>
                    </a:lnTo>
                    <a:lnTo>
                      <a:pt x="188" y="250"/>
                    </a:lnTo>
                    <a:lnTo>
                      <a:pt x="190" y="250"/>
                    </a:lnTo>
                    <a:lnTo>
                      <a:pt x="190" y="252"/>
                    </a:lnTo>
                    <a:lnTo>
                      <a:pt x="188" y="252"/>
                    </a:lnTo>
                    <a:lnTo>
                      <a:pt x="190" y="252"/>
                    </a:lnTo>
                    <a:lnTo>
                      <a:pt x="190" y="254"/>
                    </a:lnTo>
                    <a:lnTo>
                      <a:pt x="192" y="254"/>
                    </a:lnTo>
                    <a:lnTo>
                      <a:pt x="192" y="256"/>
                    </a:lnTo>
                    <a:lnTo>
                      <a:pt x="190" y="256"/>
                    </a:lnTo>
                    <a:lnTo>
                      <a:pt x="192" y="256"/>
                    </a:lnTo>
                    <a:lnTo>
                      <a:pt x="192" y="258"/>
                    </a:lnTo>
                    <a:lnTo>
                      <a:pt x="190" y="258"/>
                    </a:lnTo>
                    <a:lnTo>
                      <a:pt x="192" y="258"/>
                    </a:lnTo>
                    <a:lnTo>
                      <a:pt x="190" y="258"/>
                    </a:lnTo>
                    <a:lnTo>
                      <a:pt x="192" y="258"/>
                    </a:lnTo>
                    <a:lnTo>
                      <a:pt x="194" y="258"/>
                    </a:lnTo>
                    <a:lnTo>
                      <a:pt x="194" y="260"/>
                    </a:lnTo>
                    <a:lnTo>
                      <a:pt x="194" y="261"/>
                    </a:lnTo>
                    <a:lnTo>
                      <a:pt x="192" y="261"/>
                    </a:lnTo>
                    <a:lnTo>
                      <a:pt x="192" y="263"/>
                    </a:lnTo>
                    <a:lnTo>
                      <a:pt x="190" y="263"/>
                    </a:lnTo>
                    <a:lnTo>
                      <a:pt x="190" y="265"/>
                    </a:lnTo>
                    <a:lnTo>
                      <a:pt x="190" y="263"/>
                    </a:lnTo>
                    <a:lnTo>
                      <a:pt x="188" y="265"/>
                    </a:lnTo>
                    <a:lnTo>
                      <a:pt x="190" y="265"/>
                    </a:lnTo>
                    <a:lnTo>
                      <a:pt x="190" y="263"/>
                    </a:lnTo>
                    <a:lnTo>
                      <a:pt x="192" y="263"/>
                    </a:lnTo>
                    <a:lnTo>
                      <a:pt x="194" y="263"/>
                    </a:lnTo>
                    <a:lnTo>
                      <a:pt x="192" y="263"/>
                    </a:lnTo>
                    <a:lnTo>
                      <a:pt x="194" y="263"/>
                    </a:lnTo>
                    <a:lnTo>
                      <a:pt x="194" y="261"/>
                    </a:lnTo>
                    <a:lnTo>
                      <a:pt x="196" y="261"/>
                    </a:lnTo>
                    <a:lnTo>
                      <a:pt x="196" y="260"/>
                    </a:lnTo>
                    <a:lnTo>
                      <a:pt x="196" y="261"/>
                    </a:lnTo>
                    <a:lnTo>
                      <a:pt x="198" y="261"/>
                    </a:lnTo>
                    <a:lnTo>
                      <a:pt x="196" y="261"/>
                    </a:lnTo>
                    <a:lnTo>
                      <a:pt x="196" y="263"/>
                    </a:lnTo>
                    <a:lnTo>
                      <a:pt x="198" y="263"/>
                    </a:lnTo>
                    <a:lnTo>
                      <a:pt x="198" y="261"/>
                    </a:lnTo>
                    <a:lnTo>
                      <a:pt x="196" y="261"/>
                    </a:lnTo>
                    <a:lnTo>
                      <a:pt x="198" y="261"/>
                    </a:lnTo>
                    <a:lnTo>
                      <a:pt x="196" y="260"/>
                    </a:lnTo>
                    <a:lnTo>
                      <a:pt x="198" y="260"/>
                    </a:lnTo>
                    <a:lnTo>
                      <a:pt x="196" y="260"/>
                    </a:lnTo>
                    <a:lnTo>
                      <a:pt x="198" y="260"/>
                    </a:lnTo>
                    <a:lnTo>
                      <a:pt x="196" y="260"/>
                    </a:lnTo>
                    <a:lnTo>
                      <a:pt x="196" y="258"/>
                    </a:lnTo>
                    <a:lnTo>
                      <a:pt x="194" y="258"/>
                    </a:lnTo>
                    <a:lnTo>
                      <a:pt x="196" y="258"/>
                    </a:lnTo>
                    <a:lnTo>
                      <a:pt x="194" y="258"/>
                    </a:lnTo>
                    <a:lnTo>
                      <a:pt x="196" y="258"/>
                    </a:lnTo>
                    <a:lnTo>
                      <a:pt x="194" y="258"/>
                    </a:lnTo>
                    <a:lnTo>
                      <a:pt x="194" y="256"/>
                    </a:lnTo>
                    <a:lnTo>
                      <a:pt x="196" y="256"/>
                    </a:lnTo>
                    <a:lnTo>
                      <a:pt x="194" y="256"/>
                    </a:lnTo>
                    <a:lnTo>
                      <a:pt x="194" y="254"/>
                    </a:lnTo>
                    <a:lnTo>
                      <a:pt x="194" y="256"/>
                    </a:lnTo>
                    <a:lnTo>
                      <a:pt x="194" y="254"/>
                    </a:lnTo>
                    <a:lnTo>
                      <a:pt x="196" y="254"/>
                    </a:lnTo>
                    <a:lnTo>
                      <a:pt x="194" y="254"/>
                    </a:lnTo>
                    <a:lnTo>
                      <a:pt x="194" y="252"/>
                    </a:lnTo>
                    <a:lnTo>
                      <a:pt x="194" y="254"/>
                    </a:lnTo>
                    <a:lnTo>
                      <a:pt x="194" y="252"/>
                    </a:lnTo>
                    <a:lnTo>
                      <a:pt x="194" y="254"/>
                    </a:lnTo>
                    <a:lnTo>
                      <a:pt x="194" y="252"/>
                    </a:lnTo>
                    <a:lnTo>
                      <a:pt x="196" y="252"/>
                    </a:lnTo>
                    <a:lnTo>
                      <a:pt x="194" y="252"/>
                    </a:lnTo>
                    <a:lnTo>
                      <a:pt x="194" y="254"/>
                    </a:lnTo>
                    <a:lnTo>
                      <a:pt x="196" y="254"/>
                    </a:lnTo>
                    <a:lnTo>
                      <a:pt x="194" y="256"/>
                    </a:lnTo>
                    <a:lnTo>
                      <a:pt x="196" y="256"/>
                    </a:lnTo>
                    <a:lnTo>
                      <a:pt x="196" y="254"/>
                    </a:lnTo>
                    <a:lnTo>
                      <a:pt x="196" y="256"/>
                    </a:lnTo>
                    <a:lnTo>
                      <a:pt x="196" y="254"/>
                    </a:lnTo>
                    <a:lnTo>
                      <a:pt x="196" y="256"/>
                    </a:lnTo>
                    <a:lnTo>
                      <a:pt x="196" y="254"/>
                    </a:lnTo>
                    <a:lnTo>
                      <a:pt x="196" y="256"/>
                    </a:lnTo>
                    <a:lnTo>
                      <a:pt x="198" y="256"/>
                    </a:lnTo>
                    <a:lnTo>
                      <a:pt x="196" y="256"/>
                    </a:lnTo>
                    <a:lnTo>
                      <a:pt x="198" y="256"/>
                    </a:lnTo>
                    <a:lnTo>
                      <a:pt x="198" y="254"/>
                    </a:lnTo>
                    <a:lnTo>
                      <a:pt x="199" y="254"/>
                    </a:lnTo>
                    <a:lnTo>
                      <a:pt x="199" y="256"/>
                    </a:lnTo>
                    <a:lnTo>
                      <a:pt x="198" y="256"/>
                    </a:lnTo>
                    <a:lnTo>
                      <a:pt x="198" y="254"/>
                    </a:lnTo>
                    <a:lnTo>
                      <a:pt x="198" y="256"/>
                    </a:lnTo>
                    <a:lnTo>
                      <a:pt x="196" y="256"/>
                    </a:lnTo>
                    <a:lnTo>
                      <a:pt x="196" y="258"/>
                    </a:lnTo>
                    <a:lnTo>
                      <a:pt x="196" y="256"/>
                    </a:lnTo>
                    <a:lnTo>
                      <a:pt x="196" y="258"/>
                    </a:lnTo>
                    <a:lnTo>
                      <a:pt x="196" y="256"/>
                    </a:lnTo>
                    <a:lnTo>
                      <a:pt x="196" y="258"/>
                    </a:lnTo>
                    <a:lnTo>
                      <a:pt x="196" y="256"/>
                    </a:lnTo>
                    <a:lnTo>
                      <a:pt x="198" y="256"/>
                    </a:lnTo>
                    <a:lnTo>
                      <a:pt x="196" y="256"/>
                    </a:lnTo>
                    <a:lnTo>
                      <a:pt x="198" y="256"/>
                    </a:lnTo>
                    <a:lnTo>
                      <a:pt x="196" y="256"/>
                    </a:lnTo>
                    <a:lnTo>
                      <a:pt x="196" y="258"/>
                    </a:lnTo>
                    <a:lnTo>
                      <a:pt x="198" y="258"/>
                    </a:lnTo>
                    <a:lnTo>
                      <a:pt x="198" y="256"/>
                    </a:lnTo>
                    <a:lnTo>
                      <a:pt x="198" y="258"/>
                    </a:lnTo>
                    <a:lnTo>
                      <a:pt x="198" y="256"/>
                    </a:lnTo>
                    <a:lnTo>
                      <a:pt x="198" y="258"/>
                    </a:lnTo>
                    <a:lnTo>
                      <a:pt x="198" y="256"/>
                    </a:lnTo>
                    <a:lnTo>
                      <a:pt x="198" y="258"/>
                    </a:lnTo>
                    <a:lnTo>
                      <a:pt x="199" y="258"/>
                    </a:lnTo>
                    <a:lnTo>
                      <a:pt x="198" y="258"/>
                    </a:lnTo>
                    <a:lnTo>
                      <a:pt x="199" y="258"/>
                    </a:lnTo>
                    <a:lnTo>
                      <a:pt x="199" y="256"/>
                    </a:lnTo>
                    <a:lnTo>
                      <a:pt x="199" y="258"/>
                    </a:lnTo>
                    <a:lnTo>
                      <a:pt x="201" y="258"/>
                    </a:lnTo>
                    <a:lnTo>
                      <a:pt x="201" y="256"/>
                    </a:lnTo>
                    <a:lnTo>
                      <a:pt x="203" y="256"/>
                    </a:lnTo>
                    <a:lnTo>
                      <a:pt x="201" y="256"/>
                    </a:lnTo>
                    <a:lnTo>
                      <a:pt x="203" y="256"/>
                    </a:lnTo>
                    <a:lnTo>
                      <a:pt x="201" y="258"/>
                    </a:lnTo>
                    <a:lnTo>
                      <a:pt x="199" y="258"/>
                    </a:lnTo>
                    <a:lnTo>
                      <a:pt x="198" y="258"/>
                    </a:lnTo>
                    <a:lnTo>
                      <a:pt x="199" y="258"/>
                    </a:lnTo>
                    <a:lnTo>
                      <a:pt x="198" y="258"/>
                    </a:lnTo>
                    <a:lnTo>
                      <a:pt x="196" y="258"/>
                    </a:lnTo>
                    <a:lnTo>
                      <a:pt x="198" y="258"/>
                    </a:lnTo>
                    <a:lnTo>
                      <a:pt x="198" y="260"/>
                    </a:lnTo>
                    <a:lnTo>
                      <a:pt x="199" y="260"/>
                    </a:lnTo>
                    <a:lnTo>
                      <a:pt x="199" y="258"/>
                    </a:lnTo>
                    <a:lnTo>
                      <a:pt x="199" y="260"/>
                    </a:lnTo>
                    <a:lnTo>
                      <a:pt x="201" y="260"/>
                    </a:lnTo>
                    <a:lnTo>
                      <a:pt x="201" y="261"/>
                    </a:lnTo>
                    <a:lnTo>
                      <a:pt x="203" y="263"/>
                    </a:lnTo>
                    <a:lnTo>
                      <a:pt x="203" y="261"/>
                    </a:lnTo>
                    <a:lnTo>
                      <a:pt x="203" y="260"/>
                    </a:lnTo>
                    <a:lnTo>
                      <a:pt x="205" y="260"/>
                    </a:lnTo>
                    <a:lnTo>
                      <a:pt x="205" y="261"/>
                    </a:lnTo>
                    <a:lnTo>
                      <a:pt x="205" y="260"/>
                    </a:lnTo>
                    <a:lnTo>
                      <a:pt x="205" y="261"/>
                    </a:lnTo>
                    <a:lnTo>
                      <a:pt x="205" y="260"/>
                    </a:lnTo>
                    <a:lnTo>
                      <a:pt x="205" y="261"/>
                    </a:lnTo>
                    <a:lnTo>
                      <a:pt x="205" y="260"/>
                    </a:lnTo>
                    <a:lnTo>
                      <a:pt x="205" y="261"/>
                    </a:lnTo>
                    <a:lnTo>
                      <a:pt x="203" y="263"/>
                    </a:lnTo>
                    <a:lnTo>
                      <a:pt x="203" y="265"/>
                    </a:lnTo>
                    <a:lnTo>
                      <a:pt x="205" y="267"/>
                    </a:lnTo>
                    <a:lnTo>
                      <a:pt x="203" y="267"/>
                    </a:lnTo>
                    <a:lnTo>
                      <a:pt x="205" y="267"/>
                    </a:lnTo>
                    <a:lnTo>
                      <a:pt x="203" y="267"/>
                    </a:lnTo>
                    <a:lnTo>
                      <a:pt x="205" y="267"/>
                    </a:lnTo>
                    <a:lnTo>
                      <a:pt x="205" y="269"/>
                    </a:lnTo>
                    <a:lnTo>
                      <a:pt x="205" y="271"/>
                    </a:lnTo>
                    <a:lnTo>
                      <a:pt x="205" y="273"/>
                    </a:lnTo>
                    <a:lnTo>
                      <a:pt x="205" y="275"/>
                    </a:lnTo>
                    <a:lnTo>
                      <a:pt x="205" y="273"/>
                    </a:lnTo>
                    <a:lnTo>
                      <a:pt x="207" y="273"/>
                    </a:lnTo>
                    <a:lnTo>
                      <a:pt x="207" y="275"/>
                    </a:lnTo>
                    <a:lnTo>
                      <a:pt x="207" y="273"/>
                    </a:lnTo>
                    <a:lnTo>
                      <a:pt x="205" y="273"/>
                    </a:lnTo>
                    <a:lnTo>
                      <a:pt x="205" y="271"/>
                    </a:lnTo>
                    <a:lnTo>
                      <a:pt x="207" y="271"/>
                    </a:lnTo>
                    <a:lnTo>
                      <a:pt x="207" y="269"/>
                    </a:lnTo>
                    <a:lnTo>
                      <a:pt x="205" y="269"/>
                    </a:lnTo>
                    <a:lnTo>
                      <a:pt x="207" y="269"/>
                    </a:lnTo>
                    <a:lnTo>
                      <a:pt x="207" y="271"/>
                    </a:lnTo>
                    <a:lnTo>
                      <a:pt x="209" y="271"/>
                    </a:lnTo>
                    <a:lnTo>
                      <a:pt x="209" y="269"/>
                    </a:lnTo>
                    <a:lnTo>
                      <a:pt x="209" y="271"/>
                    </a:lnTo>
                    <a:lnTo>
                      <a:pt x="209" y="269"/>
                    </a:lnTo>
                    <a:lnTo>
                      <a:pt x="211" y="269"/>
                    </a:lnTo>
                    <a:lnTo>
                      <a:pt x="209" y="269"/>
                    </a:lnTo>
                    <a:lnTo>
                      <a:pt x="209" y="267"/>
                    </a:lnTo>
                    <a:lnTo>
                      <a:pt x="209" y="269"/>
                    </a:lnTo>
                    <a:lnTo>
                      <a:pt x="209" y="267"/>
                    </a:lnTo>
                    <a:lnTo>
                      <a:pt x="209" y="269"/>
                    </a:lnTo>
                    <a:lnTo>
                      <a:pt x="209" y="267"/>
                    </a:lnTo>
                    <a:lnTo>
                      <a:pt x="211" y="267"/>
                    </a:lnTo>
                    <a:lnTo>
                      <a:pt x="211" y="269"/>
                    </a:lnTo>
                    <a:lnTo>
                      <a:pt x="209" y="271"/>
                    </a:lnTo>
                    <a:lnTo>
                      <a:pt x="209" y="273"/>
                    </a:lnTo>
                    <a:lnTo>
                      <a:pt x="209" y="275"/>
                    </a:lnTo>
                    <a:lnTo>
                      <a:pt x="209" y="277"/>
                    </a:lnTo>
                    <a:lnTo>
                      <a:pt x="209" y="279"/>
                    </a:lnTo>
                    <a:lnTo>
                      <a:pt x="207" y="279"/>
                    </a:lnTo>
                    <a:lnTo>
                      <a:pt x="209" y="279"/>
                    </a:lnTo>
                    <a:lnTo>
                      <a:pt x="209" y="281"/>
                    </a:lnTo>
                    <a:lnTo>
                      <a:pt x="207" y="281"/>
                    </a:lnTo>
                    <a:lnTo>
                      <a:pt x="205" y="281"/>
                    </a:lnTo>
                    <a:lnTo>
                      <a:pt x="207" y="281"/>
                    </a:lnTo>
                    <a:lnTo>
                      <a:pt x="207" y="279"/>
                    </a:lnTo>
                    <a:lnTo>
                      <a:pt x="205" y="279"/>
                    </a:lnTo>
                    <a:lnTo>
                      <a:pt x="205" y="281"/>
                    </a:lnTo>
                    <a:lnTo>
                      <a:pt x="205" y="279"/>
                    </a:lnTo>
                    <a:lnTo>
                      <a:pt x="205" y="281"/>
                    </a:lnTo>
                    <a:lnTo>
                      <a:pt x="205" y="283"/>
                    </a:lnTo>
                    <a:lnTo>
                      <a:pt x="205" y="285"/>
                    </a:lnTo>
                    <a:lnTo>
                      <a:pt x="205" y="286"/>
                    </a:lnTo>
                    <a:lnTo>
                      <a:pt x="205" y="285"/>
                    </a:lnTo>
                    <a:lnTo>
                      <a:pt x="205" y="286"/>
                    </a:lnTo>
                    <a:lnTo>
                      <a:pt x="205" y="288"/>
                    </a:lnTo>
                    <a:lnTo>
                      <a:pt x="207" y="288"/>
                    </a:lnTo>
                    <a:lnTo>
                      <a:pt x="205" y="288"/>
                    </a:lnTo>
                    <a:lnTo>
                      <a:pt x="207" y="288"/>
                    </a:lnTo>
                    <a:lnTo>
                      <a:pt x="205" y="288"/>
                    </a:lnTo>
                    <a:lnTo>
                      <a:pt x="207" y="288"/>
                    </a:lnTo>
                    <a:lnTo>
                      <a:pt x="205" y="290"/>
                    </a:lnTo>
                    <a:lnTo>
                      <a:pt x="207" y="290"/>
                    </a:lnTo>
                    <a:lnTo>
                      <a:pt x="205" y="290"/>
                    </a:lnTo>
                    <a:lnTo>
                      <a:pt x="205" y="292"/>
                    </a:lnTo>
                    <a:lnTo>
                      <a:pt x="205" y="290"/>
                    </a:lnTo>
                    <a:lnTo>
                      <a:pt x="205" y="292"/>
                    </a:lnTo>
                    <a:lnTo>
                      <a:pt x="207" y="292"/>
                    </a:lnTo>
                    <a:lnTo>
                      <a:pt x="205" y="292"/>
                    </a:lnTo>
                    <a:lnTo>
                      <a:pt x="207" y="292"/>
                    </a:lnTo>
                    <a:lnTo>
                      <a:pt x="205" y="292"/>
                    </a:lnTo>
                    <a:lnTo>
                      <a:pt x="205" y="294"/>
                    </a:lnTo>
                    <a:lnTo>
                      <a:pt x="207" y="294"/>
                    </a:lnTo>
                    <a:lnTo>
                      <a:pt x="207" y="296"/>
                    </a:lnTo>
                    <a:lnTo>
                      <a:pt x="209" y="296"/>
                    </a:lnTo>
                    <a:lnTo>
                      <a:pt x="211" y="296"/>
                    </a:lnTo>
                    <a:lnTo>
                      <a:pt x="211" y="298"/>
                    </a:lnTo>
                    <a:lnTo>
                      <a:pt x="211" y="300"/>
                    </a:lnTo>
                    <a:lnTo>
                      <a:pt x="213" y="300"/>
                    </a:lnTo>
                    <a:lnTo>
                      <a:pt x="211" y="300"/>
                    </a:lnTo>
                    <a:lnTo>
                      <a:pt x="213" y="300"/>
                    </a:lnTo>
                    <a:lnTo>
                      <a:pt x="213" y="298"/>
                    </a:lnTo>
                    <a:lnTo>
                      <a:pt x="213" y="296"/>
                    </a:lnTo>
                    <a:lnTo>
                      <a:pt x="213" y="298"/>
                    </a:lnTo>
                    <a:lnTo>
                      <a:pt x="213" y="296"/>
                    </a:lnTo>
                    <a:lnTo>
                      <a:pt x="215" y="296"/>
                    </a:lnTo>
                    <a:lnTo>
                      <a:pt x="215" y="294"/>
                    </a:lnTo>
                    <a:lnTo>
                      <a:pt x="215" y="296"/>
                    </a:lnTo>
                    <a:lnTo>
                      <a:pt x="215" y="294"/>
                    </a:lnTo>
                    <a:lnTo>
                      <a:pt x="215" y="296"/>
                    </a:lnTo>
                    <a:lnTo>
                      <a:pt x="215" y="298"/>
                    </a:lnTo>
                    <a:lnTo>
                      <a:pt x="217" y="298"/>
                    </a:lnTo>
                    <a:lnTo>
                      <a:pt x="217" y="300"/>
                    </a:lnTo>
                    <a:lnTo>
                      <a:pt x="215" y="300"/>
                    </a:lnTo>
                    <a:lnTo>
                      <a:pt x="217" y="300"/>
                    </a:lnTo>
                    <a:lnTo>
                      <a:pt x="219" y="300"/>
                    </a:lnTo>
                    <a:lnTo>
                      <a:pt x="221" y="300"/>
                    </a:lnTo>
                    <a:lnTo>
                      <a:pt x="219" y="298"/>
                    </a:lnTo>
                    <a:lnTo>
                      <a:pt x="219" y="296"/>
                    </a:lnTo>
                    <a:lnTo>
                      <a:pt x="217" y="296"/>
                    </a:lnTo>
                    <a:lnTo>
                      <a:pt x="215" y="294"/>
                    </a:lnTo>
                    <a:lnTo>
                      <a:pt x="215" y="292"/>
                    </a:lnTo>
                    <a:lnTo>
                      <a:pt x="215" y="294"/>
                    </a:lnTo>
                    <a:lnTo>
                      <a:pt x="217" y="294"/>
                    </a:lnTo>
                    <a:lnTo>
                      <a:pt x="215" y="292"/>
                    </a:lnTo>
                    <a:lnTo>
                      <a:pt x="217" y="290"/>
                    </a:lnTo>
                    <a:lnTo>
                      <a:pt x="217" y="288"/>
                    </a:lnTo>
                    <a:lnTo>
                      <a:pt x="219" y="288"/>
                    </a:lnTo>
                    <a:lnTo>
                      <a:pt x="219" y="286"/>
                    </a:lnTo>
                    <a:lnTo>
                      <a:pt x="219" y="285"/>
                    </a:lnTo>
                    <a:lnTo>
                      <a:pt x="221" y="285"/>
                    </a:lnTo>
                    <a:lnTo>
                      <a:pt x="219" y="285"/>
                    </a:lnTo>
                    <a:lnTo>
                      <a:pt x="219" y="286"/>
                    </a:lnTo>
                    <a:lnTo>
                      <a:pt x="219" y="285"/>
                    </a:lnTo>
                    <a:lnTo>
                      <a:pt x="217" y="285"/>
                    </a:lnTo>
                    <a:lnTo>
                      <a:pt x="217" y="283"/>
                    </a:lnTo>
                    <a:lnTo>
                      <a:pt x="217" y="281"/>
                    </a:lnTo>
                    <a:lnTo>
                      <a:pt x="217" y="279"/>
                    </a:lnTo>
                    <a:lnTo>
                      <a:pt x="217" y="277"/>
                    </a:lnTo>
                    <a:lnTo>
                      <a:pt x="217" y="275"/>
                    </a:lnTo>
                    <a:lnTo>
                      <a:pt x="217" y="277"/>
                    </a:lnTo>
                    <a:lnTo>
                      <a:pt x="217" y="275"/>
                    </a:lnTo>
                    <a:lnTo>
                      <a:pt x="217" y="277"/>
                    </a:lnTo>
                    <a:lnTo>
                      <a:pt x="217" y="275"/>
                    </a:lnTo>
                    <a:lnTo>
                      <a:pt x="217" y="273"/>
                    </a:lnTo>
                    <a:lnTo>
                      <a:pt x="217" y="271"/>
                    </a:lnTo>
                    <a:lnTo>
                      <a:pt x="219" y="271"/>
                    </a:lnTo>
                    <a:lnTo>
                      <a:pt x="219" y="269"/>
                    </a:lnTo>
                    <a:lnTo>
                      <a:pt x="219" y="271"/>
                    </a:lnTo>
                    <a:lnTo>
                      <a:pt x="219" y="269"/>
                    </a:lnTo>
                    <a:lnTo>
                      <a:pt x="221" y="269"/>
                    </a:lnTo>
                    <a:lnTo>
                      <a:pt x="221" y="271"/>
                    </a:lnTo>
                    <a:lnTo>
                      <a:pt x="223" y="271"/>
                    </a:lnTo>
                    <a:lnTo>
                      <a:pt x="223" y="269"/>
                    </a:lnTo>
                    <a:lnTo>
                      <a:pt x="223" y="271"/>
                    </a:lnTo>
                    <a:lnTo>
                      <a:pt x="221" y="269"/>
                    </a:lnTo>
                    <a:lnTo>
                      <a:pt x="221" y="267"/>
                    </a:lnTo>
                    <a:lnTo>
                      <a:pt x="221" y="269"/>
                    </a:lnTo>
                    <a:lnTo>
                      <a:pt x="219" y="269"/>
                    </a:lnTo>
                    <a:lnTo>
                      <a:pt x="219" y="267"/>
                    </a:lnTo>
                    <a:lnTo>
                      <a:pt x="219" y="269"/>
                    </a:lnTo>
                    <a:lnTo>
                      <a:pt x="217" y="269"/>
                    </a:lnTo>
                    <a:lnTo>
                      <a:pt x="217" y="267"/>
                    </a:lnTo>
                    <a:lnTo>
                      <a:pt x="217" y="265"/>
                    </a:lnTo>
                    <a:lnTo>
                      <a:pt x="215" y="265"/>
                    </a:lnTo>
                    <a:lnTo>
                      <a:pt x="215" y="263"/>
                    </a:lnTo>
                    <a:lnTo>
                      <a:pt x="215" y="261"/>
                    </a:lnTo>
                    <a:lnTo>
                      <a:pt x="213" y="260"/>
                    </a:lnTo>
                    <a:lnTo>
                      <a:pt x="215" y="260"/>
                    </a:lnTo>
                    <a:lnTo>
                      <a:pt x="213" y="260"/>
                    </a:lnTo>
                    <a:lnTo>
                      <a:pt x="213" y="258"/>
                    </a:lnTo>
                    <a:lnTo>
                      <a:pt x="211" y="258"/>
                    </a:lnTo>
                    <a:lnTo>
                      <a:pt x="211" y="256"/>
                    </a:lnTo>
                    <a:lnTo>
                      <a:pt x="209" y="256"/>
                    </a:lnTo>
                    <a:lnTo>
                      <a:pt x="209" y="254"/>
                    </a:lnTo>
                    <a:lnTo>
                      <a:pt x="211" y="252"/>
                    </a:lnTo>
                    <a:lnTo>
                      <a:pt x="211" y="250"/>
                    </a:lnTo>
                    <a:lnTo>
                      <a:pt x="211" y="252"/>
                    </a:lnTo>
                    <a:lnTo>
                      <a:pt x="209" y="252"/>
                    </a:lnTo>
                    <a:lnTo>
                      <a:pt x="209" y="254"/>
                    </a:lnTo>
                    <a:lnTo>
                      <a:pt x="207" y="254"/>
                    </a:lnTo>
                    <a:lnTo>
                      <a:pt x="209" y="254"/>
                    </a:lnTo>
                    <a:lnTo>
                      <a:pt x="207" y="254"/>
                    </a:lnTo>
                    <a:lnTo>
                      <a:pt x="205" y="254"/>
                    </a:lnTo>
                    <a:lnTo>
                      <a:pt x="205" y="252"/>
                    </a:lnTo>
                    <a:lnTo>
                      <a:pt x="203" y="252"/>
                    </a:lnTo>
                    <a:lnTo>
                      <a:pt x="201" y="252"/>
                    </a:lnTo>
                    <a:lnTo>
                      <a:pt x="201" y="250"/>
                    </a:lnTo>
                    <a:lnTo>
                      <a:pt x="201" y="252"/>
                    </a:lnTo>
                    <a:lnTo>
                      <a:pt x="201" y="250"/>
                    </a:lnTo>
                    <a:lnTo>
                      <a:pt x="203" y="250"/>
                    </a:lnTo>
                    <a:lnTo>
                      <a:pt x="203" y="248"/>
                    </a:lnTo>
                    <a:lnTo>
                      <a:pt x="201" y="248"/>
                    </a:lnTo>
                    <a:lnTo>
                      <a:pt x="201" y="246"/>
                    </a:lnTo>
                    <a:lnTo>
                      <a:pt x="199" y="246"/>
                    </a:lnTo>
                    <a:lnTo>
                      <a:pt x="201" y="246"/>
                    </a:lnTo>
                    <a:lnTo>
                      <a:pt x="201" y="244"/>
                    </a:lnTo>
                    <a:lnTo>
                      <a:pt x="201" y="246"/>
                    </a:lnTo>
                    <a:lnTo>
                      <a:pt x="199" y="246"/>
                    </a:lnTo>
                    <a:lnTo>
                      <a:pt x="201" y="246"/>
                    </a:lnTo>
                    <a:lnTo>
                      <a:pt x="199" y="244"/>
                    </a:lnTo>
                    <a:lnTo>
                      <a:pt x="199" y="246"/>
                    </a:lnTo>
                    <a:lnTo>
                      <a:pt x="201" y="246"/>
                    </a:lnTo>
                    <a:lnTo>
                      <a:pt x="201" y="248"/>
                    </a:lnTo>
                    <a:lnTo>
                      <a:pt x="201" y="250"/>
                    </a:lnTo>
                    <a:lnTo>
                      <a:pt x="199" y="250"/>
                    </a:lnTo>
                    <a:lnTo>
                      <a:pt x="198" y="248"/>
                    </a:lnTo>
                    <a:lnTo>
                      <a:pt x="198" y="246"/>
                    </a:lnTo>
                    <a:lnTo>
                      <a:pt x="198" y="244"/>
                    </a:lnTo>
                    <a:lnTo>
                      <a:pt x="198" y="242"/>
                    </a:lnTo>
                    <a:lnTo>
                      <a:pt x="198" y="240"/>
                    </a:lnTo>
                    <a:lnTo>
                      <a:pt x="198" y="238"/>
                    </a:lnTo>
                    <a:lnTo>
                      <a:pt x="196" y="238"/>
                    </a:lnTo>
                    <a:lnTo>
                      <a:pt x="196" y="236"/>
                    </a:lnTo>
                    <a:lnTo>
                      <a:pt x="194" y="236"/>
                    </a:lnTo>
                    <a:lnTo>
                      <a:pt x="192" y="236"/>
                    </a:lnTo>
                    <a:lnTo>
                      <a:pt x="194" y="236"/>
                    </a:lnTo>
                    <a:lnTo>
                      <a:pt x="194" y="235"/>
                    </a:lnTo>
                    <a:lnTo>
                      <a:pt x="194" y="233"/>
                    </a:lnTo>
                    <a:lnTo>
                      <a:pt x="194" y="235"/>
                    </a:lnTo>
                    <a:lnTo>
                      <a:pt x="194" y="233"/>
                    </a:lnTo>
                    <a:lnTo>
                      <a:pt x="194" y="235"/>
                    </a:lnTo>
                    <a:lnTo>
                      <a:pt x="194" y="233"/>
                    </a:lnTo>
                    <a:lnTo>
                      <a:pt x="194" y="235"/>
                    </a:lnTo>
                    <a:lnTo>
                      <a:pt x="192" y="235"/>
                    </a:lnTo>
                    <a:lnTo>
                      <a:pt x="190" y="235"/>
                    </a:lnTo>
                    <a:lnTo>
                      <a:pt x="188" y="233"/>
                    </a:lnTo>
                    <a:lnTo>
                      <a:pt x="186" y="233"/>
                    </a:lnTo>
                    <a:lnTo>
                      <a:pt x="186" y="231"/>
                    </a:lnTo>
                    <a:lnTo>
                      <a:pt x="184" y="231"/>
                    </a:lnTo>
                    <a:lnTo>
                      <a:pt x="186" y="231"/>
                    </a:lnTo>
                    <a:lnTo>
                      <a:pt x="184" y="231"/>
                    </a:lnTo>
                    <a:lnTo>
                      <a:pt x="184" y="229"/>
                    </a:lnTo>
                    <a:lnTo>
                      <a:pt x="184" y="227"/>
                    </a:lnTo>
                    <a:lnTo>
                      <a:pt x="184" y="225"/>
                    </a:lnTo>
                    <a:lnTo>
                      <a:pt x="184" y="223"/>
                    </a:lnTo>
                    <a:lnTo>
                      <a:pt x="184" y="225"/>
                    </a:lnTo>
                    <a:lnTo>
                      <a:pt x="184" y="223"/>
                    </a:lnTo>
                    <a:lnTo>
                      <a:pt x="184" y="225"/>
                    </a:lnTo>
                    <a:lnTo>
                      <a:pt x="184" y="223"/>
                    </a:lnTo>
                    <a:lnTo>
                      <a:pt x="184" y="225"/>
                    </a:lnTo>
                    <a:lnTo>
                      <a:pt x="182" y="223"/>
                    </a:lnTo>
                    <a:lnTo>
                      <a:pt x="182" y="221"/>
                    </a:lnTo>
                    <a:lnTo>
                      <a:pt x="182" y="219"/>
                    </a:lnTo>
                    <a:lnTo>
                      <a:pt x="180" y="219"/>
                    </a:lnTo>
                    <a:lnTo>
                      <a:pt x="182" y="217"/>
                    </a:lnTo>
                    <a:lnTo>
                      <a:pt x="180" y="217"/>
                    </a:lnTo>
                    <a:lnTo>
                      <a:pt x="180" y="215"/>
                    </a:lnTo>
                    <a:lnTo>
                      <a:pt x="178" y="213"/>
                    </a:lnTo>
                    <a:lnTo>
                      <a:pt x="180" y="213"/>
                    </a:lnTo>
                    <a:lnTo>
                      <a:pt x="180" y="211"/>
                    </a:lnTo>
                    <a:lnTo>
                      <a:pt x="180" y="213"/>
                    </a:lnTo>
                    <a:lnTo>
                      <a:pt x="178" y="213"/>
                    </a:lnTo>
                    <a:lnTo>
                      <a:pt x="178" y="211"/>
                    </a:lnTo>
                    <a:lnTo>
                      <a:pt x="178" y="210"/>
                    </a:lnTo>
                    <a:lnTo>
                      <a:pt x="178" y="208"/>
                    </a:lnTo>
                    <a:lnTo>
                      <a:pt x="180" y="208"/>
                    </a:lnTo>
                    <a:lnTo>
                      <a:pt x="182" y="208"/>
                    </a:lnTo>
                    <a:lnTo>
                      <a:pt x="184" y="208"/>
                    </a:lnTo>
                    <a:lnTo>
                      <a:pt x="182" y="208"/>
                    </a:lnTo>
                    <a:lnTo>
                      <a:pt x="184" y="208"/>
                    </a:lnTo>
                    <a:lnTo>
                      <a:pt x="184" y="206"/>
                    </a:lnTo>
                    <a:lnTo>
                      <a:pt x="186" y="206"/>
                    </a:lnTo>
                    <a:lnTo>
                      <a:pt x="184" y="206"/>
                    </a:lnTo>
                    <a:lnTo>
                      <a:pt x="184" y="208"/>
                    </a:lnTo>
                    <a:lnTo>
                      <a:pt x="184" y="206"/>
                    </a:lnTo>
                    <a:lnTo>
                      <a:pt x="182" y="206"/>
                    </a:lnTo>
                    <a:lnTo>
                      <a:pt x="182" y="208"/>
                    </a:lnTo>
                    <a:lnTo>
                      <a:pt x="180" y="208"/>
                    </a:lnTo>
                    <a:lnTo>
                      <a:pt x="178" y="208"/>
                    </a:lnTo>
                    <a:lnTo>
                      <a:pt x="176" y="208"/>
                    </a:lnTo>
                    <a:lnTo>
                      <a:pt x="176" y="206"/>
                    </a:lnTo>
                    <a:lnTo>
                      <a:pt x="176" y="204"/>
                    </a:lnTo>
                    <a:lnTo>
                      <a:pt x="178" y="204"/>
                    </a:lnTo>
                    <a:lnTo>
                      <a:pt x="176" y="204"/>
                    </a:lnTo>
                    <a:lnTo>
                      <a:pt x="176" y="202"/>
                    </a:lnTo>
                    <a:lnTo>
                      <a:pt x="176" y="200"/>
                    </a:lnTo>
                    <a:lnTo>
                      <a:pt x="174" y="198"/>
                    </a:lnTo>
                    <a:lnTo>
                      <a:pt x="173" y="196"/>
                    </a:lnTo>
                    <a:lnTo>
                      <a:pt x="173" y="194"/>
                    </a:lnTo>
                    <a:lnTo>
                      <a:pt x="174" y="194"/>
                    </a:lnTo>
                    <a:lnTo>
                      <a:pt x="174" y="196"/>
                    </a:lnTo>
                    <a:lnTo>
                      <a:pt x="174" y="194"/>
                    </a:lnTo>
                    <a:lnTo>
                      <a:pt x="173" y="194"/>
                    </a:lnTo>
                    <a:lnTo>
                      <a:pt x="173" y="196"/>
                    </a:lnTo>
                    <a:lnTo>
                      <a:pt x="173" y="194"/>
                    </a:lnTo>
                    <a:lnTo>
                      <a:pt x="171" y="194"/>
                    </a:lnTo>
                    <a:lnTo>
                      <a:pt x="171" y="192"/>
                    </a:lnTo>
                    <a:lnTo>
                      <a:pt x="173" y="192"/>
                    </a:lnTo>
                    <a:lnTo>
                      <a:pt x="173" y="190"/>
                    </a:lnTo>
                    <a:lnTo>
                      <a:pt x="174" y="190"/>
                    </a:lnTo>
                    <a:lnTo>
                      <a:pt x="176" y="190"/>
                    </a:lnTo>
                    <a:lnTo>
                      <a:pt x="176" y="192"/>
                    </a:lnTo>
                    <a:lnTo>
                      <a:pt x="176" y="190"/>
                    </a:lnTo>
                    <a:lnTo>
                      <a:pt x="176" y="192"/>
                    </a:lnTo>
                    <a:lnTo>
                      <a:pt x="178" y="192"/>
                    </a:lnTo>
                    <a:lnTo>
                      <a:pt x="178" y="190"/>
                    </a:lnTo>
                    <a:lnTo>
                      <a:pt x="178" y="192"/>
                    </a:lnTo>
                    <a:lnTo>
                      <a:pt x="178" y="190"/>
                    </a:lnTo>
                    <a:lnTo>
                      <a:pt x="176" y="190"/>
                    </a:lnTo>
                    <a:lnTo>
                      <a:pt x="178" y="190"/>
                    </a:lnTo>
                    <a:lnTo>
                      <a:pt x="176" y="190"/>
                    </a:lnTo>
                    <a:lnTo>
                      <a:pt x="176" y="188"/>
                    </a:lnTo>
                    <a:lnTo>
                      <a:pt x="178" y="188"/>
                    </a:lnTo>
                    <a:lnTo>
                      <a:pt x="178" y="186"/>
                    </a:lnTo>
                    <a:lnTo>
                      <a:pt x="178" y="188"/>
                    </a:lnTo>
                    <a:lnTo>
                      <a:pt x="178" y="186"/>
                    </a:lnTo>
                    <a:lnTo>
                      <a:pt x="178" y="185"/>
                    </a:lnTo>
                    <a:lnTo>
                      <a:pt x="180" y="185"/>
                    </a:lnTo>
                    <a:lnTo>
                      <a:pt x="180" y="183"/>
                    </a:lnTo>
                    <a:lnTo>
                      <a:pt x="180" y="181"/>
                    </a:lnTo>
                    <a:lnTo>
                      <a:pt x="182" y="179"/>
                    </a:lnTo>
                    <a:lnTo>
                      <a:pt x="184" y="179"/>
                    </a:lnTo>
                    <a:lnTo>
                      <a:pt x="182" y="179"/>
                    </a:lnTo>
                    <a:lnTo>
                      <a:pt x="182" y="177"/>
                    </a:lnTo>
                    <a:lnTo>
                      <a:pt x="184" y="177"/>
                    </a:lnTo>
                    <a:lnTo>
                      <a:pt x="186" y="177"/>
                    </a:lnTo>
                    <a:lnTo>
                      <a:pt x="188" y="175"/>
                    </a:lnTo>
                    <a:lnTo>
                      <a:pt x="190" y="175"/>
                    </a:lnTo>
                    <a:lnTo>
                      <a:pt x="192" y="175"/>
                    </a:lnTo>
                    <a:lnTo>
                      <a:pt x="190" y="175"/>
                    </a:lnTo>
                    <a:lnTo>
                      <a:pt x="192" y="175"/>
                    </a:lnTo>
                    <a:lnTo>
                      <a:pt x="192" y="173"/>
                    </a:lnTo>
                    <a:lnTo>
                      <a:pt x="194" y="171"/>
                    </a:lnTo>
                    <a:lnTo>
                      <a:pt x="194" y="173"/>
                    </a:lnTo>
                    <a:lnTo>
                      <a:pt x="194" y="171"/>
                    </a:lnTo>
                    <a:lnTo>
                      <a:pt x="194" y="169"/>
                    </a:lnTo>
                    <a:lnTo>
                      <a:pt x="194" y="171"/>
                    </a:lnTo>
                    <a:lnTo>
                      <a:pt x="194" y="169"/>
                    </a:lnTo>
                    <a:lnTo>
                      <a:pt x="192" y="169"/>
                    </a:lnTo>
                    <a:lnTo>
                      <a:pt x="192" y="167"/>
                    </a:lnTo>
                    <a:lnTo>
                      <a:pt x="194" y="167"/>
                    </a:lnTo>
                    <a:lnTo>
                      <a:pt x="192" y="167"/>
                    </a:lnTo>
                    <a:lnTo>
                      <a:pt x="194" y="167"/>
                    </a:lnTo>
                    <a:lnTo>
                      <a:pt x="192" y="167"/>
                    </a:lnTo>
                    <a:lnTo>
                      <a:pt x="194" y="167"/>
                    </a:lnTo>
                    <a:lnTo>
                      <a:pt x="196" y="165"/>
                    </a:lnTo>
                    <a:lnTo>
                      <a:pt x="196" y="167"/>
                    </a:lnTo>
                    <a:lnTo>
                      <a:pt x="196" y="165"/>
                    </a:lnTo>
                    <a:lnTo>
                      <a:pt x="196" y="167"/>
                    </a:lnTo>
                    <a:lnTo>
                      <a:pt x="196" y="165"/>
                    </a:lnTo>
                    <a:lnTo>
                      <a:pt x="198" y="165"/>
                    </a:lnTo>
                    <a:lnTo>
                      <a:pt x="199" y="165"/>
                    </a:lnTo>
                    <a:lnTo>
                      <a:pt x="201" y="163"/>
                    </a:lnTo>
                    <a:lnTo>
                      <a:pt x="201" y="165"/>
                    </a:lnTo>
                    <a:lnTo>
                      <a:pt x="201" y="163"/>
                    </a:lnTo>
                    <a:lnTo>
                      <a:pt x="201" y="165"/>
                    </a:lnTo>
                    <a:lnTo>
                      <a:pt x="201" y="163"/>
                    </a:lnTo>
                    <a:lnTo>
                      <a:pt x="203" y="163"/>
                    </a:lnTo>
                    <a:lnTo>
                      <a:pt x="203" y="161"/>
                    </a:lnTo>
                    <a:lnTo>
                      <a:pt x="203" y="160"/>
                    </a:lnTo>
                    <a:lnTo>
                      <a:pt x="201" y="160"/>
                    </a:lnTo>
                    <a:lnTo>
                      <a:pt x="203" y="160"/>
                    </a:lnTo>
                    <a:lnTo>
                      <a:pt x="201" y="158"/>
                    </a:lnTo>
                    <a:lnTo>
                      <a:pt x="203" y="158"/>
                    </a:lnTo>
                    <a:lnTo>
                      <a:pt x="201" y="158"/>
                    </a:lnTo>
                    <a:lnTo>
                      <a:pt x="203" y="158"/>
                    </a:lnTo>
                    <a:lnTo>
                      <a:pt x="203" y="156"/>
                    </a:lnTo>
                    <a:lnTo>
                      <a:pt x="205" y="156"/>
                    </a:lnTo>
                    <a:lnTo>
                      <a:pt x="205" y="154"/>
                    </a:lnTo>
                    <a:lnTo>
                      <a:pt x="205" y="152"/>
                    </a:lnTo>
                    <a:lnTo>
                      <a:pt x="205" y="150"/>
                    </a:lnTo>
                    <a:lnTo>
                      <a:pt x="205" y="152"/>
                    </a:lnTo>
                    <a:lnTo>
                      <a:pt x="205" y="154"/>
                    </a:lnTo>
                    <a:lnTo>
                      <a:pt x="205" y="152"/>
                    </a:lnTo>
                    <a:lnTo>
                      <a:pt x="205" y="154"/>
                    </a:lnTo>
                    <a:lnTo>
                      <a:pt x="205" y="156"/>
                    </a:lnTo>
                    <a:lnTo>
                      <a:pt x="205" y="154"/>
                    </a:lnTo>
                    <a:lnTo>
                      <a:pt x="205" y="152"/>
                    </a:lnTo>
                    <a:lnTo>
                      <a:pt x="207" y="152"/>
                    </a:lnTo>
                    <a:lnTo>
                      <a:pt x="205" y="152"/>
                    </a:lnTo>
                    <a:lnTo>
                      <a:pt x="207" y="152"/>
                    </a:lnTo>
                    <a:lnTo>
                      <a:pt x="207" y="150"/>
                    </a:lnTo>
                    <a:lnTo>
                      <a:pt x="207" y="152"/>
                    </a:lnTo>
                    <a:lnTo>
                      <a:pt x="205" y="152"/>
                    </a:lnTo>
                    <a:lnTo>
                      <a:pt x="207" y="150"/>
                    </a:lnTo>
                    <a:lnTo>
                      <a:pt x="207" y="152"/>
                    </a:lnTo>
                    <a:lnTo>
                      <a:pt x="207" y="150"/>
                    </a:lnTo>
                    <a:lnTo>
                      <a:pt x="207" y="152"/>
                    </a:lnTo>
                    <a:lnTo>
                      <a:pt x="209" y="152"/>
                    </a:lnTo>
                    <a:lnTo>
                      <a:pt x="207" y="152"/>
                    </a:lnTo>
                    <a:lnTo>
                      <a:pt x="209" y="152"/>
                    </a:lnTo>
                    <a:lnTo>
                      <a:pt x="207" y="152"/>
                    </a:lnTo>
                    <a:lnTo>
                      <a:pt x="207" y="154"/>
                    </a:lnTo>
                    <a:lnTo>
                      <a:pt x="207" y="152"/>
                    </a:lnTo>
                    <a:lnTo>
                      <a:pt x="207" y="154"/>
                    </a:lnTo>
                    <a:lnTo>
                      <a:pt x="205" y="154"/>
                    </a:lnTo>
                    <a:lnTo>
                      <a:pt x="207" y="154"/>
                    </a:lnTo>
                    <a:lnTo>
                      <a:pt x="209" y="154"/>
                    </a:lnTo>
                    <a:lnTo>
                      <a:pt x="209" y="156"/>
                    </a:lnTo>
                    <a:lnTo>
                      <a:pt x="209" y="154"/>
                    </a:lnTo>
                    <a:lnTo>
                      <a:pt x="211" y="154"/>
                    </a:lnTo>
                    <a:lnTo>
                      <a:pt x="209" y="154"/>
                    </a:lnTo>
                    <a:lnTo>
                      <a:pt x="211" y="154"/>
                    </a:lnTo>
                    <a:lnTo>
                      <a:pt x="209" y="154"/>
                    </a:lnTo>
                    <a:lnTo>
                      <a:pt x="211" y="154"/>
                    </a:lnTo>
                    <a:lnTo>
                      <a:pt x="209" y="154"/>
                    </a:lnTo>
                    <a:lnTo>
                      <a:pt x="211" y="154"/>
                    </a:lnTo>
                    <a:lnTo>
                      <a:pt x="211" y="152"/>
                    </a:lnTo>
                    <a:lnTo>
                      <a:pt x="211" y="154"/>
                    </a:lnTo>
                    <a:lnTo>
                      <a:pt x="211" y="152"/>
                    </a:lnTo>
                    <a:lnTo>
                      <a:pt x="209" y="152"/>
                    </a:lnTo>
                    <a:lnTo>
                      <a:pt x="211" y="152"/>
                    </a:lnTo>
                    <a:lnTo>
                      <a:pt x="209" y="152"/>
                    </a:lnTo>
                    <a:lnTo>
                      <a:pt x="209" y="150"/>
                    </a:lnTo>
                    <a:lnTo>
                      <a:pt x="211" y="150"/>
                    </a:lnTo>
                    <a:lnTo>
                      <a:pt x="211" y="152"/>
                    </a:lnTo>
                    <a:lnTo>
                      <a:pt x="211" y="150"/>
                    </a:lnTo>
                    <a:lnTo>
                      <a:pt x="211" y="152"/>
                    </a:lnTo>
                    <a:lnTo>
                      <a:pt x="211" y="150"/>
                    </a:lnTo>
                    <a:lnTo>
                      <a:pt x="211" y="152"/>
                    </a:lnTo>
                    <a:lnTo>
                      <a:pt x="213" y="152"/>
                    </a:lnTo>
                    <a:lnTo>
                      <a:pt x="213" y="154"/>
                    </a:lnTo>
                    <a:lnTo>
                      <a:pt x="215" y="154"/>
                    </a:lnTo>
                    <a:lnTo>
                      <a:pt x="215" y="156"/>
                    </a:lnTo>
                    <a:lnTo>
                      <a:pt x="215" y="154"/>
                    </a:lnTo>
                    <a:lnTo>
                      <a:pt x="215" y="152"/>
                    </a:lnTo>
                    <a:lnTo>
                      <a:pt x="215" y="154"/>
                    </a:lnTo>
                    <a:lnTo>
                      <a:pt x="215" y="152"/>
                    </a:lnTo>
                    <a:lnTo>
                      <a:pt x="215" y="150"/>
                    </a:lnTo>
                    <a:lnTo>
                      <a:pt x="215" y="152"/>
                    </a:lnTo>
                    <a:lnTo>
                      <a:pt x="217" y="152"/>
                    </a:lnTo>
                    <a:lnTo>
                      <a:pt x="215" y="152"/>
                    </a:lnTo>
                    <a:lnTo>
                      <a:pt x="217" y="152"/>
                    </a:lnTo>
                    <a:lnTo>
                      <a:pt x="217" y="150"/>
                    </a:lnTo>
                    <a:lnTo>
                      <a:pt x="215" y="150"/>
                    </a:lnTo>
                    <a:lnTo>
                      <a:pt x="215" y="152"/>
                    </a:lnTo>
                    <a:lnTo>
                      <a:pt x="215" y="150"/>
                    </a:lnTo>
                    <a:lnTo>
                      <a:pt x="217" y="150"/>
                    </a:lnTo>
                    <a:lnTo>
                      <a:pt x="217" y="152"/>
                    </a:lnTo>
                    <a:lnTo>
                      <a:pt x="219" y="152"/>
                    </a:lnTo>
                    <a:lnTo>
                      <a:pt x="217" y="152"/>
                    </a:lnTo>
                    <a:lnTo>
                      <a:pt x="219" y="152"/>
                    </a:lnTo>
                    <a:lnTo>
                      <a:pt x="219" y="154"/>
                    </a:lnTo>
                    <a:lnTo>
                      <a:pt x="217" y="154"/>
                    </a:lnTo>
                    <a:lnTo>
                      <a:pt x="217" y="156"/>
                    </a:lnTo>
                    <a:lnTo>
                      <a:pt x="219" y="156"/>
                    </a:lnTo>
                    <a:lnTo>
                      <a:pt x="217" y="158"/>
                    </a:lnTo>
                    <a:lnTo>
                      <a:pt x="219" y="158"/>
                    </a:lnTo>
                    <a:lnTo>
                      <a:pt x="217" y="158"/>
                    </a:lnTo>
                    <a:lnTo>
                      <a:pt x="217" y="160"/>
                    </a:lnTo>
                    <a:lnTo>
                      <a:pt x="217" y="158"/>
                    </a:lnTo>
                    <a:lnTo>
                      <a:pt x="217" y="160"/>
                    </a:lnTo>
                    <a:lnTo>
                      <a:pt x="219" y="160"/>
                    </a:lnTo>
                    <a:lnTo>
                      <a:pt x="217" y="160"/>
                    </a:lnTo>
                    <a:lnTo>
                      <a:pt x="219" y="160"/>
                    </a:lnTo>
                    <a:lnTo>
                      <a:pt x="219" y="158"/>
                    </a:lnTo>
                    <a:lnTo>
                      <a:pt x="219" y="160"/>
                    </a:lnTo>
                    <a:lnTo>
                      <a:pt x="219" y="158"/>
                    </a:lnTo>
                    <a:lnTo>
                      <a:pt x="219" y="160"/>
                    </a:lnTo>
                    <a:lnTo>
                      <a:pt x="219" y="158"/>
                    </a:lnTo>
                    <a:lnTo>
                      <a:pt x="221" y="160"/>
                    </a:lnTo>
                    <a:lnTo>
                      <a:pt x="221" y="158"/>
                    </a:lnTo>
                    <a:lnTo>
                      <a:pt x="219" y="158"/>
                    </a:lnTo>
                    <a:lnTo>
                      <a:pt x="221" y="158"/>
                    </a:lnTo>
                    <a:lnTo>
                      <a:pt x="221" y="160"/>
                    </a:lnTo>
                    <a:lnTo>
                      <a:pt x="221" y="158"/>
                    </a:lnTo>
                    <a:lnTo>
                      <a:pt x="221" y="160"/>
                    </a:lnTo>
                    <a:lnTo>
                      <a:pt x="221" y="158"/>
                    </a:lnTo>
                    <a:lnTo>
                      <a:pt x="223" y="158"/>
                    </a:lnTo>
                    <a:lnTo>
                      <a:pt x="223" y="160"/>
                    </a:lnTo>
                    <a:lnTo>
                      <a:pt x="224" y="160"/>
                    </a:lnTo>
                    <a:lnTo>
                      <a:pt x="223" y="160"/>
                    </a:lnTo>
                    <a:lnTo>
                      <a:pt x="224" y="160"/>
                    </a:lnTo>
                    <a:lnTo>
                      <a:pt x="224" y="161"/>
                    </a:lnTo>
                    <a:lnTo>
                      <a:pt x="223" y="161"/>
                    </a:lnTo>
                    <a:lnTo>
                      <a:pt x="224" y="161"/>
                    </a:lnTo>
                    <a:lnTo>
                      <a:pt x="226" y="161"/>
                    </a:lnTo>
                    <a:lnTo>
                      <a:pt x="224" y="161"/>
                    </a:lnTo>
                    <a:lnTo>
                      <a:pt x="226" y="161"/>
                    </a:lnTo>
                    <a:lnTo>
                      <a:pt x="228" y="161"/>
                    </a:lnTo>
                    <a:lnTo>
                      <a:pt x="226" y="161"/>
                    </a:lnTo>
                    <a:lnTo>
                      <a:pt x="228" y="161"/>
                    </a:lnTo>
                    <a:lnTo>
                      <a:pt x="228" y="160"/>
                    </a:lnTo>
                    <a:lnTo>
                      <a:pt x="230" y="160"/>
                    </a:lnTo>
                    <a:lnTo>
                      <a:pt x="230" y="161"/>
                    </a:lnTo>
                    <a:lnTo>
                      <a:pt x="232" y="161"/>
                    </a:lnTo>
                    <a:lnTo>
                      <a:pt x="230" y="161"/>
                    </a:lnTo>
                    <a:lnTo>
                      <a:pt x="230" y="163"/>
                    </a:lnTo>
                    <a:lnTo>
                      <a:pt x="230" y="161"/>
                    </a:lnTo>
                    <a:lnTo>
                      <a:pt x="232" y="161"/>
                    </a:lnTo>
                    <a:lnTo>
                      <a:pt x="232" y="163"/>
                    </a:lnTo>
                    <a:lnTo>
                      <a:pt x="232" y="161"/>
                    </a:lnTo>
                    <a:lnTo>
                      <a:pt x="232" y="163"/>
                    </a:lnTo>
                    <a:lnTo>
                      <a:pt x="232" y="161"/>
                    </a:lnTo>
                    <a:lnTo>
                      <a:pt x="230" y="161"/>
                    </a:lnTo>
                    <a:lnTo>
                      <a:pt x="232" y="161"/>
                    </a:lnTo>
                    <a:lnTo>
                      <a:pt x="230" y="161"/>
                    </a:lnTo>
                    <a:lnTo>
                      <a:pt x="230" y="160"/>
                    </a:lnTo>
                    <a:lnTo>
                      <a:pt x="228" y="160"/>
                    </a:lnTo>
                    <a:lnTo>
                      <a:pt x="226" y="160"/>
                    </a:lnTo>
                    <a:lnTo>
                      <a:pt x="228" y="160"/>
                    </a:lnTo>
                    <a:lnTo>
                      <a:pt x="228" y="161"/>
                    </a:lnTo>
                    <a:lnTo>
                      <a:pt x="226" y="161"/>
                    </a:lnTo>
                    <a:lnTo>
                      <a:pt x="226" y="160"/>
                    </a:lnTo>
                    <a:lnTo>
                      <a:pt x="226" y="161"/>
                    </a:lnTo>
                    <a:lnTo>
                      <a:pt x="226" y="160"/>
                    </a:lnTo>
                    <a:lnTo>
                      <a:pt x="226" y="161"/>
                    </a:lnTo>
                    <a:lnTo>
                      <a:pt x="224" y="161"/>
                    </a:lnTo>
                    <a:lnTo>
                      <a:pt x="224" y="160"/>
                    </a:lnTo>
                    <a:lnTo>
                      <a:pt x="224" y="161"/>
                    </a:lnTo>
                    <a:lnTo>
                      <a:pt x="224" y="160"/>
                    </a:lnTo>
                    <a:lnTo>
                      <a:pt x="223" y="160"/>
                    </a:lnTo>
                    <a:lnTo>
                      <a:pt x="223" y="158"/>
                    </a:lnTo>
                    <a:lnTo>
                      <a:pt x="223" y="160"/>
                    </a:lnTo>
                    <a:lnTo>
                      <a:pt x="223" y="158"/>
                    </a:lnTo>
                    <a:lnTo>
                      <a:pt x="221" y="158"/>
                    </a:lnTo>
                    <a:lnTo>
                      <a:pt x="223" y="158"/>
                    </a:lnTo>
                    <a:lnTo>
                      <a:pt x="221" y="158"/>
                    </a:lnTo>
                    <a:lnTo>
                      <a:pt x="221" y="160"/>
                    </a:lnTo>
                    <a:lnTo>
                      <a:pt x="221" y="158"/>
                    </a:lnTo>
                    <a:lnTo>
                      <a:pt x="219" y="158"/>
                    </a:lnTo>
                    <a:lnTo>
                      <a:pt x="219" y="160"/>
                    </a:lnTo>
                    <a:lnTo>
                      <a:pt x="219" y="158"/>
                    </a:lnTo>
                    <a:lnTo>
                      <a:pt x="217" y="158"/>
                    </a:lnTo>
                    <a:lnTo>
                      <a:pt x="219" y="158"/>
                    </a:lnTo>
                    <a:lnTo>
                      <a:pt x="217" y="158"/>
                    </a:lnTo>
                    <a:lnTo>
                      <a:pt x="219" y="158"/>
                    </a:lnTo>
                    <a:lnTo>
                      <a:pt x="217" y="158"/>
                    </a:lnTo>
                    <a:lnTo>
                      <a:pt x="219" y="158"/>
                    </a:lnTo>
                    <a:lnTo>
                      <a:pt x="217" y="158"/>
                    </a:lnTo>
                    <a:lnTo>
                      <a:pt x="217" y="156"/>
                    </a:lnTo>
                    <a:lnTo>
                      <a:pt x="219" y="156"/>
                    </a:lnTo>
                    <a:lnTo>
                      <a:pt x="217" y="156"/>
                    </a:lnTo>
                    <a:lnTo>
                      <a:pt x="219" y="156"/>
                    </a:lnTo>
                    <a:lnTo>
                      <a:pt x="217" y="156"/>
                    </a:lnTo>
                    <a:lnTo>
                      <a:pt x="217" y="154"/>
                    </a:lnTo>
                    <a:lnTo>
                      <a:pt x="219" y="154"/>
                    </a:lnTo>
                    <a:lnTo>
                      <a:pt x="219" y="152"/>
                    </a:lnTo>
                    <a:lnTo>
                      <a:pt x="219" y="154"/>
                    </a:lnTo>
                    <a:lnTo>
                      <a:pt x="221" y="154"/>
                    </a:lnTo>
                    <a:lnTo>
                      <a:pt x="219" y="154"/>
                    </a:lnTo>
                    <a:lnTo>
                      <a:pt x="221" y="156"/>
                    </a:lnTo>
                    <a:lnTo>
                      <a:pt x="221" y="154"/>
                    </a:lnTo>
                    <a:lnTo>
                      <a:pt x="221" y="156"/>
                    </a:lnTo>
                    <a:lnTo>
                      <a:pt x="221" y="154"/>
                    </a:lnTo>
                    <a:lnTo>
                      <a:pt x="219" y="154"/>
                    </a:lnTo>
                    <a:lnTo>
                      <a:pt x="219" y="152"/>
                    </a:lnTo>
                    <a:lnTo>
                      <a:pt x="219" y="154"/>
                    </a:lnTo>
                    <a:lnTo>
                      <a:pt x="219" y="152"/>
                    </a:lnTo>
                    <a:lnTo>
                      <a:pt x="221" y="152"/>
                    </a:lnTo>
                    <a:lnTo>
                      <a:pt x="219" y="152"/>
                    </a:lnTo>
                    <a:lnTo>
                      <a:pt x="217" y="152"/>
                    </a:lnTo>
                    <a:lnTo>
                      <a:pt x="217" y="150"/>
                    </a:lnTo>
                    <a:lnTo>
                      <a:pt x="215" y="150"/>
                    </a:lnTo>
                    <a:lnTo>
                      <a:pt x="217" y="150"/>
                    </a:lnTo>
                    <a:lnTo>
                      <a:pt x="219" y="150"/>
                    </a:lnTo>
                    <a:lnTo>
                      <a:pt x="219" y="148"/>
                    </a:lnTo>
                    <a:lnTo>
                      <a:pt x="219" y="150"/>
                    </a:lnTo>
                    <a:lnTo>
                      <a:pt x="217" y="150"/>
                    </a:lnTo>
                    <a:lnTo>
                      <a:pt x="219" y="150"/>
                    </a:lnTo>
                    <a:lnTo>
                      <a:pt x="217" y="150"/>
                    </a:lnTo>
                    <a:lnTo>
                      <a:pt x="217" y="148"/>
                    </a:lnTo>
                    <a:lnTo>
                      <a:pt x="215" y="148"/>
                    </a:lnTo>
                    <a:lnTo>
                      <a:pt x="217" y="148"/>
                    </a:lnTo>
                    <a:lnTo>
                      <a:pt x="215" y="148"/>
                    </a:lnTo>
                    <a:lnTo>
                      <a:pt x="215" y="146"/>
                    </a:lnTo>
                    <a:lnTo>
                      <a:pt x="213" y="146"/>
                    </a:lnTo>
                    <a:lnTo>
                      <a:pt x="215" y="146"/>
                    </a:lnTo>
                    <a:lnTo>
                      <a:pt x="213" y="146"/>
                    </a:lnTo>
                    <a:lnTo>
                      <a:pt x="213" y="144"/>
                    </a:lnTo>
                    <a:lnTo>
                      <a:pt x="213" y="146"/>
                    </a:lnTo>
                    <a:lnTo>
                      <a:pt x="213" y="144"/>
                    </a:lnTo>
                    <a:lnTo>
                      <a:pt x="213" y="142"/>
                    </a:lnTo>
                    <a:lnTo>
                      <a:pt x="211" y="142"/>
                    </a:lnTo>
                    <a:lnTo>
                      <a:pt x="213" y="142"/>
                    </a:lnTo>
                    <a:lnTo>
                      <a:pt x="211" y="142"/>
                    </a:lnTo>
                    <a:lnTo>
                      <a:pt x="213" y="140"/>
                    </a:lnTo>
                    <a:lnTo>
                      <a:pt x="213" y="138"/>
                    </a:lnTo>
                    <a:lnTo>
                      <a:pt x="213" y="140"/>
                    </a:lnTo>
                    <a:lnTo>
                      <a:pt x="213" y="142"/>
                    </a:lnTo>
                    <a:lnTo>
                      <a:pt x="213" y="140"/>
                    </a:lnTo>
                    <a:lnTo>
                      <a:pt x="213" y="142"/>
                    </a:lnTo>
                    <a:lnTo>
                      <a:pt x="215" y="142"/>
                    </a:lnTo>
                    <a:lnTo>
                      <a:pt x="215" y="140"/>
                    </a:lnTo>
                    <a:lnTo>
                      <a:pt x="215" y="142"/>
                    </a:lnTo>
                    <a:lnTo>
                      <a:pt x="215" y="140"/>
                    </a:lnTo>
                    <a:lnTo>
                      <a:pt x="215" y="142"/>
                    </a:lnTo>
                    <a:lnTo>
                      <a:pt x="213" y="142"/>
                    </a:lnTo>
                    <a:lnTo>
                      <a:pt x="213" y="140"/>
                    </a:lnTo>
                    <a:lnTo>
                      <a:pt x="213" y="142"/>
                    </a:lnTo>
                    <a:lnTo>
                      <a:pt x="213" y="140"/>
                    </a:lnTo>
                    <a:lnTo>
                      <a:pt x="215" y="140"/>
                    </a:lnTo>
                    <a:lnTo>
                      <a:pt x="213" y="140"/>
                    </a:lnTo>
                    <a:lnTo>
                      <a:pt x="215" y="140"/>
                    </a:lnTo>
                    <a:lnTo>
                      <a:pt x="215" y="138"/>
                    </a:lnTo>
                    <a:lnTo>
                      <a:pt x="215" y="136"/>
                    </a:lnTo>
                    <a:lnTo>
                      <a:pt x="217" y="136"/>
                    </a:lnTo>
                    <a:lnTo>
                      <a:pt x="215" y="136"/>
                    </a:lnTo>
                    <a:lnTo>
                      <a:pt x="217" y="136"/>
                    </a:lnTo>
                    <a:lnTo>
                      <a:pt x="215" y="136"/>
                    </a:lnTo>
                    <a:lnTo>
                      <a:pt x="217" y="136"/>
                    </a:lnTo>
                    <a:lnTo>
                      <a:pt x="217" y="135"/>
                    </a:lnTo>
                    <a:lnTo>
                      <a:pt x="217" y="136"/>
                    </a:lnTo>
                    <a:lnTo>
                      <a:pt x="217" y="135"/>
                    </a:lnTo>
                    <a:lnTo>
                      <a:pt x="217" y="133"/>
                    </a:lnTo>
                    <a:lnTo>
                      <a:pt x="219" y="133"/>
                    </a:lnTo>
                    <a:lnTo>
                      <a:pt x="219" y="135"/>
                    </a:lnTo>
                    <a:lnTo>
                      <a:pt x="219" y="136"/>
                    </a:lnTo>
                    <a:lnTo>
                      <a:pt x="219" y="135"/>
                    </a:lnTo>
                    <a:lnTo>
                      <a:pt x="219" y="133"/>
                    </a:lnTo>
                    <a:lnTo>
                      <a:pt x="219" y="131"/>
                    </a:lnTo>
                    <a:lnTo>
                      <a:pt x="219" y="133"/>
                    </a:lnTo>
                    <a:lnTo>
                      <a:pt x="221" y="133"/>
                    </a:lnTo>
                    <a:lnTo>
                      <a:pt x="219" y="133"/>
                    </a:lnTo>
                    <a:lnTo>
                      <a:pt x="221" y="133"/>
                    </a:lnTo>
                    <a:lnTo>
                      <a:pt x="221" y="135"/>
                    </a:lnTo>
                    <a:lnTo>
                      <a:pt x="223" y="135"/>
                    </a:lnTo>
                    <a:lnTo>
                      <a:pt x="221" y="135"/>
                    </a:lnTo>
                    <a:lnTo>
                      <a:pt x="221" y="136"/>
                    </a:lnTo>
                    <a:lnTo>
                      <a:pt x="221" y="135"/>
                    </a:lnTo>
                    <a:lnTo>
                      <a:pt x="221" y="136"/>
                    </a:lnTo>
                    <a:lnTo>
                      <a:pt x="223" y="136"/>
                    </a:lnTo>
                    <a:lnTo>
                      <a:pt x="221" y="136"/>
                    </a:lnTo>
                    <a:lnTo>
                      <a:pt x="223" y="135"/>
                    </a:lnTo>
                    <a:lnTo>
                      <a:pt x="224" y="135"/>
                    </a:lnTo>
                    <a:lnTo>
                      <a:pt x="224" y="133"/>
                    </a:lnTo>
                    <a:lnTo>
                      <a:pt x="224" y="135"/>
                    </a:lnTo>
                    <a:lnTo>
                      <a:pt x="224" y="133"/>
                    </a:lnTo>
                    <a:lnTo>
                      <a:pt x="224" y="135"/>
                    </a:lnTo>
                    <a:lnTo>
                      <a:pt x="226" y="135"/>
                    </a:lnTo>
                    <a:lnTo>
                      <a:pt x="224" y="135"/>
                    </a:lnTo>
                    <a:lnTo>
                      <a:pt x="226" y="135"/>
                    </a:lnTo>
                    <a:lnTo>
                      <a:pt x="224" y="135"/>
                    </a:lnTo>
                    <a:lnTo>
                      <a:pt x="226" y="135"/>
                    </a:lnTo>
                    <a:lnTo>
                      <a:pt x="224" y="135"/>
                    </a:lnTo>
                    <a:lnTo>
                      <a:pt x="226" y="135"/>
                    </a:lnTo>
                    <a:lnTo>
                      <a:pt x="224" y="135"/>
                    </a:lnTo>
                    <a:lnTo>
                      <a:pt x="224" y="133"/>
                    </a:lnTo>
                    <a:lnTo>
                      <a:pt x="224" y="131"/>
                    </a:lnTo>
                    <a:lnTo>
                      <a:pt x="223" y="131"/>
                    </a:lnTo>
                    <a:lnTo>
                      <a:pt x="223" y="133"/>
                    </a:lnTo>
                    <a:lnTo>
                      <a:pt x="223" y="131"/>
                    </a:lnTo>
                    <a:lnTo>
                      <a:pt x="223" y="133"/>
                    </a:lnTo>
                    <a:lnTo>
                      <a:pt x="221" y="133"/>
                    </a:lnTo>
                    <a:lnTo>
                      <a:pt x="221" y="131"/>
                    </a:lnTo>
                    <a:lnTo>
                      <a:pt x="221" y="129"/>
                    </a:lnTo>
                    <a:lnTo>
                      <a:pt x="221" y="127"/>
                    </a:lnTo>
                    <a:lnTo>
                      <a:pt x="221" y="125"/>
                    </a:lnTo>
                    <a:lnTo>
                      <a:pt x="221" y="127"/>
                    </a:lnTo>
                    <a:lnTo>
                      <a:pt x="221" y="125"/>
                    </a:lnTo>
                    <a:lnTo>
                      <a:pt x="221" y="127"/>
                    </a:lnTo>
                    <a:lnTo>
                      <a:pt x="221" y="125"/>
                    </a:lnTo>
                    <a:lnTo>
                      <a:pt x="223" y="125"/>
                    </a:lnTo>
                    <a:lnTo>
                      <a:pt x="221" y="125"/>
                    </a:lnTo>
                    <a:lnTo>
                      <a:pt x="221" y="123"/>
                    </a:lnTo>
                    <a:lnTo>
                      <a:pt x="223" y="123"/>
                    </a:lnTo>
                    <a:lnTo>
                      <a:pt x="221" y="123"/>
                    </a:lnTo>
                    <a:lnTo>
                      <a:pt x="223" y="123"/>
                    </a:lnTo>
                    <a:lnTo>
                      <a:pt x="221" y="123"/>
                    </a:lnTo>
                    <a:lnTo>
                      <a:pt x="221" y="121"/>
                    </a:lnTo>
                    <a:lnTo>
                      <a:pt x="219" y="121"/>
                    </a:lnTo>
                    <a:lnTo>
                      <a:pt x="219" y="123"/>
                    </a:lnTo>
                    <a:lnTo>
                      <a:pt x="219" y="121"/>
                    </a:lnTo>
                    <a:lnTo>
                      <a:pt x="219" y="119"/>
                    </a:lnTo>
                    <a:lnTo>
                      <a:pt x="221" y="119"/>
                    </a:lnTo>
                    <a:lnTo>
                      <a:pt x="223" y="119"/>
                    </a:lnTo>
                    <a:lnTo>
                      <a:pt x="221" y="119"/>
                    </a:lnTo>
                    <a:lnTo>
                      <a:pt x="223" y="119"/>
                    </a:lnTo>
                    <a:lnTo>
                      <a:pt x="223" y="121"/>
                    </a:lnTo>
                    <a:lnTo>
                      <a:pt x="221" y="121"/>
                    </a:lnTo>
                    <a:lnTo>
                      <a:pt x="223" y="119"/>
                    </a:lnTo>
                    <a:lnTo>
                      <a:pt x="221" y="119"/>
                    </a:lnTo>
                    <a:lnTo>
                      <a:pt x="221" y="121"/>
                    </a:lnTo>
                    <a:lnTo>
                      <a:pt x="221" y="119"/>
                    </a:lnTo>
                    <a:lnTo>
                      <a:pt x="219" y="119"/>
                    </a:lnTo>
                    <a:lnTo>
                      <a:pt x="219" y="121"/>
                    </a:lnTo>
                    <a:lnTo>
                      <a:pt x="219" y="119"/>
                    </a:lnTo>
                    <a:lnTo>
                      <a:pt x="221" y="119"/>
                    </a:lnTo>
                    <a:lnTo>
                      <a:pt x="219" y="119"/>
                    </a:lnTo>
                    <a:lnTo>
                      <a:pt x="221" y="119"/>
                    </a:lnTo>
                    <a:lnTo>
                      <a:pt x="219" y="119"/>
                    </a:lnTo>
                    <a:lnTo>
                      <a:pt x="219" y="121"/>
                    </a:lnTo>
                    <a:lnTo>
                      <a:pt x="219" y="119"/>
                    </a:lnTo>
                    <a:lnTo>
                      <a:pt x="219" y="121"/>
                    </a:lnTo>
                    <a:lnTo>
                      <a:pt x="221" y="121"/>
                    </a:lnTo>
                    <a:lnTo>
                      <a:pt x="223" y="121"/>
                    </a:lnTo>
                    <a:lnTo>
                      <a:pt x="221" y="121"/>
                    </a:lnTo>
                    <a:lnTo>
                      <a:pt x="223" y="121"/>
                    </a:lnTo>
                    <a:lnTo>
                      <a:pt x="221" y="121"/>
                    </a:lnTo>
                    <a:lnTo>
                      <a:pt x="221" y="123"/>
                    </a:lnTo>
                    <a:lnTo>
                      <a:pt x="221" y="121"/>
                    </a:lnTo>
                    <a:lnTo>
                      <a:pt x="221" y="123"/>
                    </a:lnTo>
                    <a:lnTo>
                      <a:pt x="221" y="121"/>
                    </a:lnTo>
                    <a:lnTo>
                      <a:pt x="221" y="123"/>
                    </a:lnTo>
                    <a:lnTo>
                      <a:pt x="221" y="121"/>
                    </a:lnTo>
                    <a:lnTo>
                      <a:pt x="223" y="123"/>
                    </a:lnTo>
                    <a:lnTo>
                      <a:pt x="223" y="121"/>
                    </a:lnTo>
                    <a:lnTo>
                      <a:pt x="223" y="123"/>
                    </a:lnTo>
                    <a:lnTo>
                      <a:pt x="223" y="121"/>
                    </a:lnTo>
                    <a:lnTo>
                      <a:pt x="223" y="123"/>
                    </a:lnTo>
                    <a:lnTo>
                      <a:pt x="223" y="121"/>
                    </a:lnTo>
                    <a:lnTo>
                      <a:pt x="223" y="123"/>
                    </a:lnTo>
                    <a:lnTo>
                      <a:pt x="223" y="121"/>
                    </a:lnTo>
                    <a:lnTo>
                      <a:pt x="223" y="123"/>
                    </a:lnTo>
                    <a:lnTo>
                      <a:pt x="224" y="123"/>
                    </a:lnTo>
                    <a:lnTo>
                      <a:pt x="223" y="123"/>
                    </a:lnTo>
                    <a:lnTo>
                      <a:pt x="223" y="121"/>
                    </a:lnTo>
                    <a:lnTo>
                      <a:pt x="224" y="121"/>
                    </a:lnTo>
                    <a:lnTo>
                      <a:pt x="223" y="123"/>
                    </a:lnTo>
                    <a:lnTo>
                      <a:pt x="224" y="123"/>
                    </a:lnTo>
                    <a:lnTo>
                      <a:pt x="223" y="123"/>
                    </a:lnTo>
                    <a:lnTo>
                      <a:pt x="224" y="123"/>
                    </a:lnTo>
                    <a:lnTo>
                      <a:pt x="223" y="123"/>
                    </a:lnTo>
                    <a:lnTo>
                      <a:pt x="224" y="125"/>
                    </a:lnTo>
                    <a:lnTo>
                      <a:pt x="224" y="127"/>
                    </a:lnTo>
                    <a:lnTo>
                      <a:pt x="223" y="127"/>
                    </a:lnTo>
                    <a:lnTo>
                      <a:pt x="221" y="127"/>
                    </a:lnTo>
                    <a:lnTo>
                      <a:pt x="223" y="127"/>
                    </a:lnTo>
                    <a:lnTo>
                      <a:pt x="224" y="127"/>
                    </a:lnTo>
                    <a:lnTo>
                      <a:pt x="224" y="129"/>
                    </a:lnTo>
                    <a:lnTo>
                      <a:pt x="224" y="131"/>
                    </a:lnTo>
                    <a:lnTo>
                      <a:pt x="224" y="129"/>
                    </a:lnTo>
                    <a:lnTo>
                      <a:pt x="224" y="127"/>
                    </a:lnTo>
                    <a:lnTo>
                      <a:pt x="226" y="127"/>
                    </a:lnTo>
                    <a:lnTo>
                      <a:pt x="228" y="127"/>
                    </a:lnTo>
                    <a:lnTo>
                      <a:pt x="226" y="127"/>
                    </a:lnTo>
                    <a:lnTo>
                      <a:pt x="228" y="127"/>
                    </a:lnTo>
                    <a:lnTo>
                      <a:pt x="226" y="127"/>
                    </a:lnTo>
                    <a:lnTo>
                      <a:pt x="228" y="127"/>
                    </a:lnTo>
                    <a:lnTo>
                      <a:pt x="228" y="125"/>
                    </a:lnTo>
                    <a:lnTo>
                      <a:pt x="228" y="127"/>
                    </a:lnTo>
                    <a:lnTo>
                      <a:pt x="228" y="125"/>
                    </a:lnTo>
                    <a:lnTo>
                      <a:pt x="228" y="127"/>
                    </a:lnTo>
                    <a:lnTo>
                      <a:pt x="226" y="127"/>
                    </a:lnTo>
                    <a:lnTo>
                      <a:pt x="226" y="125"/>
                    </a:lnTo>
                    <a:lnTo>
                      <a:pt x="224" y="125"/>
                    </a:lnTo>
                    <a:lnTo>
                      <a:pt x="226" y="125"/>
                    </a:lnTo>
                    <a:lnTo>
                      <a:pt x="224" y="125"/>
                    </a:lnTo>
                    <a:lnTo>
                      <a:pt x="224" y="123"/>
                    </a:lnTo>
                    <a:lnTo>
                      <a:pt x="226" y="123"/>
                    </a:lnTo>
                    <a:lnTo>
                      <a:pt x="224" y="123"/>
                    </a:lnTo>
                    <a:lnTo>
                      <a:pt x="224" y="121"/>
                    </a:lnTo>
                    <a:lnTo>
                      <a:pt x="223" y="121"/>
                    </a:lnTo>
                    <a:lnTo>
                      <a:pt x="224" y="119"/>
                    </a:lnTo>
                    <a:lnTo>
                      <a:pt x="224" y="117"/>
                    </a:lnTo>
                    <a:lnTo>
                      <a:pt x="226" y="117"/>
                    </a:lnTo>
                    <a:lnTo>
                      <a:pt x="224" y="117"/>
                    </a:lnTo>
                    <a:lnTo>
                      <a:pt x="223" y="117"/>
                    </a:lnTo>
                    <a:lnTo>
                      <a:pt x="223" y="115"/>
                    </a:lnTo>
                    <a:lnTo>
                      <a:pt x="224" y="115"/>
                    </a:lnTo>
                    <a:lnTo>
                      <a:pt x="224" y="113"/>
                    </a:lnTo>
                    <a:lnTo>
                      <a:pt x="224" y="111"/>
                    </a:lnTo>
                    <a:lnTo>
                      <a:pt x="224" y="113"/>
                    </a:lnTo>
                    <a:lnTo>
                      <a:pt x="224" y="111"/>
                    </a:lnTo>
                    <a:lnTo>
                      <a:pt x="224" y="113"/>
                    </a:lnTo>
                    <a:lnTo>
                      <a:pt x="224" y="111"/>
                    </a:lnTo>
                    <a:lnTo>
                      <a:pt x="224" y="110"/>
                    </a:lnTo>
                    <a:lnTo>
                      <a:pt x="224" y="111"/>
                    </a:lnTo>
                    <a:lnTo>
                      <a:pt x="224" y="110"/>
                    </a:lnTo>
                    <a:lnTo>
                      <a:pt x="224" y="108"/>
                    </a:lnTo>
                    <a:lnTo>
                      <a:pt x="223" y="108"/>
                    </a:lnTo>
                    <a:lnTo>
                      <a:pt x="223" y="106"/>
                    </a:lnTo>
                    <a:lnTo>
                      <a:pt x="224" y="106"/>
                    </a:lnTo>
                    <a:lnTo>
                      <a:pt x="223" y="106"/>
                    </a:lnTo>
                    <a:lnTo>
                      <a:pt x="224" y="106"/>
                    </a:lnTo>
                    <a:lnTo>
                      <a:pt x="223" y="108"/>
                    </a:lnTo>
                    <a:lnTo>
                      <a:pt x="224" y="108"/>
                    </a:lnTo>
                    <a:lnTo>
                      <a:pt x="224" y="106"/>
                    </a:lnTo>
                    <a:lnTo>
                      <a:pt x="224" y="108"/>
                    </a:lnTo>
                    <a:lnTo>
                      <a:pt x="224" y="106"/>
                    </a:lnTo>
                    <a:lnTo>
                      <a:pt x="224" y="108"/>
                    </a:lnTo>
                    <a:lnTo>
                      <a:pt x="224" y="106"/>
                    </a:lnTo>
                    <a:lnTo>
                      <a:pt x="226" y="106"/>
                    </a:lnTo>
                    <a:lnTo>
                      <a:pt x="224" y="106"/>
                    </a:lnTo>
                    <a:lnTo>
                      <a:pt x="226" y="106"/>
                    </a:lnTo>
                    <a:lnTo>
                      <a:pt x="226" y="104"/>
                    </a:lnTo>
                    <a:lnTo>
                      <a:pt x="226" y="106"/>
                    </a:lnTo>
                    <a:lnTo>
                      <a:pt x="226" y="104"/>
                    </a:lnTo>
                    <a:lnTo>
                      <a:pt x="226" y="106"/>
                    </a:lnTo>
                    <a:lnTo>
                      <a:pt x="226" y="104"/>
                    </a:lnTo>
                    <a:lnTo>
                      <a:pt x="226" y="106"/>
                    </a:lnTo>
                    <a:lnTo>
                      <a:pt x="226" y="108"/>
                    </a:lnTo>
                    <a:lnTo>
                      <a:pt x="226" y="110"/>
                    </a:lnTo>
                    <a:lnTo>
                      <a:pt x="226" y="108"/>
                    </a:lnTo>
                    <a:lnTo>
                      <a:pt x="226" y="110"/>
                    </a:lnTo>
                    <a:lnTo>
                      <a:pt x="228" y="110"/>
                    </a:lnTo>
                    <a:lnTo>
                      <a:pt x="226" y="110"/>
                    </a:lnTo>
                    <a:lnTo>
                      <a:pt x="228" y="110"/>
                    </a:lnTo>
                    <a:lnTo>
                      <a:pt x="226" y="110"/>
                    </a:lnTo>
                    <a:lnTo>
                      <a:pt x="224" y="108"/>
                    </a:lnTo>
                    <a:lnTo>
                      <a:pt x="224" y="110"/>
                    </a:lnTo>
                    <a:lnTo>
                      <a:pt x="226" y="110"/>
                    </a:lnTo>
                    <a:lnTo>
                      <a:pt x="226" y="111"/>
                    </a:lnTo>
                    <a:lnTo>
                      <a:pt x="226" y="113"/>
                    </a:lnTo>
                    <a:lnTo>
                      <a:pt x="224" y="113"/>
                    </a:lnTo>
                    <a:lnTo>
                      <a:pt x="226" y="113"/>
                    </a:lnTo>
                    <a:lnTo>
                      <a:pt x="226" y="115"/>
                    </a:lnTo>
                    <a:lnTo>
                      <a:pt x="226" y="113"/>
                    </a:lnTo>
                    <a:lnTo>
                      <a:pt x="226" y="115"/>
                    </a:lnTo>
                    <a:lnTo>
                      <a:pt x="226" y="117"/>
                    </a:lnTo>
                    <a:lnTo>
                      <a:pt x="226" y="115"/>
                    </a:lnTo>
                    <a:lnTo>
                      <a:pt x="228" y="115"/>
                    </a:lnTo>
                    <a:lnTo>
                      <a:pt x="226" y="115"/>
                    </a:lnTo>
                    <a:lnTo>
                      <a:pt x="226" y="113"/>
                    </a:lnTo>
                    <a:lnTo>
                      <a:pt x="228" y="113"/>
                    </a:lnTo>
                    <a:lnTo>
                      <a:pt x="226" y="113"/>
                    </a:lnTo>
                    <a:lnTo>
                      <a:pt x="228" y="113"/>
                    </a:lnTo>
                    <a:lnTo>
                      <a:pt x="230" y="113"/>
                    </a:lnTo>
                    <a:lnTo>
                      <a:pt x="232" y="113"/>
                    </a:lnTo>
                    <a:lnTo>
                      <a:pt x="234" y="113"/>
                    </a:lnTo>
                    <a:lnTo>
                      <a:pt x="234" y="115"/>
                    </a:lnTo>
                    <a:lnTo>
                      <a:pt x="234" y="117"/>
                    </a:lnTo>
                    <a:lnTo>
                      <a:pt x="236" y="117"/>
                    </a:lnTo>
                    <a:lnTo>
                      <a:pt x="234" y="117"/>
                    </a:lnTo>
                    <a:lnTo>
                      <a:pt x="234" y="115"/>
                    </a:lnTo>
                    <a:lnTo>
                      <a:pt x="234" y="113"/>
                    </a:lnTo>
                    <a:lnTo>
                      <a:pt x="236" y="113"/>
                    </a:lnTo>
                    <a:lnTo>
                      <a:pt x="236" y="111"/>
                    </a:lnTo>
                    <a:lnTo>
                      <a:pt x="236" y="110"/>
                    </a:lnTo>
                    <a:lnTo>
                      <a:pt x="238" y="110"/>
                    </a:lnTo>
                    <a:lnTo>
                      <a:pt x="236" y="110"/>
                    </a:lnTo>
                    <a:lnTo>
                      <a:pt x="238" y="110"/>
                    </a:lnTo>
                    <a:lnTo>
                      <a:pt x="236" y="110"/>
                    </a:lnTo>
                    <a:lnTo>
                      <a:pt x="236" y="111"/>
                    </a:lnTo>
                    <a:lnTo>
                      <a:pt x="234" y="111"/>
                    </a:lnTo>
                    <a:lnTo>
                      <a:pt x="236" y="111"/>
                    </a:lnTo>
                    <a:lnTo>
                      <a:pt x="234" y="111"/>
                    </a:lnTo>
                    <a:lnTo>
                      <a:pt x="232" y="111"/>
                    </a:lnTo>
                    <a:lnTo>
                      <a:pt x="230" y="111"/>
                    </a:lnTo>
                    <a:lnTo>
                      <a:pt x="230" y="110"/>
                    </a:lnTo>
                    <a:lnTo>
                      <a:pt x="232" y="110"/>
                    </a:lnTo>
                    <a:lnTo>
                      <a:pt x="230" y="110"/>
                    </a:lnTo>
                    <a:lnTo>
                      <a:pt x="230" y="111"/>
                    </a:lnTo>
                    <a:lnTo>
                      <a:pt x="228" y="110"/>
                    </a:lnTo>
                    <a:lnTo>
                      <a:pt x="228" y="108"/>
                    </a:lnTo>
                    <a:lnTo>
                      <a:pt x="228" y="110"/>
                    </a:lnTo>
                    <a:lnTo>
                      <a:pt x="226" y="110"/>
                    </a:lnTo>
                    <a:lnTo>
                      <a:pt x="226" y="108"/>
                    </a:lnTo>
                    <a:lnTo>
                      <a:pt x="228" y="108"/>
                    </a:lnTo>
                    <a:lnTo>
                      <a:pt x="226" y="108"/>
                    </a:lnTo>
                    <a:lnTo>
                      <a:pt x="228" y="108"/>
                    </a:lnTo>
                    <a:lnTo>
                      <a:pt x="226" y="108"/>
                    </a:lnTo>
                    <a:lnTo>
                      <a:pt x="228" y="108"/>
                    </a:lnTo>
                    <a:lnTo>
                      <a:pt x="228" y="106"/>
                    </a:lnTo>
                    <a:lnTo>
                      <a:pt x="228" y="108"/>
                    </a:lnTo>
                    <a:lnTo>
                      <a:pt x="228" y="106"/>
                    </a:lnTo>
                    <a:lnTo>
                      <a:pt x="228" y="108"/>
                    </a:lnTo>
                    <a:lnTo>
                      <a:pt x="228" y="106"/>
                    </a:lnTo>
                    <a:lnTo>
                      <a:pt x="230" y="106"/>
                    </a:lnTo>
                    <a:lnTo>
                      <a:pt x="230" y="104"/>
                    </a:lnTo>
                    <a:lnTo>
                      <a:pt x="228" y="104"/>
                    </a:lnTo>
                    <a:lnTo>
                      <a:pt x="230" y="106"/>
                    </a:lnTo>
                    <a:lnTo>
                      <a:pt x="228" y="106"/>
                    </a:lnTo>
                    <a:lnTo>
                      <a:pt x="228" y="104"/>
                    </a:lnTo>
                    <a:lnTo>
                      <a:pt x="228" y="102"/>
                    </a:lnTo>
                    <a:lnTo>
                      <a:pt x="226" y="102"/>
                    </a:lnTo>
                    <a:lnTo>
                      <a:pt x="226" y="104"/>
                    </a:lnTo>
                    <a:lnTo>
                      <a:pt x="226" y="102"/>
                    </a:lnTo>
                    <a:lnTo>
                      <a:pt x="232" y="104"/>
                    </a:lnTo>
                    <a:lnTo>
                      <a:pt x="236" y="108"/>
                    </a:lnTo>
                    <a:lnTo>
                      <a:pt x="238" y="110"/>
                    </a:lnTo>
                    <a:lnTo>
                      <a:pt x="240" y="110"/>
                    </a:lnTo>
                    <a:lnTo>
                      <a:pt x="244" y="110"/>
                    </a:lnTo>
                    <a:lnTo>
                      <a:pt x="246" y="110"/>
                    </a:lnTo>
                    <a:lnTo>
                      <a:pt x="247" y="111"/>
                    </a:lnTo>
                    <a:lnTo>
                      <a:pt x="247" y="113"/>
                    </a:lnTo>
                    <a:lnTo>
                      <a:pt x="249" y="113"/>
                    </a:lnTo>
                    <a:lnTo>
                      <a:pt x="249" y="115"/>
                    </a:lnTo>
                    <a:lnTo>
                      <a:pt x="249" y="117"/>
                    </a:lnTo>
                    <a:lnTo>
                      <a:pt x="249" y="119"/>
                    </a:lnTo>
                    <a:lnTo>
                      <a:pt x="247" y="119"/>
                    </a:lnTo>
                    <a:lnTo>
                      <a:pt x="246" y="121"/>
                    </a:lnTo>
                    <a:lnTo>
                      <a:pt x="246" y="123"/>
                    </a:lnTo>
                    <a:lnTo>
                      <a:pt x="244" y="123"/>
                    </a:lnTo>
                    <a:lnTo>
                      <a:pt x="244" y="125"/>
                    </a:lnTo>
                    <a:lnTo>
                      <a:pt x="244" y="127"/>
                    </a:lnTo>
                    <a:lnTo>
                      <a:pt x="242" y="129"/>
                    </a:lnTo>
                    <a:lnTo>
                      <a:pt x="242" y="131"/>
                    </a:lnTo>
                    <a:lnTo>
                      <a:pt x="242" y="133"/>
                    </a:lnTo>
                    <a:lnTo>
                      <a:pt x="244" y="133"/>
                    </a:lnTo>
                    <a:lnTo>
                      <a:pt x="246" y="135"/>
                    </a:lnTo>
                    <a:lnTo>
                      <a:pt x="247" y="135"/>
                    </a:lnTo>
                    <a:lnTo>
                      <a:pt x="247" y="136"/>
                    </a:lnTo>
                    <a:lnTo>
                      <a:pt x="249" y="136"/>
                    </a:lnTo>
                    <a:lnTo>
                      <a:pt x="249" y="138"/>
                    </a:lnTo>
                    <a:lnTo>
                      <a:pt x="251" y="140"/>
                    </a:lnTo>
                    <a:lnTo>
                      <a:pt x="251" y="142"/>
                    </a:lnTo>
                    <a:lnTo>
                      <a:pt x="249" y="142"/>
                    </a:lnTo>
                    <a:lnTo>
                      <a:pt x="251" y="142"/>
                    </a:lnTo>
                    <a:lnTo>
                      <a:pt x="253" y="142"/>
                    </a:lnTo>
                    <a:lnTo>
                      <a:pt x="255" y="142"/>
                    </a:lnTo>
                    <a:lnTo>
                      <a:pt x="255" y="144"/>
                    </a:lnTo>
                    <a:lnTo>
                      <a:pt x="257" y="144"/>
                    </a:lnTo>
                    <a:lnTo>
                      <a:pt x="259" y="144"/>
                    </a:lnTo>
                    <a:lnTo>
                      <a:pt x="259" y="146"/>
                    </a:lnTo>
                    <a:lnTo>
                      <a:pt x="261" y="146"/>
                    </a:lnTo>
                    <a:lnTo>
                      <a:pt x="263" y="146"/>
                    </a:lnTo>
                    <a:lnTo>
                      <a:pt x="263" y="148"/>
                    </a:lnTo>
                    <a:lnTo>
                      <a:pt x="263" y="150"/>
                    </a:lnTo>
                    <a:lnTo>
                      <a:pt x="265" y="150"/>
                    </a:lnTo>
                    <a:lnTo>
                      <a:pt x="265" y="148"/>
                    </a:lnTo>
                    <a:lnTo>
                      <a:pt x="267" y="148"/>
                    </a:lnTo>
                    <a:lnTo>
                      <a:pt x="269" y="146"/>
                    </a:lnTo>
                    <a:lnTo>
                      <a:pt x="271" y="146"/>
                    </a:lnTo>
                    <a:lnTo>
                      <a:pt x="274" y="144"/>
                    </a:lnTo>
                    <a:lnTo>
                      <a:pt x="276" y="144"/>
                    </a:lnTo>
                    <a:lnTo>
                      <a:pt x="276" y="142"/>
                    </a:lnTo>
                    <a:lnTo>
                      <a:pt x="284" y="138"/>
                    </a:lnTo>
                    <a:lnTo>
                      <a:pt x="286" y="138"/>
                    </a:lnTo>
                    <a:lnTo>
                      <a:pt x="288" y="138"/>
                    </a:lnTo>
                    <a:lnTo>
                      <a:pt x="290" y="140"/>
                    </a:lnTo>
                    <a:lnTo>
                      <a:pt x="292" y="142"/>
                    </a:lnTo>
                    <a:lnTo>
                      <a:pt x="294" y="144"/>
                    </a:lnTo>
                    <a:lnTo>
                      <a:pt x="294" y="146"/>
                    </a:lnTo>
                    <a:lnTo>
                      <a:pt x="296" y="146"/>
                    </a:lnTo>
                    <a:lnTo>
                      <a:pt x="297" y="146"/>
                    </a:lnTo>
                    <a:lnTo>
                      <a:pt x="297" y="144"/>
                    </a:lnTo>
                    <a:lnTo>
                      <a:pt x="297" y="142"/>
                    </a:lnTo>
                    <a:lnTo>
                      <a:pt x="299" y="142"/>
                    </a:lnTo>
                    <a:lnTo>
                      <a:pt x="301" y="140"/>
                    </a:lnTo>
                    <a:lnTo>
                      <a:pt x="301" y="138"/>
                    </a:lnTo>
                    <a:lnTo>
                      <a:pt x="299" y="138"/>
                    </a:lnTo>
                    <a:lnTo>
                      <a:pt x="299" y="136"/>
                    </a:lnTo>
                    <a:lnTo>
                      <a:pt x="299" y="133"/>
                    </a:lnTo>
                    <a:lnTo>
                      <a:pt x="301" y="133"/>
                    </a:lnTo>
                    <a:lnTo>
                      <a:pt x="305" y="133"/>
                    </a:lnTo>
                    <a:lnTo>
                      <a:pt x="307" y="133"/>
                    </a:lnTo>
                    <a:lnTo>
                      <a:pt x="309" y="133"/>
                    </a:lnTo>
                    <a:lnTo>
                      <a:pt x="311" y="133"/>
                    </a:lnTo>
                    <a:lnTo>
                      <a:pt x="311" y="135"/>
                    </a:lnTo>
                    <a:lnTo>
                      <a:pt x="311" y="138"/>
                    </a:lnTo>
                    <a:lnTo>
                      <a:pt x="317" y="140"/>
                    </a:lnTo>
                    <a:lnTo>
                      <a:pt x="319" y="140"/>
                    </a:lnTo>
                    <a:lnTo>
                      <a:pt x="320" y="140"/>
                    </a:lnTo>
                    <a:lnTo>
                      <a:pt x="320" y="142"/>
                    </a:lnTo>
                    <a:lnTo>
                      <a:pt x="322" y="142"/>
                    </a:lnTo>
                    <a:lnTo>
                      <a:pt x="322" y="144"/>
                    </a:lnTo>
                    <a:lnTo>
                      <a:pt x="322" y="146"/>
                    </a:lnTo>
                    <a:lnTo>
                      <a:pt x="324" y="146"/>
                    </a:lnTo>
                    <a:lnTo>
                      <a:pt x="328" y="148"/>
                    </a:lnTo>
                    <a:lnTo>
                      <a:pt x="330" y="148"/>
                    </a:lnTo>
                    <a:lnTo>
                      <a:pt x="332" y="146"/>
                    </a:lnTo>
                    <a:lnTo>
                      <a:pt x="334" y="148"/>
                    </a:lnTo>
                    <a:lnTo>
                      <a:pt x="336" y="150"/>
                    </a:lnTo>
                    <a:lnTo>
                      <a:pt x="338" y="154"/>
                    </a:lnTo>
                    <a:lnTo>
                      <a:pt x="338" y="156"/>
                    </a:lnTo>
                    <a:lnTo>
                      <a:pt x="342" y="156"/>
                    </a:lnTo>
                    <a:lnTo>
                      <a:pt x="344" y="158"/>
                    </a:lnTo>
                    <a:lnTo>
                      <a:pt x="345" y="160"/>
                    </a:lnTo>
                    <a:lnTo>
                      <a:pt x="344" y="165"/>
                    </a:lnTo>
                    <a:lnTo>
                      <a:pt x="342" y="167"/>
                    </a:lnTo>
                    <a:lnTo>
                      <a:pt x="340" y="167"/>
                    </a:lnTo>
                    <a:lnTo>
                      <a:pt x="336" y="169"/>
                    </a:lnTo>
                    <a:lnTo>
                      <a:pt x="336" y="171"/>
                    </a:lnTo>
                    <a:lnTo>
                      <a:pt x="336" y="173"/>
                    </a:lnTo>
                    <a:lnTo>
                      <a:pt x="338" y="173"/>
                    </a:lnTo>
                    <a:lnTo>
                      <a:pt x="338" y="175"/>
                    </a:lnTo>
                    <a:lnTo>
                      <a:pt x="340" y="175"/>
                    </a:lnTo>
                    <a:lnTo>
                      <a:pt x="338" y="179"/>
                    </a:lnTo>
                    <a:lnTo>
                      <a:pt x="340" y="183"/>
                    </a:lnTo>
                    <a:lnTo>
                      <a:pt x="340" y="185"/>
                    </a:lnTo>
                    <a:lnTo>
                      <a:pt x="340" y="186"/>
                    </a:lnTo>
                    <a:lnTo>
                      <a:pt x="342" y="192"/>
                    </a:lnTo>
                    <a:lnTo>
                      <a:pt x="347" y="194"/>
                    </a:lnTo>
                    <a:lnTo>
                      <a:pt x="349" y="194"/>
                    </a:lnTo>
                    <a:lnTo>
                      <a:pt x="351" y="194"/>
                    </a:lnTo>
                    <a:lnTo>
                      <a:pt x="353" y="196"/>
                    </a:lnTo>
                    <a:lnTo>
                      <a:pt x="355" y="196"/>
                    </a:lnTo>
                    <a:lnTo>
                      <a:pt x="355" y="198"/>
                    </a:lnTo>
                    <a:lnTo>
                      <a:pt x="355" y="200"/>
                    </a:lnTo>
                    <a:lnTo>
                      <a:pt x="357" y="202"/>
                    </a:lnTo>
                    <a:lnTo>
                      <a:pt x="357" y="204"/>
                    </a:lnTo>
                    <a:lnTo>
                      <a:pt x="355" y="211"/>
                    </a:lnTo>
                    <a:lnTo>
                      <a:pt x="351" y="229"/>
                    </a:lnTo>
                    <a:lnTo>
                      <a:pt x="361" y="227"/>
                    </a:lnTo>
                    <a:lnTo>
                      <a:pt x="363" y="227"/>
                    </a:lnTo>
                    <a:lnTo>
                      <a:pt x="365" y="229"/>
                    </a:lnTo>
                    <a:lnTo>
                      <a:pt x="369" y="225"/>
                    </a:lnTo>
                    <a:lnTo>
                      <a:pt x="372" y="227"/>
                    </a:lnTo>
                    <a:lnTo>
                      <a:pt x="374" y="227"/>
                    </a:lnTo>
                    <a:lnTo>
                      <a:pt x="376" y="227"/>
                    </a:lnTo>
                    <a:lnTo>
                      <a:pt x="378" y="229"/>
                    </a:lnTo>
                    <a:lnTo>
                      <a:pt x="380" y="229"/>
                    </a:lnTo>
                    <a:lnTo>
                      <a:pt x="382" y="229"/>
                    </a:lnTo>
                    <a:lnTo>
                      <a:pt x="384" y="229"/>
                    </a:lnTo>
                    <a:lnTo>
                      <a:pt x="388" y="227"/>
                    </a:lnTo>
                    <a:lnTo>
                      <a:pt x="390" y="223"/>
                    </a:lnTo>
                    <a:lnTo>
                      <a:pt x="395" y="223"/>
                    </a:lnTo>
                    <a:lnTo>
                      <a:pt x="395" y="225"/>
                    </a:lnTo>
                    <a:lnTo>
                      <a:pt x="395" y="227"/>
                    </a:lnTo>
                    <a:lnTo>
                      <a:pt x="399" y="231"/>
                    </a:lnTo>
                    <a:lnTo>
                      <a:pt x="399" y="236"/>
                    </a:lnTo>
                    <a:lnTo>
                      <a:pt x="403" y="240"/>
                    </a:lnTo>
                    <a:lnTo>
                      <a:pt x="405" y="242"/>
                    </a:lnTo>
                    <a:lnTo>
                      <a:pt x="411" y="242"/>
                    </a:lnTo>
                    <a:lnTo>
                      <a:pt x="417" y="244"/>
                    </a:lnTo>
                    <a:lnTo>
                      <a:pt x="420" y="246"/>
                    </a:lnTo>
                    <a:lnTo>
                      <a:pt x="422" y="246"/>
                    </a:lnTo>
                    <a:lnTo>
                      <a:pt x="426" y="250"/>
                    </a:lnTo>
                    <a:lnTo>
                      <a:pt x="426" y="252"/>
                    </a:lnTo>
                    <a:lnTo>
                      <a:pt x="428" y="254"/>
                    </a:lnTo>
                    <a:lnTo>
                      <a:pt x="430" y="256"/>
                    </a:lnTo>
                    <a:lnTo>
                      <a:pt x="434" y="258"/>
                    </a:lnTo>
                    <a:lnTo>
                      <a:pt x="440" y="260"/>
                    </a:lnTo>
                    <a:lnTo>
                      <a:pt x="442" y="260"/>
                    </a:lnTo>
                    <a:lnTo>
                      <a:pt x="443" y="258"/>
                    </a:lnTo>
                    <a:lnTo>
                      <a:pt x="445" y="258"/>
                    </a:lnTo>
                    <a:lnTo>
                      <a:pt x="447" y="258"/>
                    </a:lnTo>
                    <a:lnTo>
                      <a:pt x="449" y="258"/>
                    </a:lnTo>
                    <a:lnTo>
                      <a:pt x="451" y="258"/>
                    </a:lnTo>
                    <a:lnTo>
                      <a:pt x="453" y="258"/>
                    </a:lnTo>
                    <a:lnTo>
                      <a:pt x="455" y="258"/>
                    </a:lnTo>
                    <a:lnTo>
                      <a:pt x="457" y="258"/>
                    </a:lnTo>
                    <a:lnTo>
                      <a:pt x="459" y="260"/>
                    </a:lnTo>
                    <a:lnTo>
                      <a:pt x="461" y="260"/>
                    </a:lnTo>
                    <a:lnTo>
                      <a:pt x="463" y="258"/>
                    </a:lnTo>
                    <a:lnTo>
                      <a:pt x="465" y="258"/>
                    </a:lnTo>
                    <a:lnTo>
                      <a:pt x="468" y="260"/>
                    </a:lnTo>
                    <a:lnTo>
                      <a:pt x="468" y="261"/>
                    </a:lnTo>
                    <a:lnTo>
                      <a:pt x="470" y="263"/>
                    </a:lnTo>
                    <a:lnTo>
                      <a:pt x="472" y="263"/>
                    </a:lnTo>
                    <a:lnTo>
                      <a:pt x="474" y="265"/>
                    </a:lnTo>
                    <a:lnTo>
                      <a:pt x="476" y="267"/>
                    </a:lnTo>
                    <a:lnTo>
                      <a:pt x="478" y="269"/>
                    </a:lnTo>
                    <a:lnTo>
                      <a:pt x="478" y="271"/>
                    </a:lnTo>
                    <a:lnTo>
                      <a:pt x="480" y="271"/>
                    </a:lnTo>
                    <a:lnTo>
                      <a:pt x="488" y="267"/>
                    </a:lnTo>
                    <a:lnTo>
                      <a:pt x="488" y="269"/>
                    </a:lnTo>
                    <a:lnTo>
                      <a:pt x="491" y="271"/>
                    </a:lnTo>
                    <a:lnTo>
                      <a:pt x="493" y="273"/>
                    </a:lnTo>
                    <a:lnTo>
                      <a:pt x="497" y="275"/>
                    </a:lnTo>
                    <a:lnTo>
                      <a:pt x="497" y="279"/>
                    </a:lnTo>
                    <a:lnTo>
                      <a:pt x="497" y="285"/>
                    </a:lnTo>
                    <a:lnTo>
                      <a:pt x="499" y="285"/>
                    </a:lnTo>
                    <a:lnTo>
                      <a:pt x="499" y="286"/>
                    </a:lnTo>
                    <a:lnTo>
                      <a:pt x="499" y="288"/>
                    </a:lnTo>
                    <a:lnTo>
                      <a:pt x="501" y="290"/>
                    </a:lnTo>
                    <a:lnTo>
                      <a:pt x="505" y="294"/>
                    </a:lnTo>
                    <a:lnTo>
                      <a:pt x="507" y="296"/>
                    </a:lnTo>
                    <a:lnTo>
                      <a:pt x="509" y="296"/>
                    </a:lnTo>
                    <a:lnTo>
                      <a:pt x="511" y="300"/>
                    </a:lnTo>
                    <a:lnTo>
                      <a:pt x="513" y="300"/>
                    </a:lnTo>
                    <a:lnTo>
                      <a:pt x="516" y="304"/>
                    </a:lnTo>
                    <a:lnTo>
                      <a:pt x="518" y="308"/>
                    </a:lnTo>
                    <a:lnTo>
                      <a:pt x="520" y="311"/>
                    </a:lnTo>
                    <a:lnTo>
                      <a:pt x="522" y="311"/>
                    </a:lnTo>
                    <a:lnTo>
                      <a:pt x="522" y="310"/>
                    </a:lnTo>
                    <a:lnTo>
                      <a:pt x="524" y="310"/>
                    </a:lnTo>
                    <a:lnTo>
                      <a:pt x="526" y="310"/>
                    </a:lnTo>
                    <a:lnTo>
                      <a:pt x="530" y="308"/>
                    </a:lnTo>
                    <a:lnTo>
                      <a:pt x="532" y="308"/>
                    </a:lnTo>
                    <a:lnTo>
                      <a:pt x="534" y="308"/>
                    </a:lnTo>
                    <a:lnTo>
                      <a:pt x="536" y="308"/>
                    </a:lnTo>
                    <a:lnTo>
                      <a:pt x="539" y="306"/>
                    </a:lnTo>
                    <a:lnTo>
                      <a:pt x="541" y="306"/>
                    </a:lnTo>
                    <a:lnTo>
                      <a:pt x="543" y="306"/>
                    </a:lnTo>
                    <a:lnTo>
                      <a:pt x="549" y="308"/>
                    </a:lnTo>
                    <a:lnTo>
                      <a:pt x="555" y="308"/>
                    </a:lnTo>
                    <a:lnTo>
                      <a:pt x="561" y="310"/>
                    </a:lnTo>
                    <a:lnTo>
                      <a:pt x="564" y="310"/>
                    </a:lnTo>
                    <a:lnTo>
                      <a:pt x="570" y="311"/>
                    </a:lnTo>
                    <a:lnTo>
                      <a:pt x="572" y="311"/>
                    </a:lnTo>
                    <a:lnTo>
                      <a:pt x="572" y="310"/>
                    </a:lnTo>
                    <a:lnTo>
                      <a:pt x="574" y="304"/>
                    </a:lnTo>
                    <a:lnTo>
                      <a:pt x="574" y="302"/>
                    </a:lnTo>
                    <a:lnTo>
                      <a:pt x="574" y="300"/>
                    </a:lnTo>
                    <a:lnTo>
                      <a:pt x="576" y="298"/>
                    </a:lnTo>
                    <a:lnTo>
                      <a:pt x="578" y="298"/>
                    </a:lnTo>
                    <a:lnTo>
                      <a:pt x="580" y="298"/>
                    </a:lnTo>
                    <a:lnTo>
                      <a:pt x="582" y="298"/>
                    </a:lnTo>
                    <a:lnTo>
                      <a:pt x="582" y="296"/>
                    </a:lnTo>
                    <a:lnTo>
                      <a:pt x="584" y="296"/>
                    </a:lnTo>
                    <a:lnTo>
                      <a:pt x="588" y="294"/>
                    </a:lnTo>
                    <a:lnTo>
                      <a:pt x="588" y="292"/>
                    </a:lnTo>
                    <a:lnTo>
                      <a:pt x="589" y="292"/>
                    </a:lnTo>
                    <a:lnTo>
                      <a:pt x="591" y="290"/>
                    </a:lnTo>
                    <a:lnTo>
                      <a:pt x="593" y="288"/>
                    </a:lnTo>
                    <a:lnTo>
                      <a:pt x="595" y="288"/>
                    </a:lnTo>
                    <a:lnTo>
                      <a:pt x="597" y="286"/>
                    </a:lnTo>
                    <a:lnTo>
                      <a:pt x="597" y="285"/>
                    </a:lnTo>
                    <a:lnTo>
                      <a:pt x="597" y="283"/>
                    </a:lnTo>
                    <a:lnTo>
                      <a:pt x="601" y="281"/>
                    </a:lnTo>
                    <a:lnTo>
                      <a:pt x="607" y="281"/>
                    </a:lnTo>
                    <a:lnTo>
                      <a:pt x="611" y="281"/>
                    </a:lnTo>
                    <a:lnTo>
                      <a:pt x="609" y="286"/>
                    </a:lnTo>
                    <a:lnTo>
                      <a:pt x="611" y="290"/>
                    </a:lnTo>
                    <a:lnTo>
                      <a:pt x="611" y="292"/>
                    </a:lnTo>
                    <a:lnTo>
                      <a:pt x="613" y="294"/>
                    </a:lnTo>
                    <a:lnTo>
                      <a:pt x="613" y="296"/>
                    </a:lnTo>
                    <a:lnTo>
                      <a:pt x="614" y="296"/>
                    </a:lnTo>
                    <a:lnTo>
                      <a:pt x="614" y="298"/>
                    </a:lnTo>
                    <a:lnTo>
                      <a:pt x="614" y="300"/>
                    </a:lnTo>
                    <a:lnTo>
                      <a:pt x="614" y="302"/>
                    </a:lnTo>
                    <a:lnTo>
                      <a:pt x="616" y="304"/>
                    </a:lnTo>
                    <a:lnTo>
                      <a:pt x="618" y="304"/>
                    </a:lnTo>
                    <a:lnTo>
                      <a:pt x="620" y="306"/>
                    </a:lnTo>
                    <a:lnTo>
                      <a:pt x="622" y="308"/>
                    </a:lnTo>
                    <a:lnTo>
                      <a:pt x="622" y="310"/>
                    </a:lnTo>
                    <a:lnTo>
                      <a:pt x="624" y="311"/>
                    </a:lnTo>
                    <a:lnTo>
                      <a:pt x="628" y="313"/>
                    </a:lnTo>
                    <a:lnTo>
                      <a:pt x="630" y="313"/>
                    </a:lnTo>
                    <a:lnTo>
                      <a:pt x="632" y="310"/>
                    </a:lnTo>
                    <a:lnTo>
                      <a:pt x="636" y="310"/>
                    </a:lnTo>
                    <a:lnTo>
                      <a:pt x="637" y="308"/>
                    </a:lnTo>
                    <a:lnTo>
                      <a:pt x="641" y="310"/>
                    </a:lnTo>
                    <a:lnTo>
                      <a:pt x="645" y="311"/>
                    </a:lnTo>
                    <a:lnTo>
                      <a:pt x="647" y="311"/>
                    </a:lnTo>
                    <a:lnTo>
                      <a:pt x="649" y="311"/>
                    </a:lnTo>
                    <a:lnTo>
                      <a:pt x="655" y="313"/>
                    </a:lnTo>
                    <a:lnTo>
                      <a:pt x="653" y="319"/>
                    </a:lnTo>
                    <a:lnTo>
                      <a:pt x="661" y="323"/>
                    </a:lnTo>
                    <a:lnTo>
                      <a:pt x="661" y="325"/>
                    </a:lnTo>
                    <a:lnTo>
                      <a:pt x="661" y="327"/>
                    </a:lnTo>
                    <a:lnTo>
                      <a:pt x="661" y="329"/>
                    </a:lnTo>
                    <a:lnTo>
                      <a:pt x="666" y="334"/>
                    </a:lnTo>
                    <a:lnTo>
                      <a:pt x="668" y="334"/>
                    </a:lnTo>
                    <a:lnTo>
                      <a:pt x="674" y="331"/>
                    </a:lnTo>
                    <a:lnTo>
                      <a:pt x="676" y="333"/>
                    </a:lnTo>
                    <a:lnTo>
                      <a:pt x="678" y="333"/>
                    </a:lnTo>
                    <a:lnTo>
                      <a:pt x="682" y="329"/>
                    </a:lnTo>
                    <a:lnTo>
                      <a:pt x="686" y="333"/>
                    </a:lnTo>
                    <a:lnTo>
                      <a:pt x="686" y="334"/>
                    </a:lnTo>
                    <a:lnTo>
                      <a:pt x="687" y="336"/>
                    </a:lnTo>
                    <a:lnTo>
                      <a:pt x="687" y="338"/>
                    </a:lnTo>
                    <a:lnTo>
                      <a:pt x="687" y="340"/>
                    </a:lnTo>
                    <a:lnTo>
                      <a:pt x="689" y="342"/>
                    </a:lnTo>
                    <a:lnTo>
                      <a:pt x="693" y="342"/>
                    </a:lnTo>
                    <a:lnTo>
                      <a:pt x="695" y="344"/>
                    </a:lnTo>
                    <a:lnTo>
                      <a:pt x="695" y="346"/>
                    </a:lnTo>
                    <a:lnTo>
                      <a:pt x="695" y="348"/>
                    </a:lnTo>
                    <a:lnTo>
                      <a:pt x="695" y="350"/>
                    </a:lnTo>
                    <a:lnTo>
                      <a:pt x="697" y="352"/>
                    </a:lnTo>
                    <a:lnTo>
                      <a:pt x="697" y="354"/>
                    </a:lnTo>
                    <a:lnTo>
                      <a:pt x="697" y="356"/>
                    </a:lnTo>
                    <a:lnTo>
                      <a:pt x="699" y="359"/>
                    </a:lnTo>
                    <a:lnTo>
                      <a:pt x="699" y="361"/>
                    </a:lnTo>
                    <a:lnTo>
                      <a:pt x="699" y="365"/>
                    </a:lnTo>
                    <a:lnTo>
                      <a:pt x="699" y="367"/>
                    </a:lnTo>
                    <a:lnTo>
                      <a:pt x="699" y="369"/>
                    </a:lnTo>
                    <a:lnTo>
                      <a:pt x="697" y="371"/>
                    </a:lnTo>
                    <a:lnTo>
                      <a:pt x="699" y="373"/>
                    </a:lnTo>
                    <a:lnTo>
                      <a:pt x="699" y="375"/>
                    </a:lnTo>
                    <a:lnTo>
                      <a:pt x="701" y="377"/>
                    </a:lnTo>
                    <a:lnTo>
                      <a:pt x="701" y="379"/>
                    </a:lnTo>
                    <a:lnTo>
                      <a:pt x="701" y="381"/>
                    </a:lnTo>
                    <a:lnTo>
                      <a:pt x="703" y="383"/>
                    </a:lnTo>
                    <a:lnTo>
                      <a:pt x="705" y="383"/>
                    </a:lnTo>
                    <a:lnTo>
                      <a:pt x="707" y="383"/>
                    </a:lnTo>
                    <a:lnTo>
                      <a:pt x="709" y="383"/>
                    </a:lnTo>
                    <a:lnTo>
                      <a:pt x="710" y="383"/>
                    </a:lnTo>
                    <a:lnTo>
                      <a:pt x="712" y="384"/>
                    </a:lnTo>
                    <a:lnTo>
                      <a:pt x="714" y="386"/>
                    </a:lnTo>
                    <a:lnTo>
                      <a:pt x="714" y="388"/>
                    </a:lnTo>
                    <a:lnTo>
                      <a:pt x="716" y="390"/>
                    </a:lnTo>
                    <a:lnTo>
                      <a:pt x="718" y="390"/>
                    </a:lnTo>
                    <a:lnTo>
                      <a:pt x="720" y="390"/>
                    </a:lnTo>
                    <a:lnTo>
                      <a:pt x="722" y="390"/>
                    </a:lnTo>
                    <a:lnTo>
                      <a:pt x="724" y="394"/>
                    </a:lnTo>
                    <a:lnTo>
                      <a:pt x="726" y="396"/>
                    </a:lnTo>
                    <a:lnTo>
                      <a:pt x="730" y="398"/>
                    </a:lnTo>
                    <a:lnTo>
                      <a:pt x="732" y="398"/>
                    </a:lnTo>
                    <a:lnTo>
                      <a:pt x="734" y="398"/>
                    </a:lnTo>
                    <a:lnTo>
                      <a:pt x="737" y="402"/>
                    </a:lnTo>
                    <a:lnTo>
                      <a:pt x="737" y="406"/>
                    </a:lnTo>
                    <a:lnTo>
                      <a:pt x="735" y="408"/>
                    </a:lnTo>
                    <a:lnTo>
                      <a:pt x="734" y="408"/>
                    </a:lnTo>
                    <a:lnTo>
                      <a:pt x="732" y="408"/>
                    </a:lnTo>
                    <a:lnTo>
                      <a:pt x="730" y="408"/>
                    </a:lnTo>
                    <a:lnTo>
                      <a:pt x="728" y="409"/>
                    </a:lnTo>
                    <a:lnTo>
                      <a:pt x="726" y="411"/>
                    </a:lnTo>
                    <a:lnTo>
                      <a:pt x="726" y="413"/>
                    </a:lnTo>
                    <a:lnTo>
                      <a:pt x="728" y="413"/>
                    </a:lnTo>
                    <a:lnTo>
                      <a:pt x="728" y="417"/>
                    </a:lnTo>
                    <a:lnTo>
                      <a:pt x="695" y="433"/>
                    </a:lnTo>
                    <a:lnTo>
                      <a:pt x="693" y="434"/>
                    </a:lnTo>
                    <a:lnTo>
                      <a:pt x="691" y="436"/>
                    </a:lnTo>
                    <a:lnTo>
                      <a:pt x="687" y="438"/>
                    </a:lnTo>
                    <a:lnTo>
                      <a:pt x="684" y="442"/>
                    </a:lnTo>
                    <a:lnTo>
                      <a:pt x="682" y="442"/>
                    </a:lnTo>
                    <a:lnTo>
                      <a:pt x="680" y="442"/>
                    </a:lnTo>
                    <a:lnTo>
                      <a:pt x="676" y="442"/>
                    </a:lnTo>
                    <a:lnTo>
                      <a:pt x="674" y="440"/>
                    </a:lnTo>
                    <a:lnTo>
                      <a:pt x="672" y="438"/>
                    </a:lnTo>
                    <a:lnTo>
                      <a:pt x="668" y="436"/>
                    </a:lnTo>
                    <a:lnTo>
                      <a:pt x="662" y="427"/>
                    </a:lnTo>
                    <a:lnTo>
                      <a:pt x="657" y="427"/>
                    </a:lnTo>
                    <a:lnTo>
                      <a:pt x="653" y="427"/>
                    </a:lnTo>
                    <a:lnTo>
                      <a:pt x="651" y="429"/>
                    </a:lnTo>
                    <a:lnTo>
                      <a:pt x="639" y="436"/>
                    </a:lnTo>
                    <a:lnTo>
                      <a:pt x="636" y="438"/>
                    </a:lnTo>
                    <a:lnTo>
                      <a:pt x="632" y="440"/>
                    </a:lnTo>
                    <a:lnTo>
                      <a:pt x="626" y="444"/>
                    </a:lnTo>
                    <a:lnTo>
                      <a:pt x="626" y="446"/>
                    </a:lnTo>
                    <a:lnTo>
                      <a:pt x="626" y="448"/>
                    </a:lnTo>
                    <a:lnTo>
                      <a:pt x="626" y="452"/>
                    </a:lnTo>
                    <a:lnTo>
                      <a:pt x="622" y="454"/>
                    </a:lnTo>
                    <a:lnTo>
                      <a:pt x="618" y="456"/>
                    </a:lnTo>
                    <a:lnTo>
                      <a:pt x="616" y="454"/>
                    </a:lnTo>
                    <a:lnTo>
                      <a:pt x="613" y="450"/>
                    </a:lnTo>
                    <a:lnTo>
                      <a:pt x="611" y="448"/>
                    </a:lnTo>
                    <a:lnTo>
                      <a:pt x="603" y="446"/>
                    </a:lnTo>
                    <a:lnTo>
                      <a:pt x="599" y="448"/>
                    </a:lnTo>
                    <a:lnTo>
                      <a:pt x="589" y="444"/>
                    </a:lnTo>
                    <a:lnTo>
                      <a:pt x="589" y="442"/>
                    </a:lnTo>
                    <a:lnTo>
                      <a:pt x="588" y="442"/>
                    </a:lnTo>
                    <a:lnTo>
                      <a:pt x="588" y="440"/>
                    </a:lnTo>
                    <a:lnTo>
                      <a:pt x="588" y="438"/>
                    </a:lnTo>
                    <a:lnTo>
                      <a:pt x="588" y="436"/>
                    </a:lnTo>
                    <a:lnTo>
                      <a:pt x="578" y="431"/>
                    </a:lnTo>
                    <a:lnTo>
                      <a:pt x="576" y="434"/>
                    </a:lnTo>
                    <a:lnTo>
                      <a:pt x="570" y="434"/>
                    </a:lnTo>
                    <a:lnTo>
                      <a:pt x="564" y="436"/>
                    </a:lnTo>
                    <a:lnTo>
                      <a:pt x="563" y="438"/>
                    </a:lnTo>
                    <a:lnTo>
                      <a:pt x="557" y="436"/>
                    </a:lnTo>
                    <a:lnTo>
                      <a:pt x="555" y="436"/>
                    </a:lnTo>
                    <a:lnTo>
                      <a:pt x="553" y="436"/>
                    </a:lnTo>
                    <a:lnTo>
                      <a:pt x="547" y="434"/>
                    </a:lnTo>
                    <a:lnTo>
                      <a:pt x="545" y="434"/>
                    </a:lnTo>
                    <a:lnTo>
                      <a:pt x="543" y="434"/>
                    </a:lnTo>
                    <a:lnTo>
                      <a:pt x="543" y="436"/>
                    </a:lnTo>
                    <a:lnTo>
                      <a:pt x="543" y="434"/>
                    </a:lnTo>
                    <a:lnTo>
                      <a:pt x="541" y="434"/>
                    </a:lnTo>
                    <a:lnTo>
                      <a:pt x="541" y="436"/>
                    </a:lnTo>
                    <a:lnTo>
                      <a:pt x="539" y="436"/>
                    </a:lnTo>
                    <a:lnTo>
                      <a:pt x="538" y="436"/>
                    </a:lnTo>
                    <a:lnTo>
                      <a:pt x="538" y="434"/>
                    </a:lnTo>
                    <a:lnTo>
                      <a:pt x="538" y="433"/>
                    </a:lnTo>
                    <a:lnTo>
                      <a:pt x="536" y="433"/>
                    </a:lnTo>
                    <a:lnTo>
                      <a:pt x="536" y="431"/>
                    </a:lnTo>
                    <a:lnTo>
                      <a:pt x="538" y="431"/>
                    </a:lnTo>
                    <a:lnTo>
                      <a:pt x="538" y="429"/>
                    </a:lnTo>
                    <a:lnTo>
                      <a:pt x="536" y="429"/>
                    </a:lnTo>
                    <a:lnTo>
                      <a:pt x="538" y="429"/>
                    </a:lnTo>
                    <a:lnTo>
                      <a:pt x="538" y="427"/>
                    </a:lnTo>
                    <a:lnTo>
                      <a:pt x="536" y="427"/>
                    </a:lnTo>
                    <a:lnTo>
                      <a:pt x="538" y="427"/>
                    </a:lnTo>
                    <a:lnTo>
                      <a:pt x="538" y="425"/>
                    </a:lnTo>
                    <a:lnTo>
                      <a:pt x="536" y="425"/>
                    </a:lnTo>
                    <a:lnTo>
                      <a:pt x="536" y="423"/>
                    </a:lnTo>
                    <a:lnTo>
                      <a:pt x="534" y="423"/>
                    </a:lnTo>
                    <a:lnTo>
                      <a:pt x="536" y="423"/>
                    </a:lnTo>
                    <a:lnTo>
                      <a:pt x="534" y="423"/>
                    </a:lnTo>
                    <a:lnTo>
                      <a:pt x="536" y="423"/>
                    </a:lnTo>
                    <a:lnTo>
                      <a:pt x="534" y="423"/>
                    </a:lnTo>
                    <a:lnTo>
                      <a:pt x="534" y="425"/>
                    </a:lnTo>
                    <a:lnTo>
                      <a:pt x="534" y="423"/>
                    </a:lnTo>
                    <a:lnTo>
                      <a:pt x="532" y="423"/>
                    </a:lnTo>
                    <a:lnTo>
                      <a:pt x="532" y="425"/>
                    </a:lnTo>
                    <a:lnTo>
                      <a:pt x="532" y="423"/>
                    </a:lnTo>
                    <a:lnTo>
                      <a:pt x="532" y="425"/>
                    </a:lnTo>
                    <a:lnTo>
                      <a:pt x="530" y="425"/>
                    </a:lnTo>
                    <a:lnTo>
                      <a:pt x="530" y="423"/>
                    </a:lnTo>
                    <a:lnTo>
                      <a:pt x="528" y="423"/>
                    </a:lnTo>
                    <a:lnTo>
                      <a:pt x="530" y="423"/>
                    </a:lnTo>
                    <a:lnTo>
                      <a:pt x="528" y="423"/>
                    </a:lnTo>
                    <a:lnTo>
                      <a:pt x="528" y="425"/>
                    </a:lnTo>
                    <a:lnTo>
                      <a:pt x="526" y="425"/>
                    </a:lnTo>
                    <a:lnTo>
                      <a:pt x="526" y="423"/>
                    </a:lnTo>
                    <a:lnTo>
                      <a:pt x="526" y="425"/>
                    </a:lnTo>
                    <a:lnTo>
                      <a:pt x="524" y="425"/>
                    </a:lnTo>
                    <a:lnTo>
                      <a:pt x="524" y="427"/>
                    </a:lnTo>
                    <a:lnTo>
                      <a:pt x="524" y="425"/>
                    </a:lnTo>
                    <a:lnTo>
                      <a:pt x="522" y="425"/>
                    </a:lnTo>
                    <a:lnTo>
                      <a:pt x="522" y="427"/>
                    </a:lnTo>
                    <a:lnTo>
                      <a:pt x="522" y="425"/>
                    </a:lnTo>
                    <a:lnTo>
                      <a:pt x="522" y="427"/>
                    </a:lnTo>
                    <a:lnTo>
                      <a:pt x="522" y="425"/>
                    </a:lnTo>
                    <a:lnTo>
                      <a:pt x="520" y="423"/>
                    </a:lnTo>
                    <a:lnTo>
                      <a:pt x="520" y="421"/>
                    </a:lnTo>
                    <a:lnTo>
                      <a:pt x="518" y="421"/>
                    </a:lnTo>
                    <a:lnTo>
                      <a:pt x="516" y="423"/>
                    </a:lnTo>
                    <a:lnTo>
                      <a:pt x="513" y="423"/>
                    </a:lnTo>
                    <a:lnTo>
                      <a:pt x="509" y="421"/>
                    </a:lnTo>
                    <a:lnTo>
                      <a:pt x="507" y="421"/>
                    </a:lnTo>
                    <a:lnTo>
                      <a:pt x="505" y="419"/>
                    </a:lnTo>
                    <a:lnTo>
                      <a:pt x="503" y="419"/>
                    </a:lnTo>
                    <a:lnTo>
                      <a:pt x="499" y="421"/>
                    </a:lnTo>
                    <a:lnTo>
                      <a:pt x="499" y="423"/>
                    </a:lnTo>
                    <a:lnTo>
                      <a:pt x="497" y="423"/>
                    </a:lnTo>
                    <a:lnTo>
                      <a:pt x="497" y="421"/>
                    </a:lnTo>
                    <a:lnTo>
                      <a:pt x="495" y="421"/>
                    </a:lnTo>
                    <a:lnTo>
                      <a:pt x="493" y="419"/>
                    </a:lnTo>
                    <a:lnTo>
                      <a:pt x="491" y="417"/>
                    </a:lnTo>
                    <a:lnTo>
                      <a:pt x="490" y="415"/>
                    </a:lnTo>
                    <a:lnTo>
                      <a:pt x="486" y="415"/>
                    </a:lnTo>
                    <a:lnTo>
                      <a:pt x="484" y="415"/>
                    </a:lnTo>
                    <a:lnTo>
                      <a:pt x="482" y="415"/>
                    </a:lnTo>
                    <a:lnTo>
                      <a:pt x="480" y="413"/>
                    </a:lnTo>
                    <a:lnTo>
                      <a:pt x="478" y="413"/>
                    </a:lnTo>
                    <a:lnTo>
                      <a:pt x="476" y="411"/>
                    </a:lnTo>
                    <a:lnTo>
                      <a:pt x="474" y="411"/>
                    </a:lnTo>
                    <a:lnTo>
                      <a:pt x="472" y="411"/>
                    </a:lnTo>
                    <a:lnTo>
                      <a:pt x="474" y="411"/>
                    </a:lnTo>
                    <a:lnTo>
                      <a:pt x="474" y="413"/>
                    </a:lnTo>
                    <a:lnTo>
                      <a:pt x="472" y="413"/>
                    </a:lnTo>
                    <a:lnTo>
                      <a:pt x="474" y="413"/>
                    </a:lnTo>
                    <a:lnTo>
                      <a:pt x="472" y="415"/>
                    </a:lnTo>
                    <a:lnTo>
                      <a:pt x="472" y="417"/>
                    </a:lnTo>
                    <a:lnTo>
                      <a:pt x="472" y="419"/>
                    </a:lnTo>
                    <a:lnTo>
                      <a:pt x="472" y="421"/>
                    </a:lnTo>
                    <a:lnTo>
                      <a:pt x="470" y="421"/>
                    </a:lnTo>
                    <a:lnTo>
                      <a:pt x="468" y="423"/>
                    </a:lnTo>
                    <a:lnTo>
                      <a:pt x="468" y="425"/>
                    </a:lnTo>
                    <a:lnTo>
                      <a:pt x="466" y="425"/>
                    </a:lnTo>
                    <a:lnTo>
                      <a:pt x="468" y="425"/>
                    </a:lnTo>
                    <a:lnTo>
                      <a:pt x="468" y="427"/>
                    </a:lnTo>
                    <a:lnTo>
                      <a:pt x="468" y="425"/>
                    </a:lnTo>
                    <a:lnTo>
                      <a:pt x="468" y="427"/>
                    </a:lnTo>
                    <a:lnTo>
                      <a:pt x="470" y="427"/>
                    </a:lnTo>
                    <a:lnTo>
                      <a:pt x="470" y="425"/>
                    </a:lnTo>
                    <a:lnTo>
                      <a:pt x="470" y="427"/>
                    </a:lnTo>
                    <a:lnTo>
                      <a:pt x="470" y="429"/>
                    </a:lnTo>
                    <a:lnTo>
                      <a:pt x="470" y="427"/>
                    </a:lnTo>
                    <a:lnTo>
                      <a:pt x="468" y="429"/>
                    </a:lnTo>
                    <a:lnTo>
                      <a:pt x="470" y="429"/>
                    </a:lnTo>
                    <a:lnTo>
                      <a:pt x="468" y="429"/>
                    </a:lnTo>
                    <a:lnTo>
                      <a:pt x="470" y="429"/>
                    </a:lnTo>
                    <a:lnTo>
                      <a:pt x="468" y="429"/>
                    </a:lnTo>
                    <a:lnTo>
                      <a:pt x="470" y="429"/>
                    </a:lnTo>
                    <a:lnTo>
                      <a:pt x="468" y="429"/>
                    </a:lnTo>
                    <a:lnTo>
                      <a:pt x="470" y="429"/>
                    </a:lnTo>
                    <a:lnTo>
                      <a:pt x="470" y="431"/>
                    </a:lnTo>
                    <a:lnTo>
                      <a:pt x="468" y="431"/>
                    </a:lnTo>
                    <a:lnTo>
                      <a:pt x="470" y="431"/>
                    </a:lnTo>
                    <a:lnTo>
                      <a:pt x="470" y="433"/>
                    </a:lnTo>
                    <a:lnTo>
                      <a:pt x="468" y="431"/>
                    </a:lnTo>
                    <a:lnTo>
                      <a:pt x="468" y="433"/>
                    </a:lnTo>
                    <a:lnTo>
                      <a:pt x="466" y="433"/>
                    </a:lnTo>
                    <a:lnTo>
                      <a:pt x="465" y="433"/>
                    </a:lnTo>
                    <a:lnTo>
                      <a:pt x="465" y="434"/>
                    </a:lnTo>
                    <a:lnTo>
                      <a:pt x="463" y="434"/>
                    </a:lnTo>
                    <a:lnTo>
                      <a:pt x="461" y="434"/>
                    </a:lnTo>
                    <a:lnTo>
                      <a:pt x="461" y="436"/>
                    </a:lnTo>
                    <a:lnTo>
                      <a:pt x="461" y="438"/>
                    </a:lnTo>
                    <a:lnTo>
                      <a:pt x="459" y="438"/>
                    </a:lnTo>
                    <a:lnTo>
                      <a:pt x="459" y="440"/>
                    </a:lnTo>
                    <a:lnTo>
                      <a:pt x="459" y="442"/>
                    </a:lnTo>
                    <a:lnTo>
                      <a:pt x="459" y="444"/>
                    </a:lnTo>
                    <a:lnTo>
                      <a:pt x="459" y="446"/>
                    </a:lnTo>
                    <a:lnTo>
                      <a:pt x="461" y="446"/>
                    </a:lnTo>
                    <a:lnTo>
                      <a:pt x="461" y="448"/>
                    </a:lnTo>
                    <a:lnTo>
                      <a:pt x="459" y="448"/>
                    </a:lnTo>
                    <a:lnTo>
                      <a:pt x="461" y="448"/>
                    </a:lnTo>
                    <a:lnTo>
                      <a:pt x="459" y="450"/>
                    </a:lnTo>
                    <a:lnTo>
                      <a:pt x="459" y="452"/>
                    </a:lnTo>
                    <a:lnTo>
                      <a:pt x="459" y="454"/>
                    </a:lnTo>
                    <a:lnTo>
                      <a:pt x="457" y="454"/>
                    </a:lnTo>
                    <a:lnTo>
                      <a:pt x="457" y="456"/>
                    </a:lnTo>
                    <a:lnTo>
                      <a:pt x="455" y="456"/>
                    </a:lnTo>
                    <a:lnTo>
                      <a:pt x="455" y="458"/>
                    </a:lnTo>
                    <a:lnTo>
                      <a:pt x="453" y="458"/>
                    </a:lnTo>
                    <a:lnTo>
                      <a:pt x="453" y="459"/>
                    </a:lnTo>
                    <a:lnTo>
                      <a:pt x="455" y="459"/>
                    </a:lnTo>
                    <a:lnTo>
                      <a:pt x="455" y="461"/>
                    </a:lnTo>
                    <a:lnTo>
                      <a:pt x="453" y="463"/>
                    </a:lnTo>
                    <a:lnTo>
                      <a:pt x="453" y="465"/>
                    </a:lnTo>
                    <a:lnTo>
                      <a:pt x="451" y="473"/>
                    </a:lnTo>
                    <a:lnTo>
                      <a:pt x="449" y="483"/>
                    </a:lnTo>
                    <a:lnTo>
                      <a:pt x="447" y="484"/>
                    </a:lnTo>
                    <a:lnTo>
                      <a:pt x="445" y="488"/>
                    </a:lnTo>
                    <a:lnTo>
                      <a:pt x="445" y="490"/>
                    </a:lnTo>
                    <a:lnTo>
                      <a:pt x="445" y="492"/>
                    </a:lnTo>
                    <a:lnTo>
                      <a:pt x="442" y="492"/>
                    </a:lnTo>
                    <a:lnTo>
                      <a:pt x="440" y="492"/>
                    </a:lnTo>
                    <a:lnTo>
                      <a:pt x="438" y="492"/>
                    </a:lnTo>
                    <a:lnTo>
                      <a:pt x="434" y="492"/>
                    </a:lnTo>
                    <a:lnTo>
                      <a:pt x="430" y="492"/>
                    </a:lnTo>
                    <a:lnTo>
                      <a:pt x="428" y="496"/>
                    </a:lnTo>
                    <a:lnTo>
                      <a:pt x="424" y="498"/>
                    </a:lnTo>
                    <a:lnTo>
                      <a:pt x="422" y="500"/>
                    </a:lnTo>
                    <a:lnTo>
                      <a:pt x="420" y="500"/>
                    </a:lnTo>
                    <a:lnTo>
                      <a:pt x="418" y="504"/>
                    </a:lnTo>
                    <a:lnTo>
                      <a:pt x="417" y="508"/>
                    </a:lnTo>
                    <a:lnTo>
                      <a:pt x="415" y="508"/>
                    </a:lnTo>
                    <a:lnTo>
                      <a:pt x="413" y="509"/>
                    </a:lnTo>
                    <a:lnTo>
                      <a:pt x="411" y="509"/>
                    </a:lnTo>
                    <a:lnTo>
                      <a:pt x="411" y="513"/>
                    </a:lnTo>
                    <a:lnTo>
                      <a:pt x="411" y="519"/>
                    </a:lnTo>
                    <a:lnTo>
                      <a:pt x="411" y="523"/>
                    </a:lnTo>
                    <a:lnTo>
                      <a:pt x="409" y="525"/>
                    </a:lnTo>
                    <a:lnTo>
                      <a:pt x="409" y="527"/>
                    </a:lnTo>
                    <a:lnTo>
                      <a:pt x="405" y="531"/>
                    </a:lnTo>
                    <a:lnTo>
                      <a:pt x="399" y="534"/>
                    </a:lnTo>
                    <a:lnTo>
                      <a:pt x="397" y="536"/>
                    </a:lnTo>
                    <a:lnTo>
                      <a:pt x="390" y="542"/>
                    </a:lnTo>
                    <a:lnTo>
                      <a:pt x="388" y="542"/>
                    </a:lnTo>
                    <a:lnTo>
                      <a:pt x="384" y="540"/>
                    </a:lnTo>
                    <a:lnTo>
                      <a:pt x="382" y="540"/>
                    </a:lnTo>
                    <a:lnTo>
                      <a:pt x="378" y="536"/>
                    </a:lnTo>
                    <a:lnTo>
                      <a:pt x="372" y="534"/>
                    </a:lnTo>
                    <a:lnTo>
                      <a:pt x="370" y="534"/>
                    </a:lnTo>
                    <a:lnTo>
                      <a:pt x="365" y="533"/>
                    </a:lnTo>
                    <a:lnTo>
                      <a:pt x="359" y="533"/>
                    </a:lnTo>
                    <a:lnTo>
                      <a:pt x="357" y="531"/>
                    </a:lnTo>
                    <a:lnTo>
                      <a:pt x="355" y="527"/>
                    </a:lnTo>
                    <a:lnTo>
                      <a:pt x="351" y="525"/>
                    </a:lnTo>
                    <a:lnTo>
                      <a:pt x="351" y="523"/>
                    </a:lnTo>
                    <a:lnTo>
                      <a:pt x="347" y="521"/>
                    </a:lnTo>
                    <a:lnTo>
                      <a:pt x="344" y="521"/>
                    </a:lnTo>
                    <a:lnTo>
                      <a:pt x="342" y="523"/>
                    </a:lnTo>
                    <a:lnTo>
                      <a:pt x="330" y="517"/>
                    </a:lnTo>
                    <a:lnTo>
                      <a:pt x="326" y="515"/>
                    </a:lnTo>
                    <a:lnTo>
                      <a:pt x="326" y="513"/>
                    </a:lnTo>
                    <a:lnTo>
                      <a:pt x="330" y="511"/>
                    </a:lnTo>
                    <a:lnTo>
                      <a:pt x="328" y="506"/>
                    </a:lnTo>
                    <a:lnTo>
                      <a:pt x="328" y="504"/>
                    </a:lnTo>
                    <a:lnTo>
                      <a:pt x="330" y="498"/>
                    </a:lnTo>
                    <a:lnTo>
                      <a:pt x="326" y="496"/>
                    </a:lnTo>
                    <a:lnTo>
                      <a:pt x="324" y="496"/>
                    </a:lnTo>
                    <a:lnTo>
                      <a:pt x="322" y="496"/>
                    </a:lnTo>
                    <a:lnTo>
                      <a:pt x="317" y="494"/>
                    </a:lnTo>
                    <a:lnTo>
                      <a:pt x="317" y="492"/>
                    </a:lnTo>
                    <a:lnTo>
                      <a:pt x="315" y="490"/>
                    </a:lnTo>
                    <a:lnTo>
                      <a:pt x="315" y="488"/>
                    </a:lnTo>
                    <a:lnTo>
                      <a:pt x="315" y="486"/>
                    </a:lnTo>
                    <a:lnTo>
                      <a:pt x="317" y="484"/>
                    </a:lnTo>
                    <a:lnTo>
                      <a:pt x="315" y="483"/>
                    </a:lnTo>
                    <a:lnTo>
                      <a:pt x="315" y="479"/>
                    </a:lnTo>
                    <a:lnTo>
                      <a:pt x="313" y="477"/>
                    </a:lnTo>
                    <a:lnTo>
                      <a:pt x="311" y="473"/>
                    </a:lnTo>
                    <a:lnTo>
                      <a:pt x="311" y="469"/>
                    </a:lnTo>
                    <a:lnTo>
                      <a:pt x="309" y="465"/>
                    </a:lnTo>
                    <a:lnTo>
                      <a:pt x="307" y="463"/>
                    </a:lnTo>
                    <a:lnTo>
                      <a:pt x="305" y="463"/>
                    </a:lnTo>
                    <a:lnTo>
                      <a:pt x="303" y="463"/>
                    </a:lnTo>
                    <a:lnTo>
                      <a:pt x="303" y="461"/>
                    </a:lnTo>
                    <a:lnTo>
                      <a:pt x="303" y="459"/>
                    </a:lnTo>
                    <a:lnTo>
                      <a:pt x="303" y="458"/>
                    </a:lnTo>
                    <a:lnTo>
                      <a:pt x="301" y="456"/>
                    </a:lnTo>
                    <a:lnTo>
                      <a:pt x="296" y="454"/>
                    </a:lnTo>
                    <a:lnTo>
                      <a:pt x="296" y="450"/>
                    </a:lnTo>
                    <a:lnTo>
                      <a:pt x="294" y="446"/>
                    </a:lnTo>
                    <a:lnTo>
                      <a:pt x="292" y="446"/>
                    </a:lnTo>
                    <a:lnTo>
                      <a:pt x="290" y="444"/>
                    </a:lnTo>
                    <a:lnTo>
                      <a:pt x="288" y="434"/>
                    </a:lnTo>
                    <a:lnTo>
                      <a:pt x="284" y="438"/>
                    </a:lnTo>
                    <a:lnTo>
                      <a:pt x="282" y="440"/>
                    </a:lnTo>
                    <a:lnTo>
                      <a:pt x="276" y="434"/>
                    </a:lnTo>
                    <a:lnTo>
                      <a:pt x="274" y="433"/>
                    </a:lnTo>
                    <a:lnTo>
                      <a:pt x="271" y="434"/>
                    </a:lnTo>
                    <a:lnTo>
                      <a:pt x="267" y="434"/>
                    </a:lnTo>
                    <a:lnTo>
                      <a:pt x="265" y="434"/>
                    </a:lnTo>
                    <a:lnTo>
                      <a:pt x="265" y="433"/>
                    </a:lnTo>
                    <a:lnTo>
                      <a:pt x="263" y="433"/>
                    </a:lnTo>
                    <a:lnTo>
                      <a:pt x="263" y="431"/>
                    </a:lnTo>
                    <a:lnTo>
                      <a:pt x="263" y="429"/>
                    </a:lnTo>
                    <a:lnTo>
                      <a:pt x="261" y="427"/>
                    </a:lnTo>
                    <a:lnTo>
                      <a:pt x="259" y="425"/>
                    </a:lnTo>
                    <a:lnTo>
                      <a:pt x="257" y="425"/>
                    </a:lnTo>
                    <a:lnTo>
                      <a:pt x="255" y="425"/>
                    </a:lnTo>
                    <a:lnTo>
                      <a:pt x="253" y="425"/>
                    </a:lnTo>
                    <a:lnTo>
                      <a:pt x="251" y="425"/>
                    </a:lnTo>
                    <a:lnTo>
                      <a:pt x="249" y="425"/>
                    </a:lnTo>
                    <a:lnTo>
                      <a:pt x="247" y="425"/>
                    </a:lnTo>
                    <a:lnTo>
                      <a:pt x="244" y="423"/>
                    </a:lnTo>
                    <a:lnTo>
                      <a:pt x="244" y="421"/>
                    </a:lnTo>
                    <a:lnTo>
                      <a:pt x="244" y="419"/>
                    </a:lnTo>
                    <a:lnTo>
                      <a:pt x="242" y="419"/>
                    </a:lnTo>
                    <a:lnTo>
                      <a:pt x="240" y="417"/>
                    </a:lnTo>
                    <a:lnTo>
                      <a:pt x="238" y="417"/>
                    </a:lnTo>
                    <a:lnTo>
                      <a:pt x="234" y="415"/>
                    </a:lnTo>
                    <a:lnTo>
                      <a:pt x="230" y="417"/>
                    </a:lnTo>
                    <a:lnTo>
                      <a:pt x="228" y="417"/>
                    </a:lnTo>
                    <a:lnTo>
                      <a:pt x="226" y="419"/>
                    </a:lnTo>
                    <a:lnTo>
                      <a:pt x="228" y="421"/>
                    </a:lnTo>
                    <a:lnTo>
                      <a:pt x="230" y="425"/>
                    </a:lnTo>
                    <a:lnTo>
                      <a:pt x="232" y="427"/>
                    </a:lnTo>
                    <a:lnTo>
                      <a:pt x="232" y="429"/>
                    </a:lnTo>
                    <a:lnTo>
                      <a:pt x="230" y="431"/>
                    </a:lnTo>
                    <a:lnTo>
                      <a:pt x="223" y="433"/>
                    </a:lnTo>
                    <a:lnTo>
                      <a:pt x="211" y="438"/>
                    </a:lnTo>
                    <a:lnTo>
                      <a:pt x="207" y="436"/>
                    </a:lnTo>
                    <a:lnTo>
                      <a:pt x="205" y="438"/>
                    </a:lnTo>
                    <a:lnTo>
                      <a:pt x="203" y="444"/>
                    </a:lnTo>
                    <a:lnTo>
                      <a:pt x="201" y="446"/>
                    </a:lnTo>
                    <a:lnTo>
                      <a:pt x="198" y="450"/>
                    </a:lnTo>
                    <a:lnTo>
                      <a:pt x="196" y="454"/>
                    </a:lnTo>
                    <a:lnTo>
                      <a:pt x="186" y="456"/>
                    </a:lnTo>
                    <a:lnTo>
                      <a:pt x="182" y="456"/>
                    </a:lnTo>
                    <a:lnTo>
                      <a:pt x="178" y="454"/>
                    </a:lnTo>
                    <a:lnTo>
                      <a:pt x="174" y="454"/>
                    </a:lnTo>
                    <a:lnTo>
                      <a:pt x="173" y="456"/>
                    </a:lnTo>
                    <a:lnTo>
                      <a:pt x="169" y="459"/>
                    </a:lnTo>
                    <a:lnTo>
                      <a:pt x="159" y="461"/>
                    </a:lnTo>
                    <a:lnTo>
                      <a:pt x="153" y="463"/>
                    </a:lnTo>
                    <a:lnTo>
                      <a:pt x="149" y="465"/>
                    </a:lnTo>
                    <a:lnTo>
                      <a:pt x="148" y="461"/>
                    </a:lnTo>
                    <a:lnTo>
                      <a:pt x="146" y="463"/>
                    </a:lnTo>
                    <a:lnTo>
                      <a:pt x="142" y="463"/>
                    </a:lnTo>
                    <a:lnTo>
                      <a:pt x="140" y="473"/>
                    </a:lnTo>
                    <a:lnTo>
                      <a:pt x="138" y="481"/>
                    </a:lnTo>
                    <a:lnTo>
                      <a:pt x="128" y="481"/>
                    </a:lnTo>
                    <a:lnTo>
                      <a:pt x="123" y="483"/>
                    </a:lnTo>
                    <a:lnTo>
                      <a:pt x="123" y="481"/>
                    </a:lnTo>
                    <a:lnTo>
                      <a:pt x="119" y="479"/>
                    </a:lnTo>
                    <a:lnTo>
                      <a:pt x="117" y="479"/>
                    </a:lnTo>
                    <a:lnTo>
                      <a:pt x="115" y="479"/>
                    </a:lnTo>
                    <a:lnTo>
                      <a:pt x="111" y="477"/>
                    </a:lnTo>
                    <a:lnTo>
                      <a:pt x="103" y="471"/>
                    </a:lnTo>
                    <a:lnTo>
                      <a:pt x="103" y="465"/>
                    </a:lnTo>
                    <a:lnTo>
                      <a:pt x="100" y="454"/>
                    </a:lnTo>
                    <a:lnTo>
                      <a:pt x="100" y="450"/>
                    </a:lnTo>
                    <a:lnTo>
                      <a:pt x="101" y="442"/>
                    </a:lnTo>
                    <a:lnTo>
                      <a:pt x="101" y="434"/>
                    </a:lnTo>
                    <a:lnTo>
                      <a:pt x="101" y="431"/>
                    </a:lnTo>
                    <a:lnTo>
                      <a:pt x="100" y="431"/>
                    </a:lnTo>
                    <a:lnTo>
                      <a:pt x="98" y="431"/>
                    </a:lnTo>
                    <a:lnTo>
                      <a:pt x="98" y="429"/>
                    </a:lnTo>
                    <a:lnTo>
                      <a:pt x="100" y="423"/>
                    </a:lnTo>
                    <a:lnTo>
                      <a:pt x="90" y="417"/>
                    </a:lnTo>
                    <a:lnTo>
                      <a:pt x="84" y="413"/>
                    </a:lnTo>
                    <a:lnTo>
                      <a:pt x="69" y="409"/>
                    </a:lnTo>
                    <a:lnTo>
                      <a:pt x="67" y="402"/>
                    </a:lnTo>
                    <a:lnTo>
                      <a:pt x="69" y="398"/>
                    </a:lnTo>
                    <a:lnTo>
                      <a:pt x="73" y="383"/>
                    </a:lnTo>
                    <a:lnTo>
                      <a:pt x="73" y="377"/>
                    </a:lnTo>
                    <a:lnTo>
                      <a:pt x="73" y="369"/>
                    </a:lnTo>
                    <a:lnTo>
                      <a:pt x="73" y="363"/>
                    </a:lnTo>
                    <a:lnTo>
                      <a:pt x="73" y="361"/>
                    </a:lnTo>
                    <a:lnTo>
                      <a:pt x="73" y="359"/>
                    </a:lnTo>
                    <a:lnTo>
                      <a:pt x="75" y="359"/>
                    </a:lnTo>
                    <a:lnTo>
                      <a:pt x="75" y="358"/>
                    </a:lnTo>
                    <a:lnTo>
                      <a:pt x="73" y="358"/>
                    </a:lnTo>
                    <a:lnTo>
                      <a:pt x="75" y="358"/>
                    </a:lnTo>
                    <a:lnTo>
                      <a:pt x="73" y="358"/>
                    </a:lnTo>
                    <a:lnTo>
                      <a:pt x="71" y="358"/>
                    </a:lnTo>
                    <a:lnTo>
                      <a:pt x="71" y="356"/>
                    </a:lnTo>
                    <a:lnTo>
                      <a:pt x="69" y="354"/>
                    </a:lnTo>
                    <a:lnTo>
                      <a:pt x="65" y="348"/>
                    </a:lnTo>
                    <a:lnTo>
                      <a:pt x="67" y="344"/>
                    </a:lnTo>
                    <a:lnTo>
                      <a:pt x="65" y="333"/>
                    </a:lnTo>
                    <a:lnTo>
                      <a:pt x="65" y="327"/>
                    </a:lnTo>
                    <a:lnTo>
                      <a:pt x="63" y="319"/>
                    </a:lnTo>
                    <a:lnTo>
                      <a:pt x="65" y="306"/>
                    </a:lnTo>
                    <a:lnTo>
                      <a:pt x="67" y="302"/>
                    </a:lnTo>
                    <a:lnTo>
                      <a:pt x="71" y="296"/>
                    </a:lnTo>
                    <a:lnTo>
                      <a:pt x="71" y="288"/>
                    </a:lnTo>
                    <a:lnTo>
                      <a:pt x="69" y="281"/>
                    </a:lnTo>
                    <a:lnTo>
                      <a:pt x="67" y="277"/>
                    </a:lnTo>
                    <a:lnTo>
                      <a:pt x="65" y="275"/>
                    </a:lnTo>
                    <a:lnTo>
                      <a:pt x="53" y="261"/>
                    </a:lnTo>
                    <a:lnTo>
                      <a:pt x="53" y="260"/>
                    </a:lnTo>
                    <a:lnTo>
                      <a:pt x="52" y="256"/>
                    </a:lnTo>
                    <a:lnTo>
                      <a:pt x="46" y="248"/>
                    </a:lnTo>
                    <a:lnTo>
                      <a:pt x="40" y="240"/>
                    </a:lnTo>
                    <a:lnTo>
                      <a:pt x="38" y="236"/>
                    </a:lnTo>
                    <a:lnTo>
                      <a:pt x="34" y="235"/>
                    </a:lnTo>
                    <a:lnTo>
                      <a:pt x="30" y="233"/>
                    </a:lnTo>
                    <a:lnTo>
                      <a:pt x="25" y="229"/>
                    </a:lnTo>
                    <a:lnTo>
                      <a:pt x="23" y="229"/>
                    </a:lnTo>
                    <a:lnTo>
                      <a:pt x="21" y="227"/>
                    </a:lnTo>
                    <a:lnTo>
                      <a:pt x="17" y="227"/>
                    </a:lnTo>
                    <a:lnTo>
                      <a:pt x="15" y="225"/>
                    </a:lnTo>
                    <a:lnTo>
                      <a:pt x="11" y="225"/>
                    </a:lnTo>
                    <a:lnTo>
                      <a:pt x="9" y="225"/>
                    </a:lnTo>
                    <a:lnTo>
                      <a:pt x="7" y="223"/>
                    </a:lnTo>
                    <a:lnTo>
                      <a:pt x="7" y="221"/>
                    </a:lnTo>
                    <a:lnTo>
                      <a:pt x="9" y="219"/>
                    </a:lnTo>
                    <a:lnTo>
                      <a:pt x="9" y="217"/>
                    </a:lnTo>
                    <a:lnTo>
                      <a:pt x="9" y="215"/>
                    </a:lnTo>
                    <a:lnTo>
                      <a:pt x="11" y="215"/>
                    </a:lnTo>
                    <a:lnTo>
                      <a:pt x="11" y="213"/>
                    </a:lnTo>
                    <a:lnTo>
                      <a:pt x="11" y="211"/>
                    </a:lnTo>
                    <a:lnTo>
                      <a:pt x="9" y="211"/>
                    </a:lnTo>
                    <a:lnTo>
                      <a:pt x="9" y="210"/>
                    </a:lnTo>
                    <a:lnTo>
                      <a:pt x="7" y="208"/>
                    </a:lnTo>
                    <a:lnTo>
                      <a:pt x="5" y="208"/>
                    </a:lnTo>
                    <a:lnTo>
                      <a:pt x="3" y="208"/>
                    </a:lnTo>
                    <a:lnTo>
                      <a:pt x="3" y="206"/>
                    </a:lnTo>
                    <a:lnTo>
                      <a:pt x="2" y="206"/>
                    </a:lnTo>
                    <a:lnTo>
                      <a:pt x="0" y="204"/>
                    </a:lnTo>
                    <a:lnTo>
                      <a:pt x="2" y="202"/>
                    </a:lnTo>
                    <a:lnTo>
                      <a:pt x="0" y="200"/>
                    </a:lnTo>
                    <a:lnTo>
                      <a:pt x="2" y="196"/>
                    </a:lnTo>
                    <a:lnTo>
                      <a:pt x="2" y="192"/>
                    </a:lnTo>
                    <a:lnTo>
                      <a:pt x="3" y="190"/>
                    </a:lnTo>
                    <a:lnTo>
                      <a:pt x="5" y="188"/>
                    </a:lnTo>
                    <a:lnTo>
                      <a:pt x="7" y="185"/>
                    </a:lnTo>
                    <a:lnTo>
                      <a:pt x="9" y="181"/>
                    </a:lnTo>
                    <a:lnTo>
                      <a:pt x="11" y="181"/>
                    </a:lnTo>
                    <a:lnTo>
                      <a:pt x="13" y="179"/>
                    </a:lnTo>
                    <a:lnTo>
                      <a:pt x="15" y="175"/>
                    </a:lnTo>
                    <a:lnTo>
                      <a:pt x="15" y="173"/>
                    </a:lnTo>
                    <a:lnTo>
                      <a:pt x="17" y="171"/>
                    </a:lnTo>
                    <a:lnTo>
                      <a:pt x="17" y="169"/>
                    </a:lnTo>
                    <a:lnTo>
                      <a:pt x="15" y="167"/>
                    </a:lnTo>
                    <a:lnTo>
                      <a:pt x="13" y="165"/>
                    </a:lnTo>
                    <a:lnTo>
                      <a:pt x="13" y="161"/>
                    </a:lnTo>
                    <a:lnTo>
                      <a:pt x="15" y="158"/>
                    </a:lnTo>
                    <a:lnTo>
                      <a:pt x="15" y="156"/>
                    </a:lnTo>
                    <a:lnTo>
                      <a:pt x="17" y="154"/>
                    </a:lnTo>
                    <a:lnTo>
                      <a:pt x="17" y="152"/>
                    </a:lnTo>
                    <a:lnTo>
                      <a:pt x="21" y="148"/>
                    </a:lnTo>
                    <a:lnTo>
                      <a:pt x="21" y="144"/>
                    </a:lnTo>
                    <a:lnTo>
                      <a:pt x="21" y="142"/>
                    </a:lnTo>
                    <a:lnTo>
                      <a:pt x="19" y="140"/>
                    </a:lnTo>
                    <a:lnTo>
                      <a:pt x="19" y="138"/>
                    </a:lnTo>
                    <a:lnTo>
                      <a:pt x="17" y="138"/>
                    </a:lnTo>
                    <a:lnTo>
                      <a:pt x="17" y="136"/>
                    </a:lnTo>
                    <a:lnTo>
                      <a:pt x="17" y="135"/>
                    </a:lnTo>
                    <a:lnTo>
                      <a:pt x="19" y="133"/>
                    </a:lnTo>
                    <a:lnTo>
                      <a:pt x="21" y="133"/>
                    </a:lnTo>
                    <a:lnTo>
                      <a:pt x="23" y="131"/>
                    </a:lnTo>
                    <a:lnTo>
                      <a:pt x="23" y="127"/>
                    </a:lnTo>
                    <a:lnTo>
                      <a:pt x="25" y="125"/>
                    </a:lnTo>
                    <a:lnTo>
                      <a:pt x="27" y="123"/>
                    </a:lnTo>
                    <a:lnTo>
                      <a:pt x="27" y="121"/>
                    </a:lnTo>
                    <a:lnTo>
                      <a:pt x="27" y="119"/>
                    </a:lnTo>
                    <a:lnTo>
                      <a:pt x="27" y="117"/>
                    </a:lnTo>
                    <a:lnTo>
                      <a:pt x="28" y="117"/>
                    </a:lnTo>
                    <a:lnTo>
                      <a:pt x="28" y="115"/>
                    </a:lnTo>
                    <a:lnTo>
                      <a:pt x="32" y="111"/>
                    </a:lnTo>
                    <a:lnTo>
                      <a:pt x="36" y="106"/>
                    </a:lnTo>
                    <a:lnTo>
                      <a:pt x="40" y="100"/>
                    </a:lnTo>
                    <a:lnTo>
                      <a:pt x="40" y="98"/>
                    </a:lnTo>
                    <a:lnTo>
                      <a:pt x="42" y="96"/>
                    </a:lnTo>
                    <a:lnTo>
                      <a:pt x="42" y="94"/>
                    </a:lnTo>
                    <a:lnTo>
                      <a:pt x="44" y="92"/>
                    </a:lnTo>
                    <a:lnTo>
                      <a:pt x="46" y="90"/>
                    </a:lnTo>
                    <a:lnTo>
                      <a:pt x="46" y="88"/>
                    </a:lnTo>
                    <a:lnTo>
                      <a:pt x="46" y="86"/>
                    </a:lnTo>
                    <a:lnTo>
                      <a:pt x="48" y="86"/>
                    </a:lnTo>
                    <a:lnTo>
                      <a:pt x="50" y="85"/>
                    </a:lnTo>
                    <a:lnTo>
                      <a:pt x="53" y="85"/>
                    </a:lnTo>
                    <a:lnTo>
                      <a:pt x="53" y="83"/>
                    </a:lnTo>
                    <a:lnTo>
                      <a:pt x="57" y="79"/>
                    </a:lnTo>
                    <a:lnTo>
                      <a:pt x="57" y="77"/>
                    </a:lnTo>
                    <a:lnTo>
                      <a:pt x="59" y="75"/>
                    </a:lnTo>
                    <a:lnTo>
                      <a:pt x="57" y="73"/>
                    </a:lnTo>
                    <a:lnTo>
                      <a:pt x="55" y="71"/>
                    </a:lnTo>
                    <a:lnTo>
                      <a:pt x="55" y="69"/>
                    </a:lnTo>
                    <a:lnTo>
                      <a:pt x="55" y="67"/>
                    </a:lnTo>
                    <a:lnTo>
                      <a:pt x="55" y="65"/>
                    </a:lnTo>
                    <a:lnTo>
                      <a:pt x="55" y="63"/>
                    </a:lnTo>
                    <a:lnTo>
                      <a:pt x="59" y="60"/>
                    </a:lnTo>
                    <a:lnTo>
                      <a:pt x="59" y="58"/>
                    </a:lnTo>
                    <a:lnTo>
                      <a:pt x="59" y="54"/>
                    </a:lnTo>
                    <a:lnTo>
                      <a:pt x="59" y="52"/>
                    </a:lnTo>
                    <a:lnTo>
                      <a:pt x="57" y="52"/>
                    </a:lnTo>
                    <a:lnTo>
                      <a:pt x="57" y="50"/>
                    </a:lnTo>
                    <a:lnTo>
                      <a:pt x="59" y="48"/>
                    </a:lnTo>
                    <a:lnTo>
                      <a:pt x="61" y="48"/>
                    </a:lnTo>
                    <a:lnTo>
                      <a:pt x="63" y="46"/>
                    </a:lnTo>
                    <a:lnTo>
                      <a:pt x="63" y="44"/>
                    </a:lnTo>
                    <a:lnTo>
                      <a:pt x="65" y="44"/>
                    </a:lnTo>
                    <a:lnTo>
                      <a:pt x="67" y="44"/>
                    </a:lnTo>
                    <a:lnTo>
                      <a:pt x="69" y="42"/>
                    </a:lnTo>
                    <a:lnTo>
                      <a:pt x="69" y="40"/>
                    </a:lnTo>
                    <a:lnTo>
                      <a:pt x="67" y="38"/>
                    </a:lnTo>
                    <a:lnTo>
                      <a:pt x="67" y="37"/>
                    </a:lnTo>
                    <a:lnTo>
                      <a:pt x="69" y="35"/>
                    </a:lnTo>
                    <a:lnTo>
                      <a:pt x="69" y="33"/>
                    </a:lnTo>
                    <a:lnTo>
                      <a:pt x="71" y="33"/>
                    </a:lnTo>
                    <a:lnTo>
                      <a:pt x="73" y="31"/>
                    </a:lnTo>
                    <a:lnTo>
                      <a:pt x="75" y="31"/>
                    </a:lnTo>
                    <a:lnTo>
                      <a:pt x="76" y="31"/>
                    </a:lnTo>
                    <a:lnTo>
                      <a:pt x="78" y="29"/>
                    </a:lnTo>
                    <a:lnTo>
                      <a:pt x="80" y="27"/>
                    </a:lnTo>
                    <a:lnTo>
                      <a:pt x="82" y="27"/>
                    </a:lnTo>
                    <a:lnTo>
                      <a:pt x="82" y="25"/>
                    </a:lnTo>
                    <a:lnTo>
                      <a:pt x="84" y="25"/>
                    </a:lnTo>
                    <a:lnTo>
                      <a:pt x="86" y="23"/>
                    </a:lnTo>
                    <a:lnTo>
                      <a:pt x="88" y="23"/>
                    </a:lnTo>
                    <a:lnTo>
                      <a:pt x="90" y="23"/>
                    </a:lnTo>
                    <a:lnTo>
                      <a:pt x="94" y="25"/>
                    </a:lnTo>
                    <a:lnTo>
                      <a:pt x="94" y="27"/>
                    </a:lnTo>
                    <a:lnTo>
                      <a:pt x="92" y="29"/>
                    </a:lnTo>
                    <a:lnTo>
                      <a:pt x="96" y="33"/>
                    </a:lnTo>
                    <a:lnTo>
                      <a:pt x="94" y="35"/>
                    </a:lnTo>
                    <a:lnTo>
                      <a:pt x="96" y="37"/>
                    </a:lnTo>
                    <a:lnTo>
                      <a:pt x="98" y="37"/>
                    </a:lnTo>
                    <a:lnTo>
                      <a:pt x="100" y="37"/>
                    </a:lnTo>
                    <a:lnTo>
                      <a:pt x="100" y="35"/>
                    </a:lnTo>
                    <a:lnTo>
                      <a:pt x="100" y="33"/>
                    </a:lnTo>
                    <a:lnTo>
                      <a:pt x="101" y="33"/>
                    </a:lnTo>
                    <a:lnTo>
                      <a:pt x="103" y="31"/>
                    </a:lnTo>
                    <a:lnTo>
                      <a:pt x="105" y="31"/>
                    </a:lnTo>
                    <a:lnTo>
                      <a:pt x="105" y="33"/>
                    </a:lnTo>
                    <a:lnTo>
                      <a:pt x="107" y="33"/>
                    </a:lnTo>
                    <a:lnTo>
                      <a:pt x="109" y="31"/>
                    </a:lnTo>
                    <a:lnTo>
                      <a:pt x="111" y="29"/>
                    </a:lnTo>
                    <a:lnTo>
                      <a:pt x="113" y="25"/>
                    </a:lnTo>
                    <a:lnTo>
                      <a:pt x="115" y="25"/>
                    </a:lnTo>
                    <a:lnTo>
                      <a:pt x="117" y="27"/>
                    </a:lnTo>
                    <a:lnTo>
                      <a:pt x="119" y="27"/>
                    </a:lnTo>
                    <a:lnTo>
                      <a:pt x="119" y="25"/>
                    </a:lnTo>
                    <a:lnTo>
                      <a:pt x="119" y="23"/>
                    </a:lnTo>
                    <a:lnTo>
                      <a:pt x="121" y="21"/>
                    </a:lnTo>
                    <a:lnTo>
                      <a:pt x="121" y="19"/>
                    </a:lnTo>
                    <a:lnTo>
                      <a:pt x="123" y="17"/>
                    </a:lnTo>
                    <a:lnTo>
                      <a:pt x="125" y="17"/>
                    </a:lnTo>
                    <a:lnTo>
                      <a:pt x="125" y="15"/>
                    </a:lnTo>
                    <a:lnTo>
                      <a:pt x="126" y="13"/>
                    </a:lnTo>
                    <a:lnTo>
                      <a:pt x="128" y="13"/>
                    </a:lnTo>
                    <a:lnTo>
                      <a:pt x="128" y="12"/>
                    </a:lnTo>
                    <a:lnTo>
                      <a:pt x="130" y="12"/>
                    </a:lnTo>
                    <a:lnTo>
                      <a:pt x="132" y="8"/>
                    </a:lnTo>
                    <a:lnTo>
                      <a:pt x="134" y="6"/>
                    </a:lnTo>
                    <a:lnTo>
                      <a:pt x="136" y="6"/>
                    </a:lnTo>
                    <a:lnTo>
                      <a:pt x="138" y="6"/>
                    </a:lnTo>
                    <a:lnTo>
                      <a:pt x="138" y="4"/>
                    </a:lnTo>
                    <a:lnTo>
                      <a:pt x="140" y="4"/>
                    </a:lnTo>
                    <a:lnTo>
                      <a:pt x="142" y="2"/>
                    </a:lnTo>
                    <a:lnTo>
                      <a:pt x="144" y="0"/>
                    </a:lnTo>
                    <a:lnTo>
                      <a:pt x="146" y="2"/>
                    </a:lnTo>
                    <a:lnTo>
                      <a:pt x="146" y="0"/>
                    </a:lnTo>
                    <a:lnTo>
                      <a:pt x="148" y="0"/>
                    </a:lnTo>
                    <a:lnTo>
                      <a:pt x="148" y="2"/>
                    </a:lnTo>
                    <a:lnTo>
                      <a:pt x="149" y="2"/>
                    </a:lnTo>
                    <a:lnTo>
                      <a:pt x="149" y="4"/>
                    </a:lnTo>
                    <a:lnTo>
                      <a:pt x="149" y="6"/>
                    </a:lnTo>
                    <a:lnTo>
                      <a:pt x="151" y="8"/>
                    </a:lnTo>
                    <a:lnTo>
                      <a:pt x="151" y="10"/>
                    </a:lnTo>
                    <a:lnTo>
                      <a:pt x="153" y="12"/>
                    </a:lnTo>
                    <a:lnTo>
                      <a:pt x="151" y="12"/>
                    </a:lnTo>
                    <a:lnTo>
                      <a:pt x="151" y="13"/>
                    </a:lnTo>
                    <a:lnTo>
                      <a:pt x="151" y="15"/>
                    </a:lnTo>
                    <a:lnTo>
                      <a:pt x="153" y="17"/>
                    </a:lnTo>
                    <a:lnTo>
                      <a:pt x="151" y="19"/>
                    </a:lnTo>
                    <a:lnTo>
                      <a:pt x="151" y="21"/>
                    </a:lnTo>
                    <a:lnTo>
                      <a:pt x="151" y="25"/>
                    </a:lnTo>
                    <a:lnTo>
                      <a:pt x="151" y="27"/>
                    </a:lnTo>
                    <a:lnTo>
                      <a:pt x="153" y="29"/>
                    </a:lnTo>
                    <a:lnTo>
                      <a:pt x="155" y="29"/>
                    </a:lnTo>
                    <a:lnTo>
                      <a:pt x="157" y="31"/>
                    </a:lnTo>
                    <a:lnTo>
                      <a:pt x="159" y="33"/>
                    </a:lnTo>
                    <a:lnTo>
                      <a:pt x="161" y="33"/>
                    </a:lnTo>
                    <a:lnTo>
                      <a:pt x="159" y="37"/>
                    </a:lnTo>
                    <a:lnTo>
                      <a:pt x="157" y="38"/>
                    </a:lnTo>
                    <a:lnTo>
                      <a:pt x="157" y="40"/>
                    </a:lnTo>
                    <a:lnTo>
                      <a:pt x="153" y="48"/>
                    </a:lnTo>
                    <a:lnTo>
                      <a:pt x="151" y="52"/>
                    </a:lnTo>
                    <a:lnTo>
                      <a:pt x="149" y="54"/>
                    </a:lnTo>
                    <a:lnTo>
                      <a:pt x="148" y="56"/>
                    </a:lnTo>
                    <a:lnTo>
                      <a:pt x="148" y="58"/>
                    </a:lnTo>
                    <a:lnTo>
                      <a:pt x="149" y="60"/>
                    </a:lnTo>
                    <a:lnTo>
                      <a:pt x="149" y="62"/>
                    </a:lnTo>
                    <a:lnTo>
                      <a:pt x="149" y="63"/>
                    </a:lnTo>
                    <a:lnTo>
                      <a:pt x="148" y="63"/>
                    </a:lnTo>
                    <a:lnTo>
                      <a:pt x="148" y="65"/>
                    </a:lnTo>
                    <a:lnTo>
                      <a:pt x="146" y="67"/>
                    </a:lnTo>
                    <a:lnTo>
                      <a:pt x="144" y="69"/>
                    </a:lnTo>
                    <a:lnTo>
                      <a:pt x="142" y="69"/>
                    </a:lnTo>
                    <a:lnTo>
                      <a:pt x="140" y="69"/>
                    </a:lnTo>
                    <a:lnTo>
                      <a:pt x="140" y="71"/>
                    </a:lnTo>
                    <a:lnTo>
                      <a:pt x="138" y="73"/>
                    </a:lnTo>
                    <a:lnTo>
                      <a:pt x="138" y="75"/>
                    </a:lnTo>
                    <a:lnTo>
                      <a:pt x="138" y="77"/>
                    </a:lnTo>
                    <a:lnTo>
                      <a:pt x="140" y="79"/>
                    </a:lnTo>
                    <a:lnTo>
                      <a:pt x="140" y="81"/>
                    </a:lnTo>
                    <a:lnTo>
                      <a:pt x="144" y="81"/>
                    </a:lnTo>
                    <a:lnTo>
                      <a:pt x="146" y="83"/>
                    </a:lnTo>
                    <a:lnTo>
                      <a:pt x="148" y="83"/>
                    </a:lnTo>
                    <a:lnTo>
                      <a:pt x="149" y="81"/>
                    </a:lnTo>
                    <a:lnTo>
                      <a:pt x="153" y="83"/>
                    </a:lnTo>
                    <a:lnTo>
                      <a:pt x="155" y="85"/>
                    </a:lnTo>
                    <a:lnTo>
                      <a:pt x="155" y="86"/>
                    </a:lnTo>
                    <a:lnTo>
                      <a:pt x="157" y="86"/>
                    </a:lnTo>
                    <a:lnTo>
                      <a:pt x="157" y="88"/>
                    </a:lnTo>
                    <a:lnTo>
                      <a:pt x="159" y="88"/>
                    </a:lnTo>
                    <a:lnTo>
                      <a:pt x="157" y="94"/>
                    </a:lnTo>
                    <a:lnTo>
                      <a:pt x="155" y="96"/>
                    </a:lnTo>
                    <a:lnTo>
                      <a:pt x="155" y="98"/>
                    </a:lnTo>
                    <a:lnTo>
                      <a:pt x="159" y="100"/>
                    </a:lnTo>
                    <a:lnTo>
                      <a:pt x="159" y="102"/>
                    </a:lnTo>
                    <a:lnTo>
                      <a:pt x="165" y="102"/>
                    </a:lnTo>
                    <a:lnTo>
                      <a:pt x="167" y="104"/>
                    </a:lnTo>
                    <a:lnTo>
                      <a:pt x="169" y="100"/>
                    </a:lnTo>
                    <a:lnTo>
                      <a:pt x="173" y="100"/>
                    </a:lnTo>
                    <a:lnTo>
                      <a:pt x="180" y="102"/>
                    </a:lnTo>
                    <a:lnTo>
                      <a:pt x="184" y="102"/>
                    </a:lnTo>
                    <a:lnTo>
                      <a:pt x="188" y="100"/>
                    </a:lnTo>
                    <a:lnTo>
                      <a:pt x="190" y="100"/>
                    </a:lnTo>
                    <a:lnTo>
                      <a:pt x="198" y="100"/>
                    </a:lnTo>
                    <a:lnTo>
                      <a:pt x="201" y="102"/>
                    </a:lnTo>
                    <a:lnTo>
                      <a:pt x="203" y="102"/>
                    </a:lnTo>
                    <a:lnTo>
                      <a:pt x="203" y="104"/>
                    </a:lnTo>
                    <a:lnTo>
                      <a:pt x="203" y="102"/>
                    </a:lnTo>
                    <a:lnTo>
                      <a:pt x="203" y="104"/>
                    </a:lnTo>
                    <a:lnTo>
                      <a:pt x="205" y="104"/>
                    </a:lnTo>
                    <a:lnTo>
                      <a:pt x="203" y="104"/>
                    </a:lnTo>
                    <a:close/>
                    <a:moveTo>
                      <a:pt x="173" y="131"/>
                    </a:moveTo>
                    <a:lnTo>
                      <a:pt x="173" y="129"/>
                    </a:lnTo>
                    <a:lnTo>
                      <a:pt x="173" y="131"/>
                    </a:lnTo>
                    <a:close/>
                    <a:moveTo>
                      <a:pt x="171" y="131"/>
                    </a:moveTo>
                    <a:lnTo>
                      <a:pt x="171" y="129"/>
                    </a:lnTo>
                    <a:lnTo>
                      <a:pt x="173" y="129"/>
                    </a:lnTo>
                    <a:lnTo>
                      <a:pt x="171" y="129"/>
                    </a:lnTo>
                    <a:lnTo>
                      <a:pt x="171" y="131"/>
                    </a:lnTo>
                    <a:lnTo>
                      <a:pt x="171" y="129"/>
                    </a:lnTo>
                    <a:lnTo>
                      <a:pt x="171" y="131"/>
                    </a:lnTo>
                    <a:lnTo>
                      <a:pt x="173" y="131"/>
                    </a:lnTo>
                    <a:lnTo>
                      <a:pt x="171" y="131"/>
                    </a:lnTo>
                    <a:close/>
                    <a:moveTo>
                      <a:pt x="171" y="131"/>
                    </a:moveTo>
                    <a:lnTo>
                      <a:pt x="171" y="129"/>
                    </a:lnTo>
                    <a:lnTo>
                      <a:pt x="171" y="131"/>
                    </a:lnTo>
                    <a:close/>
                    <a:moveTo>
                      <a:pt x="123" y="163"/>
                    </a:moveTo>
                    <a:lnTo>
                      <a:pt x="125" y="163"/>
                    </a:lnTo>
                    <a:lnTo>
                      <a:pt x="123" y="163"/>
                    </a:lnTo>
                    <a:lnTo>
                      <a:pt x="125" y="163"/>
                    </a:lnTo>
                    <a:lnTo>
                      <a:pt x="123" y="163"/>
                    </a:lnTo>
                    <a:close/>
                    <a:moveTo>
                      <a:pt x="213" y="300"/>
                    </a:moveTo>
                    <a:lnTo>
                      <a:pt x="215" y="300"/>
                    </a:lnTo>
                    <a:lnTo>
                      <a:pt x="213" y="300"/>
                    </a:lnTo>
                    <a:close/>
                    <a:moveTo>
                      <a:pt x="217" y="292"/>
                    </a:moveTo>
                    <a:lnTo>
                      <a:pt x="217" y="290"/>
                    </a:lnTo>
                    <a:lnTo>
                      <a:pt x="217" y="292"/>
                    </a:lnTo>
                    <a:close/>
                    <a:moveTo>
                      <a:pt x="178" y="190"/>
                    </a:moveTo>
                    <a:lnTo>
                      <a:pt x="180" y="190"/>
                    </a:lnTo>
                    <a:lnTo>
                      <a:pt x="178" y="190"/>
                    </a:lnTo>
                    <a:close/>
                    <a:moveTo>
                      <a:pt x="203" y="160"/>
                    </a:moveTo>
                    <a:lnTo>
                      <a:pt x="203" y="158"/>
                    </a:lnTo>
                    <a:lnTo>
                      <a:pt x="203" y="160"/>
                    </a:lnTo>
                    <a:close/>
                    <a:moveTo>
                      <a:pt x="205" y="158"/>
                    </a:moveTo>
                    <a:lnTo>
                      <a:pt x="205" y="156"/>
                    </a:lnTo>
                    <a:lnTo>
                      <a:pt x="205" y="158"/>
                    </a:lnTo>
                    <a:lnTo>
                      <a:pt x="205" y="156"/>
                    </a:lnTo>
                    <a:lnTo>
                      <a:pt x="205" y="158"/>
                    </a:lnTo>
                    <a:close/>
                    <a:moveTo>
                      <a:pt x="234" y="161"/>
                    </a:moveTo>
                    <a:lnTo>
                      <a:pt x="234" y="160"/>
                    </a:lnTo>
                    <a:lnTo>
                      <a:pt x="234" y="161"/>
                    </a:lnTo>
                    <a:lnTo>
                      <a:pt x="234" y="160"/>
                    </a:lnTo>
                    <a:lnTo>
                      <a:pt x="236" y="160"/>
                    </a:lnTo>
                    <a:lnTo>
                      <a:pt x="236" y="161"/>
                    </a:lnTo>
                    <a:lnTo>
                      <a:pt x="238" y="161"/>
                    </a:lnTo>
                    <a:lnTo>
                      <a:pt x="240" y="161"/>
                    </a:lnTo>
                    <a:lnTo>
                      <a:pt x="242" y="161"/>
                    </a:lnTo>
                    <a:lnTo>
                      <a:pt x="240" y="161"/>
                    </a:lnTo>
                    <a:lnTo>
                      <a:pt x="242" y="161"/>
                    </a:lnTo>
                    <a:lnTo>
                      <a:pt x="242" y="160"/>
                    </a:lnTo>
                    <a:lnTo>
                      <a:pt x="244" y="160"/>
                    </a:lnTo>
                    <a:lnTo>
                      <a:pt x="242" y="160"/>
                    </a:lnTo>
                    <a:lnTo>
                      <a:pt x="244" y="160"/>
                    </a:lnTo>
                    <a:lnTo>
                      <a:pt x="246" y="160"/>
                    </a:lnTo>
                    <a:lnTo>
                      <a:pt x="247" y="160"/>
                    </a:lnTo>
                    <a:lnTo>
                      <a:pt x="247" y="158"/>
                    </a:lnTo>
                    <a:lnTo>
                      <a:pt x="249" y="158"/>
                    </a:lnTo>
                    <a:lnTo>
                      <a:pt x="249" y="160"/>
                    </a:lnTo>
                    <a:lnTo>
                      <a:pt x="249" y="158"/>
                    </a:lnTo>
                    <a:lnTo>
                      <a:pt x="249" y="160"/>
                    </a:lnTo>
                    <a:lnTo>
                      <a:pt x="251" y="160"/>
                    </a:lnTo>
                    <a:lnTo>
                      <a:pt x="253" y="160"/>
                    </a:lnTo>
                    <a:lnTo>
                      <a:pt x="255" y="160"/>
                    </a:lnTo>
                    <a:lnTo>
                      <a:pt x="255" y="161"/>
                    </a:lnTo>
                    <a:lnTo>
                      <a:pt x="255" y="160"/>
                    </a:lnTo>
                    <a:lnTo>
                      <a:pt x="255" y="161"/>
                    </a:lnTo>
                    <a:lnTo>
                      <a:pt x="257" y="160"/>
                    </a:lnTo>
                    <a:lnTo>
                      <a:pt x="259" y="160"/>
                    </a:lnTo>
                    <a:lnTo>
                      <a:pt x="259" y="161"/>
                    </a:lnTo>
                    <a:lnTo>
                      <a:pt x="261" y="161"/>
                    </a:lnTo>
                    <a:lnTo>
                      <a:pt x="261" y="160"/>
                    </a:lnTo>
                    <a:lnTo>
                      <a:pt x="261" y="161"/>
                    </a:lnTo>
                    <a:lnTo>
                      <a:pt x="263" y="161"/>
                    </a:lnTo>
                    <a:lnTo>
                      <a:pt x="261" y="161"/>
                    </a:lnTo>
                    <a:lnTo>
                      <a:pt x="261" y="160"/>
                    </a:lnTo>
                    <a:lnTo>
                      <a:pt x="261" y="161"/>
                    </a:lnTo>
                    <a:lnTo>
                      <a:pt x="259" y="161"/>
                    </a:lnTo>
                    <a:lnTo>
                      <a:pt x="259" y="160"/>
                    </a:lnTo>
                    <a:lnTo>
                      <a:pt x="257" y="160"/>
                    </a:lnTo>
                    <a:lnTo>
                      <a:pt x="255" y="160"/>
                    </a:lnTo>
                    <a:lnTo>
                      <a:pt x="253" y="160"/>
                    </a:lnTo>
                    <a:lnTo>
                      <a:pt x="251" y="160"/>
                    </a:lnTo>
                    <a:lnTo>
                      <a:pt x="249" y="160"/>
                    </a:lnTo>
                    <a:lnTo>
                      <a:pt x="249" y="158"/>
                    </a:lnTo>
                    <a:lnTo>
                      <a:pt x="249" y="160"/>
                    </a:lnTo>
                    <a:lnTo>
                      <a:pt x="249" y="158"/>
                    </a:lnTo>
                    <a:lnTo>
                      <a:pt x="247" y="158"/>
                    </a:lnTo>
                    <a:lnTo>
                      <a:pt x="247" y="160"/>
                    </a:lnTo>
                    <a:lnTo>
                      <a:pt x="246" y="160"/>
                    </a:lnTo>
                    <a:lnTo>
                      <a:pt x="246" y="158"/>
                    </a:lnTo>
                    <a:lnTo>
                      <a:pt x="246" y="160"/>
                    </a:lnTo>
                    <a:lnTo>
                      <a:pt x="244" y="160"/>
                    </a:lnTo>
                    <a:lnTo>
                      <a:pt x="242" y="160"/>
                    </a:lnTo>
                    <a:lnTo>
                      <a:pt x="244" y="160"/>
                    </a:lnTo>
                    <a:lnTo>
                      <a:pt x="242" y="160"/>
                    </a:lnTo>
                    <a:lnTo>
                      <a:pt x="242" y="161"/>
                    </a:lnTo>
                    <a:lnTo>
                      <a:pt x="240" y="161"/>
                    </a:lnTo>
                    <a:lnTo>
                      <a:pt x="242" y="161"/>
                    </a:lnTo>
                    <a:lnTo>
                      <a:pt x="240" y="161"/>
                    </a:lnTo>
                    <a:lnTo>
                      <a:pt x="238" y="161"/>
                    </a:lnTo>
                    <a:lnTo>
                      <a:pt x="236" y="161"/>
                    </a:lnTo>
                    <a:lnTo>
                      <a:pt x="236" y="160"/>
                    </a:lnTo>
                    <a:lnTo>
                      <a:pt x="234" y="160"/>
                    </a:lnTo>
                    <a:lnTo>
                      <a:pt x="232" y="160"/>
                    </a:lnTo>
                    <a:lnTo>
                      <a:pt x="234" y="158"/>
                    </a:lnTo>
                    <a:lnTo>
                      <a:pt x="232" y="158"/>
                    </a:lnTo>
                    <a:lnTo>
                      <a:pt x="234" y="158"/>
                    </a:lnTo>
                    <a:lnTo>
                      <a:pt x="232" y="160"/>
                    </a:lnTo>
                    <a:lnTo>
                      <a:pt x="234" y="160"/>
                    </a:lnTo>
                    <a:lnTo>
                      <a:pt x="234" y="161"/>
                    </a:lnTo>
                    <a:lnTo>
                      <a:pt x="232" y="161"/>
                    </a:lnTo>
                    <a:lnTo>
                      <a:pt x="234" y="161"/>
                    </a:lnTo>
                    <a:close/>
                    <a:moveTo>
                      <a:pt x="221" y="156"/>
                    </a:moveTo>
                    <a:lnTo>
                      <a:pt x="223" y="156"/>
                    </a:lnTo>
                    <a:lnTo>
                      <a:pt x="221" y="156"/>
                    </a:lnTo>
                    <a:lnTo>
                      <a:pt x="221" y="154"/>
                    </a:lnTo>
                    <a:lnTo>
                      <a:pt x="221" y="156"/>
                    </a:lnTo>
                    <a:lnTo>
                      <a:pt x="221" y="154"/>
                    </a:lnTo>
                    <a:lnTo>
                      <a:pt x="221" y="156"/>
                    </a:lnTo>
                    <a:lnTo>
                      <a:pt x="223" y="156"/>
                    </a:lnTo>
                    <a:lnTo>
                      <a:pt x="221" y="156"/>
                    </a:lnTo>
                    <a:lnTo>
                      <a:pt x="221" y="158"/>
                    </a:lnTo>
                    <a:lnTo>
                      <a:pt x="221" y="156"/>
                    </a:lnTo>
                    <a:close/>
                    <a:moveTo>
                      <a:pt x="223" y="125"/>
                    </a:moveTo>
                    <a:lnTo>
                      <a:pt x="224" y="125"/>
                    </a:lnTo>
                    <a:lnTo>
                      <a:pt x="223" y="125"/>
                    </a:lnTo>
                    <a:close/>
                    <a:moveTo>
                      <a:pt x="219" y="152"/>
                    </a:moveTo>
                    <a:lnTo>
                      <a:pt x="217" y="152"/>
                    </a:lnTo>
                    <a:lnTo>
                      <a:pt x="219" y="152"/>
                    </a:lnTo>
                    <a:close/>
                    <a:moveTo>
                      <a:pt x="169" y="208"/>
                    </a:moveTo>
                    <a:lnTo>
                      <a:pt x="171" y="208"/>
                    </a:lnTo>
                    <a:lnTo>
                      <a:pt x="169" y="208"/>
                    </a:lnTo>
                    <a:close/>
                    <a:moveTo>
                      <a:pt x="169" y="204"/>
                    </a:moveTo>
                    <a:lnTo>
                      <a:pt x="171" y="204"/>
                    </a:lnTo>
                    <a:lnTo>
                      <a:pt x="169" y="204"/>
                    </a:lnTo>
                    <a:close/>
                    <a:moveTo>
                      <a:pt x="144" y="185"/>
                    </a:moveTo>
                    <a:lnTo>
                      <a:pt x="142" y="185"/>
                    </a:lnTo>
                    <a:lnTo>
                      <a:pt x="144" y="185"/>
                    </a:lnTo>
                    <a:close/>
                    <a:moveTo>
                      <a:pt x="159" y="183"/>
                    </a:moveTo>
                    <a:lnTo>
                      <a:pt x="159" y="181"/>
                    </a:lnTo>
                    <a:lnTo>
                      <a:pt x="159" y="183"/>
                    </a:lnTo>
                    <a:close/>
                    <a:moveTo>
                      <a:pt x="146" y="181"/>
                    </a:moveTo>
                    <a:lnTo>
                      <a:pt x="146" y="179"/>
                    </a:lnTo>
                    <a:lnTo>
                      <a:pt x="146" y="181"/>
                    </a:lnTo>
                    <a:lnTo>
                      <a:pt x="146" y="179"/>
                    </a:lnTo>
                    <a:lnTo>
                      <a:pt x="146" y="181"/>
                    </a:lnTo>
                    <a:close/>
                    <a:moveTo>
                      <a:pt x="201" y="119"/>
                    </a:moveTo>
                    <a:lnTo>
                      <a:pt x="201" y="121"/>
                    </a:lnTo>
                    <a:lnTo>
                      <a:pt x="201" y="119"/>
                    </a:lnTo>
                    <a:lnTo>
                      <a:pt x="201" y="121"/>
                    </a:lnTo>
                    <a:lnTo>
                      <a:pt x="201" y="119"/>
                    </a:lnTo>
                    <a:close/>
                    <a:moveTo>
                      <a:pt x="171" y="185"/>
                    </a:moveTo>
                    <a:lnTo>
                      <a:pt x="173" y="183"/>
                    </a:lnTo>
                    <a:lnTo>
                      <a:pt x="171" y="185"/>
                    </a:lnTo>
                    <a:close/>
                    <a:moveTo>
                      <a:pt x="173" y="183"/>
                    </a:moveTo>
                    <a:lnTo>
                      <a:pt x="173" y="185"/>
                    </a:lnTo>
                    <a:lnTo>
                      <a:pt x="173" y="183"/>
                    </a:lnTo>
                    <a:close/>
                    <a:moveTo>
                      <a:pt x="173" y="183"/>
                    </a:moveTo>
                    <a:lnTo>
                      <a:pt x="171" y="183"/>
                    </a:lnTo>
                    <a:lnTo>
                      <a:pt x="173" y="183"/>
                    </a:lnTo>
                    <a:close/>
                    <a:moveTo>
                      <a:pt x="173" y="183"/>
                    </a:moveTo>
                    <a:lnTo>
                      <a:pt x="173" y="185"/>
                    </a:lnTo>
                    <a:lnTo>
                      <a:pt x="173" y="183"/>
                    </a:lnTo>
                    <a:close/>
                    <a:moveTo>
                      <a:pt x="173" y="183"/>
                    </a:moveTo>
                    <a:lnTo>
                      <a:pt x="173" y="185"/>
                    </a:lnTo>
                    <a:lnTo>
                      <a:pt x="173" y="183"/>
                    </a:lnTo>
                    <a:close/>
                    <a:moveTo>
                      <a:pt x="173" y="183"/>
                    </a:moveTo>
                    <a:lnTo>
                      <a:pt x="174" y="183"/>
                    </a:lnTo>
                    <a:lnTo>
                      <a:pt x="173" y="183"/>
                    </a:lnTo>
                    <a:lnTo>
                      <a:pt x="174" y="183"/>
                    </a:lnTo>
                    <a:lnTo>
                      <a:pt x="173" y="183"/>
                    </a:lnTo>
                    <a:close/>
                    <a:moveTo>
                      <a:pt x="174" y="181"/>
                    </a:moveTo>
                    <a:lnTo>
                      <a:pt x="176" y="181"/>
                    </a:lnTo>
                    <a:lnTo>
                      <a:pt x="176" y="179"/>
                    </a:lnTo>
                    <a:lnTo>
                      <a:pt x="176" y="181"/>
                    </a:lnTo>
                    <a:lnTo>
                      <a:pt x="174" y="181"/>
                    </a:lnTo>
                    <a:close/>
                    <a:moveTo>
                      <a:pt x="188" y="169"/>
                    </a:moveTo>
                    <a:lnTo>
                      <a:pt x="186" y="169"/>
                    </a:lnTo>
                    <a:lnTo>
                      <a:pt x="188" y="169"/>
                    </a:lnTo>
                    <a:close/>
                    <a:moveTo>
                      <a:pt x="249" y="158"/>
                    </a:moveTo>
                    <a:lnTo>
                      <a:pt x="247" y="158"/>
                    </a:lnTo>
                    <a:lnTo>
                      <a:pt x="249" y="158"/>
                    </a:lnTo>
                    <a:close/>
                    <a:moveTo>
                      <a:pt x="209" y="138"/>
                    </a:moveTo>
                    <a:lnTo>
                      <a:pt x="209" y="136"/>
                    </a:lnTo>
                    <a:lnTo>
                      <a:pt x="209" y="138"/>
                    </a:lnTo>
                    <a:close/>
                    <a:moveTo>
                      <a:pt x="203" y="131"/>
                    </a:moveTo>
                    <a:lnTo>
                      <a:pt x="203" y="133"/>
                    </a:lnTo>
                    <a:lnTo>
                      <a:pt x="203" y="131"/>
                    </a:lnTo>
                    <a:lnTo>
                      <a:pt x="203" y="133"/>
                    </a:lnTo>
                    <a:lnTo>
                      <a:pt x="203" y="131"/>
                    </a:lnTo>
                    <a:close/>
                    <a:moveTo>
                      <a:pt x="209" y="127"/>
                    </a:moveTo>
                    <a:lnTo>
                      <a:pt x="211" y="127"/>
                    </a:lnTo>
                    <a:lnTo>
                      <a:pt x="209" y="127"/>
                    </a:lnTo>
                    <a:close/>
                    <a:moveTo>
                      <a:pt x="223" y="123"/>
                    </a:moveTo>
                    <a:lnTo>
                      <a:pt x="221" y="123"/>
                    </a:lnTo>
                    <a:lnTo>
                      <a:pt x="223" y="123"/>
                    </a:lnTo>
                    <a:close/>
                    <a:moveTo>
                      <a:pt x="226" y="110"/>
                    </a:moveTo>
                    <a:lnTo>
                      <a:pt x="228" y="110"/>
                    </a:lnTo>
                    <a:lnTo>
                      <a:pt x="226" y="110"/>
                    </a:lnTo>
                    <a:lnTo>
                      <a:pt x="228" y="110"/>
                    </a:lnTo>
                    <a:lnTo>
                      <a:pt x="226" y="1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7" name="Freeform 43"/>
              <p:cNvSpPr>
                <a:spLocks noEditPoints="1"/>
              </p:cNvSpPr>
              <p:nvPr/>
            </p:nvSpPr>
            <p:spPr bwMode="auto">
              <a:xfrm>
                <a:off x="2420202" y="2191001"/>
                <a:ext cx="211638" cy="344125"/>
              </a:xfrm>
              <a:custGeom>
                <a:avLst/>
                <a:gdLst>
                  <a:gd name="T0" fmla="*/ 113 w 123"/>
                  <a:gd name="T1" fmla="*/ 196 h 200"/>
                  <a:gd name="T2" fmla="*/ 113 w 123"/>
                  <a:gd name="T3" fmla="*/ 194 h 200"/>
                  <a:gd name="T4" fmla="*/ 115 w 123"/>
                  <a:gd name="T5" fmla="*/ 188 h 200"/>
                  <a:gd name="T6" fmla="*/ 107 w 123"/>
                  <a:gd name="T7" fmla="*/ 188 h 200"/>
                  <a:gd name="T8" fmla="*/ 113 w 123"/>
                  <a:gd name="T9" fmla="*/ 186 h 200"/>
                  <a:gd name="T10" fmla="*/ 111 w 123"/>
                  <a:gd name="T11" fmla="*/ 185 h 200"/>
                  <a:gd name="T12" fmla="*/ 113 w 123"/>
                  <a:gd name="T13" fmla="*/ 177 h 200"/>
                  <a:gd name="T14" fmla="*/ 111 w 123"/>
                  <a:gd name="T15" fmla="*/ 169 h 200"/>
                  <a:gd name="T16" fmla="*/ 109 w 123"/>
                  <a:gd name="T17" fmla="*/ 167 h 200"/>
                  <a:gd name="T18" fmla="*/ 115 w 123"/>
                  <a:gd name="T19" fmla="*/ 165 h 200"/>
                  <a:gd name="T20" fmla="*/ 111 w 123"/>
                  <a:gd name="T21" fmla="*/ 163 h 200"/>
                  <a:gd name="T22" fmla="*/ 107 w 123"/>
                  <a:gd name="T23" fmla="*/ 154 h 200"/>
                  <a:gd name="T24" fmla="*/ 90 w 123"/>
                  <a:gd name="T25" fmla="*/ 146 h 200"/>
                  <a:gd name="T26" fmla="*/ 82 w 123"/>
                  <a:gd name="T27" fmla="*/ 131 h 200"/>
                  <a:gd name="T28" fmla="*/ 74 w 123"/>
                  <a:gd name="T29" fmla="*/ 119 h 200"/>
                  <a:gd name="T30" fmla="*/ 76 w 123"/>
                  <a:gd name="T31" fmla="*/ 108 h 200"/>
                  <a:gd name="T32" fmla="*/ 69 w 123"/>
                  <a:gd name="T33" fmla="*/ 94 h 200"/>
                  <a:gd name="T34" fmla="*/ 71 w 123"/>
                  <a:gd name="T35" fmla="*/ 94 h 200"/>
                  <a:gd name="T36" fmla="*/ 69 w 123"/>
                  <a:gd name="T37" fmla="*/ 86 h 200"/>
                  <a:gd name="T38" fmla="*/ 69 w 123"/>
                  <a:gd name="T39" fmla="*/ 86 h 200"/>
                  <a:gd name="T40" fmla="*/ 69 w 123"/>
                  <a:gd name="T41" fmla="*/ 83 h 200"/>
                  <a:gd name="T42" fmla="*/ 69 w 123"/>
                  <a:gd name="T43" fmla="*/ 83 h 200"/>
                  <a:gd name="T44" fmla="*/ 30 w 123"/>
                  <a:gd name="T45" fmla="*/ 65 h 200"/>
                  <a:gd name="T46" fmla="*/ 76 w 123"/>
                  <a:gd name="T47" fmla="*/ 77 h 200"/>
                  <a:gd name="T48" fmla="*/ 74 w 123"/>
                  <a:gd name="T49" fmla="*/ 75 h 200"/>
                  <a:gd name="T50" fmla="*/ 26 w 123"/>
                  <a:gd name="T51" fmla="*/ 54 h 200"/>
                  <a:gd name="T52" fmla="*/ 86 w 123"/>
                  <a:gd name="T53" fmla="*/ 71 h 200"/>
                  <a:gd name="T54" fmla="*/ 69 w 123"/>
                  <a:gd name="T55" fmla="*/ 61 h 200"/>
                  <a:gd name="T56" fmla="*/ 71 w 123"/>
                  <a:gd name="T57" fmla="*/ 61 h 200"/>
                  <a:gd name="T58" fmla="*/ 88 w 123"/>
                  <a:gd name="T59" fmla="*/ 65 h 200"/>
                  <a:gd name="T60" fmla="*/ 88 w 123"/>
                  <a:gd name="T61" fmla="*/ 60 h 200"/>
                  <a:gd name="T62" fmla="*/ 98 w 123"/>
                  <a:gd name="T63" fmla="*/ 63 h 200"/>
                  <a:gd name="T64" fmla="*/ 99 w 123"/>
                  <a:gd name="T65" fmla="*/ 60 h 200"/>
                  <a:gd name="T66" fmla="*/ 101 w 123"/>
                  <a:gd name="T67" fmla="*/ 58 h 200"/>
                  <a:gd name="T68" fmla="*/ 96 w 123"/>
                  <a:gd name="T69" fmla="*/ 54 h 200"/>
                  <a:gd name="T70" fmla="*/ 92 w 123"/>
                  <a:gd name="T71" fmla="*/ 54 h 200"/>
                  <a:gd name="T72" fmla="*/ 94 w 123"/>
                  <a:gd name="T73" fmla="*/ 54 h 200"/>
                  <a:gd name="T74" fmla="*/ 94 w 123"/>
                  <a:gd name="T75" fmla="*/ 50 h 200"/>
                  <a:gd name="T76" fmla="*/ 101 w 123"/>
                  <a:gd name="T77" fmla="*/ 52 h 200"/>
                  <a:gd name="T78" fmla="*/ 78 w 123"/>
                  <a:gd name="T79" fmla="*/ 44 h 200"/>
                  <a:gd name="T80" fmla="*/ 98 w 123"/>
                  <a:gd name="T81" fmla="*/ 48 h 200"/>
                  <a:gd name="T82" fmla="*/ 103 w 123"/>
                  <a:gd name="T83" fmla="*/ 50 h 200"/>
                  <a:gd name="T84" fmla="*/ 82 w 123"/>
                  <a:gd name="T85" fmla="*/ 42 h 200"/>
                  <a:gd name="T86" fmla="*/ 115 w 123"/>
                  <a:gd name="T87" fmla="*/ 52 h 200"/>
                  <a:gd name="T88" fmla="*/ 88 w 123"/>
                  <a:gd name="T89" fmla="*/ 40 h 200"/>
                  <a:gd name="T90" fmla="*/ 111 w 123"/>
                  <a:gd name="T91" fmla="*/ 44 h 200"/>
                  <a:gd name="T92" fmla="*/ 88 w 123"/>
                  <a:gd name="T93" fmla="*/ 38 h 200"/>
                  <a:gd name="T94" fmla="*/ 111 w 123"/>
                  <a:gd name="T95" fmla="*/ 42 h 200"/>
                  <a:gd name="T96" fmla="*/ 92 w 123"/>
                  <a:gd name="T97" fmla="*/ 35 h 200"/>
                  <a:gd name="T98" fmla="*/ 113 w 123"/>
                  <a:gd name="T99" fmla="*/ 38 h 200"/>
                  <a:gd name="T100" fmla="*/ 96 w 123"/>
                  <a:gd name="T101" fmla="*/ 29 h 200"/>
                  <a:gd name="T102" fmla="*/ 103 w 123"/>
                  <a:gd name="T103" fmla="*/ 27 h 200"/>
                  <a:gd name="T104" fmla="*/ 105 w 123"/>
                  <a:gd name="T105" fmla="*/ 27 h 200"/>
                  <a:gd name="T106" fmla="*/ 101 w 123"/>
                  <a:gd name="T107" fmla="*/ 23 h 200"/>
                  <a:gd name="T108" fmla="*/ 105 w 123"/>
                  <a:gd name="T109" fmla="*/ 23 h 200"/>
                  <a:gd name="T110" fmla="*/ 117 w 123"/>
                  <a:gd name="T111" fmla="*/ 23 h 200"/>
                  <a:gd name="T112" fmla="*/ 117 w 123"/>
                  <a:gd name="T113" fmla="*/ 19 h 200"/>
                  <a:gd name="T114" fmla="*/ 121 w 123"/>
                  <a:gd name="T115" fmla="*/ 13 h 200"/>
                  <a:gd name="T116" fmla="*/ 113 w 123"/>
                  <a:gd name="T117" fmla="*/ 4 h 200"/>
                  <a:gd name="T118" fmla="*/ 117 w 123"/>
                  <a:gd name="T119" fmla="*/ 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200">
                    <a:moveTo>
                      <a:pt x="111" y="198"/>
                    </a:moveTo>
                    <a:lnTo>
                      <a:pt x="111" y="200"/>
                    </a:lnTo>
                    <a:lnTo>
                      <a:pt x="111" y="198"/>
                    </a:lnTo>
                    <a:close/>
                    <a:moveTo>
                      <a:pt x="119" y="198"/>
                    </a:moveTo>
                    <a:lnTo>
                      <a:pt x="119" y="200"/>
                    </a:lnTo>
                    <a:lnTo>
                      <a:pt x="117" y="200"/>
                    </a:lnTo>
                    <a:lnTo>
                      <a:pt x="117" y="198"/>
                    </a:lnTo>
                    <a:lnTo>
                      <a:pt x="119" y="198"/>
                    </a:lnTo>
                    <a:close/>
                    <a:moveTo>
                      <a:pt x="117" y="196"/>
                    </a:moveTo>
                    <a:lnTo>
                      <a:pt x="119" y="198"/>
                    </a:lnTo>
                    <a:lnTo>
                      <a:pt x="117" y="198"/>
                    </a:lnTo>
                    <a:lnTo>
                      <a:pt x="117" y="196"/>
                    </a:lnTo>
                    <a:close/>
                    <a:moveTo>
                      <a:pt x="113" y="196"/>
                    </a:moveTo>
                    <a:lnTo>
                      <a:pt x="113" y="194"/>
                    </a:lnTo>
                    <a:lnTo>
                      <a:pt x="113" y="196"/>
                    </a:lnTo>
                    <a:lnTo>
                      <a:pt x="113" y="194"/>
                    </a:lnTo>
                    <a:lnTo>
                      <a:pt x="113" y="196"/>
                    </a:lnTo>
                    <a:close/>
                    <a:moveTo>
                      <a:pt x="107" y="192"/>
                    </a:moveTo>
                    <a:lnTo>
                      <a:pt x="107" y="194"/>
                    </a:lnTo>
                    <a:lnTo>
                      <a:pt x="107" y="192"/>
                    </a:lnTo>
                    <a:lnTo>
                      <a:pt x="105" y="194"/>
                    </a:lnTo>
                    <a:lnTo>
                      <a:pt x="105" y="192"/>
                    </a:lnTo>
                    <a:lnTo>
                      <a:pt x="105" y="194"/>
                    </a:lnTo>
                    <a:lnTo>
                      <a:pt x="105" y="192"/>
                    </a:lnTo>
                    <a:lnTo>
                      <a:pt x="107" y="192"/>
                    </a:lnTo>
                    <a:close/>
                    <a:moveTo>
                      <a:pt x="109" y="194"/>
                    </a:moveTo>
                    <a:lnTo>
                      <a:pt x="111" y="194"/>
                    </a:lnTo>
                    <a:lnTo>
                      <a:pt x="109" y="194"/>
                    </a:lnTo>
                    <a:close/>
                    <a:moveTo>
                      <a:pt x="111" y="194"/>
                    </a:moveTo>
                    <a:lnTo>
                      <a:pt x="113" y="194"/>
                    </a:lnTo>
                    <a:lnTo>
                      <a:pt x="111" y="194"/>
                    </a:lnTo>
                    <a:close/>
                    <a:moveTo>
                      <a:pt x="105" y="190"/>
                    </a:moveTo>
                    <a:lnTo>
                      <a:pt x="107" y="190"/>
                    </a:lnTo>
                    <a:lnTo>
                      <a:pt x="105" y="190"/>
                    </a:lnTo>
                    <a:lnTo>
                      <a:pt x="107" y="188"/>
                    </a:lnTo>
                    <a:lnTo>
                      <a:pt x="107" y="190"/>
                    </a:lnTo>
                    <a:lnTo>
                      <a:pt x="105" y="190"/>
                    </a:lnTo>
                    <a:close/>
                    <a:moveTo>
                      <a:pt x="109" y="190"/>
                    </a:moveTo>
                    <a:lnTo>
                      <a:pt x="109" y="188"/>
                    </a:lnTo>
                    <a:lnTo>
                      <a:pt x="109" y="190"/>
                    </a:lnTo>
                    <a:close/>
                    <a:moveTo>
                      <a:pt x="115" y="192"/>
                    </a:moveTo>
                    <a:lnTo>
                      <a:pt x="115" y="190"/>
                    </a:lnTo>
                    <a:lnTo>
                      <a:pt x="117" y="190"/>
                    </a:lnTo>
                    <a:lnTo>
                      <a:pt x="115" y="192"/>
                    </a:lnTo>
                    <a:close/>
                    <a:moveTo>
                      <a:pt x="115" y="188"/>
                    </a:moveTo>
                    <a:lnTo>
                      <a:pt x="115" y="190"/>
                    </a:lnTo>
                    <a:lnTo>
                      <a:pt x="115" y="188"/>
                    </a:lnTo>
                    <a:close/>
                    <a:moveTo>
                      <a:pt x="107" y="188"/>
                    </a:moveTo>
                    <a:lnTo>
                      <a:pt x="107" y="186"/>
                    </a:lnTo>
                    <a:lnTo>
                      <a:pt x="107" y="188"/>
                    </a:lnTo>
                    <a:lnTo>
                      <a:pt x="107" y="186"/>
                    </a:lnTo>
                    <a:lnTo>
                      <a:pt x="107" y="188"/>
                    </a:lnTo>
                    <a:lnTo>
                      <a:pt x="109" y="186"/>
                    </a:lnTo>
                    <a:lnTo>
                      <a:pt x="107" y="188"/>
                    </a:lnTo>
                    <a:close/>
                    <a:moveTo>
                      <a:pt x="107" y="188"/>
                    </a:moveTo>
                    <a:lnTo>
                      <a:pt x="109" y="186"/>
                    </a:lnTo>
                    <a:lnTo>
                      <a:pt x="109" y="188"/>
                    </a:lnTo>
                    <a:lnTo>
                      <a:pt x="109" y="186"/>
                    </a:lnTo>
                    <a:lnTo>
                      <a:pt x="109" y="188"/>
                    </a:lnTo>
                    <a:lnTo>
                      <a:pt x="107" y="188"/>
                    </a:lnTo>
                    <a:close/>
                    <a:moveTo>
                      <a:pt x="107" y="186"/>
                    </a:moveTo>
                    <a:lnTo>
                      <a:pt x="105" y="186"/>
                    </a:lnTo>
                    <a:lnTo>
                      <a:pt x="107" y="185"/>
                    </a:lnTo>
                    <a:lnTo>
                      <a:pt x="105" y="186"/>
                    </a:lnTo>
                    <a:lnTo>
                      <a:pt x="107" y="186"/>
                    </a:lnTo>
                    <a:close/>
                    <a:moveTo>
                      <a:pt x="115" y="188"/>
                    </a:moveTo>
                    <a:lnTo>
                      <a:pt x="117" y="188"/>
                    </a:lnTo>
                    <a:lnTo>
                      <a:pt x="115" y="188"/>
                    </a:lnTo>
                    <a:lnTo>
                      <a:pt x="117" y="188"/>
                    </a:lnTo>
                    <a:lnTo>
                      <a:pt x="117" y="190"/>
                    </a:lnTo>
                    <a:lnTo>
                      <a:pt x="115" y="190"/>
                    </a:lnTo>
                    <a:lnTo>
                      <a:pt x="117" y="190"/>
                    </a:lnTo>
                    <a:lnTo>
                      <a:pt x="117" y="188"/>
                    </a:lnTo>
                    <a:lnTo>
                      <a:pt x="115" y="188"/>
                    </a:lnTo>
                    <a:close/>
                    <a:moveTo>
                      <a:pt x="113" y="186"/>
                    </a:moveTo>
                    <a:lnTo>
                      <a:pt x="111" y="186"/>
                    </a:lnTo>
                    <a:lnTo>
                      <a:pt x="111" y="185"/>
                    </a:lnTo>
                    <a:lnTo>
                      <a:pt x="111" y="186"/>
                    </a:lnTo>
                    <a:lnTo>
                      <a:pt x="113" y="186"/>
                    </a:lnTo>
                    <a:close/>
                    <a:moveTo>
                      <a:pt x="117" y="188"/>
                    </a:moveTo>
                    <a:lnTo>
                      <a:pt x="117" y="186"/>
                    </a:lnTo>
                    <a:lnTo>
                      <a:pt x="117" y="188"/>
                    </a:lnTo>
                    <a:close/>
                    <a:moveTo>
                      <a:pt x="111" y="185"/>
                    </a:moveTo>
                    <a:lnTo>
                      <a:pt x="111" y="186"/>
                    </a:lnTo>
                    <a:lnTo>
                      <a:pt x="111" y="185"/>
                    </a:lnTo>
                    <a:close/>
                    <a:moveTo>
                      <a:pt x="111" y="185"/>
                    </a:moveTo>
                    <a:lnTo>
                      <a:pt x="111" y="183"/>
                    </a:lnTo>
                    <a:lnTo>
                      <a:pt x="111" y="185"/>
                    </a:lnTo>
                    <a:close/>
                    <a:moveTo>
                      <a:pt x="111" y="183"/>
                    </a:moveTo>
                    <a:lnTo>
                      <a:pt x="111" y="185"/>
                    </a:lnTo>
                    <a:lnTo>
                      <a:pt x="111" y="183"/>
                    </a:lnTo>
                    <a:lnTo>
                      <a:pt x="111" y="185"/>
                    </a:lnTo>
                    <a:lnTo>
                      <a:pt x="111" y="183"/>
                    </a:lnTo>
                    <a:close/>
                    <a:moveTo>
                      <a:pt x="117" y="186"/>
                    </a:moveTo>
                    <a:lnTo>
                      <a:pt x="117" y="185"/>
                    </a:lnTo>
                    <a:lnTo>
                      <a:pt x="117" y="186"/>
                    </a:lnTo>
                    <a:close/>
                    <a:moveTo>
                      <a:pt x="113" y="181"/>
                    </a:moveTo>
                    <a:lnTo>
                      <a:pt x="115" y="181"/>
                    </a:lnTo>
                    <a:lnTo>
                      <a:pt x="113" y="181"/>
                    </a:lnTo>
                    <a:lnTo>
                      <a:pt x="113" y="179"/>
                    </a:lnTo>
                    <a:lnTo>
                      <a:pt x="113" y="181"/>
                    </a:lnTo>
                    <a:close/>
                    <a:moveTo>
                      <a:pt x="113" y="175"/>
                    </a:moveTo>
                    <a:lnTo>
                      <a:pt x="113" y="177"/>
                    </a:lnTo>
                    <a:lnTo>
                      <a:pt x="113" y="175"/>
                    </a:lnTo>
                    <a:lnTo>
                      <a:pt x="113" y="177"/>
                    </a:lnTo>
                    <a:lnTo>
                      <a:pt x="113" y="175"/>
                    </a:lnTo>
                    <a:close/>
                    <a:moveTo>
                      <a:pt x="115" y="175"/>
                    </a:moveTo>
                    <a:lnTo>
                      <a:pt x="115" y="173"/>
                    </a:lnTo>
                    <a:lnTo>
                      <a:pt x="115" y="175"/>
                    </a:lnTo>
                    <a:close/>
                    <a:moveTo>
                      <a:pt x="115" y="171"/>
                    </a:moveTo>
                    <a:lnTo>
                      <a:pt x="115" y="173"/>
                    </a:lnTo>
                    <a:lnTo>
                      <a:pt x="115" y="171"/>
                    </a:lnTo>
                    <a:lnTo>
                      <a:pt x="115" y="173"/>
                    </a:lnTo>
                    <a:lnTo>
                      <a:pt x="115" y="171"/>
                    </a:lnTo>
                    <a:close/>
                    <a:moveTo>
                      <a:pt x="111" y="169"/>
                    </a:moveTo>
                    <a:lnTo>
                      <a:pt x="111" y="171"/>
                    </a:lnTo>
                    <a:lnTo>
                      <a:pt x="109" y="171"/>
                    </a:lnTo>
                    <a:lnTo>
                      <a:pt x="111" y="169"/>
                    </a:lnTo>
                    <a:lnTo>
                      <a:pt x="111" y="171"/>
                    </a:lnTo>
                    <a:lnTo>
                      <a:pt x="111" y="169"/>
                    </a:lnTo>
                    <a:close/>
                    <a:moveTo>
                      <a:pt x="107" y="169"/>
                    </a:moveTo>
                    <a:lnTo>
                      <a:pt x="105" y="169"/>
                    </a:lnTo>
                    <a:lnTo>
                      <a:pt x="107" y="167"/>
                    </a:lnTo>
                    <a:lnTo>
                      <a:pt x="107" y="169"/>
                    </a:lnTo>
                    <a:close/>
                    <a:moveTo>
                      <a:pt x="115" y="171"/>
                    </a:moveTo>
                    <a:lnTo>
                      <a:pt x="117" y="171"/>
                    </a:lnTo>
                    <a:lnTo>
                      <a:pt x="115" y="171"/>
                    </a:lnTo>
                    <a:lnTo>
                      <a:pt x="115" y="173"/>
                    </a:lnTo>
                    <a:lnTo>
                      <a:pt x="115" y="171"/>
                    </a:lnTo>
                    <a:lnTo>
                      <a:pt x="115" y="169"/>
                    </a:lnTo>
                    <a:lnTo>
                      <a:pt x="115" y="171"/>
                    </a:lnTo>
                    <a:close/>
                    <a:moveTo>
                      <a:pt x="111" y="167"/>
                    </a:moveTo>
                    <a:lnTo>
                      <a:pt x="109" y="167"/>
                    </a:lnTo>
                    <a:lnTo>
                      <a:pt x="111" y="167"/>
                    </a:lnTo>
                    <a:lnTo>
                      <a:pt x="109" y="167"/>
                    </a:lnTo>
                    <a:lnTo>
                      <a:pt x="111" y="167"/>
                    </a:lnTo>
                    <a:close/>
                    <a:moveTo>
                      <a:pt x="113" y="167"/>
                    </a:moveTo>
                    <a:lnTo>
                      <a:pt x="113" y="169"/>
                    </a:lnTo>
                    <a:lnTo>
                      <a:pt x="115" y="169"/>
                    </a:lnTo>
                    <a:lnTo>
                      <a:pt x="113" y="169"/>
                    </a:lnTo>
                    <a:lnTo>
                      <a:pt x="113" y="167"/>
                    </a:lnTo>
                    <a:close/>
                    <a:moveTo>
                      <a:pt x="107" y="165"/>
                    </a:moveTo>
                    <a:lnTo>
                      <a:pt x="105" y="165"/>
                    </a:lnTo>
                    <a:lnTo>
                      <a:pt x="107" y="165"/>
                    </a:lnTo>
                    <a:close/>
                    <a:moveTo>
                      <a:pt x="115" y="167"/>
                    </a:moveTo>
                    <a:lnTo>
                      <a:pt x="113" y="167"/>
                    </a:lnTo>
                    <a:lnTo>
                      <a:pt x="115" y="167"/>
                    </a:lnTo>
                    <a:close/>
                    <a:moveTo>
                      <a:pt x="115" y="165"/>
                    </a:moveTo>
                    <a:lnTo>
                      <a:pt x="113" y="167"/>
                    </a:lnTo>
                    <a:lnTo>
                      <a:pt x="115" y="165"/>
                    </a:lnTo>
                    <a:lnTo>
                      <a:pt x="113" y="167"/>
                    </a:lnTo>
                    <a:lnTo>
                      <a:pt x="115" y="165"/>
                    </a:lnTo>
                    <a:close/>
                    <a:moveTo>
                      <a:pt x="111" y="163"/>
                    </a:moveTo>
                    <a:lnTo>
                      <a:pt x="111" y="165"/>
                    </a:lnTo>
                    <a:lnTo>
                      <a:pt x="111" y="163"/>
                    </a:lnTo>
                    <a:close/>
                    <a:moveTo>
                      <a:pt x="94" y="158"/>
                    </a:moveTo>
                    <a:lnTo>
                      <a:pt x="92" y="158"/>
                    </a:lnTo>
                    <a:lnTo>
                      <a:pt x="94" y="158"/>
                    </a:lnTo>
                    <a:close/>
                    <a:moveTo>
                      <a:pt x="113" y="163"/>
                    </a:moveTo>
                    <a:lnTo>
                      <a:pt x="111" y="163"/>
                    </a:lnTo>
                    <a:lnTo>
                      <a:pt x="113" y="163"/>
                    </a:lnTo>
                    <a:close/>
                    <a:moveTo>
                      <a:pt x="111" y="161"/>
                    </a:moveTo>
                    <a:lnTo>
                      <a:pt x="111" y="163"/>
                    </a:lnTo>
                    <a:lnTo>
                      <a:pt x="111" y="161"/>
                    </a:lnTo>
                    <a:lnTo>
                      <a:pt x="111" y="163"/>
                    </a:lnTo>
                    <a:lnTo>
                      <a:pt x="111" y="161"/>
                    </a:lnTo>
                    <a:close/>
                    <a:moveTo>
                      <a:pt x="99" y="158"/>
                    </a:moveTo>
                    <a:lnTo>
                      <a:pt x="101" y="158"/>
                    </a:lnTo>
                    <a:lnTo>
                      <a:pt x="99" y="158"/>
                    </a:lnTo>
                    <a:lnTo>
                      <a:pt x="101" y="158"/>
                    </a:lnTo>
                    <a:lnTo>
                      <a:pt x="99" y="158"/>
                    </a:lnTo>
                    <a:close/>
                    <a:moveTo>
                      <a:pt x="109" y="160"/>
                    </a:moveTo>
                    <a:lnTo>
                      <a:pt x="109" y="161"/>
                    </a:lnTo>
                    <a:lnTo>
                      <a:pt x="109" y="160"/>
                    </a:lnTo>
                    <a:close/>
                    <a:moveTo>
                      <a:pt x="109" y="160"/>
                    </a:moveTo>
                    <a:lnTo>
                      <a:pt x="111" y="160"/>
                    </a:lnTo>
                    <a:lnTo>
                      <a:pt x="109" y="160"/>
                    </a:lnTo>
                    <a:close/>
                    <a:moveTo>
                      <a:pt x="107" y="154"/>
                    </a:moveTo>
                    <a:lnTo>
                      <a:pt x="107" y="156"/>
                    </a:lnTo>
                    <a:lnTo>
                      <a:pt x="107" y="154"/>
                    </a:lnTo>
                    <a:close/>
                    <a:moveTo>
                      <a:pt x="103" y="154"/>
                    </a:moveTo>
                    <a:lnTo>
                      <a:pt x="103" y="152"/>
                    </a:lnTo>
                    <a:lnTo>
                      <a:pt x="103" y="154"/>
                    </a:lnTo>
                    <a:close/>
                    <a:moveTo>
                      <a:pt x="99" y="150"/>
                    </a:moveTo>
                    <a:lnTo>
                      <a:pt x="99" y="152"/>
                    </a:lnTo>
                    <a:lnTo>
                      <a:pt x="99" y="150"/>
                    </a:lnTo>
                    <a:close/>
                    <a:moveTo>
                      <a:pt x="96" y="150"/>
                    </a:moveTo>
                    <a:lnTo>
                      <a:pt x="96" y="148"/>
                    </a:lnTo>
                    <a:lnTo>
                      <a:pt x="96" y="150"/>
                    </a:lnTo>
                    <a:close/>
                    <a:moveTo>
                      <a:pt x="92" y="146"/>
                    </a:moveTo>
                    <a:lnTo>
                      <a:pt x="92" y="148"/>
                    </a:lnTo>
                    <a:lnTo>
                      <a:pt x="92" y="146"/>
                    </a:lnTo>
                    <a:close/>
                    <a:moveTo>
                      <a:pt x="88" y="144"/>
                    </a:moveTo>
                    <a:lnTo>
                      <a:pt x="90" y="144"/>
                    </a:lnTo>
                    <a:lnTo>
                      <a:pt x="90" y="146"/>
                    </a:lnTo>
                    <a:lnTo>
                      <a:pt x="90" y="144"/>
                    </a:lnTo>
                    <a:lnTo>
                      <a:pt x="88" y="146"/>
                    </a:lnTo>
                    <a:lnTo>
                      <a:pt x="88" y="144"/>
                    </a:lnTo>
                    <a:close/>
                    <a:moveTo>
                      <a:pt x="88" y="142"/>
                    </a:moveTo>
                    <a:lnTo>
                      <a:pt x="90" y="144"/>
                    </a:lnTo>
                    <a:lnTo>
                      <a:pt x="88" y="144"/>
                    </a:lnTo>
                    <a:lnTo>
                      <a:pt x="88" y="142"/>
                    </a:lnTo>
                    <a:close/>
                    <a:moveTo>
                      <a:pt x="80" y="138"/>
                    </a:moveTo>
                    <a:lnTo>
                      <a:pt x="82" y="138"/>
                    </a:lnTo>
                    <a:lnTo>
                      <a:pt x="80" y="138"/>
                    </a:lnTo>
                    <a:lnTo>
                      <a:pt x="82" y="138"/>
                    </a:lnTo>
                    <a:lnTo>
                      <a:pt x="80" y="138"/>
                    </a:lnTo>
                    <a:close/>
                    <a:moveTo>
                      <a:pt x="82" y="131"/>
                    </a:moveTo>
                    <a:lnTo>
                      <a:pt x="82" y="133"/>
                    </a:lnTo>
                    <a:lnTo>
                      <a:pt x="82" y="131"/>
                    </a:lnTo>
                    <a:close/>
                    <a:moveTo>
                      <a:pt x="80" y="131"/>
                    </a:moveTo>
                    <a:lnTo>
                      <a:pt x="80" y="133"/>
                    </a:lnTo>
                    <a:lnTo>
                      <a:pt x="80" y="131"/>
                    </a:lnTo>
                    <a:close/>
                    <a:moveTo>
                      <a:pt x="82" y="131"/>
                    </a:moveTo>
                    <a:lnTo>
                      <a:pt x="80" y="131"/>
                    </a:lnTo>
                    <a:lnTo>
                      <a:pt x="82" y="131"/>
                    </a:lnTo>
                    <a:close/>
                    <a:moveTo>
                      <a:pt x="84" y="131"/>
                    </a:moveTo>
                    <a:lnTo>
                      <a:pt x="84" y="129"/>
                    </a:lnTo>
                    <a:lnTo>
                      <a:pt x="84" y="131"/>
                    </a:lnTo>
                    <a:close/>
                    <a:moveTo>
                      <a:pt x="80" y="123"/>
                    </a:moveTo>
                    <a:lnTo>
                      <a:pt x="80" y="121"/>
                    </a:lnTo>
                    <a:lnTo>
                      <a:pt x="80" y="123"/>
                    </a:lnTo>
                    <a:close/>
                    <a:moveTo>
                      <a:pt x="74" y="119"/>
                    </a:moveTo>
                    <a:lnTo>
                      <a:pt x="76" y="119"/>
                    </a:lnTo>
                    <a:lnTo>
                      <a:pt x="74" y="119"/>
                    </a:lnTo>
                    <a:lnTo>
                      <a:pt x="74" y="117"/>
                    </a:lnTo>
                    <a:lnTo>
                      <a:pt x="74" y="119"/>
                    </a:lnTo>
                    <a:lnTo>
                      <a:pt x="76" y="117"/>
                    </a:lnTo>
                    <a:lnTo>
                      <a:pt x="74" y="119"/>
                    </a:lnTo>
                    <a:close/>
                    <a:moveTo>
                      <a:pt x="76" y="108"/>
                    </a:moveTo>
                    <a:lnTo>
                      <a:pt x="76" y="110"/>
                    </a:lnTo>
                    <a:lnTo>
                      <a:pt x="76" y="108"/>
                    </a:lnTo>
                    <a:lnTo>
                      <a:pt x="78" y="110"/>
                    </a:lnTo>
                    <a:lnTo>
                      <a:pt x="76" y="110"/>
                    </a:lnTo>
                    <a:lnTo>
                      <a:pt x="76" y="108"/>
                    </a:lnTo>
                    <a:close/>
                    <a:moveTo>
                      <a:pt x="76" y="108"/>
                    </a:moveTo>
                    <a:lnTo>
                      <a:pt x="76" y="110"/>
                    </a:lnTo>
                    <a:lnTo>
                      <a:pt x="76" y="108"/>
                    </a:lnTo>
                    <a:lnTo>
                      <a:pt x="74" y="108"/>
                    </a:lnTo>
                    <a:lnTo>
                      <a:pt x="76" y="108"/>
                    </a:lnTo>
                    <a:lnTo>
                      <a:pt x="76" y="106"/>
                    </a:lnTo>
                    <a:lnTo>
                      <a:pt x="76" y="108"/>
                    </a:lnTo>
                    <a:close/>
                    <a:moveTo>
                      <a:pt x="76" y="108"/>
                    </a:moveTo>
                    <a:lnTo>
                      <a:pt x="76" y="106"/>
                    </a:lnTo>
                    <a:lnTo>
                      <a:pt x="76" y="108"/>
                    </a:lnTo>
                    <a:close/>
                    <a:moveTo>
                      <a:pt x="73" y="98"/>
                    </a:moveTo>
                    <a:lnTo>
                      <a:pt x="74" y="98"/>
                    </a:lnTo>
                    <a:lnTo>
                      <a:pt x="73" y="98"/>
                    </a:lnTo>
                    <a:lnTo>
                      <a:pt x="74" y="98"/>
                    </a:lnTo>
                    <a:lnTo>
                      <a:pt x="74" y="100"/>
                    </a:lnTo>
                    <a:lnTo>
                      <a:pt x="74" y="98"/>
                    </a:lnTo>
                    <a:lnTo>
                      <a:pt x="73" y="98"/>
                    </a:lnTo>
                    <a:close/>
                    <a:moveTo>
                      <a:pt x="69" y="94"/>
                    </a:moveTo>
                    <a:lnTo>
                      <a:pt x="69" y="96"/>
                    </a:lnTo>
                    <a:lnTo>
                      <a:pt x="69" y="94"/>
                    </a:lnTo>
                    <a:lnTo>
                      <a:pt x="67" y="94"/>
                    </a:lnTo>
                    <a:lnTo>
                      <a:pt x="69" y="94"/>
                    </a:lnTo>
                    <a:close/>
                    <a:moveTo>
                      <a:pt x="67" y="92"/>
                    </a:moveTo>
                    <a:lnTo>
                      <a:pt x="69" y="92"/>
                    </a:lnTo>
                    <a:lnTo>
                      <a:pt x="69" y="94"/>
                    </a:lnTo>
                    <a:lnTo>
                      <a:pt x="69" y="92"/>
                    </a:lnTo>
                    <a:lnTo>
                      <a:pt x="67" y="92"/>
                    </a:lnTo>
                    <a:close/>
                    <a:moveTo>
                      <a:pt x="71" y="92"/>
                    </a:moveTo>
                    <a:lnTo>
                      <a:pt x="71" y="94"/>
                    </a:lnTo>
                    <a:lnTo>
                      <a:pt x="71" y="92"/>
                    </a:lnTo>
                    <a:lnTo>
                      <a:pt x="71" y="94"/>
                    </a:lnTo>
                    <a:lnTo>
                      <a:pt x="71" y="96"/>
                    </a:lnTo>
                    <a:lnTo>
                      <a:pt x="71" y="94"/>
                    </a:lnTo>
                    <a:lnTo>
                      <a:pt x="71" y="96"/>
                    </a:lnTo>
                    <a:lnTo>
                      <a:pt x="71" y="94"/>
                    </a:lnTo>
                    <a:lnTo>
                      <a:pt x="71" y="92"/>
                    </a:lnTo>
                    <a:close/>
                    <a:moveTo>
                      <a:pt x="71" y="92"/>
                    </a:moveTo>
                    <a:lnTo>
                      <a:pt x="71" y="94"/>
                    </a:lnTo>
                    <a:lnTo>
                      <a:pt x="71" y="92"/>
                    </a:lnTo>
                    <a:close/>
                    <a:moveTo>
                      <a:pt x="69" y="90"/>
                    </a:moveTo>
                    <a:lnTo>
                      <a:pt x="69" y="92"/>
                    </a:lnTo>
                    <a:lnTo>
                      <a:pt x="69" y="90"/>
                    </a:lnTo>
                    <a:lnTo>
                      <a:pt x="69" y="92"/>
                    </a:lnTo>
                    <a:lnTo>
                      <a:pt x="69" y="90"/>
                    </a:lnTo>
                    <a:lnTo>
                      <a:pt x="69" y="92"/>
                    </a:lnTo>
                    <a:lnTo>
                      <a:pt x="69" y="90"/>
                    </a:lnTo>
                    <a:close/>
                    <a:moveTo>
                      <a:pt x="42" y="77"/>
                    </a:moveTo>
                    <a:lnTo>
                      <a:pt x="42" y="79"/>
                    </a:lnTo>
                    <a:lnTo>
                      <a:pt x="42" y="77"/>
                    </a:lnTo>
                    <a:close/>
                    <a:moveTo>
                      <a:pt x="69" y="86"/>
                    </a:moveTo>
                    <a:lnTo>
                      <a:pt x="71" y="86"/>
                    </a:lnTo>
                    <a:lnTo>
                      <a:pt x="69" y="86"/>
                    </a:lnTo>
                    <a:lnTo>
                      <a:pt x="69" y="88"/>
                    </a:lnTo>
                    <a:lnTo>
                      <a:pt x="71" y="88"/>
                    </a:lnTo>
                    <a:lnTo>
                      <a:pt x="69" y="86"/>
                    </a:lnTo>
                    <a:lnTo>
                      <a:pt x="71" y="86"/>
                    </a:lnTo>
                    <a:lnTo>
                      <a:pt x="71" y="88"/>
                    </a:lnTo>
                    <a:lnTo>
                      <a:pt x="71" y="86"/>
                    </a:lnTo>
                    <a:lnTo>
                      <a:pt x="71" y="88"/>
                    </a:lnTo>
                    <a:lnTo>
                      <a:pt x="69" y="88"/>
                    </a:lnTo>
                    <a:lnTo>
                      <a:pt x="69" y="86"/>
                    </a:lnTo>
                    <a:lnTo>
                      <a:pt x="69" y="85"/>
                    </a:lnTo>
                    <a:lnTo>
                      <a:pt x="69" y="86"/>
                    </a:lnTo>
                    <a:close/>
                    <a:moveTo>
                      <a:pt x="69" y="85"/>
                    </a:moveTo>
                    <a:lnTo>
                      <a:pt x="69" y="86"/>
                    </a:lnTo>
                    <a:lnTo>
                      <a:pt x="69" y="85"/>
                    </a:lnTo>
                    <a:lnTo>
                      <a:pt x="69" y="86"/>
                    </a:lnTo>
                    <a:lnTo>
                      <a:pt x="69" y="85"/>
                    </a:lnTo>
                    <a:close/>
                    <a:moveTo>
                      <a:pt x="71" y="85"/>
                    </a:moveTo>
                    <a:lnTo>
                      <a:pt x="69" y="85"/>
                    </a:lnTo>
                    <a:lnTo>
                      <a:pt x="71" y="85"/>
                    </a:lnTo>
                    <a:lnTo>
                      <a:pt x="71" y="83"/>
                    </a:lnTo>
                    <a:lnTo>
                      <a:pt x="71" y="85"/>
                    </a:lnTo>
                    <a:close/>
                    <a:moveTo>
                      <a:pt x="57" y="81"/>
                    </a:moveTo>
                    <a:lnTo>
                      <a:pt x="57" y="79"/>
                    </a:lnTo>
                    <a:lnTo>
                      <a:pt x="57" y="81"/>
                    </a:lnTo>
                    <a:close/>
                    <a:moveTo>
                      <a:pt x="46" y="75"/>
                    </a:moveTo>
                    <a:lnTo>
                      <a:pt x="46" y="77"/>
                    </a:lnTo>
                    <a:lnTo>
                      <a:pt x="46" y="75"/>
                    </a:lnTo>
                    <a:close/>
                    <a:moveTo>
                      <a:pt x="69" y="83"/>
                    </a:moveTo>
                    <a:lnTo>
                      <a:pt x="71" y="83"/>
                    </a:lnTo>
                    <a:lnTo>
                      <a:pt x="69" y="83"/>
                    </a:lnTo>
                    <a:lnTo>
                      <a:pt x="71" y="83"/>
                    </a:lnTo>
                    <a:lnTo>
                      <a:pt x="71" y="81"/>
                    </a:lnTo>
                    <a:lnTo>
                      <a:pt x="71" y="83"/>
                    </a:lnTo>
                    <a:lnTo>
                      <a:pt x="69" y="83"/>
                    </a:lnTo>
                    <a:close/>
                    <a:moveTo>
                      <a:pt x="78" y="85"/>
                    </a:moveTo>
                    <a:lnTo>
                      <a:pt x="78" y="86"/>
                    </a:lnTo>
                    <a:lnTo>
                      <a:pt x="78" y="85"/>
                    </a:lnTo>
                    <a:close/>
                    <a:moveTo>
                      <a:pt x="69" y="81"/>
                    </a:moveTo>
                    <a:lnTo>
                      <a:pt x="69" y="83"/>
                    </a:lnTo>
                    <a:lnTo>
                      <a:pt x="69" y="85"/>
                    </a:lnTo>
                    <a:lnTo>
                      <a:pt x="69" y="83"/>
                    </a:lnTo>
                    <a:lnTo>
                      <a:pt x="69" y="85"/>
                    </a:lnTo>
                    <a:lnTo>
                      <a:pt x="69" y="83"/>
                    </a:lnTo>
                    <a:lnTo>
                      <a:pt x="69" y="81"/>
                    </a:lnTo>
                    <a:close/>
                    <a:moveTo>
                      <a:pt x="42" y="71"/>
                    </a:moveTo>
                    <a:lnTo>
                      <a:pt x="42" y="73"/>
                    </a:lnTo>
                    <a:lnTo>
                      <a:pt x="42" y="71"/>
                    </a:lnTo>
                    <a:lnTo>
                      <a:pt x="42" y="73"/>
                    </a:lnTo>
                    <a:lnTo>
                      <a:pt x="42" y="71"/>
                    </a:lnTo>
                    <a:close/>
                    <a:moveTo>
                      <a:pt x="42" y="71"/>
                    </a:moveTo>
                    <a:lnTo>
                      <a:pt x="42" y="69"/>
                    </a:lnTo>
                    <a:lnTo>
                      <a:pt x="40" y="69"/>
                    </a:lnTo>
                    <a:lnTo>
                      <a:pt x="42" y="69"/>
                    </a:lnTo>
                    <a:lnTo>
                      <a:pt x="42" y="71"/>
                    </a:lnTo>
                    <a:close/>
                    <a:moveTo>
                      <a:pt x="32" y="65"/>
                    </a:moveTo>
                    <a:lnTo>
                      <a:pt x="30" y="65"/>
                    </a:lnTo>
                    <a:lnTo>
                      <a:pt x="30" y="63"/>
                    </a:lnTo>
                    <a:lnTo>
                      <a:pt x="30" y="65"/>
                    </a:lnTo>
                    <a:lnTo>
                      <a:pt x="32" y="65"/>
                    </a:lnTo>
                    <a:close/>
                    <a:moveTo>
                      <a:pt x="36" y="67"/>
                    </a:moveTo>
                    <a:lnTo>
                      <a:pt x="36" y="65"/>
                    </a:lnTo>
                    <a:lnTo>
                      <a:pt x="34" y="65"/>
                    </a:lnTo>
                    <a:lnTo>
                      <a:pt x="36" y="65"/>
                    </a:lnTo>
                    <a:lnTo>
                      <a:pt x="36" y="67"/>
                    </a:lnTo>
                    <a:close/>
                    <a:moveTo>
                      <a:pt x="57" y="73"/>
                    </a:moveTo>
                    <a:lnTo>
                      <a:pt x="59" y="71"/>
                    </a:lnTo>
                    <a:lnTo>
                      <a:pt x="59" y="73"/>
                    </a:lnTo>
                    <a:lnTo>
                      <a:pt x="57" y="73"/>
                    </a:lnTo>
                    <a:close/>
                    <a:moveTo>
                      <a:pt x="26" y="61"/>
                    </a:moveTo>
                    <a:lnTo>
                      <a:pt x="25" y="61"/>
                    </a:lnTo>
                    <a:lnTo>
                      <a:pt x="25" y="60"/>
                    </a:lnTo>
                    <a:lnTo>
                      <a:pt x="26" y="61"/>
                    </a:lnTo>
                    <a:close/>
                    <a:moveTo>
                      <a:pt x="76" y="77"/>
                    </a:moveTo>
                    <a:lnTo>
                      <a:pt x="74" y="77"/>
                    </a:lnTo>
                    <a:lnTo>
                      <a:pt x="74" y="79"/>
                    </a:lnTo>
                    <a:lnTo>
                      <a:pt x="74" y="77"/>
                    </a:lnTo>
                    <a:lnTo>
                      <a:pt x="76" y="77"/>
                    </a:lnTo>
                    <a:lnTo>
                      <a:pt x="76" y="75"/>
                    </a:lnTo>
                    <a:lnTo>
                      <a:pt x="76" y="77"/>
                    </a:lnTo>
                    <a:close/>
                    <a:moveTo>
                      <a:pt x="82" y="77"/>
                    </a:moveTo>
                    <a:lnTo>
                      <a:pt x="82" y="79"/>
                    </a:lnTo>
                    <a:lnTo>
                      <a:pt x="80" y="79"/>
                    </a:lnTo>
                    <a:lnTo>
                      <a:pt x="80" y="77"/>
                    </a:lnTo>
                    <a:lnTo>
                      <a:pt x="82" y="77"/>
                    </a:lnTo>
                    <a:lnTo>
                      <a:pt x="84" y="77"/>
                    </a:lnTo>
                    <a:lnTo>
                      <a:pt x="82" y="77"/>
                    </a:lnTo>
                    <a:close/>
                    <a:moveTo>
                      <a:pt x="76" y="73"/>
                    </a:moveTo>
                    <a:lnTo>
                      <a:pt x="74" y="75"/>
                    </a:lnTo>
                    <a:lnTo>
                      <a:pt x="76" y="73"/>
                    </a:lnTo>
                    <a:close/>
                    <a:moveTo>
                      <a:pt x="76" y="75"/>
                    </a:moveTo>
                    <a:lnTo>
                      <a:pt x="76" y="77"/>
                    </a:lnTo>
                    <a:lnTo>
                      <a:pt x="74" y="77"/>
                    </a:lnTo>
                    <a:lnTo>
                      <a:pt x="74" y="75"/>
                    </a:lnTo>
                    <a:lnTo>
                      <a:pt x="76" y="75"/>
                    </a:lnTo>
                    <a:lnTo>
                      <a:pt x="76" y="73"/>
                    </a:lnTo>
                    <a:lnTo>
                      <a:pt x="76" y="75"/>
                    </a:lnTo>
                    <a:close/>
                    <a:moveTo>
                      <a:pt x="76" y="73"/>
                    </a:moveTo>
                    <a:lnTo>
                      <a:pt x="76" y="75"/>
                    </a:lnTo>
                    <a:lnTo>
                      <a:pt x="76" y="73"/>
                    </a:lnTo>
                    <a:close/>
                    <a:moveTo>
                      <a:pt x="88" y="75"/>
                    </a:moveTo>
                    <a:lnTo>
                      <a:pt x="86" y="75"/>
                    </a:lnTo>
                    <a:lnTo>
                      <a:pt x="88" y="75"/>
                    </a:lnTo>
                    <a:close/>
                    <a:moveTo>
                      <a:pt x="26" y="54"/>
                    </a:moveTo>
                    <a:lnTo>
                      <a:pt x="26" y="56"/>
                    </a:lnTo>
                    <a:lnTo>
                      <a:pt x="26" y="54"/>
                    </a:lnTo>
                    <a:close/>
                    <a:moveTo>
                      <a:pt x="92" y="73"/>
                    </a:moveTo>
                    <a:lnTo>
                      <a:pt x="90" y="73"/>
                    </a:lnTo>
                    <a:lnTo>
                      <a:pt x="92" y="73"/>
                    </a:lnTo>
                    <a:close/>
                    <a:moveTo>
                      <a:pt x="67" y="63"/>
                    </a:moveTo>
                    <a:lnTo>
                      <a:pt x="67" y="65"/>
                    </a:lnTo>
                    <a:lnTo>
                      <a:pt x="67" y="63"/>
                    </a:lnTo>
                    <a:lnTo>
                      <a:pt x="67" y="65"/>
                    </a:lnTo>
                    <a:lnTo>
                      <a:pt x="65" y="65"/>
                    </a:lnTo>
                    <a:lnTo>
                      <a:pt x="67" y="65"/>
                    </a:lnTo>
                    <a:lnTo>
                      <a:pt x="67" y="63"/>
                    </a:lnTo>
                    <a:close/>
                    <a:moveTo>
                      <a:pt x="86" y="71"/>
                    </a:moveTo>
                    <a:lnTo>
                      <a:pt x="88" y="71"/>
                    </a:lnTo>
                    <a:lnTo>
                      <a:pt x="86" y="71"/>
                    </a:lnTo>
                    <a:close/>
                    <a:moveTo>
                      <a:pt x="84" y="69"/>
                    </a:moveTo>
                    <a:lnTo>
                      <a:pt x="86" y="69"/>
                    </a:lnTo>
                    <a:lnTo>
                      <a:pt x="84" y="69"/>
                    </a:lnTo>
                    <a:lnTo>
                      <a:pt x="86" y="69"/>
                    </a:lnTo>
                    <a:lnTo>
                      <a:pt x="84" y="69"/>
                    </a:lnTo>
                    <a:close/>
                    <a:moveTo>
                      <a:pt x="84" y="67"/>
                    </a:moveTo>
                    <a:lnTo>
                      <a:pt x="84" y="69"/>
                    </a:lnTo>
                    <a:lnTo>
                      <a:pt x="84" y="67"/>
                    </a:lnTo>
                    <a:lnTo>
                      <a:pt x="84" y="69"/>
                    </a:lnTo>
                    <a:lnTo>
                      <a:pt x="84" y="67"/>
                    </a:lnTo>
                    <a:close/>
                    <a:moveTo>
                      <a:pt x="90" y="69"/>
                    </a:moveTo>
                    <a:lnTo>
                      <a:pt x="88" y="69"/>
                    </a:lnTo>
                    <a:lnTo>
                      <a:pt x="90" y="69"/>
                    </a:lnTo>
                    <a:close/>
                    <a:moveTo>
                      <a:pt x="71" y="61"/>
                    </a:moveTo>
                    <a:lnTo>
                      <a:pt x="69" y="61"/>
                    </a:lnTo>
                    <a:lnTo>
                      <a:pt x="71" y="61"/>
                    </a:lnTo>
                    <a:close/>
                    <a:moveTo>
                      <a:pt x="73" y="60"/>
                    </a:moveTo>
                    <a:lnTo>
                      <a:pt x="73" y="61"/>
                    </a:lnTo>
                    <a:lnTo>
                      <a:pt x="71" y="61"/>
                    </a:lnTo>
                    <a:lnTo>
                      <a:pt x="71" y="63"/>
                    </a:lnTo>
                    <a:lnTo>
                      <a:pt x="71" y="61"/>
                    </a:lnTo>
                    <a:lnTo>
                      <a:pt x="71" y="63"/>
                    </a:lnTo>
                    <a:lnTo>
                      <a:pt x="71" y="61"/>
                    </a:lnTo>
                    <a:lnTo>
                      <a:pt x="73" y="61"/>
                    </a:lnTo>
                    <a:lnTo>
                      <a:pt x="71" y="63"/>
                    </a:lnTo>
                    <a:lnTo>
                      <a:pt x="71" y="61"/>
                    </a:lnTo>
                    <a:lnTo>
                      <a:pt x="71" y="63"/>
                    </a:lnTo>
                    <a:lnTo>
                      <a:pt x="71" y="61"/>
                    </a:lnTo>
                    <a:lnTo>
                      <a:pt x="71" y="63"/>
                    </a:lnTo>
                    <a:lnTo>
                      <a:pt x="71" y="61"/>
                    </a:lnTo>
                    <a:lnTo>
                      <a:pt x="73" y="61"/>
                    </a:lnTo>
                    <a:lnTo>
                      <a:pt x="73" y="60"/>
                    </a:lnTo>
                    <a:close/>
                    <a:moveTo>
                      <a:pt x="73" y="60"/>
                    </a:moveTo>
                    <a:lnTo>
                      <a:pt x="73" y="61"/>
                    </a:lnTo>
                    <a:lnTo>
                      <a:pt x="73" y="60"/>
                    </a:lnTo>
                    <a:lnTo>
                      <a:pt x="73" y="61"/>
                    </a:lnTo>
                    <a:lnTo>
                      <a:pt x="73" y="60"/>
                    </a:lnTo>
                    <a:lnTo>
                      <a:pt x="73" y="61"/>
                    </a:lnTo>
                    <a:lnTo>
                      <a:pt x="73" y="60"/>
                    </a:lnTo>
                    <a:close/>
                    <a:moveTo>
                      <a:pt x="74" y="60"/>
                    </a:moveTo>
                    <a:lnTo>
                      <a:pt x="74" y="61"/>
                    </a:lnTo>
                    <a:lnTo>
                      <a:pt x="73" y="61"/>
                    </a:lnTo>
                    <a:lnTo>
                      <a:pt x="74" y="60"/>
                    </a:lnTo>
                    <a:close/>
                    <a:moveTo>
                      <a:pt x="88" y="63"/>
                    </a:moveTo>
                    <a:lnTo>
                      <a:pt x="88" y="65"/>
                    </a:lnTo>
                    <a:lnTo>
                      <a:pt x="90" y="65"/>
                    </a:lnTo>
                    <a:lnTo>
                      <a:pt x="88" y="65"/>
                    </a:lnTo>
                    <a:lnTo>
                      <a:pt x="88" y="63"/>
                    </a:lnTo>
                    <a:close/>
                    <a:moveTo>
                      <a:pt x="92" y="65"/>
                    </a:moveTo>
                    <a:lnTo>
                      <a:pt x="94" y="65"/>
                    </a:lnTo>
                    <a:lnTo>
                      <a:pt x="92" y="65"/>
                    </a:lnTo>
                    <a:lnTo>
                      <a:pt x="94" y="65"/>
                    </a:lnTo>
                    <a:lnTo>
                      <a:pt x="94" y="67"/>
                    </a:lnTo>
                    <a:lnTo>
                      <a:pt x="92" y="67"/>
                    </a:lnTo>
                    <a:lnTo>
                      <a:pt x="92" y="65"/>
                    </a:lnTo>
                    <a:close/>
                    <a:moveTo>
                      <a:pt x="86" y="63"/>
                    </a:moveTo>
                    <a:lnTo>
                      <a:pt x="86" y="61"/>
                    </a:lnTo>
                    <a:lnTo>
                      <a:pt x="86" y="63"/>
                    </a:lnTo>
                    <a:close/>
                    <a:moveTo>
                      <a:pt x="88" y="61"/>
                    </a:moveTo>
                    <a:lnTo>
                      <a:pt x="88" y="60"/>
                    </a:lnTo>
                    <a:lnTo>
                      <a:pt x="88" y="61"/>
                    </a:lnTo>
                    <a:close/>
                    <a:moveTo>
                      <a:pt x="99" y="63"/>
                    </a:moveTo>
                    <a:lnTo>
                      <a:pt x="99" y="65"/>
                    </a:lnTo>
                    <a:lnTo>
                      <a:pt x="99" y="63"/>
                    </a:lnTo>
                    <a:lnTo>
                      <a:pt x="99" y="65"/>
                    </a:lnTo>
                    <a:lnTo>
                      <a:pt x="98" y="65"/>
                    </a:lnTo>
                    <a:lnTo>
                      <a:pt x="99" y="65"/>
                    </a:lnTo>
                    <a:lnTo>
                      <a:pt x="98" y="65"/>
                    </a:lnTo>
                    <a:lnTo>
                      <a:pt x="99" y="65"/>
                    </a:lnTo>
                    <a:lnTo>
                      <a:pt x="101" y="63"/>
                    </a:lnTo>
                    <a:lnTo>
                      <a:pt x="99" y="65"/>
                    </a:lnTo>
                    <a:lnTo>
                      <a:pt x="98" y="65"/>
                    </a:lnTo>
                    <a:lnTo>
                      <a:pt x="98" y="63"/>
                    </a:lnTo>
                    <a:lnTo>
                      <a:pt x="99" y="63"/>
                    </a:lnTo>
                    <a:lnTo>
                      <a:pt x="98" y="63"/>
                    </a:lnTo>
                    <a:lnTo>
                      <a:pt x="99" y="63"/>
                    </a:lnTo>
                    <a:close/>
                    <a:moveTo>
                      <a:pt x="76" y="56"/>
                    </a:moveTo>
                    <a:lnTo>
                      <a:pt x="74" y="56"/>
                    </a:lnTo>
                    <a:lnTo>
                      <a:pt x="76" y="56"/>
                    </a:lnTo>
                    <a:lnTo>
                      <a:pt x="74" y="56"/>
                    </a:lnTo>
                    <a:lnTo>
                      <a:pt x="76" y="56"/>
                    </a:lnTo>
                    <a:close/>
                    <a:moveTo>
                      <a:pt x="84" y="56"/>
                    </a:moveTo>
                    <a:lnTo>
                      <a:pt x="84" y="58"/>
                    </a:lnTo>
                    <a:lnTo>
                      <a:pt x="84" y="56"/>
                    </a:lnTo>
                    <a:close/>
                    <a:moveTo>
                      <a:pt x="5" y="31"/>
                    </a:moveTo>
                    <a:lnTo>
                      <a:pt x="5" y="29"/>
                    </a:lnTo>
                    <a:lnTo>
                      <a:pt x="5" y="31"/>
                    </a:lnTo>
                    <a:close/>
                    <a:moveTo>
                      <a:pt x="99" y="60"/>
                    </a:moveTo>
                    <a:lnTo>
                      <a:pt x="98" y="60"/>
                    </a:lnTo>
                    <a:lnTo>
                      <a:pt x="99" y="60"/>
                    </a:lnTo>
                    <a:lnTo>
                      <a:pt x="99" y="58"/>
                    </a:lnTo>
                    <a:lnTo>
                      <a:pt x="99" y="60"/>
                    </a:lnTo>
                    <a:close/>
                    <a:moveTo>
                      <a:pt x="96" y="58"/>
                    </a:moveTo>
                    <a:lnTo>
                      <a:pt x="94" y="58"/>
                    </a:lnTo>
                    <a:lnTo>
                      <a:pt x="96" y="58"/>
                    </a:lnTo>
                    <a:lnTo>
                      <a:pt x="94" y="58"/>
                    </a:lnTo>
                    <a:lnTo>
                      <a:pt x="96" y="58"/>
                    </a:lnTo>
                    <a:close/>
                    <a:moveTo>
                      <a:pt x="94" y="56"/>
                    </a:moveTo>
                    <a:lnTo>
                      <a:pt x="94" y="58"/>
                    </a:lnTo>
                    <a:lnTo>
                      <a:pt x="94" y="56"/>
                    </a:lnTo>
                    <a:close/>
                    <a:moveTo>
                      <a:pt x="94" y="56"/>
                    </a:moveTo>
                    <a:lnTo>
                      <a:pt x="92" y="56"/>
                    </a:lnTo>
                    <a:lnTo>
                      <a:pt x="94" y="56"/>
                    </a:lnTo>
                    <a:close/>
                    <a:moveTo>
                      <a:pt x="103" y="58"/>
                    </a:moveTo>
                    <a:lnTo>
                      <a:pt x="101" y="58"/>
                    </a:lnTo>
                    <a:lnTo>
                      <a:pt x="103" y="58"/>
                    </a:lnTo>
                    <a:close/>
                    <a:moveTo>
                      <a:pt x="92" y="56"/>
                    </a:moveTo>
                    <a:lnTo>
                      <a:pt x="94" y="56"/>
                    </a:lnTo>
                    <a:lnTo>
                      <a:pt x="92" y="56"/>
                    </a:lnTo>
                    <a:lnTo>
                      <a:pt x="94" y="56"/>
                    </a:lnTo>
                    <a:lnTo>
                      <a:pt x="94" y="54"/>
                    </a:lnTo>
                    <a:lnTo>
                      <a:pt x="94" y="56"/>
                    </a:lnTo>
                    <a:lnTo>
                      <a:pt x="92" y="56"/>
                    </a:lnTo>
                    <a:close/>
                    <a:moveTo>
                      <a:pt x="98" y="56"/>
                    </a:moveTo>
                    <a:lnTo>
                      <a:pt x="98" y="54"/>
                    </a:lnTo>
                    <a:lnTo>
                      <a:pt x="98" y="56"/>
                    </a:lnTo>
                    <a:close/>
                    <a:moveTo>
                      <a:pt x="101" y="56"/>
                    </a:moveTo>
                    <a:lnTo>
                      <a:pt x="99" y="56"/>
                    </a:lnTo>
                    <a:lnTo>
                      <a:pt x="101" y="56"/>
                    </a:lnTo>
                    <a:close/>
                    <a:moveTo>
                      <a:pt x="96" y="54"/>
                    </a:moveTo>
                    <a:lnTo>
                      <a:pt x="94" y="54"/>
                    </a:lnTo>
                    <a:lnTo>
                      <a:pt x="96" y="54"/>
                    </a:lnTo>
                    <a:close/>
                    <a:moveTo>
                      <a:pt x="0" y="21"/>
                    </a:moveTo>
                    <a:lnTo>
                      <a:pt x="0" y="23"/>
                    </a:lnTo>
                    <a:lnTo>
                      <a:pt x="0" y="21"/>
                    </a:lnTo>
                    <a:close/>
                    <a:moveTo>
                      <a:pt x="92" y="56"/>
                    </a:moveTo>
                    <a:lnTo>
                      <a:pt x="90" y="58"/>
                    </a:lnTo>
                    <a:lnTo>
                      <a:pt x="90" y="56"/>
                    </a:lnTo>
                    <a:lnTo>
                      <a:pt x="92" y="56"/>
                    </a:lnTo>
                    <a:lnTo>
                      <a:pt x="92" y="54"/>
                    </a:lnTo>
                    <a:lnTo>
                      <a:pt x="92" y="52"/>
                    </a:lnTo>
                    <a:lnTo>
                      <a:pt x="94" y="54"/>
                    </a:lnTo>
                    <a:lnTo>
                      <a:pt x="92" y="54"/>
                    </a:lnTo>
                    <a:lnTo>
                      <a:pt x="94" y="54"/>
                    </a:lnTo>
                    <a:lnTo>
                      <a:pt x="92" y="54"/>
                    </a:lnTo>
                    <a:lnTo>
                      <a:pt x="92" y="56"/>
                    </a:lnTo>
                    <a:close/>
                    <a:moveTo>
                      <a:pt x="101" y="54"/>
                    </a:moveTo>
                    <a:lnTo>
                      <a:pt x="101" y="56"/>
                    </a:lnTo>
                    <a:lnTo>
                      <a:pt x="101" y="54"/>
                    </a:lnTo>
                    <a:close/>
                    <a:moveTo>
                      <a:pt x="78" y="48"/>
                    </a:moveTo>
                    <a:lnTo>
                      <a:pt x="78" y="50"/>
                    </a:lnTo>
                    <a:lnTo>
                      <a:pt x="78" y="48"/>
                    </a:lnTo>
                    <a:close/>
                    <a:moveTo>
                      <a:pt x="98" y="54"/>
                    </a:moveTo>
                    <a:lnTo>
                      <a:pt x="99" y="54"/>
                    </a:lnTo>
                    <a:lnTo>
                      <a:pt x="98" y="54"/>
                    </a:lnTo>
                    <a:close/>
                    <a:moveTo>
                      <a:pt x="96" y="54"/>
                    </a:moveTo>
                    <a:lnTo>
                      <a:pt x="94" y="54"/>
                    </a:lnTo>
                    <a:lnTo>
                      <a:pt x="96" y="52"/>
                    </a:lnTo>
                    <a:lnTo>
                      <a:pt x="96" y="54"/>
                    </a:lnTo>
                    <a:lnTo>
                      <a:pt x="94" y="54"/>
                    </a:lnTo>
                    <a:lnTo>
                      <a:pt x="96" y="54"/>
                    </a:lnTo>
                    <a:close/>
                    <a:moveTo>
                      <a:pt x="78" y="48"/>
                    </a:moveTo>
                    <a:lnTo>
                      <a:pt x="78" y="46"/>
                    </a:lnTo>
                    <a:lnTo>
                      <a:pt x="78" y="48"/>
                    </a:lnTo>
                    <a:lnTo>
                      <a:pt x="78" y="46"/>
                    </a:lnTo>
                    <a:lnTo>
                      <a:pt x="78" y="48"/>
                    </a:lnTo>
                    <a:close/>
                    <a:moveTo>
                      <a:pt x="105" y="54"/>
                    </a:moveTo>
                    <a:lnTo>
                      <a:pt x="105" y="56"/>
                    </a:lnTo>
                    <a:lnTo>
                      <a:pt x="103" y="56"/>
                    </a:lnTo>
                    <a:lnTo>
                      <a:pt x="105" y="54"/>
                    </a:lnTo>
                    <a:close/>
                    <a:moveTo>
                      <a:pt x="98" y="52"/>
                    </a:moveTo>
                    <a:lnTo>
                      <a:pt x="98" y="54"/>
                    </a:lnTo>
                    <a:lnTo>
                      <a:pt x="98" y="52"/>
                    </a:lnTo>
                    <a:close/>
                    <a:moveTo>
                      <a:pt x="94" y="52"/>
                    </a:moveTo>
                    <a:lnTo>
                      <a:pt x="94" y="50"/>
                    </a:lnTo>
                    <a:lnTo>
                      <a:pt x="94" y="52"/>
                    </a:lnTo>
                    <a:close/>
                    <a:moveTo>
                      <a:pt x="99" y="52"/>
                    </a:moveTo>
                    <a:lnTo>
                      <a:pt x="99" y="54"/>
                    </a:lnTo>
                    <a:lnTo>
                      <a:pt x="99" y="52"/>
                    </a:lnTo>
                    <a:close/>
                    <a:moveTo>
                      <a:pt x="82" y="46"/>
                    </a:moveTo>
                    <a:lnTo>
                      <a:pt x="82" y="48"/>
                    </a:lnTo>
                    <a:lnTo>
                      <a:pt x="82" y="46"/>
                    </a:lnTo>
                    <a:lnTo>
                      <a:pt x="82" y="48"/>
                    </a:lnTo>
                    <a:lnTo>
                      <a:pt x="82" y="46"/>
                    </a:lnTo>
                    <a:close/>
                    <a:moveTo>
                      <a:pt x="99" y="52"/>
                    </a:moveTo>
                    <a:lnTo>
                      <a:pt x="98" y="52"/>
                    </a:lnTo>
                    <a:lnTo>
                      <a:pt x="99" y="52"/>
                    </a:lnTo>
                    <a:close/>
                    <a:moveTo>
                      <a:pt x="101" y="52"/>
                    </a:moveTo>
                    <a:lnTo>
                      <a:pt x="101" y="54"/>
                    </a:lnTo>
                    <a:lnTo>
                      <a:pt x="101" y="52"/>
                    </a:lnTo>
                    <a:close/>
                    <a:moveTo>
                      <a:pt x="80" y="44"/>
                    </a:moveTo>
                    <a:lnTo>
                      <a:pt x="80" y="46"/>
                    </a:lnTo>
                    <a:lnTo>
                      <a:pt x="80" y="44"/>
                    </a:lnTo>
                    <a:lnTo>
                      <a:pt x="80" y="46"/>
                    </a:lnTo>
                    <a:lnTo>
                      <a:pt x="78" y="46"/>
                    </a:lnTo>
                    <a:lnTo>
                      <a:pt x="80" y="46"/>
                    </a:lnTo>
                    <a:lnTo>
                      <a:pt x="80" y="44"/>
                    </a:lnTo>
                    <a:close/>
                    <a:moveTo>
                      <a:pt x="98" y="50"/>
                    </a:moveTo>
                    <a:lnTo>
                      <a:pt x="99" y="50"/>
                    </a:lnTo>
                    <a:lnTo>
                      <a:pt x="99" y="52"/>
                    </a:lnTo>
                    <a:lnTo>
                      <a:pt x="98" y="50"/>
                    </a:lnTo>
                    <a:lnTo>
                      <a:pt x="98" y="52"/>
                    </a:lnTo>
                    <a:lnTo>
                      <a:pt x="98" y="50"/>
                    </a:lnTo>
                    <a:close/>
                    <a:moveTo>
                      <a:pt x="78" y="46"/>
                    </a:moveTo>
                    <a:lnTo>
                      <a:pt x="78" y="44"/>
                    </a:lnTo>
                    <a:lnTo>
                      <a:pt x="78" y="46"/>
                    </a:lnTo>
                    <a:close/>
                    <a:moveTo>
                      <a:pt x="78" y="44"/>
                    </a:moveTo>
                    <a:lnTo>
                      <a:pt x="80" y="44"/>
                    </a:lnTo>
                    <a:lnTo>
                      <a:pt x="78" y="44"/>
                    </a:lnTo>
                    <a:close/>
                    <a:moveTo>
                      <a:pt x="96" y="48"/>
                    </a:moveTo>
                    <a:lnTo>
                      <a:pt x="96" y="50"/>
                    </a:lnTo>
                    <a:lnTo>
                      <a:pt x="96" y="48"/>
                    </a:lnTo>
                    <a:lnTo>
                      <a:pt x="94" y="48"/>
                    </a:lnTo>
                    <a:lnTo>
                      <a:pt x="96" y="48"/>
                    </a:lnTo>
                    <a:lnTo>
                      <a:pt x="94" y="48"/>
                    </a:lnTo>
                    <a:lnTo>
                      <a:pt x="96" y="48"/>
                    </a:lnTo>
                    <a:lnTo>
                      <a:pt x="94" y="48"/>
                    </a:lnTo>
                    <a:lnTo>
                      <a:pt x="96" y="48"/>
                    </a:lnTo>
                    <a:close/>
                    <a:moveTo>
                      <a:pt x="98" y="50"/>
                    </a:moveTo>
                    <a:lnTo>
                      <a:pt x="98" y="48"/>
                    </a:lnTo>
                    <a:lnTo>
                      <a:pt x="99" y="48"/>
                    </a:lnTo>
                    <a:lnTo>
                      <a:pt x="98" y="50"/>
                    </a:lnTo>
                    <a:close/>
                    <a:moveTo>
                      <a:pt x="103" y="50"/>
                    </a:moveTo>
                    <a:lnTo>
                      <a:pt x="101" y="50"/>
                    </a:lnTo>
                    <a:lnTo>
                      <a:pt x="103" y="50"/>
                    </a:lnTo>
                    <a:close/>
                    <a:moveTo>
                      <a:pt x="82" y="42"/>
                    </a:moveTo>
                    <a:lnTo>
                      <a:pt x="80" y="42"/>
                    </a:lnTo>
                    <a:lnTo>
                      <a:pt x="82" y="42"/>
                    </a:lnTo>
                    <a:lnTo>
                      <a:pt x="80" y="42"/>
                    </a:lnTo>
                    <a:lnTo>
                      <a:pt x="82" y="42"/>
                    </a:lnTo>
                    <a:close/>
                    <a:moveTo>
                      <a:pt x="103" y="50"/>
                    </a:moveTo>
                    <a:lnTo>
                      <a:pt x="105" y="50"/>
                    </a:lnTo>
                    <a:lnTo>
                      <a:pt x="105" y="52"/>
                    </a:lnTo>
                    <a:lnTo>
                      <a:pt x="103" y="52"/>
                    </a:lnTo>
                    <a:lnTo>
                      <a:pt x="103" y="50"/>
                    </a:lnTo>
                    <a:lnTo>
                      <a:pt x="105" y="50"/>
                    </a:lnTo>
                    <a:lnTo>
                      <a:pt x="103" y="50"/>
                    </a:lnTo>
                    <a:close/>
                    <a:moveTo>
                      <a:pt x="96" y="46"/>
                    </a:moveTo>
                    <a:lnTo>
                      <a:pt x="94" y="46"/>
                    </a:lnTo>
                    <a:lnTo>
                      <a:pt x="96" y="46"/>
                    </a:lnTo>
                    <a:close/>
                    <a:moveTo>
                      <a:pt x="101" y="48"/>
                    </a:moveTo>
                    <a:lnTo>
                      <a:pt x="99" y="48"/>
                    </a:lnTo>
                    <a:lnTo>
                      <a:pt x="101" y="48"/>
                    </a:lnTo>
                    <a:lnTo>
                      <a:pt x="99" y="48"/>
                    </a:lnTo>
                    <a:lnTo>
                      <a:pt x="101" y="48"/>
                    </a:lnTo>
                    <a:close/>
                    <a:moveTo>
                      <a:pt x="82" y="42"/>
                    </a:moveTo>
                    <a:lnTo>
                      <a:pt x="82" y="40"/>
                    </a:lnTo>
                    <a:lnTo>
                      <a:pt x="82" y="42"/>
                    </a:lnTo>
                    <a:lnTo>
                      <a:pt x="80" y="42"/>
                    </a:lnTo>
                    <a:lnTo>
                      <a:pt x="82" y="42"/>
                    </a:lnTo>
                    <a:lnTo>
                      <a:pt x="82" y="40"/>
                    </a:lnTo>
                    <a:lnTo>
                      <a:pt x="82" y="42"/>
                    </a:lnTo>
                    <a:close/>
                    <a:moveTo>
                      <a:pt x="109" y="50"/>
                    </a:moveTo>
                    <a:lnTo>
                      <a:pt x="107" y="50"/>
                    </a:lnTo>
                    <a:lnTo>
                      <a:pt x="105" y="50"/>
                    </a:lnTo>
                    <a:lnTo>
                      <a:pt x="107" y="50"/>
                    </a:lnTo>
                    <a:lnTo>
                      <a:pt x="109" y="50"/>
                    </a:lnTo>
                    <a:lnTo>
                      <a:pt x="107" y="50"/>
                    </a:lnTo>
                    <a:lnTo>
                      <a:pt x="109" y="50"/>
                    </a:lnTo>
                    <a:close/>
                    <a:moveTo>
                      <a:pt x="115" y="52"/>
                    </a:moveTo>
                    <a:lnTo>
                      <a:pt x="113" y="52"/>
                    </a:lnTo>
                    <a:lnTo>
                      <a:pt x="113" y="50"/>
                    </a:lnTo>
                    <a:lnTo>
                      <a:pt x="113" y="52"/>
                    </a:lnTo>
                    <a:lnTo>
                      <a:pt x="115" y="50"/>
                    </a:lnTo>
                    <a:lnTo>
                      <a:pt x="115" y="52"/>
                    </a:lnTo>
                    <a:close/>
                    <a:moveTo>
                      <a:pt x="113" y="50"/>
                    </a:moveTo>
                    <a:lnTo>
                      <a:pt x="113" y="52"/>
                    </a:lnTo>
                    <a:lnTo>
                      <a:pt x="113" y="50"/>
                    </a:lnTo>
                    <a:close/>
                    <a:moveTo>
                      <a:pt x="82" y="40"/>
                    </a:moveTo>
                    <a:lnTo>
                      <a:pt x="82" y="38"/>
                    </a:lnTo>
                    <a:lnTo>
                      <a:pt x="82" y="40"/>
                    </a:lnTo>
                    <a:lnTo>
                      <a:pt x="84" y="38"/>
                    </a:lnTo>
                    <a:lnTo>
                      <a:pt x="82" y="40"/>
                    </a:lnTo>
                    <a:close/>
                    <a:moveTo>
                      <a:pt x="86" y="40"/>
                    </a:moveTo>
                    <a:lnTo>
                      <a:pt x="88" y="40"/>
                    </a:lnTo>
                    <a:lnTo>
                      <a:pt x="86" y="40"/>
                    </a:lnTo>
                    <a:lnTo>
                      <a:pt x="88" y="40"/>
                    </a:lnTo>
                    <a:lnTo>
                      <a:pt x="88" y="42"/>
                    </a:lnTo>
                    <a:lnTo>
                      <a:pt x="86" y="40"/>
                    </a:lnTo>
                    <a:lnTo>
                      <a:pt x="88" y="40"/>
                    </a:lnTo>
                    <a:lnTo>
                      <a:pt x="86" y="40"/>
                    </a:lnTo>
                    <a:close/>
                    <a:moveTo>
                      <a:pt x="115" y="46"/>
                    </a:moveTo>
                    <a:lnTo>
                      <a:pt x="115" y="48"/>
                    </a:lnTo>
                    <a:lnTo>
                      <a:pt x="113" y="46"/>
                    </a:lnTo>
                    <a:lnTo>
                      <a:pt x="115" y="46"/>
                    </a:lnTo>
                    <a:close/>
                    <a:moveTo>
                      <a:pt x="115" y="48"/>
                    </a:moveTo>
                    <a:lnTo>
                      <a:pt x="115" y="46"/>
                    </a:lnTo>
                    <a:lnTo>
                      <a:pt x="115" y="48"/>
                    </a:lnTo>
                    <a:close/>
                    <a:moveTo>
                      <a:pt x="109" y="46"/>
                    </a:moveTo>
                    <a:lnTo>
                      <a:pt x="109" y="44"/>
                    </a:lnTo>
                    <a:lnTo>
                      <a:pt x="109" y="46"/>
                    </a:lnTo>
                    <a:close/>
                    <a:moveTo>
                      <a:pt x="96" y="40"/>
                    </a:moveTo>
                    <a:lnTo>
                      <a:pt x="96" y="42"/>
                    </a:lnTo>
                    <a:lnTo>
                      <a:pt x="96" y="40"/>
                    </a:lnTo>
                    <a:close/>
                    <a:moveTo>
                      <a:pt x="111" y="44"/>
                    </a:moveTo>
                    <a:lnTo>
                      <a:pt x="111" y="46"/>
                    </a:lnTo>
                    <a:lnTo>
                      <a:pt x="109" y="46"/>
                    </a:lnTo>
                    <a:lnTo>
                      <a:pt x="109" y="44"/>
                    </a:lnTo>
                    <a:lnTo>
                      <a:pt x="109" y="46"/>
                    </a:lnTo>
                    <a:lnTo>
                      <a:pt x="109" y="44"/>
                    </a:lnTo>
                    <a:lnTo>
                      <a:pt x="111" y="44"/>
                    </a:lnTo>
                    <a:close/>
                    <a:moveTo>
                      <a:pt x="88" y="38"/>
                    </a:moveTo>
                    <a:lnTo>
                      <a:pt x="86" y="38"/>
                    </a:lnTo>
                    <a:lnTo>
                      <a:pt x="84" y="38"/>
                    </a:lnTo>
                    <a:lnTo>
                      <a:pt x="86" y="38"/>
                    </a:lnTo>
                    <a:lnTo>
                      <a:pt x="86" y="36"/>
                    </a:lnTo>
                    <a:lnTo>
                      <a:pt x="86" y="38"/>
                    </a:lnTo>
                    <a:lnTo>
                      <a:pt x="88" y="38"/>
                    </a:lnTo>
                    <a:lnTo>
                      <a:pt x="88" y="36"/>
                    </a:lnTo>
                    <a:lnTo>
                      <a:pt x="88" y="38"/>
                    </a:lnTo>
                    <a:close/>
                    <a:moveTo>
                      <a:pt x="111" y="44"/>
                    </a:moveTo>
                    <a:lnTo>
                      <a:pt x="113" y="44"/>
                    </a:lnTo>
                    <a:lnTo>
                      <a:pt x="111" y="44"/>
                    </a:lnTo>
                    <a:close/>
                    <a:moveTo>
                      <a:pt x="101" y="40"/>
                    </a:moveTo>
                    <a:lnTo>
                      <a:pt x="101" y="42"/>
                    </a:lnTo>
                    <a:lnTo>
                      <a:pt x="101" y="40"/>
                    </a:lnTo>
                    <a:close/>
                    <a:moveTo>
                      <a:pt x="111" y="42"/>
                    </a:moveTo>
                    <a:lnTo>
                      <a:pt x="111" y="44"/>
                    </a:lnTo>
                    <a:lnTo>
                      <a:pt x="111" y="42"/>
                    </a:lnTo>
                    <a:lnTo>
                      <a:pt x="111" y="44"/>
                    </a:lnTo>
                    <a:lnTo>
                      <a:pt x="111" y="42"/>
                    </a:lnTo>
                    <a:lnTo>
                      <a:pt x="111" y="44"/>
                    </a:lnTo>
                    <a:lnTo>
                      <a:pt x="111" y="42"/>
                    </a:lnTo>
                    <a:lnTo>
                      <a:pt x="111" y="44"/>
                    </a:lnTo>
                    <a:lnTo>
                      <a:pt x="111" y="42"/>
                    </a:lnTo>
                    <a:lnTo>
                      <a:pt x="111" y="44"/>
                    </a:lnTo>
                    <a:lnTo>
                      <a:pt x="111" y="42"/>
                    </a:lnTo>
                    <a:close/>
                    <a:moveTo>
                      <a:pt x="103" y="40"/>
                    </a:moveTo>
                    <a:lnTo>
                      <a:pt x="101" y="40"/>
                    </a:lnTo>
                    <a:lnTo>
                      <a:pt x="103" y="40"/>
                    </a:lnTo>
                    <a:close/>
                    <a:moveTo>
                      <a:pt x="109" y="42"/>
                    </a:moveTo>
                    <a:lnTo>
                      <a:pt x="109" y="40"/>
                    </a:lnTo>
                    <a:lnTo>
                      <a:pt x="109" y="42"/>
                    </a:lnTo>
                    <a:close/>
                    <a:moveTo>
                      <a:pt x="92" y="35"/>
                    </a:moveTo>
                    <a:lnTo>
                      <a:pt x="92" y="36"/>
                    </a:lnTo>
                    <a:lnTo>
                      <a:pt x="92" y="35"/>
                    </a:lnTo>
                    <a:close/>
                    <a:moveTo>
                      <a:pt x="92" y="33"/>
                    </a:moveTo>
                    <a:lnTo>
                      <a:pt x="92" y="35"/>
                    </a:lnTo>
                    <a:lnTo>
                      <a:pt x="92" y="33"/>
                    </a:lnTo>
                    <a:lnTo>
                      <a:pt x="92" y="35"/>
                    </a:lnTo>
                    <a:lnTo>
                      <a:pt x="90" y="35"/>
                    </a:lnTo>
                    <a:lnTo>
                      <a:pt x="90" y="33"/>
                    </a:lnTo>
                    <a:lnTo>
                      <a:pt x="92" y="33"/>
                    </a:lnTo>
                    <a:close/>
                    <a:moveTo>
                      <a:pt x="115" y="40"/>
                    </a:moveTo>
                    <a:lnTo>
                      <a:pt x="113" y="40"/>
                    </a:lnTo>
                    <a:lnTo>
                      <a:pt x="115" y="40"/>
                    </a:lnTo>
                    <a:lnTo>
                      <a:pt x="113" y="40"/>
                    </a:lnTo>
                    <a:lnTo>
                      <a:pt x="115" y="40"/>
                    </a:lnTo>
                    <a:close/>
                    <a:moveTo>
                      <a:pt x="94" y="33"/>
                    </a:moveTo>
                    <a:lnTo>
                      <a:pt x="94" y="35"/>
                    </a:lnTo>
                    <a:lnTo>
                      <a:pt x="94" y="33"/>
                    </a:lnTo>
                    <a:close/>
                    <a:moveTo>
                      <a:pt x="90" y="33"/>
                    </a:moveTo>
                    <a:lnTo>
                      <a:pt x="88" y="33"/>
                    </a:lnTo>
                    <a:lnTo>
                      <a:pt x="90" y="33"/>
                    </a:lnTo>
                    <a:close/>
                    <a:moveTo>
                      <a:pt x="113" y="38"/>
                    </a:moveTo>
                    <a:lnTo>
                      <a:pt x="113" y="40"/>
                    </a:lnTo>
                    <a:lnTo>
                      <a:pt x="113" y="38"/>
                    </a:lnTo>
                    <a:lnTo>
                      <a:pt x="113" y="40"/>
                    </a:lnTo>
                    <a:lnTo>
                      <a:pt x="113" y="38"/>
                    </a:lnTo>
                    <a:close/>
                    <a:moveTo>
                      <a:pt x="105" y="35"/>
                    </a:moveTo>
                    <a:lnTo>
                      <a:pt x="105" y="36"/>
                    </a:lnTo>
                    <a:lnTo>
                      <a:pt x="105" y="35"/>
                    </a:lnTo>
                    <a:close/>
                    <a:moveTo>
                      <a:pt x="96" y="29"/>
                    </a:moveTo>
                    <a:lnTo>
                      <a:pt x="94" y="29"/>
                    </a:lnTo>
                    <a:lnTo>
                      <a:pt x="96" y="29"/>
                    </a:lnTo>
                    <a:close/>
                    <a:moveTo>
                      <a:pt x="96" y="29"/>
                    </a:moveTo>
                    <a:lnTo>
                      <a:pt x="98" y="29"/>
                    </a:lnTo>
                    <a:lnTo>
                      <a:pt x="96" y="29"/>
                    </a:lnTo>
                    <a:lnTo>
                      <a:pt x="98" y="29"/>
                    </a:lnTo>
                    <a:lnTo>
                      <a:pt x="96" y="29"/>
                    </a:lnTo>
                    <a:close/>
                    <a:moveTo>
                      <a:pt x="117" y="33"/>
                    </a:moveTo>
                    <a:lnTo>
                      <a:pt x="117" y="35"/>
                    </a:lnTo>
                    <a:lnTo>
                      <a:pt x="117" y="33"/>
                    </a:lnTo>
                    <a:lnTo>
                      <a:pt x="117" y="35"/>
                    </a:lnTo>
                    <a:lnTo>
                      <a:pt x="117" y="33"/>
                    </a:lnTo>
                    <a:lnTo>
                      <a:pt x="117" y="35"/>
                    </a:lnTo>
                    <a:lnTo>
                      <a:pt x="115" y="35"/>
                    </a:lnTo>
                    <a:lnTo>
                      <a:pt x="115" y="33"/>
                    </a:lnTo>
                    <a:lnTo>
                      <a:pt x="117" y="33"/>
                    </a:lnTo>
                    <a:close/>
                    <a:moveTo>
                      <a:pt x="101" y="27"/>
                    </a:moveTo>
                    <a:lnTo>
                      <a:pt x="101" y="29"/>
                    </a:lnTo>
                    <a:lnTo>
                      <a:pt x="101" y="27"/>
                    </a:lnTo>
                    <a:lnTo>
                      <a:pt x="101" y="29"/>
                    </a:lnTo>
                    <a:lnTo>
                      <a:pt x="101" y="27"/>
                    </a:lnTo>
                    <a:close/>
                    <a:moveTo>
                      <a:pt x="103" y="27"/>
                    </a:moveTo>
                    <a:lnTo>
                      <a:pt x="101" y="27"/>
                    </a:lnTo>
                    <a:lnTo>
                      <a:pt x="103" y="27"/>
                    </a:lnTo>
                    <a:close/>
                    <a:moveTo>
                      <a:pt x="121" y="31"/>
                    </a:moveTo>
                    <a:lnTo>
                      <a:pt x="119" y="31"/>
                    </a:lnTo>
                    <a:lnTo>
                      <a:pt x="117" y="31"/>
                    </a:lnTo>
                    <a:lnTo>
                      <a:pt x="119" y="31"/>
                    </a:lnTo>
                    <a:lnTo>
                      <a:pt x="121" y="31"/>
                    </a:lnTo>
                    <a:close/>
                    <a:moveTo>
                      <a:pt x="105" y="27"/>
                    </a:moveTo>
                    <a:lnTo>
                      <a:pt x="107" y="27"/>
                    </a:lnTo>
                    <a:lnTo>
                      <a:pt x="105" y="27"/>
                    </a:lnTo>
                    <a:lnTo>
                      <a:pt x="107" y="27"/>
                    </a:lnTo>
                    <a:lnTo>
                      <a:pt x="107" y="29"/>
                    </a:lnTo>
                    <a:lnTo>
                      <a:pt x="105" y="27"/>
                    </a:lnTo>
                    <a:lnTo>
                      <a:pt x="107" y="25"/>
                    </a:lnTo>
                    <a:lnTo>
                      <a:pt x="105" y="27"/>
                    </a:lnTo>
                    <a:lnTo>
                      <a:pt x="107" y="27"/>
                    </a:lnTo>
                    <a:lnTo>
                      <a:pt x="105" y="27"/>
                    </a:lnTo>
                    <a:close/>
                    <a:moveTo>
                      <a:pt x="101" y="23"/>
                    </a:moveTo>
                    <a:lnTo>
                      <a:pt x="99" y="23"/>
                    </a:lnTo>
                    <a:lnTo>
                      <a:pt x="101" y="23"/>
                    </a:lnTo>
                    <a:close/>
                    <a:moveTo>
                      <a:pt x="113" y="27"/>
                    </a:moveTo>
                    <a:lnTo>
                      <a:pt x="111" y="27"/>
                    </a:lnTo>
                    <a:lnTo>
                      <a:pt x="113" y="27"/>
                    </a:lnTo>
                    <a:close/>
                    <a:moveTo>
                      <a:pt x="103" y="23"/>
                    </a:moveTo>
                    <a:lnTo>
                      <a:pt x="101" y="23"/>
                    </a:lnTo>
                    <a:lnTo>
                      <a:pt x="103" y="23"/>
                    </a:lnTo>
                    <a:close/>
                    <a:moveTo>
                      <a:pt x="103" y="23"/>
                    </a:moveTo>
                    <a:lnTo>
                      <a:pt x="101" y="23"/>
                    </a:lnTo>
                    <a:lnTo>
                      <a:pt x="103" y="23"/>
                    </a:lnTo>
                    <a:lnTo>
                      <a:pt x="101" y="23"/>
                    </a:lnTo>
                    <a:lnTo>
                      <a:pt x="103" y="23"/>
                    </a:lnTo>
                    <a:close/>
                    <a:moveTo>
                      <a:pt x="105" y="23"/>
                    </a:moveTo>
                    <a:lnTo>
                      <a:pt x="103" y="23"/>
                    </a:lnTo>
                    <a:lnTo>
                      <a:pt x="105" y="21"/>
                    </a:lnTo>
                    <a:lnTo>
                      <a:pt x="105" y="23"/>
                    </a:lnTo>
                    <a:close/>
                    <a:moveTo>
                      <a:pt x="107" y="23"/>
                    </a:moveTo>
                    <a:lnTo>
                      <a:pt x="107" y="25"/>
                    </a:lnTo>
                    <a:lnTo>
                      <a:pt x="105" y="25"/>
                    </a:lnTo>
                    <a:lnTo>
                      <a:pt x="105" y="23"/>
                    </a:lnTo>
                    <a:lnTo>
                      <a:pt x="105" y="25"/>
                    </a:lnTo>
                    <a:lnTo>
                      <a:pt x="105" y="23"/>
                    </a:lnTo>
                    <a:lnTo>
                      <a:pt x="107" y="23"/>
                    </a:lnTo>
                    <a:lnTo>
                      <a:pt x="105" y="23"/>
                    </a:lnTo>
                    <a:lnTo>
                      <a:pt x="107" y="23"/>
                    </a:lnTo>
                    <a:lnTo>
                      <a:pt x="105" y="23"/>
                    </a:lnTo>
                    <a:lnTo>
                      <a:pt x="107" y="23"/>
                    </a:lnTo>
                    <a:close/>
                    <a:moveTo>
                      <a:pt x="105" y="21"/>
                    </a:moveTo>
                    <a:lnTo>
                      <a:pt x="105" y="23"/>
                    </a:lnTo>
                    <a:lnTo>
                      <a:pt x="103" y="23"/>
                    </a:lnTo>
                    <a:lnTo>
                      <a:pt x="105" y="23"/>
                    </a:lnTo>
                    <a:lnTo>
                      <a:pt x="105" y="25"/>
                    </a:lnTo>
                    <a:lnTo>
                      <a:pt x="103" y="25"/>
                    </a:lnTo>
                    <a:lnTo>
                      <a:pt x="103" y="23"/>
                    </a:lnTo>
                    <a:lnTo>
                      <a:pt x="105" y="23"/>
                    </a:lnTo>
                    <a:lnTo>
                      <a:pt x="105" y="21"/>
                    </a:lnTo>
                    <a:close/>
                    <a:moveTo>
                      <a:pt x="117" y="23"/>
                    </a:moveTo>
                    <a:lnTo>
                      <a:pt x="115" y="25"/>
                    </a:lnTo>
                    <a:lnTo>
                      <a:pt x="117" y="23"/>
                    </a:lnTo>
                    <a:lnTo>
                      <a:pt x="115" y="23"/>
                    </a:lnTo>
                    <a:lnTo>
                      <a:pt x="117" y="23"/>
                    </a:lnTo>
                    <a:close/>
                    <a:moveTo>
                      <a:pt x="117" y="23"/>
                    </a:moveTo>
                    <a:lnTo>
                      <a:pt x="117" y="25"/>
                    </a:lnTo>
                    <a:lnTo>
                      <a:pt x="117" y="23"/>
                    </a:lnTo>
                    <a:lnTo>
                      <a:pt x="115" y="25"/>
                    </a:lnTo>
                    <a:lnTo>
                      <a:pt x="117" y="23"/>
                    </a:lnTo>
                    <a:close/>
                    <a:moveTo>
                      <a:pt x="107" y="17"/>
                    </a:moveTo>
                    <a:lnTo>
                      <a:pt x="107" y="19"/>
                    </a:lnTo>
                    <a:lnTo>
                      <a:pt x="107" y="17"/>
                    </a:lnTo>
                    <a:close/>
                    <a:moveTo>
                      <a:pt x="107" y="19"/>
                    </a:moveTo>
                    <a:lnTo>
                      <a:pt x="107" y="17"/>
                    </a:lnTo>
                    <a:lnTo>
                      <a:pt x="107" y="19"/>
                    </a:lnTo>
                    <a:close/>
                    <a:moveTo>
                      <a:pt x="117" y="19"/>
                    </a:moveTo>
                    <a:lnTo>
                      <a:pt x="117" y="21"/>
                    </a:lnTo>
                    <a:lnTo>
                      <a:pt x="117" y="19"/>
                    </a:lnTo>
                    <a:close/>
                    <a:moveTo>
                      <a:pt x="117" y="19"/>
                    </a:moveTo>
                    <a:lnTo>
                      <a:pt x="117" y="21"/>
                    </a:lnTo>
                    <a:lnTo>
                      <a:pt x="117" y="19"/>
                    </a:lnTo>
                    <a:close/>
                    <a:moveTo>
                      <a:pt x="113" y="15"/>
                    </a:moveTo>
                    <a:lnTo>
                      <a:pt x="111" y="15"/>
                    </a:lnTo>
                    <a:lnTo>
                      <a:pt x="113" y="15"/>
                    </a:lnTo>
                    <a:close/>
                    <a:moveTo>
                      <a:pt x="123" y="17"/>
                    </a:moveTo>
                    <a:lnTo>
                      <a:pt x="121" y="15"/>
                    </a:lnTo>
                    <a:lnTo>
                      <a:pt x="123" y="17"/>
                    </a:lnTo>
                    <a:lnTo>
                      <a:pt x="123" y="15"/>
                    </a:lnTo>
                    <a:lnTo>
                      <a:pt x="123" y="17"/>
                    </a:lnTo>
                    <a:lnTo>
                      <a:pt x="123" y="15"/>
                    </a:lnTo>
                    <a:lnTo>
                      <a:pt x="123" y="17"/>
                    </a:lnTo>
                    <a:close/>
                    <a:moveTo>
                      <a:pt x="123" y="15"/>
                    </a:moveTo>
                    <a:lnTo>
                      <a:pt x="121" y="15"/>
                    </a:lnTo>
                    <a:lnTo>
                      <a:pt x="121" y="13"/>
                    </a:lnTo>
                    <a:lnTo>
                      <a:pt x="123" y="15"/>
                    </a:lnTo>
                    <a:close/>
                    <a:moveTo>
                      <a:pt x="113" y="10"/>
                    </a:moveTo>
                    <a:lnTo>
                      <a:pt x="111" y="10"/>
                    </a:lnTo>
                    <a:lnTo>
                      <a:pt x="113" y="10"/>
                    </a:lnTo>
                    <a:close/>
                    <a:moveTo>
                      <a:pt x="117" y="4"/>
                    </a:moveTo>
                    <a:lnTo>
                      <a:pt x="117" y="6"/>
                    </a:lnTo>
                    <a:lnTo>
                      <a:pt x="117" y="4"/>
                    </a:lnTo>
                    <a:close/>
                    <a:moveTo>
                      <a:pt x="123" y="6"/>
                    </a:moveTo>
                    <a:lnTo>
                      <a:pt x="121" y="6"/>
                    </a:lnTo>
                    <a:lnTo>
                      <a:pt x="123" y="6"/>
                    </a:lnTo>
                    <a:close/>
                    <a:moveTo>
                      <a:pt x="119" y="4"/>
                    </a:moveTo>
                    <a:lnTo>
                      <a:pt x="117" y="4"/>
                    </a:lnTo>
                    <a:lnTo>
                      <a:pt x="119" y="4"/>
                    </a:lnTo>
                    <a:close/>
                    <a:moveTo>
                      <a:pt x="111" y="2"/>
                    </a:moveTo>
                    <a:lnTo>
                      <a:pt x="113" y="4"/>
                    </a:lnTo>
                    <a:lnTo>
                      <a:pt x="111" y="2"/>
                    </a:lnTo>
                    <a:close/>
                    <a:moveTo>
                      <a:pt x="109" y="0"/>
                    </a:moveTo>
                    <a:lnTo>
                      <a:pt x="111" y="0"/>
                    </a:lnTo>
                    <a:lnTo>
                      <a:pt x="111" y="2"/>
                    </a:lnTo>
                    <a:lnTo>
                      <a:pt x="109" y="0"/>
                    </a:lnTo>
                    <a:close/>
                    <a:moveTo>
                      <a:pt x="117" y="2"/>
                    </a:moveTo>
                    <a:lnTo>
                      <a:pt x="119" y="4"/>
                    </a:lnTo>
                    <a:lnTo>
                      <a:pt x="117" y="2"/>
                    </a:lnTo>
                    <a:close/>
                    <a:moveTo>
                      <a:pt x="117" y="2"/>
                    </a:moveTo>
                    <a:lnTo>
                      <a:pt x="119" y="2"/>
                    </a:lnTo>
                    <a:lnTo>
                      <a:pt x="119" y="4"/>
                    </a:lnTo>
                    <a:lnTo>
                      <a:pt x="119" y="2"/>
                    </a:lnTo>
                    <a:lnTo>
                      <a:pt x="117" y="2"/>
                    </a:lnTo>
                    <a:lnTo>
                      <a:pt x="119" y="2"/>
                    </a:lnTo>
                    <a:lnTo>
                      <a:pt x="117"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8" name="Freeform 44"/>
              <p:cNvSpPr>
                <a:spLocks noEditPoints="1"/>
              </p:cNvSpPr>
              <p:nvPr/>
            </p:nvSpPr>
            <p:spPr bwMode="auto">
              <a:xfrm>
                <a:off x="2432247" y="2191001"/>
                <a:ext cx="218520" cy="340684"/>
              </a:xfrm>
              <a:custGeom>
                <a:avLst/>
                <a:gdLst>
                  <a:gd name="T0" fmla="*/ 106 w 127"/>
                  <a:gd name="T1" fmla="*/ 194 h 198"/>
                  <a:gd name="T2" fmla="*/ 106 w 127"/>
                  <a:gd name="T3" fmla="*/ 192 h 198"/>
                  <a:gd name="T4" fmla="*/ 106 w 127"/>
                  <a:gd name="T5" fmla="*/ 190 h 198"/>
                  <a:gd name="T6" fmla="*/ 102 w 127"/>
                  <a:gd name="T7" fmla="*/ 185 h 198"/>
                  <a:gd name="T8" fmla="*/ 100 w 127"/>
                  <a:gd name="T9" fmla="*/ 183 h 198"/>
                  <a:gd name="T10" fmla="*/ 110 w 127"/>
                  <a:gd name="T11" fmla="*/ 181 h 198"/>
                  <a:gd name="T12" fmla="*/ 104 w 127"/>
                  <a:gd name="T13" fmla="*/ 177 h 198"/>
                  <a:gd name="T14" fmla="*/ 108 w 127"/>
                  <a:gd name="T15" fmla="*/ 171 h 198"/>
                  <a:gd name="T16" fmla="*/ 108 w 127"/>
                  <a:gd name="T17" fmla="*/ 171 h 198"/>
                  <a:gd name="T18" fmla="*/ 102 w 127"/>
                  <a:gd name="T19" fmla="*/ 167 h 198"/>
                  <a:gd name="T20" fmla="*/ 104 w 127"/>
                  <a:gd name="T21" fmla="*/ 163 h 198"/>
                  <a:gd name="T22" fmla="*/ 98 w 127"/>
                  <a:gd name="T23" fmla="*/ 160 h 198"/>
                  <a:gd name="T24" fmla="*/ 92 w 127"/>
                  <a:gd name="T25" fmla="*/ 156 h 198"/>
                  <a:gd name="T26" fmla="*/ 83 w 127"/>
                  <a:gd name="T27" fmla="*/ 150 h 198"/>
                  <a:gd name="T28" fmla="*/ 91 w 127"/>
                  <a:gd name="T29" fmla="*/ 152 h 198"/>
                  <a:gd name="T30" fmla="*/ 79 w 127"/>
                  <a:gd name="T31" fmla="*/ 144 h 198"/>
                  <a:gd name="T32" fmla="*/ 77 w 127"/>
                  <a:gd name="T33" fmla="*/ 140 h 198"/>
                  <a:gd name="T34" fmla="*/ 75 w 127"/>
                  <a:gd name="T35" fmla="*/ 135 h 198"/>
                  <a:gd name="T36" fmla="*/ 71 w 127"/>
                  <a:gd name="T37" fmla="*/ 127 h 198"/>
                  <a:gd name="T38" fmla="*/ 73 w 127"/>
                  <a:gd name="T39" fmla="*/ 123 h 198"/>
                  <a:gd name="T40" fmla="*/ 69 w 127"/>
                  <a:gd name="T41" fmla="*/ 117 h 198"/>
                  <a:gd name="T42" fmla="*/ 67 w 127"/>
                  <a:gd name="T43" fmla="*/ 111 h 198"/>
                  <a:gd name="T44" fmla="*/ 67 w 127"/>
                  <a:gd name="T45" fmla="*/ 108 h 198"/>
                  <a:gd name="T46" fmla="*/ 62 w 127"/>
                  <a:gd name="T47" fmla="*/ 100 h 198"/>
                  <a:gd name="T48" fmla="*/ 58 w 127"/>
                  <a:gd name="T49" fmla="*/ 92 h 198"/>
                  <a:gd name="T50" fmla="*/ 58 w 127"/>
                  <a:gd name="T51" fmla="*/ 88 h 198"/>
                  <a:gd name="T52" fmla="*/ 62 w 127"/>
                  <a:gd name="T53" fmla="*/ 85 h 198"/>
                  <a:gd name="T54" fmla="*/ 50 w 127"/>
                  <a:gd name="T55" fmla="*/ 75 h 198"/>
                  <a:gd name="T56" fmla="*/ 54 w 127"/>
                  <a:gd name="T57" fmla="*/ 71 h 198"/>
                  <a:gd name="T58" fmla="*/ 77 w 127"/>
                  <a:gd name="T59" fmla="*/ 73 h 198"/>
                  <a:gd name="T60" fmla="*/ 64 w 127"/>
                  <a:gd name="T61" fmla="*/ 63 h 198"/>
                  <a:gd name="T62" fmla="*/ 62 w 127"/>
                  <a:gd name="T63" fmla="*/ 61 h 198"/>
                  <a:gd name="T64" fmla="*/ 77 w 127"/>
                  <a:gd name="T65" fmla="*/ 63 h 198"/>
                  <a:gd name="T66" fmla="*/ 94 w 127"/>
                  <a:gd name="T67" fmla="*/ 61 h 198"/>
                  <a:gd name="T68" fmla="*/ 87 w 127"/>
                  <a:gd name="T69" fmla="*/ 58 h 198"/>
                  <a:gd name="T70" fmla="*/ 94 w 127"/>
                  <a:gd name="T71" fmla="*/ 60 h 198"/>
                  <a:gd name="T72" fmla="*/ 71 w 127"/>
                  <a:gd name="T73" fmla="*/ 50 h 198"/>
                  <a:gd name="T74" fmla="*/ 89 w 127"/>
                  <a:gd name="T75" fmla="*/ 54 h 198"/>
                  <a:gd name="T76" fmla="*/ 69 w 127"/>
                  <a:gd name="T77" fmla="*/ 44 h 198"/>
                  <a:gd name="T78" fmla="*/ 87 w 127"/>
                  <a:gd name="T79" fmla="*/ 48 h 198"/>
                  <a:gd name="T80" fmla="*/ 94 w 127"/>
                  <a:gd name="T81" fmla="*/ 52 h 198"/>
                  <a:gd name="T82" fmla="*/ 102 w 127"/>
                  <a:gd name="T83" fmla="*/ 52 h 198"/>
                  <a:gd name="T84" fmla="*/ 89 w 127"/>
                  <a:gd name="T85" fmla="*/ 46 h 198"/>
                  <a:gd name="T86" fmla="*/ 94 w 127"/>
                  <a:gd name="T87" fmla="*/ 48 h 198"/>
                  <a:gd name="T88" fmla="*/ 106 w 127"/>
                  <a:gd name="T89" fmla="*/ 50 h 198"/>
                  <a:gd name="T90" fmla="*/ 77 w 127"/>
                  <a:gd name="T91" fmla="*/ 38 h 198"/>
                  <a:gd name="T92" fmla="*/ 98 w 127"/>
                  <a:gd name="T93" fmla="*/ 44 h 198"/>
                  <a:gd name="T94" fmla="*/ 94 w 127"/>
                  <a:gd name="T95" fmla="*/ 42 h 198"/>
                  <a:gd name="T96" fmla="*/ 83 w 127"/>
                  <a:gd name="T97" fmla="*/ 36 h 198"/>
                  <a:gd name="T98" fmla="*/ 92 w 127"/>
                  <a:gd name="T99" fmla="*/ 35 h 198"/>
                  <a:gd name="T100" fmla="*/ 85 w 127"/>
                  <a:gd name="T101" fmla="*/ 31 h 198"/>
                  <a:gd name="T102" fmla="*/ 91 w 127"/>
                  <a:gd name="T103" fmla="*/ 31 h 198"/>
                  <a:gd name="T104" fmla="*/ 108 w 127"/>
                  <a:gd name="T105" fmla="*/ 36 h 198"/>
                  <a:gd name="T106" fmla="*/ 104 w 127"/>
                  <a:gd name="T107" fmla="*/ 33 h 198"/>
                  <a:gd name="T108" fmla="*/ 108 w 127"/>
                  <a:gd name="T109" fmla="*/ 29 h 198"/>
                  <a:gd name="T110" fmla="*/ 108 w 127"/>
                  <a:gd name="T111" fmla="*/ 29 h 198"/>
                  <a:gd name="T112" fmla="*/ 110 w 127"/>
                  <a:gd name="T113" fmla="*/ 25 h 198"/>
                  <a:gd name="T114" fmla="*/ 98 w 127"/>
                  <a:gd name="T115" fmla="*/ 17 h 198"/>
                  <a:gd name="T116" fmla="*/ 98 w 127"/>
                  <a:gd name="T117" fmla="*/ 15 h 198"/>
                  <a:gd name="T118" fmla="*/ 114 w 127"/>
                  <a:gd name="T119" fmla="*/ 15 h 198"/>
                  <a:gd name="T120" fmla="*/ 110 w 127"/>
                  <a:gd name="T121" fmla="*/ 8 h 198"/>
                  <a:gd name="T122" fmla="*/ 114 w 127"/>
                  <a:gd name="T123" fmla="*/ 6 h 198"/>
                  <a:gd name="T124" fmla="*/ 110 w 127"/>
                  <a:gd name="T125" fmla="*/ 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 h="198">
                    <a:moveTo>
                      <a:pt x="104" y="198"/>
                    </a:moveTo>
                    <a:lnTo>
                      <a:pt x="104" y="196"/>
                    </a:lnTo>
                    <a:lnTo>
                      <a:pt x="104" y="198"/>
                    </a:lnTo>
                    <a:close/>
                    <a:moveTo>
                      <a:pt x="102" y="196"/>
                    </a:moveTo>
                    <a:lnTo>
                      <a:pt x="104" y="196"/>
                    </a:lnTo>
                    <a:lnTo>
                      <a:pt x="102" y="196"/>
                    </a:lnTo>
                    <a:close/>
                    <a:moveTo>
                      <a:pt x="104" y="194"/>
                    </a:moveTo>
                    <a:lnTo>
                      <a:pt x="104" y="196"/>
                    </a:lnTo>
                    <a:lnTo>
                      <a:pt x="102" y="194"/>
                    </a:lnTo>
                    <a:lnTo>
                      <a:pt x="104" y="194"/>
                    </a:lnTo>
                    <a:close/>
                    <a:moveTo>
                      <a:pt x="104" y="194"/>
                    </a:moveTo>
                    <a:lnTo>
                      <a:pt x="102" y="194"/>
                    </a:lnTo>
                    <a:lnTo>
                      <a:pt x="104" y="194"/>
                    </a:lnTo>
                    <a:close/>
                    <a:moveTo>
                      <a:pt x="106" y="196"/>
                    </a:moveTo>
                    <a:lnTo>
                      <a:pt x="104" y="196"/>
                    </a:lnTo>
                    <a:lnTo>
                      <a:pt x="104" y="194"/>
                    </a:lnTo>
                    <a:lnTo>
                      <a:pt x="106" y="196"/>
                    </a:lnTo>
                    <a:close/>
                    <a:moveTo>
                      <a:pt x="104" y="194"/>
                    </a:moveTo>
                    <a:lnTo>
                      <a:pt x="104" y="196"/>
                    </a:lnTo>
                    <a:lnTo>
                      <a:pt x="104" y="194"/>
                    </a:lnTo>
                    <a:close/>
                    <a:moveTo>
                      <a:pt x="108" y="196"/>
                    </a:moveTo>
                    <a:lnTo>
                      <a:pt x="106" y="196"/>
                    </a:lnTo>
                    <a:lnTo>
                      <a:pt x="108" y="196"/>
                    </a:lnTo>
                    <a:close/>
                    <a:moveTo>
                      <a:pt x="100" y="194"/>
                    </a:moveTo>
                    <a:lnTo>
                      <a:pt x="98" y="194"/>
                    </a:lnTo>
                    <a:lnTo>
                      <a:pt x="100" y="194"/>
                    </a:lnTo>
                    <a:close/>
                    <a:moveTo>
                      <a:pt x="106" y="196"/>
                    </a:moveTo>
                    <a:lnTo>
                      <a:pt x="106" y="194"/>
                    </a:lnTo>
                    <a:lnTo>
                      <a:pt x="106" y="196"/>
                    </a:lnTo>
                    <a:close/>
                    <a:moveTo>
                      <a:pt x="102" y="192"/>
                    </a:moveTo>
                    <a:lnTo>
                      <a:pt x="102" y="194"/>
                    </a:lnTo>
                    <a:lnTo>
                      <a:pt x="102" y="192"/>
                    </a:lnTo>
                    <a:close/>
                    <a:moveTo>
                      <a:pt x="108" y="194"/>
                    </a:moveTo>
                    <a:lnTo>
                      <a:pt x="106" y="194"/>
                    </a:lnTo>
                    <a:lnTo>
                      <a:pt x="108" y="196"/>
                    </a:lnTo>
                    <a:lnTo>
                      <a:pt x="106" y="194"/>
                    </a:lnTo>
                    <a:lnTo>
                      <a:pt x="108" y="194"/>
                    </a:lnTo>
                    <a:close/>
                    <a:moveTo>
                      <a:pt x="104" y="194"/>
                    </a:moveTo>
                    <a:lnTo>
                      <a:pt x="106" y="194"/>
                    </a:lnTo>
                    <a:lnTo>
                      <a:pt x="104" y="194"/>
                    </a:lnTo>
                    <a:close/>
                    <a:moveTo>
                      <a:pt x="106" y="194"/>
                    </a:moveTo>
                    <a:lnTo>
                      <a:pt x="108" y="194"/>
                    </a:lnTo>
                    <a:lnTo>
                      <a:pt x="106" y="194"/>
                    </a:lnTo>
                    <a:close/>
                    <a:moveTo>
                      <a:pt x="102" y="194"/>
                    </a:moveTo>
                    <a:lnTo>
                      <a:pt x="102" y="192"/>
                    </a:lnTo>
                    <a:lnTo>
                      <a:pt x="102" y="194"/>
                    </a:lnTo>
                    <a:close/>
                    <a:moveTo>
                      <a:pt x="104" y="194"/>
                    </a:moveTo>
                    <a:lnTo>
                      <a:pt x="104" y="192"/>
                    </a:lnTo>
                    <a:lnTo>
                      <a:pt x="104" y="194"/>
                    </a:lnTo>
                    <a:close/>
                    <a:moveTo>
                      <a:pt x="98" y="192"/>
                    </a:moveTo>
                    <a:lnTo>
                      <a:pt x="98" y="190"/>
                    </a:lnTo>
                    <a:lnTo>
                      <a:pt x="98" y="192"/>
                    </a:lnTo>
                    <a:close/>
                    <a:moveTo>
                      <a:pt x="106" y="194"/>
                    </a:moveTo>
                    <a:lnTo>
                      <a:pt x="106" y="192"/>
                    </a:lnTo>
                    <a:lnTo>
                      <a:pt x="106" y="194"/>
                    </a:lnTo>
                    <a:close/>
                    <a:moveTo>
                      <a:pt x="106" y="194"/>
                    </a:moveTo>
                    <a:lnTo>
                      <a:pt x="106" y="192"/>
                    </a:lnTo>
                    <a:lnTo>
                      <a:pt x="106" y="194"/>
                    </a:lnTo>
                    <a:close/>
                    <a:moveTo>
                      <a:pt x="108" y="192"/>
                    </a:moveTo>
                    <a:lnTo>
                      <a:pt x="106" y="194"/>
                    </a:lnTo>
                    <a:lnTo>
                      <a:pt x="106" y="192"/>
                    </a:lnTo>
                    <a:lnTo>
                      <a:pt x="108" y="192"/>
                    </a:lnTo>
                    <a:close/>
                    <a:moveTo>
                      <a:pt x="108" y="192"/>
                    </a:moveTo>
                    <a:lnTo>
                      <a:pt x="106" y="192"/>
                    </a:lnTo>
                    <a:lnTo>
                      <a:pt x="108" y="192"/>
                    </a:lnTo>
                    <a:close/>
                    <a:moveTo>
                      <a:pt x="100" y="190"/>
                    </a:moveTo>
                    <a:lnTo>
                      <a:pt x="98" y="190"/>
                    </a:lnTo>
                    <a:lnTo>
                      <a:pt x="100" y="190"/>
                    </a:lnTo>
                    <a:close/>
                    <a:moveTo>
                      <a:pt x="108" y="192"/>
                    </a:moveTo>
                    <a:lnTo>
                      <a:pt x="106" y="192"/>
                    </a:lnTo>
                    <a:lnTo>
                      <a:pt x="108" y="192"/>
                    </a:lnTo>
                    <a:close/>
                    <a:moveTo>
                      <a:pt x="100" y="190"/>
                    </a:moveTo>
                    <a:lnTo>
                      <a:pt x="98" y="190"/>
                    </a:lnTo>
                    <a:lnTo>
                      <a:pt x="100" y="190"/>
                    </a:lnTo>
                    <a:close/>
                    <a:moveTo>
                      <a:pt x="108" y="192"/>
                    </a:moveTo>
                    <a:lnTo>
                      <a:pt x="106" y="192"/>
                    </a:lnTo>
                    <a:lnTo>
                      <a:pt x="108" y="192"/>
                    </a:lnTo>
                    <a:close/>
                    <a:moveTo>
                      <a:pt x="106" y="192"/>
                    </a:moveTo>
                    <a:lnTo>
                      <a:pt x="108" y="192"/>
                    </a:lnTo>
                    <a:lnTo>
                      <a:pt x="106" y="192"/>
                    </a:lnTo>
                    <a:close/>
                    <a:moveTo>
                      <a:pt x="108" y="192"/>
                    </a:moveTo>
                    <a:lnTo>
                      <a:pt x="106" y="192"/>
                    </a:lnTo>
                    <a:lnTo>
                      <a:pt x="108" y="192"/>
                    </a:lnTo>
                    <a:close/>
                    <a:moveTo>
                      <a:pt x="104" y="190"/>
                    </a:moveTo>
                    <a:lnTo>
                      <a:pt x="104" y="192"/>
                    </a:lnTo>
                    <a:lnTo>
                      <a:pt x="104" y="190"/>
                    </a:lnTo>
                    <a:close/>
                    <a:moveTo>
                      <a:pt x="106" y="190"/>
                    </a:moveTo>
                    <a:lnTo>
                      <a:pt x="106" y="192"/>
                    </a:lnTo>
                    <a:lnTo>
                      <a:pt x="106" y="190"/>
                    </a:lnTo>
                    <a:close/>
                    <a:moveTo>
                      <a:pt x="106" y="192"/>
                    </a:moveTo>
                    <a:lnTo>
                      <a:pt x="106" y="190"/>
                    </a:lnTo>
                    <a:lnTo>
                      <a:pt x="106" y="192"/>
                    </a:lnTo>
                    <a:close/>
                    <a:moveTo>
                      <a:pt x="102" y="190"/>
                    </a:moveTo>
                    <a:lnTo>
                      <a:pt x="100" y="190"/>
                    </a:lnTo>
                    <a:lnTo>
                      <a:pt x="102" y="190"/>
                    </a:lnTo>
                    <a:close/>
                    <a:moveTo>
                      <a:pt x="106" y="192"/>
                    </a:moveTo>
                    <a:lnTo>
                      <a:pt x="106" y="190"/>
                    </a:lnTo>
                    <a:lnTo>
                      <a:pt x="106" y="192"/>
                    </a:lnTo>
                    <a:close/>
                    <a:moveTo>
                      <a:pt x="106" y="190"/>
                    </a:moveTo>
                    <a:lnTo>
                      <a:pt x="106" y="192"/>
                    </a:lnTo>
                    <a:lnTo>
                      <a:pt x="106" y="190"/>
                    </a:lnTo>
                    <a:close/>
                    <a:moveTo>
                      <a:pt x="100" y="190"/>
                    </a:moveTo>
                    <a:lnTo>
                      <a:pt x="100" y="188"/>
                    </a:lnTo>
                    <a:lnTo>
                      <a:pt x="100" y="190"/>
                    </a:lnTo>
                    <a:close/>
                    <a:moveTo>
                      <a:pt x="100" y="188"/>
                    </a:moveTo>
                    <a:lnTo>
                      <a:pt x="100" y="190"/>
                    </a:lnTo>
                    <a:lnTo>
                      <a:pt x="100" y="188"/>
                    </a:lnTo>
                    <a:close/>
                    <a:moveTo>
                      <a:pt x="104" y="190"/>
                    </a:moveTo>
                    <a:lnTo>
                      <a:pt x="102" y="190"/>
                    </a:lnTo>
                    <a:lnTo>
                      <a:pt x="104" y="190"/>
                    </a:lnTo>
                    <a:close/>
                    <a:moveTo>
                      <a:pt x="100" y="190"/>
                    </a:moveTo>
                    <a:lnTo>
                      <a:pt x="100" y="188"/>
                    </a:lnTo>
                    <a:lnTo>
                      <a:pt x="100" y="190"/>
                    </a:lnTo>
                    <a:close/>
                    <a:moveTo>
                      <a:pt x="102" y="190"/>
                    </a:moveTo>
                    <a:lnTo>
                      <a:pt x="102" y="188"/>
                    </a:lnTo>
                    <a:lnTo>
                      <a:pt x="102" y="190"/>
                    </a:lnTo>
                    <a:close/>
                    <a:moveTo>
                      <a:pt x="104" y="190"/>
                    </a:moveTo>
                    <a:lnTo>
                      <a:pt x="102" y="190"/>
                    </a:lnTo>
                    <a:lnTo>
                      <a:pt x="104" y="190"/>
                    </a:lnTo>
                    <a:close/>
                    <a:moveTo>
                      <a:pt x="102" y="190"/>
                    </a:moveTo>
                    <a:lnTo>
                      <a:pt x="102" y="188"/>
                    </a:lnTo>
                    <a:lnTo>
                      <a:pt x="102" y="190"/>
                    </a:lnTo>
                    <a:close/>
                    <a:moveTo>
                      <a:pt x="106" y="190"/>
                    </a:moveTo>
                    <a:lnTo>
                      <a:pt x="108" y="190"/>
                    </a:lnTo>
                    <a:lnTo>
                      <a:pt x="106" y="190"/>
                    </a:lnTo>
                    <a:close/>
                    <a:moveTo>
                      <a:pt x="108" y="190"/>
                    </a:moveTo>
                    <a:lnTo>
                      <a:pt x="106" y="190"/>
                    </a:lnTo>
                    <a:lnTo>
                      <a:pt x="108" y="190"/>
                    </a:lnTo>
                    <a:close/>
                    <a:moveTo>
                      <a:pt x="100" y="186"/>
                    </a:moveTo>
                    <a:lnTo>
                      <a:pt x="100" y="188"/>
                    </a:lnTo>
                    <a:lnTo>
                      <a:pt x="100" y="186"/>
                    </a:lnTo>
                    <a:close/>
                    <a:moveTo>
                      <a:pt x="100" y="186"/>
                    </a:moveTo>
                    <a:lnTo>
                      <a:pt x="100" y="188"/>
                    </a:lnTo>
                    <a:lnTo>
                      <a:pt x="100" y="186"/>
                    </a:lnTo>
                    <a:close/>
                    <a:moveTo>
                      <a:pt x="100" y="188"/>
                    </a:moveTo>
                    <a:lnTo>
                      <a:pt x="100" y="186"/>
                    </a:lnTo>
                    <a:lnTo>
                      <a:pt x="100" y="188"/>
                    </a:lnTo>
                    <a:close/>
                    <a:moveTo>
                      <a:pt x="110" y="188"/>
                    </a:moveTo>
                    <a:lnTo>
                      <a:pt x="108" y="188"/>
                    </a:lnTo>
                    <a:lnTo>
                      <a:pt x="110" y="188"/>
                    </a:lnTo>
                    <a:close/>
                    <a:moveTo>
                      <a:pt x="104" y="188"/>
                    </a:moveTo>
                    <a:lnTo>
                      <a:pt x="104" y="186"/>
                    </a:lnTo>
                    <a:lnTo>
                      <a:pt x="104" y="188"/>
                    </a:lnTo>
                    <a:close/>
                    <a:moveTo>
                      <a:pt x="102" y="186"/>
                    </a:moveTo>
                    <a:lnTo>
                      <a:pt x="100" y="186"/>
                    </a:lnTo>
                    <a:lnTo>
                      <a:pt x="102" y="186"/>
                    </a:lnTo>
                    <a:close/>
                    <a:moveTo>
                      <a:pt x="102" y="186"/>
                    </a:moveTo>
                    <a:lnTo>
                      <a:pt x="104" y="186"/>
                    </a:lnTo>
                    <a:lnTo>
                      <a:pt x="102" y="186"/>
                    </a:lnTo>
                    <a:lnTo>
                      <a:pt x="104" y="186"/>
                    </a:lnTo>
                    <a:lnTo>
                      <a:pt x="102" y="186"/>
                    </a:lnTo>
                    <a:close/>
                    <a:moveTo>
                      <a:pt x="104" y="186"/>
                    </a:moveTo>
                    <a:lnTo>
                      <a:pt x="102" y="186"/>
                    </a:lnTo>
                    <a:lnTo>
                      <a:pt x="104" y="186"/>
                    </a:lnTo>
                    <a:close/>
                    <a:moveTo>
                      <a:pt x="100" y="185"/>
                    </a:moveTo>
                    <a:lnTo>
                      <a:pt x="98" y="185"/>
                    </a:lnTo>
                    <a:lnTo>
                      <a:pt x="100" y="185"/>
                    </a:lnTo>
                    <a:close/>
                    <a:moveTo>
                      <a:pt x="108" y="186"/>
                    </a:moveTo>
                    <a:lnTo>
                      <a:pt x="106" y="186"/>
                    </a:lnTo>
                    <a:lnTo>
                      <a:pt x="108" y="186"/>
                    </a:lnTo>
                    <a:close/>
                    <a:moveTo>
                      <a:pt x="106" y="186"/>
                    </a:moveTo>
                    <a:lnTo>
                      <a:pt x="104" y="186"/>
                    </a:lnTo>
                    <a:lnTo>
                      <a:pt x="106" y="186"/>
                    </a:lnTo>
                    <a:close/>
                    <a:moveTo>
                      <a:pt x="102" y="185"/>
                    </a:moveTo>
                    <a:lnTo>
                      <a:pt x="100" y="185"/>
                    </a:lnTo>
                    <a:lnTo>
                      <a:pt x="102" y="185"/>
                    </a:lnTo>
                    <a:close/>
                    <a:moveTo>
                      <a:pt x="100" y="185"/>
                    </a:moveTo>
                    <a:lnTo>
                      <a:pt x="98" y="185"/>
                    </a:lnTo>
                    <a:lnTo>
                      <a:pt x="100" y="185"/>
                    </a:lnTo>
                    <a:close/>
                    <a:moveTo>
                      <a:pt x="98" y="185"/>
                    </a:moveTo>
                    <a:lnTo>
                      <a:pt x="98" y="183"/>
                    </a:lnTo>
                    <a:lnTo>
                      <a:pt x="98" y="185"/>
                    </a:lnTo>
                    <a:close/>
                    <a:moveTo>
                      <a:pt x="100" y="185"/>
                    </a:moveTo>
                    <a:lnTo>
                      <a:pt x="100" y="183"/>
                    </a:lnTo>
                    <a:lnTo>
                      <a:pt x="100" y="185"/>
                    </a:lnTo>
                    <a:close/>
                    <a:moveTo>
                      <a:pt x="100" y="183"/>
                    </a:moveTo>
                    <a:lnTo>
                      <a:pt x="100" y="185"/>
                    </a:lnTo>
                    <a:lnTo>
                      <a:pt x="100" y="183"/>
                    </a:lnTo>
                    <a:close/>
                    <a:moveTo>
                      <a:pt x="100" y="185"/>
                    </a:moveTo>
                    <a:lnTo>
                      <a:pt x="100" y="183"/>
                    </a:lnTo>
                    <a:lnTo>
                      <a:pt x="100" y="185"/>
                    </a:lnTo>
                    <a:close/>
                    <a:moveTo>
                      <a:pt x="102" y="185"/>
                    </a:moveTo>
                    <a:lnTo>
                      <a:pt x="102" y="183"/>
                    </a:lnTo>
                    <a:lnTo>
                      <a:pt x="102" y="185"/>
                    </a:lnTo>
                    <a:close/>
                    <a:moveTo>
                      <a:pt x="102" y="185"/>
                    </a:moveTo>
                    <a:lnTo>
                      <a:pt x="102" y="183"/>
                    </a:lnTo>
                    <a:lnTo>
                      <a:pt x="102" y="185"/>
                    </a:lnTo>
                    <a:close/>
                    <a:moveTo>
                      <a:pt x="102" y="183"/>
                    </a:moveTo>
                    <a:lnTo>
                      <a:pt x="100" y="183"/>
                    </a:lnTo>
                    <a:lnTo>
                      <a:pt x="102" y="183"/>
                    </a:lnTo>
                    <a:close/>
                    <a:moveTo>
                      <a:pt x="102" y="183"/>
                    </a:moveTo>
                    <a:lnTo>
                      <a:pt x="100" y="183"/>
                    </a:lnTo>
                    <a:lnTo>
                      <a:pt x="102" y="183"/>
                    </a:lnTo>
                    <a:close/>
                    <a:moveTo>
                      <a:pt x="102" y="183"/>
                    </a:moveTo>
                    <a:lnTo>
                      <a:pt x="100" y="183"/>
                    </a:lnTo>
                    <a:lnTo>
                      <a:pt x="102" y="183"/>
                    </a:lnTo>
                    <a:close/>
                    <a:moveTo>
                      <a:pt x="102" y="183"/>
                    </a:moveTo>
                    <a:lnTo>
                      <a:pt x="100" y="183"/>
                    </a:lnTo>
                    <a:lnTo>
                      <a:pt x="102" y="183"/>
                    </a:lnTo>
                    <a:close/>
                    <a:moveTo>
                      <a:pt x="100" y="183"/>
                    </a:moveTo>
                    <a:lnTo>
                      <a:pt x="100" y="181"/>
                    </a:lnTo>
                    <a:lnTo>
                      <a:pt x="100" y="183"/>
                    </a:lnTo>
                    <a:close/>
                    <a:moveTo>
                      <a:pt x="100" y="183"/>
                    </a:moveTo>
                    <a:lnTo>
                      <a:pt x="100" y="181"/>
                    </a:lnTo>
                    <a:lnTo>
                      <a:pt x="100" y="183"/>
                    </a:lnTo>
                    <a:close/>
                    <a:moveTo>
                      <a:pt x="102" y="183"/>
                    </a:moveTo>
                    <a:lnTo>
                      <a:pt x="102" y="181"/>
                    </a:lnTo>
                    <a:lnTo>
                      <a:pt x="102" y="183"/>
                    </a:lnTo>
                    <a:close/>
                    <a:moveTo>
                      <a:pt x="102" y="181"/>
                    </a:moveTo>
                    <a:lnTo>
                      <a:pt x="100" y="181"/>
                    </a:lnTo>
                    <a:lnTo>
                      <a:pt x="102" y="181"/>
                    </a:lnTo>
                    <a:close/>
                    <a:moveTo>
                      <a:pt x="102" y="181"/>
                    </a:moveTo>
                    <a:lnTo>
                      <a:pt x="102" y="183"/>
                    </a:lnTo>
                    <a:lnTo>
                      <a:pt x="102" y="181"/>
                    </a:lnTo>
                    <a:close/>
                    <a:moveTo>
                      <a:pt x="106" y="183"/>
                    </a:moveTo>
                    <a:lnTo>
                      <a:pt x="106" y="181"/>
                    </a:lnTo>
                    <a:lnTo>
                      <a:pt x="106" y="183"/>
                    </a:lnTo>
                    <a:close/>
                    <a:moveTo>
                      <a:pt x="104" y="181"/>
                    </a:moveTo>
                    <a:lnTo>
                      <a:pt x="102" y="181"/>
                    </a:lnTo>
                    <a:lnTo>
                      <a:pt x="104" y="181"/>
                    </a:lnTo>
                    <a:close/>
                    <a:moveTo>
                      <a:pt x="102" y="179"/>
                    </a:moveTo>
                    <a:lnTo>
                      <a:pt x="102" y="181"/>
                    </a:lnTo>
                    <a:lnTo>
                      <a:pt x="102" y="179"/>
                    </a:lnTo>
                    <a:close/>
                    <a:moveTo>
                      <a:pt x="102" y="179"/>
                    </a:moveTo>
                    <a:lnTo>
                      <a:pt x="102" y="181"/>
                    </a:lnTo>
                    <a:lnTo>
                      <a:pt x="102" y="179"/>
                    </a:lnTo>
                    <a:close/>
                    <a:moveTo>
                      <a:pt x="104" y="181"/>
                    </a:moveTo>
                    <a:lnTo>
                      <a:pt x="104" y="179"/>
                    </a:lnTo>
                    <a:lnTo>
                      <a:pt x="104" y="181"/>
                    </a:lnTo>
                    <a:close/>
                    <a:moveTo>
                      <a:pt x="104" y="181"/>
                    </a:moveTo>
                    <a:lnTo>
                      <a:pt x="104" y="179"/>
                    </a:lnTo>
                    <a:lnTo>
                      <a:pt x="104" y="181"/>
                    </a:lnTo>
                    <a:close/>
                    <a:moveTo>
                      <a:pt x="106" y="179"/>
                    </a:moveTo>
                    <a:lnTo>
                      <a:pt x="106" y="181"/>
                    </a:lnTo>
                    <a:lnTo>
                      <a:pt x="106" y="179"/>
                    </a:lnTo>
                    <a:close/>
                    <a:moveTo>
                      <a:pt x="104" y="179"/>
                    </a:moveTo>
                    <a:lnTo>
                      <a:pt x="104" y="181"/>
                    </a:lnTo>
                    <a:lnTo>
                      <a:pt x="104" y="179"/>
                    </a:lnTo>
                    <a:close/>
                    <a:moveTo>
                      <a:pt x="106" y="179"/>
                    </a:moveTo>
                    <a:lnTo>
                      <a:pt x="106" y="181"/>
                    </a:lnTo>
                    <a:lnTo>
                      <a:pt x="106" y="179"/>
                    </a:lnTo>
                    <a:close/>
                    <a:moveTo>
                      <a:pt x="102" y="177"/>
                    </a:moveTo>
                    <a:lnTo>
                      <a:pt x="102" y="179"/>
                    </a:lnTo>
                    <a:lnTo>
                      <a:pt x="102" y="177"/>
                    </a:lnTo>
                    <a:close/>
                    <a:moveTo>
                      <a:pt x="110" y="179"/>
                    </a:moveTo>
                    <a:lnTo>
                      <a:pt x="110" y="181"/>
                    </a:lnTo>
                    <a:lnTo>
                      <a:pt x="110" y="179"/>
                    </a:lnTo>
                    <a:close/>
                    <a:moveTo>
                      <a:pt x="104" y="179"/>
                    </a:moveTo>
                    <a:lnTo>
                      <a:pt x="104" y="177"/>
                    </a:lnTo>
                    <a:lnTo>
                      <a:pt x="104" y="179"/>
                    </a:lnTo>
                    <a:close/>
                    <a:moveTo>
                      <a:pt x="104" y="177"/>
                    </a:moveTo>
                    <a:lnTo>
                      <a:pt x="104" y="179"/>
                    </a:lnTo>
                    <a:lnTo>
                      <a:pt x="104" y="177"/>
                    </a:lnTo>
                    <a:close/>
                    <a:moveTo>
                      <a:pt x="104" y="177"/>
                    </a:moveTo>
                    <a:lnTo>
                      <a:pt x="102" y="177"/>
                    </a:lnTo>
                    <a:lnTo>
                      <a:pt x="104" y="177"/>
                    </a:lnTo>
                    <a:lnTo>
                      <a:pt x="102" y="177"/>
                    </a:lnTo>
                    <a:lnTo>
                      <a:pt x="104" y="177"/>
                    </a:lnTo>
                    <a:close/>
                    <a:moveTo>
                      <a:pt x="104" y="177"/>
                    </a:moveTo>
                    <a:lnTo>
                      <a:pt x="104" y="179"/>
                    </a:lnTo>
                    <a:lnTo>
                      <a:pt x="104" y="177"/>
                    </a:lnTo>
                    <a:close/>
                    <a:moveTo>
                      <a:pt x="106" y="179"/>
                    </a:moveTo>
                    <a:lnTo>
                      <a:pt x="104" y="179"/>
                    </a:lnTo>
                    <a:lnTo>
                      <a:pt x="106" y="177"/>
                    </a:lnTo>
                    <a:lnTo>
                      <a:pt x="106" y="179"/>
                    </a:lnTo>
                    <a:close/>
                    <a:moveTo>
                      <a:pt x="104" y="177"/>
                    </a:moveTo>
                    <a:lnTo>
                      <a:pt x="106" y="177"/>
                    </a:lnTo>
                    <a:lnTo>
                      <a:pt x="104" y="177"/>
                    </a:lnTo>
                    <a:close/>
                    <a:moveTo>
                      <a:pt x="106" y="179"/>
                    </a:moveTo>
                    <a:lnTo>
                      <a:pt x="106" y="177"/>
                    </a:lnTo>
                    <a:lnTo>
                      <a:pt x="106" y="179"/>
                    </a:lnTo>
                    <a:close/>
                    <a:moveTo>
                      <a:pt x="108" y="179"/>
                    </a:moveTo>
                    <a:lnTo>
                      <a:pt x="108" y="177"/>
                    </a:lnTo>
                    <a:lnTo>
                      <a:pt x="108" y="179"/>
                    </a:lnTo>
                    <a:close/>
                    <a:moveTo>
                      <a:pt x="108" y="177"/>
                    </a:moveTo>
                    <a:lnTo>
                      <a:pt x="108" y="179"/>
                    </a:lnTo>
                    <a:lnTo>
                      <a:pt x="108" y="177"/>
                    </a:lnTo>
                    <a:lnTo>
                      <a:pt x="108" y="179"/>
                    </a:lnTo>
                    <a:lnTo>
                      <a:pt x="108" y="177"/>
                    </a:lnTo>
                    <a:close/>
                    <a:moveTo>
                      <a:pt x="108" y="177"/>
                    </a:moveTo>
                    <a:lnTo>
                      <a:pt x="106" y="177"/>
                    </a:lnTo>
                    <a:lnTo>
                      <a:pt x="108" y="177"/>
                    </a:lnTo>
                    <a:close/>
                    <a:moveTo>
                      <a:pt x="104" y="177"/>
                    </a:moveTo>
                    <a:lnTo>
                      <a:pt x="104" y="175"/>
                    </a:lnTo>
                    <a:lnTo>
                      <a:pt x="104" y="177"/>
                    </a:lnTo>
                    <a:close/>
                    <a:moveTo>
                      <a:pt x="104" y="175"/>
                    </a:moveTo>
                    <a:lnTo>
                      <a:pt x="104" y="177"/>
                    </a:lnTo>
                    <a:lnTo>
                      <a:pt x="104" y="175"/>
                    </a:lnTo>
                    <a:close/>
                    <a:moveTo>
                      <a:pt x="104" y="175"/>
                    </a:moveTo>
                    <a:lnTo>
                      <a:pt x="102" y="175"/>
                    </a:lnTo>
                    <a:lnTo>
                      <a:pt x="102" y="173"/>
                    </a:lnTo>
                    <a:lnTo>
                      <a:pt x="104" y="173"/>
                    </a:lnTo>
                    <a:lnTo>
                      <a:pt x="104" y="175"/>
                    </a:lnTo>
                    <a:close/>
                    <a:moveTo>
                      <a:pt x="106" y="173"/>
                    </a:moveTo>
                    <a:lnTo>
                      <a:pt x="106" y="175"/>
                    </a:lnTo>
                    <a:lnTo>
                      <a:pt x="106" y="173"/>
                    </a:lnTo>
                    <a:close/>
                    <a:moveTo>
                      <a:pt x="108" y="173"/>
                    </a:moveTo>
                    <a:lnTo>
                      <a:pt x="108" y="175"/>
                    </a:lnTo>
                    <a:lnTo>
                      <a:pt x="108" y="173"/>
                    </a:lnTo>
                    <a:close/>
                    <a:moveTo>
                      <a:pt x="106" y="173"/>
                    </a:moveTo>
                    <a:lnTo>
                      <a:pt x="104" y="173"/>
                    </a:lnTo>
                    <a:lnTo>
                      <a:pt x="106" y="173"/>
                    </a:lnTo>
                    <a:close/>
                    <a:moveTo>
                      <a:pt x="106" y="173"/>
                    </a:moveTo>
                    <a:lnTo>
                      <a:pt x="104" y="173"/>
                    </a:lnTo>
                    <a:lnTo>
                      <a:pt x="106" y="173"/>
                    </a:lnTo>
                    <a:close/>
                    <a:moveTo>
                      <a:pt x="106" y="171"/>
                    </a:moveTo>
                    <a:lnTo>
                      <a:pt x="106" y="173"/>
                    </a:lnTo>
                    <a:lnTo>
                      <a:pt x="106" y="171"/>
                    </a:lnTo>
                    <a:close/>
                    <a:moveTo>
                      <a:pt x="106" y="171"/>
                    </a:moveTo>
                    <a:lnTo>
                      <a:pt x="106" y="173"/>
                    </a:lnTo>
                    <a:lnTo>
                      <a:pt x="106" y="171"/>
                    </a:lnTo>
                    <a:close/>
                    <a:moveTo>
                      <a:pt x="104" y="171"/>
                    </a:moveTo>
                    <a:lnTo>
                      <a:pt x="106" y="171"/>
                    </a:lnTo>
                    <a:lnTo>
                      <a:pt x="104" y="171"/>
                    </a:lnTo>
                    <a:close/>
                    <a:moveTo>
                      <a:pt x="106" y="173"/>
                    </a:moveTo>
                    <a:lnTo>
                      <a:pt x="106" y="171"/>
                    </a:lnTo>
                    <a:lnTo>
                      <a:pt x="106" y="173"/>
                    </a:lnTo>
                    <a:close/>
                    <a:moveTo>
                      <a:pt x="108" y="173"/>
                    </a:moveTo>
                    <a:lnTo>
                      <a:pt x="106" y="173"/>
                    </a:lnTo>
                    <a:lnTo>
                      <a:pt x="108" y="173"/>
                    </a:lnTo>
                    <a:close/>
                    <a:moveTo>
                      <a:pt x="100" y="171"/>
                    </a:moveTo>
                    <a:lnTo>
                      <a:pt x="102" y="171"/>
                    </a:lnTo>
                    <a:lnTo>
                      <a:pt x="100" y="171"/>
                    </a:lnTo>
                    <a:close/>
                    <a:moveTo>
                      <a:pt x="108" y="173"/>
                    </a:moveTo>
                    <a:lnTo>
                      <a:pt x="108" y="171"/>
                    </a:lnTo>
                    <a:lnTo>
                      <a:pt x="108" y="173"/>
                    </a:lnTo>
                    <a:close/>
                    <a:moveTo>
                      <a:pt x="108" y="173"/>
                    </a:moveTo>
                    <a:lnTo>
                      <a:pt x="108" y="171"/>
                    </a:lnTo>
                    <a:lnTo>
                      <a:pt x="108" y="173"/>
                    </a:lnTo>
                    <a:close/>
                    <a:moveTo>
                      <a:pt x="83" y="163"/>
                    </a:moveTo>
                    <a:lnTo>
                      <a:pt x="83" y="165"/>
                    </a:lnTo>
                    <a:lnTo>
                      <a:pt x="83" y="163"/>
                    </a:lnTo>
                    <a:close/>
                    <a:moveTo>
                      <a:pt x="83" y="165"/>
                    </a:moveTo>
                    <a:lnTo>
                      <a:pt x="83" y="163"/>
                    </a:lnTo>
                    <a:lnTo>
                      <a:pt x="83" y="165"/>
                    </a:lnTo>
                    <a:close/>
                    <a:moveTo>
                      <a:pt x="108" y="171"/>
                    </a:moveTo>
                    <a:lnTo>
                      <a:pt x="106" y="171"/>
                    </a:lnTo>
                    <a:lnTo>
                      <a:pt x="108" y="171"/>
                    </a:lnTo>
                    <a:close/>
                    <a:moveTo>
                      <a:pt x="102" y="169"/>
                    </a:moveTo>
                    <a:lnTo>
                      <a:pt x="100" y="169"/>
                    </a:lnTo>
                    <a:lnTo>
                      <a:pt x="102" y="169"/>
                    </a:lnTo>
                    <a:close/>
                    <a:moveTo>
                      <a:pt x="104" y="171"/>
                    </a:moveTo>
                    <a:lnTo>
                      <a:pt x="104" y="169"/>
                    </a:lnTo>
                    <a:lnTo>
                      <a:pt x="104" y="171"/>
                    </a:lnTo>
                    <a:close/>
                    <a:moveTo>
                      <a:pt x="108" y="171"/>
                    </a:moveTo>
                    <a:lnTo>
                      <a:pt x="106" y="171"/>
                    </a:lnTo>
                    <a:lnTo>
                      <a:pt x="108" y="171"/>
                    </a:lnTo>
                    <a:close/>
                    <a:moveTo>
                      <a:pt x="104" y="171"/>
                    </a:moveTo>
                    <a:lnTo>
                      <a:pt x="104" y="169"/>
                    </a:lnTo>
                    <a:lnTo>
                      <a:pt x="104" y="171"/>
                    </a:lnTo>
                    <a:close/>
                    <a:moveTo>
                      <a:pt x="104" y="171"/>
                    </a:moveTo>
                    <a:lnTo>
                      <a:pt x="104" y="169"/>
                    </a:lnTo>
                    <a:lnTo>
                      <a:pt x="104" y="171"/>
                    </a:lnTo>
                    <a:close/>
                    <a:moveTo>
                      <a:pt x="110" y="171"/>
                    </a:moveTo>
                    <a:lnTo>
                      <a:pt x="108" y="171"/>
                    </a:lnTo>
                    <a:lnTo>
                      <a:pt x="110" y="171"/>
                    </a:lnTo>
                    <a:close/>
                    <a:moveTo>
                      <a:pt x="106" y="171"/>
                    </a:moveTo>
                    <a:lnTo>
                      <a:pt x="106" y="169"/>
                    </a:lnTo>
                    <a:lnTo>
                      <a:pt x="106" y="171"/>
                    </a:lnTo>
                    <a:close/>
                    <a:moveTo>
                      <a:pt x="100" y="167"/>
                    </a:moveTo>
                    <a:lnTo>
                      <a:pt x="98" y="167"/>
                    </a:lnTo>
                    <a:lnTo>
                      <a:pt x="100" y="167"/>
                    </a:lnTo>
                    <a:close/>
                    <a:moveTo>
                      <a:pt x="102" y="169"/>
                    </a:moveTo>
                    <a:lnTo>
                      <a:pt x="104" y="169"/>
                    </a:lnTo>
                    <a:lnTo>
                      <a:pt x="102" y="169"/>
                    </a:lnTo>
                    <a:close/>
                    <a:moveTo>
                      <a:pt x="106" y="169"/>
                    </a:moveTo>
                    <a:lnTo>
                      <a:pt x="104" y="169"/>
                    </a:lnTo>
                    <a:lnTo>
                      <a:pt x="106" y="169"/>
                    </a:lnTo>
                    <a:close/>
                    <a:moveTo>
                      <a:pt x="108" y="171"/>
                    </a:moveTo>
                    <a:lnTo>
                      <a:pt x="108" y="169"/>
                    </a:lnTo>
                    <a:lnTo>
                      <a:pt x="108" y="171"/>
                    </a:lnTo>
                    <a:close/>
                    <a:moveTo>
                      <a:pt x="104" y="169"/>
                    </a:moveTo>
                    <a:lnTo>
                      <a:pt x="102" y="169"/>
                    </a:lnTo>
                    <a:lnTo>
                      <a:pt x="104" y="169"/>
                    </a:lnTo>
                    <a:close/>
                    <a:moveTo>
                      <a:pt x="102" y="169"/>
                    </a:moveTo>
                    <a:lnTo>
                      <a:pt x="102" y="167"/>
                    </a:lnTo>
                    <a:lnTo>
                      <a:pt x="102" y="169"/>
                    </a:lnTo>
                    <a:close/>
                    <a:moveTo>
                      <a:pt x="110" y="169"/>
                    </a:moveTo>
                    <a:lnTo>
                      <a:pt x="110" y="171"/>
                    </a:lnTo>
                    <a:lnTo>
                      <a:pt x="110" y="169"/>
                    </a:lnTo>
                    <a:close/>
                    <a:moveTo>
                      <a:pt x="102" y="167"/>
                    </a:moveTo>
                    <a:lnTo>
                      <a:pt x="102" y="169"/>
                    </a:lnTo>
                    <a:lnTo>
                      <a:pt x="102" y="167"/>
                    </a:lnTo>
                    <a:close/>
                    <a:moveTo>
                      <a:pt x="110" y="169"/>
                    </a:moveTo>
                    <a:lnTo>
                      <a:pt x="110" y="171"/>
                    </a:lnTo>
                    <a:lnTo>
                      <a:pt x="110" y="169"/>
                    </a:lnTo>
                    <a:close/>
                    <a:moveTo>
                      <a:pt x="104" y="167"/>
                    </a:moveTo>
                    <a:lnTo>
                      <a:pt x="104" y="169"/>
                    </a:lnTo>
                    <a:lnTo>
                      <a:pt x="104" y="167"/>
                    </a:lnTo>
                    <a:close/>
                    <a:moveTo>
                      <a:pt x="98" y="165"/>
                    </a:moveTo>
                    <a:lnTo>
                      <a:pt x="98" y="167"/>
                    </a:lnTo>
                    <a:lnTo>
                      <a:pt x="98" y="165"/>
                    </a:lnTo>
                    <a:close/>
                    <a:moveTo>
                      <a:pt x="98" y="165"/>
                    </a:moveTo>
                    <a:lnTo>
                      <a:pt x="98" y="167"/>
                    </a:lnTo>
                    <a:lnTo>
                      <a:pt x="98" y="165"/>
                    </a:lnTo>
                    <a:close/>
                    <a:moveTo>
                      <a:pt x="104" y="167"/>
                    </a:moveTo>
                    <a:lnTo>
                      <a:pt x="104" y="169"/>
                    </a:lnTo>
                    <a:lnTo>
                      <a:pt x="104" y="167"/>
                    </a:lnTo>
                    <a:close/>
                    <a:moveTo>
                      <a:pt x="106" y="169"/>
                    </a:moveTo>
                    <a:lnTo>
                      <a:pt x="106" y="167"/>
                    </a:lnTo>
                    <a:lnTo>
                      <a:pt x="106" y="169"/>
                    </a:lnTo>
                    <a:close/>
                    <a:moveTo>
                      <a:pt x="98" y="165"/>
                    </a:moveTo>
                    <a:lnTo>
                      <a:pt x="96" y="165"/>
                    </a:lnTo>
                    <a:lnTo>
                      <a:pt x="98" y="165"/>
                    </a:lnTo>
                    <a:close/>
                    <a:moveTo>
                      <a:pt x="102" y="167"/>
                    </a:moveTo>
                    <a:lnTo>
                      <a:pt x="102" y="165"/>
                    </a:lnTo>
                    <a:lnTo>
                      <a:pt x="102" y="167"/>
                    </a:lnTo>
                    <a:close/>
                    <a:moveTo>
                      <a:pt x="102" y="167"/>
                    </a:moveTo>
                    <a:lnTo>
                      <a:pt x="102" y="165"/>
                    </a:lnTo>
                    <a:lnTo>
                      <a:pt x="102" y="167"/>
                    </a:lnTo>
                    <a:close/>
                    <a:moveTo>
                      <a:pt x="102" y="165"/>
                    </a:moveTo>
                    <a:lnTo>
                      <a:pt x="102" y="167"/>
                    </a:lnTo>
                    <a:lnTo>
                      <a:pt x="102" y="165"/>
                    </a:lnTo>
                    <a:close/>
                    <a:moveTo>
                      <a:pt x="102" y="167"/>
                    </a:moveTo>
                    <a:lnTo>
                      <a:pt x="102" y="165"/>
                    </a:lnTo>
                    <a:lnTo>
                      <a:pt x="102" y="167"/>
                    </a:lnTo>
                    <a:close/>
                    <a:moveTo>
                      <a:pt x="102" y="165"/>
                    </a:moveTo>
                    <a:lnTo>
                      <a:pt x="102" y="167"/>
                    </a:lnTo>
                    <a:lnTo>
                      <a:pt x="102" y="165"/>
                    </a:lnTo>
                    <a:close/>
                    <a:moveTo>
                      <a:pt x="102" y="167"/>
                    </a:moveTo>
                    <a:lnTo>
                      <a:pt x="102" y="165"/>
                    </a:lnTo>
                    <a:lnTo>
                      <a:pt x="102" y="167"/>
                    </a:lnTo>
                    <a:close/>
                    <a:moveTo>
                      <a:pt x="102" y="165"/>
                    </a:moveTo>
                    <a:lnTo>
                      <a:pt x="100" y="165"/>
                    </a:lnTo>
                    <a:lnTo>
                      <a:pt x="102" y="165"/>
                    </a:lnTo>
                    <a:close/>
                    <a:moveTo>
                      <a:pt x="106" y="165"/>
                    </a:moveTo>
                    <a:lnTo>
                      <a:pt x="106" y="167"/>
                    </a:lnTo>
                    <a:lnTo>
                      <a:pt x="106" y="165"/>
                    </a:lnTo>
                    <a:close/>
                    <a:moveTo>
                      <a:pt x="106" y="165"/>
                    </a:moveTo>
                    <a:lnTo>
                      <a:pt x="106" y="167"/>
                    </a:lnTo>
                    <a:lnTo>
                      <a:pt x="106" y="165"/>
                    </a:lnTo>
                    <a:close/>
                    <a:moveTo>
                      <a:pt x="91" y="161"/>
                    </a:moveTo>
                    <a:lnTo>
                      <a:pt x="89" y="161"/>
                    </a:lnTo>
                    <a:lnTo>
                      <a:pt x="91" y="161"/>
                    </a:lnTo>
                    <a:close/>
                    <a:moveTo>
                      <a:pt x="98" y="163"/>
                    </a:moveTo>
                    <a:lnTo>
                      <a:pt x="100" y="163"/>
                    </a:lnTo>
                    <a:lnTo>
                      <a:pt x="98" y="163"/>
                    </a:lnTo>
                    <a:close/>
                    <a:moveTo>
                      <a:pt x="100" y="163"/>
                    </a:moveTo>
                    <a:lnTo>
                      <a:pt x="100" y="161"/>
                    </a:lnTo>
                    <a:lnTo>
                      <a:pt x="100" y="163"/>
                    </a:lnTo>
                    <a:close/>
                    <a:moveTo>
                      <a:pt x="92" y="160"/>
                    </a:moveTo>
                    <a:lnTo>
                      <a:pt x="94" y="160"/>
                    </a:lnTo>
                    <a:lnTo>
                      <a:pt x="92" y="160"/>
                    </a:lnTo>
                    <a:close/>
                    <a:moveTo>
                      <a:pt x="94" y="160"/>
                    </a:moveTo>
                    <a:lnTo>
                      <a:pt x="92" y="160"/>
                    </a:lnTo>
                    <a:lnTo>
                      <a:pt x="94" y="160"/>
                    </a:lnTo>
                    <a:close/>
                    <a:moveTo>
                      <a:pt x="98" y="161"/>
                    </a:moveTo>
                    <a:lnTo>
                      <a:pt x="98" y="160"/>
                    </a:lnTo>
                    <a:lnTo>
                      <a:pt x="98" y="161"/>
                    </a:lnTo>
                    <a:close/>
                    <a:moveTo>
                      <a:pt x="104" y="161"/>
                    </a:moveTo>
                    <a:lnTo>
                      <a:pt x="104" y="163"/>
                    </a:lnTo>
                    <a:lnTo>
                      <a:pt x="104" y="161"/>
                    </a:lnTo>
                    <a:close/>
                    <a:moveTo>
                      <a:pt x="98" y="160"/>
                    </a:moveTo>
                    <a:lnTo>
                      <a:pt x="98" y="161"/>
                    </a:lnTo>
                    <a:lnTo>
                      <a:pt x="98" y="160"/>
                    </a:lnTo>
                    <a:close/>
                    <a:moveTo>
                      <a:pt x="106" y="163"/>
                    </a:moveTo>
                    <a:lnTo>
                      <a:pt x="106" y="161"/>
                    </a:lnTo>
                    <a:lnTo>
                      <a:pt x="106" y="163"/>
                    </a:lnTo>
                    <a:close/>
                    <a:moveTo>
                      <a:pt x="89" y="158"/>
                    </a:moveTo>
                    <a:lnTo>
                      <a:pt x="87" y="158"/>
                    </a:lnTo>
                    <a:lnTo>
                      <a:pt x="89" y="158"/>
                    </a:lnTo>
                    <a:close/>
                    <a:moveTo>
                      <a:pt x="106" y="161"/>
                    </a:moveTo>
                    <a:lnTo>
                      <a:pt x="104" y="161"/>
                    </a:lnTo>
                    <a:lnTo>
                      <a:pt x="106" y="161"/>
                    </a:lnTo>
                    <a:close/>
                    <a:moveTo>
                      <a:pt x="92" y="158"/>
                    </a:moveTo>
                    <a:lnTo>
                      <a:pt x="91" y="158"/>
                    </a:lnTo>
                    <a:lnTo>
                      <a:pt x="92" y="158"/>
                    </a:lnTo>
                    <a:close/>
                    <a:moveTo>
                      <a:pt x="94" y="160"/>
                    </a:moveTo>
                    <a:lnTo>
                      <a:pt x="96" y="160"/>
                    </a:lnTo>
                    <a:lnTo>
                      <a:pt x="94" y="160"/>
                    </a:lnTo>
                    <a:close/>
                    <a:moveTo>
                      <a:pt x="96" y="158"/>
                    </a:moveTo>
                    <a:lnTo>
                      <a:pt x="96" y="160"/>
                    </a:lnTo>
                    <a:lnTo>
                      <a:pt x="96" y="158"/>
                    </a:lnTo>
                    <a:close/>
                    <a:moveTo>
                      <a:pt x="104" y="161"/>
                    </a:moveTo>
                    <a:lnTo>
                      <a:pt x="102" y="161"/>
                    </a:lnTo>
                    <a:lnTo>
                      <a:pt x="104" y="161"/>
                    </a:lnTo>
                    <a:close/>
                    <a:moveTo>
                      <a:pt x="85" y="156"/>
                    </a:moveTo>
                    <a:lnTo>
                      <a:pt x="87" y="156"/>
                    </a:lnTo>
                    <a:lnTo>
                      <a:pt x="85" y="156"/>
                    </a:lnTo>
                    <a:close/>
                    <a:moveTo>
                      <a:pt x="94" y="160"/>
                    </a:moveTo>
                    <a:lnTo>
                      <a:pt x="94" y="158"/>
                    </a:lnTo>
                    <a:lnTo>
                      <a:pt x="94" y="160"/>
                    </a:lnTo>
                    <a:close/>
                    <a:moveTo>
                      <a:pt x="96" y="158"/>
                    </a:moveTo>
                    <a:lnTo>
                      <a:pt x="94" y="158"/>
                    </a:lnTo>
                    <a:lnTo>
                      <a:pt x="96" y="158"/>
                    </a:lnTo>
                    <a:close/>
                    <a:moveTo>
                      <a:pt x="102" y="160"/>
                    </a:moveTo>
                    <a:lnTo>
                      <a:pt x="102" y="161"/>
                    </a:lnTo>
                    <a:lnTo>
                      <a:pt x="102" y="160"/>
                    </a:lnTo>
                    <a:close/>
                    <a:moveTo>
                      <a:pt x="106" y="161"/>
                    </a:moveTo>
                    <a:lnTo>
                      <a:pt x="104" y="161"/>
                    </a:lnTo>
                    <a:lnTo>
                      <a:pt x="106" y="161"/>
                    </a:lnTo>
                    <a:close/>
                    <a:moveTo>
                      <a:pt x="98" y="160"/>
                    </a:moveTo>
                    <a:lnTo>
                      <a:pt x="96" y="160"/>
                    </a:lnTo>
                    <a:lnTo>
                      <a:pt x="98" y="160"/>
                    </a:lnTo>
                    <a:close/>
                    <a:moveTo>
                      <a:pt x="98" y="160"/>
                    </a:moveTo>
                    <a:lnTo>
                      <a:pt x="98" y="158"/>
                    </a:lnTo>
                    <a:lnTo>
                      <a:pt x="98" y="160"/>
                    </a:lnTo>
                    <a:close/>
                    <a:moveTo>
                      <a:pt x="106" y="160"/>
                    </a:moveTo>
                    <a:lnTo>
                      <a:pt x="104" y="160"/>
                    </a:lnTo>
                    <a:lnTo>
                      <a:pt x="106" y="160"/>
                    </a:lnTo>
                    <a:close/>
                    <a:moveTo>
                      <a:pt x="100" y="160"/>
                    </a:moveTo>
                    <a:lnTo>
                      <a:pt x="98" y="160"/>
                    </a:lnTo>
                    <a:lnTo>
                      <a:pt x="98" y="158"/>
                    </a:lnTo>
                    <a:lnTo>
                      <a:pt x="100" y="160"/>
                    </a:lnTo>
                    <a:close/>
                    <a:moveTo>
                      <a:pt x="91" y="156"/>
                    </a:moveTo>
                    <a:lnTo>
                      <a:pt x="92" y="156"/>
                    </a:lnTo>
                    <a:lnTo>
                      <a:pt x="91" y="156"/>
                    </a:lnTo>
                    <a:close/>
                    <a:moveTo>
                      <a:pt x="96" y="158"/>
                    </a:moveTo>
                    <a:lnTo>
                      <a:pt x="94" y="158"/>
                    </a:lnTo>
                    <a:lnTo>
                      <a:pt x="96" y="158"/>
                    </a:lnTo>
                    <a:close/>
                    <a:moveTo>
                      <a:pt x="94" y="158"/>
                    </a:moveTo>
                    <a:lnTo>
                      <a:pt x="94" y="156"/>
                    </a:lnTo>
                    <a:lnTo>
                      <a:pt x="94" y="158"/>
                    </a:lnTo>
                    <a:close/>
                    <a:moveTo>
                      <a:pt x="102" y="160"/>
                    </a:moveTo>
                    <a:lnTo>
                      <a:pt x="102" y="158"/>
                    </a:lnTo>
                    <a:lnTo>
                      <a:pt x="102" y="160"/>
                    </a:lnTo>
                    <a:close/>
                    <a:moveTo>
                      <a:pt x="102" y="158"/>
                    </a:moveTo>
                    <a:lnTo>
                      <a:pt x="102" y="160"/>
                    </a:lnTo>
                    <a:lnTo>
                      <a:pt x="102" y="158"/>
                    </a:lnTo>
                    <a:lnTo>
                      <a:pt x="102" y="160"/>
                    </a:lnTo>
                    <a:lnTo>
                      <a:pt x="100" y="158"/>
                    </a:lnTo>
                    <a:lnTo>
                      <a:pt x="102" y="158"/>
                    </a:lnTo>
                    <a:close/>
                    <a:moveTo>
                      <a:pt x="94" y="158"/>
                    </a:moveTo>
                    <a:lnTo>
                      <a:pt x="94" y="156"/>
                    </a:lnTo>
                    <a:lnTo>
                      <a:pt x="96" y="156"/>
                    </a:lnTo>
                    <a:lnTo>
                      <a:pt x="94" y="156"/>
                    </a:lnTo>
                    <a:lnTo>
                      <a:pt x="94" y="158"/>
                    </a:lnTo>
                    <a:close/>
                    <a:moveTo>
                      <a:pt x="96" y="156"/>
                    </a:moveTo>
                    <a:lnTo>
                      <a:pt x="96" y="158"/>
                    </a:lnTo>
                    <a:lnTo>
                      <a:pt x="96" y="156"/>
                    </a:lnTo>
                    <a:close/>
                    <a:moveTo>
                      <a:pt x="92" y="156"/>
                    </a:moveTo>
                    <a:lnTo>
                      <a:pt x="94" y="156"/>
                    </a:lnTo>
                    <a:lnTo>
                      <a:pt x="92" y="156"/>
                    </a:lnTo>
                    <a:close/>
                    <a:moveTo>
                      <a:pt x="104" y="158"/>
                    </a:moveTo>
                    <a:lnTo>
                      <a:pt x="104" y="160"/>
                    </a:lnTo>
                    <a:lnTo>
                      <a:pt x="104" y="158"/>
                    </a:lnTo>
                    <a:close/>
                    <a:moveTo>
                      <a:pt x="104" y="158"/>
                    </a:moveTo>
                    <a:lnTo>
                      <a:pt x="104" y="160"/>
                    </a:lnTo>
                    <a:lnTo>
                      <a:pt x="104" y="158"/>
                    </a:lnTo>
                    <a:close/>
                    <a:moveTo>
                      <a:pt x="98" y="158"/>
                    </a:moveTo>
                    <a:lnTo>
                      <a:pt x="98" y="156"/>
                    </a:lnTo>
                    <a:lnTo>
                      <a:pt x="98" y="158"/>
                    </a:lnTo>
                    <a:close/>
                    <a:moveTo>
                      <a:pt x="94" y="156"/>
                    </a:moveTo>
                    <a:lnTo>
                      <a:pt x="92" y="156"/>
                    </a:lnTo>
                    <a:lnTo>
                      <a:pt x="94" y="156"/>
                    </a:lnTo>
                    <a:close/>
                    <a:moveTo>
                      <a:pt x="92" y="156"/>
                    </a:moveTo>
                    <a:lnTo>
                      <a:pt x="92" y="154"/>
                    </a:lnTo>
                    <a:lnTo>
                      <a:pt x="92" y="156"/>
                    </a:lnTo>
                    <a:close/>
                    <a:moveTo>
                      <a:pt x="104" y="158"/>
                    </a:moveTo>
                    <a:lnTo>
                      <a:pt x="102" y="158"/>
                    </a:lnTo>
                    <a:lnTo>
                      <a:pt x="104" y="158"/>
                    </a:lnTo>
                    <a:close/>
                    <a:moveTo>
                      <a:pt x="102" y="158"/>
                    </a:moveTo>
                    <a:lnTo>
                      <a:pt x="100" y="158"/>
                    </a:lnTo>
                    <a:lnTo>
                      <a:pt x="102" y="158"/>
                    </a:lnTo>
                    <a:close/>
                    <a:moveTo>
                      <a:pt x="92" y="154"/>
                    </a:moveTo>
                    <a:lnTo>
                      <a:pt x="91" y="154"/>
                    </a:lnTo>
                    <a:lnTo>
                      <a:pt x="92" y="154"/>
                    </a:lnTo>
                    <a:close/>
                    <a:moveTo>
                      <a:pt x="83" y="152"/>
                    </a:moveTo>
                    <a:lnTo>
                      <a:pt x="83" y="150"/>
                    </a:lnTo>
                    <a:lnTo>
                      <a:pt x="83" y="152"/>
                    </a:lnTo>
                    <a:close/>
                    <a:moveTo>
                      <a:pt x="100" y="156"/>
                    </a:moveTo>
                    <a:lnTo>
                      <a:pt x="98" y="156"/>
                    </a:lnTo>
                    <a:lnTo>
                      <a:pt x="100" y="156"/>
                    </a:lnTo>
                    <a:close/>
                    <a:moveTo>
                      <a:pt x="91" y="154"/>
                    </a:moveTo>
                    <a:lnTo>
                      <a:pt x="91" y="152"/>
                    </a:lnTo>
                    <a:lnTo>
                      <a:pt x="91" y="154"/>
                    </a:lnTo>
                    <a:close/>
                    <a:moveTo>
                      <a:pt x="94" y="154"/>
                    </a:moveTo>
                    <a:lnTo>
                      <a:pt x="92" y="154"/>
                    </a:lnTo>
                    <a:lnTo>
                      <a:pt x="94" y="154"/>
                    </a:lnTo>
                    <a:close/>
                    <a:moveTo>
                      <a:pt x="100" y="156"/>
                    </a:moveTo>
                    <a:lnTo>
                      <a:pt x="98" y="156"/>
                    </a:lnTo>
                    <a:lnTo>
                      <a:pt x="100" y="156"/>
                    </a:lnTo>
                    <a:close/>
                    <a:moveTo>
                      <a:pt x="81" y="150"/>
                    </a:moveTo>
                    <a:lnTo>
                      <a:pt x="83" y="150"/>
                    </a:lnTo>
                    <a:lnTo>
                      <a:pt x="81" y="150"/>
                    </a:lnTo>
                    <a:close/>
                    <a:moveTo>
                      <a:pt x="66" y="144"/>
                    </a:moveTo>
                    <a:lnTo>
                      <a:pt x="64" y="144"/>
                    </a:lnTo>
                    <a:lnTo>
                      <a:pt x="66" y="144"/>
                    </a:lnTo>
                    <a:close/>
                    <a:moveTo>
                      <a:pt x="96" y="154"/>
                    </a:moveTo>
                    <a:lnTo>
                      <a:pt x="98" y="154"/>
                    </a:lnTo>
                    <a:lnTo>
                      <a:pt x="96" y="154"/>
                    </a:lnTo>
                    <a:close/>
                    <a:moveTo>
                      <a:pt x="92" y="152"/>
                    </a:moveTo>
                    <a:lnTo>
                      <a:pt x="91" y="152"/>
                    </a:lnTo>
                    <a:lnTo>
                      <a:pt x="92" y="152"/>
                    </a:lnTo>
                    <a:close/>
                    <a:moveTo>
                      <a:pt x="89" y="152"/>
                    </a:moveTo>
                    <a:lnTo>
                      <a:pt x="87" y="152"/>
                    </a:lnTo>
                    <a:lnTo>
                      <a:pt x="89" y="152"/>
                    </a:lnTo>
                    <a:close/>
                    <a:moveTo>
                      <a:pt x="87" y="152"/>
                    </a:moveTo>
                    <a:lnTo>
                      <a:pt x="87" y="150"/>
                    </a:lnTo>
                    <a:lnTo>
                      <a:pt x="87" y="152"/>
                    </a:lnTo>
                    <a:close/>
                    <a:moveTo>
                      <a:pt x="89" y="150"/>
                    </a:moveTo>
                    <a:lnTo>
                      <a:pt x="87" y="150"/>
                    </a:lnTo>
                    <a:lnTo>
                      <a:pt x="89" y="150"/>
                    </a:lnTo>
                    <a:close/>
                    <a:moveTo>
                      <a:pt x="81" y="150"/>
                    </a:moveTo>
                    <a:lnTo>
                      <a:pt x="81" y="148"/>
                    </a:lnTo>
                    <a:lnTo>
                      <a:pt x="81" y="150"/>
                    </a:lnTo>
                    <a:close/>
                    <a:moveTo>
                      <a:pt x="83" y="150"/>
                    </a:moveTo>
                    <a:lnTo>
                      <a:pt x="83" y="148"/>
                    </a:lnTo>
                    <a:lnTo>
                      <a:pt x="83" y="150"/>
                    </a:lnTo>
                    <a:close/>
                    <a:moveTo>
                      <a:pt x="83" y="150"/>
                    </a:moveTo>
                    <a:lnTo>
                      <a:pt x="83" y="148"/>
                    </a:lnTo>
                    <a:lnTo>
                      <a:pt x="83" y="150"/>
                    </a:lnTo>
                    <a:close/>
                    <a:moveTo>
                      <a:pt x="81" y="148"/>
                    </a:moveTo>
                    <a:lnTo>
                      <a:pt x="81" y="150"/>
                    </a:lnTo>
                    <a:lnTo>
                      <a:pt x="81" y="148"/>
                    </a:lnTo>
                    <a:close/>
                    <a:moveTo>
                      <a:pt x="83" y="148"/>
                    </a:moveTo>
                    <a:lnTo>
                      <a:pt x="83" y="150"/>
                    </a:lnTo>
                    <a:lnTo>
                      <a:pt x="83" y="148"/>
                    </a:lnTo>
                    <a:close/>
                    <a:moveTo>
                      <a:pt x="83" y="148"/>
                    </a:moveTo>
                    <a:lnTo>
                      <a:pt x="81" y="148"/>
                    </a:lnTo>
                    <a:lnTo>
                      <a:pt x="83" y="148"/>
                    </a:lnTo>
                    <a:close/>
                    <a:moveTo>
                      <a:pt x="89" y="150"/>
                    </a:moveTo>
                    <a:lnTo>
                      <a:pt x="91" y="150"/>
                    </a:lnTo>
                    <a:lnTo>
                      <a:pt x="89" y="150"/>
                    </a:lnTo>
                    <a:close/>
                    <a:moveTo>
                      <a:pt x="91" y="152"/>
                    </a:moveTo>
                    <a:lnTo>
                      <a:pt x="91" y="150"/>
                    </a:lnTo>
                    <a:lnTo>
                      <a:pt x="91" y="152"/>
                    </a:lnTo>
                    <a:close/>
                    <a:moveTo>
                      <a:pt x="85" y="150"/>
                    </a:moveTo>
                    <a:lnTo>
                      <a:pt x="87" y="150"/>
                    </a:lnTo>
                    <a:lnTo>
                      <a:pt x="85" y="150"/>
                    </a:lnTo>
                    <a:close/>
                    <a:moveTo>
                      <a:pt x="91" y="150"/>
                    </a:moveTo>
                    <a:lnTo>
                      <a:pt x="89" y="150"/>
                    </a:lnTo>
                    <a:lnTo>
                      <a:pt x="91" y="150"/>
                    </a:lnTo>
                    <a:close/>
                    <a:moveTo>
                      <a:pt x="81" y="148"/>
                    </a:moveTo>
                    <a:lnTo>
                      <a:pt x="83" y="148"/>
                    </a:lnTo>
                    <a:lnTo>
                      <a:pt x="81" y="148"/>
                    </a:lnTo>
                    <a:close/>
                    <a:moveTo>
                      <a:pt x="91" y="150"/>
                    </a:moveTo>
                    <a:lnTo>
                      <a:pt x="89" y="150"/>
                    </a:lnTo>
                    <a:lnTo>
                      <a:pt x="91" y="150"/>
                    </a:lnTo>
                    <a:close/>
                    <a:moveTo>
                      <a:pt x="94" y="152"/>
                    </a:moveTo>
                    <a:lnTo>
                      <a:pt x="92" y="152"/>
                    </a:lnTo>
                    <a:lnTo>
                      <a:pt x="94" y="152"/>
                    </a:lnTo>
                    <a:close/>
                    <a:moveTo>
                      <a:pt x="91" y="150"/>
                    </a:moveTo>
                    <a:lnTo>
                      <a:pt x="89" y="150"/>
                    </a:lnTo>
                    <a:lnTo>
                      <a:pt x="91" y="150"/>
                    </a:lnTo>
                    <a:close/>
                    <a:moveTo>
                      <a:pt x="92" y="150"/>
                    </a:moveTo>
                    <a:lnTo>
                      <a:pt x="94" y="150"/>
                    </a:lnTo>
                    <a:lnTo>
                      <a:pt x="92" y="150"/>
                    </a:lnTo>
                    <a:close/>
                    <a:moveTo>
                      <a:pt x="102" y="154"/>
                    </a:moveTo>
                    <a:lnTo>
                      <a:pt x="102" y="152"/>
                    </a:lnTo>
                    <a:lnTo>
                      <a:pt x="102" y="154"/>
                    </a:lnTo>
                    <a:close/>
                    <a:moveTo>
                      <a:pt x="81" y="146"/>
                    </a:moveTo>
                    <a:lnTo>
                      <a:pt x="81" y="148"/>
                    </a:lnTo>
                    <a:lnTo>
                      <a:pt x="81" y="146"/>
                    </a:lnTo>
                    <a:close/>
                    <a:moveTo>
                      <a:pt x="85" y="146"/>
                    </a:moveTo>
                    <a:lnTo>
                      <a:pt x="85" y="148"/>
                    </a:lnTo>
                    <a:lnTo>
                      <a:pt x="83" y="146"/>
                    </a:lnTo>
                    <a:lnTo>
                      <a:pt x="85" y="146"/>
                    </a:lnTo>
                    <a:close/>
                    <a:moveTo>
                      <a:pt x="94" y="150"/>
                    </a:moveTo>
                    <a:lnTo>
                      <a:pt x="92" y="150"/>
                    </a:lnTo>
                    <a:lnTo>
                      <a:pt x="94" y="150"/>
                    </a:lnTo>
                    <a:close/>
                    <a:moveTo>
                      <a:pt x="94" y="150"/>
                    </a:moveTo>
                    <a:lnTo>
                      <a:pt x="92" y="150"/>
                    </a:lnTo>
                    <a:lnTo>
                      <a:pt x="94" y="150"/>
                    </a:lnTo>
                    <a:close/>
                    <a:moveTo>
                      <a:pt x="79" y="146"/>
                    </a:moveTo>
                    <a:lnTo>
                      <a:pt x="79" y="144"/>
                    </a:lnTo>
                    <a:lnTo>
                      <a:pt x="79" y="146"/>
                    </a:lnTo>
                    <a:close/>
                    <a:moveTo>
                      <a:pt x="67" y="142"/>
                    </a:moveTo>
                    <a:lnTo>
                      <a:pt x="67" y="140"/>
                    </a:lnTo>
                    <a:lnTo>
                      <a:pt x="67" y="142"/>
                    </a:lnTo>
                    <a:close/>
                    <a:moveTo>
                      <a:pt x="81" y="146"/>
                    </a:moveTo>
                    <a:lnTo>
                      <a:pt x="81" y="144"/>
                    </a:lnTo>
                    <a:lnTo>
                      <a:pt x="81" y="146"/>
                    </a:lnTo>
                    <a:close/>
                    <a:moveTo>
                      <a:pt x="79" y="144"/>
                    </a:moveTo>
                    <a:lnTo>
                      <a:pt x="79" y="142"/>
                    </a:lnTo>
                    <a:lnTo>
                      <a:pt x="79" y="144"/>
                    </a:lnTo>
                    <a:close/>
                    <a:moveTo>
                      <a:pt x="91" y="148"/>
                    </a:moveTo>
                    <a:lnTo>
                      <a:pt x="91" y="146"/>
                    </a:lnTo>
                    <a:lnTo>
                      <a:pt x="91" y="148"/>
                    </a:lnTo>
                    <a:close/>
                    <a:moveTo>
                      <a:pt x="75" y="140"/>
                    </a:moveTo>
                    <a:lnTo>
                      <a:pt x="75" y="142"/>
                    </a:lnTo>
                    <a:lnTo>
                      <a:pt x="75" y="140"/>
                    </a:lnTo>
                    <a:close/>
                    <a:moveTo>
                      <a:pt x="77" y="140"/>
                    </a:moveTo>
                    <a:lnTo>
                      <a:pt x="77" y="142"/>
                    </a:lnTo>
                    <a:lnTo>
                      <a:pt x="77" y="140"/>
                    </a:lnTo>
                    <a:close/>
                    <a:moveTo>
                      <a:pt x="79" y="142"/>
                    </a:moveTo>
                    <a:lnTo>
                      <a:pt x="81" y="142"/>
                    </a:lnTo>
                    <a:lnTo>
                      <a:pt x="79" y="142"/>
                    </a:lnTo>
                    <a:close/>
                    <a:moveTo>
                      <a:pt x="79" y="140"/>
                    </a:moveTo>
                    <a:lnTo>
                      <a:pt x="79" y="142"/>
                    </a:lnTo>
                    <a:lnTo>
                      <a:pt x="79" y="140"/>
                    </a:lnTo>
                    <a:close/>
                    <a:moveTo>
                      <a:pt x="79" y="142"/>
                    </a:moveTo>
                    <a:lnTo>
                      <a:pt x="79" y="140"/>
                    </a:lnTo>
                    <a:lnTo>
                      <a:pt x="79" y="142"/>
                    </a:lnTo>
                    <a:close/>
                    <a:moveTo>
                      <a:pt x="87" y="144"/>
                    </a:moveTo>
                    <a:lnTo>
                      <a:pt x="85" y="144"/>
                    </a:lnTo>
                    <a:lnTo>
                      <a:pt x="87" y="144"/>
                    </a:lnTo>
                    <a:close/>
                    <a:moveTo>
                      <a:pt x="79" y="142"/>
                    </a:moveTo>
                    <a:lnTo>
                      <a:pt x="79" y="140"/>
                    </a:lnTo>
                    <a:lnTo>
                      <a:pt x="79" y="142"/>
                    </a:lnTo>
                    <a:close/>
                    <a:moveTo>
                      <a:pt x="85" y="142"/>
                    </a:moveTo>
                    <a:lnTo>
                      <a:pt x="85" y="144"/>
                    </a:lnTo>
                    <a:lnTo>
                      <a:pt x="85" y="142"/>
                    </a:lnTo>
                    <a:close/>
                    <a:moveTo>
                      <a:pt x="83" y="142"/>
                    </a:moveTo>
                    <a:lnTo>
                      <a:pt x="81" y="142"/>
                    </a:lnTo>
                    <a:lnTo>
                      <a:pt x="83" y="142"/>
                    </a:lnTo>
                    <a:close/>
                    <a:moveTo>
                      <a:pt x="77" y="140"/>
                    </a:moveTo>
                    <a:lnTo>
                      <a:pt x="77" y="138"/>
                    </a:lnTo>
                    <a:lnTo>
                      <a:pt x="77" y="140"/>
                    </a:lnTo>
                    <a:close/>
                    <a:moveTo>
                      <a:pt x="73" y="138"/>
                    </a:moveTo>
                    <a:lnTo>
                      <a:pt x="73" y="136"/>
                    </a:lnTo>
                    <a:lnTo>
                      <a:pt x="73" y="138"/>
                    </a:lnTo>
                    <a:close/>
                    <a:moveTo>
                      <a:pt x="77" y="138"/>
                    </a:moveTo>
                    <a:lnTo>
                      <a:pt x="77" y="136"/>
                    </a:lnTo>
                    <a:lnTo>
                      <a:pt x="77" y="138"/>
                    </a:lnTo>
                    <a:close/>
                    <a:moveTo>
                      <a:pt x="79" y="136"/>
                    </a:moveTo>
                    <a:lnTo>
                      <a:pt x="79" y="138"/>
                    </a:lnTo>
                    <a:lnTo>
                      <a:pt x="79" y="136"/>
                    </a:lnTo>
                    <a:close/>
                    <a:moveTo>
                      <a:pt x="83" y="138"/>
                    </a:moveTo>
                    <a:lnTo>
                      <a:pt x="81" y="138"/>
                    </a:lnTo>
                    <a:lnTo>
                      <a:pt x="83" y="138"/>
                    </a:lnTo>
                    <a:close/>
                    <a:moveTo>
                      <a:pt x="79" y="138"/>
                    </a:moveTo>
                    <a:lnTo>
                      <a:pt x="79" y="136"/>
                    </a:lnTo>
                    <a:lnTo>
                      <a:pt x="79" y="138"/>
                    </a:lnTo>
                    <a:close/>
                    <a:moveTo>
                      <a:pt x="73" y="136"/>
                    </a:moveTo>
                    <a:lnTo>
                      <a:pt x="73" y="135"/>
                    </a:lnTo>
                    <a:lnTo>
                      <a:pt x="73" y="136"/>
                    </a:lnTo>
                    <a:close/>
                    <a:moveTo>
                      <a:pt x="79" y="136"/>
                    </a:moveTo>
                    <a:lnTo>
                      <a:pt x="79" y="138"/>
                    </a:lnTo>
                    <a:lnTo>
                      <a:pt x="79" y="136"/>
                    </a:lnTo>
                    <a:close/>
                    <a:moveTo>
                      <a:pt x="79" y="136"/>
                    </a:moveTo>
                    <a:lnTo>
                      <a:pt x="79" y="138"/>
                    </a:lnTo>
                    <a:lnTo>
                      <a:pt x="79" y="136"/>
                    </a:lnTo>
                    <a:close/>
                    <a:moveTo>
                      <a:pt x="79" y="136"/>
                    </a:moveTo>
                    <a:lnTo>
                      <a:pt x="77" y="136"/>
                    </a:lnTo>
                    <a:lnTo>
                      <a:pt x="79" y="136"/>
                    </a:lnTo>
                    <a:close/>
                    <a:moveTo>
                      <a:pt x="73" y="135"/>
                    </a:moveTo>
                    <a:lnTo>
                      <a:pt x="71" y="135"/>
                    </a:lnTo>
                    <a:lnTo>
                      <a:pt x="73" y="135"/>
                    </a:lnTo>
                    <a:close/>
                    <a:moveTo>
                      <a:pt x="77" y="135"/>
                    </a:moveTo>
                    <a:lnTo>
                      <a:pt x="75" y="135"/>
                    </a:lnTo>
                    <a:lnTo>
                      <a:pt x="77" y="135"/>
                    </a:lnTo>
                    <a:lnTo>
                      <a:pt x="75" y="135"/>
                    </a:lnTo>
                    <a:lnTo>
                      <a:pt x="77" y="135"/>
                    </a:lnTo>
                    <a:close/>
                    <a:moveTo>
                      <a:pt x="71" y="133"/>
                    </a:moveTo>
                    <a:lnTo>
                      <a:pt x="71" y="135"/>
                    </a:lnTo>
                    <a:lnTo>
                      <a:pt x="71" y="133"/>
                    </a:lnTo>
                    <a:close/>
                    <a:moveTo>
                      <a:pt x="75" y="135"/>
                    </a:moveTo>
                    <a:lnTo>
                      <a:pt x="77" y="135"/>
                    </a:lnTo>
                    <a:lnTo>
                      <a:pt x="75" y="135"/>
                    </a:lnTo>
                    <a:close/>
                    <a:moveTo>
                      <a:pt x="77" y="135"/>
                    </a:moveTo>
                    <a:lnTo>
                      <a:pt x="75" y="135"/>
                    </a:lnTo>
                    <a:lnTo>
                      <a:pt x="77" y="135"/>
                    </a:lnTo>
                    <a:close/>
                    <a:moveTo>
                      <a:pt x="73" y="135"/>
                    </a:moveTo>
                    <a:lnTo>
                      <a:pt x="75" y="135"/>
                    </a:lnTo>
                    <a:lnTo>
                      <a:pt x="73" y="135"/>
                    </a:lnTo>
                    <a:close/>
                    <a:moveTo>
                      <a:pt x="71" y="133"/>
                    </a:moveTo>
                    <a:lnTo>
                      <a:pt x="71" y="131"/>
                    </a:lnTo>
                    <a:lnTo>
                      <a:pt x="71" y="133"/>
                    </a:lnTo>
                    <a:close/>
                    <a:moveTo>
                      <a:pt x="75" y="131"/>
                    </a:moveTo>
                    <a:lnTo>
                      <a:pt x="75" y="133"/>
                    </a:lnTo>
                    <a:lnTo>
                      <a:pt x="75" y="131"/>
                    </a:lnTo>
                    <a:close/>
                    <a:moveTo>
                      <a:pt x="73" y="131"/>
                    </a:moveTo>
                    <a:lnTo>
                      <a:pt x="75" y="131"/>
                    </a:lnTo>
                    <a:lnTo>
                      <a:pt x="73" y="131"/>
                    </a:lnTo>
                    <a:close/>
                    <a:moveTo>
                      <a:pt x="71" y="131"/>
                    </a:moveTo>
                    <a:lnTo>
                      <a:pt x="71" y="129"/>
                    </a:lnTo>
                    <a:lnTo>
                      <a:pt x="71" y="131"/>
                    </a:lnTo>
                    <a:close/>
                    <a:moveTo>
                      <a:pt x="71" y="129"/>
                    </a:moveTo>
                    <a:lnTo>
                      <a:pt x="71" y="131"/>
                    </a:lnTo>
                    <a:lnTo>
                      <a:pt x="71" y="129"/>
                    </a:lnTo>
                    <a:close/>
                    <a:moveTo>
                      <a:pt x="71" y="129"/>
                    </a:moveTo>
                    <a:lnTo>
                      <a:pt x="69" y="129"/>
                    </a:lnTo>
                    <a:lnTo>
                      <a:pt x="71" y="129"/>
                    </a:lnTo>
                    <a:close/>
                    <a:moveTo>
                      <a:pt x="73" y="129"/>
                    </a:moveTo>
                    <a:lnTo>
                      <a:pt x="71" y="129"/>
                    </a:lnTo>
                    <a:lnTo>
                      <a:pt x="73" y="129"/>
                    </a:lnTo>
                    <a:close/>
                    <a:moveTo>
                      <a:pt x="77" y="131"/>
                    </a:moveTo>
                    <a:lnTo>
                      <a:pt x="75" y="131"/>
                    </a:lnTo>
                    <a:lnTo>
                      <a:pt x="77" y="131"/>
                    </a:lnTo>
                    <a:close/>
                    <a:moveTo>
                      <a:pt x="75" y="131"/>
                    </a:moveTo>
                    <a:lnTo>
                      <a:pt x="75" y="129"/>
                    </a:lnTo>
                    <a:lnTo>
                      <a:pt x="75" y="131"/>
                    </a:lnTo>
                    <a:close/>
                    <a:moveTo>
                      <a:pt x="75" y="131"/>
                    </a:moveTo>
                    <a:lnTo>
                      <a:pt x="75" y="129"/>
                    </a:lnTo>
                    <a:lnTo>
                      <a:pt x="75" y="131"/>
                    </a:lnTo>
                    <a:close/>
                    <a:moveTo>
                      <a:pt x="71" y="127"/>
                    </a:moveTo>
                    <a:lnTo>
                      <a:pt x="71" y="129"/>
                    </a:lnTo>
                    <a:lnTo>
                      <a:pt x="71" y="127"/>
                    </a:lnTo>
                    <a:close/>
                    <a:moveTo>
                      <a:pt x="71" y="127"/>
                    </a:moveTo>
                    <a:lnTo>
                      <a:pt x="69" y="127"/>
                    </a:lnTo>
                    <a:lnTo>
                      <a:pt x="71" y="127"/>
                    </a:lnTo>
                    <a:close/>
                    <a:moveTo>
                      <a:pt x="77" y="131"/>
                    </a:moveTo>
                    <a:lnTo>
                      <a:pt x="77" y="129"/>
                    </a:lnTo>
                    <a:lnTo>
                      <a:pt x="77" y="131"/>
                    </a:lnTo>
                    <a:close/>
                    <a:moveTo>
                      <a:pt x="71" y="127"/>
                    </a:moveTo>
                    <a:lnTo>
                      <a:pt x="69" y="127"/>
                    </a:lnTo>
                    <a:lnTo>
                      <a:pt x="71" y="127"/>
                    </a:lnTo>
                    <a:close/>
                    <a:moveTo>
                      <a:pt x="73" y="127"/>
                    </a:moveTo>
                    <a:lnTo>
                      <a:pt x="73" y="129"/>
                    </a:lnTo>
                    <a:lnTo>
                      <a:pt x="73" y="127"/>
                    </a:lnTo>
                    <a:close/>
                    <a:moveTo>
                      <a:pt x="73" y="127"/>
                    </a:moveTo>
                    <a:lnTo>
                      <a:pt x="73" y="129"/>
                    </a:lnTo>
                    <a:lnTo>
                      <a:pt x="73" y="127"/>
                    </a:lnTo>
                    <a:close/>
                    <a:moveTo>
                      <a:pt x="75" y="127"/>
                    </a:moveTo>
                    <a:lnTo>
                      <a:pt x="75" y="129"/>
                    </a:lnTo>
                    <a:lnTo>
                      <a:pt x="75" y="127"/>
                    </a:lnTo>
                    <a:close/>
                    <a:moveTo>
                      <a:pt x="71" y="127"/>
                    </a:moveTo>
                    <a:lnTo>
                      <a:pt x="73" y="127"/>
                    </a:lnTo>
                    <a:lnTo>
                      <a:pt x="71" y="127"/>
                    </a:lnTo>
                    <a:close/>
                    <a:moveTo>
                      <a:pt x="75" y="125"/>
                    </a:moveTo>
                    <a:lnTo>
                      <a:pt x="75" y="127"/>
                    </a:lnTo>
                    <a:lnTo>
                      <a:pt x="75" y="125"/>
                    </a:lnTo>
                    <a:close/>
                    <a:moveTo>
                      <a:pt x="73" y="125"/>
                    </a:moveTo>
                    <a:lnTo>
                      <a:pt x="73" y="123"/>
                    </a:lnTo>
                    <a:lnTo>
                      <a:pt x="73" y="125"/>
                    </a:lnTo>
                    <a:close/>
                    <a:moveTo>
                      <a:pt x="73" y="123"/>
                    </a:moveTo>
                    <a:lnTo>
                      <a:pt x="73" y="125"/>
                    </a:lnTo>
                    <a:lnTo>
                      <a:pt x="73" y="123"/>
                    </a:lnTo>
                    <a:close/>
                    <a:moveTo>
                      <a:pt x="71" y="121"/>
                    </a:moveTo>
                    <a:lnTo>
                      <a:pt x="71" y="123"/>
                    </a:lnTo>
                    <a:lnTo>
                      <a:pt x="71" y="121"/>
                    </a:lnTo>
                    <a:close/>
                    <a:moveTo>
                      <a:pt x="62" y="119"/>
                    </a:moveTo>
                    <a:lnTo>
                      <a:pt x="60" y="119"/>
                    </a:lnTo>
                    <a:lnTo>
                      <a:pt x="62" y="119"/>
                    </a:lnTo>
                    <a:close/>
                    <a:moveTo>
                      <a:pt x="69" y="121"/>
                    </a:moveTo>
                    <a:lnTo>
                      <a:pt x="67" y="121"/>
                    </a:lnTo>
                    <a:lnTo>
                      <a:pt x="69" y="121"/>
                    </a:lnTo>
                    <a:close/>
                    <a:moveTo>
                      <a:pt x="73" y="121"/>
                    </a:moveTo>
                    <a:lnTo>
                      <a:pt x="73" y="123"/>
                    </a:lnTo>
                    <a:lnTo>
                      <a:pt x="73" y="121"/>
                    </a:lnTo>
                    <a:lnTo>
                      <a:pt x="71" y="121"/>
                    </a:lnTo>
                    <a:lnTo>
                      <a:pt x="73" y="121"/>
                    </a:lnTo>
                    <a:close/>
                    <a:moveTo>
                      <a:pt x="69" y="119"/>
                    </a:moveTo>
                    <a:lnTo>
                      <a:pt x="69" y="121"/>
                    </a:lnTo>
                    <a:lnTo>
                      <a:pt x="69" y="119"/>
                    </a:lnTo>
                    <a:close/>
                    <a:moveTo>
                      <a:pt x="69" y="121"/>
                    </a:moveTo>
                    <a:lnTo>
                      <a:pt x="69" y="119"/>
                    </a:lnTo>
                    <a:lnTo>
                      <a:pt x="69" y="121"/>
                    </a:lnTo>
                    <a:close/>
                    <a:moveTo>
                      <a:pt x="69" y="119"/>
                    </a:moveTo>
                    <a:lnTo>
                      <a:pt x="67" y="119"/>
                    </a:lnTo>
                    <a:lnTo>
                      <a:pt x="69" y="119"/>
                    </a:lnTo>
                    <a:close/>
                    <a:moveTo>
                      <a:pt x="71" y="121"/>
                    </a:moveTo>
                    <a:lnTo>
                      <a:pt x="71" y="119"/>
                    </a:lnTo>
                    <a:lnTo>
                      <a:pt x="71" y="121"/>
                    </a:lnTo>
                    <a:close/>
                    <a:moveTo>
                      <a:pt x="73" y="121"/>
                    </a:moveTo>
                    <a:lnTo>
                      <a:pt x="73" y="119"/>
                    </a:lnTo>
                    <a:lnTo>
                      <a:pt x="73" y="121"/>
                    </a:lnTo>
                    <a:close/>
                    <a:moveTo>
                      <a:pt x="71" y="119"/>
                    </a:moveTo>
                    <a:lnTo>
                      <a:pt x="73" y="119"/>
                    </a:lnTo>
                    <a:lnTo>
                      <a:pt x="71" y="119"/>
                    </a:lnTo>
                    <a:close/>
                    <a:moveTo>
                      <a:pt x="67" y="119"/>
                    </a:moveTo>
                    <a:lnTo>
                      <a:pt x="67" y="117"/>
                    </a:lnTo>
                    <a:lnTo>
                      <a:pt x="67" y="119"/>
                    </a:lnTo>
                    <a:close/>
                    <a:moveTo>
                      <a:pt x="67" y="117"/>
                    </a:moveTo>
                    <a:lnTo>
                      <a:pt x="67" y="119"/>
                    </a:lnTo>
                    <a:lnTo>
                      <a:pt x="67" y="117"/>
                    </a:lnTo>
                    <a:close/>
                    <a:moveTo>
                      <a:pt x="69" y="119"/>
                    </a:moveTo>
                    <a:lnTo>
                      <a:pt x="69" y="117"/>
                    </a:lnTo>
                    <a:lnTo>
                      <a:pt x="69" y="119"/>
                    </a:lnTo>
                    <a:close/>
                    <a:moveTo>
                      <a:pt x="69" y="117"/>
                    </a:moveTo>
                    <a:lnTo>
                      <a:pt x="69" y="119"/>
                    </a:lnTo>
                    <a:lnTo>
                      <a:pt x="69" y="117"/>
                    </a:lnTo>
                    <a:close/>
                    <a:moveTo>
                      <a:pt x="73" y="119"/>
                    </a:moveTo>
                    <a:lnTo>
                      <a:pt x="71" y="119"/>
                    </a:lnTo>
                    <a:lnTo>
                      <a:pt x="73" y="119"/>
                    </a:lnTo>
                    <a:close/>
                    <a:moveTo>
                      <a:pt x="69" y="117"/>
                    </a:moveTo>
                    <a:lnTo>
                      <a:pt x="67" y="117"/>
                    </a:lnTo>
                    <a:lnTo>
                      <a:pt x="69" y="117"/>
                    </a:lnTo>
                    <a:close/>
                    <a:moveTo>
                      <a:pt x="69" y="119"/>
                    </a:moveTo>
                    <a:lnTo>
                      <a:pt x="69" y="117"/>
                    </a:lnTo>
                    <a:lnTo>
                      <a:pt x="69" y="119"/>
                    </a:lnTo>
                    <a:close/>
                    <a:moveTo>
                      <a:pt x="60" y="115"/>
                    </a:moveTo>
                    <a:lnTo>
                      <a:pt x="58" y="115"/>
                    </a:lnTo>
                    <a:lnTo>
                      <a:pt x="60" y="115"/>
                    </a:lnTo>
                    <a:close/>
                    <a:moveTo>
                      <a:pt x="60" y="113"/>
                    </a:moveTo>
                    <a:lnTo>
                      <a:pt x="58" y="115"/>
                    </a:lnTo>
                    <a:lnTo>
                      <a:pt x="58" y="113"/>
                    </a:lnTo>
                    <a:lnTo>
                      <a:pt x="60" y="113"/>
                    </a:lnTo>
                    <a:close/>
                    <a:moveTo>
                      <a:pt x="67" y="117"/>
                    </a:moveTo>
                    <a:lnTo>
                      <a:pt x="67" y="115"/>
                    </a:lnTo>
                    <a:lnTo>
                      <a:pt x="67" y="117"/>
                    </a:lnTo>
                    <a:close/>
                    <a:moveTo>
                      <a:pt x="64" y="115"/>
                    </a:moveTo>
                    <a:lnTo>
                      <a:pt x="62" y="115"/>
                    </a:lnTo>
                    <a:lnTo>
                      <a:pt x="64" y="115"/>
                    </a:lnTo>
                    <a:close/>
                    <a:moveTo>
                      <a:pt x="73" y="117"/>
                    </a:moveTo>
                    <a:lnTo>
                      <a:pt x="71" y="117"/>
                    </a:lnTo>
                    <a:lnTo>
                      <a:pt x="73" y="117"/>
                    </a:lnTo>
                    <a:close/>
                    <a:moveTo>
                      <a:pt x="73" y="117"/>
                    </a:moveTo>
                    <a:lnTo>
                      <a:pt x="71" y="117"/>
                    </a:lnTo>
                    <a:lnTo>
                      <a:pt x="73" y="117"/>
                    </a:lnTo>
                    <a:close/>
                    <a:moveTo>
                      <a:pt x="64" y="113"/>
                    </a:moveTo>
                    <a:lnTo>
                      <a:pt x="62" y="113"/>
                    </a:lnTo>
                    <a:lnTo>
                      <a:pt x="64" y="113"/>
                    </a:lnTo>
                    <a:close/>
                    <a:moveTo>
                      <a:pt x="60" y="111"/>
                    </a:moveTo>
                    <a:lnTo>
                      <a:pt x="62" y="111"/>
                    </a:lnTo>
                    <a:lnTo>
                      <a:pt x="60" y="111"/>
                    </a:lnTo>
                    <a:close/>
                    <a:moveTo>
                      <a:pt x="62" y="111"/>
                    </a:moveTo>
                    <a:lnTo>
                      <a:pt x="60" y="111"/>
                    </a:lnTo>
                    <a:lnTo>
                      <a:pt x="62" y="111"/>
                    </a:lnTo>
                    <a:close/>
                    <a:moveTo>
                      <a:pt x="62" y="111"/>
                    </a:moveTo>
                    <a:lnTo>
                      <a:pt x="60" y="111"/>
                    </a:lnTo>
                    <a:lnTo>
                      <a:pt x="62" y="111"/>
                    </a:lnTo>
                    <a:close/>
                    <a:moveTo>
                      <a:pt x="62" y="111"/>
                    </a:moveTo>
                    <a:lnTo>
                      <a:pt x="60" y="111"/>
                    </a:lnTo>
                    <a:lnTo>
                      <a:pt x="62" y="111"/>
                    </a:lnTo>
                    <a:close/>
                    <a:moveTo>
                      <a:pt x="62" y="111"/>
                    </a:moveTo>
                    <a:lnTo>
                      <a:pt x="64" y="111"/>
                    </a:lnTo>
                    <a:lnTo>
                      <a:pt x="62" y="111"/>
                    </a:lnTo>
                    <a:close/>
                    <a:moveTo>
                      <a:pt x="67" y="111"/>
                    </a:moveTo>
                    <a:lnTo>
                      <a:pt x="67" y="113"/>
                    </a:lnTo>
                    <a:lnTo>
                      <a:pt x="67" y="111"/>
                    </a:lnTo>
                    <a:close/>
                    <a:moveTo>
                      <a:pt x="66" y="111"/>
                    </a:moveTo>
                    <a:lnTo>
                      <a:pt x="64" y="111"/>
                    </a:lnTo>
                    <a:lnTo>
                      <a:pt x="66" y="111"/>
                    </a:lnTo>
                    <a:close/>
                    <a:moveTo>
                      <a:pt x="69" y="111"/>
                    </a:moveTo>
                    <a:lnTo>
                      <a:pt x="69" y="113"/>
                    </a:lnTo>
                    <a:lnTo>
                      <a:pt x="69" y="111"/>
                    </a:lnTo>
                    <a:close/>
                    <a:moveTo>
                      <a:pt x="64" y="110"/>
                    </a:moveTo>
                    <a:lnTo>
                      <a:pt x="64" y="111"/>
                    </a:lnTo>
                    <a:lnTo>
                      <a:pt x="64" y="110"/>
                    </a:lnTo>
                    <a:close/>
                    <a:moveTo>
                      <a:pt x="64" y="111"/>
                    </a:moveTo>
                    <a:lnTo>
                      <a:pt x="66" y="111"/>
                    </a:lnTo>
                    <a:lnTo>
                      <a:pt x="64" y="111"/>
                    </a:lnTo>
                    <a:close/>
                    <a:moveTo>
                      <a:pt x="64" y="110"/>
                    </a:moveTo>
                    <a:lnTo>
                      <a:pt x="64" y="111"/>
                    </a:lnTo>
                    <a:lnTo>
                      <a:pt x="64" y="110"/>
                    </a:lnTo>
                    <a:close/>
                    <a:moveTo>
                      <a:pt x="66" y="110"/>
                    </a:moveTo>
                    <a:lnTo>
                      <a:pt x="64" y="111"/>
                    </a:lnTo>
                    <a:lnTo>
                      <a:pt x="64" y="110"/>
                    </a:lnTo>
                    <a:lnTo>
                      <a:pt x="66" y="110"/>
                    </a:lnTo>
                    <a:close/>
                    <a:moveTo>
                      <a:pt x="67" y="111"/>
                    </a:moveTo>
                    <a:lnTo>
                      <a:pt x="69" y="111"/>
                    </a:lnTo>
                    <a:lnTo>
                      <a:pt x="67" y="111"/>
                    </a:lnTo>
                    <a:close/>
                    <a:moveTo>
                      <a:pt x="66" y="110"/>
                    </a:moveTo>
                    <a:lnTo>
                      <a:pt x="66" y="111"/>
                    </a:lnTo>
                    <a:lnTo>
                      <a:pt x="66" y="110"/>
                    </a:lnTo>
                    <a:close/>
                    <a:moveTo>
                      <a:pt x="67" y="111"/>
                    </a:moveTo>
                    <a:lnTo>
                      <a:pt x="66" y="111"/>
                    </a:lnTo>
                    <a:lnTo>
                      <a:pt x="67" y="111"/>
                    </a:lnTo>
                    <a:close/>
                    <a:moveTo>
                      <a:pt x="66" y="111"/>
                    </a:moveTo>
                    <a:lnTo>
                      <a:pt x="66" y="110"/>
                    </a:lnTo>
                    <a:lnTo>
                      <a:pt x="66" y="111"/>
                    </a:lnTo>
                    <a:close/>
                    <a:moveTo>
                      <a:pt x="66" y="108"/>
                    </a:moveTo>
                    <a:lnTo>
                      <a:pt x="66" y="110"/>
                    </a:lnTo>
                    <a:lnTo>
                      <a:pt x="66" y="108"/>
                    </a:lnTo>
                    <a:close/>
                    <a:moveTo>
                      <a:pt x="66" y="108"/>
                    </a:moveTo>
                    <a:lnTo>
                      <a:pt x="66" y="110"/>
                    </a:lnTo>
                    <a:lnTo>
                      <a:pt x="66" y="108"/>
                    </a:lnTo>
                    <a:close/>
                    <a:moveTo>
                      <a:pt x="67" y="110"/>
                    </a:moveTo>
                    <a:lnTo>
                      <a:pt x="67" y="108"/>
                    </a:lnTo>
                    <a:lnTo>
                      <a:pt x="67" y="110"/>
                    </a:lnTo>
                    <a:close/>
                    <a:moveTo>
                      <a:pt x="67" y="108"/>
                    </a:moveTo>
                    <a:lnTo>
                      <a:pt x="67" y="110"/>
                    </a:lnTo>
                    <a:lnTo>
                      <a:pt x="67" y="108"/>
                    </a:lnTo>
                    <a:lnTo>
                      <a:pt x="67" y="110"/>
                    </a:lnTo>
                    <a:lnTo>
                      <a:pt x="67" y="108"/>
                    </a:lnTo>
                    <a:close/>
                    <a:moveTo>
                      <a:pt x="67" y="108"/>
                    </a:moveTo>
                    <a:lnTo>
                      <a:pt x="66" y="108"/>
                    </a:lnTo>
                    <a:lnTo>
                      <a:pt x="67" y="108"/>
                    </a:lnTo>
                    <a:close/>
                    <a:moveTo>
                      <a:pt x="56" y="102"/>
                    </a:moveTo>
                    <a:lnTo>
                      <a:pt x="56" y="104"/>
                    </a:lnTo>
                    <a:lnTo>
                      <a:pt x="56" y="102"/>
                    </a:lnTo>
                    <a:close/>
                    <a:moveTo>
                      <a:pt x="60" y="104"/>
                    </a:moveTo>
                    <a:lnTo>
                      <a:pt x="60" y="102"/>
                    </a:lnTo>
                    <a:lnTo>
                      <a:pt x="60" y="104"/>
                    </a:lnTo>
                    <a:close/>
                    <a:moveTo>
                      <a:pt x="58" y="102"/>
                    </a:moveTo>
                    <a:lnTo>
                      <a:pt x="60" y="102"/>
                    </a:lnTo>
                    <a:lnTo>
                      <a:pt x="58" y="102"/>
                    </a:lnTo>
                    <a:close/>
                    <a:moveTo>
                      <a:pt x="77" y="108"/>
                    </a:moveTo>
                    <a:lnTo>
                      <a:pt x="77" y="106"/>
                    </a:lnTo>
                    <a:lnTo>
                      <a:pt x="77" y="108"/>
                    </a:lnTo>
                    <a:close/>
                    <a:moveTo>
                      <a:pt x="60" y="102"/>
                    </a:moveTo>
                    <a:lnTo>
                      <a:pt x="58" y="100"/>
                    </a:lnTo>
                    <a:lnTo>
                      <a:pt x="60" y="100"/>
                    </a:lnTo>
                    <a:lnTo>
                      <a:pt x="60" y="102"/>
                    </a:lnTo>
                    <a:close/>
                    <a:moveTo>
                      <a:pt x="60" y="102"/>
                    </a:moveTo>
                    <a:lnTo>
                      <a:pt x="60" y="100"/>
                    </a:lnTo>
                    <a:lnTo>
                      <a:pt x="60" y="102"/>
                    </a:lnTo>
                    <a:close/>
                    <a:moveTo>
                      <a:pt x="66" y="102"/>
                    </a:moveTo>
                    <a:lnTo>
                      <a:pt x="66" y="104"/>
                    </a:lnTo>
                    <a:lnTo>
                      <a:pt x="66" y="102"/>
                    </a:lnTo>
                    <a:close/>
                    <a:moveTo>
                      <a:pt x="67" y="104"/>
                    </a:moveTo>
                    <a:lnTo>
                      <a:pt x="67" y="102"/>
                    </a:lnTo>
                    <a:lnTo>
                      <a:pt x="67" y="104"/>
                    </a:lnTo>
                    <a:close/>
                    <a:moveTo>
                      <a:pt x="62" y="100"/>
                    </a:moveTo>
                    <a:lnTo>
                      <a:pt x="60" y="100"/>
                    </a:lnTo>
                    <a:lnTo>
                      <a:pt x="62" y="100"/>
                    </a:lnTo>
                    <a:close/>
                    <a:moveTo>
                      <a:pt x="64" y="100"/>
                    </a:moveTo>
                    <a:lnTo>
                      <a:pt x="64" y="102"/>
                    </a:lnTo>
                    <a:lnTo>
                      <a:pt x="64" y="100"/>
                    </a:lnTo>
                    <a:close/>
                    <a:moveTo>
                      <a:pt x="62" y="100"/>
                    </a:moveTo>
                    <a:lnTo>
                      <a:pt x="60" y="100"/>
                    </a:lnTo>
                    <a:lnTo>
                      <a:pt x="62" y="100"/>
                    </a:lnTo>
                    <a:close/>
                    <a:moveTo>
                      <a:pt x="60" y="98"/>
                    </a:moveTo>
                    <a:lnTo>
                      <a:pt x="62" y="98"/>
                    </a:lnTo>
                    <a:lnTo>
                      <a:pt x="60" y="98"/>
                    </a:lnTo>
                    <a:close/>
                    <a:moveTo>
                      <a:pt x="67" y="102"/>
                    </a:moveTo>
                    <a:lnTo>
                      <a:pt x="67" y="100"/>
                    </a:lnTo>
                    <a:lnTo>
                      <a:pt x="67" y="102"/>
                    </a:lnTo>
                    <a:close/>
                    <a:moveTo>
                      <a:pt x="62" y="100"/>
                    </a:moveTo>
                    <a:lnTo>
                      <a:pt x="62" y="98"/>
                    </a:lnTo>
                    <a:lnTo>
                      <a:pt x="62" y="100"/>
                    </a:lnTo>
                    <a:close/>
                    <a:moveTo>
                      <a:pt x="60" y="98"/>
                    </a:moveTo>
                    <a:lnTo>
                      <a:pt x="60" y="96"/>
                    </a:lnTo>
                    <a:lnTo>
                      <a:pt x="60" y="98"/>
                    </a:lnTo>
                    <a:close/>
                    <a:moveTo>
                      <a:pt x="62" y="98"/>
                    </a:moveTo>
                    <a:lnTo>
                      <a:pt x="60" y="98"/>
                    </a:lnTo>
                    <a:lnTo>
                      <a:pt x="60" y="96"/>
                    </a:lnTo>
                    <a:lnTo>
                      <a:pt x="62" y="96"/>
                    </a:lnTo>
                    <a:lnTo>
                      <a:pt x="62" y="98"/>
                    </a:lnTo>
                    <a:close/>
                    <a:moveTo>
                      <a:pt x="62" y="98"/>
                    </a:moveTo>
                    <a:lnTo>
                      <a:pt x="62" y="96"/>
                    </a:lnTo>
                    <a:lnTo>
                      <a:pt x="62" y="98"/>
                    </a:lnTo>
                    <a:close/>
                    <a:moveTo>
                      <a:pt x="62" y="98"/>
                    </a:moveTo>
                    <a:lnTo>
                      <a:pt x="62" y="96"/>
                    </a:lnTo>
                    <a:lnTo>
                      <a:pt x="62" y="98"/>
                    </a:lnTo>
                    <a:close/>
                    <a:moveTo>
                      <a:pt x="66" y="96"/>
                    </a:moveTo>
                    <a:lnTo>
                      <a:pt x="64" y="96"/>
                    </a:lnTo>
                    <a:lnTo>
                      <a:pt x="66" y="96"/>
                    </a:lnTo>
                    <a:close/>
                    <a:moveTo>
                      <a:pt x="64" y="94"/>
                    </a:moveTo>
                    <a:lnTo>
                      <a:pt x="64" y="96"/>
                    </a:lnTo>
                    <a:lnTo>
                      <a:pt x="64" y="94"/>
                    </a:lnTo>
                    <a:close/>
                    <a:moveTo>
                      <a:pt x="64" y="96"/>
                    </a:moveTo>
                    <a:lnTo>
                      <a:pt x="66" y="96"/>
                    </a:lnTo>
                    <a:lnTo>
                      <a:pt x="64" y="96"/>
                    </a:lnTo>
                    <a:close/>
                    <a:moveTo>
                      <a:pt x="64" y="96"/>
                    </a:moveTo>
                    <a:lnTo>
                      <a:pt x="64" y="94"/>
                    </a:lnTo>
                    <a:lnTo>
                      <a:pt x="64" y="96"/>
                    </a:lnTo>
                    <a:close/>
                    <a:moveTo>
                      <a:pt x="62" y="94"/>
                    </a:moveTo>
                    <a:lnTo>
                      <a:pt x="62" y="92"/>
                    </a:lnTo>
                    <a:lnTo>
                      <a:pt x="62" y="94"/>
                    </a:lnTo>
                    <a:lnTo>
                      <a:pt x="62" y="92"/>
                    </a:lnTo>
                    <a:lnTo>
                      <a:pt x="62" y="94"/>
                    </a:lnTo>
                    <a:close/>
                    <a:moveTo>
                      <a:pt x="58" y="92"/>
                    </a:moveTo>
                    <a:lnTo>
                      <a:pt x="58" y="90"/>
                    </a:lnTo>
                    <a:lnTo>
                      <a:pt x="58" y="92"/>
                    </a:lnTo>
                    <a:close/>
                    <a:moveTo>
                      <a:pt x="58" y="90"/>
                    </a:moveTo>
                    <a:lnTo>
                      <a:pt x="58" y="92"/>
                    </a:lnTo>
                    <a:lnTo>
                      <a:pt x="58" y="90"/>
                    </a:lnTo>
                    <a:close/>
                    <a:moveTo>
                      <a:pt x="60" y="92"/>
                    </a:moveTo>
                    <a:lnTo>
                      <a:pt x="62" y="92"/>
                    </a:lnTo>
                    <a:lnTo>
                      <a:pt x="60" y="92"/>
                    </a:lnTo>
                    <a:close/>
                    <a:moveTo>
                      <a:pt x="60" y="90"/>
                    </a:moveTo>
                    <a:lnTo>
                      <a:pt x="60" y="92"/>
                    </a:lnTo>
                    <a:lnTo>
                      <a:pt x="60" y="90"/>
                    </a:lnTo>
                    <a:lnTo>
                      <a:pt x="58" y="90"/>
                    </a:lnTo>
                    <a:lnTo>
                      <a:pt x="60" y="90"/>
                    </a:lnTo>
                    <a:close/>
                    <a:moveTo>
                      <a:pt x="60" y="90"/>
                    </a:moveTo>
                    <a:lnTo>
                      <a:pt x="60" y="92"/>
                    </a:lnTo>
                    <a:lnTo>
                      <a:pt x="60" y="90"/>
                    </a:lnTo>
                    <a:close/>
                    <a:moveTo>
                      <a:pt x="58" y="88"/>
                    </a:moveTo>
                    <a:lnTo>
                      <a:pt x="58" y="90"/>
                    </a:lnTo>
                    <a:lnTo>
                      <a:pt x="58" y="88"/>
                    </a:lnTo>
                    <a:close/>
                    <a:moveTo>
                      <a:pt x="60" y="90"/>
                    </a:moveTo>
                    <a:lnTo>
                      <a:pt x="58" y="90"/>
                    </a:lnTo>
                    <a:lnTo>
                      <a:pt x="60" y="88"/>
                    </a:lnTo>
                    <a:lnTo>
                      <a:pt x="60" y="90"/>
                    </a:lnTo>
                    <a:close/>
                    <a:moveTo>
                      <a:pt x="60" y="90"/>
                    </a:moveTo>
                    <a:lnTo>
                      <a:pt x="60" y="88"/>
                    </a:lnTo>
                    <a:lnTo>
                      <a:pt x="60" y="90"/>
                    </a:lnTo>
                    <a:close/>
                    <a:moveTo>
                      <a:pt x="60" y="90"/>
                    </a:moveTo>
                    <a:lnTo>
                      <a:pt x="60" y="88"/>
                    </a:lnTo>
                    <a:lnTo>
                      <a:pt x="60" y="90"/>
                    </a:lnTo>
                    <a:close/>
                    <a:moveTo>
                      <a:pt x="60" y="88"/>
                    </a:moveTo>
                    <a:lnTo>
                      <a:pt x="60" y="90"/>
                    </a:lnTo>
                    <a:lnTo>
                      <a:pt x="60" y="88"/>
                    </a:lnTo>
                    <a:lnTo>
                      <a:pt x="60" y="90"/>
                    </a:lnTo>
                    <a:lnTo>
                      <a:pt x="60" y="88"/>
                    </a:lnTo>
                    <a:close/>
                    <a:moveTo>
                      <a:pt x="60" y="88"/>
                    </a:moveTo>
                    <a:lnTo>
                      <a:pt x="58" y="88"/>
                    </a:lnTo>
                    <a:lnTo>
                      <a:pt x="60" y="88"/>
                    </a:lnTo>
                    <a:close/>
                    <a:moveTo>
                      <a:pt x="60" y="88"/>
                    </a:moveTo>
                    <a:lnTo>
                      <a:pt x="58" y="88"/>
                    </a:lnTo>
                    <a:lnTo>
                      <a:pt x="60" y="88"/>
                    </a:lnTo>
                    <a:close/>
                    <a:moveTo>
                      <a:pt x="58" y="88"/>
                    </a:moveTo>
                    <a:lnTo>
                      <a:pt x="60" y="88"/>
                    </a:lnTo>
                    <a:lnTo>
                      <a:pt x="58" y="88"/>
                    </a:lnTo>
                    <a:close/>
                    <a:moveTo>
                      <a:pt x="64" y="88"/>
                    </a:moveTo>
                    <a:lnTo>
                      <a:pt x="64" y="90"/>
                    </a:lnTo>
                    <a:lnTo>
                      <a:pt x="64" y="88"/>
                    </a:lnTo>
                    <a:close/>
                    <a:moveTo>
                      <a:pt x="64" y="88"/>
                    </a:moveTo>
                    <a:lnTo>
                      <a:pt x="64" y="90"/>
                    </a:lnTo>
                    <a:lnTo>
                      <a:pt x="64" y="88"/>
                    </a:lnTo>
                    <a:close/>
                    <a:moveTo>
                      <a:pt x="58" y="86"/>
                    </a:moveTo>
                    <a:lnTo>
                      <a:pt x="58" y="88"/>
                    </a:lnTo>
                    <a:lnTo>
                      <a:pt x="58" y="86"/>
                    </a:lnTo>
                    <a:close/>
                    <a:moveTo>
                      <a:pt x="60" y="88"/>
                    </a:moveTo>
                    <a:lnTo>
                      <a:pt x="60" y="86"/>
                    </a:lnTo>
                    <a:lnTo>
                      <a:pt x="60" y="88"/>
                    </a:lnTo>
                    <a:close/>
                    <a:moveTo>
                      <a:pt x="58" y="86"/>
                    </a:moveTo>
                    <a:lnTo>
                      <a:pt x="60" y="86"/>
                    </a:lnTo>
                    <a:lnTo>
                      <a:pt x="58" y="86"/>
                    </a:lnTo>
                    <a:close/>
                    <a:moveTo>
                      <a:pt x="62" y="86"/>
                    </a:moveTo>
                    <a:lnTo>
                      <a:pt x="62" y="88"/>
                    </a:lnTo>
                    <a:lnTo>
                      <a:pt x="62" y="86"/>
                    </a:lnTo>
                    <a:close/>
                    <a:moveTo>
                      <a:pt x="62" y="88"/>
                    </a:moveTo>
                    <a:lnTo>
                      <a:pt x="62" y="86"/>
                    </a:lnTo>
                    <a:lnTo>
                      <a:pt x="62" y="88"/>
                    </a:lnTo>
                    <a:close/>
                    <a:moveTo>
                      <a:pt x="62" y="86"/>
                    </a:moveTo>
                    <a:lnTo>
                      <a:pt x="60" y="86"/>
                    </a:lnTo>
                    <a:lnTo>
                      <a:pt x="62" y="86"/>
                    </a:lnTo>
                    <a:close/>
                    <a:moveTo>
                      <a:pt x="37" y="79"/>
                    </a:moveTo>
                    <a:lnTo>
                      <a:pt x="35" y="79"/>
                    </a:lnTo>
                    <a:lnTo>
                      <a:pt x="37" y="79"/>
                    </a:lnTo>
                    <a:close/>
                    <a:moveTo>
                      <a:pt x="69" y="88"/>
                    </a:moveTo>
                    <a:lnTo>
                      <a:pt x="67" y="88"/>
                    </a:lnTo>
                    <a:lnTo>
                      <a:pt x="69" y="88"/>
                    </a:lnTo>
                    <a:close/>
                    <a:moveTo>
                      <a:pt x="62" y="86"/>
                    </a:moveTo>
                    <a:lnTo>
                      <a:pt x="64" y="86"/>
                    </a:lnTo>
                    <a:lnTo>
                      <a:pt x="62" y="86"/>
                    </a:lnTo>
                    <a:close/>
                    <a:moveTo>
                      <a:pt x="60" y="86"/>
                    </a:moveTo>
                    <a:lnTo>
                      <a:pt x="60" y="85"/>
                    </a:lnTo>
                    <a:lnTo>
                      <a:pt x="60" y="86"/>
                    </a:lnTo>
                    <a:close/>
                    <a:moveTo>
                      <a:pt x="62" y="85"/>
                    </a:moveTo>
                    <a:lnTo>
                      <a:pt x="62" y="86"/>
                    </a:lnTo>
                    <a:lnTo>
                      <a:pt x="62" y="85"/>
                    </a:lnTo>
                    <a:close/>
                    <a:moveTo>
                      <a:pt x="60" y="85"/>
                    </a:moveTo>
                    <a:lnTo>
                      <a:pt x="62" y="85"/>
                    </a:lnTo>
                    <a:lnTo>
                      <a:pt x="60" y="85"/>
                    </a:lnTo>
                    <a:close/>
                    <a:moveTo>
                      <a:pt x="60" y="85"/>
                    </a:moveTo>
                    <a:lnTo>
                      <a:pt x="60" y="83"/>
                    </a:lnTo>
                    <a:lnTo>
                      <a:pt x="60" y="85"/>
                    </a:lnTo>
                    <a:close/>
                    <a:moveTo>
                      <a:pt x="62" y="83"/>
                    </a:moveTo>
                    <a:lnTo>
                      <a:pt x="60" y="83"/>
                    </a:lnTo>
                    <a:lnTo>
                      <a:pt x="62" y="83"/>
                    </a:lnTo>
                    <a:close/>
                    <a:moveTo>
                      <a:pt x="50" y="79"/>
                    </a:moveTo>
                    <a:lnTo>
                      <a:pt x="50" y="81"/>
                    </a:lnTo>
                    <a:lnTo>
                      <a:pt x="50" y="79"/>
                    </a:lnTo>
                    <a:close/>
                    <a:moveTo>
                      <a:pt x="69" y="86"/>
                    </a:moveTo>
                    <a:lnTo>
                      <a:pt x="69" y="85"/>
                    </a:lnTo>
                    <a:lnTo>
                      <a:pt x="69" y="86"/>
                    </a:lnTo>
                    <a:close/>
                    <a:moveTo>
                      <a:pt x="52" y="79"/>
                    </a:moveTo>
                    <a:lnTo>
                      <a:pt x="50" y="79"/>
                    </a:lnTo>
                    <a:lnTo>
                      <a:pt x="52" y="79"/>
                    </a:lnTo>
                    <a:close/>
                    <a:moveTo>
                      <a:pt x="66" y="85"/>
                    </a:moveTo>
                    <a:lnTo>
                      <a:pt x="66" y="83"/>
                    </a:lnTo>
                    <a:lnTo>
                      <a:pt x="66" y="85"/>
                    </a:lnTo>
                    <a:close/>
                    <a:moveTo>
                      <a:pt x="60" y="83"/>
                    </a:moveTo>
                    <a:lnTo>
                      <a:pt x="60" y="81"/>
                    </a:lnTo>
                    <a:lnTo>
                      <a:pt x="60" y="83"/>
                    </a:lnTo>
                    <a:close/>
                    <a:moveTo>
                      <a:pt x="71" y="85"/>
                    </a:moveTo>
                    <a:lnTo>
                      <a:pt x="71" y="86"/>
                    </a:lnTo>
                    <a:lnTo>
                      <a:pt x="71" y="85"/>
                    </a:lnTo>
                    <a:close/>
                    <a:moveTo>
                      <a:pt x="44" y="75"/>
                    </a:moveTo>
                    <a:lnTo>
                      <a:pt x="42" y="75"/>
                    </a:lnTo>
                    <a:lnTo>
                      <a:pt x="44" y="75"/>
                    </a:lnTo>
                    <a:close/>
                    <a:moveTo>
                      <a:pt x="44" y="75"/>
                    </a:moveTo>
                    <a:lnTo>
                      <a:pt x="42" y="75"/>
                    </a:lnTo>
                    <a:lnTo>
                      <a:pt x="44" y="75"/>
                    </a:lnTo>
                    <a:close/>
                    <a:moveTo>
                      <a:pt x="52" y="77"/>
                    </a:moveTo>
                    <a:lnTo>
                      <a:pt x="50" y="77"/>
                    </a:lnTo>
                    <a:lnTo>
                      <a:pt x="52" y="77"/>
                    </a:lnTo>
                    <a:close/>
                    <a:moveTo>
                      <a:pt x="50" y="77"/>
                    </a:moveTo>
                    <a:lnTo>
                      <a:pt x="50" y="75"/>
                    </a:lnTo>
                    <a:lnTo>
                      <a:pt x="50" y="77"/>
                    </a:lnTo>
                    <a:close/>
                    <a:moveTo>
                      <a:pt x="50" y="77"/>
                    </a:moveTo>
                    <a:lnTo>
                      <a:pt x="50" y="75"/>
                    </a:lnTo>
                    <a:lnTo>
                      <a:pt x="50" y="77"/>
                    </a:lnTo>
                    <a:close/>
                    <a:moveTo>
                      <a:pt x="64" y="81"/>
                    </a:moveTo>
                    <a:lnTo>
                      <a:pt x="64" y="79"/>
                    </a:lnTo>
                    <a:lnTo>
                      <a:pt x="64" y="81"/>
                    </a:lnTo>
                    <a:close/>
                    <a:moveTo>
                      <a:pt x="52" y="77"/>
                    </a:moveTo>
                    <a:lnTo>
                      <a:pt x="52" y="75"/>
                    </a:lnTo>
                    <a:lnTo>
                      <a:pt x="52" y="77"/>
                    </a:lnTo>
                    <a:close/>
                    <a:moveTo>
                      <a:pt x="66" y="81"/>
                    </a:moveTo>
                    <a:lnTo>
                      <a:pt x="66" y="79"/>
                    </a:lnTo>
                    <a:lnTo>
                      <a:pt x="66" y="81"/>
                    </a:lnTo>
                    <a:close/>
                    <a:moveTo>
                      <a:pt x="73" y="81"/>
                    </a:moveTo>
                    <a:lnTo>
                      <a:pt x="71" y="81"/>
                    </a:lnTo>
                    <a:lnTo>
                      <a:pt x="73" y="81"/>
                    </a:lnTo>
                    <a:close/>
                    <a:moveTo>
                      <a:pt x="66" y="79"/>
                    </a:moveTo>
                    <a:lnTo>
                      <a:pt x="64" y="79"/>
                    </a:lnTo>
                    <a:lnTo>
                      <a:pt x="66" y="79"/>
                    </a:lnTo>
                    <a:close/>
                    <a:moveTo>
                      <a:pt x="69" y="81"/>
                    </a:moveTo>
                    <a:lnTo>
                      <a:pt x="67" y="81"/>
                    </a:lnTo>
                    <a:lnTo>
                      <a:pt x="69" y="81"/>
                    </a:lnTo>
                    <a:close/>
                    <a:moveTo>
                      <a:pt x="66" y="81"/>
                    </a:moveTo>
                    <a:lnTo>
                      <a:pt x="66" y="79"/>
                    </a:lnTo>
                    <a:lnTo>
                      <a:pt x="66" y="81"/>
                    </a:lnTo>
                    <a:close/>
                    <a:moveTo>
                      <a:pt x="73" y="81"/>
                    </a:moveTo>
                    <a:lnTo>
                      <a:pt x="71" y="81"/>
                    </a:lnTo>
                    <a:lnTo>
                      <a:pt x="73" y="81"/>
                    </a:lnTo>
                    <a:close/>
                    <a:moveTo>
                      <a:pt x="71" y="81"/>
                    </a:moveTo>
                    <a:lnTo>
                      <a:pt x="73" y="81"/>
                    </a:lnTo>
                    <a:lnTo>
                      <a:pt x="71" y="81"/>
                    </a:lnTo>
                    <a:close/>
                    <a:moveTo>
                      <a:pt x="71" y="81"/>
                    </a:moveTo>
                    <a:lnTo>
                      <a:pt x="73" y="81"/>
                    </a:lnTo>
                    <a:lnTo>
                      <a:pt x="71" y="81"/>
                    </a:lnTo>
                    <a:close/>
                    <a:moveTo>
                      <a:pt x="69" y="79"/>
                    </a:moveTo>
                    <a:lnTo>
                      <a:pt x="71" y="79"/>
                    </a:lnTo>
                    <a:lnTo>
                      <a:pt x="69" y="79"/>
                    </a:lnTo>
                    <a:close/>
                    <a:moveTo>
                      <a:pt x="73" y="79"/>
                    </a:moveTo>
                    <a:lnTo>
                      <a:pt x="73" y="81"/>
                    </a:lnTo>
                    <a:lnTo>
                      <a:pt x="73" y="79"/>
                    </a:lnTo>
                    <a:close/>
                    <a:moveTo>
                      <a:pt x="71" y="79"/>
                    </a:moveTo>
                    <a:lnTo>
                      <a:pt x="69" y="79"/>
                    </a:lnTo>
                    <a:lnTo>
                      <a:pt x="71" y="79"/>
                    </a:lnTo>
                    <a:close/>
                    <a:moveTo>
                      <a:pt x="54" y="71"/>
                    </a:moveTo>
                    <a:lnTo>
                      <a:pt x="52" y="71"/>
                    </a:lnTo>
                    <a:lnTo>
                      <a:pt x="54" y="71"/>
                    </a:lnTo>
                    <a:close/>
                    <a:moveTo>
                      <a:pt x="71" y="75"/>
                    </a:moveTo>
                    <a:lnTo>
                      <a:pt x="71" y="77"/>
                    </a:lnTo>
                    <a:lnTo>
                      <a:pt x="71" y="75"/>
                    </a:lnTo>
                    <a:close/>
                    <a:moveTo>
                      <a:pt x="52" y="69"/>
                    </a:moveTo>
                    <a:lnTo>
                      <a:pt x="52" y="67"/>
                    </a:lnTo>
                    <a:lnTo>
                      <a:pt x="52" y="69"/>
                    </a:lnTo>
                    <a:close/>
                    <a:moveTo>
                      <a:pt x="71" y="75"/>
                    </a:moveTo>
                    <a:lnTo>
                      <a:pt x="71" y="73"/>
                    </a:lnTo>
                    <a:lnTo>
                      <a:pt x="71" y="75"/>
                    </a:lnTo>
                    <a:close/>
                    <a:moveTo>
                      <a:pt x="71" y="75"/>
                    </a:moveTo>
                    <a:lnTo>
                      <a:pt x="71" y="73"/>
                    </a:lnTo>
                    <a:lnTo>
                      <a:pt x="71" y="75"/>
                    </a:lnTo>
                    <a:close/>
                    <a:moveTo>
                      <a:pt x="73" y="75"/>
                    </a:moveTo>
                    <a:lnTo>
                      <a:pt x="73" y="73"/>
                    </a:lnTo>
                    <a:lnTo>
                      <a:pt x="73" y="75"/>
                    </a:lnTo>
                    <a:close/>
                    <a:moveTo>
                      <a:pt x="73" y="75"/>
                    </a:moveTo>
                    <a:lnTo>
                      <a:pt x="73" y="73"/>
                    </a:lnTo>
                    <a:lnTo>
                      <a:pt x="73" y="75"/>
                    </a:lnTo>
                    <a:close/>
                    <a:moveTo>
                      <a:pt x="75" y="75"/>
                    </a:moveTo>
                    <a:lnTo>
                      <a:pt x="75" y="73"/>
                    </a:lnTo>
                    <a:lnTo>
                      <a:pt x="75" y="75"/>
                    </a:lnTo>
                    <a:close/>
                    <a:moveTo>
                      <a:pt x="71" y="73"/>
                    </a:moveTo>
                    <a:lnTo>
                      <a:pt x="71" y="71"/>
                    </a:lnTo>
                    <a:lnTo>
                      <a:pt x="71" y="73"/>
                    </a:lnTo>
                    <a:close/>
                    <a:moveTo>
                      <a:pt x="81" y="75"/>
                    </a:moveTo>
                    <a:lnTo>
                      <a:pt x="79" y="75"/>
                    </a:lnTo>
                    <a:lnTo>
                      <a:pt x="81" y="75"/>
                    </a:lnTo>
                    <a:close/>
                    <a:moveTo>
                      <a:pt x="79" y="73"/>
                    </a:moveTo>
                    <a:lnTo>
                      <a:pt x="79" y="75"/>
                    </a:lnTo>
                    <a:lnTo>
                      <a:pt x="79" y="73"/>
                    </a:lnTo>
                    <a:close/>
                    <a:moveTo>
                      <a:pt x="58" y="67"/>
                    </a:moveTo>
                    <a:lnTo>
                      <a:pt x="56" y="67"/>
                    </a:lnTo>
                    <a:lnTo>
                      <a:pt x="58" y="67"/>
                    </a:lnTo>
                    <a:close/>
                    <a:moveTo>
                      <a:pt x="75" y="71"/>
                    </a:moveTo>
                    <a:lnTo>
                      <a:pt x="75" y="73"/>
                    </a:lnTo>
                    <a:lnTo>
                      <a:pt x="75" y="71"/>
                    </a:lnTo>
                    <a:close/>
                    <a:moveTo>
                      <a:pt x="77" y="73"/>
                    </a:moveTo>
                    <a:lnTo>
                      <a:pt x="77" y="71"/>
                    </a:lnTo>
                    <a:lnTo>
                      <a:pt x="77" y="73"/>
                    </a:lnTo>
                    <a:close/>
                    <a:moveTo>
                      <a:pt x="71" y="69"/>
                    </a:moveTo>
                    <a:lnTo>
                      <a:pt x="69" y="69"/>
                    </a:lnTo>
                    <a:lnTo>
                      <a:pt x="71" y="69"/>
                    </a:lnTo>
                    <a:close/>
                    <a:moveTo>
                      <a:pt x="77" y="73"/>
                    </a:moveTo>
                    <a:lnTo>
                      <a:pt x="77" y="71"/>
                    </a:lnTo>
                    <a:lnTo>
                      <a:pt x="77" y="73"/>
                    </a:lnTo>
                    <a:close/>
                    <a:moveTo>
                      <a:pt x="19" y="54"/>
                    </a:moveTo>
                    <a:lnTo>
                      <a:pt x="19" y="52"/>
                    </a:lnTo>
                    <a:lnTo>
                      <a:pt x="19" y="54"/>
                    </a:lnTo>
                    <a:close/>
                    <a:moveTo>
                      <a:pt x="73" y="71"/>
                    </a:moveTo>
                    <a:lnTo>
                      <a:pt x="75" y="71"/>
                    </a:lnTo>
                    <a:lnTo>
                      <a:pt x="73" y="71"/>
                    </a:lnTo>
                    <a:close/>
                    <a:moveTo>
                      <a:pt x="81" y="71"/>
                    </a:moveTo>
                    <a:lnTo>
                      <a:pt x="81" y="73"/>
                    </a:lnTo>
                    <a:lnTo>
                      <a:pt x="81" y="71"/>
                    </a:lnTo>
                    <a:close/>
                    <a:moveTo>
                      <a:pt x="19" y="52"/>
                    </a:moveTo>
                    <a:lnTo>
                      <a:pt x="18" y="52"/>
                    </a:lnTo>
                    <a:lnTo>
                      <a:pt x="19" y="52"/>
                    </a:lnTo>
                    <a:close/>
                    <a:moveTo>
                      <a:pt x="60" y="65"/>
                    </a:moveTo>
                    <a:lnTo>
                      <a:pt x="60" y="63"/>
                    </a:lnTo>
                    <a:lnTo>
                      <a:pt x="60" y="65"/>
                    </a:lnTo>
                    <a:close/>
                    <a:moveTo>
                      <a:pt x="81" y="71"/>
                    </a:moveTo>
                    <a:lnTo>
                      <a:pt x="83" y="71"/>
                    </a:lnTo>
                    <a:lnTo>
                      <a:pt x="81" y="71"/>
                    </a:lnTo>
                    <a:close/>
                    <a:moveTo>
                      <a:pt x="81" y="71"/>
                    </a:moveTo>
                    <a:lnTo>
                      <a:pt x="81" y="69"/>
                    </a:lnTo>
                    <a:lnTo>
                      <a:pt x="81" y="71"/>
                    </a:lnTo>
                    <a:close/>
                    <a:moveTo>
                      <a:pt x="79" y="69"/>
                    </a:moveTo>
                    <a:lnTo>
                      <a:pt x="77" y="69"/>
                    </a:lnTo>
                    <a:lnTo>
                      <a:pt x="79" y="69"/>
                    </a:lnTo>
                    <a:close/>
                    <a:moveTo>
                      <a:pt x="83" y="71"/>
                    </a:moveTo>
                    <a:lnTo>
                      <a:pt x="81" y="71"/>
                    </a:lnTo>
                    <a:lnTo>
                      <a:pt x="83" y="69"/>
                    </a:lnTo>
                    <a:lnTo>
                      <a:pt x="83" y="71"/>
                    </a:lnTo>
                    <a:close/>
                    <a:moveTo>
                      <a:pt x="79" y="69"/>
                    </a:moveTo>
                    <a:lnTo>
                      <a:pt x="77" y="69"/>
                    </a:lnTo>
                    <a:lnTo>
                      <a:pt x="79" y="69"/>
                    </a:lnTo>
                    <a:close/>
                    <a:moveTo>
                      <a:pt x="83" y="71"/>
                    </a:moveTo>
                    <a:lnTo>
                      <a:pt x="83" y="69"/>
                    </a:lnTo>
                    <a:lnTo>
                      <a:pt x="83" y="71"/>
                    </a:lnTo>
                    <a:close/>
                    <a:moveTo>
                      <a:pt x="64" y="63"/>
                    </a:moveTo>
                    <a:lnTo>
                      <a:pt x="62" y="63"/>
                    </a:lnTo>
                    <a:lnTo>
                      <a:pt x="64" y="63"/>
                    </a:lnTo>
                    <a:close/>
                    <a:moveTo>
                      <a:pt x="83" y="69"/>
                    </a:moveTo>
                    <a:lnTo>
                      <a:pt x="83" y="71"/>
                    </a:lnTo>
                    <a:lnTo>
                      <a:pt x="83" y="69"/>
                    </a:lnTo>
                    <a:close/>
                    <a:moveTo>
                      <a:pt x="64" y="63"/>
                    </a:moveTo>
                    <a:lnTo>
                      <a:pt x="62" y="63"/>
                    </a:lnTo>
                    <a:lnTo>
                      <a:pt x="64" y="63"/>
                    </a:lnTo>
                    <a:close/>
                    <a:moveTo>
                      <a:pt x="79" y="69"/>
                    </a:moveTo>
                    <a:lnTo>
                      <a:pt x="79" y="67"/>
                    </a:lnTo>
                    <a:lnTo>
                      <a:pt x="79" y="69"/>
                    </a:lnTo>
                    <a:close/>
                    <a:moveTo>
                      <a:pt x="79" y="69"/>
                    </a:moveTo>
                    <a:lnTo>
                      <a:pt x="79" y="67"/>
                    </a:lnTo>
                    <a:lnTo>
                      <a:pt x="79" y="69"/>
                    </a:lnTo>
                    <a:close/>
                    <a:moveTo>
                      <a:pt x="62" y="61"/>
                    </a:moveTo>
                    <a:lnTo>
                      <a:pt x="62" y="63"/>
                    </a:lnTo>
                    <a:lnTo>
                      <a:pt x="62" y="61"/>
                    </a:lnTo>
                    <a:close/>
                    <a:moveTo>
                      <a:pt x="62" y="61"/>
                    </a:moveTo>
                    <a:lnTo>
                      <a:pt x="60" y="61"/>
                    </a:lnTo>
                    <a:lnTo>
                      <a:pt x="62" y="61"/>
                    </a:lnTo>
                    <a:close/>
                    <a:moveTo>
                      <a:pt x="83" y="69"/>
                    </a:moveTo>
                    <a:lnTo>
                      <a:pt x="83" y="67"/>
                    </a:lnTo>
                    <a:lnTo>
                      <a:pt x="83" y="69"/>
                    </a:lnTo>
                    <a:close/>
                    <a:moveTo>
                      <a:pt x="85" y="69"/>
                    </a:moveTo>
                    <a:lnTo>
                      <a:pt x="83" y="69"/>
                    </a:lnTo>
                    <a:lnTo>
                      <a:pt x="85" y="69"/>
                    </a:lnTo>
                    <a:close/>
                    <a:moveTo>
                      <a:pt x="85" y="67"/>
                    </a:moveTo>
                    <a:lnTo>
                      <a:pt x="85" y="69"/>
                    </a:lnTo>
                    <a:lnTo>
                      <a:pt x="85" y="67"/>
                    </a:lnTo>
                    <a:close/>
                    <a:moveTo>
                      <a:pt x="62" y="60"/>
                    </a:moveTo>
                    <a:lnTo>
                      <a:pt x="62" y="61"/>
                    </a:lnTo>
                    <a:lnTo>
                      <a:pt x="62" y="60"/>
                    </a:lnTo>
                    <a:close/>
                    <a:moveTo>
                      <a:pt x="85" y="67"/>
                    </a:moveTo>
                    <a:lnTo>
                      <a:pt x="83" y="67"/>
                    </a:lnTo>
                    <a:lnTo>
                      <a:pt x="85" y="67"/>
                    </a:lnTo>
                    <a:close/>
                    <a:moveTo>
                      <a:pt x="83" y="65"/>
                    </a:moveTo>
                    <a:lnTo>
                      <a:pt x="83" y="67"/>
                    </a:lnTo>
                    <a:lnTo>
                      <a:pt x="83" y="65"/>
                    </a:lnTo>
                    <a:close/>
                    <a:moveTo>
                      <a:pt x="62" y="61"/>
                    </a:moveTo>
                    <a:lnTo>
                      <a:pt x="62" y="60"/>
                    </a:lnTo>
                    <a:lnTo>
                      <a:pt x="62" y="61"/>
                    </a:lnTo>
                    <a:close/>
                    <a:moveTo>
                      <a:pt x="77" y="63"/>
                    </a:moveTo>
                    <a:lnTo>
                      <a:pt x="77" y="65"/>
                    </a:lnTo>
                    <a:lnTo>
                      <a:pt x="77" y="63"/>
                    </a:lnTo>
                    <a:close/>
                    <a:moveTo>
                      <a:pt x="77" y="63"/>
                    </a:moveTo>
                    <a:lnTo>
                      <a:pt x="77" y="65"/>
                    </a:lnTo>
                    <a:lnTo>
                      <a:pt x="77" y="63"/>
                    </a:lnTo>
                    <a:close/>
                    <a:moveTo>
                      <a:pt x="64" y="60"/>
                    </a:moveTo>
                    <a:lnTo>
                      <a:pt x="62" y="60"/>
                    </a:lnTo>
                    <a:lnTo>
                      <a:pt x="64" y="60"/>
                    </a:lnTo>
                    <a:close/>
                    <a:moveTo>
                      <a:pt x="77" y="65"/>
                    </a:moveTo>
                    <a:lnTo>
                      <a:pt x="77" y="63"/>
                    </a:lnTo>
                    <a:lnTo>
                      <a:pt x="77" y="65"/>
                    </a:lnTo>
                    <a:close/>
                    <a:moveTo>
                      <a:pt x="77" y="65"/>
                    </a:moveTo>
                    <a:lnTo>
                      <a:pt x="77" y="63"/>
                    </a:lnTo>
                    <a:lnTo>
                      <a:pt x="77" y="65"/>
                    </a:lnTo>
                    <a:close/>
                    <a:moveTo>
                      <a:pt x="66" y="61"/>
                    </a:moveTo>
                    <a:lnTo>
                      <a:pt x="66" y="60"/>
                    </a:lnTo>
                    <a:lnTo>
                      <a:pt x="66" y="61"/>
                    </a:lnTo>
                    <a:close/>
                    <a:moveTo>
                      <a:pt x="62" y="60"/>
                    </a:moveTo>
                    <a:lnTo>
                      <a:pt x="64" y="60"/>
                    </a:lnTo>
                    <a:lnTo>
                      <a:pt x="62" y="60"/>
                    </a:lnTo>
                    <a:close/>
                    <a:moveTo>
                      <a:pt x="77" y="65"/>
                    </a:moveTo>
                    <a:lnTo>
                      <a:pt x="77" y="63"/>
                    </a:lnTo>
                    <a:lnTo>
                      <a:pt x="77" y="65"/>
                    </a:lnTo>
                    <a:close/>
                    <a:moveTo>
                      <a:pt x="66" y="61"/>
                    </a:moveTo>
                    <a:lnTo>
                      <a:pt x="66" y="60"/>
                    </a:lnTo>
                    <a:lnTo>
                      <a:pt x="66" y="61"/>
                    </a:lnTo>
                    <a:close/>
                    <a:moveTo>
                      <a:pt x="79" y="65"/>
                    </a:moveTo>
                    <a:lnTo>
                      <a:pt x="79" y="63"/>
                    </a:lnTo>
                    <a:lnTo>
                      <a:pt x="79" y="65"/>
                    </a:lnTo>
                    <a:close/>
                    <a:moveTo>
                      <a:pt x="83" y="65"/>
                    </a:moveTo>
                    <a:lnTo>
                      <a:pt x="83" y="63"/>
                    </a:lnTo>
                    <a:lnTo>
                      <a:pt x="83" y="65"/>
                    </a:lnTo>
                    <a:close/>
                    <a:moveTo>
                      <a:pt x="83" y="65"/>
                    </a:moveTo>
                    <a:lnTo>
                      <a:pt x="81" y="65"/>
                    </a:lnTo>
                    <a:lnTo>
                      <a:pt x="81" y="63"/>
                    </a:lnTo>
                    <a:lnTo>
                      <a:pt x="83" y="63"/>
                    </a:lnTo>
                    <a:lnTo>
                      <a:pt x="83" y="65"/>
                    </a:lnTo>
                    <a:close/>
                    <a:moveTo>
                      <a:pt x="77" y="63"/>
                    </a:moveTo>
                    <a:lnTo>
                      <a:pt x="77" y="61"/>
                    </a:lnTo>
                    <a:lnTo>
                      <a:pt x="77" y="63"/>
                    </a:lnTo>
                    <a:close/>
                    <a:moveTo>
                      <a:pt x="67" y="58"/>
                    </a:moveTo>
                    <a:lnTo>
                      <a:pt x="67" y="60"/>
                    </a:lnTo>
                    <a:lnTo>
                      <a:pt x="67" y="58"/>
                    </a:lnTo>
                    <a:close/>
                    <a:moveTo>
                      <a:pt x="81" y="61"/>
                    </a:moveTo>
                    <a:lnTo>
                      <a:pt x="81" y="63"/>
                    </a:lnTo>
                    <a:lnTo>
                      <a:pt x="81" y="61"/>
                    </a:lnTo>
                    <a:close/>
                    <a:moveTo>
                      <a:pt x="81" y="63"/>
                    </a:moveTo>
                    <a:lnTo>
                      <a:pt x="81" y="61"/>
                    </a:lnTo>
                    <a:lnTo>
                      <a:pt x="81" y="63"/>
                    </a:lnTo>
                    <a:close/>
                    <a:moveTo>
                      <a:pt x="0" y="36"/>
                    </a:moveTo>
                    <a:lnTo>
                      <a:pt x="0" y="35"/>
                    </a:lnTo>
                    <a:lnTo>
                      <a:pt x="0" y="36"/>
                    </a:lnTo>
                    <a:close/>
                    <a:moveTo>
                      <a:pt x="83" y="63"/>
                    </a:moveTo>
                    <a:lnTo>
                      <a:pt x="83" y="61"/>
                    </a:lnTo>
                    <a:lnTo>
                      <a:pt x="83" y="63"/>
                    </a:lnTo>
                    <a:close/>
                    <a:moveTo>
                      <a:pt x="0" y="35"/>
                    </a:moveTo>
                    <a:lnTo>
                      <a:pt x="0" y="33"/>
                    </a:lnTo>
                    <a:lnTo>
                      <a:pt x="0" y="35"/>
                    </a:lnTo>
                    <a:close/>
                    <a:moveTo>
                      <a:pt x="94" y="63"/>
                    </a:moveTo>
                    <a:lnTo>
                      <a:pt x="92" y="63"/>
                    </a:lnTo>
                    <a:lnTo>
                      <a:pt x="94" y="63"/>
                    </a:lnTo>
                    <a:close/>
                    <a:moveTo>
                      <a:pt x="69" y="56"/>
                    </a:moveTo>
                    <a:lnTo>
                      <a:pt x="67" y="56"/>
                    </a:lnTo>
                    <a:lnTo>
                      <a:pt x="69" y="56"/>
                    </a:lnTo>
                    <a:close/>
                    <a:moveTo>
                      <a:pt x="81" y="60"/>
                    </a:moveTo>
                    <a:lnTo>
                      <a:pt x="79" y="60"/>
                    </a:lnTo>
                    <a:lnTo>
                      <a:pt x="81" y="60"/>
                    </a:lnTo>
                    <a:close/>
                    <a:moveTo>
                      <a:pt x="77" y="58"/>
                    </a:moveTo>
                    <a:lnTo>
                      <a:pt x="77" y="60"/>
                    </a:lnTo>
                    <a:lnTo>
                      <a:pt x="77" y="58"/>
                    </a:lnTo>
                    <a:close/>
                    <a:moveTo>
                      <a:pt x="91" y="61"/>
                    </a:moveTo>
                    <a:lnTo>
                      <a:pt x="89" y="61"/>
                    </a:lnTo>
                    <a:lnTo>
                      <a:pt x="91" y="61"/>
                    </a:lnTo>
                    <a:close/>
                    <a:moveTo>
                      <a:pt x="69" y="54"/>
                    </a:moveTo>
                    <a:lnTo>
                      <a:pt x="69" y="56"/>
                    </a:lnTo>
                    <a:lnTo>
                      <a:pt x="69" y="54"/>
                    </a:lnTo>
                    <a:close/>
                    <a:moveTo>
                      <a:pt x="92" y="61"/>
                    </a:moveTo>
                    <a:lnTo>
                      <a:pt x="91" y="61"/>
                    </a:lnTo>
                    <a:lnTo>
                      <a:pt x="92" y="61"/>
                    </a:lnTo>
                    <a:close/>
                    <a:moveTo>
                      <a:pt x="94" y="63"/>
                    </a:moveTo>
                    <a:lnTo>
                      <a:pt x="94" y="61"/>
                    </a:lnTo>
                    <a:lnTo>
                      <a:pt x="94" y="63"/>
                    </a:lnTo>
                    <a:close/>
                    <a:moveTo>
                      <a:pt x="83" y="60"/>
                    </a:moveTo>
                    <a:lnTo>
                      <a:pt x="83" y="58"/>
                    </a:lnTo>
                    <a:lnTo>
                      <a:pt x="83" y="60"/>
                    </a:lnTo>
                    <a:close/>
                    <a:moveTo>
                      <a:pt x="94" y="61"/>
                    </a:moveTo>
                    <a:lnTo>
                      <a:pt x="94" y="63"/>
                    </a:lnTo>
                    <a:lnTo>
                      <a:pt x="94" y="61"/>
                    </a:lnTo>
                    <a:close/>
                    <a:moveTo>
                      <a:pt x="79" y="58"/>
                    </a:moveTo>
                    <a:lnTo>
                      <a:pt x="77" y="58"/>
                    </a:lnTo>
                    <a:lnTo>
                      <a:pt x="79" y="58"/>
                    </a:lnTo>
                    <a:close/>
                    <a:moveTo>
                      <a:pt x="94" y="61"/>
                    </a:moveTo>
                    <a:lnTo>
                      <a:pt x="92" y="61"/>
                    </a:lnTo>
                    <a:lnTo>
                      <a:pt x="94" y="61"/>
                    </a:lnTo>
                    <a:close/>
                    <a:moveTo>
                      <a:pt x="91" y="60"/>
                    </a:moveTo>
                    <a:lnTo>
                      <a:pt x="91" y="61"/>
                    </a:lnTo>
                    <a:lnTo>
                      <a:pt x="91" y="60"/>
                    </a:lnTo>
                    <a:close/>
                    <a:moveTo>
                      <a:pt x="85" y="58"/>
                    </a:moveTo>
                    <a:lnTo>
                      <a:pt x="85" y="60"/>
                    </a:lnTo>
                    <a:lnTo>
                      <a:pt x="85" y="58"/>
                    </a:lnTo>
                    <a:close/>
                    <a:moveTo>
                      <a:pt x="69" y="54"/>
                    </a:moveTo>
                    <a:lnTo>
                      <a:pt x="69" y="52"/>
                    </a:lnTo>
                    <a:lnTo>
                      <a:pt x="69" y="54"/>
                    </a:lnTo>
                    <a:close/>
                    <a:moveTo>
                      <a:pt x="91" y="60"/>
                    </a:moveTo>
                    <a:lnTo>
                      <a:pt x="92" y="60"/>
                    </a:lnTo>
                    <a:lnTo>
                      <a:pt x="91" y="60"/>
                    </a:lnTo>
                    <a:close/>
                    <a:moveTo>
                      <a:pt x="96" y="61"/>
                    </a:moveTo>
                    <a:lnTo>
                      <a:pt x="94" y="61"/>
                    </a:lnTo>
                    <a:lnTo>
                      <a:pt x="96" y="61"/>
                    </a:lnTo>
                    <a:close/>
                    <a:moveTo>
                      <a:pt x="69" y="52"/>
                    </a:moveTo>
                    <a:lnTo>
                      <a:pt x="67" y="52"/>
                    </a:lnTo>
                    <a:lnTo>
                      <a:pt x="69" y="52"/>
                    </a:lnTo>
                    <a:close/>
                    <a:moveTo>
                      <a:pt x="85" y="58"/>
                    </a:moveTo>
                    <a:lnTo>
                      <a:pt x="87" y="58"/>
                    </a:lnTo>
                    <a:lnTo>
                      <a:pt x="85" y="58"/>
                    </a:lnTo>
                    <a:close/>
                    <a:moveTo>
                      <a:pt x="69" y="52"/>
                    </a:moveTo>
                    <a:lnTo>
                      <a:pt x="67" y="52"/>
                    </a:lnTo>
                    <a:lnTo>
                      <a:pt x="69" y="52"/>
                    </a:lnTo>
                    <a:close/>
                    <a:moveTo>
                      <a:pt x="85" y="58"/>
                    </a:moveTo>
                    <a:lnTo>
                      <a:pt x="87" y="58"/>
                    </a:lnTo>
                    <a:lnTo>
                      <a:pt x="85" y="58"/>
                    </a:lnTo>
                    <a:close/>
                    <a:moveTo>
                      <a:pt x="87" y="58"/>
                    </a:moveTo>
                    <a:lnTo>
                      <a:pt x="85" y="58"/>
                    </a:lnTo>
                    <a:lnTo>
                      <a:pt x="87" y="58"/>
                    </a:lnTo>
                    <a:close/>
                    <a:moveTo>
                      <a:pt x="91" y="58"/>
                    </a:moveTo>
                    <a:lnTo>
                      <a:pt x="89" y="58"/>
                    </a:lnTo>
                    <a:lnTo>
                      <a:pt x="91" y="58"/>
                    </a:lnTo>
                    <a:close/>
                    <a:moveTo>
                      <a:pt x="67" y="50"/>
                    </a:moveTo>
                    <a:lnTo>
                      <a:pt x="67" y="52"/>
                    </a:lnTo>
                    <a:lnTo>
                      <a:pt x="67" y="50"/>
                    </a:lnTo>
                    <a:close/>
                    <a:moveTo>
                      <a:pt x="67" y="52"/>
                    </a:moveTo>
                    <a:lnTo>
                      <a:pt x="67" y="50"/>
                    </a:lnTo>
                    <a:lnTo>
                      <a:pt x="67" y="52"/>
                    </a:lnTo>
                    <a:close/>
                    <a:moveTo>
                      <a:pt x="67" y="52"/>
                    </a:moveTo>
                    <a:lnTo>
                      <a:pt x="69" y="52"/>
                    </a:lnTo>
                    <a:lnTo>
                      <a:pt x="67" y="52"/>
                    </a:lnTo>
                    <a:close/>
                    <a:moveTo>
                      <a:pt x="67" y="50"/>
                    </a:moveTo>
                    <a:lnTo>
                      <a:pt x="67" y="52"/>
                    </a:lnTo>
                    <a:lnTo>
                      <a:pt x="67" y="50"/>
                    </a:lnTo>
                    <a:close/>
                    <a:moveTo>
                      <a:pt x="69" y="50"/>
                    </a:moveTo>
                    <a:lnTo>
                      <a:pt x="69" y="52"/>
                    </a:lnTo>
                    <a:lnTo>
                      <a:pt x="69" y="50"/>
                    </a:lnTo>
                    <a:close/>
                    <a:moveTo>
                      <a:pt x="69" y="50"/>
                    </a:moveTo>
                    <a:lnTo>
                      <a:pt x="67" y="50"/>
                    </a:lnTo>
                    <a:lnTo>
                      <a:pt x="69" y="50"/>
                    </a:lnTo>
                    <a:close/>
                    <a:moveTo>
                      <a:pt x="69" y="50"/>
                    </a:moveTo>
                    <a:lnTo>
                      <a:pt x="69" y="52"/>
                    </a:lnTo>
                    <a:lnTo>
                      <a:pt x="69" y="50"/>
                    </a:lnTo>
                    <a:close/>
                    <a:moveTo>
                      <a:pt x="69" y="50"/>
                    </a:moveTo>
                    <a:lnTo>
                      <a:pt x="69" y="52"/>
                    </a:lnTo>
                    <a:lnTo>
                      <a:pt x="69" y="50"/>
                    </a:lnTo>
                    <a:close/>
                    <a:moveTo>
                      <a:pt x="94" y="60"/>
                    </a:moveTo>
                    <a:lnTo>
                      <a:pt x="94" y="58"/>
                    </a:lnTo>
                    <a:lnTo>
                      <a:pt x="94" y="60"/>
                    </a:lnTo>
                    <a:close/>
                    <a:moveTo>
                      <a:pt x="94" y="58"/>
                    </a:moveTo>
                    <a:lnTo>
                      <a:pt x="94" y="60"/>
                    </a:lnTo>
                    <a:lnTo>
                      <a:pt x="94" y="58"/>
                    </a:lnTo>
                    <a:close/>
                    <a:moveTo>
                      <a:pt x="89" y="56"/>
                    </a:moveTo>
                    <a:lnTo>
                      <a:pt x="89" y="58"/>
                    </a:lnTo>
                    <a:lnTo>
                      <a:pt x="89" y="56"/>
                    </a:lnTo>
                    <a:close/>
                    <a:moveTo>
                      <a:pt x="94" y="60"/>
                    </a:moveTo>
                    <a:lnTo>
                      <a:pt x="94" y="58"/>
                    </a:lnTo>
                    <a:lnTo>
                      <a:pt x="94" y="60"/>
                    </a:lnTo>
                    <a:close/>
                    <a:moveTo>
                      <a:pt x="91" y="56"/>
                    </a:moveTo>
                    <a:lnTo>
                      <a:pt x="91" y="58"/>
                    </a:lnTo>
                    <a:lnTo>
                      <a:pt x="91" y="56"/>
                    </a:lnTo>
                    <a:close/>
                    <a:moveTo>
                      <a:pt x="91" y="56"/>
                    </a:moveTo>
                    <a:lnTo>
                      <a:pt x="89" y="56"/>
                    </a:lnTo>
                    <a:lnTo>
                      <a:pt x="91" y="56"/>
                    </a:lnTo>
                    <a:close/>
                    <a:moveTo>
                      <a:pt x="79" y="54"/>
                    </a:moveTo>
                    <a:lnTo>
                      <a:pt x="79" y="52"/>
                    </a:lnTo>
                    <a:lnTo>
                      <a:pt x="79" y="54"/>
                    </a:lnTo>
                    <a:close/>
                    <a:moveTo>
                      <a:pt x="89" y="56"/>
                    </a:moveTo>
                    <a:lnTo>
                      <a:pt x="87" y="56"/>
                    </a:lnTo>
                    <a:lnTo>
                      <a:pt x="89" y="56"/>
                    </a:lnTo>
                    <a:close/>
                    <a:moveTo>
                      <a:pt x="67" y="50"/>
                    </a:moveTo>
                    <a:lnTo>
                      <a:pt x="69" y="50"/>
                    </a:lnTo>
                    <a:lnTo>
                      <a:pt x="67" y="50"/>
                    </a:lnTo>
                    <a:close/>
                    <a:moveTo>
                      <a:pt x="91" y="56"/>
                    </a:moveTo>
                    <a:lnTo>
                      <a:pt x="89" y="56"/>
                    </a:lnTo>
                    <a:lnTo>
                      <a:pt x="91" y="56"/>
                    </a:lnTo>
                    <a:close/>
                    <a:moveTo>
                      <a:pt x="75" y="52"/>
                    </a:moveTo>
                    <a:lnTo>
                      <a:pt x="75" y="50"/>
                    </a:lnTo>
                    <a:lnTo>
                      <a:pt x="75" y="52"/>
                    </a:lnTo>
                    <a:close/>
                    <a:moveTo>
                      <a:pt x="87" y="56"/>
                    </a:moveTo>
                    <a:lnTo>
                      <a:pt x="87" y="54"/>
                    </a:lnTo>
                    <a:lnTo>
                      <a:pt x="87" y="56"/>
                    </a:lnTo>
                    <a:close/>
                    <a:moveTo>
                      <a:pt x="92" y="56"/>
                    </a:moveTo>
                    <a:lnTo>
                      <a:pt x="92" y="58"/>
                    </a:lnTo>
                    <a:lnTo>
                      <a:pt x="92" y="56"/>
                    </a:lnTo>
                    <a:close/>
                    <a:moveTo>
                      <a:pt x="87" y="54"/>
                    </a:moveTo>
                    <a:lnTo>
                      <a:pt x="85" y="54"/>
                    </a:lnTo>
                    <a:lnTo>
                      <a:pt x="87" y="54"/>
                    </a:lnTo>
                    <a:close/>
                    <a:moveTo>
                      <a:pt x="89" y="54"/>
                    </a:moveTo>
                    <a:lnTo>
                      <a:pt x="87" y="56"/>
                    </a:lnTo>
                    <a:lnTo>
                      <a:pt x="87" y="54"/>
                    </a:lnTo>
                    <a:lnTo>
                      <a:pt x="87" y="56"/>
                    </a:lnTo>
                    <a:lnTo>
                      <a:pt x="87" y="54"/>
                    </a:lnTo>
                    <a:lnTo>
                      <a:pt x="89" y="54"/>
                    </a:lnTo>
                    <a:close/>
                    <a:moveTo>
                      <a:pt x="94" y="56"/>
                    </a:moveTo>
                    <a:lnTo>
                      <a:pt x="94" y="58"/>
                    </a:lnTo>
                    <a:lnTo>
                      <a:pt x="94" y="56"/>
                    </a:lnTo>
                    <a:close/>
                    <a:moveTo>
                      <a:pt x="71" y="48"/>
                    </a:moveTo>
                    <a:lnTo>
                      <a:pt x="71" y="50"/>
                    </a:lnTo>
                    <a:lnTo>
                      <a:pt x="71" y="48"/>
                    </a:lnTo>
                    <a:close/>
                    <a:moveTo>
                      <a:pt x="71" y="50"/>
                    </a:moveTo>
                    <a:lnTo>
                      <a:pt x="71" y="48"/>
                    </a:lnTo>
                    <a:lnTo>
                      <a:pt x="71" y="50"/>
                    </a:lnTo>
                    <a:close/>
                    <a:moveTo>
                      <a:pt x="73" y="50"/>
                    </a:moveTo>
                    <a:lnTo>
                      <a:pt x="71" y="50"/>
                    </a:lnTo>
                    <a:lnTo>
                      <a:pt x="73" y="50"/>
                    </a:lnTo>
                    <a:close/>
                    <a:moveTo>
                      <a:pt x="69" y="48"/>
                    </a:moveTo>
                    <a:lnTo>
                      <a:pt x="71" y="48"/>
                    </a:lnTo>
                    <a:lnTo>
                      <a:pt x="69" y="48"/>
                    </a:lnTo>
                    <a:close/>
                    <a:moveTo>
                      <a:pt x="87" y="54"/>
                    </a:moveTo>
                    <a:lnTo>
                      <a:pt x="85" y="54"/>
                    </a:lnTo>
                    <a:lnTo>
                      <a:pt x="87" y="54"/>
                    </a:lnTo>
                    <a:close/>
                    <a:moveTo>
                      <a:pt x="94" y="56"/>
                    </a:moveTo>
                    <a:lnTo>
                      <a:pt x="96" y="56"/>
                    </a:lnTo>
                    <a:lnTo>
                      <a:pt x="94" y="56"/>
                    </a:lnTo>
                    <a:close/>
                    <a:moveTo>
                      <a:pt x="91" y="54"/>
                    </a:moveTo>
                    <a:lnTo>
                      <a:pt x="91" y="56"/>
                    </a:lnTo>
                    <a:lnTo>
                      <a:pt x="91" y="54"/>
                    </a:lnTo>
                    <a:close/>
                    <a:moveTo>
                      <a:pt x="91" y="54"/>
                    </a:moveTo>
                    <a:lnTo>
                      <a:pt x="91" y="56"/>
                    </a:lnTo>
                    <a:lnTo>
                      <a:pt x="91" y="54"/>
                    </a:lnTo>
                    <a:close/>
                    <a:moveTo>
                      <a:pt x="92" y="56"/>
                    </a:moveTo>
                    <a:lnTo>
                      <a:pt x="92" y="54"/>
                    </a:lnTo>
                    <a:lnTo>
                      <a:pt x="92" y="56"/>
                    </a:lnTo>
                    <a:close/>
                    <a:moveTo>
                      <a:pt x="92" y="56"/>
                    </a:moveTo>
                    <a:lnTo>
                      <a:pt x="92" y="54"/>
                    </a:lnTo>
                    <a:lnTo>
                      <a:pt x="92" y="56"/>
                    </a:lnTo>
                    <a:close/>
                    <a:moveTo>
                      <a:pt x="77" y="50"/>
                    </a:moveTo>
                    <a:lnTo>
                      <a:pt x="75" y="50"/>
                    </a:lnTo>
                    <a:lnTo>
                      <a:pt x="77" y="50"/>
                    </a:lnTo>
                    <a:close/>
                    <a:moveTo>
                      <a:pt x="69" y="48"/>
                    </a:moveTo>
                    <a:lnTo>
                      <a:pt x="69" y="46"/>
                    </a:lnTo>
                    <a:lnTo>
                      <a:pt x="69" y="48"/>
                    </a:lnTo>
                    <a:close/>
                    <a:moveTo>
                      <a:pt x="94" y="56"/>
                    </a:moveTo>
                    <a:lnTo>
                      <a:pt x="94" y="54"/>
                    </a:lnTo>
                    <a:lnTo>
                      <a:pt x="94" y="56"/>
                    </a:lnTo>
                    <a:close/>
                    <a:moveTo>
                      <a:pt x="69" y="46"/>
                    </a:moveTo>
                    <a:lnTo>
                      <a:pt x="69" y="48"/>
                    </a:lnTo>
                    <a:lnTo>
                      <a:pt x="69" y="46"/>
                    </a:lnTo>
                    <a:close/>
                    <a:moveTo>
                      <a:pt x="89" y="54"/>
                    </a:moveTo>
                    <a:lnTo>
                      <a:pt x="91" y="54"/>
                    </a:lnTo>
                    <a:lnTo>
                      <a:pt x="89" y="54"/>
                    </a:lnTo>
                    <a:close/>
                    <a:moveTo>
                      <a:pt x="69" y="46"/>
                    </a:moveTo>
                    <a:lnTo>
                      <a:pt x="69" y="48"/>
                    </a:lnTo>
                    <a:lnTo>
                      <a:pt x="69" y="46"/>
                    </a:lnTo>
                    <a:close/>
                    <a:moveTo>
                      <a:pt x="71" y="48"/>
                    </a:moveTo>
                    <a:lnTo>
                      <a:pt x="71" y="46"/>
                    </a:lnTo>
                    <a:lnTo>
                      <a:pt x="71" y="48"/>
                    </a:lnTo>
                    <a:close/>
                    <a:moveTo>
                      <a:pt x="94" y="54"/>
                    </a:moveTo>
                    <a:lnTo>
                      <a:pt x="94" y="56"/>
                    </a:lnTo>
                    <a:lnTo>
                      <a:pt x="94" y="54"/>
                    </a:lnTo>
                    <a:lnTo>
                      <a:pt x="94" y="56"/>
                    </a:lnTo>
                    <a:lnTo>
                      <a:pt x="94" y="54"/>
                    </a:lnTo>
                    <a:close/>
                    <a:moveTo>
                      <a:pt x="91" y="52"/>
                    </a:moveTo>
                    <a:lnTo>
                      <a:pt x="89" y="52"/>
                    </a:lnTo>
                    <a:lnTo>
                      <a:pt x="91" y="52"/>
                    </a:lnTo>
                    <a:close/>
                    <a:moveTo>
                      <a:pt x="73" y="46"/>
                    </a:moveTo>
                    <a:lnTo>
                      <a:pt x="73" y="48"/>
                    </a:lnTo>
                    <a:lnTo>
                      <a:pt x="73" y="46"/>
                    </a:lnTo>
                    <a:close/>
                    <a:moveTo>
                      <a:pt x="87" y="52"/>
                    </a:moveTo>
                    <a:lnTo>
                      <a:pt x="87" y="50"/>
                    </a:lnTo>
                    <a:lnTo>
                      <a:pt x="87" y="52"/>
                    </a:lnTo>
                    <a:close/>
                    <a:moveTo>
                      <a:pt x="87" y="50"/>
                    </a:moveTo>
                    <a:lnTo>
                      <a:pt x="87" y="52"/>
                    </a:lnTo>
                    <a:lnTo>
                      <a:pt x="87" y="50"/>
                    </a:lnTo>
                    <a:close/>
                    <a:moveTo>
                      <a:pt x="92" y="52"/>
                    </a:moveTo>
                    <a:lnTo>
                      <a:pt x="92" y="54"/>
                    </a:lnTo>
                    <a:lnTo>
                      <a:pt x="92" y="52"/>
                    </a:lnTo>
                    <a:close/>
                    <a:moveTo>
                      <a:pt x="91" y="52"/>
                    </a:moveTo>
                    <a:lnTo>
                      <a:pt x="89" y="52"/>
                    </a:lnTo>
                    <a:lnTo>
                      <a:pt x="91" y="52"/>
                    </a:lnTo>
                    <a:close/>
                    <a:moveTo>
                      <a:pt x="73" y="46"/>
                    </a:moveTo>
                    <a:lnTo>
                      <a:pt x="71" y="46"/>
                    </a:lnTo>
                    <a:lnTo>
                      <a:pt x="73" y="46"/>
                    </a:lnTo>
                    <a:close/>
                    <a:moveTo>
                      <a:pt x="87" y="50"/>
                    </a:moveTo>
                    <a:lnTo>
                      <a:pt x="87" y="52"/>
                    </a:lnTo>
                    <a:lnTo>
                      <a:pt x="87" y="50"/>
                    </a:lnTo>
                    <a:close/>
                    <a:moveTo>
                      <a:pt x="94" y="54"/>
                    </a:moveTo>
                    <a:lnTo>
                      <a:pt x="94" y="52"/>
                    </a:lnTo>
                    <a:lnTo>
                      <a:pt x="94" y="54"/>
                    </a:lnTo>
                    <a:close/>
                    <a:moveTo>
                      <a:pt x="69" y="44"/>
                    </a:moveTo>
                    <a:lnTo>
                      <a:pt x="69" y="46"/>
                    </a:lnTo>
                    <a:lnTo>
                      <a:pt x="69" y="44"/>
                    </a:lnTo>
                    <a:close/>
                    <a:moveTo>
                      <a:pt x="89" y="50"/>
                    </a:moveTo>
                    <a:lnTo>
                      <a:pt x="87" y="50"/>
                    </a:lnTo>
                    <a:lnTo>
                      <a:pt x="89" y="50"/>
                    </a:lnTo>
                    <a:close/>
                    <a:moveTo>
                      <a:pt x="92" y="52"/>
                    </a:moveTo>
                    <a:lnTo>
                      <a:pt x="91" y="52"/>
                    </a:lnTo>
                    <a:lnTo>
                      <a:pt x="92" y="52"/>
                    </a:lnTo>
                    <a:lnTo>
                      <a:pt x="91" y="52"/>
                    </a:lnTo>
                    <a:lnTo>
                      <a:pt x="92" y="52"/>
                    </a:lnTo>
                    <a:lnTo>
                      <a:pt x="91" y="52"/>
                    </a:lnTo>
                    <a:lnTo>
                      <a:pt x="92" y="52"/>
                    </a:lnTo>
                    <a:close/>
                    <a:moveTo>
                      <a:pt x="89" y="50"/>
                    </a:moveTo>
                    <a:lnTo>
                      <a:pt x="87" y="50"/>
                    </a:lnTo>
                    <a:lnTo>
                      <a:pt x="89" y="50"/>
                    </a:lnTo>
                    <a:close/>
                    <a:moveTo>
                      <a:pt x="71" y="44"/>
                    </a:moveTo>
                    <a:lnTo>
                      <a:pt x="71" y="46"/>
                    </a:lnTo>
                    <a:lnTo>
                      <a:pt x="71" y="44"/>
                    </a:lnTo>
                    <a:close/>
                    <a:moveTo>
                      <a:pt x="69" y="44"/>
                    </a:moveTo>
                    <a:lnTo>
                      <a:pt x="71" y="44"/>
                    </a:lnTo>
                    <a:lnTo>
                      <a:pt x="69" y="44"/>
                    </a:lnTo>
                    <a:close/>
                    <a:moveTo>
                      <a:pt x="96" y="54"/>
                    </a:moveTo>
                    <a:lnTo>
                      <a:pt x="96" y="52"/>
                    </a:lnTo>
                    <a:lnTo>
                      <a:pt x="96" y="54"/>
                    </a:lnTo>
                    <a:close/>
                    <a:moveTo>
                      <a:pt x="71" y="46"/>
                    </a:moveTo>
                    <a:lnTo>
                      <a:pt x="71" y="44"/>
                    </a:lnTo>
                    <a:lnTo>
                      <a:pt x="71" y="46"/>
                    </a:lnTo>
                    <a:close/>
                    <a:moveTo>
                      <a:pt x="94" y="52"/>
                    </a:moveTo>
                    <a:lnTo>
                      <a:pt x="92" y="52"/>
                    </a:lnTo>
                    <a:lnTo>
                      <a:pt x="94" y="52"/>
                    </a:lnTo>
                    <a:close/>
                    <a:moveTo>
                      <a:pt x="91" y="50"/>
                    </a:moveTo>
                    <a:lnTo>
                      <a:pt x="89" y="50"/>
                    </a:lnTo>
                    <a:lnTo>
                      <a:pt x="91" y="50"/>
                    </a:lnTo>
                    <a:close/>
                    <a:moveTo>
                      <a:pt x="94" y="52"/>
                    </a:moveTo>
                    <a:lnTo>
                      <a:pt x="96" y="52"/>
                    </a:lnTo>
                    <a:lnTo>
                      <a:pt x="94" y="52"/>
                    </a:lnTo>
                    <a:close/>
                    <a:moveTo>
                      <a:pt x="73" y="46"/>
                    </a:moveTo>
                    <a:lnTo>
                      <a:pt x="73" y="44"/>
                    </a:lnTo>
                    <a:lnTo>
                      <a:pt x="73" y="46"/>
                    </a:lnTo>
                    <a:close/>
                    <a:moveTo>
                      <a:pt x="87" y="50"/>
                    </a:moveTo>
                    <a:lnTo>
                      <a:pt x="87" y="48"/>
                    </a:lnTo>
                    <a:lnTo>
                      <a:pt x="87" y="50"/>
                    </a:lnTo>
                    <a:close/>
                    <a:moveTo>
                      <a:pt x="98" y="54"/>
                    </a:moveTo>
                    <a:lnTo>
                      <a:pt x="98" y="52"/>
                    </a:lnTo>
                    <a:lnTo>
                      <a:pt x="98" y="54"/>
                    </a:lnTo>
                    <a:close/>
                    <a:moveTo>
                      <a:pt x="73" y="44"/>
                    </a:moveTo>
                    <a:lnTo>
                      <a:pt x="73" y="46"/>
                    </a:lnTo>
                    <a:lnTo>
                      <a:pt x="73" y="44"/>
                    </a:lnTo>
                    <a:close/>
                    <a:moveTo>
                      <a:pt x="87" y="48"/>
                    </a:moveTo>
                    <a:lnTo>
                      <a:pt x="87" y="50"/>
                    </a:lnTo>
                    <a:lnTo>
                      <a:pt x="87" y="48"/>
                    </a:lnTo>
                    <a:lnTo>
                      <a:pt x="87" y="50"/>
                    </a:lnTo>
                    <a:lnTo>
                      <a:pt x="87" y="48"/>
                    </a:lnTo>
                    <a:close/>
                    <a:moveTo>
                      <a:pt x="75" y="46"/>
                    </a:moveTo>
                    <a:lnTo>
                      <a:pt x="75" y="44"/>
                    </a:lnTo>
                    <a:lnTo>
                      <a:pt x="75" y="46"/>
                    </a:lnTo>
                    <a:close/>
                    <a:moveTo>
                      <a:pt x="92" y="50"/>
                    </a:moveTo>
                    <a:lnTo>
                      <a:pt x="91" y="50"/>
                    </a:lnTo>
                    <a:lnTo>
                      <a:pt x="92" y="50"/>
                    </a:lnTo>
                    <a:close/>
                    <a:moveTo>
                      <a:pt x="75" y="44"/>
                    </a:moveTo>
                    <a:lnTo>
                      <a:pt x="75" y="46"/>
                    </a:lnTo>
                    <a:lnTo>
                      <a:pt x="75" y="44"/>
                    </a:lnTo>
                    <a:close/>
                    <a:moveTo>
                      <a:pt x="75" y="44"/>
                    </a:moveTo>
                    <a:lnTo>
                      <a:pt x="75" y="46"/>
                    </a:lnTo>
                    <a:lnTo>
                      <a:pt x="75" y="44"/>
                    </a:lnTo>
                    <a:close/>
                    <a:moveTo>
                      <a:pt x="85" y="48"/>
                    </a:moveTo>
                    <a:lnTo>
                      <a:pt x="87" y="48"/>
                    </a:lnTo>
                    <a:lnTo>
                      <a:pt x="85" y="48"/>
                    </a:lnTo>
                    <a:close/>
                    <a:moveTo>
                      <a:pt x="104" y="54"/>
                    </a:moveTo>
                    <a:lnTo>
                      <a:pt x="102" y="54"/>
                    </a:lnTo>
                    <a:lnTo>
                      <a:pt x="104" y="54"/>
                    </a:lnTo>
                    <a:close/>
                    <a:moveTo>
                      <a:pt x="94" y="50"/>
                    </a:moveTo>
                    <a:lnTo>
                      <a:pt x="94" y="52"/>
                    </a:lnTo>
                    <a:lnTo>
                      <a:pt x="94" y="50"/>
                    </a:lnTo>
                    <a:close/>
                    <a:moveTo>
                      <a:pt x="89" y="48"/>
                    </a:moveTo>
                    <a:lnTo>
                      <a:pt x="89" y="50"/>
                    </a:lnTo>
                    <a:lnTo>
                      <a:pt x="89" y="48"/>
                    </a:lnTo>
                    <a:close/>
                    <a:moveTo>
                      <a:pt x="102" y="52"/>
                    </a:moveTo>
                    <a:lnTo>
                      <a:pt x="100" y="52"/>
                    </a:lnTo>
                    <a:lnTo>
                      <a:pt x="102" y="52"/>
                    </a:lnTo>
                    <a:close/>
                    <a:moveTo>
                      <a:pt x="96" y="52"/>
                    </a:moveTo>
                    <a:lnTo>
                      <a:pt x="94" y="52"/>
                    </a:lnTo>
                    <a:lnTo>
                      <a:pt x="94" y="50"/>
                    </a:lnTo>
                    <a:lnTo>
                      <a:pt x="96" y="52"/>
                    </a:lnTo>
                    <a:close/>
                    <a:moveTo>
                      <a:pt x="104" y="54"/>
                    </a:moveTo>
                    <a:lnTo>
                      <a:pt x="102" y="54"/>
                    </a:lnTo>
                    <a:lnTo>
                      <a:pt x="104" y="54"/>
                    </a:lnTo>
                    <a:close/>
                    <a:moveTo>
                      <a:pt x="79" y="44"/>
                    </a:moveTo>
                    <a:lnTo>
                      <a:pt x="79" y="46"/>
                    </a:lnTo>
                    <a:lnTo>
                      <a:pt x="77" y="46"/>
                    </a:lnTo>
                    <a:lnTo>
                      <a:pt x="79" y="46"/>
                    </a:lnTo>
                    <a:lnTo>
                      <a:pt x="79" y="44"/>
                    </a:lnTo>
                    <a:close/>
                    <a:moveTo>
                      <a:pt x="91" y="48"/>
                    </a:moveTo>
                    <a:lnTo>
                      <a:pt x="91" y="50"/>
                    </a:lnTo>
                    <a:lnTo>
                      <a:pt x="91" y="48"/>
                    </a:lnTo>
                    <a:close/>
                    <a:moveTo>
                      <a:pt x="89" y="48"/>
                    </a:moveTo>
                    <a:lnTo>
                      <a:pt x="89" y="50"/>
                    </a:lnTo>
                    <a:lnTo>
                      <a:pt x="89" y="48"/>
                    </a:lnTo>
                    <a:close/>
                    <a:moveTo>
                      <a:pt x="73" y="42"/>
                    </a:moveTo>
                    <a:lnTo>
                      <a:pt x="73" y="44"/>
                    </a:lnTo>
                    <a:lnTo>
                      <a:pt x="73" y="42"/>
                    </a:lnTo>
                    <a:close/>
                    <a:moveTo>
                      <a:pt x="91" y="48"/>
                    </a:moveTo>
                    <a:lnTo>
                      <a:pt x="89" y="48"/>
                    </a:lnTo>
                    <a:lnTo>
                      <a:pt x="91" y="48"/>
                    </a:lnTo>
                    <a:close/>
                    <a:moveTo>
                      <a:pt x="87" y="46"/>
                    </a:moveTo>
                    <a:lnTo>
                      <a:pt x="87" y="48"/>
                    </a:lnTo>
                    <a:lnTo>
                      <a:pt x="87" y="46"/>
                    </a:lnTo>
                    <a:close/>
                    <a:moveTo>
                      <a:pt x="87" y="48"/>
                    </a:moveTo>
                    <a:lnTo>
                      <a:pt x="87" y="46"/>
                    </a:lnTo>
                    <a:lnTo>
                      <a:pt x="87" y="48"/>
                    </a:lnTo>
                    <a:close/>
                    <a:moveTo>
                      <a:pt x="92" y="48"/>
                    </a:moveTo>
                    <a:lnTo>
                      <a:pt x="92" y="50"/>
                    </a:lnTo>
                    <a:lnTo>
                      <a:pt x="92" y="48"/>
                    </a:lnTo>
                    <a:close/>
                    <a:moveTo>
                      <a:pt x="91" y="48"/>
                    </a:moveTo>
                    <a:lnTo>
                      <a:pt x="89" y="48"/>
                    </a:lnTo>
                    <a:lnTo>
                      <a:pt x="91" y="48"/>
                    </a:lnTo>
                    <a:close/>
                    <a:moveTo>
                      <a:pt x="102" y="52"/>
                    </a:moveTo>
                    <a:lnTo>
                      <a:pt x="100" y="52"/>
                    </a:lnTo>
                    <a:lnTo>
                      <a:pt x="102" y="52"/>
                    </a:lnTo>
                    <a:close/>
                    <a:moveTo>
                      <a:pt x="91" y="48"/>
                    </a:moveTo>
                    <a:lnTo>
                      <a:pt x="92" y="48"/>
                    </a:lnTo>
                    <a:lnTo>
                      <a:pt x="91" y="48"/>
                    </a:lnTo>
                    <a:close/>
                    <a:moveTo>
                      <a:pt x="102" y="52"/>
                    </a:moveTo>
                    <a:lnTo>
                      <a:pt x="100" y="52"/>
                    </a:lnTo>
                    <a:lnTo>
                      <a:pt x="102" y="52"/>
                    </a:lnTo>
                    <a:close/>
                    <a:moveTo>
                      <a:pt x="75" y="42"/>
                    </a:moveTo>
                    <a:lnTo>
                      <a:pt x="75" y="44"/>
                    </a:lnTo>
                    <a:lnTo>
                      <a:pt x="75" y="42"/>
                    </a:lnTo>
                    <a:close/>
                    <a:moveTo>
                      <a:pt x="92" y="48"/>
                    </a:moveTo>
                    <a:lnTo>
                      <a:pt x="91" y="48"/>
                    </a:lnTo>
                    <a:lnTo>
                      <a:pt x="92" y="48"/>
                    </a:lnTo>
                    <a:close/>
                    <a:moveTo>
                      <a:pt x="106" y="54"/>
                    </a:moveTo>
                    <a:lnTo>
                      <a:pt x="106" y="52"/>
                    </a:lnTo>
                    <a:lnTo>
                      <a:pt x="106" y="54"/>
                    </a:lnTo>
                    <a:close/>
                    <a:moveTo>
                      <a:pt x="94" y="50"/>
                    </a:moveTo>
                    <a:lnTo>
                      <a:pt x="94" y="48"/>
                    </a:lnTo>
                    <a:lnTo>
                      <a:pt x="94" y="50"/>
                    </a:lnTo>
                    <a:close/>
                    <a:moveTo>
                      <a:pt x="94" y="50"/>
                    </a:moveTo>
                    <a:lnTo>
                      <a:pt x="94" y="48"/>
                    </a:lnTo>
                    <a:lnTo>
                      <a:pt x="94" y="50"/>
                    </a:lnTo>
                    <a:close/>
                    <a:moveTo>
                      <a:pt x="92" y="48"/>
                    </a:moveTo>
                    <a:lnTo>
                      <a:pt x="94" y="48"/>
                    </a:lnTo>
                    <a:lnTo>
                      <a:pt x="92" y="48"/>
                    </a:lnTo>
                    <a:close/>
                    <a:moveTo>
                      <a:pt x="92" y="48"/>
                    </a:moveTo>
                    <a:lnTo>
                      <a:pt x="91" y="48"/>
                    </a:lnTo>
                    <a:lnTo>
                      <a:pt x="92" y="48"/>
                    </a:lnTo>
                    <a:close/>
                    <a:moveTo>
                      <a:pt x="94" y="48"/>
                    </a:moveTo>
                    <a:lnTo>
                      <a:pt x="92" y="48"/>
                    </a:lnTo>
                    <a:lnTo>
                      <a:pt x="94" y="48"/>
                    </a:lnTo>
                    <a:close/>
                    <a:moveTo>
                      <a:pt x="102" y="50"/>
                    </a:moveTo>
                    <a:lnTo>
                      <a:pt x="102" y="52"/>
                    </a:lnTo>
                    <a:lnTo>
                      <a:pt x="102" y="50"/>
                    </a:lnTo>
                    <a:close/>
                    <a:moveTo>
                      <a:pt x="102" y="50"/>
                    </a:moveTo>
                    <a:lnTo>
                      <a:pt x="102" y="52"/>
                    </a:lnTo>
                    <a:lnTo>
                      <a:pt x="102" y="50"/>
                    </a:lnTo>
                    <a:close/>
                    <a:moveTo>
                      <a:pt x="96" y="48"/>
                    </a:moveTo>
                    <a:lnTo>
                      <a:pt x="96" y="50"/>
                    </a:lnTo>
                    <a:lnTo>
                      <a:pt x="94" y="50"/>
                    </a:lnTo>
                    <a:lnTo>
                      <a:pt x="96" y="48"/>
                    </a:lnTo>
                    <a:lnTo>
                      <a:pt x="94" y="48"/>
                    </a:lnTo>
                    <a:lnTo>
                      <a:pt x="96" y="48"/>
                    </a:lnTo>
                    <a:close/>
                    <a:moveTo>
                      <a:pt x="89" y="46"/>
                    </a:moveTo>
                    <a:lnTo>
                      <a:pt x="89" y="48"/>
                    </a:lnTo>
                    <a:lnTo>
                      <a:pt x="89" y="46"/>
                    </a:lnTo>
                    <a:lnTo>
                      <a:pt x="91" y="46"/>
                    </a:lnTo>
                    <a:lnTo>
                      <a:pt x="89" y="46"/>
                    </a:lnTo>
                    <a:close/>
                    <a:moveTo>
                      <a:pt x="89" y="46"/>
                    </a:moveTo>
                    <a:lnTo>
                      <a:pt x="91" y="46"/>
                    </a:lnTo>
                    <a:lnTo>
                      <a:pt x="89" y="46"/>
                    </a:lnTo>
                    <a:close/>
                    <a:moveTo>
                      <a:pt x="89" y="46"/>
                    </a:moveTo>
                    <a:lnTo>
                      <a:pt x="87" y="46"/>
                    </a:lnTo>
                    <a:lnTo>
                      <a:pt x="89" y="46"/>
                    </a:lnTo>
                    <a:close/>
                    <a:moveTo>
                      <a:pt x="92" y="48"/>
                    </a:moveTo>
                    <a:lnTo>
                      <a:pt x="92" y="46"/>
                    </a:lnTo>
                    <a:lnTo>
                      <a:pt x="92" y="48"/>
                    </a:lnTo>
                    <a:close/>
                    <a:moveTo>
                      <a:pt x="104" y="52"/>
                    </a:moveTo>
                    <a:lnTo>
                      <a:pt x="104" y="50"/>
                    </a:lnTo>
                    <a:lnTo>
                      <a:pt x="104" y="52"/>
                    </a:lnTo>
                    <a:close/>
                    <a:moveTo>
                      <a:pt x="79" y="42"/>
                    </a:moveTo>
                    <a:lnTo>
                      <a:pt x="77" y="42"/>
                    </a:lnTo>
                    <a:lnTo>
                      <a:pt x="79" y="42"/>
                    </a:lnTo>
                    <a:close/>
                    <a:moveTo>
                      <a:pt x="104" y="52"/>
                    </a:moveTo>
                    <a:lnTo>
                      <a:pt x="104" y="50"/>
                    </a:lnTo>
                    <a:lnTo>
                      <a:pt x="104" y="52"/>
                    </a:lnTo>
                    <a:close/>
                    <a:moveTo>
                      <a:pt x="104" y="52"/>
                    </a:moveTo>
                    <a:lnTo>
                      <a:pt x="104" y="50"/>
                    </a:lnTo>
                    <a:lnTo>
                      <a:pt x="104" y="52"/>
                    </a:lnTo>
                    <a:close/>
                    <a:moveTo>
                      <a:pt x="106" y="52"/>
                    </a:moveTo>
                    <a:lnTo>
                      <a:pt x="106" y="50"/>
                    </a:lnTo>
                    <a:lnTo>
                      <a:pt x="106" y="52"/>
                    </a:lnTo>
                    <a:close/>
                    <a:moveTo>
                      <a:pt x="98" y="50"/>
                    </a:moveTo>
                    <a:lnTo>
                      <a:pt x="98" y="48"/>
                    </a:lnTo>
                    <a:lnTo>
                      <a:pt x="98" y="50"/>
                    </a:lnTo>
                    <a:close/>
                    <a:moveTo>
                      <a:pt x="108" y="52"/>
                    </a:moveTo>
                    <a:lnTo>
                      <a:pt x="106" y="52"/>
                    </a:lnTo>
                    <a:lnTo>
                      <a:pt x="108" y="52"/>
                    </a:lnTo>
                    <a:close/>
                    <a:moveTo>
                      <a:pt x="108" y="52"/>
                    </a:moveTo>
                    <a:lnTo>
                      <a:pt x="106" y="52"/>
                    </a:lnTo>
                    <a:lnTo>
                      <a:pt x="108" y="52"/>
                    </a:lnTo>
                    <a:close/>
                    <a:moveTo>
                      <a:pt x="100" y="50"/>
                    </a:moveTo>
                    <a:lnTo>
                      <a:pt x="102" y="50"/>
                    </a:lnTo>
                    <a:lnTo>
                      <a:pt x="100" y="50"/>
                    </a:lnTo>
                    <a:close/>
                    <a:moveTo>
                      <a:pt x="94" y="48"/>
                    </a:moveTo>
                    <a:lnTo>
                      <a:pt x="94" y="46"/>
                    </a:lnTo>
                    <a:lnTo>
                      <a:pt x="94" y="48"/>
                    </a:lnTo>
                    <a:close/>
                    <a:moveTo>
                      <a:pt x="94" y="46"/>
                    </a:moveTo>
                    <a:lnTo>
                      <a:pt x="94" y="48"/>
                    </a:lnTo>
                    <a:lnTo>
                      <a:pt x="94" y="46"/>
                    </a:lnTo>
                    <a:close/>
                    <a:moveTo>
                      <a:pt x="94" y="46"/>
                    </a:moveTo>
                    <a:lnTo>
                      <a:pt x="94" y="48"/>
                    </a:lnTo>
                    <a:lnTo>
                      <a:pt x="94" y="46"/>
                    </a:lnTo>
                    <a:close/>
                    <a:moveTo>
                      <a:pt x="102" y="50"/>
                    </a:moveTo>
                    <a:lnTo>
                      <a:pt x="102" y="48"/>
                    </a:lnTo>
                    <a:lnTo>
                      <a:pt x="102" y="50"/>
                    </a:lnTo>
                    <a:close/>
                    <a:moveTo>
                      <a:pt x="108" y="50"/>
                    </a:moveTo>
                    <a:lnTo>
                      <a:pt x="108" y="52"/>
                    </a:lnTo>
                    <a:lnTo>
                      <a:pt x="108" y="50"/>
                    </a:lnTo>
                    <a:close/>
                    <a:moveTo>
                      <a:pt x="91" y="46"/>
                    </a:moveTo>
                    <a:lnTo>
                      <a:pt x="91" y="44"/>
                    </a:lnTo>
                    <a:lnTo>
                      <a:pt x="91" y="46"/>
                    </a:lnTo>
                    <a:close/>
                    <a:moveTo>
                      <a:pt x="110" y="50"/>
                    </a:moveTo>
                    <a:lnTo>
                      <a:pt x="108" y="52"/>
                    </a:lnTo>
                    <a:lnTo>
                      <a:pt x="110" y="50"/>
                    </a:lnTo>
                    <a:close/>
                    <a:moveTo>
                      <a:pt x="77" y="40"/>
                    </a:moveTo>
                    <a:lnTo>
                      <a:pt x="75" y="40"/>
                    </a:lnTo>
                    <a:lnTo>
                      <a:pt x="77" y="40"/>
                    </a:lnTo>
                    <a:close/>
                    <a:moveTo>
                      <a:pt x="96" y="46"/>
                    </a:moveTo>
                    <a:lnTo>
                      <a:pt x="96" y="48"/>
                    </a:lnTo>
                    <a:lnTo>
                      <a:pt x="96" y="46"/>
                    </a:lnTo>
                    <a:close/>
                    <a:moveTo>
                      <a:pt x="91" y="46"/>
                    </a:moveTo>
                    <a:lnTo>
                      <a:pt x="91" y="44"/>
                    </a:lnTo>
                    <a:lnTo>
                      <a:pt x="91" y="46"/>
                    </a:lnTo>
                    <a:close/>
                    <a:moveTo>
                      <a:pt x="92" y="46"/>
                    </a:moveTo>
                    <a:lnTo>
                      <a:pt x="91" y="46"/>
                    </a:lnTo>
                    <a:lnTo>
                      <a:pt x="92" y="46"/>
                    </a:lnTo>
                    <a:close/>
                    <a:moveTo>
                      <a:pt x="104" y="48"/>
                    </a:moveTo>
                    <a:lnTo>
                      <a:pt x="104" y="50"/>
                    </a:lnTo>
                    <a:lnTo>
                      <a:pt x="104" y="48"/>
                    </a:lnTo>
                    <a:close/>
                    <a:moveTo>
                      <a:pt x="91" y="44"/>
                    </a:moveTo>
                    <a:lnTo>
                      <a:pt x="89" y="44"/>
                    </a:lnTo>
                    <a:lnTo>
                      <a:pt x="91" y="44"/>
                    </a:lnTo>
                    <a:close/>
                    <a:moveTo>
                      <a:pt x="91" y="44"/>
                    </a:moveTo>
                    <a:lnTo>
                      <a:pt x="89" y="44"/>
                    </a:lnTo>
                    <a:lnTo>
                      <a:pt x="91" y="44"/>
                    </a:lnTo>
                    <a:close/>
                    <a:moveTo>
                      <a:pt x="108" y="50"/>
                    </a:moveTo>
                    <a:lnTo>
                      <a:pt x="106" y="50"/>
                    </a:lnTo>
                    <a:lnTo>
                      <a:pt x="108" y="50"/>
                    </a:lnTo>
                    <a:close/>
                    <a:moveTo>
                      <a:pt x="98" y="48"/>
                    </a:moveTo>
                    <a:lnTo>
                      <a:pt x="98" y="46"/>
                    </a:lnTo>
                    <a:lnTo>
                      <a:pt x="98" y="48"/>
                    </a:lnTo>
                    <a:close/>
                    <a:moveTo>
                      <a:pt x="81" y="42"/>
                    </a:moveTo>
                    <a:lnTo>
                      <a:pt x="81" y="40"/>
                    </a:lnTo>
                    <a:lnTo>
                      <a:pt x="81" y="42"/>
                    </a:lnTo>
                    <a:close/>
                    <a:moveTo>
                      <a:pt x="94" y="46"/>
                    </a:moveTo>
                    <a:lnTo>
                      <a:pt x="94" y="44"/>
                    </a:lnTo>
                    <a:lnTo>
                      <a:pt x="94" y="46"/>
                    </a:lnTo>
                    <a:close/>
                    <a:moveTo>
                      <a:pt x="98" y="46"/>
                    </a:moveTo>
                    <a:lnTo>
                      <a:pt x="96" y="46"/>
                    </a:lnTo>
                    <a:lnTo>
                      <a:pt x="98" y="46"/>
                    </a:lnTo>
                    <a:close/>
                    <a:moveTo>
                      <a:pt x="96" y="46"/>
                    </a:moveTo>
                    <a:lnTo>
                      <a:pt x="94" y="46"/>
                    </a:lnTo>
                    <a:lnTo>
                      <a:pt x="96" y="46"/>
                    </a:lnTo>
                    <a:close/>
                    <a:moveTo>
                      <a:pt x="77" y="38"/>
                    </a:moveTo>
                    <a:lnTo>
                      <a:pt x="77" y="40"/>
                    </a:lnTo>
                    <a:lnTo>
                      <a:pt x="77" y="38"/>
                    </a:lnTo>
                    <a:close/>
                    <a:moveTo>
                      <a:pt x="92" y="44"/>
                    </a:moveTo>
                    <a:lnTo>
                      <a:pt x="91" y="44"/>
                    </a:lnTo>
                    <a:lnTo>
                      <a:pt x="92" y="44"/>
                    </a:lnTo>
                    <a:close/>
                    <a:moveTo>
                      <a:pt x="104" y="48"/>
                    </a:moveTo>
                    <a:lnTo>
                      <a:pt x="102" y="48"/>
                    </a:lnTo>
                    <a:lnTo>
                      <a:pt x="104" y="48"/>
                    </a:lnTo>
                    <a:close/>
                    <a:moveTo>
                      <a:pt x="98" y="46"/>
                    </a:moveTo>
                    <a:lnTo>
                      <a:pt x="100" y="46"/>
                    </a:lnTo>
                    <a:lnTo>
                      <a:pt x="98" y="46"/>
                    </a:lnTo>
                    <a:close/>
                    <a:moveTo>
                      <a:pt x="94" y="44"/>
                    </a:moveTo>
                    <a:lnTo>
                      <a:pt x="94" y="46"/>
                    </a:lnTo>
                    <a:lnTo>
                      <a:pt x="94" y="44"/>
                    </a:lnTo>
                    <a:close/>
                    <a:moveTo>
                      <a:pt x="110" y="50"/>
                    </a:moveTo>
                    <a:lnTo>
                      <a:pt x="110" y="48"/>
                    </a:lnTo>
                    <a:lnTo>
                      <a:pt x="110" y="50"/>
                    </a:lnTo>
                    <a:close/>
                    <a:moveTo>
                      <a:pt x="110" y="48"/>
                    </a:moveTo>
                    <a:lnTo>
                      <a:pt x="110" y="50"/>
                    </a:lnTo>
                    <a:lnTo>
                      <a:pt x="110" y="48"/>
                    </a:lnTo>
                    <a:close/>
                    <a:moveTo>
                      <a:pt x="91" y="44"/>
                    </a:moveTo>
                    <a:lnTo>
                      <a:pt x="91" y="42"/>
                    </a:lnTo>
                    <a:lnTo>
                      <a:pt x="91" y="44"/>
                    </a:lnTo>
                    <a:close/>
                    <a:moveTo>
                      <a:pt x="77" y="38"/>
                    </a:moveTo>
                    <a:lnTo>
                      <a:pt x="79" y="38"/>
                    </a:lnTo>
                    <a:lnTo>
                      <a:pt x="77" y="38"/>
                    </a:lnTo>
                    <a:close/>
                    <a:moveTo>
                      <a:pt x="91" y="42"/>
                    </a:moveTo>
                    <a:lnTo>
                      <a:pt x="91" y="44"/>
                    </a:lnTo>
                    <a:lnTo>
                      <a:pt x="91" y="42"/>
                    </a:lnTo>
                    <a:close/>
                    <a:moveTo>
                      <a:pt x="79" y="38"/>
                    </a:moveTo>
                    <a:lnTo>
                      <a:pt x="79" y="40"/>
                    </a:lnTo>
                    <a:lnTo>
                      <a:pt x="79" y="38"/>
                    </a:lnTo>
                    <a:close/>
                    <a:moveTo>
                      <a:pt x="77" y="38"/>
                    </a:moveTo>
                    <a:lnTo>
                      <a:pt x="79" y="38"/>
                    </a:lnTo>
                    <a:lnTo>
                      <a:pt x="77" y="38"/>
                    </a:lnTo>
                    <a:close/>
                    <a:moveTo>
                      <a:pt x="94" y="44"/>
                    </a:moveTo>
                    <a:lnTo>
                      <a:pt x="92" y="44"/>
                    </a:lnTo>
                    <a:lnTo>
                      <a:pt x="94" y="44"/>
                    </a:lnTo>
                    <a:close/>
                    <a:moveTo>
                      <a:pt x="91" y="42"/>
                    </a:moveTo>
                    <a:lnTo>
                      <a:pt x="89" y="42"/>
                    </a:lnTo>
                    <a:lnTo>
                      <a:pt x="91" y="42"/>
                    </a:lnTo>
                    <a:close/>
                    <a:moveTo>
                      <a:pt x="100" y="46"/>
                    </a:moveTo>
                    <a:lnTo>
                      <a:pt x="100" y="44"/>
                    </a:lnTo>
                    <a:lnTo>
                      <a:pt x="100" y="46"/>
                    </a:lnTo>
                    <a:close/>
                    <a:moveTo>
                      <a:pt x="91" y="42"/>
                    </a:moveTo>
                    <a:lnTo>
                      <a:pt x="92" y="42"/>
                    </a:lnTo>
                    <a:lnTo>
                      <a:pt x="91" y="42"/>
                    </a:lnTo>
                    <a:close/>
                    <a:moveTo>
                      <a:pt x="100" y="44"/>
                    </a:moveTo>
                    <a:lnTo>
                      <a:pt x="100" y="46"/>
                    </a:lnTo>
                    <a:lnTo>
                      <a:pt x="100" y="44"/>
                    </a:lnTo>
                    <a:close/>
                    <a:moveTo>
                      <a:pt x="89" y="42"/>
                    </a:moveTo>
                    <a:lnTo>
                      <a:pt x="89" y="40"/>
                    </a:lnTo>
                    <a:lnTo>
                      <a:pt x="89" y="42"/>
                    </a:lnTo>
                    <a:close/>
                    <a:moveTo>
                      <a:pt x="104" y="46"/>
                    </a:moveTo>
                    <a:lnTo>
                      <a:pt x="102" y="46"/>
                    </a:lnTo>
                    <a:lnTo>
                      <a:pt x="104" y="46"/>
                    </a:lnTo>
                    <a:close/>
                    <a:moveTo>
                      <a:pt x="79" y="38"/>
                    </a:moveTo>
                    <a:lnTo>
                      <a:pt x="81" y="38"/>
                    </a:lnTo>
                    <a:lnTo>
                      <a:pt x="79" y="38"/>
                    </a:lnTo>
                    <a:close/>
                    <a:moveTo>
                      <a:pt x="94" y="44"/>
                    </a:moveTo>
                    <a:lnTo>
                      <a:pt x="94" y="42"/>
                    </a:lnTo>
                    <a:lnTo>
                      <a:pt x="94" y="44"/>
                    </a:lnTo>
                    <a:close/>
                    <a:moveTo>
                      <a:pt x="98" y="44"/>
                    </a:moveTo>
                    <a:lnTo>
                      <a:pt x="100" y="44"/>
                    </a:lnTo>
                    <a:lnTo>
                      <a:pt x="98" y="44"/>
                    </a:lnTo>
                    <a:close/>
                    <a:moveTo>
                      <a:pt x="108" y="46"/>
                    </a:moveTo>
                    <a:lnTo>
                      <a:pt x="106" y="46"/>
                    </a:lnTo>
                    <a:lnTo>
                      <a:pt x="108" y="46"/>
                    </a:lnTo>
                    <a:close/>
                    <a:moveTo>
                      <a:pt x="108" y="46"/>
                    </a:moveTo>
                    <a:lnTo>
                      <a:pt x="106" y="46"/>
                    </a:lnTo>
                    <a:lnTo>
                      <a:pt x="108" y="46"/>
                    </a:lnTo>
                    <a:close/>
                    <a:moveTo>
                      <a:pt x="83" y="38"/>
                    </a:moveTo>
                    <a:lnTo>
                      <a:pt x="81" y="38"/>
                    </a:lnTo>
                    <a:lnTo>
                      <a:pt x="83" y="38"/>
                    </a:lnTo>
                    <a:close/>
                    <a:moveTo>
                      <a:pt x="96" y="42"/>
                    </a:moveTo>
                    <a:lnTo>
                      <a:pt x="94" y="42"/>
                    </a:lnTo>
                    <a:lnTo>
                      <a:pt x="96" y="42"/>
                    </a:lnTo>
                    <a:close/>
                    <a:moveTo>
                      <a:pt x="108" y="46"/>
                    </a:moveTo>
                    <a:lnTo>
                      <a:pt x="106" y="46"/>
                    </a:lnTo>
                    <a:lnTo>
                      <a:pt x="108" y="46"/>
                    </a:lnTo>
                    <a:close/>
                    <a:moveTo>
                      <a:pt x="100" y="44"/>
                    </a:moveTo>
                    <a:lnTo>
                      <a:pt x="98" y="44"/>
                    </a:lnTo>
                    <a:lnTo>
                      <a:pt x="100" y="44"/>
                    </a:lnTo>
                    <a:close/>
                    <a:moveTo>
                      <a:pt x="92" y="40"/>
                    </a:moveTo>
                    <a:lnTo>
                      <a:pt x="92" y="42"/>
                    </a:lnTo>
                    <a:lnTo>
                      <a:pt x="92" y="40"/>
                    </a:lnTo>
                    <a:close/>
                    <a:moveTo>
                      <a:pt x="104" y="46"/>
                    </a:moveTo>
                    <a:lnTo>
                      <a:pt x="104" y="44"/>
                    </a:lnTo>
                    <a:lnTo>
                      <a:pt x="104" y="46"/>
                    </a:lnTo>
                    <a:close/>
                    <a:moveTo>
                      <a:pt x="87" y="40"/>
                    </a:moveTo>
                    <a:lnTo>
                      <a:pt x="87" y="38"/>
                    </a:lnTo>
                    <a:lnTo>
                      <a:pt x="87" y="40"/>
                    </a:lnTo>
                    <a:close/>
                    <a:moveTo>
                      <a:pt x="104" y="44"/>
                    </a:moveTo>
                    <a:lnTo>
                      <a:pt x="106" y="46"/>
                    </a:lnTo>
                    <a:lnTo>
                      <a:pt x="104" y="46"/>
                    </a:lnTo>
                    <a:lnTo>
                      <a:pt x="104" y="44"/>
                    </a:lnTo>
                    <a:close/>
                    <a:moveTo>
                      <a:pt x="79" y="36"/>
                    </a:moveTo>
                    <a:lnTo>
                      <a:pt x="81" y="36"/>
                    </a:lnTo>
                    <a:lnTo>
                      <a:pt x="79" y="36"/>
                    </a:lnTo>
                    <a:close/>
                    <a:moveTo>
                      <a:pt x="92" y="40"/>
                    </a:moveTo>
                    <a:lnTo>
                      <a:pt x="92" y="42"/>
                    </a:lnTo>
                    <a:lnTo>
                      <a:pt x="92" y="40"/>
                    </a:lnTo>
                    <a:close/>
                    <a:moveTo>
                      <a:pt x="100" y="44"/>
                    </a:moveTo>
                    <a:lnTo>
                      <a:pt x="100" y="42"/>
                    </a:lnTo>
                    <a:lnTo>
                      <a:pt x="100" y="44"/>
                    </a:lnTo>
                    <a:close/>
                    <a:moveTo>
                      <a:pt x="94" y="42"/>
                    </a:moveTo>
                    <a:lnTo>
                      <a:pt x="94" y="40"/>
                    </a:lnTo>
                    <a:lnTo>
                      <a:pt x="94" y="42"/>
                    </a:lnTo>
                    <a:close/>
                    <a:moveTo>
                      <a:pt x="94" y="40"/>
                    </a:moveTo>
                    <a:lnTo>
                      <a:pt x="94" y="42"/>
                    </a:lnTo>
                    <a:lnTo>
                      <a:pt x="94" y="40"/>
                    </a:lnTo>
                    <a:close/>
                    <a:moveTo>
                      <a:pt x="94" y="40"/>
                    </a:moveTo>
                    <a:lnTo>
                      <a:pt x="94" y="42"/>
                    </a:lnTo>
                    <a:lnTo>
                      <a:pt x="94" y="40"/>
                    </a:lnTo>
                    <a:close/>
                    <a:moveTo>
                      <a:pt x="83" y="38"/>
                    </a:moveTo>
                    <a:lnTo>
                      <a:pt x="83" y="36"/>
                    </a:lnTo>
                    <a:lnTo>
                      <a:pt x="83" y="38"/>
                    </a:lnTo>
                    <a:close/>
                    <a:moveTo>
                      <a:pt x="83" y="36"/>
                    </a:moveTo>
                    <a:lnTo>
                      <a:pt x="83" y="38"/>
                    </a:lnTo>
                    <a:lnTo>
                      <a:pt x="83" y="36"/>
                    </a:lnTo>
                    <a:close/>
                    <a:moveTo>
                      <a:pt x="83" y="38"/>
                    </a:moveTo>
                    <a:lnTo>
                      <a:pt x="85" y="38"/>
                    </a:lnTo>
                    <a:lnTo>
                      <a:pt x="83" y="38"/>
                    </a:lnTo>
                    <a:close/>
                    <a:moveTo>
                      <a:pt x="96" y="42"/>
                    </a:moveTo>
                    <a:lnTo>
                      <a:pt x="96" y="40"/>
                    </a:lnTo>
                    <a:lnTo>
                      <a:pt x="96" y="42"/>
                    </a:lnTo>
                    <a:close/>
                    <a:moveTo>
                      <a:pt x="102" y="42"/>
                    </a:moveTo>
                    <a:lnTo>
                      <a:pt x="102" y="44"/>
                    </a:lnTo>
                    <a:lnTo>
                      <a:pt x="102" y="42"/>
                    </a:lnTo>
                    <a:close/>
                    <a:moveTo>
                      <a:pt x="85" y="38"/>
                    </a:moveTo>
                    <a:lnTo>
                      <a:pt x="85" y="36"/>
                    </a:lnTo>
                    <a:lnTo>
                      <a:pt x="85" y="38"/>
                    </a:lnTo>
                    <a:close/>
                    <a:moveTo>
                      <a:pt x="85" y="36"/>
                    </a:moveTo>
                    <a:lnTo>
                      <a:pt x="83" y="36"/>
                    </a:lnTo>
                    <a:lnTo>
                      <a:pt x="85" y="36"/>
                    </a:lnTo>
                    <a:close/>
                    <a:moveTo>
                      <a:pt x="94" y="40"/>
                    </a:moveTo>
                    <a:lnTo>
                      <a:pt x="92" y="40"/>
                    </a:lnTo>
                    <a:lnTo>
                      <a:pt x="94" y="40"/>
                    </a:lnTo>
                    <a:close/>
                    <a:moveTo>
                      <a:pt x="98" y="42"/>
                    </a:moveTo>
                    <a:lnTo>
                      <a:pt x="98" y="40"/>
                    </a:lnTo>
                    <a:lnTo>
                      <a:pt x="98" y="42"/>
                    </a:lnTo>
                    <a:close/>
                    <a:moveTo>
                      <a:pt x="87" y="36"/>
                    </a:moveTo>
                    <a:lnTo>
                      <a:pt x="85" y="38"/>
                    </a:lnTo>
                    <a:lnTo>
                      <a:pt x="85" y="36"/>
                    </a:lnTo>
                    <a:lnTo>
                      <a:pt x="87" y="36"/>
                    </a:lnTo>
                    <a:close/>
                    <a:moveTo>
                      <a:pt x="85" y="36"/>
                    </a:moveTo>
                    <a:lnTo>
                      <a:pt x="83" y="36"/>
                    </a:lnTo>
                    <a:lnTo>
                      <a:pt x="85" y="36"/>
                    </a:lnTo>
                    <a:close/>
                    <a:moveTo>
                      <a:pt x="83" y="36"/>
                    </a:moveTo>
                    <a:lnTo>
                      <a:pt x="83" y="35"/>
                    </a:lnTo>
                    <a:lnTo>
                      <a:pt x="83" y="36"/>
                    </a:lnTo>
                    <a:close/>
                    <a:moveTo>
                      <a:pt x="104" y="42"/>
                    </a:moveTo>
                    <a:lnTo>
                      <a:pt x="102" y="42"/>
                    </a:lnTo>
                    <a:lnTo>
                      <a:pt x="104" y="42"/>
                    </a:lnTo>
                    <a:close/>
                    <a:moveTo>
                      <a:pt x="98" y="40"/>
                    </a:moveTo>
                    <a:lnTo>
                      <a:pt x="96" y="40"/>
                    </a:lnTo>
                    <a:lnTo>
                      <a:pt x="98" y="40"/>
                    </a:lnTo>
                    <a:close/>
                    <a:moveTo>
                      <a:pt x="96" y="38"/>
                    </a:moveTo>
                    <a:lnTo>
                      <a:pt x="96" y="40"/>
                    </a:lnTo>
                    <a:lnTo>
                      <a:pt x="96" y="38"/>
                    </a:lnTo>
                    <a:close/>
                    <a:moveTo>
                      <a:pt x="83" y="36"/>
                    </a:moveTo>
                    <a:lnTo>
                      <a:pt x="83" y="35"/>
                    </a:lnTo>
                    <a:lnTo>
                      <a:pt x="83" y="36"/>
                    </a:lnTo>
                    <a:close/>
                    <a:moveTo>
                      <a:pt x="106" y="42"/>
                    </a:moveTo>
                    <a:lnTo>
                      <a:pt x="108" y="42"/>
                    </a:lnTo>
                    <a:lnTo>
                      <a:pt x="106" y="42"/>
                    </a:lnTo>
                    <a:close/>
                    <a:moveTo>
                      <a:pt x="106" y="42"/>
                    </a:moveTo>
                    <a:lnTo>
                      <a:pt x="108" y="42"/>
                    </a:lnTo>
                    <a:lnTo>
                      <a:pt x="106" y="42"/>
                    </a:lnTo>
                    <a:close/>
                    <a:moveTo>
                      <a:pt x="106" y="40"/>
                    </a:moveTo>
                    <a:lnTo>
                      <a:pt x="106" y="42"/>
                    </a:lnTo>
                    <a:lnTo>
                      <a:pt x="106" y="40"/>
                    </a:lnTo>
                    <a:close/>
                    <a:moveTo>
                      <a:pt x="108" y="42"/>
                    </a:moveTo>
                    <a:lnTo>
                      <a:pt x="106" y="42"/>
                    </a:lnTo>
                    <a:lnTo>
                      <a:pt x="108" y="42"/>
                    </a:lnTo>
                    <a:close/>
                    <a:moveTo>
                      <a:pt x="85" y="35"/>
                    </a:moveTo>
                    <a:lnTo>
                      <a:pt x="83" y="35"/>
                    </a:lnTo>
                    <a:lnTo>
                      <a:pt x="85" y="35"/>
                    </a:lnTo>
                    <a:close/>
                    <a:moveTo>
                      <a:pt x="85" y="35"/>
                    </a:moveTo>
                    <a:lnTo>
                      <a:pt x="87" y="35"/>
                    </a:lnTo>
                    <a:lnTo>
                      <a:pt x="85" y="35"/>
                    </a:lnTo>
                    <a:close/>
                    <a:moveTo>
                      <a:pt x="106" y="40"/>
                    </a:moveTo>
                    <a:lnTo>
                      <a:pt x="104" y="40"/>
                    </a:lnTo>
                    <a:lnTo>
                      <a:pt x="106" y="40"/>
                    </a:lnTo>
                    <a:close/>
                    <a:moveTo>
                      <a:pt x="87" y="35"/>
                    </a:moveTo>
                    <a:lnTo>
                      <a:pt x="87" y="33"/>
                    </a:lnTo>
                    <a:lnTo>
                      <a:pt x="87" y="35"/>
                    </a:lnTo>
                    <a:close/>
                    <a:moveTo>
                      <a:pt x="92" y="35"/>
                    </a:moveTo>
                    <a:lnTo>
                      <a:pt x="91" y="35"/>
                    </a:lnTo>
                    <a:lnTo>
                      <a:pt x="92" y="35"/>
                    </a:lnTo>
                    <a:close/>
                    <a:moveTo>
                      <a:pt x="81" y="31"/>
                    </a:moveTo>
                    <a:lnTo>
                      <a:pt x="81" y="33"/>
                    </a:lnTo>
                    <a:lnTo>
                      <a:pt x="81" y="31"/>
                    </a:lnTo>
                    <a:close/>
                    <a:moveTo>
                      <a:pt x="89" y="33"/>
                    </a:moveTo>
                    <a:lnTo>
                      <a:pt x="87" y="33"/>
                    </a:lnTo>
                    <a:lnTo>
                      <a:pt x="89" y="33"/>
                    </a:lnTo>
                    <a:close/>
                    <a:moveTo>
                      <a:pt x="94" y="35"/>
                    </a:moveTo>
                    <a:lnTo>
                      <a:pt x="92" y="35"/>
                    </a:lnTo>
                    <a:lnTo>
                      <a:pt x="94" y="35"/>
                    </a:lnTo>
                    <a:close/>
                    <a:moveTo>
                      <a:pt x="100" y="36"/>
                    </a:moveTo>
                    <a:lnTo>
                      <a:pt x="100" y="38"/>
                    </a:lnTo>
                    <a:lnTo>
                      <a:pt x="100" y="36"/>
                    </a:lnTo>
                    <a:close/>
                    <a:moveTo>
                      <a:pt x="81" y="31"/>
                    </a:moveTo>
                    <a:lnTo>
                      <a:pt x="83" y="31"/>
                    </a:lnTo>
                    <a:lnTo>
                      <a:pt x="81" y="31"/>
                    </a:lnTo>
                    <a:close/>
                    <a:moveTo>
                      <a:pt x="102" y="38"/>
                    </a:moveTo>
                    <a:lnTo>
                      <a:pt x="102" y="36"/>
                    </a:lnTo>
                    <a:lnTo>
                      <a:pt x="102" y="38"/>
                    </a:lnTo>
                    <a:close/>
                    <a:moveTo>
                      <a:pt x="98" y="36"/>
                    </a:moveTo>
                    <a:lnTo>
                      <a:pt x="100" y="36"/>
                    </a:lnTo>
                    <a:lnTo>
                      <a:pt x="98" y="36"/>
                    </a:lnTo>
                    <a:close/>
                    <a:moveTo>
                      <a:pt x="91" y="35"/>
                    </a:moveTo>
                    <a:lnTo>
                      <a:pt x="91" y="33"/>
                    </a:lnTo>
                    <a:lnTo>
                      <a:pt x="91" y="35"/>
                    </a:lnTo>
                    <a:close/>
                    <a:moveTo>
                      <a:pt x="83" y="33"/>
                    </a:moveTo>
                    <a:lnTo>
                      <a:pt x="83" y="31"/>
                    </a:lnTo>
                    <a:lnTo>
                      <a:pt x="83" y="33"/>
                    </a:lnTo>
                    <a:close/>
                    <a:moveTo>
                      <a:pt x="94" y="35"/>
                    </a:moveTo>
                    <a:lnTo>
                      <a:pt x="94" y="36"/>
                    </a:lnTo>
                    <a:lnTo>
                      <a:pt x="94" y="35"/>
                    </a:lnTo>
                    <a:lnTo>
                      <a:pt x="94" y="36"/>
                    </a:lnTo>
                    <a:lnTo>
                      <a:pt x="94" y="35"/>
                    </a:lnTo>
                    <a:close/>
                    <a:moveTo>
                      <a:pt x="85" y="31"/>
                    </a:moveTo>
                    <a:lnTo>
                      <a:pt x="85" y="33"/>
                    </a:lnTo>
                    <a:lnTo>
                      <a:pt x="85" y="31"/>
                    </a:lnTo>
                    <a:close/>
                    <a:moveTo>
                      <a:pt x="108" y="38"/>
                    </a:moveTo>
                    <a:lnTo>
                      <a:pt x="106" y="38"/>
                    </a:lnTo>
                    <a:lnTo>
                      <a:pt x="108" y="38"/>
                    </a:lnTo>
                    <a:close/>
                    <a:moveTo>
                      <a:pt x="85" y="31"/>
                    </a:moveTo>
                    <a:lnTo>
                      <a:pt x="83" y="31"/>
                    </a:lnTo>
                    <a:lnTo>
                      <a:pt x="85" y="31"/>
                    </a:lnTo>
                    <a:close/>
                    <a:moveTo>
                      <a:pt x="92" y="33"/>
                    </a:moveTo>
                    <a:lnTo>
                      <a:pt x="91" y="33"/>
                    </a:lnTo>
                    <a:lnTo>
                      <a:pt x="92" y="33"/>
                    </a:lnTo>
                    <a:close/>
                    <a:moveTo>
                      <a:pt x="92" y="35"/>
                    </a:moveTo>
                    <a:lnTo>
                      <a:pt x="92" y="33"/>
                    </a:lnTo>
                    <a:lnTo>
                      <a:pt x="92" y="35"/>
                    </a:lnTo>
                    <a:close/>
                    <a:moveTo>
                      <a:pt x="100" y="36"/>
                    </a:moveTo>
                    <a:lnTo>
                      <a:pt x="102" y="36"/>
                    </a:lnTo>
                    <a:lnTo>
                      <a:pt x="100" y="36"/>
                    </a:lnTo>
                    <a:close/>
                    <a:moveTo>
                      <a:pt x="92" y="33"/>
                    </a:moveTo>
                    <a:lnTo>
                      <a:pt x="92" y="35"/>
                    </a:lnTo>
                    <a:lnTo>
                      <a:pt x="92" y="33"/>
                    </a:lnTo>
                    <a:close/>
                    <a:moveTo>
                      <a:pt x="108" y="38"/>
                    </a:moveTo>
                    <a:lnTo>
                      <a:pt x="108" y="36"/>
                    </a:lnTo>
                    <a:lnTo>
                      <a:pt x="108" y="38"/>
                    </a:lnTo>
                    <a:close/>
                    <a:moveTo>
                      <a:pt x="108" y="38"/>
                    </a:moveTo>
                    <a:lnTo>
                      <a:pt x="108" y="36"/>
                    </a:lnTo>
                    <a:lnTo>
                      <a:pt x="108" y="38"/>
                    </a:lnTo>
                    <a:close/>
                    <a:moveTo>
                      <a:pt x="79" y="29"/>
                    </a:moveTo>
                    <a:lnTo>
                      <a:pt x="77" y="29"/>
                    </a:lnTo>
                    <a:lnTo>
                      <a:pt x="79" y="29"/>
                    </a:lnTo>
                    <a:close/>
                    <a:moveTo>
                      <a:pt x="85" y="31"/>
                    </a:moveTo>
                    <a:lnTo>
                      <a:pt x="87" y="31"/>
                    </a:lnTo>
                    <a:lnTo>
                      <a:pt x="85" y="31"/>
                    </a:lnTo>
                    <a:close/>
                    <a:moveTo>
                      <a:pt x="102" y="36"/>
                    </a:moveTo>
                    <a:lnTo>
                      <a:pt x="102" y="35"/>
                    </a:lnTo>
                    <a:lnTo>
                      <a:pt x="102" y="36"/>
                    </a:lnTo>
                    <a:close/>
                    <a:moveTo>
                      <a:pt x="104" y="35"/>
                    </a:moveTo>
                    <a:lnTo>
                      <a:pt x="104" y="36"/>
                    </a:lnTo>
                    <a:lnTo>
                      <a:pt x="104" y="35"/>
                    </a:lnTo>
                    <a:close/>
                    <a:moveTo>
                      <a:pt x="102" y="35"/>
                    </a:moveTo>
                    <a:lnTo>
                      <a:pt x="100" y="35"/>
                    </a:lnTo>
                    <a:lnTo>
                      <a:pt x="102" y="35"/>
                    </a:lnTo>
                    <a:close/>
                    <a:moveTo>
                      <a:pt x="98" y="35"/>
                    </a:moveTo>
                    <a:lnTo>
                      <a:pt x="100" y="35"/>
                    </a:lnTo>
                    <a:lnTo>
                      <a:pt x="98" y="35"/>
                    </a:lnTo>
                    <a:close/>
                    <a:moveTo>
                      <a:pt x="91" y="31"/>
                    </a:moveTo>
                    <a:lnTo>
                      <a:pt x="89" y="31"/>
                    </a:lnTo>
                    <a:lnTo>
                      <a:pt x="91" y="31"/>
                    </a:lnTo>
                    <a:close/>
                    <a:moveTo>
                      <a:pt x="102" y="35"/>
                    </a:moveTo>
                    <a:lnTo>
                      <a:pt x="102" y="36"/>
                    </a:lnTo>
                    <a:lnTo>
                      <a:pt x="102" y="35"/>
                    </a:lnTo>
                    <a:lnTo>
                      <a:pt x="102" y="36"/>
                    </a:lnTo>
                    <a:lnTo>
                      <a:pt x="102" y="35"/>
                    </a:lnTo>
                    <a:close/>
                    <a:moveTo>
                      <a:pt x="104" y="35"/>
                    </a:moveTo>
                    <a:lnTo>
                      <a:pt x="104" y="36"/>
                    </a:lnTo>
                    <a:lnTo>
                      <a:pt x="104" y="35"/>
                    </a:lnTo>
                    <a:close/>
                    <a:moveTo>
                      <a:pt x="92" y="31"/>
                    </a:moveTo>
                    <a:lnTo>
                      <a:pt x="91" y="31"/>
                    </a:lnTo>
                    <a:lnTo>
                      <a:pt x="92" y="31"/>
                    </a:lnTo>
                    <a:close/>
                    <a:moveTo>
                      <a:pt x="87" y="31"/>
                    </a:moveTo>
                    <a:lnTo>
                      <a:pt x="87" y="29"/>
                    </a:lnTo>
                    <a:lnTo>
                      <a:pt x="87" y="31"/>
                    </a:lnTo>
                    <a:close/>
                    <a:moveTo>
                      <a:pt x="94" y="31"/>
                    </a:moveTo>
                    <a:lnTo>
                      <a:pt x="92" y="31"/>
                    </a:lnTo>
                    <a:lnTo>
                      <a:pt x="94" y="31"/>
                    </a:lnTo>
                    <a:close/>
                    <a:moveTo>
                      <a:pt x="98" y="33"/>
                    </a:moveTo>
                    <a:lnTo>
                      <a:pt x="100" y="33"/>
                    </a:lnTo>
                    <a:lnTo>
                      <a:pt x="98" y="33"/>
                    </a:lnTo>
                    <a:close/>
                    <a:moveTo>
                      <a:pt x="104" y="35"/>
                    </a:moveTo>
                    <a:lnTo>
                      <a:pt x="102" y="35"/>
                    </a:lnTo>
                    <a:lnTo>
                      <a:pt x="104" y="35"/>
                    </a:lnTo>
                    <a:close/>
                    <a:moveTo>
                      <a:pt x="89" y="29"/>
                    </a:moveTo>
                    <a:lnTo>
                      <a:pt x="89" y="31"/>
                    </a:lnTo>
                    <a:lnTo>
                      <a:pt x="89" y="29"/>
                    </a:lnTo>
                    <a:close/>
                    <a:moveTo>
                      <a:pt x="108" y="36"/>
                    </a:moveTo>
                    <a:lnTo>
                      <a:pt x="108" y="35"/>
                    </a:lnTo>
                    <a:lnTo>
                      <a:pt x="108" y="36"/>
                    </a:lnTo>
                    <a:lnTo>
                      <a:pt x="108" y="35"/>
                    </a:lnTo>
                    <a:lnTo>
                      <a:pt x="108" y="36"/>
                    </a:lnTo>
                    <a:close/>
                    <a:moveTo>
                      <a:pt x="110" y="36"/>
                    </a:moveTo>
                    <a:lnTo>
                      <a:pt x="108" y="36"/>
                    </a:lnTo>
                    <a:lnTo>
                      <a:pt x="108" y="35"/>
                    </a:lnTo>
                    <a:lnTo>
                      <a:pt x="110" y="35"/>
                    </a:lnTo>
                    <a:lnTo>
                      <a:pt x="110" y="36"/>
                    </a:lnTo>
                    <a:close/>
                    <a:moveTo>
                      <a:pt x="110" y="35"/>
                    </a:moveTo>
                    <a:lnTo>
                      <a:pt x="108" y="35"/>
                    </a:lnTo>
                    <a:lnTo>
                      <a:pt x="110" y="35"/>
                    </a:lnTo>
                    <a:close/>
                    <a:moveTo>
                      <a:pt x="108" y="35"/>
                    </a:moveTo>
                    <a:lnTo>
                      <a:pt x="108" y="36"/>
                    </a:lnTo>
                    <a:lnTo>
                      <a:pt x="108" y="35"/>
                    </a:lnTo>
                    <a:close/>
                    <a:moveTo>
                      <a:pt x="110" y="36"/>
                    </a:moveTo>
                    <a:lnTo>
                      <a:pt x="110" y="35"/>
                    </a:lnTo>
                    <a:lnTo>
                      <a:pt x="110" y="36"/>
                    </a:lnTo>
                    <a:close/>
                    <a:moveTo>
                      <a:pt x="110" y="35"/>
                    </a:moveTo>
                    <a:lnTo>
                      <a:pt x="108" y="35"/>
                    </a:lnTo>
                    <a:lnTo>
                      <a:pt x="110" y="35"/>
                    </a:lnTo>
                    <a:close/>
                    <a:moveTo>
                      <a:pt x="94" y="31"/>
                    </a:moveTo>
                    <a:lnTo>
                      <a:pt x="92" y="31"/>
                    </a:lnTo>
                    <a:lnTo>
                      <a:pt x="94" y="31"/>
                    </a:lnTo>
                    <a:close/>
                    <a:moveTo>
                      <a:pt x="110" y="35"/>
                    </a:moveTo>
                    <a:lnTo>
                      <a:pt x="108" y="35"/>
                    </a:lnTo>
                    <a:lnTo>
                      <a:pt x="110" y="35"/>
                    </a:lnTo>
                    <a:close/>
                    <a:moveTo>
                      <a:pt x="104" y="35"/>
                    </a:moveTo>
                    <a:lnTo>
                      <a:pt x="104" y="33"/>
                    </a:lnTo>
                    <a:lnTo>
                      <a:pt x="104" y="35"/>
                    </a:lnTo>
                    <a:close/>
                    <a:moveTo>
                      <a:pt x="108" y="35"/>
                    </a:moveTo>
                    <a:lnTo>
                      <a:pt x="110" y="35"/>
                    </a:lnTo>
                    <a:lnTo>
                      <a:pt x="108" y="35"/>
                    </a:lnTo>
                    <a:close/>
                    <a:moveTo>
                      <a:pt x="108" y="35"/>
                    </a:moveTo>
                    <a:lnTo>
                      <a:pt x="110" y="35"/>
                    </a:lnTo>
                    <a:lnTo>
                      <a:pt x="108" y="35"/>
                    </a:lnTo>
                    <a:close/>
                    <a:moveTo>
                      <a:pt x="102" y="33"/>
                    </a:moveTo>
                    <a:lnTo>
                      <a:pt x="104" y="33"/>
                    </a:lnTo>
                    <a:lnTo>
                      <a:pt x="102" y="33"/>
                    </a:lnTo>
                    <a:close/>
                    <a:moveTo>
                      <a:pt x="94" y="29"/>
                    </a:moveTo>
                    <a:lnTo>
                      <a:pt x="94" y="31"/>
                    </a:lnTo>
                    <a:lnTo>
                      <a:pt x="94" y="29"/>
                    </a:lnTo>
                    <a:close/>
                    <a:moveTo>
                      <a:pt x="92" y="29"/>
                    </a:moveTo>
                    <a:lnTo>
                      <a:pt x="92" y="31"/>
                    </a:lnTo>
                    <a:lnTo>
                      <a:pt x="92" y="29"/>
                    </a:lnTo>
                    <a:close/>
                    <a:moveTo>
                      <a:pt x="94" y="29"/>
                    </a:moveTo>
                    <a:lnTo>
                      <a:pt x="92" y="29"/>
                    </a:lnTo>
                    <a:lnTo>
                      <a:pt x="94" y="29"/>
                    </a:lnTo>
                    <a:close/>
                    <a:moveTo>
                      <a:pt x="106" y="35"/>
                    </a:moveTo>
                    <a:lnTo>
                      <a:pt x="106" y="33"/>
                    </a:lnTo>
                    <a:lnTo>
                      <a:pt x="106" y="35"/>
                    </a:lnTo>
                    <a:close/>
                    <a:moveTo>
                      <a:pt x="94" y="31"/>
                    </a:moveTo>
                    <a:lnTo>
                      <a:pt x="96" y="31"/>
                    </a:lnTo>
                    <a:lnTo>
                      <a:pt x="94" y="31"/>
                    </a:lnTo>
                    <a:close/>
                    <a:moveTo>
                      <a:pt x="104" y="33"/>
                    </a:moveTo>
                    <a:lnTo>
                      <a:pt x="104" y="31"/>
                    </a:lnTo>
                    <a:lnTo>
                      <a:pt x="104" y="33"/>
                    </a:lnTo>
                    <a:close/>
                    <a:moveTo>
                      <a:pt x="106" y="33"/>
                    </a:moveTo>
                    <a:lnTo>
                      <a:pt x="104" y="33"/>
                    </a:lnTo>
                    <a:lnTo>
                      <a:pt x="106" y="33"/>
                    </a:lnTo>
                    <a:close/>
                    <a:moveTo>
                      <a:pt x="104" y="33"/>
                    </a:moveTo>
                    <a:lnTo>
                      <a:pt x="104" y="31"/>
                    </a:lnTo>
                    <a:lnTo>
                      <a:pt x="104" y="33"/>
                    </a:lnTo>
                    <a:close/>
                    <a:moveTo>
                      <a:pt x="104" y="33"/>
                    </a:moveTo>
                    <a:lnTo>
                      <a:pt x="104" y="31"/>
                    </a:lnTo>
                    <a:lnTo>
                      <a:pt x="104" y="33"/>
                    </a:lnTo>
                    <a:close/>
                    <a:moveTo>
                      <a:pt x="104" y="31"/>
                    </a:moveTo>
                    <a:lnTo>
                      <a:pt x="102" y="31"/>
                    </a:lnTo>
                    <a:lnTo>
                      <a:pt x="104" y="31"/>
                    </a:lnTo>
                    <a:close/>
                    <a:moveTo>
                      <a:pt x="96" y="29"/>
                    </a:moveTo>
                    <a:lnTo>
                      <a:pt x="94" y="29"/>
                    </a:lnTo>
                    <a:lnTo>
                      <a:pt x="96" y="29"/>
                    </a:lnTo>
                    <a:lnTo>
                      <a:pt x="94" y="29"/>
                    </a:lnTo>
                    <a:lnTo>
                      <a:pt x="96" y="29"/>
                    </a:lnTo>
                    <a:close/>
                    <a:moveTo>
                      <a:pt x="92" y="27"/>
                    </a:moveTo>
                    <a:lnTo>
                      <a:pt x="92" y="29"/>
                    </a:lnTo>
                    <a:lnTo>
                      <a:pt x="92" y="27"/>
                    </a:lnTo>
                    <a:close/>
                    <a:moveTo>
                      <a:pt x="108" y="31"/>
                    </a:moveTo>
                    <a:lnTo>
                      <a:pt x="108" y="33"/>
                    </a:lnTo>
                    <a:lnTo>
                      <a:pt x="108" y="31"/>
                    </a:lnTo>
                    <a:close/>
                    <a:moveTo>
                      <a:pt x="106" y="31"/>
                    </a:moveTo>
                    <a:lnTo>
                      <a:pt x="106" y="29"/>
                    </a:lnTo>
                    <a:lnTo>
                      <a:pt x="106" y="31"/>
                    </a:lnTo>
                    <a:close/>
                    <a:moveTo>
                      <a:pt x="112" y="31"/>
                    </a:moveTo>
                    <a:lnTo>
                      <a:pt x="112" y="33"/>
                    </a:lnTo>
                    <a:lnTo>
                      <a:pt x="112" y="31"/>
                    </a:lnTo>
                    <a:close/>
                    <a:moveTo>
                      <a:pt x="94" y="27"/>
                    </a:moveTo>
                    <a:lnTo>
                      <a:pt x="96" y="27"/>
                    </a:lnTo>
                    <a:lnTo>
                      <a:pt x="94" y="27"/>
                    </a:lnTo>
                    <a:close/>
                    <a:moveTo>
                      <a:pt x="114" y="31"/>
                    </a:moveTo>
                    <a:lnTo>
                      <a:pt x="114" y="33"/>
                    </a:lnTo>
                    <a:lnTo>
                      <a:pt x="114" y="31"/>
                    </a:lnTo>
                    <a:close/>
                    <a:moveTo>
                      <a:pt x="92" y="25"/>
                    </a:moveTo>
                    <a:lnTo>
                      <a:pt x="94" y="25"/>
                    </a:lnTo>
                    <a:lnTo>
                      <a:pt x="92" y="25"/>
                    </a:lnTo>
                    <a:close/>
                    <a:moveTo>
                      <a:pt x="108" y="29"/>
                    </a:moveTo>
                    <a:lnTo>
                      <a:pt x="106" y="29"/>
                    </a:lnTo>
                    <a:lnTo>
                      <a:pt x="108" y="29"/>
                    </a:lnTo>
                    <a:close/>
                    <a:moveTo>
                      <a:pt x="96" y="27"/>
                    </a:moveTo>
                    <a:lnTo>
                      <a:pt x="96" y="25"/>
                    </a:lnTo>
                    <a:lnTo>
                      <a:pt x="96" y="27"/>
                    </a:lnTo>
                    <a:close/>
                    <a:moveTo>
                      <a:pt x="106" y="29"/>
                    </a:moveTo>
                    <a:lnTo>
                      <a:pt x="104" y="29"/>
                    </a:lnTo>
                    <a:lnTo>
                      <a:pt x="106" y="29"/>
                    </a:lnTo>
                    <a:close/>
                    <a:moveTo>
                      <a:pt x="98" y="27"/>
                    </a:moveTo>
                    <a:lnTo>
                      <a:pt x="96" y="27"/>
                    </a:lnTo>
                    <a:lnTo>
                      <a:pt x="98" y="27"/>
                    </a:lnTo>
                    <a:close/>
                    <a:moveTo>
                      <a:pt x="96" y="25"/>
                    </a:moveTo>
                    <a:lnTo>
                      <a:pt x="96" y="27"/>
                    </a:lnTo>
                    <a:lnTo>
                      <a:pt x="96" y="25"/>
                    </a:lnTo>
                    <a:close/>
                    <a:moveTo>
                      <a:pt x="108" y="29"/>
                    </a:moveTo>
                    <a:lnTo>
                      <a:pt x="106" y="29"/>
                    </a:lnTo>
                    <a:lnTo>
                      <a:pt x="108" y="29"/>
                    </a:lnTo>
                    <a:close/>
                    <a:moveTo>
                      <a:pt x="117" y="33"/>
                    </a:moveTo>
                    <a:lnTo>
                      <a:pt x="116" y="31"/>
                    </a:lnTo>
                    <a:lnTo>
                      <a:pt x="117" y="33"/>
                    </a:lnTo>
                    <a:close/>
                    <a:moveTo>
                      <a:pt x="94" y="25"/>
                    </a:moveTo>
                    <a:lnTo>
                      <a:pt x="92" y="25"/>
                    </a:lnTo>
                    <a:lnTo>
                      <a:pt x="94" y="25"/>
                    </a:lnTo>
                    <a:close/>
                    <a:moveTo>
                      <a:pt x="106" y="29"/>
                    </a:moveTo>
                    <a:lnTo>
                      <a:pt x="106" y="27"/>
                    </a:lnTo>
                    <a:lnTo>
                      <a:pt x="106" y="29"/>
                    </a:lnTo>
                    <a:close/>
                    <a:moveTo>
                      <a:pt x="106" y="27"/>
                    </a:moveTo>
                    <a:lnTo>
                      <a:pt x="104" y="27"/>
                    </a:lnTo>
                    <a:lnTo>
                      <a:pt x="104" y="29"/>
                    </a:lnTo>
                    <a:lnTo>
                      <a:pt x="104" y="27"/>
                    </a:lnTo>
                    <a:lnTo>
                      <a:pt x="106" y="27"/>
                    </a:lnTo>
                    <a:close/>
                    <a:moveTo>
                      <a:pt x="106" y="29"/>
                    </a:moveTo>
                    <a:lnTo>
                      <a:pt x="106" y="27"/>
                    </a:lnTo>
                    <a:lnTo>
                      <a:pt x="106" y="29"/>
                    </a:lnTo>
                    <a:close/>
                    <a:moveTo>
                      <a:pt x="92" y="23"/>
                    </a:moveTo>
                    <a:lnTo>
                      <a:pt x="94" y="23"/>
                    </a:lnTo>
                    <a:lnTo>
                      <a:pt x="92" y="23"/>
                    </a:lnTo>
                    <a:close/>
                    <a:moveTo>
                      <a:pt x="108" y="29"/>
                    </a:moveTo>
                    <a:lnTo>
                      <a:pt x="106" y="29"/>
                    </a:lnTo>
                    <a:lnTo>
                      <a:pt x="108" y="29"/>
                    </a:lnTo>
                    <a:close/>
                    <a:moveTo>
                      <a:pt x="108" y="29"/>
                    </a:moveTo>
                    <a:lnTo>
                      <a:pt x="108" y="27"/>
                    </a:lnTo>
                    <a:lnTo>
                      <a:pt x="108" y="29"/>
                    </a:lnTo>
                    <a:close/>
                    <a:moveTo>
                      <a:pt x="94" y="23"/>
                    </a:moveTo>
                    <a:lnTo>
                      <a:pt x="94" y="25"/>
                    </a:lnTo>
                    <a:lnTo>
                      <a:pt x="94" y="23"/>
                    </a:lnTo>
                    <a:close/>
                    <a:moveTo>
                      <a:pt x="96" y="23"/>
                    </a:moveTo>
                    <a:lnTo>
                      <a:pt x="94" y="23"/>
                    </a:lnTo>
                    <a:lnTo>
                      <a:pt x="96" y="23"/>
                    </a:lnTo>
                    <a:close/>
                    <a:moveTo>
                      <a:pt x="110" y="29"/>
                    </a:moveTo>
                    <a:lnTo>
                      <a:pt x="110" y="27"/>
                    </a:lnTo>
                    <a:lnTo>
                      <a:pt x="110" y="29"/>
                    </a:lnTo>
                    <a:close/>
                    <a:moveTo>
                      <a:pt x="94" y="23"/>
                    </a:moveTo>
                    <a:lnTo>
                      <a:pt x="92" y="23"/>
                    </a:lnTo>
                    <a:lnTo>
                      <a:pt x="94" y="23"/>
                    </a:lnTo>
                    <a:close/>
                    <a:moveTo>
                      <a:pt x="112" y="29"/>
                    </a:moveTo>
                    <a:lnTo>
                      <a:pt x="112" y="27"/>
                    </a:lnTo>
                    <a:lnTo>
                      <a:pt x="112" y="29"/>
                    </a:lnTo>
                    <a:close/>
                    <a:moveTo>
                      <a:pt x="106" y="27"/>
                    </a:moveTo>
                    <a:lnTo>
                      <a:pt x="106" y="25"/>
                    </a:lnTo>
                    <a:lnTo>
                      <a:pt x="106" y="27"/>
                    </a:lnTo>
                    <a:lnTo>
                      <a:pt x="106" y="25"/>
                    </a:lnTo>
                    <a:lnTo>
                      <a:pt x="106" y="27"/>
                    </a:lnTo>
                    <a:close/>
                    <a:moveTo>
                      <a:pt x="108" y="27"/>
                    </a:moveTo>
                    <a:lnTo>
                      <a:pt x="108" y="25"/>
                    </a:lnTo>
                    <a:lnTo>
                      <a:pt x="108" y="27"/>
                    </a:lnTo>
                    <a:close/>
                    <a:moveTo>
                      <a:pt x="96" y="21"/>
                    </a:moveTo>
                    <a:lnTo>
                      <a:pt x="96" y="23"/>
                    </a:lnTo>
                    <a:lnTo>
                      <a:pt x="96" y="21"/>
                    </a:lnTo>
                    <a:close/>
                    <a:moveTo>
                      <a:pt x="110" y="27"/>
                    </a:moveTo>
                    <a:lnTo>
                      <a:pt x="110" y="25"/>
                    </a:lnTo>
                    <a:lnTo>
                      <a:pt x="110" y="27"/>
                    </a:lnTo>
                    <a:close/>
                    <a:moveTo>
                      <a:pt x="112" y="25"/>
                    </a:moveTo>
                    <a:lnTo>
                      <a:pt x="112" y="27"/>
                    </a:lnTo>
                    <a:lnTo>
                      <a:pt x="112" y="25"/>
                    </a:lnTo>
                    <a:close/>
                    <a:moveTo>
                      <a:pt x="108" y="23"/>
                    </a:moveTo>
                    <a:lnTo>
                      <a:pt x="108" y="25"/>
                    </a:lnTo>
                    <a:lnTo>
                      <a:pt x="108" y="23"/>
                    </a:lnTo>
                    <a:close/>
                    <a:moveTo>
                      <a:pt x="108" y="23"/>
                    </a:moveTo>
                    <a:lnTo>
                      <a:pt x="108" y="25"/>
                    </a:lnTo>
                    <a:lnTo>
                      <a:pt x="108" y="23"/>
                    </a:lnTo>
                    <a:close/>
                    <a:moveTo>
                      <a:pt x="110" y="25"/>
                    </a:moveTo>
                    <a:lnTo>
                      <a:pt x="112" y="25"/>
                    </a:lnTo>
                    <a:lnTo>
                      <a:pt x="110" y="25"/>
                    </a:lnTo>
                    <a:close/>
                    <a:moveTo>
                      <a:pt x="108" y="23"/>
                    </a:moveTo>
                    <a:lnTo>
                      <a:pt x="108" y="25"/>
                    </a:lnTo>
                    <a:lnTo>
                      <a:pt x="108" y="23"/>
                    </a:lnTo>
                    <a:close/>
                    <a:moveTo>
                      <a:pt x="112" y="25"/>
                    </a:moveTo>
                    <a:lnTo>
                      <a:pt x="110" y="25"/>
                    </a:lnTo>
                    <a:lnTo>
                      <a:pt x="112" y="25"/>
                    </a:lnTo>
                    <a:close/>
                    <a:moveTo>
                      <a:pt x="110" y="23"/>
                    </a:moveTo>
                    <a:lnTo>
                      <a:pt x="108" y="23"/>
                    </a:lnTo>
                    <a:lnTo>
                      <a:pt x="110" y="23"/>
                    </a:lnTo>
                    <a:close/>
                    <a:moveTo>
                      <a:pt x="110" y="23"/>
                    </a:moveTo>
                    <a:lnTo>
                      <a:pt x="108" y="23"/>
                    </a:lnTo>
                    <a:lnTo>
                      <a:pt x="110" y="23"/>
                    </a:lnTo>
                    <a:close/>
                    <a:moveTo>
                      <a:pt x="112" y="23"/>
                    </a:moveTo>
                    <a:lnTo>
                      <a:pt x="112" y="25"/>
                    </a:lnTo>
                    <a:lnTo>
                      <a:pt x="112" y="23"/>
                    </a:lnTo>
                    <a:close/>
                    <a:moveTo>
                      <a:pt x="114" y="25"/>
                    </a:moveTo>
                    <a:lnTo>
                      <a:pt x="112" y="25"/>
                    </a:lnTo>
                    <a:lnTo>
                      <a:pt x="114" y="25"/>
                    </a:lnTo>
                    <a:close/>
                    <a:moveTo>
                      <a:pt x="104" y="21"/>
                    </a:moveTo>
                    <a:lnTo>
                      <a:pt x="102" y="21"/>
                    </a:lnTo>
                    <a:lnTo>
                      <a:pt x="104" y="21"/>
                    </a:lnTo>
                    <a:close/>
                    <a:moveTo>
                      <a:pt x="112" y="23"/>
                    </a:moveTo>
                    <a:lnTo>
                      <a:pt x="114" y="23"/>
                    </a:lnTo>
                    <a:lnTo>
                      <a:pt x="112" y="23"/>
                    </a:lnTo>
                    <a:close/>
                    <a:moveTo>
                      <a:pt x="104" y="21"/>
                    </a:moveTo>
                    <a:lnTo>
                      <a:pt x="104" y="19"/>
                    </a:lnTo>
                    <a:lnTo>
                      <a:pt x="104" y="21"/>
                    </a:lnTo>
                    <a:close/>
                    <a:moveTo>
                      <a:pt x="104" y="19"/>
                    </a:moveTo>
                    <a:lnTo>
                      <a:pt x="102" y="19"/>
                    </a:lnTo>
                    <a:lnTo>
                      <a:pt x="104" y="19"/>
                    </a:lnTo>
                    <a:close/>
                    <a:moveTo>
                      <a:pt x="110" y="21"/>
                    </a:moveTo>
                    <a:lnTo>
                      <a:pt x="110" y="23"/>
                    </a:lnTo>
                    <a:lnTo>
                      <a:pt x="110" y="21"/>
                    </a:lnTo>
                    <a:close/>
                    <a:moveTo>
                      <a:pt x="110" y="21"/>
                    </a:moveTo>
                    <a:lnTo>
                      <a:pt x="108" y="21"/>
                    </a:lnTo>
                    <a:lnTo>
                      <a:pt x="110" y="21"/>
                    </a:lnTo>
                    <a:close/>
                    <a:moveTo>
                      <a:pt x="98" y="17"/>
                    </a:moveTo>
                    <a:lnTo>
                      <a:pt x="96" y="17"/>
                    </a:lnTo>
                    <a:lnTo>
                      <a:pt x="98" y="17"/>
                    </a:lnTo>
                    <a:close/>
                    <a:moveTo>
                      <a:pt x="104" y="19"/>
                    </a:moveTo>
                    <a:lnTo>
                      <a:pt x="106" y="19"/>
                    </a:lnTo>
                    <a:lnTo>
                      <a:pt x="104" y="19"/>
                    </a:lnTo>
                    <a:close/>
                    <a:moveTo>
                      <a:pt x="104" y="19"/>
                    </a:moveTo>
                    <a:lnTo>
                      <a:pt x="102" y="19"/>
                    </a:lnTo>
                    <a:lnTo>
                      <a:pt x="104" y="19"/>
                    </a:lnTo>
                    <a:close/>
                    <a:moveTo>
                      <a:pt x="104" y="19"/>
                    </a:moveTo>
                    <a:lnTo>
                      <a:pt x="106" y="19"/>
                    </a:lnTo>
                    <a:lnTo>
                      <a:pt x="104" y="19"/>
                    </a:lnTo>
                    <a:close/>
                    <a:moveTo>
                      <a:pt x="110" y="21"/>
                    </a:moveTo>
                    <a:lnTo>
                      <a:pt x="108" y="21"/>
                    </a:lnTo>
                    <a:lnTo>
                      <a:pt x="110" y="21"/>
                    </a:lnTo>
                    <a:close/>
                    <a:moveTo>
                      <a:pt x="106" y="19"/>
                    </a:moveTo>
                    <a:lnTo>
                      <a:pt x="104" y="19"/>
                    </a:lnTo>
                    <a:lnTo>
                      <a:pt x="106" y="19"/>
                    </a:lnTo>
                    <a:close/>
                    <a:moveTo>
                      <a:pt x="112" y="21"/>
                    </a:moveTo>
                    <a:lnTo>
                      <a:pt x="114" y="21"/>
                    </a:lnTo>
                    <a:lnTo>
                      <a:pt x="112" y="21"/>
                    </a:lnTo>
                    <a:close/>
                    <a:moveTo>
                      <a:pt x="96" y="17"/>
                    </a:moveTo>
                    <a:lnTo>
                      <a:pt x="96" y="15"/>
                    </a:lnTo>
                    <a:lnTo>
                      <a:pt x="96" y="17"/>
                    </a:lnTo>
                    <a:close/>
                    <a:moveTo>
                      <a:pt x="112" y="21"/>
                    </a:moveTo>
                    <a:lnTo>
                      <a:pt x="110" y="21"/>
                    </a:lnTo>
                    <a:lnTo>
                      <a:pt x="112" y="21"/>
                    </a:lnTo>
                    <a:close/>
                    <a:moveTo>
                      <a:pt x="110" y="19"/>
                    </a:moveTo>
                    <a:lnTo>
                      <a:pt x="108" y="19"/>
                    </a:lnTo>
                    <a:lnTo>
                      <a:pt x="110" y="19"/>
                    </a:lnTo>
                    <a:close/>
                    <a:moveTo>
                      <a:pt x="98" y="17"/>
                    </a:moveTo>
                    <a:lnTo>
                      <a:pt x="98" y="15"/>
                    </a:lnTo>
                    <a:lnTo>
                      <a:pt x="98" y="17"/>
                    </a:lnTo>
                    <a:close/>
                    <a:moveTo>
                      <a:pt x="104" y="17"/>
                    </a:moveTo>
                    <a:lnTo>
                      <a:pt x="104" y="19"/>
                    </a:lnTo>
                    <a:lnTo>
                      <a:pt x="104" y="17"/>
                    </a:lnTo>
                    <a:close/>
                    <a:moveTo>
                      <a:pt x="106" y="19"/>
                    </a:moveTo>
                    <a:lnTo>
                      <a:pt x="104" y="19"/>
                    </a:lnTo>
                    <a:lnTo>
                      <a:pt x="106" y="17"/>
                    </a:lnTo>
                    <a:lnTo>
                      <a:pt x="106" y="19"/>
                    </a:lnTo>
                    <a:close/>
                    <a:moveTo>
                      <a:pt x="104" y="19"/>
                    </a:moveTo>
                    <a:lnTo>
                      <a:pt x="104" y="17"/>
                    </a:lnTo>
                    <a:lnTo>
                      <a:pt x="104" y="19"/>
                    </a:lnTo>
                    <a:close/>
                    <a:moveTo>
                      <a:pt x="98" y="15"/>
                    </a:moveTo>
                    <a:lnTo>
                      <a:pt x="98" y="17"/>
                    </a:lnTo>
                    <a:lnTo>
                      <a:pt x="98" y="15"/>
                    </a:lnTo>
                    <a:close/>
                    <a:moveTo>
                      <a:pt x="106" y="19"/>
                    </a:moveTo>
                    <a:lnTo>
                      <a:pt x="106" y="17"/>
                    </a:lnTo>
                    <a:lnTo>
                      <a:pt x="106" y="19"/>
                    </a:lnTo>
                    <a:close/>
                    <a:moveTo>
                      <a:pt x="98" y="15"/>
                    </a:moveTo>
                    <a:lnTo>
                      <a:pt x="98" y="17"/>
                    </a:lnTo>
                    <a:lnTo>
                      <a:pt x="98" y="15"/>
                    </a:lnTo>
                    <a:close/>
                    <a:moveTo>
                      <a:pt x="114" y="21"/>
                    </a:moveTo>
                    <a:lnTo>
                      <a:pt x="112" y="21"/>
                    </a:lnTo>
                    <a:lnTo>
                      <a:pt x="114" y="21"/>
                    </a:lnTo>
                    <a:close/>
                    <a:moveTo>
                      <a:pt x="108" y="19"/>
                    </a:moveTo>
                    <a:lnTo>
                      <a:pt x="106" y="19"/>
                    </a:lnTo>
                    <a:lnTo>
                      <a:pt x="108" y="19"/>
                    </a:lnTo>
                    <a:close/>
                    <a:moveTo>
                      <a:pt x="110" y="19"/>
                    </a:moveTo>
                    <a:lnTo>
                      <a:pt x="108" y="19"/>
                    </a:lnTo>
                    <a:lnTo>
                      <a:pt x="110" y="19"/>
                    </a:lnTo>
                    <a:close/>
                    <a:moveTo>
                      <a:pt x="100" y="15"/>
                    </a:moveTo>
                    <a:lnTo>
                      <a:pt x="98" y="15"/>
                    </a:lnTo>
                    <a:lnTo>
                      <a:pt x="100" y="15"/>
                    </a:lnTo>
                    <a:close/>
                    <a:moveTo>
                      <a:pt x="100" y="15"/>
                    </a:moveTo>
                    <a:lnTo>
                      <a:pt x="98" y="15"/>
                    </a:lnTo>
                    <a:lnTo>
                      <a:pt x="100" y="15"/>
                    </a:lnTo>
                    <a:close/>
                    <a:moveTo>
                      <a:pt x="106" y="15"/>
                    </a:moveTo>
                    <a:lnTo>
                      <a:pt x="104" y="15"/>
                    </a:lnTo>
                    <a:lnTo>
                      <a:pt x="106" y="15"/>
                    </a:lnTo>
                    <a:close/>
                    <a:moveTo>
                      <a:pt x="106" y="17"/>
                    </a:moveTo>
                    <a:lnTo>
                      <a:pt x="106" y="15"/>
                    </a:lnTo>
                    <a:lnTo>
                      <a:pt x="106" y="17"/>
                    </a:lnTo>
                    <a:close/>
                    <a:moveTo>
                      <a:pt x="108" y="15"/>
                    </a:moveTo>
                    <a:lnTo>
                      <a:pt x="106" y="15"/>
                    </a:lnTo>
                    <a:lnTo>
                      <a:pt x="108" y="15"/>
                    </a:lnTo>
                    <a:close/>
                    <a:moveTo>
                      <a:pt x="110" y="15"/>
                    </a:moveTo>
                    <a:lnTo>
                      <a:pt x="108" y="15"/>
                    </a:lnTo>
                    <a:lnTo>
                      <a:pt x="110" y="15"/>
                    </a:lnTo>
                    <a:close/>
                    <a:moveTo>
                      <a:pt x="116" y="17"/>
                    </a:moveTo>
                    <a:lnTo>
                      <a:pt x="116" y="19"/>
                    </a:lnTo>
                    <a:lnTo>
                      <a:pt x="116" y="17"/>
                    </a:lnTo>
                    <a:close/>
                    <a:moveTo>
                      <a:pt x="114" y="15"/>
                    </a:moveTo>
                    <a:lnTo>
                      <a:pt x="112" y="15"/>
                    </a:lnTo>
                    <a:lnTo>
                      <a:pt x="114" y="15"/>
                    </a:lnTo>
                    <a:close/>
                    <a:moveTo>
                      <a:pt x="117" y="17"/>
                    </a:moveTo>
                    <a:lnTo>
                      <a:pt x="116" y="17"/>
                    </a:lnTo>
                    <a:lnTo>
                      <a:pt x="117" y="17"/>
                    </a:lnTo>
                    <a:close/>
                    <a:moveTo>
                      <a:pt x="116" y="17"/>
                    </a:moveTo>
                    <a:lnTo>
                      <a:pt x="116" y="15"/>
                    </a:lnTo>
                    <a:lnTo>
                      <a:pt x="116" y="17"/>
                    </a:lnTo>
                    <a:close/>
                    <a:moveTo>
                      <a:pt x="114" y="15"/>
                    </a:moveTo>
                    <a:lnTo>
                      <a:pt x="112" y="15"/>
                    </a:lnTo>
                    <a:lnTo>
                      <a:pt x="114" y="15"/>
                    </a:lnTo>
                    <a:close/>
                    <a:moveTo>
                      <a:pt x="114" y="15"/>
                    </a:moveTo>
                    <a:lnTo>
                      <a:pt x="112" y="15"/>
                    </a:lnTo>
                    <a:lnTo>
                      <a:pt x="114" y="15"/>
                    </a:lnTo>
                    <a:close/>
                    <a:moveTo>
                      <a:pt x="110" y="13"/>
                    </a:moveTo>
                    <a:lnTo>
                      <a:pt x="108" y="13"/>
                    </a:lnTo>
                    <a:lnTo>
                      <a:pt x="110" y="13"/>
                    </a:lnTo>
                    <a:close/>
                    <a:moveTo>
                      <a:pt x="112" y="15"/>
                    </a:moveTo>
                    <a:lnTo>
                      <a:pt x="114" y="15"/>
                    </a:lnTo>
                    <a:lnTo>
                      <a:pt x="112" y="15"/>
                    </a:lnTo>
                    <a:close/>
                    <a:moveTo>
                      <a:pt x="110" y="13"/>
                    </a:moveTo>
                    <a:lnTo>
                      <a:pt x="110" y="11"/>
                    </a:lnTo>
                    <a:lnTo>
                      <a:pt x="110" y="13"/>
                    </a:lnTo>
                    <a:close/>
                    <a:moveTo>
                      <a:pt x="110" y="11"/>
                    </a:moveTo>
                    <a:lnTo>
                      <a:pt x="110" y="13"/>
                    </a:lnTo>
                    <a:lnTo>
                      <a:pt x="110" y="11"/>
                    </a:lnTo>
                    <a:close/>
                    <a:moveTo>
                      <a:pt x="106" y="10"/>
                    </a:moveTo>
                    <a:lnTo>
                      <a:pt x="106" y="11"/>
                    </a:lnTo>
                    <a:lnTo>
                      <a:pt x="106" y="10"/>
                    </a:lnTo>
                    <a:close/>
                    <a:moveTo>
                      <a:pt x="110" y="11"/>
                    </a:moveTo>
                    <a:lnTo>
                      <a:pt x="112" y="11"/>
                    </a:lnTo>
                    <a:lnTo>
                      <a:pt x="110" y="11"/>
                    </a:lnTo>
                    <a:close/>
                    <a:moveTo>
                      <a:pt x="110" y="11"/>
                    </a:moveTo>
                    <a:lnTo>
                      <a:pt x="110" y="10"/>
                    </a:lnTo>
                    <a:lnTo>
                      <a:pt x="110" y="11"/>
                    </a:lnTo>
                    <a:close/>
                    <a:moveTo>
                      <a:pt x="116" y="11"/>
                    </a:moveTo>
                    <a:lnTo>
                      <a:pt x="116" y="13"/>
                    </a:lnTo>
                    <a:lnTo>
                      <a:pt x="116" y="11"/>
                    </a:lnTo>
                    <a:close/>
                    <a:moveTo>
                      <a:pt x="108" y="8"/>
                    </a:moveTo>
                    <a:lnTo>
                      <a:pt x="106" y="8"/>
                    </a:lnTo>
                    <a:lnTo>
                      <a:pt x="108" y="8"/>
                    </a:lnTo>
                    <a:close/>
                    <a:moveTo>
                      <a:pt x="110" y="10"/>
                    </a:moveTo>
                    <a:lnTo>
                      <a:pt x="110" y="8"/>
                    </a:lnTo>
                    <a:lnTo>
                      <a:pt x="110" y="10"/>
                    </a:lnTo>
                    <a:close/>
                    <a:moveTo>
                      <a:pt x="112" y="8"/>
                    </a:moveTo>
                    <a:lnTo>
                      <a:pt x="112" y="10"/>
                    </a:lnTo>
                    <a:lnTo>
                      <a:pt x="112" y="8"/>
                    </a:lnTo>
                    <a:close/>
                    <a:moveTo>
                      <a:pt x="112" y="8"/>
                    </a:moveTo>
                    <a:lnTo>
                      <a:pt x="110" y="8"/>
                    </a:lnTo>
                    <a:lnTo>
                      <a:pt x="112" y="8"/>
                    </a:lnTo>
                    <a:close/>
                    <a:moveTo>
                      <a:pt x="112" y="8"/>
                    </a:moveTo>
                    <a:lnTo>
                      <a:pt x="110" y="8"/>
                    </a:lnTo>
                    <a:lnTo>
                      <a:pt x="112" y="8"/>
                    </a:lnTo>
                    <a:close/>
                    <a:moveTo>
                      <a:pt x="98" y="4"/>
                    </a:moveTo>
                    <a:lnTo>
                      <a:pt x="96" y="4"/>
                    </a:lnTo>
                    <a:lnTo>
                      <a:pt x="98" y="4"/>
                    </a:lnTo>
                    <a:close/>
                    <a:moveTo>
                      <a:pt x="127" y="11"/>
                    </a:moveTo>
                    <a:lnTo>
                      <a:pt x="127" y="13"/>
                    </a:lnTo>
                    <a:lnTo>
                      <a:pt x="127" y="11"/>
                    </a:lnTo>
                    <a:close/>
                    <a:moveTo>
                      <a:pt x="98" y="4"/>
                    </a:moveTo>
                    <a:lnTo>
                      <a:pt x="96" y="4"/>
                    </a:lnTo>
                    <a:lnTo>
                      <a:pt x="98" y="4"/>
                    </a:lnTo>
                    <a:close/>
                    <a:moveTo>
                      <a:pt x="114" y="10"/>
                    </a:moveTo>
                    <a:lnTo>
                      <a:pt x="114" y="8"/>
                    </a:lnTo>
                    <a:lnTo>
                      <a:pt x="114" y="10"/>
                    </a:lnTo>
                    <a:close/>
                    <a:moveTo>
                      <a:pt x="96" y="2"/>
                    </a:moveTo>
                    <a:lnTo>
                      <a:pt x="96" y="4"/>
                    </a:lnTo>
                    <a:lnTo>
                      <a:pt x="96" y="2"/>
                    </a:lnTo>
                    <a:close/>
                    <a:moveTo>
                      <a:pt x="116" y="10"/>
                    </a:moveTo>
                    <a:lnTo>
                      <a:pt x="116" y="8"/>
                    </a:lnTo>
                    <a:lnTo>
                      <a:pt x="116" y="10"/>
                    </a:lnTo>
                    <a:close/>
                    <a:moveTo>
                      <a:pt x="117" y="10"/>
                    </a:moveTo>
                    <a:lnTo>
                      <a:pt x="116" y="8"/>
                    </a:lnTo>
                    <a:lnTo>
                      <a:pt x="117" y="8"/>
                    </a:lnTo>
                    <a:lnTo>
                      <a:pt x="117" y="10"/>
                    </a:lnTo>
                    <a:close/>
                    <a:moveTo>
                      <a:pt x="117" y="8"/>
                    </a:moveTo>
                    <a:lnTo>
                      <a:pt x="117" y="10"/>
                    </a:lnTo>
                    <a:lnTo>
                      <a:pt x="117" y="8"/>
                    </a:lnTo>
                    <a:close/>
                    <a:moveTo>
                      <a:pt x="112" y="6"/>
                    </a:moveTo>
                    <a:lnTo>
                      <a:pt x="112" y="8"/>
                    </a:lnTo>
                    <a:lnTo>
                      <a:pt x="112" y="6"/>
                    </a:lnTo>
                    <a:close/>
                    <a:moveTo>
                      <a:pt x="114" y="6"/>
                    </a:moveTo>
                    <a:lnTo>
                      <a:pt x="112" y="6"/>
                    </a:lnTo>
                    <a:lnTo>
                      <a:pt x="114" y="6"/>
                    </a:lnTo>
                    <a:close/>
                    <a:moveTo>
                      <a:pt x="112" y="8"/>
                    </a:moveTo>
                    <a:lnTo>
                      <a:pt x="112" y="6"/>
                    </a:lnTo>
                    <a:lnTo>
                      <a:pt x="112" y="8"/>
                    </a:lnTo>
                    <a:close/>
                    <a:moveTo>
                      <a:pt x="112" y="6"/>
                    </a:moveTo>
                    <a:lnTo>
                      <a:pt x="112" y="8"/>
                    </a:lnTo>
                    <a:lnTo>
                      <a:pt x="112" y="6"/>
                    </a:lnTo>
                    <a:lnTo>
                      <a:pt x="112" y="8"/>
                    </a:lnTo>
                    <a:lnTo>
                      <a:pt x="112" y="6"/>
                    </a:lnTo>
                    <a:close/>
                    <a:moveTo>
                      <a:pt x="112" y="6"/>
                    </a:moveTo>
                    <a:lnTo>
                      <a:pt x="110" y="6"/>
                    </a:lnTo>
                    <a:lnTo>
                      <a:pt x="112" y="6"/>
                    </a:lnTo>
                    <a:close/>
                    <a:moveTo>
                      <a:pt x="108" y="6"/>
                    </a:moveTo>
                    <a:lnTo>
                      <a:pt x="108" y="4"/>
                    </a:lnTo>
                    <a:lnTo>
                      <a:pt x="108" y="6"/>
                    </a:lnTo>
                    <a:close/>
                    <a:moveTo>
                      <a:pt x="104" y="4"/>
                    </a:moveTo>
                    <a:lnTo>
                      <a:pt x="102" y="4"/>
                    </a:lnTo>
                    <a:lnTo>
                      <a:pt x="104" y="4"/>
                    </a:lnTo>
                    <a:close/>
                    <a:moveTo>
                      <a:pt x="110" y="6"/>
                    </a:moveTo>
                    <a:lnTo>
                      <a:pt x="110" y="4"/>
                    </a:lnTo>
                    <a:lnTo>
                      <a:pt x="110" y="6"/>
                    </a:lnTo>
                    <a:close/>
                    <a:moveTo>
                      <a:pt x="112" y="4"/>
                    </a:moveTo>
                    <a:lnTo>
                      <a:pt x="112" y="6"/>
                    </a:lnTo>
                    <a:lnTo>
                      <a:pt x="112" y="4"/>
                    </a:lnTo>
                    <a:close/>
                    <a:moveTo>
                      <a:pt x="112" y="4"/>
                    </a:moveTo>
                    <a:lnTo>
                      <a:pt x="112" y="6"/>
                    </a:lnTo>
                    <a:lnTo>
                      <a:pt x="112" y="4"/>
                    </a:lnTo>
                    <a:lnTo>
                      <a:pt x="112" y="6"/>
                    </a:lnTo>
                    <a:lnTo>
                      <a:pt x="112" y="4"/>
                    </a:lnTo>
                    <a:close/>
                    <a:moveTo>
                      <a:pt x="112" y="4"/>
                    </a:moveTo>
                    <a:lnTo>
                      <a:pt x="110" y="4"/>
                    </a:lnTo>
                    <a:lnTo>
                      <a:pt x="112" y="4"/>
                    </a:lnTo>
                    <a:close/>
                    <a:moveTo>
                      <a:pt x="98" y="0"/>
                    </a:moveTo>
                    <a:lnTo>
                      <a:pt x="98" y="2"/>
                    </a:lnTo>
                    <a:lnTo>
                      <a:pt x="98" y="0"/>
                    </a:lnTo>
                    <a:close/>
                    <a:moveTo>
                      <a:pt x="112" y="6"/>
                    </a:moveTo>
                    <a:lnTo>
                      <a:pt x="112" y="4"/>
                    </a:lnTo>
                    <a:lnTo>
                      <a:pt x="112" y="6"/>
                    </a:lnTo>
                    <a:close/>
                    <a:moveTo>
                      <a:pt x="116" y="6"/>
                    </a:moveTo>
                    <a:lnTo>
                      <a:pt x="116" y="4"/>
                    </a:lnTo>
                    <a:lnTo>
                      <a:pt x="116" y="6"/>
                    </a:lnTo>
                    <a:close/>
                    <a:moveTo>
                      <a:pt x="110" y="4"/>
                    </a:moveTo>
                    <a:lnTo>
                      <a:pt x="110" y="2"/>
                    </a:lnTo>
                    <a:lnTo>
                      <a:pt x="110" y="4"/>
                    </a:lnTo>
                    <a:close/>
                    <a:moveTo>
                      <a:pt x="106" y="2"/>
                    </a:moveTo>
                    <a:lnTo>
                      <a:pt x="106" y="0"/>
                    </a:lnTo>
                    <a:lnTo>
                      <a:pt x="106" y="2"/>
                    </a:lnTo>
                    <a:close/>
                    <a:moveTo>
                      <a:pt x="119" y="6"/>
                    </a:moveTo>
                    <a:lnTo>
                      <a:pt x="119" y="4"/>
                    </a:lnTo>
                    <a:lnTo>
                      <a:pt x="119" y="6"/>
                    </a:lnTo>
                    <a:close/>
                    <a:moveTo>
                      <a:pt x="108" y="0"/>
                    </a:moveTo>
                    <a:lnTo>
                      <a:pt x="108" y="2"/>
                    </a:lnTo>
                    <a:lnTo>
                      <a:pt x="108" y="0"/>
                    </a:lnTo>
                    <a:close/>
                    <a:moveTo>
                      <a:pt x="110" y="0"/>
                    </a:moveTo>
                    <a:lnTo>
                      <a:pt x="108" y="0"/>
                    </a:lnTo>
                    <a:lnTo>
                      <a:pt x="11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69" name="Freeform 45"/>
              <p:cNvSpPr>
                <a:spLocks/>
              </p:cNvSpPr>
              <p:nvPr/>
            </p:nvSpPr>
            <p:spPr bwMode="auto">
              <a:xfrm>
                <a:off x="1401592" y="2208206"/>
                <a:ext cx="492099" cy="614263"/>
              </a:xfrm>
              <a:custGeom>
                <a:avLst/>
                <a:gdLst>
                  <a:gd name="T0" fmla="*/ 161 w 286"/>
                  <a:gd name="T1" fmla="*/ 57 h 357"/>
                  <a:gd name="T2" fmla="*/ 146 w 286"/>
                  <a:gd name="T3" fmla="*/ 75 h 357"/>
                  <a:gd name="T4" fmla="*/ 150 w 286"/>
                  <a:gd name="T5" fmla="*/ 107 h 357"/>
                  <a:gd name="T6" fmla="*/ 150 w 286"/>
                  <a:gd name="T7" fmla="*/ 138 h 357"/>
                  <a:gd name="T8" fmla="*/ 173 w 286"/>
                  <a:gd name="T9" fmla="*/ 121 h 357"/>
                  <a:gd name="T10" fmla="*/ 203 w 286"/>
                  <a:gd name="T11" fmla="*/ 121 h 357"/>
                  <a:gd name="T12" fmla="*/ 221 w 286"/>
                  <a:gd name="T13" fmla="*/ 125 h 357"/>
                  <a:gd name="T14" fmla="*/ 246 w 286"/>
                  <a:gd name="T15" fmla="*/ 109 h 357"/>
                  <a:gd name="T16" fmla="*/ 286 w 286"/>
                  <a:gd name="T17" fmla="*/ 136 h 357"/>
                  <a:gd name="T18" fmla="*/ 253 w 286"/>
                  <a:gd name="T19" fmla="*/ 194 h 357"/>
                  <a:gd name="T20" fmla="*/ 265 w 286"/>
                  <a:gd name="T21" fmla="*/ 207 h 357"/>
                  <a:gd name="T22" fmla="*/ 250 w 286"/>
                  <a:gd name="T23" fmla="*/ 232 h 357"/>
                  <a:gd name="T24" fmla="*/ 234 w 286"/>
                  <a:gd name="T25" fmla="*/ 242 h 357"/>
                  <a:gd name="T26" fmla="*/ 223 w 286"/>
                  <a:gd name="T27" fmla="*/ 230 h 357"/>
                  <a:gd name="T28" fmla="*/ 194 w 286"/>
                  <a:gd name="T29" fmla="*/ 221 h 357"/>
                  <a:gd name="T30" fmla="*/ 182 w 286"/>
                  <a:gd name="T31" fmla="*/ 230 h 357"/>
                  <a:gd name="T32" fmla="*/ 178 w 286"/>
                  <a:gd name="T33" fmla="*/ 246 h 357"/>
                  <a:gd name="T34" fmla="*/ 175 w 286"/>
                  <a:gd name="T35" fmla="*/ 261 h 357"/>
                  <a:gd name="T36" fmla="*/ 159 w 286"/>
                  <a:gd name="T37" fmla="*/ 273 h 357"/>
                  <a:gd name="T38" fmla="*/ 136 w 286"/>
                  <a:gd name="T39" fmla="*/ 286 h 357"/>
                  <a:gd name="T40" fmla="*/ 132 w 286"/>
                  <a:gd name="T41" fmla="*/ 303 h 357"/>
                  <a:gd name="T42" fmla="*/ 130 w 286"/>
                  <a:gd name="T43" fmla="*/ 315 h 357"/>
                  <a:gd name="T44" fmla="*/ 113 w 286"/>
                  <a:gd name="T45" fmla="*/ 334 h 357"/>
                  <a:gd name="T46" fmla="*/ 113 w 286"/>
                  <a:gd name="T47" fmla="*/ 349 h 357"/>
                  <a:gd name="T48" fmla="*/ 105 w 286"/>
                  <a:gd name="T49" fmla="*/ 355 h 357"/>
                  <a:gd name="T50" fmla="*/ 100 w 286"/>
                  <a:gd name="T51" fmla="*/ 344 h 357"/>
                  <a:gd name="T52" fmla="*/ 96 w 286"/>
                  <a:gd name="T53" fmla="*/ 332 h 357"/>
                  <a:gd name="T54" fmla="*/ 96 w 286"/>
                  <a:gd name="T55" fmla="*/ 319 h 357"/>
                  <a:gd name="T56" fmla="*/ 96 w 286"/>
                  <a:gd name="T57" fmla="*/ 305 h 357"/>
                  <a:gd name="T58" fmla="*/ 92 w 286"/>
                  <a:gd name="T59" fmla="*/ 296 h 357"/>
                  <a:gd name="T60" fmla="*/ 86 w 286"/>
                  <a:gd name="T61" fmla="*/ 284 h 357"/>
                  <a:gd name="T62" fmla="*/ 88 w 286"/>
                  <a:gd name="T63" fmla="*/ 273 h 357"/>
                  <a:gd name="T64" fmla="*/ 77 w 286"/>
                  <a:gd name="T65" fmla="*/ 271 h 357"/>
                  <a:gd name="T66" fmla="*/ 77 w 286"/>
                  <a:gd name="T67" fmla="*/ 261 h 357"/>
                  <a:gd name="T68" fmla="*/ 75 w 286"/>
                  <a:gd name="T69" fmla="*/ 251 h 357"/>
                  <a:gd name="T70" fmla="*/ 67 w 286"/>
                  <a:gd name="T71" fmla="*/ 259 h 357"/>
                  <a:gd name="T72" fmla="*/ 54 w 286"/>
                  <a:gd name="T73" fmla="*/ 253 h 357"/>
                  <a:gd name="T74" fmla="*/ 42 w 286"/>
                  <a:gd name="T75" fmla="*/ 255 h 357"/>
                  <a:gd name="T76" fmla="*/ 34 w 286"/>
                  <a:gd name="T77" fmla="*/ 249 h 357"/>
                  <a:gd name="T78" fmla="*/ 15 w 286"/>
                  <a:gd name="T79" fmla="*/ 253 h 357"/>
                  <a:gd name="T80" fmla="*/ 9 w 286"/>
                  <a:gd name="T81" fmla="*/ 244 h 357"/>
                  <a:gd name="T82" fmla="*/ 4 w 286"/>
                  <a:gd name="T83" fmla="*/ 236 h 357"/>
                  <a:gd name="T84" fmla="*/ 13 w 286"/>
                  <a:gd name="T85" fmla="*/ 223 h 357"/>
                  <a:gd name="T86" fmla="*/ 15 w 286"/>
                  <a:gd name="T87" fmla="*/ 211 h 357"/>
                  <a:gd name="T88" fmla="*/ 25 w 286"/>
                  <a:gd name="T89" fmla="*/ 207 h 357"/>
                  <a:gd name="T90" fmla="*/ 42 w 286"/>
                  <a:gd name="T91" fmla="*/ 211 h 357"/>
                  <a:gd name="T92" fmla="*/ 54 w 286"/>
                  <a:gd name="T93" fmla="*/ 196 h 357"/>
                  <a:gd name="T94" fmla="*/ 54 w 286"/>
                  <a:gd name="T95" fmla="*/ 184 h 357"/>
                  <a:gd name="T96" fmla="*/ 25 w 286"/>
                  <a:gd name="T97" fmla="*/ 163 h 357"/>
                  <a:gd name="T98" fmla="*/ 36 w 286"/>
                  <a:gd name="T99" fmla="*/ 150 h 357"/>
                  <a:gd name="T100" fmla="*/ 44 w 286"/>
                  <a:gd name="T101" fmla="*/ 146 h 357"/>
                  <a:gd name="T102" fmla="*/ 67 w 286"/>
                  <a:gd name="T103" fmla="*/ 136 h 357"/>
                  <a:gd name="T104" fmla="*/ 77 w 286"/>
                  <a:gd name="T105" fmla="*/ 130 h 357"/>
                  <a:gd name="T106" fmla="*/ 88 w 286"/>
                  <a:gd name="T107" fmla="*/ 125 h 357"/>
                  <a:gd name="T108" fmla="*/ 86 w 286"/>
                  <a:gd name="T109" fmla="*/ 113 h 357"/>
                  <a:gd name="T110" fmla="*/ 96 w 286"/>
                  <a:gd name="T111" fmla="*/ 75 h 357"/>
                  <a:gd name="T112" fmla="*/ 96 w 286"/>
                  <a:gd name="T113" fmla="*/ 51 h 357"/>
                  <a:gd name="T114" fmla="*/ 96 w 286"/>
                  <a:gd name="T115" fmla="*/ 36 h 357"/>
                  <a:gd name="T116" fmla="*/ 113 w 286"/>
                  <a:gd name="T117" fmla="*/ 32 h 357"/>
                  <a:gd name="T118" fmla="*/ 123 w 286"/>
                  <a:gd name="T119" fmla="*/ 25 h 357"/>
                  <a:gd name="T120" fmla="*/ 136 w 286"/>
                  <a:gd name="T121" fmla="*/ 5 h 357"/>
                  <a:gd name="T122" fmla="*/ 157 w 286"/>
                  <a:gd name="T123" fmla="*/ 13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6" h="357">
                    <a:moveTo>
                      <a:pt x="167" y="30"/>
                    </a:moveTo>
                    <a:lnTo>
                      <a:pt x="167" y="32"/>
                    </a:lnTo>
                    <a:lnTo>
                      <a:pt x="167" y="34"/>
                    </a:lnTo>
                    <a:lnTo>
                      <a:pt x="165" y="38"/>
                    </a:lnTo>
                    <a:lnTo>
                      <a:pt x="163" y="44"/>
                    </a:lnTo>
                    <a:lnTo>
                      <a:pt x="163" y="46"/>
                    </a:lnTo>
                    <a:lnTo>
                      <a:pt x="163" y="50"/>
                    </a:lnTo>
                    <a:lnTo>
                      <a:pt x="159" y="50"/>
                    </a:lnTo>
                    <a:lnTo>
                      <a:pt x="161" y="51"/>
                    </a:lnTo>
                    <a:lnTo>
                      <a:pt x="159" y="53"/>
                    </a:lnTo>
                    <a:lnTo>
                      <a:pt x="159" y="51"/>
                    </a:lnTo>
                    <a:lnTo>
                      <a:pt x="159" y="53"/>
                    </a:lnTo>
                    <a:lnTo>
                      <a:pt x="159" y="55"/>
                    </a:lnTo>
                    <a:lnTo>
                      <a:pt x="159" y="57"/>
                    </a:lnTo>
                    <a:lnTo>
                      <a:pt x="161" y="57"/>
                    </a:lnTo>
                    <a:lnTo>
                      <a:pt x="159" y="57"/>
                    </a:lnTo>
                    <a:lnTo>
                      <a:pt x="157" y="57"/>
                    </a:lnTo>
                    <a:lnTo>
                      <a:pt x="161" y="59"/>
                    </a:lnTo>
                    <a:lnTo>
                      <a:pt x="161" y="61"/>
                    </a:lnTo>
                    <a:lnTo>
                      <a:pt x="161" y="63"/>
                    </a:lnTo>
                    <a:lnTo>
                      <a:pt x="163" y="63"/>
                    </a:lnTo>
                    <a:lnTo>
                      <a:pt x="161" y="65"/>
                    </a:lnTo>
                    <a:lnTo>
                      <a:pt x="159" y="67"/>
                    </a:lnTo>
                    <a:lnTo>
                      <a:pt x="157" y="67"/>
                    </a:lnTo>
                    <a:lnTo>
                      <a:pt x="155" y="67"/>
                    </a:lnTo>
                    <a:lnTo>
                      <a:pt x="152" y="69"/>
                    </a:lnTo>
                    <a:lnTo>
                      <a:pt x="150" y="69"/>
                    </a:lnTo>
                    <a:lnTo>
                      <a:pt x="148" y="73"/>
                    </a:lnTo>
                    <a:lnTo>
                      <a:pt x="148" y="75"/>
                    </a:lnTo>
                    <a:lnTo>
                      <a:pt x="146" y="75"/>
                    </a:lnTo>
                    <a:lnTo>
                      <a:pt x="146" y="76"/>
                    </a:lnTo>
                    <a:lnTo>
                      <a:pt x="144" y="78"/>
                    </a:lnTo>
                    <a:lnTo>
                      <a:pt x="146" y="80"/>
                    </a:lnTo>
                    <a:lnTo>
                      <a:pt x="144" y="80"/>
                    </a:lnTo>
                    <a:lnTo>
                      <a:pt x="144" y="82"/>
                    </a:lnTo>
                    <a:lnTo>
                      <a:pt x="142" y="84"/>
                    </a:lnTo>
                    <a:lnTo>
                      <a:pt x="142" y="88"/>
                    </a:lnTo>
                    <a:lnTo>
                      <a:pt x="140" y="90"/>
                    </a:lnTo>
                    <a:lnTo>
                      <a:pt x="140" y="92"/>
                    </a:lnTo>
                    <a:lnTo>
                      <a:pt x="138" y="92"/>
                    </a:lnTo>
                    <a:lnTo>
                      <a:pt x="136" y="96"/>
                    </a:lnTo>
                    <a:lnTo>
                      <a:pt x="136" y="98"/>
                    </a:lnTo>
                    <a:lnTo>
                      <a:pt x="140" y="101"/>
                    </a:lnTo>
                    <a:lnTo>
                      <a:pt x="146" y="105"/>
                    </a:lnTo>
                    <a:lnTo>
                      <a:pt x="150" y="107"/>
                    </a:lnTo>
                    <a:lnTo>
                      <a:pt x="150" y="109"/>
                    </a:lnTo>
                    <a:lnTo>
                      <a:pt x="148" y="113"/>
                    </a:lnTo>
                    <a:lnTo>
                      <a:pt x="144" y="119"/>
                    </a:lnTo>
                    <a:lnTo>
                      <a:pt x="144" y="121"/>
                    </a:lnTo>
                    <a:lnTo>
                      <a:pt x="146" y="119"/>
                    </a:lnTo>
                    <a:lnTo>
                      <a:pt x="148" y="119"/>
                    </a:lnTo>
                    <a:lnTo>
                      <a:pt x="148" y="121"/>
                    </a:lnTo>
                    <a:lnTo>
                      <a:pt x="148" y="123"/>
                    </a:lnTo>
                    <a:lnTo>
                      <a:pt x="150" y="123"/>
                    </a:lnTo>
                    <a:lnTo>
                      <a:pt x="152" y="125"/>
                    </a:lnTo>
                    <a:lnTo>
                      <a:pt x="150" y="126"/>
                    </a:lnTo>
                    <a:lnTo>
                      <a:pt x="154" y="130"/>
                    </a:lnTo>
                    <a:lnTo>
                      <a:pt x="155" y="132"/>
                    </a:lnTo>
                    <a:lnTo>
                      <a:pt x="154" y="134"/>
                    </a:lnTo>
                    <a:lnTo>
                      <a:pt x="150" y="138"/>
                    </a:lnTo>
                    <a:lnTo>
                      <a:pt x="150" y="140"/>
                    </a:lnTo>
                    <a:lnTo>
                      <a:pt x="148" y="142"/>
                    </a:lnTo>
                    <a:lnTo>
                      <a:pt x="150" y="142"/>
                    </a:lnTo>
                    <a:lnTo>
                      <a:pt x="154" y="146"/>
                    </a:lnTo>
                    <a:lnTo>
                      <a:pt x="155" y="144"/>
                    </a:lnTo>
                    <a:lnTo>
                      <a:pt x="155" y="146"/>
                    </a:lnTo>
                    <a:lnTo>
                      <a:pt x="159" y="142"/>
                    </a:lnTo>
                    <a:lnTo>
                      <a:pt x="163" y="138"/>
                    </a:lnTo>
                    <a:lnTo>
                      <a:pt x="161" y="136"/>
                    </a:lnTo>
                    <a:lnTo>
                      <a:pt x="163" y="134"/>
                    </a:lnTo>
                    <a:lnTo>
                      <a:pt x="165" y="130"/>
                    </a:lnTo>
                    <a:lnTo>
                      <a:pt x="163" y="128"/>
                    </a:lnTo>
                    <a:lnTo>
                      <a:pt x="169" y="121"/>
                    </a:lnTo>
                    <a:lnTo>
                      <a:pt x="171" y="119"/>
                    </a:lnTo>
                    <a:lnTo>
                      <a:pt x="173" y="121"/>
                    </a:lnTo>
                    <a:lnTo>
                      <a:pt x="175" y="121"/>
                    </a:lnTo>
                    <a:lnTo>
                      <a:pt x="177" y="121"/>
                    </a:lnTo>
                    <a:lnTo>
                      <a:pt x="177" y="119"/>
                    </a:lnTo>
                    <a:lnTo>
                      <a:pt x="177" y="117"/>
                    </a:lnTo>
                    <a:lnTo>
                      <a:pt x="177" y="115"/>
                    </a:lnTo>
                    <a:lnTo>
                      <a:pt x="178" y="115"/>
                    </a:lnTo>
                    <a:lnTo>
                      <a:pt x="180" y="115"/>
                    </a:lnTo>
                    <a:lnTo>
                      <a:pt x="180" y="117"/>
                    </a:lnTo>
                    <a:lnTo>
                      <a:pt x="182" y="117"/>
                    </a:lnTo>
                    <a:lnTo>
                      <a:pt x="184" y="119"/>
                    </a:lnTo>
                    <a:lnTo>
                      <a:pt x="188" y="117"/>
                    </a:lnTo>
                    <a:lnTo>
                      <a:pt x="190" y="115"/>
                    </a:lnTo>
                    <a:lnTo>
                      <a:pt x="192" y="117"/>
                    </a:lnTo>
                    <a:lnTo>
                      <a:pt x="202" y="119"/>
                    </a:lnTo>
                    <a:lnTo>
                      <a:pt x="203" y="121"/>
                    </a:lnTo>
                    <a:lnTo>
                      <a:pt x="205" y="119"/>
                    </a:lnTo>
                    <a:lnTo>
                      <a:pt x="205" y="117"/>
                    </a:lnTo>
                    <a:lnTo>
                      <a:pt x="207" y="117"/>
                    </a:lnTo>
                    <a:lnTo>
                      <a:pt x="209" y="117"/>
                    </a:lnTo>
                    <a:lnTo>
                      <a:pt x="211" y="115"/>
                    </a:lnTo>
                    <a:lnTo>
                      <a:pt x="213" y="115"/>
                    </a:lnTo>
                    <a:lnTo>
                      <a:pt x="213" y="113"/>
                    </a:lnTo>
                    <a:lnTo>
                      <a:pt x="217" y="113"/>
                    </a:lnTo>
                    <a:lnTo>
                      <a:pt x="219" y="113"/>
                    </a:lnTo>
                    <a:lnTo>
                      <a:pt x="219" y="115"/>
                    </a:lnTo>
                    <a:lnTo>
                      <a:pt x="221" y="117"/>
                    </a:lnTo>
                    <a:lnTo>
                      <a:pt x="221" y="119"/>
                    </a:lnTo>
                    <a:lnTo>
                      <a:pt x="223" y="119"/>
                    </a:lnTo>
                    <a:lnTo>
                      <a:pt x="221" y="123"/>
                    </a:lnTo>
                    <a:lnTo>
                      <a:pt x="221" y="125"/>
                    </a:lnTo>
                    <a:lnTo>
                      <a:pt x="223" y="125"/>
                    </a:lnTo>
                    <a:lnTo>
                      <a:pt x="225" y="125"/>
                    </a:lnTo>
                    <a:lnTo>
                      <a:pt x="227" y="125"/>
                    </a:lnTo>
                    <a:lnTo>
                      <a:pt x="227" y="123"/>
                    </a:lnTo>
                    <a:lnTo>
                      <a:pt x="228" y="123"/>
                    </a:lnTo>
                    <a:lnTo>
                      <a:pt x="230" y="121"/>
                    </a:lnTo>
                    <a:lnTo>
                      <a:pt x="232" y="121"/>
                    </a:lnTo>
                    <a:lnTo>
                      <a:pt x="234" y="119"/>
                    </a:lnTo>
                    <a:lnTo>
                      <a:pt x="236" y="119"/>
                    </a:lnTo>
                    <a:lnTo>
                      <a:pt x="236" y="117"/>
                    </a:lnTo>
                    <a:lnTo>
                      <a:pt x="238" y="117"/>
                    </a:lnTo>
                    <a:lnTo>
                      <a:pt x="240" y="115"/>
                    </a:lnTo>
                    <a:lnTo>
                      <a:pt x="242" y="113"/>
                    </a:lnTo>
                    <a:lnTo>
                      <a:pt x="244" y="111"/>
                    </a:lnTo>
                    <a:lnTo>
                      <a:pt x="246" y="109"/>
                    </a:lnTo>
                    <a:lnTo>
                      <a:pt x="248" y="109"/>
                    </a:lnTo>
                    <a:lnTo>
                      <a:pt x="250" y="109"/>
                    </a:lnTo>
                    <a:lnTo>
                      <a:pt x="253" y="115"/>
                    </a:lnTo>
                    <a:lnTo>
                      <a:pt x="253" y="117"/>
                    </a:lnTo>
                    <a:lnTo>
                      <a:pt x="255" y="121"/>
                    </a:lnTo>
                    <a:lnTo>
                      <a:pt x="257" y="121"/>
                    </a:lnTo>
                    <a:lnTo>
                      <a:pt x="263" y="126"/>
                    </a:lnTo>
                    <a:lnTo>
                      <a:pt x="267" y="128"/>
                    </a:lnTo>
                    <a:lnTo>
                      <a:pt x="269" y="130"/>
                    </a:lnTo>
                    <a:lnTo>
                      <a:pt x="280" y="136"/>
                    </a:lnTo>
                    <a:lnTo>
                      <a:pt x="284" y="130"/>
                    </a:lnTo>
                    <a:lnTo>
                      <a:pt x="284" y="132"/>
                    </a:lnTo>
                    <a:lnTo>
                      <a:pt x="284" y="134"/>
                    </a:lnTo>
                    <a:lnTo>
                      <a:pt x="284" y="136"/>
                    </a:lnTo>
                    <a:lnTo>
                      <a:pt x="286" y="136"/>
                    </a:lnTo>
                    <a:lnTo>
                      <a:pt x="286" y="138"/>
                    </a:lnTo>
                    <a:lnTo>
                      <a:pt x="286" y="140"/>
                    </a:lnTo>
                    <a:lnTo>
                      <a:pt x="286" y="142"/>
                    </a:lnTo>
                    <a:lnTo>
                      <a:pt x="286" y="148"/>
                    </a:lnTo>
                    <a:lnTo>
                      <a:pt x="284" y="150"/>
                    </a:lnTo>
                    <a:lnTo>
                      <a:pt x="280" y="155"/>
                    </a:lnTo>
                    <a:lnTo>
                      <a:pt x="275" y="167"/>
                    </a:lnTo>
                    <a:lnTo>
                      <a:pt x="271" y="163"/>
                    </a:lnTo>
                    <a:lnTo>
                      <a:pt x="259" y="178"/>
                    </a:lnTo>
                    <a:lnTo>
                      <a:pt x="257" y="180"/>
                    </a:lnTo>
                    <a:lnTo>
                      <a:pt x="255" y="182"/>
                    </a:lnTo>
                    <a:lnTo>
                      <a:pt x="253" y="182"/>
                    </a:lnTo>
                    <a:lnTo>
                      <a:pt x="253" y="184"/>
                    </a:lnTo>
                    <a:lnTo>
                      <a:pt x="253" y="190"/>
                    </a:lnTo>
                    <a:lnTo>
                      <a:pt x="253" y="194"/>
                    </a:lnTo>
                    <a:lnTo>
                      <a:pt x="253" y="196"/>
                    </a:lnTo>
                    <a:lnTo>
                      <a:pt x="253" y="198"/>
                    </a:lnTo>
                    <a:lnTo>
                      <a:pt x="255" y="198"/>
                    </a:lnTo>
                    <a:lnTo>
                      <a:pt x="257" y="198"/>
                    </a:lnTo>
                    <a:lnTo>
                      <a:pt x="259" y="201"/>
                    </a:lnTo>
                    <a:lnTo>
                      <a:pt x="261" y="203"/>
                    </a:lnTo>
                    <a:lnTo>
                      <a:pt x="261" y="201"/>
                    </a:lnTo>
                    <a:lnTo>
                      <a:pt x="261" y="200"/>
                    </a:lnTo>
                    <a:lnTo>
                      <a:pt x="263" y="200"/>
                    </a:lnTo>
                    <a:lnTo>
                      <a:pt x="265" y="203"/>
                    </a:lnTo>
                    <a:lnTo>
                      <a:pt x="267" y="203"/>
                    </a:lnTo>
                    <a:lnTo>
                      <a:pt x="267" y="205"/>
                    </a:lnTo>
                    <a:lnTo>
                      <a:pt x="265" y="205"/>
                    </a:lnTo>
                    <a:lnTo>
                      <a:pt x="267" y="207"/>
                    </a:lnTo>
                    <a:lnTo>
                      <a:pt x="265" y="207"/>
                    </a:lnTo>
                    <a:lnTo>
                      <a:pt x="263" y="209"/>
                    </a:lnTo>
                    <a:lnTo>
                      <a:pt x="261" y="209"/>
                    </a:lnTo>
                    <a:lnTo>
                      <a:pt x="257" y="211"/>
                    </a:lnTo>
                    <a:lnTo>
                      <a:pt x="257" y="213"/>
                    </a:lnTo>
                    <a:lnTo>
                      <a:pt x="255" y="217"/>
                    </a:lnTo>
                    <a:lnTo>
                      <a:pt x="255" y="219"/>
                    </a:lnTo>
                    <a:lnTo>
                      <a:pt x="257" y="221"/>
                    </a:lnTo>
                    <a:lnTo>
                      <a:pt x="259" y="224"/>
                    </a:lnTo>
                    <a:lnTo>
                      <a:pt x="257" y="226"/>
                    </a:lnTo>
                    <a:lnTo>
                      <a:pt x="255" y="226"/>
                    </a:lnTo>
                    <a:lnTo>
                      <a:pt x="253" y="226"/>
                    </a:lnTo>
                    <a:lnTo>
                      <a:pt x="253" y="228"/>
                    </a:lnTo>
                    <a:lnTo>
                      <a:pt x="251" y="228"/>
                    </a:lnTo>
                    <a:lnTo>
                      <a:pt x="251" y="230"/>
                    </a:lnTo>
                    <a:lnTo>
                      <a:pt x="250" y="232"/>
                    </a:lnTo>
                    <a:lnTo>
                      <a:pt x="248" y="234"/>
                    </a:lnTo>
                    <a:lnTo>
                      <a:pt x="246" y="238"/>
                    </a:lnTo>
                    <a:lnTo>
                      <a:pt x="246" y="240"/>
                    </a:lnTo>
                    <a:lnTo>
                      <a:pt x="246" y="244"/>
                    </a:lnTo>
                    <a:lnTo>
                      <a:pt x="244" y="244"/>
                    </a:lnTo>
                    <a:lnTo>
                      <a:pt x="242" y="242"/>
                    </a:lnTo>
                    <a:lnTo>
                      <a:pt x="242" y="240"/>
                    </a:lnTo>
                    <a:lnTo>
                      <a:pt x="242" y="242"/>
                    </a:lnTo>
                    <a:lnTo>
                      <a:pt x="242" y="240"/>
                    </a:lnTo>
                    <a:lnTo>
                      <a:pt x="240" y="242"/>
                    </a:lnTo>
                    <a:lnTo>
                      <a:pt x="238" y="242"/>
                    </a:lnTo>
                    <a:lnTo>
                      <a:pt x="238" y="240"/>
                    </a:lnTo>
                    <a:lnTo>
                      <a:pt x="236" y="240"/>
                    </a:lnTo>
                    <a:lnTo>
                      <a:pt x="236" y="242"/>
                    </a:lnTo>
                    <a:lnTo>
                      <a:pt x="234" y="242"/>
                    </a:lnTo>
                    <a:lnTo>
                      <a:pt x="232" y="242"/>
                    </a:lnTo>
                    <a:lnTo>
                      <a:pt x="232" y="244"/>
                    </a:lnTo>
                    <a:lnTo>
                      <a:pt x="230" y="242"/>
                    </a:lnTo>
                    <a:lnTo>
                      <a:pt x="228" y="240"/>
                    </a:lnTo>
                    <a:lnTo>
                      <a:pt x="230" y="238"/>
                    </a:lnTo>
                    <a:lnTo>
                      <a:pt x="228" y="236"/>
                    </a:lnTo>
                    <a:lnTo>
                      <a:pt x="228" y="234"/>
                    </a:lnTo>
                    <a:lnTo>
                      <a:pt x="228" y="232"/>
                    </a:lnTo>
                    <a:lnTo>
                      <a:pt x="230" y="230"/>
                    </a:lnTo>
                    <a:lnTo>
                      <a:pt x="227" y="228"/>
                    </a:lnTo>
                    <a:lnTo>
                      <a:pt x="227" y="230"/>
                    </a:lnTo>
                    <a:lnTo>
                      <a:pt x="227" y="228"/>
                    </a:lnTo>
                    <a:lnTo>
                      <a:pt x="225" y="228"/>
                    </a:lnTo>
                    <a:lnTo>
                      <a:pt x="223" y="228"/>
                    </a:lnTo>
                    <a:lnTo>
                      <a:pt x="223" y="230"/>
                    </a:lnTo>
                    <a:lnTo>
                      <a:pt x="221" y="232"/>
                    </a:lnTo>
                    <a:lnTo>
                      <a:pt x="219" y="234"/>
                    </a:lnTo>
                    <a:lnTo>
                      <a:pt x="219" y="236"/>
                    </a:lnTo>
                    <a:lnTo>
                      <a:pt x="217" y="236"/>
                    </a:lnTo>
                    <a:lnTo>
                      <a:pt x="215" y="234"/>
                    </a:lnTo>
                    <a:lnTo>
                      <a:pt x="211" y="232"/>
                    </a:lnTo>
                    <a:lnTo>
                      <a:pt x="209" y="230"/>
                    </a:lnTo>
                    <a:lnTo>
                      <a:pt x="205" y="226"/>
                    </a:lnTo>
                    <a:lnTo>
                      <a:pt x="203" y="226"/>
                    </a:lnTo>
                    <a:lnTo>
                      <a:pt x="203" y="224"/>
                    </a:lnTo>
                    <a:lnTo>
                      <a:pt x="203" y="223"/>
                    </a:lnTo>
                    <a:lnTo>
                      <a:pt x="202" y="223"/>
                    </a:lnTo>
                    <a:lnTo>
                      <a:pt x="202" y="221"/>
                    </a:lnTo>
                    <a:lnTo>
                      <a:pt x="198" y="221"/>
                    </a:lnTo>
                    <a:lnTo>
                      <a:pt x="194" y="221"/>
                    </a:lnTo>
                    <a:lnTo>
                      <a:pt x="192" y="221"/>
                    </a:lnTo>
                    <a:lnTo>
                      <a:pt x="190" y="223"/>
                    </a:lnTo>
                    <a:lnTo>
                      <a:pt x="188" y="224"/>
                    </a:lnTo>
                    <a:lnTo>
                      <a:pt x="188" y="223"/>
                    </a:lnTo>
                    <a:lnTo>
                      <a:pt x="186" y="223"/>
                    </a:lnTo>
                    <a:lnTo>
                      <a:pt x="186" y="224"/>
                    </a:lnTo>
                    <a:lnTo>
                      <a:pt x="186" y="226"/>
                    </a:lnTo>
                    <a:lnTo>
                      <a:pt x="186" y="228"/>
                    </a:lnTo>
                    <a:lnTo>
                      <a:pt x="184" y="228"/>
                    </a:lnTo>
                    <a:lnTo>
                      <a:pt x="186" y="228"/>
                    </a:lnTo>
                    <a:lnTo>
                      <a:pt x="184" y="228"/>
                    </a:lnTo>
                    <a:lnTo>
                      <a:pt x="182" y="228"/>
                    </a:lnTo>
                    <a:lnTo>
                      <a:pt x="182" y="230"/>
                    </a:lnTo>
                    <a:lnTo>
                      <a:pt x="182" y="228"/>
                    </a:lnTo>
                    <a:lnTo>
                      <a:pt x="182" y="230"/>
                    </a:lnTo>
                    <a:lnTo>
                      <a:pt x="180" y="230"/>
                    </a:lnTo>
                    <a:lnTo>
                      <a:pt x="180" y="232"/>
                    </a:lnTo>
                    <a:lnTo>
                      <a:pt x="178" y="232"/>
                    </a:lnTo>
                    <a:lnTo>
                      <a:pt x="178" y="234"/>
                    </a:lnTo>
                    <a:lnTo>
                      <a:pt x="177" y="234"/>
                    </a:lnTo>
                    <a:lnTo>
                      <a:pt x="178" y="236"/>
                    </a:lnTo>
                    <a:lnTo>
                      <a:pt x="180" y="236"/>
                    </a:lnTo>
                    <a:lnTo>
                      <a:pt x="180" y="238"/>
                    </a:lnTo>
                    <a:lnTo>
                      <a:pt x="180" y="240"/>
                    </a:lnTo>
                    <a:lnTo>
                      <a:pt x="180" y="242"/>
                    </a:lnTo>
                    <a:lnTo>
                      <a:pt x="178" y="242"/>
                    </a:lnTo>
                    <a:lnTo>
                      <a:pt x="178" y="244"/>
                    </a:lnTo>
                    <a:lnTo>
                      <a:pt x="178" y="246"/>
                    </a:lnTo>
                    <a:lnTo>
                      <a:pt x="178" y="244"/>
                    </a:lnTo>
                    <a:lnTo>
                      <a:pt x="178" y="246"/>
                    </a:lnTo>
                    <a:lnTo>
                      <a:pt x="180" y="248"/>
                    </a:lnTo>
                    <a:lnTo>
                      <a:pt x="178" y="248"/>
                    </a:lnTo>
                    <a:lnTo>
                      <a:pt x="178" y="249"/>
                    </a:lnTo>
                    <a:lnTo>
                      <a:pt x="177" y="249"/>
                    </a:lnTo>
                    <a:lnTo>
                      <a:pt x="177" y="251"/>
                    </a:lnTo>
                    <a:lnTo>
                      <a:pt x="175" y="251"/>
                    </a:lnTo>
                    <a:lnTo>
                      <a:pt x="175" y="253"/>
                    </a:lnTo>
                    <a:lnTo>
                      <a:pt x="175" y="255"/>
                    </a:lnTo>
                    <a:lnTo>
                      <a:pt x="173" y="255"/>
                    </a:lnTo>
                    <a:lnTo>
                      <a:pt x="173" y="257"/>
                    </a:lnTo>
                    <a:lnTo>
                      <a:pt x="173" y="255"/>
                    </a:lnTo>
                    <a:lnTo>
                      <a:pt x="173" y="257"/>
                    </a:lnTo>
                    <a:lnTo>
                      <a:pt x="175" y="257"/>
                    </a:lnTo>
                    <a:lnTo>
                      <a:pt x="175" y="259"/>
                    </a:lnTo>
                    <a:lnTo>
                      <a:pt x="175" y="261"/>
                    </a:lnTo>
                    <a:lnTo>
                      <a:pt x="175" y="263"/>
                    </a:lnTo>
                    <a:lnTo>
                      <a:pt x="173" y="263"/>
                    </a:lnTo>
                    <a:lnTo>
                      <a:pt x="171" y="263"/>
                    </a:lnTo>
                    <a:lnTo>
                      <a:pt x="171" y="265"/>
                    </a:lnTo>
                    <a:lnTo>
                      <a:pt x="169" y="265"/>
                    </a:lnTo>
                    <a:lnTo>
                      <a:pt x="169" y="267"/>
                    </a:lnTo>
                    <a:lnTo>
                      <a:pt x="167" y="269"/>
                    </a:lnTo>
                    <a:lnTo>
                      <a:pt x="165" y="271"/>
                    </a:lnTo>
                    <a:lnTo>
                      <a:pt x="163" y="273"/>
                    </a:lnTo>
                    <a:lnTo>
                      <a:pt x="163" y="271"/>
                    </a:lnTo>
                    <a:lnTo>
                      <a:pt x="163" y="273"/>
                    </a:lnTo>
                    <a:lnTo>
                      <a:pt x="161" y="273"/>
                    </a:lnTo>
                    <a:lnTo>
                      <a:pt x="161" y="274"/>
                    </a:lnTo>
                    <a:lnTo>
                      <a:pt x="159" y="274"/>
                    </a:lnTo>
                    <a:lnTo>
                      <a:pt x="159" y="273"/>
                    </a:lnTo>
                    <a:lnTo>
                      <a:pt x="157" y="273"/>
                    </a:lnTo>
                    <a:lnTo>
                      <a:pt x="155" y="274"/>
                    </a:lnTo>
                    <a:lnTo>
                      <a:pt x="155" y="276"/>
                    </a:lnTo>
                    <a:lnTo>
                      <a:pt x="154" y="274"/>
                    </a:lnTo>
                    <a:lnTo>
                      <a:pt x="150" y="273"/>
                    </a:lnTo>
                    <a:lnTo>
                      <a:pt x="142" y="271"/>
                    </a:lnTo>
                    <a:lnTo>
                      <a:pt x="142" y="273"/>
                    </a:lnTo>
                    <a:lnTo>
                      <a:pt x="138" y="276"/>
                    </a:lnTo>
                    <a:lnTo>
                      <a:pt x="136" y="280"/>
                    </a:lnTo>
                    <a:lnTo>
                      <a:pt x="136" y="282"/>
                    </a:lnTo>
                    <a:lnTo>
                      <a:pt x="134" y="282"/>
                    </a:lnTo>
                    <a:lnTo>
                      <a:pt x="136" y="282"/>
                    </a:lnTo>
                    <a:lnTo>
                      <a:pt x="136" y="284"/>
                    </a:lnTo>
                    <a:lnTo>
                      <a:pt x="134" y="286"/>
                    </a:lnTo>
                    <a:lnTo>
                      <a:pt x="136" y="286"/>
                    </a:lnTo>
                    <a:lnTo>
                      <a:pt x="134" y="290"/>
                    </a:lnTo>
                    <a:lnTo>
                      <a:pt x="136" y="292"/>
                    </a:lnTo>
                    <a:lnTo>
                      <a:pt x="134" y="292"/>
                    </a:lnTo>
                    <a:lnTo>
                      <a:pt x="132" y="294"/>
                    </a:lnTo>
                    <a:lnTo>
                      <a:pt x="134" y="296"/>
                    </a:lnTo>
                    <a:lnTo>
                      <a:pt x="132" y="296"/>
                    </a:lnTo>
                    <a:lnTo>
                      <a:pt x="134" y="298"/>
                    </a:lnTo>
                    <a:lnTo>
                      <a:pt x="132" y="298"/>
                    </a:lnTo>
                    <a:lnTo>
                      <a:pt x="134" y="299"/>
                    </a:lnTo>
                    <a:lnTo>
                      <a:pt x="132" y="299"/>
                    </a:lnTo>
                    <a:lnTo>
                      <a:pt x="134" y="301"/>
                    </a:lnTo>
                    <a:lnTo>
                      <a:pt x="132" y="301"/>
                    </a:lnTo>
                    <a:lnTo>
                      <a:pt x="132" y="303"/>
                    </a:lnTo>
                    <a:lnTo>
                      <a:pt x="134" y="303"/>
                    </a:lnTo>
                    <a:lnTo>
                      <a:pt x="132" y="303"/>
                    </a:lnTo>
                    <a:lnTo>
                      <a:pt x="134" y="303"/>
                    </a:lnTo>
                    <a:lnTo>
                      <a:pt x="132" y="303"/>
                    </a:lnTo>
                    <a:lnTo>
                      <a:pt x="132" y="305"/>
                    </a:lnTo>
                    <a:lnTo>
                      <a:pt x="134" y="305"/>
                    </a:lnTo>
                    <a:lnTo>
                      <a:pt x="134" y="307"/>
                    </a:lnTo>
                    <a:lnTo>
                      <a:pt x="134" y="309"/>
                    </a:lnTo>
                    <a:lnTo>
                      <a:pt x="136" y="311"/>
                    </a:lnTo>
                    <a:lnTo>
                      <a:pt x="136" y="309"/>
                    </a:lnTo>
                    <a:lnTo>
                      <a:pt x="136" y="311"/>
                    </a:lnTo>
                    <a:lnTo>
                      <a:pt x="136" y="313"/>
                    </a:lnTo>
                    <a:lnTo>
                      <a:pt x="134" y="313"/>
                    </a:lnTo>
                    <a:lnTo>
                      <a:pt x="132" y="315"/>
                    </a:lnTo>
                    <a:lnTo>
                      <a:pt x="130" y="315"/>
                    </a:lnTo>
                    <a:lnTo>
                      <a:pt x="130" y="317"/>
                    </a:lnTo>
                    <a:lnTo>
                      <a:pt x="130" y="315"/>
                    </a:lnTo>
                    <a:lnTo>
                      <a:pt x="129" y="315"/>
                    </a:lnTo>
                    <a:lnTo>
                      <a:pt x="129" y="317"/>
                    </a:lnTo>
                    <a:lnTo>
                      <a:pt x="129" y="319"/>
                    </a:lnTo>
                    <a:lnTo>
                      <a:pt x="127" y="323"/>
                    </a:lnTo>
                    <a:lnTo>
                      <a:pt x="123" y="321"/>
                    </a:lnTo>
                    <a:lnTo>
                      <a:pt x="121" y="317"/>
                    </a:lnTo>
                    <a:lnTo>
                      <a:pt x="119" y="321"/>
                    </a:lnTo>
                    <a:lnTo>
                      <a:pt x="117" y="323"/>
                    </a:lnTo>
                    <a:lnTo>
                      <a:pt x="115" y="324"/>
                    </a:lnTo>
                    <a:lnTo>
                      <a:pt x="115" y="326"/>
                    </a:lnTo>
                    <a:lnTo>
                      <a:pt x="113" y="328"/>
                    </a:lnTo>
                    <a:lnTo>
                      <a:pt x="115" y="328"/>
                    </a:lnTo>
                    <a:lnTo>
                      <a:pt x="113" y="330"/>
                    </a:lnTo>
                    <a:lnTo>
                      <a:pt x="113" y="332"/>
                    </a:lnTo>
                    <a:lnTo>
                      <a:pt x="113" y="334"/>
                    </a:lnTo>
                    <a:lnTo>
                      <a:pt x="117" y="336"/>
                    </a:lnTo>
                    <a:lnTo>
                      <a:pt x="115" y="336"/>
                    </a:lnTo>
                    <a:lnTo>
                      <a:pt x="115" y="338"/>
                    </a:lnTo>
                    <a:lnTo>
                      <a:pt x="115" y="340"/>
                    </a:lnTo>
                    <a:lnTo>
                      <a:pt x="113" y="340"/>
                    </a:lnTo>
                    <a:lnTo>
                      <a:pt x="115" y="340"/>
                    </a:lnTo>
                    <a:lnTo>
                      <a:pt x="113" y="340"/>
                    </a:lnTo>
                    <a:lnTo>
                      <a:pt x="113" y="342"/>
                    </a:lnTo>
                    <a:lnTo>
                      <a:pt x="115" y="342"/>
                    </a:lnTo>
                    <a:lnTo>
                      <a:pt x="115" y="344"/>
                    </a:lnTo>
                    <a:lnTo>
                      <a:pt x="115" y="346"/>
                    </a:lnTo>
                    <a:lnTo>
                      <a:pt x="117" y="346"/>
                    </a:lnTo>
                    <a:lnTo>
                      <a:pt x="115" y="348"/>
                    </a:lnTo>
                    <a:lnTo>
                      <a:pt x="117" y="348"/>
                    </a:lnTo>
                    <a:lnTo>
                      <a:pt x="113" y="349"/>
                    </a:lnTo>
                    <a:lnTo>
                      <a:pt x="111" y="349"/>
                    </a:lnTo>
                    <a:lnTo>
                      <a:pt x="111" y="351"/>
                    </a:lnTo>
                    <a:lnTo>
                      <a:pt x="113" y="349"/>
                    </a:lnTo>
                    <a:lnTo>
                      <a:pt x="115" y="349"/>
                    </a:lnTo>
                    <a:lnTo>
                      <a:pt x="115" y="351"/>
                    </a:lnTo>
                    <a:lnTo>
                      <a:pt x="113" y="351"/>
                    </a:lnTo>
                    <a:lnTo>
                      <a:pt x="113" y="353"/>
                    </a:lnTo>
                    <a:lnTo>
                      <a:pt x="113" y="355"/>
                    </a:lnTo>
                    <a:lnTo>
                      <a:pt x="111" y="355"/>
                    </a:lnTo>
                    <a:lnTo>
                      <a:pt x="109" y="355"/>
                    </a:lnTo>
                    <a:lnTo>
                      <a:pt x="109" y="357"/>
                    </a:lnTo>
                    <a:lnTo>
                      <a:pt x="107" y="357"/>
                    </a:lnTo>
                    <a:lnTo>
                      <a:pt x="105" y="357"/>
                    </a:lnTo>
                    <a:lnTo>
                      <a:pt x="107" y="357"/>
                    </a:lnTo>
                    <a:lnTo>
                      <a:pt x="105" y="355"/>
                    </a:lnTo>
                    <a:lnTo>
                      <a:pt x="104" y="355"/>
                    </a:lnTo>
                    <a:lnTo>
                      <a:pt x="104" y="353"/>
                    </a:lnTo>
                    <a:lnTo>
                      <a:pt x="105" y="353"/>
                    </a:lnTo>
                    <a:lnTo>
                      <a:pt x="104" y="351"/>
                    </a:lnTo>
                    <a:lnTo>
                      <a:pt x="102" y="351"/>
                    </a:lnTo>
                    <a:lnTo>
                      <a:pt x="102" y="349"/>
                    </a:lnTo>
                    <a:lnTo>
                      <a:pt x="102" y="351"/>
                    </a:lnTo>
                    <a:lnTo>
                      <a:pt x="100" y="351"/>
                    </a:lnTo>
                    <a:lnTo>
                      <a:pt x="102" y="349"/>
                    </a:lnTo>
                    <a:lnTo>
                      <a:pt x="100" y="349"/>
                    </a:lnTo>
                    <a:lnTo>
                      <a:pt x="100" y="348"/>
                    </a:lnTo>
                    <a:lnTo>
                      <a:pt x="100" y="346"/>
                    </a:lnTo>
                    <a:lnTo>
                      <a:pt x="102" y="346"/>
                    </a:lnTo>
                    <a:lnTo>
                      <a:pt x="100" y="346"/>
                    </a:lnTo>
                    <a:lnTo>
                      <a:pt x="100" y="344"/>
                    </a:lnTo>
                    <a:lnTo>
                      <a:pt x="98" y="344"/>
                    </a:lnTo>
                    <a:lnTo>
                      <a:pt x="98" y="342"/>
                    </a:lnTo>
                    <a:lnTo>
                      <a:pt x="98" y="340"/>
                    </a:lnTo>
                    <a:lnTo>
                      <a:pt x="100" y="340"/>
                    </a:lnTo>
                    <a:lnTo>
                      <a:pt x="102" y="338"/>
                    </a:lnTo>
                    <a:lnTo>
                      <a:pt x="102" y="336"/>
                    </a:lnTo>
                    <a:lnTo>
                      <a:pt x="102" y="334"/>
                    </a:lnTo>
                    <a:lnTo>
                      <a:pt x="102" y="332"/>
                    </a:lnTo>
                    <a:lnTo>
                      <a:pt x="102" y="330"/>
                    </a:lnTo>
                    <a:lnTo>
                      <a:pt x="100" y="330"/>
                    </a:lnTo>
                    <a:lnTo>
                      <a:pt x="100" y="328"/>
                    </a:lnTo>
                    <a:lnTo>
                      <a:pt x="100" y="332"/>
                    </a:lnTo>
                    <a:lnTo>
                      <a:pt x="100" y="334"/>
                    </a:lnTo>
                    <a:lnTo>
                      <a:pt x="98" y="334"/>
                    </a:lnTo>
                    <a:lnTo>
                      <a:pt x="96" y="332"/>
                    </a:lnTo>
                    <a:lnTo>
                      <a:pt x="94" y="332"/>
                    </a:lnTo>
                    <a:lnTo>
                      <a:pt x="94" y="330"/>
                    </a:lnTo>
                    <a:lnTo>
                      <a:pt x="92" y="330"/>
                    </a:lnTo>
                    <a:lnTo>
                      <a:pt x="94" y="328"/>
                    </a:lnTo>
                    <a:lnTo>
                      <a:pt x="96" y="328"/>
                    </a:lnTo>
                    <a:lnTo>
                      <a:pt x="96" y="326"/>
                    </a:lnTo>
                    <a:lnTo>
                      <a:pt x="94" y="328"/>
                    </a:lnTo>
                    <a:lnTo>
                      <a:pt x="94" y="326"/>
                    </a:lnTo>
                    <a:lnTo>
                      <a:pt x="94" y="324"/>
                    </a:lnTo>
                    <a:lnTo>
                      <a:pt x="94" y="323"/>
                    </a:lnTo>
                    <a:lnTo>
                      <a:pt x="94" y="321"/>
                    </a:lnTo>
                    <a:lnTo>
                      <a:pt x="96" y="321"/>
                    </a:lnTo>
                    <a:lnTo>
                      <a:pt x="96" y="319"/>
                    </a:lnTo>
                    <a:lnTo>
                      <a:pt x="96" y="321"/>
                    </a:lnTo>
                    <a:lnTo>
                      <a:pt x="96" y="319"/>
                    </a:lnTo>
                    <a:lnTo>
                      <a:pt x="96" y="317"/>
                    </a:lnTo>
                    <a:lnTo>
                      <a:pt x="94" y="317"/>
                    </a:lnTo>
                    <a:lnTo>
                      <a:pt x="96" y="317"/>
                    </a:lnTo>
                    <a:lnTo>
                      <a:pt x="94" y="317"/>
                    </a:lnTo>
                    <a:lnTo>
                      <a:pt x="94" y="315"/>
                    </a:lnTo>
                    <a:lnTo>
                      <a:pt x="96" y="315"/>
                    </a:lnTo>
                    <a:lnTo>
                      <a:pt x="98" y="313"/>
                    </a:lnTo>
                    <a:lnTo>
                      <a:pt x="98" y="311"/>
                    </a:lnTo>
                    <a:lnTo>
                      <a:pt x="96" y="313"/>
                    </a:lnTo>
                    <a:lnTo>
                      <a:pt x="94" y="313"/>
                    </a:lnTo>
                    <a:lnTo>
                      <a:pt x="96" y="313"/>
                    </a:lnTo>
                    <a:lnTo>
                      <a:pt x="96" y="311"/>
                    </a:lnTo>
                    <a:lnTo>
                      <a:pt x="96" y="309"/>
                    </a:lnTo>
                    <a:lnTo>
                      <a:pt x="96" y="307"/>
                    </a:lnTo>
                    <a:lnTo>
                      <a:pt x="96" y="305"/>
                    </a:lnTo>
                    <a:lnTo>
                      <a:pt x="94" y="305"/>
                    </a:lnTo>
                    <a:lnTo>
                      <a:pt x="94" y="307"/>
                    </a:lnTo>
                    <a:lnTo>
                      <a:pt x="94" y="309"/>
                    </a:lnTo>
                    <a:lnTo>
                      <a:pt x="92" y="309"/>
                    </a:lnTo>
                    <a:lnTo>
                      <a:pt x="92" y="307"/>
                    </a:lnTo>
                    <a:lnTo>
                      <a:pt x="90" y="305"/>
                    </a:lnTo>
                    <a:lnTo>
                      <a:pt x="90" y="307"/>
                    </a:lnTo>
                    <a:lnTo>
                      <a:pt x="88" y="307"/>
                    </a:lnTo>
                    <a:lnTo>
                      <a:pt x="86" y="307"/>
                    </a:lnTo>
                    <a:lnTo>
                      <a:pt x="86" y="305"/>
                    </a:lnTo>
                    <a:lnTo>
                      <a:pt x="86" y="303"/>
                    </a:lnTo>
                    <a:lnTo>
                      <a:pt x="88" y="301"/>
                    </a:lnTo>
                    <a:lnTo>
                      <a:pt x="90" y="299"/>
                    </a:lnTo>
                    <a:lnTo>
                      <a:pt x="92" y="298"/>
                    </a:lnTo>
                    <a:lnTo>
                      <a:pt x="92" y="296"/>
                    </a:lnTo>
                    <a:lnTo>
                      <a:pt x="90" y="296"/>
                    </a:lnTo>
                    <a:lnTo>
                      <a:pt x="90" y="294"/>
                    </a:lnTo>
                    <a:lnTo>
                      <a:pt x="92" y="294"/>
                    </a:lnTo>
                    <a:lnTo>
                      <a:pt x="92" y="292"/>
                    </a:lnTo>
                    <a:lnTo>
                      <a:pt x="92" y="290"/>
                    </a:lnTo>
                    <a:lnTo>
                      <a:pt x="90" y="290"/>
                    </a:lnTo>
                    <a:lnTo>
                      <a:pt x="90" y="288"/>
                    </a:lnTo>
                    <a:lnTo>
                      <a:pt x="88" y="288"/>
                    </a:lnTo>
                    <a:lnTo>
                      <a:pt x="88" y="286"/>
                    </a:lnTo>
                    <a:lnTo>
                      <a:pt x="86" y="286"/>
                    </a:lnTo>
                    <a:lnTo>
                      <a:pt x="84" y="286"/>
                    </a:lnTo>
                    <a:lnTo>
                      <a:pt x="84" y="284"/>
                    </a:lnTo>
                    <a:lnTo>
                      <a:pt x="86" y="284"/>
                    </a:lnTo>
                    <a:lnTo>
                      <a:pt x="84" y="284"/>
                    </a:lnTo>
                    <a:lnTo>
                      <a:pt x="86" y="284"/>
                    </a:lnTo>
                    <a:lnTo>
                      <a:pt x="86" y="282"/>
                    </a:lnTo>
                    <a:lnTo>
                      <a:pt x="84" y="282"/>
                    </a:lnTo>
                    <a:lnTo>
                      <a:pt x="86" y="282"/>
                    </a:lnTo>
                    <a:lnTo>
                      <a:pt x="88" y="282"/>
                    </a:lnTo>
                    <a:lnTo>
                      <a:pt x="86" y="280"/>
                    </a:lnTo>
                    <a:lnTo>
                      <a:pt x="88" y="280"/>
                    </a:lnTo>
                    <a:lnTo>
                      <a:pt x="88" y="278"/>
                    </a:lnTo>
                    <a:lnTo>
                      <a:pt x="86" y="278"/>
                    </a:lnTo>
                    <a:lnTo>
                      <a:pt x="88" y="278"/>
                    </a:lnTo>
                    <a:lnTo>
                      <a:pt x="88" y="276"/>
                    </a:lnTo>
                    <a:lnTo>
                      <a:pt x="86" y="276"/>
                    </a:lnTo>
                    <a:lnTo>
                      <a:pt x="88" y="276"/>
                    </a:lnTo>
                    <a:lnTo>
                      <a:pt x="88" y="274"/>
                    </a:lnTo>
                    <a:lnTo>
                      <a:pt x="86" y="274"/>
                    </a:lnTo>
                    <a:lnTo>
                      <a:pt x="88" y="273"/>
                    </a:lnTo>
                    <a:lnTo>
                      <a:pt x="86" y="273"/>
                    </a:lnTo>
                    <a:lnTo>
                      <a:pt x="86" y="271"/>
                    </a:lnTo>
                    <a:lnTo>
                      <a:pt x="86" y="273"/>
                    </a:lnTo>
                    <a:lnTo>
                      <a:pt x="84" y="273"/>
                    </a:lnTo>
                    <a:lnTo>
                      <a:pt x="82" y="273"/>
                    </a:lnTo>
                    <a:lnTo>
                      <a:pt x="82" y="271"/>
                    </a:lnTo>
                    <a:lnTo>
                      <a:pt x="82" y="273"/>
                    </a:lnTo>
                    <a:lnTo>
                      <a:pt x="82" y="271"/>
                    </a:lnTo>
                    <a:lnTo>
                      <a:pt x="81" y="271"/>
                    </a:lnTo>
                    <a:lnTo>
                      <a:pt x="79" y="271"/>
                    </a:lnTo>
                    <a:lnTo>
                      <a:pt x="81" y="271"/>
                    </a:lnTo>
                    <a:lnTo>
                      <a:pt x="81" y="273"/>
                    </a:lnTo>
                    <a:lnTo>
                      <a:pt x="79" y="273"/>
                    </a:lnTo>
                    <a:lnTo>
                      <a:pt x="79" y="271"/>
                    </a:lnTo>
                    <a:lnTo>
                      <a:pt x="77" y="271"/>
                    </a:lnTo>
                    <a:lnTo>
                      <a:pt x="77" y="269"/>
                    </a:lnTo>
                    <a:lnTo>
                      <a:pt x="75" y="269"/>
                    </a:lnTo>
                    <a:lnTo>
                      <a:pt x="75" y="267"/>
                    </a:lnTo>
                    <a:lnTo>
                      <a:pt x="77" y="267"/>
                    </a:lnTo>
                    <a:lnTo>
                      <a:pt x="77" y="265"/>
                    </a:lnTo>
                    <a:lnTo>
                      <a:pt x="77" y="263"/>
                    </a:lnTo>
                    <a:lnTo>
                      <a:pt x="77" y="265"/>
                    </a:lnTo>
                    <a:lnTo>
                      <a:pt x="77" y="263"/>
                    </a:lnTo>
                    <a:lnTo>
                      <a:pt x="77" y="265"/>
                    </a:lnTo>
                    <a:lnTo>
                      <a:pt x="77" y="263"/>
                    </a:lnTo>
                    <a:lnTo>
                      <a:pt x="77" y="261"/>
                    </a:lnTo>
                    <a:lnTo>
                      <a:pt x="79" y="261"/>
                    </a:lnTo>
                    <a:lnTo>
                      <a:pt x="77" y="261"/>
                    </a:lnTo>
                    <a:lnTo>
                      <a:pt x="75" y="261"/>
                    </a:lnTo>
                    <a:lnTo>
                      <a:pt x="77" y="261"/>
                    </a:lnTo>
                    <a:lnTo>
                      <a:pt x="77" y="259"/>
                    </a:lnTo>
                    <a:lnTo>
                      <a:pt x="79" y="259"/>
                    </a:lnTo>
                    <a:lnTo>
                      <a:pt x="79" y="257"/>
                    </a:lnTo>
                    <a:lnTo>
                      <a:pt x="79" y="255"/>
                    </a:lnTo>
                    <a:lnTo>
                      <a:pt x="81" y="255"/>
                    </a:lnTo>
                    <a:lnTo>
                      <a:pt x="81" y="253"/>
                    </a:lnTo>
                    <a:lnTo>
                      <a:pt x="82" y="253"/>
                    </a:lnTo>
                    <a:lnTo>
                      <a:pt x="82" y="251"/>
                    </a:lnTo>
                    <a:lnTo>
                      <a:pt x="82" y="249"/>
                    </a:lnTo>
                    <a:lnTo>
                      <a:pt x="81" y="249"/>
                    </a:lnTo>
                    <a:lnTo>
                      <a:pt x="79" y="249"/>
                    </a:lnTo>
                    <a:lnTo>
                      <a:pt x="79" y="251"/>
                    </a:lnTo>
                    <a:lnTo>
                      <a:pt x="77" y="249"/>
                    </a:lnTo>
                    <a:lnTo>
                      <a:pt x="77" y="251"/>
                    </a:lnTo>
                    <a:lnTo>
                      <a:pt x="75" y="251"/>
                    </a:lnTo>
                    <a:lnTo>
                      <a:pt x="75" y="253"/>
                    </a:lnTo>
                    <a:lnTo>
                      <a:pt x="73" y="253"/>
                    </a:lnTo>
                    <a:lnTo>
                      <a:pt x="75" y="255"/>
                    </a:lnTo>
                    <a:lnTo>
                      <a:pt x="75" y="257"/>
                    </a:lnTo>
                    <a:lnTo>
                      <a:pt x="73" y="257"/>
                    </a:lnTo>
                    <a:lnTo>
                      <a:pt x="73" y="255"/>
                    </a:lnTo>
                    <a:lnTo>
                      <a:pt x="71" y="255"/>
                    </a:lnTo>
                    <a:lnTo>
                      <a:pt x="71" y="257"/>
                    </a:lnTo>
                    <a:lnTo>
                      <a:pt x="71" y="259"/>
                    </a:lnTo>
                    <a:lnTo>
                      <a:pt x="71" y="261"/>
                    </a:lnTo>
                    <a:lnTo>
                      <a:pt x="69" y="261"/>
                    </a:lnTo>
                    <a:lnTo>
                      <a:pt x="67" y="261"/>
                    </a:lnTo>
                    <a:lnTo>
                      <a:pt x="65" y="261"/>
                    </a:lnTo>
                    <a:lnTo>
                      <a:pt x="65" y="259"/>
                    </a:lnTo>
                    <a:lnTo>
                      <a:pt x="67" y="259"/>
                    </a:lnTo>
                    <a:lnTo>
                      <a:pt x="67" y="257"/>
                    </a:lnTo>
                    <a:lnTo>
                      <a:pt x="65" y="257"/>
                    </a:lnTo>
                    <a:lnTo>
                      <a:pt x="67" y="257"/>
                    </a:lnTo>
                    <a:lnTo>
                      <a:pt x="65" y="257"/>
                    </a:lnTo>
                    <a:lnTo>
                      <a:pt x="67" y="255"/>
                    </a:lnTo>
                    <a:lnTo>
                      <a:pt x="65" y="253"/>
                    </a:lnTo>
                    <a:lnTo>
                      <a:pt x="63" y="253"/>
                    </a:lnTo>
                    <a:lnTo>
                      <a:pt x="61" y="253"/>
                    </a:lnTo>
                    <a:lnTo>
                      <a:pt x="61" y="251"/>
                    </a:lnTo>
                    <a:lnTo>
                      <a:pt x="59" y="251"/>
                    </a:lnTo>
                    <a:lnTo>
                      <a:pt x="56" y="251"/>
                    </a:lnTo>
                    <a:lnTo>
                      <a:pt x="56" y="253"/>
                    </a:lnTo>
                    <a:lnTo>
                      <a:pt x="54" y="253"/>
                    </a:lnTo>
                    <a:lnTo>
                      <a:pt x="56" y="251"/>
                    </a:lnTo>
                    <a:lnTo>
                      <a:pt x="54" y="253"/>
                    </a:lnTo>
                    <a:lnTo>
                      <a:pt x="54" y="251"/>
                    </a:lnTo>
                    <a:lnTo>
                      <a:pt x="52" y="249"/>
                    </a:lnTo>
                    <a:lnTo>
                      <a:pt x="54" y="249"/>
                    </a:lnTo>
                    <a:lnTo>
                      <a:pt x="54" y="248"/>
                    </a:lnTo>
                    <a:lnTo>
                      <a:pt x="52" y="248"/>
                    </a:lnTo>
                    <a:lnTo>
                      <a:pt x="50" y="249"/>
                    </a:lnTo>
                    <a:lnTo>
                      <a:pt x="48" y="249"/>
                    </a:lnTo>
                    <a:lnTo>
                      <a:pt x="48" y="251"/>
                    </a:lnTo>
                    <a:lnTo>
                      <a:pt x="46" y="251"/>
                    </a:lnTo>
                    <a:lnTo>
                      <a:pt x="44" y="251"/>
                    </a:lnTo>
                    <a:lnTo>
                      <a:pt x="46" y="253"/>
                    </a:lnTo>
                    <a:lnTo>
                      <a:pt x="44" y="255"/>
                    </a:lnTo>
                    <a:lnTo>
                      <a:pt x="44" y="253"/>
                    </a:lnTo>
                    <a:lnTo>
                      <a:pt x="44" y="255"/>
                    </a:lnTo>
                    <a:lnTo>
                      <a:pt x="42" y="255"/>
                    </a:lnTo>
                    <a:lnTo>
                      <a:pt x="40" y="255"/>
                    </a:lnTo>
                    <a:lnTo>
                      <a:pt x="40" y="253"/>
                    </a:lnTo>
                    <a:lnTo>
                      <a:pt x="38" y="253"/>
                    </a:lnTo>
                    <a:lnTo>
                      <a:pt x="36" y="255"/>
                    </a:lnTo>
                    <a:lnTo>
                      <a:pt x="34" y="255"/>
                    </a:lnTo>
                    <a:lnTo>
                      <a:pt x="36" y="253"/>
                    </a:lnTo>
                    <a:lnTo>
                      <a:pt x="36" y="251"/>
                    </a:lnTo>
                    <a:lnTo>
                      <a:pt x="34" y="253"/>
                    </a:lnTo>
                    <a:lnTo>
                      <a:pt x="34" y="251"/>
                    </a:lnTo>
                    <a:lnTo>
                      <a:pt x="32" y="251"/>
                    </a:lnTo>
                    <a:lnTo>
                      <a:pt x="34" y="251"/>
                    </a:lnTo>
                    <a:lnTo>
                      <a:pt x="32" y="251"/>
                    </a:lnTo>
                    <a:lnTo>
                      <a:pt x="34" y="249"/>
                    </a:lnTo>
                    <a:lnTo>
                      <a:pt x="32" y="249"/>
                    </a:lnTo>
                    <a:lnTo>
                      <a:pt x="34" y="249"/>
                    </a:lnTo>
                    <a:lnTo>
                      <a:pt x="32" y="248"/>
                    </a:lnTo>
                    <a:lnTo>
                      <a:pt x="32" y="249"/>
                    </a:lnTo>
                    <a:lnTo>
                      <a:pt x="31" y="249"/>
                    </a:lnTo>
                    <a:lnTo>
                      <a:pt x="29" y="248"/>
                    </a:lnTo>
                    <a:lnTo>
                      <a:pt x="29" y="249"/>
                    </a:lnTo>
                    <a:lnTo>
                      <a:pt x="27" y="249"/>
                    </a:lnTo>
                    <a:lnTo>
                      <a:pt x="25" y="251"/>
                    </a:lnTo>
                    <a:lnTo>
                      <a:pt x="23" y="249"/>
                    </a:lnTo>
                    <a:lnTo>
                      <a:pt x="23" y="251"/>
                    </a:lnTo>
                    <a:lnTo>
                      <a:pt x="21" y="251"/>
                    </a:lnTo>
                    <a:lnTo>
                      <a:pt x="21" y="253"/>
                    </a:lnTo>
                    <a:lnTo>
                      <a:pt x="19" y="253"/>
                    </a:lnTo>
                    <a:lnTo>
                      <a:pt x="19" y="251"/>
                    </a:lnTo>
                    <a:lnTo>
                      <a:pt x="17" y="251"/>
                    </a:lnTo>
                    <a:lnTo>
                      <a:pt x="15" y="253"/>
                    </a:lnTo>
                    <a:lnTo>
                      <a:pt x="15" y="251"/>
                    </a:lnTo>
                    <a:lnTo>
                      <a:pt x="13" y="251"/>
                    </a:lnTo>
                    <a:lnTo>
                      <a:pt x="13" y="253"/>
                    </a:lnTo>
                    <a:lnTo>
                      <a:pt x="11" y="253"/>
                    </a:lnTo>
                    <a:lnTo>
                      <a:pt x="9" y="251"/>
                    </a:lnTo>
                    <a:lnTo>
                      <a:pt x="8" y="253"/>
                    </a:lnTo>
                    <a:lnTo>
                      <a:pt x="8" y="251"/>
                    </a:lnTo>
                    <a:lnTo>
                      <a:pt x="8" y="249"/>
                    </a:lnTo>
                    <a:lnTo>
                      <a:pt x="9" y="248"/>
                    </a:lnTo>
                    <a:lnTo>
                      <a:pt x="11" y="248"/>
                    </a:lnTo>
                    <a:lnTo>
                      <a:pt x="11" y="246"/>
                    </a:lnTo>
                    <a:lnTo>
                      <a:pt x="11" y="244"/>
                    </a:lnTo>
                    <a:lnTo>
                      <a:pt x="9" y="244"/>
                    </a:lnTo>
                    <a:lnTo>
                      <a:pt x="9" y="242"/>
                    </a:lnTo>
                    <a:lnTo>
                      <a:pt x="9" y="244"/>
                    </a:lnTo>
                    <a:lnTo>
                      <a:pt x="8" y="244"/>
                    </a:lnTo>
                    <a:lnTo>
                      <a:pt x="8" y="242"/>
                    </a:lnTo>
                    <a:lnTo>
                      <a:pt x="8" y="240"/>
                    </a:lnTo>
                    <a:lnTo>
                      <a:pt x="8" y="242"/>
                    </a:lnTo>
                    <a:lnTo>
                      <a:pt x="6" y="240"/>
                    </a:lnTo>
                    <a:lnTo>
                      <a:pt x="4" y="242"/>
                    </a:lnTo>
                    <a:lnTo>
                      <a:pt x="4" y="240"/>
                    </a:lnTo>
                    <a:lnTo>
                      <a:pt x="6" y="240"/>
                    </a:lnTo>
                    <a:lnTo>
                      <a:pt x="4" y="240"/>
                    </a:lnTo>
                    <a:lnTo>
                      <a:pt x="2" y="240"/>
                    </a:lnTo>
                    <a:lnTo>
                      <a:pt x="2" y="238"/>
                    </a:lnTo>
                    <a:lnTo>
                      <a:pt x="0" y="238"/>
                    </a:lnTo>
                    <a:lnTo>
                      <a:pt x="0" y="236"/>
                    </a:lnTo>
                    <a:lnTo>
                      <a:pt x="2" y="236"/>
                    </a:lnTo>
                    <a:lnTo>
                      <a:pt x="4" y="236"/>
                    </a:lnTo>
                    <a:lnTo>
                      <a:pt x="4" y="234"/>
                    </a:lnTo>
                    <a:lnTo>
                      <a:pt x="2" y="234"/>
                    </a:lnTo>
                    <a:lnTo>
                      <a:pt x="4" y="232"/>
                    </a:lnTo>
                    <a:lnTo>
                      <a:pt x="6" y="232"/>
                    </a:lnTo>
                    <a:lnTo>
                      <a:pt x="6" y="230"/>
                    </a:lnTo>
                    <a:lnTo>
                      <a:pt x="8" y="230"/>
                    </a:lnTo>
                    <a:lnTo>
                      <a:pt x="6" y="230"/>
                    </a:lnTo>
                    <a:lnTo>
                      <a:pt x="6" y="228"/>
                    </a:lnTo>
                    <a:lnTo>
                      <a:pt x="8" y="228"/>
                    </a:lnTo>
                    <a:lnTo>
                      <a:pt x="8" y="226"/>
                    </a:lnTo>
                    <a:lnTo>
                      <a:pt x="8" y="224"/>
                    </a:lnTo>
                    <a:lnTo>
                      <a:pt x="9" y="224"/>
                    </a:lnTo>
                    <a:lnTo>
                      <a:pt x="11" y="224"/>
                    </a:lnTo>
                    <a:lnTo>
                      <a:pt x="11" y="223"/>
                    </a:lnTo>
                    <a:lnTo>
                      <a:pt x="13" y="223"/>
                    </a:lnTo>
                    <a:lnTo>
                      <a:pt x="11" y="223"/>
                    </a:lnTo>
                    <a:lnTo>
                      <a:pt x="11" y="221"/>
                    </a:lnTo>
                    <a:lnTo>
                      <a:pt x="11" y="223"/>
                    </a:lnTo>
                    <a:lnTo>
                      <a:pt x="11" y="221"/>
                    </a:lnTo>
                    <a:lnTo>
                      <a:pt x="13" y="221"/>
                    </a:lnTo>
                    <a:lnTo>
                      <a:pt x="13" y="219"/>
                    </a:lnTo>
                    <a:lnTo>
                      <a:pt x="13" y="217"/>
                    </a:lnTo>
                    <a:lnTo>
                      <a:pt x="11" y="217"/>
                    </a:lnTo>
                    <a:lnTo>
                      <a:pt x="11" y="215"/>
                    </a:lnTo>
                    <a:lnTo>
                      <a:pt x="11" y="213"/>
                    </a:lnTo>
                    <a:lnTo>
                      <a:pt x="13" y="213"/>
                    </a:lnTo>
                    <a:lnTo>
                      <a:pt x="15" y="213"/>
                    </a:lnTo>
                    <a:lnTo>
                      <a:pt x="15" y="211"/>
                    </a:lnTo>
                    <a:lnTo>
                      <a:pt x="17" y="211"/>
                    </a:lnTo>
                    <a:lnTo>
                      <a:pt x="15" y="211"/>
                    </a:lnTo>
                    <a:lnTo>
                      <a:pt x="17" y="211"/>
                    </a:lnTo>
                    <a:lnTo>
                      <a:pt x="17" y="209"/>
                    </a:lnTo>
                    <a:lnTo>
                      <a:pt x="15" y="209"/>
                    </a:lnTo>
                    <a:lnTo>
                      <a:pt x="13" y="211"/>
                    </a:lnTo>
                    <a:lnTo>
                      <a:pt x="13" y="209"/>
                    </a:lnTo>
                    <a:lnTo>
                      <a:pt x="15" y="209"/>
                    </a:lnTo>
                    <a:lnTo>
                      <a:pt x="17" y="209"/>
                    </a:lnTo>
                    <a:lnTo>
                      <a:pt x="19" y="209"/>
                    </a:lnTo>
                    <a:lnTo>
                      <a:pt x="19" y="207"/>
                    </a:lnTo>
                    <a:lnTo>
                      <a:pt x="19" y="205"/>
                    </a:lnTo>
                    <a:lnTo>
                      <a:pt x="19" y="203"/>
                    </a:lnTo>
                    <a:lnTo>
                      <a:pt x="21" y="203"/>
                    </a:lnTo>
                    <a:lnTo>
                      <a:pt x="21" y="205"/>
                    </a:lnTo>
                    <a:lnTo>
                      <a:pt x="23" y="205"/>
                    </a:lnTo>
                    <a:lnTo>
                      <a:pt x="25" y="207"/>
                    </a:lnTo>
                    <a:lnTo>
                      <a:pt x="25" y="209"/>
                    </a:lnTo>
                    <a:lnTo>
                      <a:pt x="27" y="209"/>
                    </a:lnTo>
                    <a:lnTo>
                      <a:pt x="29" y="209"/>
                    </a:lnTo>
                    <a:lnTo>
                      <a:pt x="31" y="209"/>
                    </a:lnTo>
                    <a:lnTo>
                      <a:pt x="32" y="209"/>
                    </a:lnTo>
                    <a:lnTo>
                      <a:pt x="34" y="209"/>
                    </a:lnTo>
                    <a:lnTo>
                      <a:pt x="36" y="209"/>
                    </a:lnTo>
                    <a:lnTo>
                      <a:pt x="38" y="209"/>
                    </a:lnTo>
                    <a:lnTo>
                      <a:pt x="38" y="211"/>
                    </a:lnTo>
                    <a:lnTo>
                      <a:pt x="36" y="211"/>
                    </a:lnTo>
                    <a:lnTo>
                      <a:pt x="38" y="211"/>
                    </a:lnTo>
                    <a:lnTo>
                      <a:pt x="36" y="211"/>
                    </a:lnTo>
                    <a:lnTo>
                      <a:pt x="38" y="213"/>
                    </a:lnTo>
                    <a:lnTo>
                      <a:pt x="40" y="215"/>
                    </a:lnTo>
                    <a:lnTo>
                      <a:pt x="42" y="211"/>
                    </a:lnTo>
                    <a:lnTo>
                      <a:pt x="44" y="211"/>
                    </a:lnTo>
                    <a:lnTo>
                      <a:pt x="44" y="209"/>
                    </a:lnTo>
                    <a:lnTo>
                      <a:pt x="44" y="207"/>
                    </a:lnTo>
                    <a:lnTo>
                      <a:pt x="46" y="207"/>
                    </a:lnTo>
                    <a:lnTo>
                      <a:pt x="46" y="205"/>
                    </a:lnTo>
                    <a:lnTo>
                      <a:pt x="48" y="203"/>
                    </a:lnTo>
                    <a:lnTo>
                      <a:pt x="50" y="203"/>
                    </a:lnTo>
                    <a:lnTo>
                      <a:pt x="50" y="201"/>
                    </a:lnTo>
                    <a:lnTo>
                      <a:pt x="52" y="201"/>
                    </a:lnTo>
                    <a:lnTo>
                      <a:pt x="52" y="200"/>
                    </a:lnTo>
                    <a:lnTo>
                      <a:pt x="50" y="200"/>
                    </a:lnTo>
                    <a:lnTo>
                      <a:pt x="52" y="200"/>
                    </a:lnTo>
                    <a:lnTo>
                      <a:pt x="52" y="198"/>
                    </a:lnTo>
                    <a:lnTo>
                      <a:pt x="54" y="198"/>
                    </a:lnTo>
                    <a:lnTo>
                      <a:pt x="54" y="196"/>
                    </a:lnTo>
                    <a:lnTo>
                      <a:pt x="56" y="196"/>
                    </a:lnTo>
                    <a:lnTo>
                      <a:pt x="57" y="196"/>
                    </a:lnTo>
                    <a:lnTo>
                      <a:pt x="59" y="196"/>
                    </a:lnTo>
                    <a:lnTo>
                      <a:pt x="59" y="198"/>
                    </a:lnTo>
                    <a:lnTo>
                      <a:pt x="59" y="196"/>
                    </a:lnTo>
                    <a:lnTo>
                      <a:pt x="59" y="194"/>
                    </a:lnTo>
                    <a:lnTo>
                      <a:pt x="59" y="192"/>
                    </a:lnTo>
                    <a:lnTo>
                      <a:pt x="57" y="190"/>
                    </a:lnTo>
                    <a:lnTo>
                      <a:pt x="57" y="188"/>
                    </a:lnTo>
                    <a:lnTo>
                      <a:pt x="56" y="188"/>
                    </a:lnTo>
                    <a:lnTo>
                      <a:pt x="54" y="188"/>
                    </a:lnTo>
                    <a:lnTo>
                      <a:pt x="54" y="186"/>
                    </a:lnTo>
                    <a:lnTo>
                      <a:pt x="52" y="186"/>
                    </a:lnTo>
                    <a:lnTo>
                      <a:pt x="52" y="184"/>
                    </a:lnTo>
                    <a:lnTo>
                      <a:pt x="54" y="184"/>
                    </a:lnTo>
                    <a:lnTo>
                      <a:pt x="50" y="182"/>
                    </a:lnTo>
                    <a:lnTo>
                      <a:pt x="46" y="178"/>
                    </a:lnTo>
                    <a:lnTo>
                      <a:pt x="42" y="176"/>
                    </a:lnTo>
                    <a:lnTo>
                      <a:pt x="38" y="175"/>
                    </a:lnTo>
                    <a:lnTo>
                      <a:pt x="31" y="171"/>
                    </a:lnTo>
                    <a:lnTo>
                      <a:pt x="31" y="169"/>
                    </a:lnTo>
                    <a:lnTo>
                      <a:pt x="29" y="169"/>
                    </a:lnTo>
                    <a:lnTo>
                      <a:pt x="27" y="169"/>
                    </a:lnTo>
                    <a:lnTo>
                      <a:pt x="27" y="171"/>
                    </a:lnTo>
                    <a:lnTo>
                      <a:pt x="27" y="169"/>
                    </a:lnTo>
                    <a:lnTo>
                      <a:pt x="27" y="167"/>
                    </a:lnTo>
                    <a:lnTo>
                      <a:pt x="25" y="167"/>
                    </a:lnTo>
                    <a:lnTo>
                      <a:pt x="25" y="165"/>
                    </a:lnTo>
                    <a:lnTo>
                      <a:pt x="27" y="165"/>
                    </a:lnTo>
                    <a:lnTo>
                      <a:pt x="25" y="163"/>
                    </a:lnTo>
                    <a:lnTo>
                      <a:pt x="27" y="163"/>
                    </a:lnTo>
                    <a:lnTo>
                      <a:pt x="25" y="163"/>
                    </a:lnTo>
                    <a:lnTo>
                      <a:pt x="27" y="163"/>
                    </a:lnTo>
                    <a:lnTo>
                      <a:pt x="27" y="161"/>
                    </a:lnTo>
                    <a:lnTo>
                      <a:pt x="29" y="159"/>
                    </a:lnTo>
                    <a:lnTo>
                      <a:pt x="29" y="157"/>
                    </a:lnTo>
                    <a:lnTo>
                      <a:pt x="31" y="157"/>
                    </a:lnTo>
                    <a:lnTo>
                      <a:pt x="32" y="157"/>
                    </a:lnTo>
                    <a:lnTo>
                      <a:pt x="32" y="155"/>
                    </a:lnTo>
                    <a:lnTo>
                      <a:pt x="34" y="153"/>
                    </a:lnTo>
                    <a:lnTo>
                      <a:pt x="34" y="151"/>
                    </a:lnTo>
                    <a:lnTo>
                      <a:pt x="34" y="150"/>
                    </a:lnTo>
                    <a:lnTo>
                      <a:pt x="36" y="150"/>
                    </a:lnTo>
                    <a:lnTo>
                      <a:pt x="36" y="151"/>
                    </a:lnTo>
                    <a:lnTo>
                      <a:pt x="36" y="150"/>
                    </a:lnTo>
                    <a:lnTo>
                      <a:pt x="38" y="150"/>
                    </a:lnTo>
                    <a:lnTo>
                      <a:pt x="36" y="148"/>
                    </a:lnTo>
                    <a:lnTo>
                      <a:pt x="36" y="150"/>
                    </a:lnTo>
                    <a:lnTo>
                      <a:pt x="36" y="148"/>
                    </a:lnTo>
                    <a:lnTo>
                      <a:pt x="36" y="150"/>
                    </a:lnTo>
                    <a:lnTo>
                      <a:pt x="34" y="150"/>
                    </a:lnTo>
                    <a:lnTo>
                      <a:pt x="36" y="148"/>
                    </a:lnTo>
                    <a:lnTo>
                      <a:pt x="36" y="146"/>
                    </a:lnTo>
                    <a:lnTo>
                      <a:pt x="38" y="146"/>
                    </a:lnTo>
                    <a:lnTo>
                      <a:pt x="38" y="148"/>
                    </a:lnTo>
                    <a:lnTo>
                      <a:pt x="38" y="146"/>
                    </a:lnTo>
                    <a:lnTo>
                      <a:pt x="40" y="148"/>
                    </a:lnTo>
                    <a:lnTo>
                      <a:pt x="42" y="148"/>
                    </a:lnTo>
                    <a:lnTo>
                      <a:pt x="44" y="148"/>
                    </a:lnTo>
                    <a:lnTo>
                      <a:pt x="44" y="146"/>
                    </a:lnTo>
                    <a:lnTo>
                      <a:pt x="44" y="144"/>
                    </a:lnTo>
                    <a:lnTo>
                      <a:pt x="44" y="142"/>
                    </a:lnTo>
                    <a:lnTo>
                      <a:pt x="46" y="142"/>
                    </a:lnTo>
                    <a:lnTo>
                      <a:pt x="48" y="140"/>
                    </a:lnTo>
                    <a:lnTo>
                      <a:pt x="50" y="138"/>
                    </a:lnTo>
                    <a:lnTo>
                      <a:pt x="52" y="138"/>
                    </a:lnTo>
                    <a:lnTo>
                      <a:pt x="50" y="140"/>
                    </a:lnTo>
                    <a:lnTo>
                      <a:pt x="54" y="140"/>
                    </a:lnTo>
                    <a:lnTo>
                      <a:pt x="56" y="140"/>
                    </a:lnTo>
                    <a:lnTo>
                      <a:pt x="57" y="140"/>
                    </a:lnTo>
                    <a:lnTo>
                      <a:pt x="59" y="142"/>
                    </a:lnTo>
                    <a:lnTo>
                      <a:pt x="61" y="142"/>
                    </a:lnTo>
                    <a:lnTo>
                      <a:pt x="63" y="138"/>
                    </a:lnTo>
                    <a:lnTo>
                      <a:pt x="65" y="136"/>
                    </a:lnTo>
                    <a:lnTo>
                      <a:pt x="67" y="136"/>
                    </a:lnTo>
                    <a:lnTo>
                      <a:pt x="67" y="134"/>
                    </a:lnTo>
                    <a:lnTo>
                      <a:pt x="69" y="134"/>
                    </a:lnTo>
                    <a:lnTo>
                      <a:pt x="69" y="132"/>
                    </a:lnTo>
                    <a:lnTo>
                      <a:pt x="71" y="134"/>
                    </a:lnTo>
                    <a:lnTo>
                      <a:pt x="71" y="136"/>
                    </a:lnTo>
                    <a:lnTo>
                      <a:pt x="73" y="136"/>
                    </a:lnTo>
                    <a:lnTo>
                      <a:pt x="75" y="136"/>
                    </a:lnTo>
                    <a:lnTo>
                      <a:pt x="75" y="134"/>
                    </a:lnTo>
                    <a:lnTo>
                      <a:pt x="77" y="134"/>
                    </a:lnTo>
                    <a:lnTo>
                      <a:pt x="75" y="134"/>
                    </a:lnTo>
                    <a:lnTo>
                      <a:pt x="75" y="132"/>
                    </a:lnTo>
                    <a:lnTo>
                      <a:pt x="77" y="132"/>
                    </a:lnTo>
                    <a:lnTo>
                      <a:pt x="77" y="130"/>
                    </a:lnTo>
                    <a:lnTo>
                      <a:pt x="75" y="130"/>
                    </a:lnTo>
                    <a:lnTo>
                      <a:pt x="77" y="130"/>
                    </a:lnTo>
                    <a:lnTo>
                      <a:pt x="77" y="128"/>
                    </a:lnTo>
                    <a:lnTo>
                      <a:pt x="79" y="128"/>
                    </a:lnTo>
                    <a:lnTo>
                      <a:pt x="77" y="128"/>
                    </a:lnTo>
                    <a:lnTo>
                      <a:pt x="79" y="128"/>
                    </a:lnTo>
                    <a:lnTo>
                      <a:pt x="81" y="128"/>
                    </a:lnTo>
                    <a:lnTo>
                      <a:pt x="81" y="130"/>
                    </a:lnTo>
                    <a:lnTo>
                      <a:pt x="82" y="130"/>
                    </a:lnTo>
                    <a:lnTo>
                      <a:pt x="82" y="132"/>
                    </a:lnTo>
                    <a:lnTo>
                      <a:pt x="84" y="132"/>
                    </a:lnTo>
                    <a:lnTo>
                      <a:pt x="86" y="132"/>
                    </a:lnTo>
                    <a:lnTo>
                      <a:pt x="88" y="132"/>
                    </a:lnTo>
                    <a:lnTo>
                      <a:pt x="88" y="130"/>
                    </a:lnTo>
                    <a:lnTo>
                      <a:pt x="88" y="128"/>
                    </a:lnTo>
                    <a:lnTo>
                      <a:pt x="88" y="126"/>
                    </a:lnTo>
                    <a:lnTo>
                      <a:pt x="88" y="125"/>
                    </a:lnTo>
                    <a:lnTo>
                      <a:pt x="90" y="125"/>
                    </a:lnTo>
                    <a:lnTo>
                      <a:pt x="90" y="123"/>
                    </a:lnTo>
                    <a:lnTo>
                      <a:pt x="88" y="123"/>
                    </a:lnTo>
                    <a:lnTo>
                      <a:pt x="90" y="123"/>
                    </a:lnTo>
                    <a:lnTo>
                      <a:pt x="88" y="123"/>
                    </a:lnTo>
                    <a:lnTo>
                      <a:pt x="90" y="121"/>
                    </a:lnTo>
                    <a:lnTo>
                      <a:pt x="88" y="121"/>
                    </a:lnTo>
                    <a:lnTo>
                      <a:pt x="88" y="119"/>
                    </a:lnTo>
                    <a:lnTo>
                      <a:pt x="90" y="119"/>
                    </a:lnTo>
                    <a:lnTo>
                      <a:pt x="90" y="117"/>
                    </a:lnTo>
                    <a:lnTo>
                      <a:pt x="92" y="117"/>
                    </a:lnTo>
                    <a:lnTo>
                      <a:pt x="90" y="117"/>
                    </a:lnTo>
                    <a:lnTo>
                      <a:pt x="88" y="117"/>
                    </a:lnTo>
                    <a:lnTo>
                      <a:pt x="86" y="115"/>
                    </a:lnTo>
                    <a:lnTo>
                      <a:pt x="86" y="113"/>
                    </a:lnTo>
                    <a:lnTo>
                      <a:pt x="86" y="115"/>
                    </a:lnTo>
                    <a:lnTo>
                      <a:pt x="86" y="113"/>
                    </a:lnTo>
                    <a:lnTo>
                      <a:pt x="86" y="111"/>
                    </a:lnTo>
                    <a:lnTo>
                      <a:pt x="84" y="109"/>
                    </a:lnTo>
                    <a:lnTo>
                      <a:pt x="86" y="109"/>
                    </a:lnTo>
                    <a:lnTo>
                      <a:pt x="86" y="107"/>
                    </a:lnTo>
                    <a:lnTo>
                      <a:pt x="88" y="107"/>
                    </a:lnTo>
                    <a:lnTo>
                      <a:pt x="90" y="101"/>
                    </a:lnTo>
                    <a:lnTo>
                      <a:pt x="86" y="98"/>
                    </a:lnTo>
                    <a:lnTo>
                      <a:pt x="86" y="96"/>
                    </a:lnTo>
                    <a:lnTo>
                      <a:pt x="88" y="96"/>
                    </a:lnTo>
                    <a:lnTo>
                      <a:pt x="96" y="84"/>
                    </a:lnTo>
                    <a:lnTo>
                      <a:pt x="100" y="80"/>
                    </a:lnTo>
                    <a:lnTo>
                      <a:pt x="102" y="76"/>
                    </a:lnTo>
                    <a:lnTo>
                      <a:pt x="96" y="75"/>
                    </a:lnTo>
                    <a:lnTo>
                      <a:pt x="96" y="73"/>
                    </a:lnTo>
                    <a:lnTo>
                      <a:pt x="100" y="65"/>
                    </a:lnTo>
                    <a:lnTo>
                      <a:pt x="102" y="63"/>
                    </a:lnTo>
                    <a:lnTo>
                      <a:pt x="104" y="61"/>
                    </a:lnTo>
                    <a:lnTo>
                      <a:pt x="107" y="55"/>
                    </a:lnTo>
                    <a:lnTo>
                      <a:pt x="109" y="53"/>
                    </a:lnTo>
                    <a:lnTo>
                      <a:pt x="105" y="51"/>
                    </a:lnTo>
                    <a:lnTo>
                      <a:pt x="104" y="53"/>
                    </a:lnTo>
                    <a:lnTo>
                      <a:pt x="102" y="53"/>
                    </a:lnTo>
                    <a:lnTo>
                      <a:pt x="100" y="53"/>
                    </a:lnTo>
                    <a:lnTo>
                      <a:pt x="100" y="51"/>
                    </a:lnTo>
                    <a:lnTo>
                      <a:pt x="98" y="51"/>
                    </a:lnTo>
                    <a:lnTo>
                      <a:pt x="98" y="50"/>
                    </a:lnTo>
                    <a:lnTo>
                      <a:pt x="96" y="50"/>
                    </a:lnTo>
                    <a:lnTo>
                      <a:pt x="96" y="51"/>
                    </a:lnTo>
                    <a:lnTo>
                      <a:pt x="96" y="50"/>
                    </a:lnTo>
                    <a:lnTo>
                      <a:pt x="96" y="48"/>
                    </a:lnTo>
                    <a:lnTo>
                      <a:pt x="94" y="48"/>
                    </a:lnTo>
                    <a:lnTo>
                      <a:pt x="94" y="46"/>
                    </a:lnTo>
                    <a:lnTo>
                      <a:pt x="92" y="46"/>
                    </a:lnTo>
                    <a:lnTo>
                      <a:pt x="92" y="44"/>
                    </a:lnTo>
                    <a:lnTo>
                      <a:pt x="90" y="44"/>
                    </a:lnTo>
                    <a:lnTo>
                      <a:pt x="92" y="44"/>
                    </a:lnTo>
                    <a:lnTo>
                      <a:pt x="92" y="42"/>
                    </a:lnTo>
                    <a:lnTo>
                      <a:pt x="92" y="40"/>
                    </a:lnTo>
                    <a:lnTo>
                      <a:pt x="94" y="38"/>
                    </a:lnTo>
                    <a:lnTo>
                      <a:pt x="92" y="36"/>
                    </a:lnTo>
                    <a:lnTo>
                      <a:pt x="94" y="34"/>
                    </a:lnTo>
                    <a:lnTo>
                      <a:pt x="94" y="36"/>
                    </a:lnTo>
                    <a:lnTo>
                      <a:pt x="96" y="36"/>
                    </a:lnTo>
                    <a:lnTo>
                      <a:pt x="98" y="36"/>
                    </a:lnTo>
                    <a:lnTo>
                      <a:pt x="98" y="38"/>
                    </a:lnTo>
                    <a:lnTo>
                      <a:pt x="100" y="38"/>
                    </a:lnTo>
                    <a:lnTo>
                      <a:pt x="102" y="38"/>
                    </a:lnTo>
                    <a:lnTo>
                      <a:pt x="104" y="40"/>
                    </a:lnTo>
                    <a:lnTo>
                      <a:pt x="105" y="42"/>
                    </a:lnTo>
                    <a:lnTo>
                      <a:pt x="109" y="40"/>
                    </a:lnTo>
                    <a:lnTo>
                      <a:pt x="109" y="38"/>
                    </a:lnTo>
                    <a:lnTo>
                      <a:pt x="111" y="36"/>
                    </a:lnTo>
                    <a:lnTo>
                      <a:pt x="109" y="36"/>
                    </a:lnTo>
                    <a:lnTo>
                      <a:pt x="109" y="34"/>
                    </a:lnTo>
                    <a:lnTo>
                      <a:pt x="111" y="34"/>
                    </a:lnTo>
                    <a:lnTo>
                      <a:pt x="113" y="34"/>
                    </a:lnTo>
                    <a:lnTo>
                      <a:pt x="115" y="34"/>
                    </a:lnTo>
                    <a:lnTo>
                      <a:pt x="113" y="32"/>
                    </a:lnTo>
                    <a:lnTo>
                      <a:pt x="115" y="30"/>
                    </a:lnTo>
                    <a:lnTo>
                      <a:pt x="115" y="32"/>
                    </a:lnTo>
                    <a:lnTo>
                      <a:pt x="117" y="32"/>
                    </a:lnTo>
                    <a:lnTo>
                      <a:pt x="117" y="30"/>
                    </a:lnTo>
                    <a:lnTo>
                      <a:pt x="117" y="28"/>
                    </a:lnTo>
                    <a:lnTo>
                      <a:pt x="119" y="28"/>
                    </a:lnTo>
                    <a:lnTo>
                      <a:pt x="121" y="28"/>
                    </a:lnTo>
                    <a:lnTo>
                      <a:pt x="121" y="26"/>
                    </a:lnTo>
                    <a:lnTo>
                      <a:pt x="121" y="28"/>
                    </a:lnTo>
                    <a:lnTo>
                      <a:pt x="123" y="28"/>
                    </a:lnTo>
                    <a:lnTo>
                      <a:pt x="121" y="26"/>
                    </a:lnTo>
                    <a:lnTo>
                      <a:pt x="123" y="26"/>
                    </a:lnTo>
                    <a:lnTo>
                      <a:pt x="123" y="25"/>
                    </a:lnTo>
                    <a:lnTo>
                      <a:pt x="125" y="25"/>
                    </a:lnTo>
                    <a:lnTo>
                      <a:pt x="123" y="25"/>
                    </a:lnTo>
                    <a:lnTo>
                      <a:pt x="125" y="25"/>
                    </a:lnTo>
                    <a:lnTo>
                      <a:pt x="123" y="23"/>
                    </a:lnTo>
                    <a:lnTo>
                      <a:pt x="125" y="23"/>
                    </a:lnTo>
                    <a:lnTo>
                      <a:pt x="123" y="21"/>
                    </a:lnTo>
                    <a:lnTo>
                      <a:pt x="123" y="23"/>
                    </a:lnTo>
                    <a:lnTo>
                      <a:pt x="123" y="21"/>
                    </a:lnTo>
                    <a:lnTo>
                      <a:pt x="125" y="21"/>
                    </a:lnTo>
                    <a:lnTo>
                      <a:pt x="125" y="19"/>
                    </a:lnTo>
                    <a:lnTo>
                      <a:pt x="127" y="19"/>
                    </a:lnTo>
                    <a:lnTo>
                      <a:pt x="127" y="17"/>
                    </a:lnTo>
                    <a:lnTo>
                      <a:pt x="129" y="17"/>
                    </a:lnTo>
                    <a:lnTo>
                      <a:pt x="130" y="13"/>
                    </a:lnTo>
                    <a:lnTo>
                      <a:pt x="132" y="13"/>
                    </a:lnTo>
                    <a:lnTo>
                      <a:pt x="132" y="11"/>
                    </a:lnTo>
                    <a:lnTo>
                      <a:pt x="136" y="5"/>
                    </a:lnTo>
                    <a:lnTo>
                      <a:pt x="138" y="5"/>
                    </a:lnTo>
                    <a:lnTo>
                      <a:pt x="138" y="3"/>
                    </a:lnTo>
                    <a:lnTo>
                      <a:pt x="140" y="3"/>
                    </a:lnTo>
                    <a:lnTo>
                      <a:pt x="142" y="3"/>
                    </a:lnTo>
                    <a:lnTo>
                      <a:pt x="142" y="1"/>
                    </a:lnTo>
                    <a:lnTo>
                      <a:pt x="142" y="0"/>
                    </a:lnTo>
                    <a:lnTo>
                      <a:pt x="148" y="3"/>
                    </a:lnTo>
                    <a:lnTo>
                      <a:pt x="148" y="5"/>
                    </a:lnTo>
                    <a:lnTo>
                      <a:pt x="150" y="5"/>
                    </a:lnTo>
                    <a:lnTo>
                      <a:pt x="154" y="5"/>
                    </a:lnTo>
                    <a:lnTo>
                      <a:pt x="154" y="7"/>
                    </a:lnTo>
                    <a:lnTo>
                      <a:pt x="154" y="9"/>
                    </a:lnTo>
                    <a:lnTo>
                      <a:pt x="155" y="9"/>
                    </a:lnTo>
                    <a:lnTo>
                      <a:pt x="157" y="11"/>
                    </a:lnTo>
                    <a:lnTo>
                      <a:pt x="157" y="13"/>
                    </a:lnTo>
                    <a:lnTo>
                      <a:pt x="159" y="13"/>
                    </a:lnTo>
                    <a:lnTo>
                      <a:pt x="161" y="15"/>
                    </a:lnTo>
                    <a:lnTo>
                      <a:pt x="159" y="19"/>
                    </a:lnTo>
                    <a:lnTo>
                      <a:pt x="157" y="19"/>
                    </a:lnTo>
                    <a:lnTo>
                      <a:pt x="157" y="21"/>
                    </a:lnTo>
                    <a:lnTo>
                      <a:pt x="163" y="26"/>
                    </a:lnTo>
                    <a:lnTo>
                      <a:pt x="167" y="3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0" name="Freeform 46"/>
              <p:cNvSpPr>
                <a:spLocks/>
              </p:cNvSpPr>
              <p:nvPr/>
            </p:nvSpPr>
            <p:spPr bwMode="auto">
              <a:xfrm>
                <a:off x="1121130" y="2240898"/>
                <a:ext cx="445642" cy="254653"/>
              </a:xfrm>
              <a:custGeom>
                <a:avLst/>
                <a:gdLst>
                  <a:gd name="T0" fmla="*/ 249 w 259"/>
                  <a:gd name="T1" fmla="*/ 92 h 148"/>
                  <a:gd name="T2" fmla="*/ 251 w 259"/>
                  <a:gd name="T3" fmla="*/ 100 h 148"/>
                  <a:gd name="T4" fmla="*/ 251 w 259"/>
                  <a:gd name="T5" fmla="*/ 109 h 148"/>
                  <a:gd name="T6" fmla="*/ 240 w 259"/>
                  <a:gd name="T7" fmla="*/ 109 h 148"/>
                  <a:gd name="T8" fmla="*/ 238 w 259"/>
                  <a:gd name="T9" fmla="*/ 115 h 148"/>
                  <a:gd name="T10" fmla="*/ 226 w 259"/>
                  <a:gd name="T11" fmla="*/ 119 h 148"/>
                  <a:gd name="T12" fmla="*/ 209 w 259"/>
                  <a:gd name="T13" fmla="*/ 123 h 148"/>
                  <a:gd name="T14" fmla="*/ 199 w 259"/>
                  <a:gd name="T15" fmla="*/ 127 h 148"/>
                  <a:gd name="T16" fmla="*/ 199 w 259"/>
                  <a:gd name="T17" fmla="*/ 131 h 148"/>
                  <a:gd name="T18" fmla="*/ 190 w 259"/>
                  <a:gd name="T19" fmla="*/ 144 h 148"/>
                  <a:gd name="T20" fmla="*/ 176 w 259"/>
                  <a:gd name="T21" fmla="*/ 140 h 148"/>
                  <a:gd name="T22" fmla="*/ 167 w 259"/>
                  <a:gd name="T23" fmla="*/ 144 h 148"/>
                  <a:gd name="T24" fmla="*/ 157 w 259"/>
                  <a:gd name="T25" fmla="*/ 131 h 148"/>
                  <a:gd name="T26" fmla="*/ 146 w 259"/>
                  <a:gd name="T27" fmla="*/ 125 h 148"/>
                  <a:gd name="T28" fmla="*/ 134 w 259"/>
                  <a:gd name="T29" fmla="*/ 140 h 148"/>
                  <a:gd name="T30" fmla="*/ 121 w 259"/>
                  <a:gd name="T31" fmla="*/ 144 h 148"/>
                  <a:gd name="T32" fmla="*/ 107 w 259"/>
                  <a:gd name="T33" fmla="*/ 148 h 148"/>
                  <a:gd name="T34" fmla="*/ 96 w 259"/>
                  <a:gd name="T35" fmla="*/ 140 h 148"/>
                  <a:gd name="T36" fmla="*/ 94 w 259"/>
                  <a:gd name="T37" fmla="*/ 131 h 148"/>
                  <a:gd name="T38" fmla="*/ 86 w 259"/>
                  <a:gd name="T39" fmla="*/ 134 h 148"/>
                  <a:gd name="T40" fmla="*/ 84 w 259"/>
                  <a:gd name="T41" fmla="*/ 129 h 148"/>
                  <a:gd name="T42" fmla="*/ 71 w 259"/>
                  <a:gd name="T43" fmla="*/ 132 h 148"/>
                  <a:gd name="T44" fmla="*/ 74 w 259"/>
                  <a:gd name="T45" fmla="*/ 123 h 148"/>
                  <a:gd name="T46" fmla="*/ 80 w 259"/>
                  <a:gd name="T47" fmla="*/ 117 h 148"/>
                  <a:gd name="T48" fmla="*/ 74 w 259"/>
                  <a:gd name="T49" fmla="*/ 115 h 148"/>
                  <a:gd name="T50" fmla="*/ 63 w 259"/>
                  <a:gd name="T51" fmla="*/ 113 h 148"/>
                  <a:gd name="T52" fmla="*/ 57 w 259"/>
                  <a:gd name="T53" fmla="*/ 109 h 148"/>
                  <a:gd name="T54" fmla="*/ 53 w 259"/>
                  <a:gd name="T55" fmla="*/ 102 h 148"/>
                  <a:gd name="T56" fmla="*/ 46 w 259"/>
                  <a:gd name="T57" fmla="*/ 92 h 148"/>
                  <a:gd name="T58" fmla="*/ 42 w 259"/>
                  <a:gd name="T59" fmla="*/ 104 h 148"/>
                  <a:gd name="T60" fmla="*/ 30 w 259"/>
                  <a:gd name="T61" fmla="*/ 104 h 148"/>
                  <a:gd name="T62" fmla="*/ 17 w 259"/>
                  <a:gd name="T63" fmla="*/ 106 h 148"/>
                  <a:gd name="T64" fmla="*/ 7 w 259"/>
                  <a:gd name="T65" fmla="*/ 100 h 148"/>
                  <a:gd name="T66" fmla="*/ 1 w 259"/>
                  <a:gd name="T67" fmla="*/ 98 h 148"/>
                  <a:gd name="T68" fmla="*/ 5 w 259"/>
                  <a:gd name="T69" fmla="*/ 86 h 148"/>
                  <a:gd name="T70" fmla="*/ 11 w 259"/>
                  <a:gd name="T71" fmla="*/ 82 h 148"/>
                  <a:gd name="T72" fmla="*/ 21 w 259"/>
                  <a:gd name="T73" fmla="*/ 82 h 148"/>
                  <a:gd name="T74" fmla="*/ 26 w 259"/>
                  <a:gd name="T75" fmla="*/ 65 h 148"/>
                  <a:gd name="T76" fmla="*/ 40 w 259"/>
                  <a:gd name="T77" fmla="*/ 59 h 148"/>
                  <a:gd name="T78" fmla="*/ 48 w 259"/>
                  <a:gd name="T79" fmla="*/ 54 h 148"/>
                  <a:gd name="T80" fmla="*/ 57 w 259"/>
                  <a:gd name="T81" fmla="*/ 46 h 148"/>
                  <a:gd name="T82" fmla="*/ 59 w 259"/>
                  <a:gd name="T83" fmla="*/ 38 h 148"/>
                  <a:gd name="T84" fmla="*/ 63 w 259"/>
                  <a:gd name="T85" fmla="*/ 31 h 148"/>
                  <a:gd name="T86" fmla="*/ 73 w 259"/>
                  <a:gd name="T87" fmla="*/ 27 h 148"/>
                  <a:gd name="T88" fmla="*/ 76 w 259"/>
                  <a:gd name="T89" fmla="*/ 17 h 148"/>
                  <a:gd name="T90" fmla="*/ 92 w 259"/>
                  <a:gd name="T91" fmla="*/ 13 h 148"/>
                  <a:gd name="T92" fmla="*/ 101 w 259"/>
                  <a:gd name="T93" fmla="*/ 17 h 148"/>
                  <a:gd name="T94" fmla="*/ 111 w 259"/>
                  <a:gd name="T95" fmla="*/ 11 h 148"/>
                  <a:gd name="T96" fmla="*/ 119 w 259"/>
                  <a:gd name="T97" fmla="*/ 2 h 148"/>
                  <a:gd name="T98" fmla="*/ 124 w 259"/>
                  <a:gd name="T99" fmla="*/ 13 h 148"/>
                  <a:gd name="T100" fmla="*/ 130 w 259"/>
                  <a:gd name="T101" fmla="*/ 23 h 148"/>
                  <a:gd name="T102" fmla="*/ 134 w 259"/>
                  <a:gd name="T103" fmla="*/ 27 h 148"/>
                  <a:gd name="T104" fmla="*/ 142 w 259"/>
                  <a:gd name="T105" fmla="*/ 27 h 148"/>
                  <a:gd name="T106" fmla="*/ 149 w 259"/>
                  <a:gd name="T107" fmla="*/ 31 h 148"/>
                  <a:gd name="T108" fmla="*/ 155 w 259"/>
                  <a:gd name="T109" fmla="*/ 36 h 148"/>
                  <a:gd name="T110" fmla="*/ 167 w 259"/>
                  <a:gd name="T111" fmla="*/ 44 h 148"/>
                  <a:gd name="T112" fmla="*/ 176 w 259"/>
                  <a:gd name="T113" fmla="*/ 56 h 148"/>
                  <a:gd name="T114" fmla="*/ 220 w 259"/>
                  <a:gd name="T115" fmla="*/ 67 h 148"/>
                  <a:gd name="T116" fmla="*/ 249 w 259"/>
                  <a:gd name="T117" fmla="*/ 5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48">
                    <a:moveTo>
                      <a:pt x="259" y="65"/>
                    </a:moveTo>
                    <a:lnTo>
                      <a:pt x="251" y="77"/>
                    </a:lnTo>
                    <a:lnTo>
                      <a:pt x="249" y="77"/>
                    </a:lnTo>
                    <a:lnTo>
                      <a:pt x="249" y="79"/>
                    </a:lnTo>
                    <a:lnTo>
                      <a:pt x="253" y="82"/>
                    </a:lnTo>
                    <a:lnTo>
                      <a:pt x="251" y="88"/>
                    </a:lnTo>
                    <a:lnTo>
                      <a:pt x="249" y="88"/>
                    </a:lnTo>
                    <a:lnTo>
                      <a:pt x="249" y="90"/>
                    </a:lnTo>
                    <a:lnTo>
                      <a:pt x="247" y="90"/>
                    </a:lnTo>
                    <a:lnTo>
                      <a:pt x="249" y="92"/>
                    </a:lnTo>
                    <a:lnTo>
                      <a:pt x="249" y="94"/>
                    </a:lnTo>
                    <a:lnTo>
                      <a:pt x="249" y="96"/>
                    </a:lnTo>
                    <a:lnTo>
                      <a:pt x="249" y="94"/>
                    </a:lnTo>
                    <a:lnTo>
                      <a:pt x="249" y="96"/>
                    </a:lnTo>
                    <a:lnTo>
                      <a:pt x="251" y="98"/>
                    </a:lnTo>
                    <a:lnTo>
                      <a:pt x="253" y="98"/>
                    </a:lnTo>
                    <a:lnTo>
                      <a:pt x="255" y="98"/>
                    </a:lnTo>
                    <a:lnTo>
                      <a:pt x="253" y="98"/>
                    </a:lnTo>
                    <a:lnTo>
                      <a:pt x="253" y="100"/>
                    </a:lnTo>
                    <a:lnTo>
                      <a:pt x="251" y="100"/>
                    </a:lnTo>
                    <a:lnTo>
                      <a:pt x="251" y="102"/>
                    </a:lnTo>
                    <a:lnTo>
                      <a:pt x="253" y="102"/>
                    </a:lnTo>
                    <a:lnTo>
                      <a:pt x="251" y="104"/>
                    </a:lnTo>
                    <a:lnTo>
                      <a:pt x="253" y="104"/>
                    </a:lnTo>
                    <a:lnTo>
                      <a:pt x="251" y="104"/>
                    </a:lnTo>
                    <a:lnTo>
                      <a:pt x="253" y="104"/>
                    </a:lnTo>
                    <a:lnTo>
                      <a:pt x="253" y="106"/>
                    </a:lnTo>
                    <a:lnTo>
                      <a:pt x="251" y="106"/>
                    </a:lnTo>
                    <a:lnTo>
                      <a:pt x="251" y="107"/>
                    </a:lnTo>
                    <a:lnTo>
                      <a:pt x="251" y="109"/>
                    </a:lnTo>
                    <a:lnTo>
                      <a:pt x="251" y="111"/>
                    </a:lnTo>
                    <a:lnTo>
                      <a:pt x="251" y="113"/>
                    </a:lnTo>
                    <a:lnTo>
                      <a:pt x="249" y="113"/>
                    </a:lnTo>
                    <a:lnTo>
                      <a:pt x="247" y="113"/>
                    </a:lnTo>
                    <a:lnTo>
                      <a:pt x="245" y="113"/>
                    </a:lnTo>
                    <a:lnTo>
                      <a:pt x="245" y="111"/>
                    </a:lnTo>
                    <a:lnTo>
                      <a:pt x="244" y="111"/>
                    </a:lnTo>
                    <a:lnTo>
                      <a:pt x="244" y="109"/>
                    </a:lnTo>
                    <a:lnTo>
                      <a:pt x="242" y="109"/>
                    </a:lnTo>
                    <a:lnTo>
                      <a:pt x="240" y="109"/>
                    </a:lnTo>
                    <a:lnTo>
                      <a:pt x="242" y="109"/>
                    </a:lnTo>
                    <a:lnTo>
                      <a:pt x="240" y="109"/>
                    </a:lnTo>
                    <a:lnTo>
                      <a:pt x="240" y="111"/>
                    </a:lnTo>
                    <a:lnTo>
                      <a:pt x="238" y="111"/>
                    </a:lnTo>
                    <a:lnTo>
                      <a:pt x="240" y="111"/>
                    </a:lnTo>
                    <a:lnTo>
                      <a:pt x="240" y="113"/>
                    </a:lnTo>
                    <a:lnTo>
                      <a:pt x="238" y="113"/>
                    </a:lnTo>
                    <a:lnTo>
                      <a:pt x="238" y="115"/>
                    </a:lnTo>
                    <a:lnTo>
                      <a:pt x="240" y="115"/>
                    </a:lnTo>
                    <a:lnTo>
                      <a:pt x="238" y="115"/>
                    </a:lnTo>
                    <a:lnTo>
                      <a:pt x="238" y="117"/>
                    </a:lnTo>
                    <a:lnTo>
                      <a:pt x="236" y="117"/>
                    </a:lnTo>
                    <a:lnTo>
                      <a:pt x="234" y="117"/>
                    </a:lnTo>
                    <a:lnTo>
                      <a:pt x="234" y="115"/>
                    </a:lnTo>
                    <a:lnTo>
                      <a:pt x="232" y="113"/>
                    </a:lnTo>
                    <a:lnTo>
                      <a:pt x="232" y="115"/>
                    </a:lnTo>
                    <a:lnTo>
                      <a:pt x="230" y="115"/>
                    </a:lnTo>
                    <a:lnTo>
                      <a:pt x="230" y="117"/>
                    </a:lnTo>
                    <a:lnTo>
                      <a:pt x="228" y="117"/>
                    </a:lnTo>
                    <a:lnTo>
                      <a:pt x="226" y="119"/>
                    </a:lnTo>
                    <a:lnTo>
                      <a:pt x="224" y="123"/>
                    </a:lnTo>
                    <a:lnTo>
                      <a:pt x="222" y="123"/>
                    </a:lnTo>
                    <a:lnTo>
                      <a:pt x="220" y="121"/>
                    </a:lnTo>
                    <a:lnTo>
                      <a:pt x="219" y="121"/>
                    </a:lnTo>
                    <a:lnTo>
                      <a:pt x="217" y="121"/>
                    </a:lnTo>
                    <a:lnTo>
                      <a:pt x="213" y="121"/>
                    </a:lnTo>
                    <a:lnTo>
                      <a:pt x="215" y="119"/>
                    </a:lnTo>
                    <a:lnTo>
                      <a:pt x="213" y="119"/>
                    </a:lnTo>
                    <a:lnTo>
                      <a:pt x="211" y="121"/>
                    </a:lnTo>
                    <a:lnTo>
                      <a:pt x="209" y="123"/>
                    </a:lnTo>
                    <a:lnTo>
                      <a:pt x="207" y="123"/>
                    </a:lnTo>
                    <a:lnTo>
                      <a:pt x="207" y="125"/>
                    </a:lnTo>
                    <a:lnTo>
                      <a:pt x="207" y="127"/>
                    </a:lnTo>
                    <a:lnTo>
                      <a:pt x="207" y="129"/>
                    </a:lnTo>
                    <a:lnTo>
                      <a:pt x="205" y="129"/>
                    </a:lnTo>
                    <a:lnTo>
                      <a:pt x="203" y="129"/>
                    </a:lnTo>
                    <a:lnTo>
                      <a:pt x="201" y="127"/>
                    </a:lnTo>
                    <a:lnTo>
                      <a:pt x="201" y="129"/>
                    </a:lnTo>
                    <a:lnTo>
                      <a:pt x="201" y="127"/>
                    </a:lnTo>
                    <a:lnTo>
                      <a:pt x="199" y="127"/>
                    </a:lnTo>
                    <a:lnTo>
                      <a:pt x="199" y="129"/>
                    </a:lnTo>
                    <a:lnTo>
                      <a:pt x="197" y="131"/>
                    </a:lnTo>
                    <a:lnTo>
                      <a:pt x="199" y="131"/>
                    </a:lnTo>
                    <a:lnTo>
                      <a:pt x="199" y="129"/>
                    </a:lnTo>
                    <a:lnTo>
                      <a:pt x="199" y="131"/>
                    </a:lnTo>
                    <a:lnTo>
                      <a:pt x="199" y="129"/>
                    </a:lnTo>
                    <a:lnTo>
                      <a:pt x="201" y="131"/>
                    </a:lnTo>
                    <a:lnTo>
                      <a:pt x="199" y="131"/>
                    </a:lnTo>
                    <a:lnTo>
                      <a:pt x="199" y="132"/>
                    </a:lnTo>
                    <a:lnTo>
                      <a:pt x="199" y="131"/>
                    </a:lnTo>
                    <a:lnTo>
                      <a:pt x="197" y="131"/>
                    </a:lnTo>
                    <a:lnTo>
                      <a:pt x="197" y="132"/>
                    </a:lnTo>
                    <a:lnTo>
                      <a:pt x="197" y="134"/>
                    </a:lnTo>
                    <a:lnTo>
                      <a:pt x="195" y="136"/>
                    </a:lnTo>
                    <a:lnTo>
                      <a:pt x="195" y="138"/>
                    </a:lnTo>
                    <a:lnTo>
                      <a:pt x="194" y="138"/>
                    </a:lnTo>
                    <a:lnTo>
                      <a:pt x="192" y="138"/>
                    </a:lnTo>
                    <a:lnTo>
                      <a:pt x="192" y="140"/>
                    </a:lnTo>
                    <a:lnTo>
                      <a:pt x="190" y="142"/>
                    </a:lnTo>
                    <a:lnTo>
                      <a:pt x="190" y="144"/>
                    </a:lnTo>
                    <a:lnTo>
                      <a:pt x="188" y="144"/>
                    </a:lnTo>
                    <a:lnTo>
                      <a:pt x="190" y="144"/>
                    </a:lnTo>
                    <a:lnTo>
                      <a:pt x="188" y="144"/>
                    </a:lnTo>
                    <a:lnTo>
                      <a:pt x="190" y="146"/>
                    </a:lnTo>
                    <a:lnTo>
                      <a:pt x="188" y="146"/>
                    </a:lnTo>
                    <a:lnTo>
                      <a:pt x="186" y="144"/>
                    </a:lnTo>
                    <a:lnTo>
                      <a:pt x="184" y="144"/>
                    </a:lnTo>
                    <a:lnTo>
                      <a:pt x="180" y="142"/>
                    </a:lnTo>
                    <a:lnTo>
                      <a:pt x="178" y="140"/>
                    </a:lnTo>
                    <a:lnTo>
                      <a:pt x="176" y="140"/>
                    </a:lnTo>
                    <a:lnTo>
                      <a:pt x="174" y="140"/>
                    </a:lnTo>
                    <a:lnTo>
                      <a:pt x="174" y="138"/>
                    </a:lnTo>
                    <a:lnTo>
                      <a:pt x="172" y="138"/>
                    </a:lnTo>
                    <a:lnTo>
                      <a:pt x="172" y="140"/>
                    </a:lnTo>
                    <a:lnTo>
                      <a:pt x="171" y="140"/>
                    </a:lnTo>
                    <a:lnTo>
                      <a:pt x="171" y="142"/>
                    </a:lnTo>
                    <a:lnTo>
                      <a:pt x="169" y="140"/>
                    </a:lnTo>
                    <a:lnTo>
                      <a:pt x="169" y="142"/>
                    </a:lnTo>
                    <a:lnTo>
                      <a:pt x="167" y="142"/>
                    </a:lnTo>
                    <a:lnTo>
                      <a:pt x="167" y="144"/>
                    </a:lnTo>
                    <a:lnTo>
                      <a:pt x="165" y="144"/>
                    </a:lnTo>
                    <a:lnTo>
                      <a:pt x="163" y="142"/>
                    </a:lnTo>
                    <a:lnTo>
                      <a:pt x="163" y="140"/>
                    </a:lnTo>
                    <a:lnTo>
                      <a:pt x="163" y="138"/>
                    </a:lnTo>
                    <a:lnTo>
                      <a:pt x="163" y="136"/>
                    </a:lnTo>
                    <a:lnTo>
                      <a:pt x="165" y="136"/>
                    </a:lnTo>
                    <a:lnTo>
                      <a:pt x="165" y="134"/>
                    </a:lnTo>
                    <a:lnTo>
                      <a:pt x="159" y="132"/>
                    </a:lnTo>
                    <a:lnTo>
                      <a:pt x="159" y="131"/>
                    </a:lnTo>
                    <a:lnTo>
                      <a:pt x="157" y="131"/>
                    </a:lnTo>
                    <a:lnTo>
                      <a:pt x="159" y="127"/>
                    </a:lnTo>
                    <a:lnTo>
                      <a:pt x="155" y="125"/>
                    </a:lnTo>
                    <a:lnTo>
                      <a:pt x="153" y="125"/>
                    </a:lnTo>
                    <a:lnTo>
                      <a:pt x="153" y="123"/>
                    </a:lnTo>
                    <a:lnTo>
                      <a:pt x="151" y="125"/>
                    </a:lnTo>
                    <a:lnTo>
                      <a:pt x="151" y="123"/>
                    </a:lnTo>
                    <a:lnTo>
                      <a:pt x="149" y="123"/>
                    </a:lnTo>
                    <a:lnTo>
                      <a:pt x="147" y="123"/>
                    </a:lnTo>
                    <a:lnTo>
                      <a:pt x="147" y="125"/>
                    </a:lnTo>
                    <a:lnTo>
                      <a:pt x="146" y="125"/>
                    </a:lnTo>
                    <a:lnTo>
                      <a:pt x="144" y="127"/>
                    </a:lnTo>
                    <a:lnTo>
                      <a:pt x="144" y="129"/>
                    </a:lnTo>
                    <a:lnTo>
                      <a:pt x="142" y="129"/>
                    </a:lnTo>
                    <a:lnTo>
                      <a:pt x="142" y="132"/>
                    </a:lnTo>
                    <a:lnTo>
                      <a:pt x="142" y="134"/>
                    </a:lnTo>
                    <a:lnTo>
                      <a:pt x="142" y="136"/>
                    </a:lnTo>
                    <a:lnTo>
                      <a:pt x="140" y="136"/>
                    </a:lnTo>
                    <a:lnTo>
                      <a:pt x="138" y="138"/>
                    </a:lnTo>
                    <a:lnTo>
                      <a:pt x="136" y="140"/>
                    </a:lnTo>
                    <a:lnTo>
                      <a:pt x="134" y="140"/>
                    </a:lnTo>
                    <a:lnTo>
                      <a:pt x="134" y="142"/>
                    </a:lnTo>
                    <a:lnTo>
                      <a:pt x="132" y="142"/>
                    </a:lnTo>
                    <a:lnTo>
                      <a:pt x="130" y="142"/>
                    </a:lnTo>
                    <a:lnTo>
                      <a:pt x="128" y="142"/>
                    </a:lnTo>
                    <a:lnTo>
                      <a:pt x="128" y="140"/>
                    </a:lnTo>
                    <a:lnTo>
                      <a:pt x="126" y="142"/>
                    </a:lnTo>
                    <a:lnTo>
                      <a:pt x="124" y="142"/>
                    </a:lnTo>
                    <a:lnTo>
                      <a:pt x="122" y="144"/>
                    </a:lnTo>
                    <a:lnTo>
                      <a:pt x="122" y="146"/>
                    </a:lnTo>
                    <a:lnTo>
                      <a:pt x="121" y="144"/>
                    </a:lnTo>
                    <a:lnTo>
                      <a:pt x="121" y="146"/>
                    </a:lnTo>
                    <a:lnTo>
                      <a:pt x="119" y="146"/>
                    </a:lnTo>
                    <a:lnTo>
                      <a:pt x="117" y="148"/>
                    </a:lnTo>
                    <a:lnTo>
                      <a:pt x="117" y="146"/>
                    </a:lnTo>
                    <a:lnTo>
                      <a:pt x="115" y="148"/>
                    </a:lnTo>
                    <a:lnTo>
                      <a:pt x="115" y="146"/>
                    </a:lnTo>
                    <a:lnTo>
                      <a:pt x="113" y="146"/>
                    </a:lnTo>
                    <a:lnTo>
                      <a:pt x="111" y="148"/>
                    </a:lnTo>
                    <a:lnTo>
                      <a:pt x="109" y="148"/>
                    </a:lnTo>
                    <a:lnTo>
                      <a:pt x="107" y="148"/>
                    </a:lnTo>
                    <a:lnTo>
                      <a:pt x="105" y="148"/>
                    </a:lnTo>
                    <a:lnTo>
                      <a:pt x="103" y="148"/>
                    </a:lnTo>
                    <a:lnTo>
                      <a:pt x="101" y="146"/>
                    </a:lnTo>
                    <a:lnTo>
                      <a:pt x="99" y="146"/>
                    </a:lnTo>
                    <a:lnTo>
                      <a:pt x="99" y="144"/>
                    </a:lnTo>
                    <a:lnTo>
                      <a:pt x="98" y="146"/>
                    </a:lnTo>
                    <a:lnTo>
                      <a:pt x="98" y="144"/>
                    </a:lnTo>
                    <a:lnTo>
                      <a:pt x="98" y="142"/>
                    </a:lnTo>
                    <a:lnTo>
                      <a:pt x="98" y="140"/>
                    </a:lnTo>
                    <a:lnTo>
                      <a:pt x="96" y="140"/>
                    </a:lnTo>
                    <a:lnTo>
                      <a:pt x="98" y="140"/>
                    </a:lnTo>
                    <a:lnTo>
                      <a:pt x="96" y="138"/>
                    </a:lnTo>
                    <a:lnTo>
                      <a:pt x="96" y="136"/>
                    </a:lnTo>
                    <a:lnTo>
                      <a:pt x="98" y="134"/>
                    </a:lnTo>
                    <a:lnTo>
                      <a:pt x="96" y="134"/>
                    </a:lnTo>
                    <a:lnTo>
                      <a:pt x="96" y="132"/>
                    </a:lnTo>
                    <a:lnTo>
                      <a:pt x="94" y="132"/>
                    </a:lnTo>
                    <a:lnTo>
                      <a:pt x="96" y="131"/>
                    </a:lnTo>
                    <a:lnTo>
                      <a:pt x="94" y="132"/>
                    </a:lnTo>
                    <a:lnTo>
                      <a:pt x="94" y="131"/>
                    </a:lnTo>
                    <a:lnTo>
                      <a:pt x="96" y="131"/>
                    </a:lnTo>
                    <a:lnTo>
                      <a:pt x="96" y="129"/>
                    </a:lnTo>
                    <a:lnTo>
                      <a:pt x="94" y="129"/>
                    </a:lnTo>
                    <a:lnTo>
                      <a:pt x="94" y="131"/>
                    </a:lnTo>
                    <a:lnTo>
                      <a:pt x="92" y="131"/>
                    </a:lnTo>
                    <a:lnTo>
                      <a:pt x="90" y="131"/>
                    </a:lnTo>
                    <a:lnTo>
                      <a:pt x="88" y="131"/>
                    </a:lnTo>
                    <a:lnTo>
                      <a:pt x="88" y="132"/>
                    </a:lnTo>
                    <a:lnTo>
                      <a:pt x="86" y="132"/>
                    </a:lnTo>
                    <a:lnTo>
                      <a:pt x="86" y="134"/>
                    </a:lnTo>
                    <a:lnTo>
                      <a:pt x="84" y="136"/>
                    </a:lnTo>
                    <a:lnTo>
                      <a:pt x="82" y="136"/>
                    </a:lnTo>
                    <a:lnTo>
                      <a:pt x="80" y="134"/>
                    </a:lnTo>
                    <a:lnTo>
                      <a:pt x="82" y="132"/>
                    </a:lnTo>
                    <a:lnTo>
                      <a:pt x="84" y="131"/>
                    </a:lnTo>
                    <a:lnTo>
                      <a:pt x="84" y="129"/>
                    </a:lnTo>
                    <a:lnTo>
                      <a:pt x="86" y="127"/>
                    </a:lnTo>
                    <a:lnTo>
                      <a:pt x="86" y="125"/>
                    </a:lnTo>
                    <a:lnTo>
                      <a:pt x="84" y="127"/>
                    </a:lnTo>
                    <a:lnTo>
                      <a:pt x="84" y="129"/>
                    </a:lnTo>
                    <a:lnTo>
                      <a:pt x="84" y="131"/>
                    </a:lnTo>
                    <a:lnTo>
                      <a:pt x="82" y="131"/>
                    </a:lnTo>
                    <a:lnTo>
                      <a:pt x="82" y="132"/>
                    </a:lnTo>
                    <a:lnTo>
                      <a:pt x="80" y="132"/>
                    </a:lnTo>
                    <a:lnTo>
                      <a:pt x="80" y="134"/>
                    </a:lnTo>
                    <a:lnTo>
                      <a:pt x="78" y="134"/>
                    </a:lnTo>
                    <a:lnTo>
                      <a:pt x="78" y="136"/>
                    </a:lnTo>
                    <a:lnTo>
                      <a:pt x="74" y="134"/>
                    </a:lnTo>
                    <a:lnTo>
                      <a:pt x="71" y="134"/>
                    </a:lnTo>
                    <a:lnTo>
                      <a:pt x="71" y="132"/>
                    </a:lnTo>
                    <a:lnTo>
                      <a:pt x="71" y="131"/>
                    </a:lnTo>
                    <a:lnTo>
                      <a:pt x="69" y="129"/>
                    </a:lnTo>
                    <a:lnTo>
                      <a:pt x="71" y="129"/>
                    </a:lnTo>
                    <a:lnTo>
                      <a:pt x="71" y="127"/>
                    </a:lnTo>
                    <a:lnTo>
                      <a:pt x="73" y="127"/>
                    </a:lnTo>
                    <a:lnTo>
                      <a:pt x="73" y="125"/>
                    </a:lnTo>
                    <a:lnTo>
                      <a:pt x="74" y="125"/>
                    </a:lnTo>
                    <a:lnTo>
                      <a:pt x="74" y="123"/>
                    </a:lnTo>
                    <a:lnTo>
                      <a:pt x="73" y="123"/>
                    </a:lnTo>
                    <a:lnTo>
                      <a:pt x="74" y="123"/>
                    </a:lnTo>
                    <a:lnTo>
                      <a:pt x="74" y="121"/>
                    </a:lnTo>
                    <a:lnTo>
                      <a:pt x="76" y="121"/>
                    </a:lnTo>
                    <a:lnTo>
                      <a:pt x="76" y="119"/>
                    </a:lnTo>
                    <a:lnTo>
                      <a:pt x="78" y="119"/>
                    </a:lnTo>
                    <a:lnTo>
                      <a:pt x="76" y="119"/>
                    </a:lnTo>
                    <a:lnTo>
                      <a:pt x="78" y="119"/>
                    </a:lnTo>
                    <a:lnTo>
                      <a:pt x="76" y="119"/>
                    </a:lnTo>
                    <a:lnTo>
                      <a:pt x="78" y="119"/>
                    </a:lnTo>
                    <a:lnTo>
                      <a:pt x="78" y="117"/>
                    </a:lnTo>
                    <a:lnTo>
                      <a:pt x="80" y="117"/>
                    </a:lnTo>
                    <a:lnTo>
                      <a:pt x="80" y="115"/>
                    </a:lnTo>
                    <a:lnTo>
                      <a:pt x="78" y="115"/>
                    </a:lnTo>
                    <a:lnTo>
                      <a:pt x="78" y="113"/>
                    </a:lnTo>
                    <a:lnTo>
                      <a:pt x="80" y="113"/>
                    </a:lnTo>
                    <a:lnTo>
                      <a:pt x="78" y="113"/>
                    </a:lnTo>
                    <a:lnTo>
                      <a:pt x="78" y="111"/>
                    </a:lnTo>
                    <a:lnTo>
                      <a:pt x="76" y="111"/>
                    </a:lnTo>
                    <a:lnTo>
                      <a:pt x="76" y="113"/>
                    </a:lnTo>
                    <a:lnTo>
                      <a:pt x="74" y="113"/>
                    </a:lnTo>
                    <a:lnTo>
                      <a:pt x="74" y="115"/>
                    </a:lnTo>
                    <a:lnTo>
                      <a:pt x="74" y="113"/>
                    </a:lnTo>
                    <a:lnTo>
                      <a:pt x="73" y="113"/>
                    </a:lnTo>
                    <a:lnTo>
                      <a:pt x="71" y="113"/>
                    </a:lnTo>
                    <a:lnTo>
                      <a:pt x="69" y="111"/>
                    </a:lnTo>
                    <a:lnTo>
                      <a:pt x="67" y="111"/>
                    </a:lnTo>
                    <a:lnTo>
                      <a:pt x="69" y="111"/>
                    </a:lnTo>
                    <a:lnTo>
                      <a:pt x="67" y="111"/>
                    </a:lnTo>
                    <a:lnTo>
                      <a:pt x="65" y="111"/>
                    </a:lnTo>
                    <a:lnTo>
                      <a:pt x="63" y="111"/>
                    </a:lnTo>
                    <a:lnTo>
                      <a:pt x="63" y="113"/>
                    </a:lnTo>
                    <a:lnTo>
                      <a:pt x="63" y="111"/>
                    </a:lnTo>
                    <a:lnTo>
                      <a:pt x="61" y="111"/>
                    </a:lnTo>
                    <a:lnTo>
                      <a:pt x="61" y="113"/>
                    </a:lnTo>
                    <a:lnTo>
                      <a:pt x="61" y="111"/>
                    </a:lnTo>
                    <a:lnTo>
                      <a:pt x="59" y="111"/>
                    </a:lnTo>
                    <a:lnTo>
                      <a:pt x="57" y="111"/>
                    </a:lnTo>
                    <a:lnTo>
                      <a:pt x="59" y="111"/>
                    </a:lnTo>
                    <a:lnTo>
                      <a:pt x="57" y="109"/>
                    </a:lnTo>
                    <a:lnTo>
                      <a:pt x="57" y="111"/>
                    </a:lnTo>
                    <a:lnTo>
                      <a:pt x="57" y="109"/>
                    </a:lnTo>
                    <a:lnTo>
                      <a:pt x="55" y="109"/>
                    </a:lnTo>
                    <a:lnTo>
                      <a:pt x="57" y="107"/>
                    </a:lnTo>
                    <a:lnTo>
                      <a:pt x="55" y="107"/>
                    </a:lnTo>
                    <a:lnTo>
                      <a:pt x="57" y="107"/>
                    </a:lnTo>
                    <a:lnTo>
                      <a:pt x="55" y="107"/>
                    </a:lnTo>
                    <a:lnTo>
                      <a:pt x="53" y="106"/>
                    </a:lnTo>
                    <a:lnTo>
                      <a:pt x="55" y="106"/>
                    </a:lnTo>
                    <a:lnTo>
                      <a:pt x="55" y="104"/>
                    </a:lnTo>
                    <a:lnTo>
                      <a:pt x="53" y="104"/>
                    </a:lnTo>
                    <a:lnTo>
                      <a:pt x="53" y="102"/>
                    </a:lnTo>
                    <a:lnTo>
                      <a:pt x="53" y="100"/>
                    </a:lnTo>
                    <a:lnTo>
                      <a:pt x="53" y="98"/>
                    </a:lnTo>
                    <a:lnTo>
                      <a:pt x="53" y="96"/>
                    </a:lnTo>
                    <a:lnTo>
                      <a:pt x="51" y="96"/>
                    </a:lnTo>
                    <a:lnTo>
                      <a:pt x="51" y="94"/>
                    </a:lnTo>
                    <a:lnTo>
                      <a:pt x="49" y="92"/>
                    </a:lnTo>
                    <a:lnTo>
                      <a:pt x="49" y="90"/>
                    </a:lnTo>
                    <a:lnTo>
                      <a:pt x="48" y="90"/>
                    </a:lnTo>
                    <a:lnTo>
                      <a:pt x="48" y="92"/>
                    </a:lnTo>
                    <a:lnTo>
                      <a:pt x="46" y="92"/>
                    </a:lnTo>
                    <a:lnTo>
                      <a:pt x="46" y="94"/>
                    </a:lnTo>
                    <a:lnTo>
                      <a:pt x="46" y="96"/>
                    </a:lnTo>
                    <a:lnTo>
                      <a:pt x="44" y="96"/>
                    </a:lnTo>
                    <a:lnTo>
                      <a:pt x="44" y="98"/>
                    </a:lnTo>
                    <a:lnTo>
                      <a:pt x="44" y="100"/>
                    </a:lnTo>
                    <a:lnTo>
                      <a:pt x="42" y="100"/>
                    </a:lnTo>
                    <a:lnTo>
                      <a:pt x="42" y="102"/>
                    </a:lnTo>
                    <a:lnTo>
                      <a:pt x="40" y="102"/>
                    </a:lnTo>
                    <a:lnTo>
                      <a:pt x="42" y="102"/>
                    </a:lnTo>
                    <a:lnTo>
                      <a:pt x="42" y="104"/>
                    </a:lnTo>
                    <a:lnTo>
                      <a:pt x="40" y="104"/>
                    </a:lnTo>
                    <a:lnTo>
                      <a:pt x="40" y="106"/>
                    </a:lnTo>
                    <a:lnTo>
                      <a:pt x="38" y="106"/>
                    </a:lnTo>
                    <a:lnTo>
                      <a:pt x="36" y="106"/>
                    </a:lnTo>
                    <a:lnTo>
                      <a:pt x="36" y="104"/>
                    </a:lnTo>
                    <a:lnTo>
                      <a:pt x="34" y="104"/>
                    </a:lnTo>
                    <a:lnTo>
                      <a:pt x="32" y="104"/>
                    </a:lnTo>
                    <a:lnTo>
                      <a:pt x="32" y="106"/>
                    </a:lnTo>
                    <a:lnTo>
                      <a:pt x="30" y="106"/>
                    </a:lnTo>
                    <a:lnTo>
                      <a:pt x="30" y="104"/>
                    </a:lnTo>
                    <a:lnTo>
                      <a:pt x="28" y="104"/>
                    </a:lnTo>
                    <a:lnTo>
                      <a:pt x="26" y="104"/>
                    </a:lnTo>
                    <a:lnTo>
                      <a:pt x="25" y="104"/>
                    </a:lnTo>
                    <a:lnTo>
                      <a:pt x="25" y="102"/>
                    </a:lnTo>
                    <a:lnTo>
                      <a:pt x="25" y="104"/>
                    </a:lnTo>
                    <a:lnTo>
                      <a:pt x="23" y="104"/>
                    </a:lnTo>
                    <a:lnTo>
                      <a:pt x="21" y="104"/>
                    </a:lnTo>
                    <a:lnTo>
                      <a:pt x="19" y="104"/>
                    </a:lnTo>
                    <a:lnTo>
                      <a:pt x="19" y="106"/>
                    </a:lnTo>
                    <a:lnTo>
                      <a:pt x="17" y="106"/>
                    </a:lnTo>
                    <a:lnTo>
                      <a:pt x="17" y="104"/>
                    </a:lnTo>
                    <a:lnTo>
                      <a:pt x="15" y="104"/>
                    </a:lnTo>
                    <a:lnTo>
                      <a:pt x="15" y="102"/>
                    </a:lnTo>
                    <a:lnTo>
                      <a:pt x="13" y="102"/>
                    </a:lnTo>
                    <a:lnTo>
                      <a:pt x="13" y="100"/>
                    </a:lnTo>
                    <a:lnTo>
                      <a:pt x="13" y="102"/>
                    </a:lnTo>
                    <a:lnTo>
                      <a:pt x="11" y="102"/>
                    </a:lnTo>
                    <a:lnTo>
                      <a:pt x="11" y="100"/>
                    </a:lnTo>
                    <a:lnTo>
                      <a:pt x="9" y="100"/>
                    </a:lnTo>
                    <a:lnTo>
                      <a:pt x="7" y="100"/>
                    </a:lnTo>
                    <a:lnTo>
                      <a:pt x="7" y="102"/>
                    </a:lnTo>
                    <a:lnTo>
                      <a:pt x="7" y="100"/>
                    </a:lnTo>
                    <a:lnTo>
                      <a:pt x="5" y="100"/>
                    </a:lnTo>
                    <a:lnTo>
                      <a:pt x="5" y="98"/>
                    </a:lnTo>
                    <a:lnTo>
                      <a:pt x="3" y="98"/>
                    </a:lnTo>
                    <a:lnTo>
                      <a:pt x="1" y="98"/>
                    </a:lnTo>
                    <a:lnTo>
                      <a:pt x="1" y="100"/>
                    </a:lnTo>
                    <a:lnTo>
                      <a:pt x="1" y="98"/>
                    </a:lnTo>
                    <a:lnTo>
                      <a:pt x="1" y="100"/>
                    </a:lnTo>
                    <a:lnTo>
                      <a:pt x="1" y="98"/>
                    </a:lnTo>
                    <a:lnTo>
                      <a:pt x="0" y="98"/>
                    </a:lnTo>
                    <a:lnTo>
                      <a:pt x="0" y="96"/>
                    </a:lnTo>
                    <a:lnTo>
                      <a:pt x="1" y="96"/>
                    </a:lnTo>
                    <a:lnTo>
                      <a:pt x="1" y="94"/>
                    </a:lnTo>
                    <a:lnTo>
                      <a:pt x="3" y="94"/>
                    </a:lnTo>
                    <a:lnTo>
                      <a:pt x="3" y="92"/>
                    </a:lnTo>
                    <a:lnTo>
                      <a:pt x="3" y="90"/>
                    </a:lnTo>
                    <a:lnTo>
                      <a:pt x="5" y="90"/>
                    </a:lnTo>
                    <a:lnTo>
                      <a:pt x="5" y="88"/>
                    </a:lnTo>
                    <a:lnTo>
                      <a:pt x="5" y="86"/>
                    </a:lnTo>
                    <a:lnTo>
                      <a:pt x="7" y="86"/>
                    </a:lnTo>
                    <a:lnTo>
                      <a:pt x="7" y="84"/>
                    </a:lnTo>
                    <a:lnTo>
                      <a:pt x="9" y="84"/>
                    </a:lnTo>
                    <a:lnTo>
                      <a:pt x="9" y="86"/>
                    </a:lnTo>
                    <a:lnTo>
                      <a:pt x="11" y="84"/>
                    </a:lnTo>
                    <a:lnTo>
                      <a:pt x="9" y="84"/>
                    </a:lnTo>
                    <a:lnTo>
                      <a:pt x="11" y="84"/>
                    </a:lnTo>
                    <a:lnTo>
                      <a:pt x="9" y="84"/>
                    </a:lnTo>
                    <a:lnTo>
                      <a:pt x="9" y="82"/>
                    </a:lnTo>
                    <a:lnTo>
                      <a:pt x="11" y="82"/>
                    </a:lnTo>
                    <a:lnTo>
                      <a:pt x="13" y="82"/>
                    </a:lnTo>
                    <a:lnTo>
                      <a:pt x="13" y="81"/>
                    </a:lnTo>
                    <a:lnTo>
                      <a:pt x="13" y="82"/>
                    </a:lnTo>
                    <a:lnTo>
                      <a:pt x="15" y="82"/>
                    </a:lnTo>
                    <a:lnTo>
                      <a:pt x="13" y="82"/>
                    </a:lnTo>
                    <a:lnTo>
                      <a:pt x="15" y="82"/>
                    </a:lnTo>
                    <a:lnTo>
                      <a:pt x="15" y="84"/>
                    </a:lnTo>
                    <a:lnTo>
                      <a:pt x="17" y="84"/>
                    </a:lnTo>
                    <a:lnTo>
                      <a:pt x="19" y="82"/>
                    </a:lnTo>
                    <a:lnTo>
                      <a:pt x="21" y="82"/>
                    </a:lnTo>
                    <a:lnTo>
                      <a:pt x="21" y="81"/>
                    </a:lnTo>
                    <a:lnTo>
                      <a:pt x="21" y="77"/>
                    </a:lnTo>
                    <a:lnTo>
                      <a:pt x="23" y="77"/>
                    </a:lnTo>
                    <a:lnTo>
                      <a:pt x="23" y="75"/>
                    </a:lnTo>
                    <a:lnTo>
                      <a:pt x="23" y="73"/>
                    </a:lnTo>
                    <a:lnTo>
                      <a:pt x="23" y="71"/>
                    </a:lnTo>
                    <a:lnTo>
                      <a:pt x="25" y="71"/>
                    </a:lnTo>
                    <a:lnTo>
                      <a:pt x="25" y="69"/>
                    </a:lnTo>
                    <a:lnTo>
                      <a:pt x="26" y="67"/>
                    </a:lnTo>
                    <a:lnTo>
                      <a:pt x="26" y="65"/>
                    </a:lnTo>
                    <a:lnTo>
                      <a:pt x="28" y="65"/>
                    </a:lnTo>
                    <a:lnTo>
                      <a:pt x="28" y="63"/>
                    </a:lnTo>
                    <a:lnTo>
                      <a:pt x="30" y="61"/>
                    </a:lnTo>
                    <a:lnTo>
                      <a:pt x="32" y="61"/>
                    </a:lnTo>
                    <a:lnTo>
                      <a:pt x="34" y="61"/>
                    </a:lnTo>
                    <a:lnTo>
                      <a:pt x="36" y="59"/>
                    </a:lnTo>
                    <a:lnTo>
                      <a:pt x="36" y="57"/>
                    </a:lnTo>
                    <a:lnTo>
                      <a:pt x="38" y="57"/>
                    </a:lnTo>
                    <a:lnTo>
                      <a:pt x="38" y="59"/>
                    </a:lnTo>
                    <a:lnTo>
                      <a:pt x="40" y="59"/>
                    </a:lnTo>
                    <a:lnTo>
                      <a:pt x="40" y="57"/>
                    </a:lnTo>
                    <a:lnTo>
                      <a:pt x="42" y="57"/>
                    </a:lnTo>
                    <a:lnTo>
                      <a:pt x="40" y="57"/>
                    </a:lnTo>
                    <a:lnTo>
                      <a:pt x="42" y="57"/>
                    </a:lnTo>
                    <a:lnTo>
                      <a:pt x="42" y="56"/>
                    </a:lnTo>
                    <a:lnTo>
                      <a:pt x="44" y="56"/>
                    </a:lnTo>
                    <a:lnTo>
                      <a:pt x="44" y="54"/>
                    </a:lnTo>
                    <a:lnTo>
                      <a:pt x="46" y="52"/>
                    </a:lnTo>
                    <a:lnTo>
                      <a:pt x="46" y="54"/>
                    </a:lnTo>
                    <a:lnTo>
                      <a:pt x="48" y="54"/>
                    </a:lnTo>
                    <a:lnTo>
                      <a:pt x="48" y="52"/>
                    </a:lnTo>
                    <a:lnTo>
                      <a:pt x="49" y="52"/>
                    </a:lnTo>
                    <a:lnTo>
                      <a:pt x="49" y="50"/>
                    </a:lnTo>
                    <a:lnTo>
                      <a:pt x="51" y="50"/>
                    </a:lnTo>
                    <a:lnTo>
                      <a:pt x="53" y="50"/>
                    </a:lnTo>
                    <a:lnTo>
                      <a:pt x="55" y="50"/>
                    </a:lnTo>
                    <a:lnTo>
                      <a:pt x="57" y="50"/>
                    </a:lnTo>
                    <a:lnTo>
                      <a:pt x="57" y="48"/>
                    </a:lnTo>
                    <a:lnTo>
                      <a:pt x="59" y="48"/>
                    </a:lnTo>
                    <a:lnTo>
                      <a:pt x="57" y="46"/>
                    </a:lnTo>
                    <a:lnTo>
                      <a:pt x="59" y="46"/>
                    </a:lnTo>
                    <a:lnTo>
                      <a:pt x="59" y="44"/>
                    </a:lnTo>
                    <a:lnTo>
                      <a:pt x="57" y="44"/>
                    </a:lnTo>
                    <a:lnTo>
                      <a:pt x="59" y="44"/>
                    </a:lnTo>
                    <a:lnTo>
                      <a:pt x="57" y="44"/>
                    </a:lnTo>
                    <a:lnTo>
                      <a:pt x="59" y="44"/>
                    </a:lnTo>
                    <a:lnTo>
                      <a:pt x="57" y="42"/>
                    </a:lnTo>
                    <a:lnTo>
                      <a:pt x="57" y="40"/>
                    </a:lnTo>
                    <a:lnTo>
                      <a:pt x="59" y="40"/>
                    </a:lnTo>
                    <a:lnTo>
                      <a:pt x="59" y="38"/>
                    </a:lnTo>
                    <a:lnTo>
                      <a:pt x="61" y="38"/>
                    </a:lnTo>
                    <a:lnTo>
                      <a:pt x="61" y="36"/>
                    </a:lnTo>
                    <a:lnTo>
                      <a:pt x="61" y="34"/>
                    </a:lnTo>
                    <a:lnTo>
                      <a:pt x="59" y="34"/>
                    </a:lnTo>
                    <a:lnTo>
                      <a:pt x="59" y="32"/>
                    </a:lnTo>
                    <a:lnTo>
                      <a:pt x="59" y="31"/>
                    </a:lnTo>
                    <a:lnTo>
                      <a:pt x="61" y="31"/>
                    </a:lnTo>
                    <a:lnTo>
                      <a:pt x="61" y="32"/>
                    </a:lnTo>
                    <a:lnTo>
                      <a:pt x="61" y="31"/>
                    </a:lnTo>
                    <a:lnTo>
                      <a:pt x="63" y="31"/>
                    </a:lnTo>
                    <a:lnTo>
                      <a:pt x="63" y="32"/>
                    </a:lnTo>
                    <a:lnTo>
                      <a:pt x="63" y="31"/>
                    </a:lnTo>
                    <a:lnTo>
                      <a:pt x="65" y="31"/>
                    </a:lnTo>
                    <a:lnTo>
                      <a:pt x="67" y="31"/>
                    </a:lnTo>
                    <a:lnTo>
                      <a:pt x="69" y="31"/>
                    </a:lnTo>
                    <a:lnTo>
                      <a:pt x="69" y="29"/>
                    </a:lnTo>
                    <a:lnTo>
                      <a:pt x="71" y="29"/>
                    </a:lnTo>
                    <a:lnTo>
                      <a:pt x="71" y="27"/>
                    </a:lnTo>
                    <a:lnTo>
                      <a:pt x="73" y="29"/>
                    </a:lnTo>
                    <a:lnTo>
                      <a:pt x="73" y="27"/>
                    </a:lnTo>
                    <a:lnTo>
                      <a:pt x="73" y="25"/>
                    </a:lnTo>
                    <a:lnTo>
                      <a:pt x="73" y="23"/>
                    </a:lnTo>
                    <a:lnTo>
                      <a:pt x="74" y="21"/>
                    </a:lnTo>
                    <a:lnTo>
                      <a:pt x="74" y="23"/>
                    </a:lnTo>
                    <a:lnTo>
                      <a:pt x="76" y="21"/>
                    </a:lnTo>
                    <a:lnTo>
                      <a:pt x="76" y="19"/>
                    </a:lnTo>
                    <a:lnTo>
                      <a:pt x="76" y="21"/>
                    </a:lnTo>
                    <a:lnTo>
                      <a:pt x="78" y="19"/>
                    </a:lnTo>
                    <a:lnTo>
                      <a:pt x="78" y="17"/>
                    </a:lnTo>
                    <a:lnTo>
                      <a:pt x="76" y="17"/>
                    </a:lnTo>
                    <a:lnTo>
                      <a:pt x="78" y="15"/>
                    </a:lnTo>
                    <a:lnTo>
                      <a:pt x="80" y="13"/>
                    </a:lnTo>
                    <a:lnTo>
                      <a:pt x="82" y="13"/>
                    </a:lnTo>
                    <a:lnTo>
                      <a:pt x="84" y="13"/>
                    </a:lnTo>
                    <a:lnTo>
                      <a:pt x="84" y="15"/>
                    </a:lnTo>
                    <a:lnTo>
                      <a:pt x="84" y="17"/>
                    </a:lnTo>
                    <a:lnTo>
                      <a:pt x="86" y="15"/>
                    </a:lnTo>
                    <a:lnTo>
                      <a:pt x="88" y="15"/>
                    </a:lnTo>
                    <a:lnTo>
                      <a:pt x="90" y="15"/>
                    </a:lnTo>
                    <a:lnTo>
                      <a:pt x="92" y="13"/>
                    </a:lnTo>
                    <a:lnTo>
                      <a:pt x="92" y="15"/>
                    </a:lnTo>
                    <a:lnTo>
                      <a:pt x="94" y="15"/>
                    </a:lnTo>
                    <a:lnTo>
                      <a:pt x="94" y="13"/>
                    </a:lnTo>
                    <a:lnTo>
                      <a:pt x="96" y="15"/>
                    </a:lnTo>
                    <a:lnTo>
                      <a:pt x="98" y="13"/>
                    </a:lnTo>
                    <a:lnTo>
                      <a:pt x="98" y="15"/>
                    </a:lnTo>
                    <a:lnTo>
                      <a:pt x="98" y="13"/>
                    </a:lnTo>
                    <a:lnTo>
                      <a:pt x="99" y="13"/>
                    </a:lnTo>
                    <a:lnTo>
                      <a:pt x="101" y="15"/>
                    </a:lnTo>
                    <a:lnTo>
                      <a:pt x="101" y="17"/>
                    </a:lnTo>
                    <a:lnTo>
                      <a:pt x="103" y="19"/>
                    </a:lnTo>
                    <a:lnTo>
                      <a:pt x="103" y="17"/>
                    </a:lnTo>
                    <a:lnTo>
                      <a:pt x="105" y="17"/>
                    </a:lnTo>
                    <a:lnTo>
                      <a:pt x="105" y="19"/>
                    </a:lnTo>
                    <a:lnTo>
                      <a:pt x="107" y="17"/>
                    </a:lnTo>
                    <a:lnTo>
                      <a:pt x="109" y="17"/>
                    </a:lnTo>
                    <a:lnTo>
                      <a:pt x="111" y="15"/>
                    </a:lnTo>
                    <a:lnTo>
                      <a:pt x="113" y="11"/>
                    </a:lnTo>
                    <a:lnTo>
                      <a:pt x="111" y="9"/>
                    </a:lnTo>
                    <a:lnTo>
                      <a:pt x="111" y="11"/>
                    </a:lnTo>
                    <a:lnTo>
                      <a:pt x="111" y="9"/>
                    </a:lnTo>
                    <a:lnTo>
                      <a:pt x="109" y="7"/>
                    </a:lnTo>
                    <a:lnTo>
                      <a:pt x="109" y="6"/>
                    </a:lnTo>
                    <a:lnTo>
                      <a:pt x="111" y="6"/>
                    </a:lnTo>
                    <a:lnTo>
                      <a:pt x="111" y="7"/>
                    </a:lnTo>
                    <a:lnTo>
                      <a:pt x="113" y="6"/>
                    </a:lnTo>
                    <a:lnTo>
                      <a:pt x="115" y="2"/>
                    </a:lnTo>
                    <a:lnTo>
                      <a:pt x="117" y="0"/>
                    </a:lnTo>
                    <a:lnTo>
                      <a:pt x="119" y="0"/>
                    </a:lnTo>
                    <a:lnTo>
                      <a:pt x="119" y="2"/>
                    </a:lnTo>
                    <a:lnTo>
                      <a:pt x="121" y="2"/>
                    </a:lnTo>
                    <a:lnTo>
                      <a:pt x="122" y="4"/>
                    </a:lnTo>
                    <a:lnTo>
                      <a:pt x="119" y="7"/>
                    </a:lnTo>
                    <a:lnTo>
                      <a:pt x="119" y="9"/>
                    </a:lnTo>
                    <a:lnTo>
                      <a:pt x="119" y="11"/>
                    </a:lnTo>
                    <a:lnTo>
                      <a:pt x="119" y="13"/>
                    </a:lnTo>
                    <a:lnTo>
                      <a:pt x="119" y="15"/>
                    </a:lnTo>
                    <a:lnTo>
                      <a:pt x="121" y="13"/>
                    </a:lnTo>
                    <a:lnTo>
                      <a:pt x="122" y="11"/>
                    </a:lnTo>
                    <a:lnTo>
                      <a:pt x="124" y="13"/>
                    </a:lnTo>
                    <a:lnTo>
                      <a:pt x="126" y="13"/>
                    </a:lnTo>
                    <a:lnTo>
                      <a:pt x="128" y="13"/>
                    </a:lnTo>
                    <a:lnTo>
                      <a:pt x="128" y="15"/>
                    </a:lnTo>
                    <a:lnTo>
                      <a:pt x="130" y="15"/>
                    </a:lnTo>
                    <a:lnTo>
                      <a:pt x="130" y="17"/>
                    </a:lnTo>
                    <a:lnTo>
                      <a:pt x="130" y="19"/>
                    </a:lnTo>
                    <a:lnTo>
                      <a:pt x="128" y="19"/>
                    </a:lnTo>
                    <a:lnTo>
                      <a:pt x="128" y="21"/>
                    </a:lnTo>
                    <a:lnTo>
                      <a:pt x="128" y="23"/>
                    </a:lnTo>
                    <a:lnTo>
                      <a:pt x="130" y="23"/>
                    </a:lnTo>
                    <a:lnTo>
                      <a:pt x="128" y="25"/>
                    </a:lnTo>
                    <a:lnTo>
                      <a:pt x="128" y="27"/>
                    </a:lnTo>
                    <a:lnTo>
                      <a:pt x="130" y="27"/>
                    </a:lnTo>
                    <a:lnTo>
                      <a:pt x="132" y="27"/>
                    </a:lnTo>
                    <a:lnTo>
                      <a:pt x="130" y="29"/>
                    </a:lnTo>
                    <a:lnTo>
                      <a:pt x="132" y="29"/>
                    </a:lnTo>
                    <a:lnTo>
                      <a:pt x="132" y="27"/>
                    </a:lnTo>
                    <a:lnTo>
                      <a:pt x="134" y="27"/>
                    </a:lnTo>
                    <a:lnTo>
                      <a:pt x="132" y="27"/>
                    </a:lnTo>
                    <a:lnTo>
                      <a:pt x="134" y="27"/>
                    </a:lnTo>
                    <a:lnTo>
                      <a:pt x="134" y="29"/>
                    </a:lnTo>
                    <a:lnTo>
                      <a:pt x="136" y="29"/>
                    </a:lnTo>
                    <a:lnTo>
                      <a:pt x="136" y="27"/>
                    </a:lnTo>
                    <a:lnTo>
                      <a:pt x="136" y="29"/>
                    </a:lnTo>
                    <a:lnTo>
                      <a:pt x="138" y="29"/>
                    </a:lnTo>
                    <a:lnTo>
                      <a:pt x="138" y="27"/>
                    </a:lnTo>
                    <a:lnTo>
                      <a:pt x="138" y="29"/>
                    </a:lnTo>
                    <a:lnTo>
                      <a:pt x="138" y="27"/>
                    </a:lnTo>
                    <a:lnTo>
                      <a:pt x="140" y="27"/>
                    </a:lnTo>
                    <a:lnTo>
                      <a:pt x="142" y="27"/>
                    </a:lnTo>
                    <a:lnTo>
                      <a:pt x="142" y="29"/>
                    </a:lnTo>
                    <a:lnTo>
                      <a:pt x="142" y="31"/>
                    </a:lnTo>
                    <a:lnTo>
                      <a:pt x="144" y="31"/>
                    </a:lnTo>
                    <a:lnTo>
                      <a:pt x="144" y="32"/>
                    </a:lnTo>
                    <a:lnTo>
                      <a:pt x="146" y="34"/>
                    </a:lnTo>
                    <a:lnTo>
                      <a:pt x="146" y="32"/>
                    </a:lnTo>
                    <a:lnTo>
                      <a:pt x="146" y="31"/>
                    </a:lnTo>
                    <a:lnTo>
                      <a:pt x="147" y="29"/>
                    </a:lnTo>
                    <a:lnTo>
                      <a:pt x="149" y="29"/>
                    </a:lnTo>
                    <a:lnTo>
                      <a:pt x="149" y="31"/>
                    </a:lnTo>
                    <a:lnTo>
                      <a:pt x="151" y="31"/>
                    </a:lnTo>
                    <a:lnTo>
                      <a:pt x="151" y="32"/>
                    </a:lnTo>
                    <a:lnTo>
                      <a:pt x="151" y="34"/>
                    </a:lnTo>
                    <a:lnTo>
                      <a:pt x="151" y="36"/>
                    </a:lnTo>
                    <a:lnTo>
                      <a:pt x="149" y="36"/>
                    </a:lnTo>
                    <a:lnTo>
                      <a:pt x="149" y="38"/>
                    </a:lnTo>
                    <a:lnTo>
                      <a:pt x="151" y="38"/>
                    </a:lnTo>
                    <a:lnTo>
                      <a:pt x="153" y="38"/>
                    </a:lnTo>
                    <a:lnTo>
                      <a:pt x="153" y="36"/>
                    </a:lnTo>
                    <a:lnTo>
                      <a:pt x="155" y="36"/>
                    </a:lnTo>
                    <a:lnTo>
                      <a:pt x="157" y="36"/>
                    </a:lnTo>
                    <a:lnTo>
                      <a:pt x="159" y="36"/>
                    </a:lnTo>
                    <a:lnTo>
                      <a:pt x="159" y="38"/>
                    </a:lnTo>
                    <a:lnTo>
                      <a:pt x="159" y="40"/>
                    </a:lnTo>
                    <a:lnTo>
                      <a:pt x="161" y="40"/>
                    </a:lnTo>
                    <a:lnTo>
                      <a:pt x="161" y="42"/>
                    </a:lnTo>
                    <a:lnTo>
                      <a:pt x="163" y="42"/>
                    </a:lnTo>
                    <a:lnTo>
                      <a:pt x="165" y="42"/>
                    </a:lnTo>
                    <a:lnTo>
                      <a:pt x="167" y="42"/>
                    </a:lnTo>
                    <a:lnTo>
                      <a:pt x="167" y="44"/>
                    </a:lnTo>
                    <a:lnTo>
                      <a:pt x="169" y="44"/>
                    </a:lnTo>
                    <a:lnTo>
                      <a:pt x="167" y="46"/>
                    </a:lnTo>
                    <a:lnTo>
                      <a:pt x="167" y="48"/>
                    </a:lnTo>
                    <a:lnTo>
                      <a:pt x="169" y="50"/>
                    </a:lnTo>
                    <a:lnTo>
                      <a:pt x="167" y="50"/>
                    </a:lnTo>
                    <a:lnTo>
                      <a:pt x="169" y="50"/>
                    </a:lnTo>
                    <a:lnTo>
                      <a:pt x="169" y="52"/>
                    </a:lnTo>
                    <a:lnTo>
                      <a:pt x="169" y="54"/>
                    </a:lnTo>
                    <a:lnTo>
                      <a:pt x="171" y="52"/>
                    </a:lnTo>
                    <a:lnTo>
                      <a:pt x="176" y="56"/>
                    </a:lnTo>
                    <a:lnTo>
                      <a:pt x="182" y="59"/>
                    </a:lnTo>
                    <a:lnTo>
                      <a:pt x="184" y="61"/>
                    </a:lnTo>
                    <a:lnTo>
                      <a:pt x="186" y="63"/>
                    </a:lnTo>
                    <a:lnTo>
                      <a:pt x="188" y="63"/>
                    </a:lnTo>
                    <a:lnTo>
                      <a:pt x="190" y="59"/>
                    </a:lnTo>
                    <a:lnTo>
                      <a:pt x="194" y="61"/>
                    </a:lnTo>
                    <a:lnTo>
                      <a:pt x="197" y="65"/>
                    </a:lnTo>
                    <a:lnTo>
                      <a:pt x="197" y="63"/>
                    </a:lnTo>
                    <a:lnTo>
                      <a:pt x="215" y="75"/>
                    </a:lnTo>
                    <a:lnTo>
                      <a:pt x="220" y="67"/>
                    </a:lnTo>
                    <a:lnTo>
                      <a:pt x="222" y="69"/>
                    </a:lnTo>
                    <a:lnTo>
                      <a:pt x="224" y="67"/>
                    </a:lnTo>
                    <a:lnTo>
                      <a:pt x="230" y="71"/>
                    </a:lnTo>
                    <a:lnTo>
                      <a:pt x="234" y="65"/>
                    </a:lnTo>
                    <a:lnTo>
                      <a:pt x="236" y="61"/>
                    </a:lnTo>
                    <a:lnTo>
                      <a:pt x="234" y="61"/>
                    </a:lnTo>
                    <a:lnTo>
                      <a:pt x="240" y="54"/>
                    </a:lnTo>
                    <a:lnTo>
                      <a:pt x="244" y="57"/>
                    </a:lnTo>
                    <a:lnTo>
                      <a:pt x="249" y="61"/>
                    </a:lnTo>
                    <a:lnTo>
                      <a:pt x="249" y="59"/>
                    </a:lnTo>
                    <a:lnTo>
                      <a:pt x="259" y="6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1" name="Freeform 47"/>
              <p:cNvSpPr>
                <a:spLocks noEditPoints="1"/>
              </p:cNvSpPr>
              <p:nvPr/>
            </p:nvSpPr>
            <p:spPr bwMode="auto">
              <a:xfrm>
                <a:off x="138653" y="3378232"/>
                <a:ext cx="326919" cy="430157"/>
              </a:xfrm>
              <a:custGeom>
                <a:avLst/>
                <a:gdLst>
                  <a:gd name="T0" fmla="*/ 134 w 190"/>
                  <a:gd name="T1" fmla="*/ 31 h 250"/>
                  <a:gd name="T2" fmla="*/ 154 w 190"/>
                  <a:gd name="T3" fmla="*/ 27 h 250"/>
                  <a:gd name="T4" fmla="*/ 173 w 190"/>
                  <a:gd name="T5" fmla="*/ 52 h 250"/>
                  <a:gd name="T6" fmla="*/ 167 w 190"/>
                  <a:gd name="T7" fmla="*/ 77 h 250"/>
                  <a:gd name="T8" fmla="*/ 186 w 190"/>
                  <a:gd name="T9" fmla="*/ 98 h 250"/>
                  <a:gd name="T10" fmla="*/ 181 w 190"/>
                  <a:gd name="T11" fmla="*/ 129 h 250"/>
                  <a:gd name="T12" fmla="*/ 156 w 190"/>
                  <a:gd name="T13" fmla="*/ 150 h 250"/>
                  <a:gd name="T14" fmla="*/ 159 w 190"/>
                  <a:gd name="T15" fmla="*/ 171 h 250"/>
                  <a:gd name="T16" fmla="*/ 148 w 190"/>
                  <a:gd name="T17" fmla="*/ 198 h 250"/>
                  <a:gd name="T18" fmla="*/ 144 w 190"/>
                  <a:gd name="T19" fmla="*/ 223 h 250"/>
                  <a:gd name="T20" fmla="*/ 127 w 190"/>
                  <a:gd name="T21" fmla="*/ 235 h 250"/>
                  <a:gd name="T22" fmla="*/ 117 w 190"/>
                  <a:gd name="T23" fmla="*/ 227 h 250"/>
                  <a:gd name="T24" fmla="*/ 106 w 190"/>
                  <a:gd name="T25" fmla="*/ 225 h 250"/>
                  <a:gd name="T26" fmla="*/ 88 w 190"/>
                  <a:gd name="T27" fmla="*/ 239 h 250"/>
                  <a:gd name="T28" fmla="*/ 79 w 190"/>
                  <a:gd name="T29" fmla="*/ 248 h 250"/>
                  <a:gd name="T30" fmla="*/ 63 w 190"/>
                  <a:gd name="T31" fmla="*/ 235 h 250"/>
                  <a:gd name="T32" fmla="*/ 50 w 190"/>
                  <a:gd name="T33" fmla="*/ 231 h 250"/>
                  <a:gd name="T34" fmla="*/ 46 w 190"/>
                  <a:gd name="T35" fmla="*/ 206 h 250"/>
                  <a:gd name="T36" fmla="*/ 42 w 190"/>
                  <a:gd name="T37" fmla="*/ 179 h 250"/>
                  <a:gd name="T38" fmla="*/ 36 w 190"/>
                  <a:gd name="T39" fmla="*/ 156 h 250"/>
                  <a:gd name="T40" fmla="*/ 27 w 190"/>
                  <a:gd name="T41" fmla="*/ 137 h 250"/>
                  <a:gd name="T42" fmla="*/ 25 w 190"/>
                  <a:gd name="T43" fmla="*/ 121 h 250"/>
                  <a:gd name="T44" fmla="*/ 17 w 190"/>
                  <a:gd name="T45" fmla="*/ 117 h 250"/>
                  <a:gd name="T46" fmla="*/ 15 w 190"/>
                  <a:gd name="T47" fmla="*/ 94 h 250"/>
                  <a:gd name="T48" fmla="*/ 2 w 190"/>
                  <a:gd name="T49" fmla="*/ 67 h 250"/>
                  <a:gd name="T50" fmla="*/ 8 w 190"/>
                  <a:gd name="T51" fmla="*/ 64 h 250"/>
                  <a:gd name="T52" fmla="*/ 13 w 190"/>
                  <a:gd name="T53" fmla="*/ 56 h 250"/>
                  <a:gd name="T54" fmla="*/ 8 w 190"/>
                  <a:gd name="T55" fmla="*/ 56 h 250"/>
                  <a:gd name="T56" fmla="*/ 23 w 190"/>
                  <a:gd name="T57" fmla="*/ 62 h 250"/>
                  <a:gd name="T58" fmla="*/ 42 w 190"/>
                  <a:gd name="T59" fmla="*/ 69 h 250"/>
                  <a:gd name="T60" fmla="*/ 65 w 190"/>
                  <a:gd name="T61" fmla="*/ 56 h 250"/>
                  <a:gd name="T62" fmla="*/ 81 w 190"/>
                  <a:gd name="T63" fmla="*/ 50 h 250"/>
                  <a:gd name="T64" fmla="*/ 96 w 190"/>
                  <a:gd name="T65" fmla="*/ 40 h 250"/>
                  <a:gd name="T66" fmla="*/ 102 w 190"/>
                  <a:gd name="T67" fmla="*/ 54 h 250"/>
                  <a:gd name="T68" fmla="*/ 98 w 190"/>
                  <a:gd name="T69" fmla="*/ 29 h 250"/>
                  <a:gd name="T70" fmla="*/ 96 w 190"/>
                  <a:gd name="T71" fmla="*/ 2 h 250"/>
                  <a:gd name="T72" fmla="*/ 117 w 190"/>
                  <a:gd name="T73" fmla="*/ 17 h 250"/>
                  <a:gd name="T74" fmla="*/ 121 w 190"/>
                  <a:gd name="T75" fmla="*/ 12 h 250"/>
                  <a:gd name="T76" fmla="*/ 69 w 190"/>
                  <a:gd name="T77" fmla="*/ 119 h 250"/>
                  <a:gd name="T78" fmla="*/ 67 w 190"/>
                  <a:gd name="T79" fmla="*/ 131 h 250"/>
                  <a:gd name="T80" fmla="*/ 86 w 190"/>
                  <a:gd name="T81" fmla="*/ 148 h 250"/>
                  <a:gd name="T82" fmla="*/ 96 w 190"/>
                  <a:gd name="T83" fmla="*/ 137 h 250"/>
                  <a:gd name="T84" fmla="*/ 106 w 190"/>
                  <a:gd name="T85" fmla="*/ 144 h 250"/>
                  <a:gd name="T86" fmla="*/ 102 w 190"/>
                  <a:gd name="T87" fmla="*/ 164 h 250"/>
                  <a:gd name="T88" fmla="*/ 88 w 190"/>
                  <a:gd name="T89" fmla="*/ 169 h 250"/>
                  <a:gd name="T90" fmla="*/ 83 w 190"/>
                  <a:gd name="T91" fmla="*/ 185 h 250"/>
                  <a:gd name="T92" fmla="*/ 77 w 190"/>
                  <a:gd name="T93" fmla="*/ 202 h 250"/>
                  <a:gd name="T94" fmla="*/ 69 w 190"/>
                  <a:gd name="T95" fmla="*/ 189 h 250"/>
                  <a:gd name="T96" fmla="*/ 67 w 190"/>
                  <a:gd name="T97" fmla="*/ 212 h 250"/>
                  <a:gd name="T98" fmla="*/ 73 w 190"/>
                  <a:gd name="T99" fmla="*/ 229 h 250"/>
                  <a:gd name="T100" fmla="*/ 90 w 190"/>
                  <a:gd name="T101" fmla="*/ 214 h 250"/>
                  <a:gd name="T102" fmla="*/ 102 w 190"/>
                  <a:gd name="T103" fmla="*/ 196 h 250"/>
                  <a:gd name="T104" fmla="*/ 111 w 190"/>
                  <a:gd name="T105" fmla="*/ 175 h 250"/>
                  <a:gd name="T106" fmla="*/ 111 w 190"/>
                  <a:gd name="T107" fmla="*/ 192 h 250"/>
                  <a:gd name="T108" fmla="*/ 121 w 190"/>
                  <a:gd name="T109" fmla="*/ 177 h 250"/>
                  <a:gd name="T110" fmla="*/ 123 w 190"/>
                  <a:gd name="T111" fmla="*/ 160 h 250"/>
                  <a:gd name="T112" fmla="*/ 121 w 190"/>
                  <a:gd name="T113" fmla="*/ 150 h 250"/>
                  <a:gd name="T114" fmla="*/ 113 w 190"/>
                  <a:gd name="T115" fmla="*/ 142 h 250"/>
                  <a:gd name="T116" fmla="*/ 104 w 190"/>
                  <a:gd name="T117" fmla="*/ 133 h 250"/>
                  <a:gd name="T118" fmla="*/ 92 w 190"/>
                  <a:gd name="T119" fmla="*/ 129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50">
                    <a:moveTo>
                      <a:pt x="129" y="6"/>
                    </a:moveTo>
                    <a:lnTo>
                      <a:pt x="131" y="8"/>
                    </a:lnTo>
                    <a:lnTo>
                      <a:pt x="132" y="8"/>
                    </a:lnTo>
                    <a:lnTo>
                      <a:pt x="134" y="10"/>
                    </a:lnTo>
                    <a:lnTo>
                      <a:pt x="132" y="12"/>
                    </a:lnTo>
                    <a:lnTo>
                      <a:pt x="138" y="16"/>
                    </a:lnTo>
                    <a:lnTo>
                      <a:pt x="140" y="16"/>
                    </a:lnTo>
                    <a:lnTo>
                      <a:pt x="142" y="17"/>
                    </a:lnTo>
                    <a:lnTo>
                      <a:pt x="140" y="17"/>
                    </a:lnTo>
                    <a:lnTo>
                      <a:pt x="136" y="23"/>
                    </a:lnTo>
                    <a:lnTo>
                      <a:pt x="136" y="21"/>
                    </a:lnTo>
                    <a:lnTo>
                      <a:pt x="132" y="27"/>
                    </a:lnTo>
                    <a:lnTo>
                      <a:pt x="129" y="31"/>
                    </a:lnTo>
                    <a:lnTo>
                      <a:pt x="131" y="33"/>
                    </a:lnTo>
                    <a:lnTo>
                      <a:pt x="132" y="29"/>
                    </a:lnTo>
                    <a:lnTo>
                      <a:pt x="134" y="29"/>
                    </a:lnTo>
                    <a:lnTo>
                      <a:pt x="134" y="31"/>
                    </a:lnTo>
                    <a:lnTo>
                      <a:pt x="136" y="31"/>
                    </a:lnTo>
                    <a:lnTo>
                      <a:pt x="138" y="29"/>
                    </a:lnTo>
                    <a:lnTo>
                      <a:pt x="138" y="31"/>
                    </a:lnTo>
                    <a:lnTo>
                      <a:pt x="136" y="31"/>
                    </a:lnTo>
                    <a:lnTo>
                      <a:pt x="138" y="31"/>
                    </a:lnTo>
                    <a:lnTo>
                      <a:pt x="138" y="33"/>
                    </a:lnTo>
                    <a:lnTo>
                      <a:pt x="138" y="35"/>
                    </a:lnTo>
                    <a:lnTo>
                      <a:pt x="140" y="35"/>
                    </a:lnTo>
                    <a:lnTo>
                      <a:pt x="142" y="35"/>
                    </a:lnTo>
                    <a:lnTo>
                      <a:pt x="142" y="37"/>
                    </a:lnTo>
                    <a:lnTo>
                      <a:pt x="142" y="35"/>
                    </a:lnTo>
                    <a:lnTo>
                      <a:pt x="146" y="33"/>
                    </a:lnTo>
                    <a:lnTo>
                      <a:pt x="146" y="31"/>
                    </a:lnTo>
                    <a:lnTo>
                      <a:pt x="148" y="31"/>
                    </a:lnTo>
                    <a:lnTo>
                      <a:pt x="150" y="29"/>
                    </a:lnTo>
                    <a:lnTo>
                      <a:pt x="152" y="27"/>
                    </a:lnTo>
                    <a:lnTo>
                      <a:pt x="154" y="27"/>
                    </a:lnTo>
                    <a:lnTo>
                      <a:pt x="156" y="29"/>
                    </a:lnTo>
                    <a:lnTo>
                      <a:pt x="157" y="29"/>
                    </a:lnTo>
                    <a:lnTo>
                      <a:pt x="159" y="29"/>
                    </a:lnTo>
                    <a:lnTo>
                      <a:pt x="159" y="31"/>
                    </a:lnTo>
                    <a:lnTo>
                      <a:pt x="161" y="33"/>
                    </a:lnTo>
                    <a:lnTo>
                      <a:pt x="165" y="37"/>
                    </a:lnTo>
                    <a:lnTo>
                      <a:pt x="167" y="37"/>
                    </a:lnTo>
                    <a:lnTo>
                      <a:pt x="171" y="39"/>
                    </a:lnTo>
                    <a:lnTo>
                      <a:pt x="169" y="40"/>
                    </a:lnTo>
                    <a:lnTo>
                      <a:pt x="177" y="44"/>
                    </a:lnTo>
                    <a:lnTo>
                      <a:pt x="175" y="46"/>
                    </a:lnTo>
                    <a:lnTo>
                      <a:pt x="175" y="48"/>
                    </a:lnTo>
                    <a:lnTo>
                      <a:pt x="177" y="48"/>
                    </a:lnTo>
                    <a:lnTo>
                      <a:pt x="179" y="48"/>
                    </a:lnTo>
                    <a:lnTo>
                      <a:pt x="177" y="48"/>
                    </a:lnTo>
                    <a:lnTo>
                      <a:pt x="175" y="54"/>
                    </a:lnTo>
                    <a:lnTo>
                      <a:pt x="173" y="52"/>
                    </a:lnTo>
                    <a:lnTo>
                      <a:pt x="173" y="54"/>
                    </a:lnTo>
                    <a:lnTo>
                      <a:pt x="173" y="52"/>
                    </a:lnTo>
                    <a:lnTo>
                      <a:pt x="171" y="52"/>
                    </a:lnTo>
                    <a:lnTo>
                      <a:pt x="169" y="58"/>
                    </a:lnTo>
                    <a:lnTo>
                      <a:pt x="169" y="60"/>
                    </a:lnTo>
                    <a:lnTo>
                      <a:pt x="171" y="60"/>
                    </a:lnTo>
                    <a:lnTo>
                      <a:pt x="171" y="62"/>
                    </a:lnTo>
                    <a:lnTo>
                      <a:pt x="173" y="62"/>
                    </a:lnTo>
                    <a:lnTo>
                      <a:pt x="173" y="64"/>
                    </a:lnTo>
                    <a:lnTo>
                      <a:pt x="171" y="67"/>
                    </a:lnTo>
                    <a:lnTo>
                      <a:pt x="173" y="67"/>
                    </a:lnTo>
                    <a:lnTo>
                      <a:pt x="169" y="73"/>
                    </a:lnTo>
                    <a:lnTo>
                      <a:pt x="169" y="71"/>
                    </a:lnTo>
                    <a:lnTo>
                      <a:pt x="169" y="73"/>
                    </a:lnTo>
                    <a:lnTo>
                      <a:pt x="167" y="73"/>
                    </a:lnTo>
                    <a:lnTo>
                      <a:pt x="169" y="73"/>
                    </a:lnTo>
                    <a:lnTo>
                      <a:pt x="167" y="77"/>
                    </a:lnTo>
                    <a:lnTo>
                      <a:pt x="167" y="79"/>
                    </a:lnTo>
                    <a:lnTo>
                      <a:pt x="169" y="79"/>
                    </a:lnTo>
                    <a:lnTo>
                      <a:pt x="169" y="81"/>
                    </a:lnTo>
                    <a:lnTo>
                      <a:pt x="171" y="81"/>
                    </a:lnTo>
                    <a:lnTo>
                      <a:pt x="173" y="83"/>
                    </a:lnTo>
                    <a:lnTo>
                      <a:pt x="175" y="85"/>
                    </a:lnTo>
                    <a:lnTo>
                      <a:pt x="177" y="85"/>
                    </a:lnTo>
                    <a:lnTo>
                      <a:pt x="182" y="87"/>
                    </a:lnTo>
                    <a:lnTo>
                      <a:pt x="181" y="90"/>
                    </a:lnTo>
                    <a:lnTo>
                      <a:pt x="181" y="92"/>
                    </a:lnTo>
                    <a:lnTo>
                      <a:pt x="186" y="94"/>
                    </a:lnTo>
                    <a:lnTo>
                      <a:pt x="188" y="90"/>
                    </a:lnTo>
                    <a:lnTo>
                      <a:pt x="188" y="92"/>
                    </a:lnTo>
                    <a:lnTo>
                      <a:pt x="190" y="92"/>
                    </a:lnTo>
                    <a:lnTo>
                      <a:pt x="188" y="98"/>
                    </a:lnTo>
                    <a:lnTo>
                      <a:pt x="186" y="96"/>
                    </a:lnTo>
                    <a:lnTo>
                      <a:pt x="186" y="98"/>
                    </a:lnTo>
                    <a:lnTo>
                      <a:pt x="184" y="102"/>
                    </a:lnTo>
                    <a:lnTo>
                      <a:pt x="184" y="104"/>
                    </a:lnTo>
                    <a:lnTo>
                      <a:pt x="186" y="104"/>
                    </a:lnTo>
                    <a:lnTo>
                      <a:pt x="184" y="106"/>
                    </a:lnTo>
                    <a:lnTo>
                      <a:pt x="186" y="108"/>
                    </a:lnTo>
                    <a:lnTo>
                      <a:pt x="184" y="112"/>
                    </a:lnTo>
                    <a:lnTo>
                      <a:pt x="184" y="114"/>
                    </a:lnTo>
                    <a:lnTo>
                      <a:pt x="184" y="115"/>
                    </a:lnTo>
                    <a:lnTo>
                      <a:pt x="181" y="119"/>
                    </a:lnTo>
                    <a:lnTo>
                      <a:pt x="184" y="121"/>
                    </a:lnTo>
                    <a:lnTo>
                      <a:pt x="184" y="123"/>
                    </a:lnTo>
                    <a:lnTo>
                      <a:pt x="182" y="123"/>
                    </a:lnTo>
                    <a:lnTo>
                      <a:pt x="182" y="125"/>
                    </a:lnTo>
                    <a:lnTo>
                      <a:pt x="182" y="127"/>
                    </a:lnTo>
                    <a:lnTo>
                      <a:pt x="181" y="127"/>
                    </a:lnTo>
                    <a:lnTo>
                      <a:pt x="182" y="127"/>
                    </a:lnTo>
                    <a:lnTo>
                      <a:pt x="181" y="129"/>
                    </a:lnTo>
                    <a:lnTo>
                      <a:pt x="177" y="127"/>
                    </a:lnTo>
                    <a:lnTo>
                      <a:pt x="175" y="133"/>
                    </a:lnTo>
                    <a:lnTo>
                      <a:pt x="171" y="131"/>
                    </a:lnTo>
                    <a:lnTo>
                      <a:pt x="171" y="129"/>
                    </a:lnTo>
                    <a:lnTo>
                      <a:pt x="169" y="127"/>
                    </a:lnTo>
                    <a:lnTo>
                      <a:pt x="167" y="127"/>
                    </a:lnTo>
                    <a:lnTo>
                      <a:pt x="163" y="125"/>
                    </a:lnTo>
                    <a:lnTo>
                      <a:pt x="157" y="135"/>
                    </a:lnTo>
                    <a:lnTo>
                      <a:pt x="157" y="137"/>
                    </a:lnTo>
                    <a:lnTo>
                      <a:pt x="159" y="137"/>
                    </a:lnTo>
                    <a:lnTo>
                      <a:pt x="157" y="140"/>
                    </a:lnTo>
                    <a:lnTo>
                      <a:pt x="157" y="142"/>
                    </a:lnTo>
                    <a:lnTo>
                      <a:pt x="157" y="144"/>
                    </a:lnTo>
                    <a:lnTo>
                      <a:pt x="157" y="146"/>
                    </a:lnTo>
                    <a:lnTo>
                      <a:pt x="157" y="148"/>
                    </a:lnTo>
                    <a:lnTo>
                      <a:pt x="156" y="148"/>
                    </a:lnTo>
                    <a:lnTo>
                      <a:pt x="156" y="150"/>
                    </a:lnTo>
                    <a:lnTo>
                      <a:pt x="156" y="152"/>
                    </a:lnTo>
                    <a:lnTo>
                      <a:pt x="156" y="154"/>
                    </a:lnTo>
                    <a:lnTo>
                      <a:pt x="154" y="154"/>
                    </a:lnTo>
                    <a:lnTo>
                      <a:pt x="154" y="156"/>
                    </a:lnTo>
                    <a:lnTo>
                      <a:pt x="159" y="162"/>
                    </a:lnTo>
                    <a:lnTo>
                      <a:pt x="159" y="160"/>
                    </a:lnTo>
                    <a:lnTo>
                      <a:pt x="161" y="162"/>
                    </a:lnTo>
                    <a:lnTo>
                      <a:pt x="161" y="160"/>
                    </a:lnTo>
                    <a:lnTo>
                      <a:pt x="163" y="160"/>
                    </a:lnTo>
                    <a:lnTo>
                      <a:pt x="163" y="162"/>
                    </a:lnTo>
                    <a:lnTo>
                      <a:pt x="161" y="162"/>
                    </a:lnTo>
                    <a:lnTo>
                      <a:pt x="163" y="162"/>
                    </a:lnTo>
                    <a:lnTo>
                      <a:pt x="161" y="162"/>
                    </a:lnTo>
                    <a:lnTo>
                      <a:pt x="163" y="164"/>
                    </a:lnTo>
                    <a:lnTo>
                      <a:pt x="163" y="165"/>
                    </a:lnTo>
                    <a:lnTo>
                      <a:pt x="159" y="169"/>
                    </a:lnTo>
                    <a:lnTo>
                      <a:pt x="159" y="171"/>
                    </a:lnTo>
                    <a:lnTo>
                      <a:pt x="159" y="173"/>
                    </a:lnTo>
                    <a:lnTo>
                      <a:pt x="159" y="175"/>
                    </a:lnTo>
                    <a:lnTo>
                      <a:pt x="159" y="177"/>
                    </a:lnTo>
                    <a:lnTo>
                      <a:pt x="159" y="179"/>
                    </a:lnTo>
                    <a:lnTo>
                      <a:pt x="163" y="183"/>
                    </a:lnTo>
                    <a:lnTo>
                      <a:pt x="165" y="183"/>
                    </a:lnTo>
                    <a:lnTo>
                      <a:pt x="163" y="189"/>
                    </a:lnTo>
                    <a:lnTo>
                      <a:pt x="161" y="190"/>
                    </a:lnTo>
                    <a:lnTo>
                      <a:pt x="159" y="192"/>
                    </a:lnTo>
                    <a:lnTo>
                      <a:pt x="157" y="194"/>
                    </a:lnTo>
                    <a:lnTo>
                      <a:pt x="156" y="194"/>
                    </a:lnTo>
                    <a:lnTo>
                      <a:pt x="156" y="196"/>
                    </a:lnTo>
                    <a:lnTo>
                      <a:pt x="156" y="194"/>
                    </a:lnTo>
                    <a:lnTo>
                      <a:pt x="154" y="196"/>
                    </a:lnTo>
                    <a:lnTo>
                      <a:pt x="152" y="196"/>
                    </a:lnTo>
                    <a:lnTo>
                      <a:pt x="148" y="196"/>
                    </a:lnTo>
                    <a:lnTo>
                      <a:pt x="148" y="198"/>
                    </a:lnTo>
                    <a:lnTo>
                      <a:pt x="148" y="200"/>
                    </a:lnTo>
                    <a:lnTo>
                      <a:pt x="146" y="204"/>
                    </a:lnTo>
                    <a:lnTo>
                      <a:pt x="148" y="204"/>
                    </a:lnTo>
                    <a:lnTo>
                      <a:pt x="150" y="204"/>
                    </a:lnTo>
                    <a:lnTo>
                      <a:pt x="146" y="210"/>
                    </a:lnTo>
                    <a:lnTo>
                      <a:pt x="148" y="212"/>
                    </a:lnTo>
                    <a:lnTo>
                      <a:pt x="148" y="214"/>
                    </a:lnTo>
                    <a:lnTo>
                      <a:pt x="150" y="214"/>
                    </a:lnTo>
                    <a:lnTo>
                      <a:pt x="150" y="215"/>
                    </a:lnTo>
                    <a:lnTo>
                      <a:pt x="150" y="217"/>
                    </a:lnTo>
                    <a:lnTo>
                      <a:pt x="148" y="217"/>
                    </a:lnTo>
                    <a:lnTo>
                      <a:pt x="146" y="219"/>
                    </a:lnTo>
                    <a:lnTo>
                      <a:pt x="146" y="217"/>
                    </a:lnTo>
                    <a:lnTo>
                      <a:pt x="144" y="217"/>
                    </a:lnTo>
                    <a:lnTo>
                      <a:pt x="144" y="219"/>
                    </a:lnTo>
                    <a:lnTo>
                      <a:pt x="142" y="219"/>
                    </a:lnTo>
                    <a:lnTo>
                      <a:pt x="144" y="223"/>
                    </a:lnTo>
                    <a:lnTo>
                      <a:pt x="144" y="229"/>
                    </a:lnTo>
                    <a:lnTo>
                      <a:pt x="142" y="229"/>
                    </a:lnTo>
                    <a:lnTo>
                      <a:pt x="142" y="231"/>
                    </a:lnTo>
                    <a:lnTo>
                      <a:pt x="140" y="231"/>
                    </a:lnTo>
                    <a:lnTo>
                      <a:pt x="140" y="233"/>
                    </a:lnTo>
                    <a:lnTo>
                      <a:pt x="138" y="233"/>
                    </a:lnTo>
                    <a:lnTo>
                      <a:pt x="136" y="233"/>
                    </a:lnTo>
                    <a:lnTo>
                      <a:pt x="136" y="235"/>
                    </a:lnTo>
                    <a:lnTo>
                      <a:pt x="134" y="235"/>
                    </a:lnTo>
                    <a:lnTo>
                      <a:pt x="132" y="235"/>
                    </a:lnTo>
                    <a:lnTo>
                      <a:pt x="131" y="235"/>
                    </a:lnTo>
                    <a:lnTo>
                      <a:pt x="129" y="235"/>
                    </a:lnTo>
                    <a:lnTo>
                      <a:pt x="129" y="237"/>
                    </a:lnTo>
                    <a:lnTo>
                      <a:pt x="129" y="239"/>
                    </a:lnTo>
                    <a:lnTo>
                      <a:pt x="127" y="239"/>
                    </a:lnTo>
                    <a:lnTo>
                      <a:pt x="127" y="237"/>
                    </a:lnTo>
                    <a:lnTo>
                      <a:pt x="127" y="235"/>
                    </a:lnTo>
                    <a:lnTo>
                      <a:pt x="125" y="237"/>
                    </a:lnTo>
                    <a:lnTo>
                      <a:pt x="125" y="239"/>
                    </a:lnTo>
                    <a:lnTo>
                      <a:pt x="123" y="239"/>
                    </a:lnTo>
                    <a:lnTo>
                      <a:pt x="121" y="239"/>
                    </a:lnTo>
                    <a:lnTo>
                      <a:pt x="121" y="237"/>
                    </a:lnTo>
                    <a:lnTo>
                      <a:pt x="121" y="235"/>
                    </a:lnTo>
                    <a:lnTo>
                      <a:pt x="121" y="237"/>
                    </a:lnTo>
                    <a:lnTo>
                      <a:pt x="119" y="237"/>
                    </a:lnTo>
                    <a:lnTo>
                      <a:pt x="117" y="237"/>
                    </a:lnTo>
                    <a:lnTo>
                      <a:pt x="117" y="235"/>
                    </a:lnTo>
                    <a:lnTo>
                      <a:pt x="117" y="233"/>
                    </a:lnTo>
                    <a:lnTo>
                      <a:pt x="119" y="233"/>
                    </a:lnTo>
                    <a:lnTo>
                      <a:pt x="119" y="231"/>
                    </a:lnTo>
                    <a:lnTo>
                      <a:pt x="121" y="231"/>
                    </a:lnTo>
                    <a:lnTo>
                      <a:pt x="121" y="229"/>
                    </a:lnTo>
                    <a:lnTo>
                      <a:pt x="119" y="227"/>
                    </a:lnTo>
                    <a:lnTo>
                      <a:pt x="117" y="227"/>
                    </a:lnTo>
                    <a:lnTo>
                      <a:pt x="115" y="227"/>
                    </a:lnTo>
                    <a:lnTo>
                      <a:pt x="117" y="225"/>
                    </a:lnTo>
                    <a:lnTo>
                      <a:pt x="115" y="223"/>
                    </a:lnTo>
                    <a:lnTo>
                      <a:pt x="115" y="225"/>
                    </a:lnTo>
                    <a:lnTo>
                      <a:pt x="113" y="225"/>
                    </a:lnTo>
                    <a:lnTo>
                      <a:pt x="113" y="223"/>
                    </a:lnTo>
                    <a:lnTo>
                      <a:pt x="113" y="221"/>
                    </a:lnTo>
                    <a:lnTo>
                      <a:pt x="111" y="221"/>
                    </a:lnTo>
                    <a:lnTo>
                      <a:pt x="111" y="219"/>
                    </a:lnTo>
                    <a:lnTo>
                      <a:pt x="109" y="219"/>
                    </a:lnTo>
                    <a:lnTo>
                      <a:pt x="109" y="217"/>
                    </a:lnTo>
                    <a:lnTo>
                      <a:pt x="108" y="219"/>
                    </a:lnTo>
                    <a:lnTo>
                      <a:pt x="108" y="221"/>
                    </a:lnTo>
                    <a:lnTo>
                      <a:pt x="106" y="221"/>
                    </a:lnTo>
                    <a:lnTo>
                      <a:pt x="108" y="223"/>
                    </a:lnTo>
                    <a:lnTo>
                      <a:pt x="106" y="223"/>
                    </a:lnTo>
                    <a:lnTo>
                      <a:pt x="106" y="225"/>
                    </a:lnTo>
                    <a:lnTo>
                      <a:pt x="106" y="227"/>
                    </a:lnTo>
                    <a:lnTo>
                      <a:pt x="106" y="229"/>
                    </a:lnTo>
                    <a:lnTo>
                      <a:pt x="104" y="229"/>
                    </a:lnTo>
                    <a:lnTo>
                      <a:pt x="102" y="229"/>
                    </a:lnTo>
                    <a:lnTo>
                      <a:pt x="102" y="227"/>
                    </a:lnTo>
                    <a:lnTo>
                      <a:pt x="100" y="229"/>
                    </a:lnTo>
                    <a:lnTo>
                      <a:pt x="98" y="229"/>
                    </a:lnTo>
                    <a:lnTo>
                      <a:pt x="96" y="229"/>
                    </a:lnTo>
                    <a:lnTo>
                      <a:pt x="96" y="231"/>
                    </a:lnTo>
                    <a:lnTo>
                      <a:pt x="94" y="231"/>
                    </a:lnTo>
                    <a:lnTo>
                      <a:pt x="94" y="233"/>
                    </a:lnTo>
                    <a:lnTo>
                      <a:pt x="92" y="233"/>
                    </a:lnTo>
                    <a:lnTo>
                      <a:pt x="92" y="235"/>
                    </a:lnTo>
                    <a:lnTo>
                      <a:pt x="90" y="235"/>
                    </a:lnTo>
                    <a:lnTo>
                      <a:pt x="90" y="237"/>
                    </a:lnTo>
                    <a:lnTo>
                      <a:pt x="90" y="239"/>
                    </a:lnTo>
                    <a:lnTo>
                      <a:pt x="88" y="239"/>
                    </a:lnTo>
                    <a:lnTo>
                      <a:pt x="88" y="237"/>
                    </a:lnTo>
                    <a:lnTo>
                      <a:pt x="86" y="237"/>
                    </a:lnTo>
                    <a:lnTo>
                      <a:pt x="86" y="239"/>
                    </a:lnTo>
                    <a:lnTo>
                      <a:pt x="86" y="240"/>
                    </a:lnTo>
                    <a:lnTo>
                      <a:pt x="86" y="242"/>
                    </a:lnTo>
                    <a:lnTo>
                      <a:pt x="84" y="242"/>
                    </a:lnTo>
                    <a:lnTo>
                      <a:pt x="84" y="244"/>
                    </a:lnTo>
                    <a:lnTo>
                      <a:pt x="84" y="246"/>
                    </a:lnTo>
                    <a:lnTo>
                      <a:pt x="83" y="246"/>
                    </a:lnTo>
                    <a:lnTo>
                      <a:pt x="83" y="248"/>
                    </a:lnTo>
                    <a:lnTo>
                      <a:pt x="83" y="246"/>
                    </a:lnTo>
                    <a:lnTo>
                      <a:pt x="83" y="248"/>
                    </a:lnTo>
                    <a:lnTo>
                      <a:pt x="81" y="250"/>
                    </a:lnTo>
                    <a:lnTo>
                      <a:pt x="79" y="250"/>
                    </a:lnTo>
                    <a:lnTo>
                      <a:pt x="79" y="248"/>
                    </a:lnTo>
                    <a:lnTo>
                      <a:pt x="81" y="248"/>
                    </a:lnTo>
                    <a:lnTo>
                      <a:pt x="79" y="248"/>
                    </a:lnTo>
                    <a:lnTo>
                      <a:pt x="81" y="248"/>
                    </a:lnTo>
                    <a:lnTo>
                      <a:pt x="79" y="246"/>
                    </a:lnTo>
                    <a:lnTo>
                      <a:pt x="77" y="246"/>
                    </a:lnTo>
                    <a:lnTo>
                      <a:pt x="77" y="248"/>
                    </a:lnTo>
                    <a:lnTo>
                      <a:pt x="75" y="248"/>
                    </a:lnTo>
                    <a:lnTo>
                      <a:pt x="73" y="246"/>
                    </a:lnTo>
                    <a:lnTo>
                      <a:pt x="73" y="244"/>
                    </a:lnTo>
                    <a:lnTo>
                      <a:pt x="71" y="244"/>
                    </a:lnTo>
                    <a:lnTo>
                      <a:pt x="71" y="242"/>
                    </a:lnTo>
                    <a:lnTo>
                      <a:pt x="69" y="242"/>
                    </a:lnTo>
                    <a:lnTo>
                      <a:pt x="69" y="240"/>
                    </a:lnTo>
                    <a:lnTo>
                      <a:pt x="67" y="240"/>
                    </a:lnTo>
                    <a:lnTo>
                      <a:pt x="67" y="239"/>
                    </a:lnTo>
                    <a:lnTo>
                      <a:pt x="67" y="237"/>
                    </a:lnTo>
                    <a:lnTo>
                      <a:pt x="65" y="237"/>
                    </a:lnTo>
                    <a:lnTo>
                      <a:pt x="63" y="237"/>
                    </a:lnTo>
                    <a:lnTo>
                      <a:pt x="63" y="235"/>
                    </a:lnTo>
                    <a:lnTo>
                      <a:pt x="61" y="235"/>
                    </a:lnTo>
                    <a:lnTo>
                      <a:pt x="59" y="235"/>
                    </a:lnTo>
                    <a:lnTo>
                      <a:pt x="59" y="237"/>
                    </a:lnTo>
                    <a:lnTo>
                      <a:pt x="58" y="237"/>
                    </a:lnTo>
                    <a:lnTo>
                      <a:pt x="56" y="237"/>
                    </a:lnTo>
                    <a:lnTo>
                      <a:pt x="56" y="239"/>
                    </a:lnTo>
                    <a:lnTo>
                      <a:pt x="54" y="239"/>
                    </a:lnTo>
                    <a:lnTo>
                      <a:pt x="54" y="240"/>
                    </a:lnTo>
                    <a:lnTo>
                      <a:pt x="52" y="240"/>
                    </a:lnTo>
                    <a:lnTo>
                      <a:pt x="52" y="242"/>
                    </a:lnTo>
                    <a:lnTo>
                      <a:pt x="50" y="242"/>
                    </a:lnTo>
                    <a:lnTo>
                      <a:pt x="48" y="240"/>
                    </a:lnTo>
                    <a:lnTo>
                      <a:pt x="48" y="239"/>
                    </a:lnTo>
                    <a:lnTo>
                      <a:pt x="48" y="237"/>
                    </a:lnTo>
                    <a:lnTo>
                      <a:pt x="50" y="235"/>
                    </a:lnTo>
                    <a:lnTo>
                      <a:pt x="50" y="233"/>
                    </a:lnTo>
                    <a:lnTo>
                      <a:pt x="50" y="231"/>
                    </a:lnTo>
                    <a:lnTo>
                      <a:pt x="48" y="231"/>
                    </a:lnTo>
                    <a:lnTo>
                      <a:pt x="48" y="229"/>
                    </a:lnTo>
                    <a:lnTo>
                      <a:pt x="48" y="227"/>
                    </a:lnTo>
                    <a:lnTo>
                      <a:pt x="46" y="227"/>
                    </a:lnTo>
                    <a:lnTo>
                      <a:pt x="46" y="225"/>
                    </a:lnTo>
                    <a:lnTo>
                      <a:pt x="48" y="225"/>
                    </a:lnTo>
                    <a:lnTo>
                      <a:pt x="48" y="223"/>
                    </a:lnTo>
                    <a:lnTo>
                      <a:pt x="48" y="221"/>
                    </a:lnTo>
                    <a:lnTo>
                      <a:pt x="48" y="219"/>
                    </a:lnTo>
                    <a:lnTo>
                      <a:pt x="46" y="219"/>
                    </a:lnTo>
                    <a:lnTo>
                      <a:pt x="46" y="217"/>
                    </a:lnTo>
                    <a:lnTo>
                      <a:pt x="46" y="215"/>
                    </a:lnTo>
                    <a:lnTo>
                      <a:pt x="46" y="214"/>
                    </a:lnTo>
                    <a:lnTo>
                      <a:pt x="46" y="212"/>
                    </a:lnTo>
                    <a:lnTo>
                      <a:pt x="46" y="210"/>
                    </a:lnTo>
                    <a:lnTo>
                      <a:pt x="46" y="208"/>
                    </a:lnTo>
                    <a:lnTo>
                      <a:pt x="46" y="206"/>
                    </a:lnTo>
                    <a:lnTo>
                      <a:pt x="46" y="204"/>
                    </a:lnTo>
                    <a:lnTo>
                      <a:pt x="46" y="202"/>
                    </a:lnTo>
                    <a:lnTo>
                      <a:pt x="46" y="200"/>
                    </a:lnTo>
                    <a:lnTo>
                      <a:pt x="46" y="198"/>
                    </a:lnTo>
                    <a:lnTo>
                      <a:pt x="46" y="196"/>
                    </a:lnTo>
                    <a:lnTo>
                      <a:pt x="46" y="194"/>
                    </a:lnTo>
                    <a:lnTo>
                      <a:pt x="44" y="192"/>
                    </a:lnTo>
                    <a:lnTo>
                      <a:pt x="44" y="190"/>
                    </a:lnTo>
                    <a:lnTo>
                      <a:pt x="44" y="189"/>
                    </a:lnTo>
                    <a:lnTo>
                      <a:pt x="44" y="187"/>
                    </a:lnTo>
                    <a:lnTo>
                      <a:pt x="44" y="185"/>
                    </a:lnTo>
                    <a:lnTo>
                      <a:pt x="44" y="183"/>
                    </a:lnTo>
                    <a:lnTo>
                      <a:pt x="44" y="181"/>
                    </a:lnTo>
                    <a:lnTo>
                      <a:pt x="42" y="181"/>
                    </a:lnTo>
                    <a:lnTo>
                      <a:pt x="44" y="181"/>
                    </a:lnTo>
                    <a:lnTo>
                      <a:pt x="42" y="181"/>
                    </a:lnTo>
                    <a:lnTo>
                      <a:pt x="42" y="179"/>
                    </a:lnTo>
                    <a:lnTo>
                      <a:pt x="44" y="179"/>
                    </a:lnTo>
                    <a:lnTo>
                      <a:pt x="44" y="177"/>
                    </a:lnTo>
                    <a:lnTo>
                      <a:pt x="44" y="175"/>
                    </a:lnTo>
                    <a:lnTo>
                      <a:pt x="42" y="175"/>
                    </a:lnTo>
                    <a:lnTo>
                      <a:pt x="42" y="173"/>
                    </a:lnTo>
                    <a:lnTo>
                      <a:pt x="42" y="171"/>
                    </a:lnTo>
                    <a:lnTo>
                      <a:pt x="40" y="171"/>
                    </a:lnTo>
                    <a:lnTo>
                      <a:pt x="40" y="169"/>
                    </a:lnTo>
                    <a:lnTo>
                      <a:pt x="40" y="167"/>
                    </a:lnTo>
                    <a:lnTo>
                      <a:pt x="40" y="165"/>
                    </a:lnTo>
                    <a:lnTo>
                      <a:pt x="40" y="164"/>
                    </a:lnTo>
                    <a:lnTo>
                      <a:pt x="40" y="162"/>
                    </a:lnTo>
                    <a:lnTo>
                      <a:pt x="38" y="162"/>
                    </a:lnTo>
                    <a:lnTo>
                      <a:pt x="38" y="160"/>
                    </a:lnTo>
                    <a:lnTo>
                      <a:pt x="38" y="158"/>
                    </a:lnTo>
                    <a:lnTo>
                      <a:pt x="36" y="158"/>
                    </a:lnTo>
                    <a:lnTo>
                      <a:pt x="36" y="156"/>
                    </a:lnTo>
                    <a:lnTo>
                      <a:pt x="36" y="154"/>
                    </a:lnTo>
                    <a:lnTo>
                      <a:pt x="35" y="154"/>
                    </a:lnTo>
                    <a:lnTo>
                      <a:pt x="33" y="152"/>
                    </a:lnTo>
                    <a:lnTo>
                      <a:pt x="33" y="150"/>
                    </a:lnTo>
                    <a:lnTo>
                      <a:pt x="31" y="150"/>
                    </a:lnTo>
                    <a:lnTo>
                      <a:pt x="31" y="148"/>
                    </a:lnTo>
                    <a:lnTo>
                      <a:pt x="29" y="148"/>
                    </a:lnTo>
                    <a:lnTo>
                      <a:pt x="29" y="146"/>
                    </a:lnTo>
                    <a:lnTo>
                      <a:pt x="29" y="144"/>
                    </a:lnTo>
                    <a:lnTo>
                      <a:pt x="27" y="144"/>
                    </a:lnTo>
                    <a:lnTo>
                      <a:pt x="27" y="142"/>
                    </a:lnTo>
                    <a:lnTo>
                      <a:pt x="25" y="142"/>
                    </a:lnTo>
                    <a:lnTo>
                      <a:pt x="27" y="140"/>
                    </a:lnTo>
                    <a:lnTo>
                      <a:pt x="25" y="140"/>
                    </a:lnTo>
                    <a:lnTo>
                      <a:pt x="25" y="139"/>
                    </a:lnTo>
                    <a:lnTo>
                      <a:pt x="25" y="137"/>
                    </a:lnTo>
                    <a:lnTo>
                      <a:pt x="27" y="137"/>
                    </a:lnTo>
                    <a:lnTo>
                      <a:pt x="27" y="135"/>
                    </a:lnTo>
                    <a:lnTo>
                      <a:pt x="27" y="133"/>
                    </a:lnTo>
                    <a:lnTo>
                      <a:pt x="25" y="133"/>
                    </a:lnTo>
                    <a:lnTo>
                      <a:pt x="25" y="131"/>
                    </a:lnTo>
                    <a:lnTo>
                      <a:pt x="27" y="131"/>
                    </a:lnTo>
                    <a:lnTo>
                      <a:pt x="27" y="129"/>
                    </a:lnTo>
                    <a:lnTo>
                      <a:pt x="25" y="129"/>
                    </a:lnTo>
                    <a:lnTo>
                      <a:pt x="25" y="131"/>
                    </a:lnTo>
                    <a:lnTo>
                      <a:pt x="25" y="129"/>
                    </a:lnTo>
                    <a:lnTo>
                      <a:pt x="23" y="129"/>
                    </a:lnTo>
                    <a:lnTo>
                      <a:pt x="25" y="129"/>
                    </a:lnTo>
                    <a:lnTo>
                      <a:pt x="23" y="129"/>
                    </a:lnTo>
                    <a:lnTo>
                      <a:pt x="23" y="127"/>
                    </a:lnTo>
                    <a:lnTo>
                      <a:pt x="23" y="125"/>
                    </a:lnTo>
                    <a:lnTo>
                      <a:pt x="23" y="123"/>
                    </a:lnTo>
                    <a:lnTo>
                      <a:pt x="25" y="123"/>
                    </a:lnTo>
                    <a:lnTo>
                      <a:pt x="25" y="121"/>
                    </a:lnTo>
                    <a:lnTo>
                      <a:pt x="25" y="119"/>
                    </a:lnTo>
                    <a:lnTo>
                      <a:pt x="25" y="117"/>
                    </a:lnTo>
                    <a:lnTo>
                      <a:pt x="25" y="115"/>
                    </a:lnTo>
                    <a:lnTo>
                      <a:pt x="23" y="115"/>
                    </a:lnTo>
                    <a:lnTo>
                      <a:pt x="25" y="115"/>
                    </a:lnTo>
                    <a:lnTo>
                      <a:pt x="23" y="115"/>
                    </a:lnTo>
                    <a:lnTo>
                      <a:pt x="25" y="115"/>
                    </a:lnTo>
                    <a:lnTo>
                      <a:pt x="23" y="115"/>
                    </a:lnTo>
                    <a:lnTo>
                      <a:pt x="25" y="115"/>
                    </a:lnTo>
                    <a:lnTo>
                      <a:pt x="23" y="115"/>
                    </a:lnTo>
                    <a:lnTo>
                      <a:pt x="23" y="117"/>
                    </a:lnTo>
                    <a:lnTo>
                      <a:pt x="23" y="119"/>
                    </a:lnTo>
                    <a:lnTo>
                      <a:pt x="21" y="117"/>
                    </a:lnTo>
                    <a:lnTo>
                      <a:pt x="21" y="119"/>
                    </a:lnTo>
                    <a:lnTo>
                      <a:pt x="19" y="119"/>
                    </a:lnTo>
                    <a:lnTo>
                      <a:pt x="19" y="117"/>
                    </a:lnTo>
                    <a:lnTo>
                      <a:pt x="17" y="117"/>
                    </a:lnTo>
                    <a:lnTo>
                      <a:pt x="17" y="115"/>
                    </a:lnTo>
                    <a:lnTo>
                      <a:pt x="15" y="115"/>
                    </a:lnTo>
                    <a:lnTo>
                      <a:pt x="15" y="114"/>
                    </a:lnTo>
                    <a:lnTo>
                      <a:pt x="13" y="114"/>
                    </a:lnTo>
                    <a:lnTo>
                      <a:pt x="13" y="112"/>
                    </a:lnTo>
                    <a:lnTo>
                      <a:pt x="11" y="112"/>
                    </a:lnTo>
                    <a:lnTo>
                      <a:pt x="11" y="110"/>
                    </a:lnTo>
                    <a:lnTo>
                      <a:pt x="11" y="108"/>
                    </a:lnTo>
                    <a:lnTo>
                      <a:pt x="11" y="106"/>
                    </a:lnTo>
                    <a:lnTo>
                      <a:pt x="11" y="104"/>
                    </a:lnTo>
                    <a:lnTo>
                      <a:pt x="11" y="102"/>
                    </a:lnTo>
                    <a:lnTo>
                      <a:pt x="11" y="100"/>
                    </a:lnTo>
                    <a:lnTo>
                      <a:pt x="11" y="98"/>
                    </a:lnTo>
                    <a:lnTo>
                      <a:pt x="13" y="98"/>
                    </a:lnTo>
                    <a:lnTo>
                      <a:pt x="13" y="96"/>
                    </a:lnTo>
                    <a:lnTo>
                      <a:pt x="13" y="94"/>
                    </a:lnTo>
                    <a:lnTo>
                      <a:pt x="15" y="94"/>
                    </a:lnTo>
                    <a:lnTo>
                      <a:pt x="15" y="92"/>
                    </a:lnTo>
                    <a:lnTo>
                      <a:pt x="15" y="90"/>
                    </a:lnTo>
                    <a:lnTo>
                      <a:pt x="15" y="89"/>
                    </a:lnTo>
                    <a:lnTo>
                      <a:pt x="15" y="87"/>
                    </a:lnTo>
                    <a:lnTo>
                      <a:pt x="13" y="85"/>
                    </a:lnTo>
                    <a:lnTo>
                      <a:pt x="13" y="83"/>
                    </a:lnTo>
                    <a:lnTo>
                      <a:pt x="11" y="81"/>
                    </a:lnTo>
                    <a:lnTo>
                      <a:pt x="11" y="79"/>
                    </a:lnTo>
                    <a:lnTo>
                      <a:pt x="10" y="77"/>
                    </a:lnTo>
                    <a:lnTo>
                      <a:pt x="10" y="75"/>
                    </a:lnTo>
                    <a:lnTo>
                      <a:pt x="8" y="73"/>
                    </a:lnTo>
                    <a:lnTo>
                      <a:pt x="8" y="71"/>
                    </a:lnTo>
                    <a:lnTo>
                      <a:pt x="6" y="71"/>
                    </a:lnTo>
                    <a:lnTo>
                      <a:pt x="6" y="69"/>
                    </a:lnTo>
                    <a:lnTo>
                      <a:pt x="4" y="69"/>
                    </a:lnTo>
                    <a:lnTo>
                      <a:pt x="2" y="69"/>
                    </a:lnTo>
                    <a:lnTo>
                      <a:pt x="2" y="67"/>
                    </a:lnTo>
                    <a:lnTo>
                      <a:pt x="2" y="65"/>
                    </a:lnTo>
                    <a:lnTo>
                      <a:pt x="0" y="65"/>
                    </a:lnTo>
                    <a:lnTo>
                      <a:pt x="0" y="64"/>
                    </a:lnTo>
                    <a:lnTo>
                      <a:pt x="2" y="64"/>
                    </a:lnTo>
                    <a:lnTo>
                      <a:pt x="2" y="62"/>
                    </a:lnTo>
                    <a:lnTo>
                      <a:pt x="2" y="60"/>
                    </a:lnTo>
                    <a:lnTo>
                      <a:pt x="2" y="62"/>
                    </a:lnTo>
                    <a:lnTo>
                      <a:pt x="2" y="60"/>
                    </a:lnTo>
                    <a:lnTo>
                      <a:pt x="2" y="62"/>
                    </a:lnTo>
                    <a:lnTo>
                      <a:pt x="4" y="62"/>
                    </a:lnTo>
                    <a:lnTo>
                      <a:pt x="6" y="62"/>
                    </a:lnTo>
                    <a:lnTo>
                      <a:pt x="6" y="64"/>
                    </a:lnTo>
                    <a:lnTo>
                      <a:pt x="8" y="64"/>
                    </a:lnTo>
                    <a:lnTo>
                      <a:pt x="8" y="62"/>
                    </a:lnTo>
                    <a:lnTo>
                      <a:pt x="10" y="64"/>
                    </a:lnTo>
                    <a:lnTo>
                      <a:pt x="10" y="62"/>
                    </a:lnTo>
                    <a:lnTo>
                      <a:pt x="8" y="64"/>
                    </a:lnTo>
                    <a:lnTo>
                      <a:pt x="10" y="64"/>
                    </a:lnTo>
                    <a:lnTo>
                      <a:pt x="11" y="64"/>
                    </a:lnTo>
                    <a:lnTo>
                      <a:pt x="13" y="64"/>
                    </a:lnTo>
                    <a:lnTo>
                      <a:pt x="13" y="65"/>
                    </a:lnTo>
                    <a:lnTo>
                      <a:pt x="13" y="64"/>
                    </a:lnTo>
                    <a:lnTo>
                      <a:pt x="15" y="64"/>
                    </a:lnTo>
                    <a:lnTo>
                      <a:pt x="17" y="65"/>
                    </a:lnTo>
                    <a:lnTo>
                      <a:pt x="19" y="64"/>
                    </a:lnTo>
                    <a:lnTo>
                      <a:pt x="19" y="62"/>
                    </a:lnTo>
                    <a:lnTo>
                      <a:pt x="19" y="64"/>
                    </a:lnTo>
                    <a:lnTo>
                      <a:pt x="19" y="62"/>
                    </a:lnTo>
                    <a:lnTo>
                      <a:pt x="17" y="62"/>
                    </a:lnTo>
                    <a:lnTo>
                      <a:pt x="15" y="60"/>
                    </a:lnTo>
                    <a:lnTo>
                      <a:pt x="13" y="60"/>
                    </a:lnTo>
                    <a:lnTo>
                      <a:pt x="11" y="60"/>
                    </a:lnTo>
                    <a:lnTo>
                      <a:pt x="13" y="58"/>
                    </a:lnTo>
                    <a:lnTo>
                      <a:pt x="13" y="56"/>
                    </a:lnTo>
                    <a:lnTo>
                      <a:pt x="13" y="54"/>
                    </a:lnTo>
                    <a:lnTo>
                      <a:pt x="13" y="56"/>
                    </a:lnTo>
                    <a:lnTo>
                      <a:pt x="15" y="56"/>
                    </a:lnTo>
                    <a:lnTo>
                      <a:pt x="13" y="56"/>
                    </a:lnTo>
                    <a:lnTo>
                      <a:pt x="15" y="56"/>
                    </a:lnTo>
                    <a:lnTo>
                      <a:pt x="17" y="56"/>
                    </a:lnTo>
                    <a:lnTo>
                      <a:pt x="15" y="56"/>
                    </a:lnTo>
                    <a:lnTo>
                      <a:pt x="15" y="54"/>
                    </a:lnTo>
                    <a:lnTo>
                      <a:pt x="15" y="52"/>
                    </a:lnTo>
                    <a:lnTo>
                      <a:pt x="13" y="54"/>
                    </a:lnTo>
                    <a:lnTo>
                      <a:pt x="11" y="54"/>
                    </a:lnTo>
                    <a:lnTo>
                      <a:pt x="11" y="56"/>
                    </a:lnTo>
                    <a:lnTo>
                      <a:pt x="11" y="54"/>
                    </a:lnTo>
                    <a:lnTo>
                      <a:pt x="10" y="56"/>
                    </a:lnTo>
                    <a:lnTo>
                      <a:pt x="8" y="56"/>
                    </a:lnTo>
                    <a:lnTo>
                      <a:pt x="10" y="56"/>
                    </a:lnTo>
                    <a:lnTo>
                      <a:pt x="8" y="56"/>
                    </a:lnTo>
                    <a:lnTo>
                      <a:pt x="6" y="56"/>
                    </a:lnTo>
                    <a:lnTo>
                      <a:pt x="8" y="56"/>
                    </a:lnTo>
                    <a:lnTo>
                      <a:pt x="8" y="54"/>
                    </a:lnTo>
                    <a:lnTo>
                      <a:pt x="8" y="56"/>
                    </a:lnTo>
                    <a:lnTo>
                      <a:pt x="8" y="54"/>
                    </a:lnTo>
                    <a:lnTo>
                      <a:pt x="10" y="54"/>
                    </a:lnTo>
                    <a:lnTo>
                      <a:pt x="11" y="54"/>
                    </a:lnTo>
                    <a:lnTo>
                      <a:pt x="13" y="54"/>
                    </a:lnTo>
                    <a:lnTo>
                      <a:pt x="15" y="52"/>
                    </a:lnTo>
                    <a:lnTo>
                      <a:pt x="17" y="52"/>
                    </a:lnTo>
                    <a:lnTo>
                      <a:pt x="19" y="52"/>
                    </a:lnTo>
                    <a:lnTo>
                      <a:pt x="19" y="54"/>
                    </a:lnTo>
                    <a:lnTo>
                      <a:pt x="21" y="54"/>
                    </a:lnTo>
                    <a:lnTo>
                      <a:pt x="21" y="56"/>
                    </a:lnTo>
                    <a:lnTo>
                      <a:pt x="21" y="58"/>
                    </a:lnTo>
                    <a:lnTo>
                      <a:pt x="23" y="60"/>
                    </a:lnTo>
                    <a:lnTo>
                      <a:pt x="23" y="62"/>
                    </a:lnTo>
                    <a:lnTo>
                      <a:pt x="25" y="64"/>
                    </a:lnTo>
                    <a:lnTo>
                      <a:pt x="27" y="65"/>
                    </a:lnTo>
                    <a:lnTo>
                      <a:pt x="27" y="67"/>
                    </a:lnTo>
                    <a:lnTo>
                      <a:pt x="29" y="67"/>
                    </a:lnTo>
                    <a:lnTo>
                      <a:pt x="29" y="69"/>
                    </a:lnTo>
                    <a:lnTo>
                      <a:pt x="31" y="69"/>
                    </a:lnTo>
                    <a:lnTo>
                      <a:pt x="33" y="69"/>
                    </a:lnTo>
                    <a:lnTo>
                      <a:pt x="33" y="71"/>
                    </a:lnTo>
                    <a:lnTo>
                      <a:pt x="33" y="69"/>
                    </a:lnTo>
                    <a:lnTo>
                      <a:pt x="35" y="69"/>
                    </a:lnTo>
                    <a:lnTo>
                      <a:pt x="35" y="71"/>
                    </a:lnTo>
                    <a:lnTo>
                      <a:pt x="35" y="69"/>
                    </a:lnTo>
                    <a:lnTo>
                      <a:pt x="35" y="71"/>
                    </a:lnTo>
                    <a:lnTo>
                      <a:pt x="36" y="71"/>
                    </a:lnTo>
                    <a:lnTo>
                      <a:pt x="40" y="71"/>
                    </a:lnTo>
                    <a:lnTo>
                      <a:pt x="42" y="71"/>
                    </a:lnTo>
                    <a:lnTo>
                      <a:pt x="42" y="69"/>
                    </a:lnTo>
                    <a:lnTo>
                      <a:pt x="44" y="69"/>
                    </a:lnTo>
                    <a:lnTo>
                      <a:pt x="46" y="67"/>
                    </a:lnTo>
                    <a:lnTo>
                      <a:pt x="46" y="65"/>
                    </a:lnTo>
                    <a:lnTo>
                      <a:pt x="48" y="64"/>
                    </a:lnTo>
                    <a:lnTo>
                      <a:pt x="50" y="62"/>
                    </a:lnTo>
                    <a:lnTo>
                      <a:pt x="52" y="60"/>
                    </a:lnTo>
                    <a:lnTo>
                      <a:pt x="52" y="58"/>
                    </a:lnTo>
                    <a:lnTo>
                      <a:pt x="54" y="58"/>
                    </a:lnTo>
                    <a:lnTo>
                      <a:pt x="54" y="56"/>
                    </a:lnTo>
                    <a:lnTo>
                      <a:pt x="56" y="56"/>
                    </a:lnTo>
                    <a:lnTo>
                      <a:pt x="58" y="56"/>
                    </a:lnTo>
                    <a:lnTo>
                      <a:pt x="58" y="58"/>
                    </a:lnTo>
                    <a:lnTo>
                      <a:pt x="59" y="58"/>
                    </a:lnTo>
                    <a:lnTo>
                      <a:pt x="59" y="56"/>
                    </a:lnTo>
                    <a:lnTo>
                      <a:pt x="61" y="56"/>
                    </a:lnTo>
                    <a:lnTo>
                      <a:pt x="63" y="56"/>
                    </a:lnTo>
                    <a:lnTo>
                      <a:pt x="65" y="56"/>
                    </a:lnTo>
                    <a:lnTo>
                      <a:pt x="67" y="54"/>
                    </a:lnTo>
                    <a:lnTo>
                      <a:pt x="69" y="52"/>
                    </a:lnTo>
                    <a:lnTo>
                      <a:pt x="71" y="50"/>
                    </a:lnTo>
                    <a:lnTo>
                      <a:pt x="73" y="48"/>
                    </a:lnTo>
                    <a:lnTo>
                      <a:pt x="75" y="46"/>
                    </a:lnTo>
                    <a:lnTo>
                      <a:pt x="77" y="44"/>
                    </a:lnTo>
                    <a:lnTo>
                      <a:pt x="79" y="44"/>
                    </a:lnTo>
                    <a:lnTo>
                      <a:pt x="79" y="42"/>
                    </a:lnTo>
                    <a:lnTo>
                      <a:pt x="81" y="42"/>
                    </a:lnTo>
                    <a:lnTo>
                      <a:pt x="83" y="44"/>
                    </a:lnTo>
                    <a:lnTo>
                      <a:pt x="84" y="44"/>
                    </a:lnTo>
                    <a:lnTo>
                      <a:pt x="84" y="46"/>
                    </a:lnTo>
                    <a:lnTo>
                      <a:pt x="83" y="46"/>
                    </a:lnTo>
                    <a:lnTo>
                      <a:pt x="81" y="48"/>
                    </a:lnTo>
                    <a:lnTo>
                      <a:pt x="81" y="50"/>
                    </a:lnTo>
                    <a:lnTo>
                      <a:pt x="79" y="52"/>
                    </a:lnTo>
                    <a:lnTo>
                      <a:pt x="81" y="50"/>
                    </a:lnTo>
                    <a:lnTo>
                      <a:pt x="83" y="50"/>
                    </a:lnTo>
                    <a:lnTo>
                      <a:pt x="84" y="50"/>
                    </a:lnTo>
                    <a:lnTo>
                      <a:pt x="84" y="48"/>
                    </a:lnTo>
                    <a:lnTo>
                      <a:pt x="84" y="46"/>
                    </a:lnTo>
                    <a:lnTo>
                      <a:pt x="86" y="46"/>
                    </a:lnTo>
                    <a:lnTo>
                      <a:pt x="88" y="44"/>
                    </a:lnTo>
                    <a:lnTo>
                      <a:pt x="90" y="42"/>
                    </a:lnTo>
                    <a:lnTo>
                      <a:pt x="92" y="42"/>
                    </a:lnTo>
                    <a:lnTo>
                      <a:pt x="94" y="42"/>
                    </a:lnTo>
                    <a:lnTo>
                      <a:pt x="94" y="40"/>
                    </a:lnTo>
                    <a:lnTo>
                      <a:pt x="96" y="39"/>
                    </a:lnTo>
                    <a:lnTo>
                      <a:pt x="98" y="37"/>
                    </a:lnTo>
                    <a:lnTo>
                      <a:pt x="98" y="39"/>
                    </a:lnTo>
                    <a:lnTo>
                      <a:pt x="96" y="39"/>
                    </a:lnTo>
                    <a:lnTo>
                      <a:pt x="96" y="40"/>
                    </a:lnTo>
                    <a:lnTo>
                      <a:pt x="94" y="40"/>
                    </a:lnTo>
                    <a:lnTo>
                      <a:pt x="96" y="40"/>
                    </a:lnTo>
                    <a:lnTo>
                      <a:pt x="94" y="40"/>
                    </a:lnTo>
                    <a:lnTo>
                      <a:pt x="94" y="42"/>
                    </a:lnTo>
                    <a:lnTo>
                      <a:pt x="94" y="44"/>
                    </a:lnTo>
                    <a:lnTo>
                      <a:pt x="94" y="42"/>
                    </a:lnTo>
                    <a:lnTo>
                      <a:pt x="94" y="44"/>
                    </a:lnTo>
                    <a:lnTo>
                      <a:pt x="94" y="46"/>
                    </a:lnTo>
                    <a:lnTo>
                      <a:pt x="94" y="48"/>
                    </a:lnTo>
                    <a:lnTo>
                      <a:pt x="96" y="48"/>
                    </a:lnTo>
                    <a:lnTo>
                      <a:pt x="94" y="48"/>
                    </a:lnTo>
                    <a:lnTo>
                      <a:pt x="96" y="48"/>
                    </a:lnTo>
                    <a:lnTo>
                      <a:pt x="94" y="50"/>
                    </a:lnTo>
                    <a:lnTo>
                      <a:pt x="96" y="50"/>
                    </a:lnTo>
                    <a:lnTo>
                      <a:pt x="96" y="52"/>
                    </a:lnTo>
                    <a:lnTo>
                      <a:pt x="96" y="54"/>
                    </a:lnTo>
                    <a:lnTo>
                      <a:pt x="98" y="54"/>
                    </a:lnTo>
                    <a:lnTo>
                      <a:pt x="100" y="56"/>
                    </a:lnTo>
                    <a:lnTo>
                      <a:pt x="102" y="54"/>
                    </a:lnTo>
                    <a:lnTo>
                      <a:pt x="102" y="52"/>
                    </a:lnTo>
                    <a:lnTo>
                      <a:pt x="102" y="50"/>
                    </a:lnTo>
                    <a:lnTo>
                      <a:pt x="102" y="48"/>
                    </a:lnTo>
                    <a:lnTo>
                      <a:pt x="100" y="48"/>
                    </a:lnTo>
                    <a:lnTo>
                      <a:pt x="100" y="46"/>
                    </a:lnTo>
                    <a:lnTo>
                      <a:pt x="100" y="44"/>
                    </a:lnTo>
                    <a:lnTo>
                      <a:pt x="98" y="42"/>
                    </a:lnTo>
                    <a:lnTo>
                      <a:pt x="98" y="40"/>
                    </a:lnTo>
                    <a:lnTo>
                      <a:pt x="98" y="39"/>
                    </a:lnTo>
                    <a:lnTo>
                      <a:pt x="98" y="37"/>
                    </a:lnTo>
                    <a:lnTo>
                      <a:pt x="98" y="35"/>
                    </a:lnTo>
                    <a:lnTo>
                      <a:pt x="98" y="33"/>
                    </a:lnTo>
                    <a:lnTo>
                      <a:pt x="100" y="31"/>
                    </a:lnTo>
                    <a:lnTo>
                      <a:pt x="98" y="31"/>
                    </a:lnTo>
                    <a:lnTo>
                      <a:pt x="98" y="33"/>
                    </a:lnTo>
                    <a:lnTo>
                      <a:pt x="98" y="31"/>
                    </a:lnTo>
                    <a:lnTo>
                      <a:pt x="98" y="29"/>
                    </a:lnTo>
                    <a:lnTo>
                      <a:pt x="98" y="27"/>
                    </a:lnTo>
                    <a:lnTo>
                      <a:pt x="98" y="25"/>
                    </a:lnTo>
                    <a:lnTo>
                      <a:pt x="96" y="23"/>
                    </a:lnTo>
                    <a:lnTo>
                      <a:pt x="94" y="21"/>
                    </a:lnTo>
                    <a:lnTo>
                      <a:pt x="94" y="23"/>
                    </a:lnTo>
                    <a:lnTo>
                      <a:pt x="94" y="25"/>
                    </a:lnTo>
                    <a:lnTo>
                      <a:pt x="92" y="25"/>
                    </a:lnTo>
                    <a:lnTo>
                      <a:pt x="92" y="23"/>
                    </a:lnTo>
                    <a:lnTo>
                      <a:pt x="92" y="21"/>
                    </a:lnTo>
                    <a:lnTo>
                      <a:pt x="92" y="19"/>
                    </a:lnTo>
                    <a:lnTo>
                      <a:pt x="92" y="17"/>
                    </a:lnTo>
                    <a:lnTo>
                      <a:pt x="92" y="16"/>
                    </a:lnTo>
                    <a:lnTo>
                      <a:pt x="92" y="14"/>
                    </a:lnTo>
                    <a:lnTo>
                      <a:pt x="94" y="10"/>
                    </a:lnTo>
                    <a:lnTo>
                      <a:pt x="94" y="8"/>
                    </a:lnTo>
                    <a:lnTo>
                      <a:pt x="94" y="6"/>
                    </a:lnTo>
                    <a:lnTo>
                      <a:pt x="96" y="2"/>
                    </a:lnTo>
                    <a:lnTo>
                      <a:pt x="96" y="0"/>
                    </a:lnTo>
                    <a:lnTo>
                      <a:pt x="98" y="4"/>
                    </a:lnTo>
                    <a:lnTo>
                      <a:pt x="100" y="6"/>
                    </a:lnTo>
                    <a:lnTo>
                      <a:pt x="102" y="8"/>
                    </a:lnTo>
                    <a:lnTo>
                      <a:pt x="104" y="10"/>
                    </a:lnTo>
                    <a:lnTo>
                      <a:pt x="106" y="10"/>
                    </a:lnTo>
                    <a:lnTo>
                      <a:pt x="108" y="10"/>
                    </a:lnTo>
                    <a:lnTo>
                      <a:pt x="109" y="8"/>
                    </a:lnTo>
                    <a:lnTo>
                      <a:pt x="111" y="10"/>
                    </a:lnTo>
                    <a:lnTo>
                      <a:pt x="113" y="10"/>
                    </a:lnTo>
                    <a:lnTo>
                      <a:pt x="115" y="10"/>
                    </a:lnTo>
                    <a:lnTo>
                      <a:pt x="117" y="10"/>
                    </a:lnTo>
                    <a:lnTo>
                      <a:pt x="115" y="10"/>
                    </a:lnTo>
                    <a:lnTo>
                      <a:pt x="115" y="12"/>
                    </a:lnTo>
                    <a:lnTo>
                      <a:pt x="115" y="14"/>
                    </a:lnTo>
                    <a:lnTo>
                      <a:pt x="117" y="16"/>
                    </a:lnTo>
                    <a:lnTo>
                      <a:pt x="117" y="17"/>
                    </a:lnTo>
                    <a:lnTo>
                      <a:pt x="119" y="17"/>
                    </a:lnTo>
                    <a:lnTo>
                      <a:pt x="119" y="19"/>
                    </a:lnTo>
                    <a:lnTo>
                      <a:pt x="121" y="19"/>
                    </a:lnTo>
                    <a:lnTo>
                      <a:pt x="123" y="19"/>
                    </a:lnTo>
                    <a:lnTo>
                      <a:pt x="125" y="19"/>
                    </a:lnTo>
                    <a:lnTo>
                      <a:pt x="125" y="17"/>
                    </a:lnTo>
                    <a:lnTo>
                      <a:pt x="127" y="16"/>
                    </a:lnTo>
                    <a:lnTo>
                      <a:pt x="125" y="16"/>
                    </a:lnTo>
                    <a:lnTo>
                      <a:pt x="125" y="14"/>
                    </a:lnTo>
                    <a:lnTo>
                      <a:pt x="123" y="12"/>
                    </a:lnTo>
                    <a:lnTo>
                      <a:pt x="123" y="14"/>
                    </a:lnTo>
                    <a:lnTo>
                      <a:pt x="123" y="12"/>
                    </a:lnTo>
                    <a:lnTo>
                      <a:pt x="121" y="12"/>
                    </a:lnTo>
                    <a:lnTo>
                      <a:pt x="121" y="10"/>
                    </a:lnTo>
                    <a:lnTo>
                      <a:pt x="121" y="12"/>
                    </a:lnTo>
                    <a:lnTo>
                      <a:pt x="119" y="12"/>
                    </a:lnTo>
                    <a:lnTo>
                      <a:pt x="121" y="12"/>
                    </a:lnTo>
                    <a:lnTo>
                      <a:pt x="121" y="10"/>
                    </a:lnTo>
                    <a:lnTo>
                      <a:pt x="123" y="8"/>
                    </a:lnTo>
                    <a:lnTo>
                      <a:pt x="125" y="6"/>
                    </a:lnTo>
                    <a:lnTo>
                      <a:pt x="127" y="6"/>
                    </a:lnTo>
                    <a:lnTo>
                      <a:pt x="129" y="6"/>
                    </a:lnTo>
                    <a:close/>
                    <a:moveTo>
                      <a:pt x="75" y="125"/>
                    </a:moveTo>
                    <a:lnTo>
                      <a:pt x="73" y="125"/>
                    </a:lnTo>
                    <a:lnTo>
                      <a:pt x="73" y="123"/>
                    </a:lnTo>
                    <a:lnTo>
                      <a:pt x="75" y="123"/>
                    </a:lnTo>
                    <a:lnTo>
                      <a:pt x="73" y="123"/>
                    </a:lnTo>
                    <a:lnTo>
                      <a:pt x="73" y="121"/>
                    </a:lnTo>
                    <a:lnTo>
                      <a:pt x="71" y="121"/>
                    </a:lnTo>
                    <a:lnTo>
                      <a:pt x="71" y="123"/>
                    </a:lnTo>
                    <a:lnTo>
                      <a:pt x="69" y="121"/>
                    </a:lnTo>
                    <a:lnTo>
                      <a:pt x="67" y="121"/>
                    </a:lnTo>
                    <a:lnTo>
                      <a:pt x="67" y="119"/>
                    </a:lnTo>
                    <a:lnTo>
                      <a:pt x="69" y="119"/>
                    </a:lnTo>
                    <a:lnTo>
                      <a:pt x="67" y="119"/>
                    </a:lnTo>
                    <a:lnTo>
                      <a:pt x="69" y="117"/>
                    </a:lnTo>
                    <a:lnTo>
                      <a:pt x="67" y="117"/>
                    </a:lnTo>
                    <a:lnTo>
                      <a:pt x="67" y="115"/>
                    </a:lnTo>
                    <a:lnTo>
                      <a:pt x="65" y="117"/>
                    </a:lnTo>
                    <a:lnTo>
                      <a:pt x="63" y="119"/>
                    </a:lnTo>
                    <a:lnTo>
                      <a:pt x="61" y="121"/>
                    </a:lnTo>
                    <a:lnTo>
                      <a:pt x="65" y="123"/>
                    </a:lnTo>
                    <a:lnTo>
                      <a:pt x="67" y="123"/>
                    </a:lnTo>
                    <a:lnTo>
                      <a:pt x="65" y="123"/>
                    </a:lnTo>
                    <a:lnTo>
                      <a:pt x="65" y="125"/>
                    </a:lnTo>
                    <a:lnTo>
                      <a:pt x="67" y="125"/>
                    </a:lnTo>
                    <a:lnTo>
                      <a:pt x="67" y="127"/>
                    </a:lnTo>
                    <a:lnTo>
                      <a:pt x="67" y="129"/>
                    </a:lnTo>
                    <a:lnTo>
                      <a:pt x="65" y="129"/>
                    </a:lnTo>
                    <a:lnTo>
                      <a:pt x="67" y="129"/>
                    </a:lnTo>
                    <a:lnTo>
                      <a:pt x="67" y="131"/>
                    </a:lnTo>
                    <a:lnTo>
                      <a:pt x="69" y="133"/>
                    </a:lnTo>
                    <a:lnTo>
                      <a:pt x="69" y="135"/>
                    </a:lnTo>
                    <a:lnTo>
                      <a:pt x="71" y="137"/>
                    </a:lnTo>
                    <a:lnTo>
                      <a:pt x="71" y="139"/>
                    </a:lnTo>
                    <a:lnTo>
                      <a:pt x="73" y="139"/>
                    </a:lnTo>
                    <a:lnTo>
                      <a:pt x="75" y="139"/>
                    </a:lnTo>
                    <a:lnTo>
                      <a:pt x="77" y="142"/>
                    </a:lnTo>
                    <a:lnTo>
                      <a:pt x="79" y="142"/>
                    </a:lnTo>
                    <a:lnTo>
                      <a:pt x="81" y="144"/>
                    </a:lnTo>
                    <a:lnTo>
                      <a:pt x="81" y="146"/>
                    </a:lnTo>
                    <a:lnTo>
                      <a:pt x="81" y="144"/>
                    </a:lnTo>
                    <a:lnTo>
                      <a:pt x="84" y="146"/>
                    </a:lnTo>
                    <a:lnTo>
                      <a:pt x="83" y="148"/>
                    </a:lnTo>
                    <a:lnTo>
                      <a:pt x="84" y="148"/>
                    </a:lnTo>
                    <a:lnTo>
                      <a:pt x="84" y="146"/>
                    </a:lnTo>
                    <a:lnTo>
                      <a:pt x="84" y="148"/>
                    </a:lnTo>
                    <a:lnTo>
                      <a:pt x="86" y="148"/>
                    </a:lnTo>
                    <a:lnTo>
                      <a:pt x="86" y="150"/>
                    </a:lnTo>
                    <a:lnTo>
                      <a:pt x="88" y="150"/>
                    </a:lnTo>
                    <a:lnTo>
                      <a:pt x="88" y="148"/>
                    </a:lnTo>
                    <a:lnTo>
                      <a:pt x="90" y="148"/>
                    </a:lnTo>
                    <a:lnTo>
                      <a:pt x="92" y="148"/>
                    </a:lnTo>
                    <a:lnTo>
                      <a:pt x="92" y="146"/>
                    </a:lnTo>
                    <a:lnTo>
                      <a:pt x="92" y="144"/>
                    </a:lnTo>
                    <a:lnTo>
                      <a:pt x="92" y="142"/>
                    </a:lnTo>
                    <a:lnTo>
                      <a:pt x="92" y="140"/>
                    </a:lnTo>
                    <a:lnTo>
                      <a:pt x="92" y="139"/>
                    </a:lnTo>
                    <a:lnTo>
                      <a:pt x="90" y="139"/>
                    </a:lnTo>
                    <a:lnTo>
                      <a:pt x="92" y="137"/>
                    </a:lnTo>
                    <a:lnTo>
                      <a:pt x="90" y="137"/>
                    </a:lnTo>
                    <a:lnTo>
                      <a:pt x="92" y="137"/>
                    </a:lnTo>
                    <a:lnTo>
                      <a:pt x="94" y="135"/>
                    </a:lnTo>
                    <a:lnTo>
                      <a:pt x="96" y="135"/>
                    </a:lnTo>
                    <a:lnTo>
                      <a:pt x="96" y="137"/>
                    </a:lnTo>
                    <a:lnTo>
                      <a:pt x="96" y="135"/>
                    </a:lnTo>
                    <a:lnTo>
                      <a:pt x="96" y="137"/>
                    </a:lnTo>
                    <a:lnTo>
                      <a:pt x="98" y="137"/>
                    </a:lnTo>
                    <a:lnTo>
                      <a:pt x="98" y="139"/>
                    </a:lnTo>
                    <a:lnTo>
                      <a:pt x="98" y="140"/>
                    </a:lnTo>
                    <a:lnTo>
                      <a:pt x="96" y="140"/>
                    </a:lnTo>
                    <a:lnTo>
                      <a:pt x="94" y="140"/>
                    </a:lnTo>
                    <a:lnTo>
                      <a:pt x="94" y="142"/>
                    </a:lnTo>
                    <a:lnTo>
                      <a:pt x="96" y="142"/>
                    </a:lnTo>
                    <a:lnTo>
                      <a:pt x="98" y="140"/>
                    </a:lnTo>
                    <a:lnTo>
                      <a:pt x="98" y="142"/>
                    </a:lnTo>
                    <a:lnTo>
                      <a:pt x="98" y="144"/>
                    </a:lnTo>
                    <a:lnTo>
                      <a:pt x="100" y="144"/>
                    </a:lnTo>
                    <a:lnTo>
                      <a:pt x="100" y="142"/>
                    </a:lnTo>
                    <a:lnTo>
                      <a:pt x="102" y="144"/>
                    </a:lnTo>
                    <a:lnTo>
                      <a:pt x="104" y="144"/>
                    </a:lnTo>
                    <a:lnTo>
                      <a:pt x="106" y="144"/>
                    </a:lnTo>
                    <a:lnTo>
                      <a:pt x="106" y="146"/>
                    </a:lnTo>
                    <a:lnTo>
                      <a:pt x="104" y="150"/>
                    </a:lnTo>
                    <a:lnTo>
                      <a:pt x="106" y="150"/>
                    </a:lnTo>
                    <a:lnTo>
                      <a:pt x="104" y="154"/>
                    </a:lnTo>
                    <a:lnTo>
                      <a:pt x="102" y="154"/>
                    </a:lnTo>
                    <a:lnTo>
                      <a:pt x="104" y="154"/>
                    </a:lnTo>
                    <a:lnTo>
                      <a:pt x="102" y="154"/>
                    </a:lnTo>
                    <a:lnTo>
                      <a:pt x="102" y="156"/>
                    </a:lnTo>
                    <a:lnTo>
                      <a:pt x="104" y="158"/>
                    </a:lnTo>
                    <a:lnTo>
                      <a:pt x="102" y="158"/>
                    </a:lnTo>
                    <a:lnTo>
                      <a:pt x="102" y="156"/>
                    </a:lnTo>
                    <a:lnTo>
                      <a:pt x="100" y="156"/>
                    </a:lnTo>
                    <a:lnTo>
                      <a:pt x="100" y="158"/>
                    </a:lnTo>
                    <a:lnTo>
                      <a:pt x="100" y="160"/>
                    </a:lnTo>
                    <a:lnTo>
                      <a:pt x="102" y="160"/>
                    </a:lnTo>
                    <a:lnTo>
                      <a:pt x="100" y="162"/>
                    </a:lnTo>
                    <a:lnTo>
                      <a:pt x="102" y="164"/>
                    </a:lnTo>
                    <a:lnTo>
                      <a:pt x="98" y="164"/>
                    </a:lnTo>
                    <a:lnTo>
                      <a:pt x="98" y="162"/>
                    </a:lnTo>
                    <a:lnTo>
                      <a:pt x="96" y="162"/>
                    </a:lnTo>
                    <a:lnTo>
                      <a:pt x="96" y="164"/>
                    </a:lnTo>
                    <a:lnTo>
                      <a:pt x="94" y="164"/>
                    </a:lnTo>
                    <a:lnTo>
                      <a:pt x="96" y="164"/>
                    </a:lnTo>
                    <a:lnTo>
                      <a:pt x="94" y="164"/>
                    </a:lnTo>
                    <a:lnTo>
                      <a:pt x="96" y="164"/>
                    </a:lnTo>
                    <a:lnTo>
                      <a:pt x="96" y="165"/>
                    </a:lnTo>
                    <a:lnTo>
                      <a:pt x="94" y="165"/>
                    </a:lnTo>
                    <a:lnTo>
                      <a:pt x="96" y="165"/>
                    </a:lnTo>
                    <a:lnTo>
                      <a:pt x="94" y="165"/>
                    </a:lnTo>
                    <a:lnTo>
                      <a:pt x="92" y="167"/>
                    </a:lnTo>
                    <a:lnTo>
                      <a:pt x="92" y="169"/>
                    </a:lnTo>
                    <a:lnTo>
                      <a:pt x="92" y="171"/>
                    </a:lnTo>
                    <a:lnTo>
                      <a:pt x="90" y="169"/>
                    </a:lnTo>
                    <a:lnTo>
                      <a:pt x="88" y="169"/>
                    </a:lnTo>
                    <a:lnTo>
                      <a:pt x="88" y="171"/>
                    </a:lnTo>
                    <a:lnTo>
                      <a:pt x="88" y="173"/>
                    </a:lnTo>
                    <a:lnTo>
                      <a:pt x="86" y="175"/>
                    </a:lnTo>
                    <a:lnTo>
                      <a:pt x="86" y="177"/>
                    </a:lnTo>
                    <a:lnTo>
                      <a:pt x="84" y="177"/>
                    </a:lnTo>
                    <a:lnTo>
                      <a:pt x="84" y="179"/>
                    </a:lnTo>
                    <a:lnTo>
                      <a:pt x="83" y="179"/>
                    </a:lnTo>
                    <a:lnTo>
                      <a:pt x="83" y="181"/>
                    </a:lnTo>
                    <a:lnTo>
                      <a:pt x="81" y="183"/>
                    </a:lnTo>
                    <a:lnTo>
                      <a:pt x="81" y="185"/>
                    </a:lnTo>
                    <a:lnTo>
                      <a:pt x="81" y="183"/>
                    </a:lnTo>
                    <a:lnTo>
                      <a:pt x="81" y="185"/>
                    </a:lnTo>
                    <a:lnTo>
                      <a:pt x="81" y="183"/>
                    </a:lnTo>
                    <a:lnTo>
                      <a:pt x="83" y="183"/>
                    </a:lnTo>
                    <a:lnTo>
                      <a:pt x="83" y="185"/>
                    </a:lnTo>
                    <a:lnTo>
                      <a:pt x="83" y="187"/>
                    </a:lnTo>
                    <a:lnTo>
                      <a:pt x="83" y="185"/>
                    </a:lnTo>
                    <a:lnTo>
                      <a:pt x="84" y="185"/>
                    </a:lnTo>
                    <a:lnTo>
                      <a:pt x="84" y="187"/>
                    </a:lnTo>
                    <a:lnTo>
                      <a:pt x="83" y="187"/>
                    </a:lnTo>
                    <a:lnTo>
                      <a:pt x="83" y="189"/>
                    </a:lnTo>
                    <a:lnTo>
                      <a:pt x="83" y="190"/>
                    </a:lnTo>
                    <a:lnTo>
                      <a:pt x="81" y="190"/>
                    </a:lnTo>
                    <a:lnTo>
                      <a:pt x="83" y="192"/>
                    </a:lnTo>
                    <a:lnTo>
                      <a:pt x="83" y="190"/>
                    </a:lnTo>
                    <a:lnTo>
                      <a:pt x="84" y="192"/>
                    </a:lnTo>
                    <a:lnTo>
                      <a:pt x="84" y="194"/>
                    </a:lnTo>
                    <a:lnTo>
                      <a:pt x="83" y="194"/>
                    </a:lnTo>
                    <a:lnTo>
                      <a:pt x="83" y="196"/>
                    </a:lnTo>
                    <a:lnTo>
                      <a:pt x="81" y="198"/>
                    </a:lnTo>
                    <a:lnTo>
                      <a:pt x="79" y="198"/>
                    </a:lnTo>
                    <a:lnTo>
                      <a:pt x="77" y="198"/>
                    </a:lnTo>
                    <a:lnTo>
                      <a:pt x="77" y="200"/>
                    </a:lnTo>
                    <a:lnTo>
                      <a:pt x="77" y="202"/>
                    </a:lnTo>
                    <a:lnTo>
                      <a:pt x="75" y="202"/>
                    </a:lnTo>
                    <a:lnTo>
                      <a:pt x="73" y="202"/>
                    </a:lnTo>
                    <a:lnTo>
                      <a:pt x="71" y="200"/>
                    </a:lnTo>
                    <a:lnTo>
                      <a:pt x="73" y="200"/>
                    </a:lnTo>
                    <a:lnTo>
                      <a:pt x="73" y="198"/>
                    </a:lnTo>
                    <a:lnTo>
                      <a:pt x="73" y="196"/>
                    </a:lnTo>
                    <a:lnTo>
                      <a:pt x="71" y="196"/>
                    </a:lnTo>
                    <a:lnTo>
                      <a:pt x="71" y="194"/>
                    </a:lnTo>
                    <a:lnTo>
                      <a:pt x="73" y="194"/>
                    </a:lnTo>
                    <a:lnTo>
                      <a:pt x="73" y="192"/>
                    </a:lnTo>
                    <a:lnTo>
                      <a:pt x="71" y="192"/>
                    </a:lnTo>
                    <a:lnTo>
                      <a:pt x="73" y="192"/>
                    </a:lnTo>
                    <a:lnTo>
                      <a:pt x="73" y="190"/>
                    </a:lnTo>
                    <a:lnTo>
                      <a:pt x="71" y="192"/>
                    </a:lnTo>
                    <a:lnTo>
                      <a:pt x="73" y="190"/>
                    </a:lnTo>
                    <a:lnTo>
                      <a:pt x="71" y="190"/>
                    </a:lnTo>
                    <a:lnTo>
                      <a:pt x="69" y="189"/>
                    </a:lnTo>
                    <a:lnTo>
                      <a:pt x="69" y="190"/>
                    </a:lnTo>
                    <a:lnTo>
                      <a:pt x="67" y="190"/>
                    </a:lnTo>
                    <a:lnTo>
                      <a:pt x="67" y="192"/>
                    </a:lnTo>
                    <a:lnTo>
                      <a:pt x="67" y="194"/>
                    </a:lnTo>
                    <a:lnTo>
                      <a:pt x="67" y="196"/>
                    </a:lnTo>
                    <a:lnTo>
                      <a:pt x="65" y="198"/>
                    </a:lnTo>
                    <a:lnTo>
                      <a:pt x="65" y="200"/>
                    </a:lnTo>
                    <a:lnTo>
                      <a:pt x="63" y="200"/>
                    </a:lnTo>
                    <a:lnTo>
                      <a:pt x="63" y="202"/>
                    </a:lnTo>
                    <a:lnTo>
                      <a:pt x="61" y="202"/>
                    </a:lnTo>
                    <a:lnTo>
                      <a:pt x="61" y="204"/>
                    </a:lnTo>
                    <a:lnTo>
                      <a:pt x="59" y="206"/>
                    </a:lnTo>
                    <a:lnTo>
                      <a:pt x="61" y="208"/>
                    </a:lnTo>
                    <a:lnTo>
                      <a:pt x="61" y="210"/>
                    </a:lnTo>
                    <a:lnTo>
                      <a:pt x="63" y="210"/>
                    </a:lnTo>
                    <a:lnTo>
                      <a:pt x="65" y="210"/>
                    </a:lnTo>
                    <a:lnTo>
                      <a:pt x="67" y="212"/>
                    </a:lnTo>
                    <a:lnTo>
                      <a:pt x="65" y="212"/>
                    </a:lnTo>
                    <a:lnTo>
                      <a:pt x="67" y="214"/>
                    </a:lnTo>
                    <a:lnTo>
                      <a:pt x="67" y="215"/>
                    </a:lnTo>
                    <a:lnTo>
                      <a:pt x="69" y="217"/>
                    </a:lnTo>
                    <a:lnTo>
                      <a:pt x="69" y="215"/>
                    </a:lnTo>
                    <a:lnTo>
                      <a:pt x="69" y="217"/>
                    </a:lnTo>
                    <a:lnTo>
                      <a:pt x="71" y="217"/>
                    </a:lnTo>
                    <a:lnTo>
                      <a:pt x="71" y="219"/>
                    </a:lnTo>
                    <a:lnTo>
                      <a:pt x="71" y="221"/>
                    </a:lnTo>
                    <a:lnTo>
                      <a:pt x="73" y="221"/>
                    </a:lnTo>
                    <a:lnTo>
                      <a:pt x="71" y="221"/>
                    </a:lnTo>
                    <a:lnTo>
                      <a:pt x="71" y="223"/>
                    </a:lnTo>
                    <a:lnTo>
                      <a:pt x="73" y="223"/>
                    </a:lnTo>
                    <a:lnTo>
                      <a:pt x="71" y="225"/>
                    </a:lnTo>
                    <a:lnTo>
                      <a:pt x="73" y="225"/>
                    </a:lnTo>
                    <a:lnTo>
                      <a:pt x="73" y="227"/>
                    </a:lnTo>
                    <a:lnTo>
                      <a:pt x="73" y="229"/>
                    </a:lnTo>
                    <a:lnTo>
                      <a:pt x="75" y="229"/>
                    </a:lnTo>
                    <a:lnTo>
                      <a:pt x="77" y="227"/>
                    </a:lnTo>
                    <a:lnTo>
                      <a:pt x="77" y="229"/>
                    </a:lnTo>
                    <a:lnTo>
                      <a:pt x="77" y="227"/>
                    </a:lnTo>
                    <a:lnTo>
                      <a:pt x="79" y="227"/>
                    </a:lnTo>
                    <a:lnTo>
                      <a:pt x="79" y="225"/>
                    </a:lnTo>
                    <a:lnTo>
                      <a:pt x="81" y="225"/>
                    </a:lnTo>
                    <a:lnTo>
                      <a:pt x="81" y="223"/>
                    </a:lnTo>
                    <a:lnTo>
                      <a:pt x="83" y="223"/>
                    </a:lnTo>
                    <a:lnTo>
                      <a:pt x="83" y="221"/>
                    </a:lnTo>
                    <a:lnTo>
                      <a:pt x="84" y="221"/>
                    </a:lnTo>
                    <a:lnTo>
                      <a:pt x="86" y="221"/>
                    </a:lnTo>
                    <a:lnTo>
                      <a:pt x="86" y="219"/>
                    </a:lnTo>
                    <a:lnTo>
                      <a:pt x="88" y="217"/>
                    </a:lnTo>
                    <a:lnTo>
                      <a:pt x="88" y="215"/>
                    </a:lnTo>
                    <a:lnTo>
                      <a:pt x="88" y="214"/>
                    </a:lnTo>
                    <a:lnTo>
                      <a:pt x="90" y="214"/>
                    </a:lnTo>
                    <a:lnTo>
                      <a:pt x="90" y="212"/>
                    </a:lnTo>
                    <a:lnTo>
                      <a:pt x="88" y="212"/>
                    </a:lnTo>
                    <a:lnTo>
                      <a:pt x="90" y="212"/>
                    </a:lnTo>
                    <a:lnTo>
                      <a:pt x="90" y="210"/>
                    </a:lnTo>
                    <a:lnTo>
                      <a:pt x="92" y="210"/>
                    </a:lnTo>
                    <a:lnTo>
                      <a:pt x="92" y="208"/>
                    </a:lnTo>
                    <a:lnTo>
                      <a:pt x="92" y="206"/>
                    </a:lnTo>
                    <a:lnTo>
                      <a:pt x="92" y="204"/>
                    </a:lnTo>
                    <a:lnTo>
                      <a:pt x="94" y="204"/>
                    </a:lnTo>
                    <a:lnTo>
                      <a:pt x="94" y="202"/>
                    </a:lnTo>
                    <a:lnTo>
                      <a:pt x="94" y="200"/>
                    </a:lnTo>
                    <a:lnTo>
                      <a:pt x="96" y="200"/>
                    </a:lnTo>
                    <a:lnTo>
                      <a:pt x="98" y="200"/>
                    </a:lnTo>
                    <a:lnTo>
                      <a:pt x="98" y="198"/>
                    </a:lnTo>
                    <a:lnTo>
                      <a:pt x="100" y="198"/>
                    </a:lnTo>
                    <a:lnTo>
                      <a:pt x="102" y="198"/>
                    </a:lnTo>
                    <a:lnTo>
                      <a:pt x="102" y="196"/>
                    </a:lnTo>
                    <a:lnTo>
                      <a:pt x="104" y="190"/>
                    </a:lnTo>
                    <a:lnTo>
                      <a:pt x="102" y="190"/>
                    </a:lnTo>
                    <a:lnTo>
                      <a:pt x="104" y="190"/>
                    </a:lnTo>
                    <a:lnTo>
                      <a:pt x="104" y="189"/>
                    </a:lnTo>
                    <a:lnTo>
                      <a:pt x="104" y="187"/>
                    </a:lnTo>
                    <a:lnTo>
                      <a:pt x="106" y="187"/>
                    </a:lnTo>
                    <a:lnTo>
                      <a:pt x="106" y="185"/>
                    </a:lnTo>
                    <a:lnTo>
                      <a:pt x="106" y="187"/>
                    </a:lnTo>
                    <a:lnTo>
                      <a:pt x="106" y="185"/>
                    </a:lnTo>
                    <a:lnTo>
                      <a:pt x="106" y="183"/>
                    </a:lnTo>
                    <a:lnTo>
                      <a:pt x="106" y="181"/>
                    </a:lnTo>
                    <a:lnTo>
                      <a:pt x="106" y="179"/>
                    </a:lnTo>
                    <a:lnTo>
                      <a:pt x="108" y="179"/>
                    </a:lnTo>
                    <a:lnTo>
                      <a:pt x="108" y="177"/>
                    </a:lnTo>
                    <a:lnTo>
                      <a:pt x="108" y="175"/>
                    </a:lnTo>
                    <a:lnTo>
                      <a:pt x="109" y="175"/>
                    </a:lnTo>
                    <a:lnTo>
                      <a:pt x="111" y="175"/>
                    </a:lnTo>
                    <a:lnTo>
                      <a:pt x="111" y="173"/>
                    </a:lnTo>
                    <a:lnTo>
                      <a:pt x="113" y="173"/>
                    </a:lnTo>
                    <a:lnTo>
                      <a:pt x="113" y="171"/>
                    </a:lnTo>
                    <a:lnTo>
                      <a:pt x="115" y="173"/>
                    </a:lnTo>
                    <a:lnTo>
                      <a:pt x="115" y="171"/>
                    </a:lnTo>
                    <a:lnTo>
                      <a:pt x="119" y="173"/>
                    </a:lnTo>
                    <a:lnTo>
                      <a:pt x="117" y="173"/>
                    </a:lnTo>
                    <a:lnTo>
                      <a:pt x="117" y="175"/>
                    </a:lnTo>
                    <a:lnTo>
                      <a:pt x="119" y="175"/>
                    </a:lnTo>
                    <a:lnTo>
                      <a:pt x="115" y="181"/>
                    </a:lnTo>
                    <a:lnTo>
                      <a:pt x="117" y="181"/>
                    </a:lnTo>
                    <a:lnTo>
                      <a:pt x="117" y="183"/>
                    </a:lnTo>
                    <a:lnTo>
                      <a:pt x="115" y="187"/>
                    </a:lnTo>
                    <a:lnTo>
                      <a:pt x="115" y="189"/>
                    </a:lnTo>
                    <a:lnTo>
                      <a:pt x="115" y="190"/>
                    </a:lnTo>
                    <a:lnTo>
                      <a:pt x="113" y="192"/>
                    </a:lnTo>
                    <a:lnTo>
                      <a:pt x="111" y="192"/>
                    </a:lnTo>
                    <a:lnTo>
                      <a:pt x="111" y="194"/>
                    </a:lnTo>
                    <a:lnTo>
                      <a:pt x="117" y="196"/>
                    </a:lnTo>
                    <a:lnTo>
                      <a:pt x="117" y="194"/>
                    </a:lnTo>
                    <a:lnTo>
                      <a:pt x="117" y="192"/>
                    </a:lnTo>
                    <a:lnTo>
                      <a:pt x="117" y="190"/>
                    </a:lnTo>
                    <a:lnTo>
                      <a:pt x="119" y="190"/>
                    </a:lnTo>
                    <a:lnTo>
                      <a:pt x="117" y="190"/>
                    </a:lnTo>
                    <a:lnTo>
                      <a:pt x="119" y="189"/>
                    </a:lnTo>
                    <a:lnTo>
                      <a:pt x="119" y="187"/>
                    </a:lnTo>
                    <a:lnTo>
                      <a:pt x="121" y="187"/>
                    </a:lnTo>
                    <a:lnTo>
                      <a:pt x="121" y="185"/>
                    </a:lnTo>
                    <a:lnTo>
                      <a:pt x="121" y="183"/>
                    </a:lnTo>
                    <a:lnTo>
                      <a:pt x="119" y="183"/>
                    </a:lnTo>
                    <a:lnTo>
                      <a:pt x="121" y="183"/>
                    </a:lnTo>
                    <a:lnTo>
                      <a:pt x="121" y="181"/>
                    </a:lnTo>
                    <a:lnTo>
                      <a:pt x="121" y="179"/>
                    </a:lnTo>
                    <a:lnTo>
                      <a:pt x="121" y="177"/>
                    </a:lnTo>
                    <a:lnTo>
                      <a:pt x="123" y="177"/>
                    </a:lnTo>
                    <a:lnTo>
                      <a:pt x="123" y="175"/>
                    </a:lnTo>
                    <a:lnTo>
                      <a:pt x="123" y="173"/>
                    </a:lnTo>
                    <a:lnTo>
                      <a:pt x="123" y="171"/>
                    </a:lnTo>
                    <a:lnTo>
                      <a:pt x="123" y="169"/>
                    </a:lnTo>
                    <a:lnTo>
                      <a:pt x="123" y="167"/>
                    </a:lnTo>
                    <a:lnTo>
                      <a:pt x="125" y="167"/>
                    </a:lnTo>
                    <a:lnTo>
                      <a:pt x="123" y="165"/>
                    </a:lnTo>
                    <a:lnTo>
                      <a:pt x="125" y="165"/>
                    </a:lnTo>
                    <a:lnTo>
                      <a:pt x="123" y="164"/>
                    </a:lnTo>
                    <a:lnTo>
                      <a:pt x="123" y="162"/>
                    </a:lnTo>
                    <a:lnTo>
                      <a:pt x="125" y="162"/>
                    </a:lnTo>
                    <a:lnTo>
                      <a:pt x="123" y="162"/>
                    </a:lnTo>
                    <a:lnTo>
                      <a:pt x="125" y="162"/>
                    </a:lnTo>
                    <a:lnTo>
                      <a:pt x="125" y="160"/>
                    </a:lnTo>
                    <a:lnTo>
                      <a:pt x="123" y="162"/>
                    </a:lnTo>
                    <a:lnTo>
                      <a:pt x="123" y="160"/>
                    </a:lnTo>
                    <a:lnTo>
                      <a:pt x="125" y="160"/>
                    </a:lnTo>
                    <a:lnTo>
                      <a:pt x="123" y="158"/>
                    </a:lnTo>
                    <a:lnTo>
                      <a:pt x="125" y="158"/>
                    </a:lnTo>
                    <a:lnTo>
                      <a:pt x="123" y="158"/>
                    </a:lnTo>
                    <a:lnTo>
                      <a:pt x="125" y="158"/>
                    </a:lnTo>
                    <a:lnTo>
                      <a:pt x="123" y="158"/>
                    </a:lnTo>
                    <a:lnTo>
                      <a:pt x="125" y="156"/>
                    </a:lnTo>
                    <a:lnTo>
                      <a:pt x="123" y="156"/>
                    </a:lnTo>
                    <a:lnTo>
                      <a:pt x="123" y="154"/>
                    </a:lnTo>
                    <a:lnTo>
                      <a:pt x="123" y="152"/>
                    </a:lnTo>
                    <a:lnTo>
                      <a:pt x="123" y="154"/>
                    </a:lnTo>
                    <a:lnTo>
                      <a:pt x="123" y="152"/>
                    </a:lnTo>
                    <a:lnTo>
                      <a:pt x="123" y="150"/>
                    </a:lnTo>
                    <a:lnTo>
                      <a:pt x="123" y="152"/>
                    </a:lnTo>
                    <a:lnTo>
                      <a:pt x="121" y="150"/>
                    </a:lnTo>
                    <a:lnTo>
                      <a:pt x="123" y="150"/>
                    </a:lnTo>
                    <a:lnTo>
                      <a:pt x="121" y="150"/>
                    </a:lnTo>
                    <a:lnTo>
                      <a:pt x="123" y="150"/>
                    </a:lnTo>
                    <a:lnTo>
                      <a:pt x="123" y="148"/>
                    </a:lnTo>
                    <a:lnTo>
                      <a:pt x="121" y="148"/>
                    </a:lnTo>
                    <a:lnTo>
                      <a:pt x="121" y="146"/>
                    </a:lnTo>
                    <a:lnTo>
                      <a:pt x="119" y="144"/>
                    </a:lnTo>
                    <a:lnTo>
                      <a:pt x="121" y="144"/>
                    </a:lnTo>
                    <a:lnTo>
                      <a:pt x="119" y="144"/>
                    </a:lnTo>
                    <a:lnTo>
                      <a:pt x="117" y="144"/>
                    </a:lnTo>
                    <a:lnTo>
                      <a:pt x="117" y="142"/>
                    </a:lnTo>
                    <a:lnTo>
                      <a:pt x="117" y="144"/>
                    </a:lnTo>
                    <a:lnTo>
                      <a:pt x="117" y="142"/>
                    </a:lnTo>
                    <a:lnTo>
                      <a:pt x="117" y="144"/>
                    </a:lnTo>
                    <a:lnTo>
                      <a:pt x="115" y="144"/>
                    </a:lnTo>
                    <a:lnTo>
                      <a:pt x="115" y="142"/>
                    </a:lnTo>
                    <a:lnTo>
                      <a:pt x="115" y="144"/>
                    </a:lnTo>
                    <a:lnTo>
                      <a:pt x="115" y="142"/>
                    </a:lnTo>
                    <a:lnTo>
                      <a:pt x="113" y="142"/>
                    </a:lnTo>
                    <a:lnTo>
                      <a:pt x="111" y="142"/>
                    </a:lnTo>
                    <a:lnTo>
                      <a:pt x="111" y="140"/>
                    </a:lnTo>
                    <a:lnTo>
                      <a:pt x="109" y="140"/>
                    </a:lnTo>
                    <a:lnTo>
                      <a:pt x="109" y="139"/>
                    </a:lnTo>
                    <a:lnTo>
                      <a:pt x="108" y="139"/>
                    </a:lnTo>
                    <a:lnTo>
                      <a:pt x="108" y="137"/>
                    </a:lnTo>
                    <a:lnTo>
                      <a:pt x="108" y="135"/>
                    </a:lnTo>
                    <a:lnTo>
                      <a:pt x="108" y="137"/>
                    </a:lnTo>
                    <a:lnTo>
                      <a:pt x="108" y="135"/>
                    </a:lnTo>
                    <a:lnTo>
                      <a:pt x="106" y="137"/>
                    </a:lnTo>
                    <a:lnTo>
                      <a:pt x="106" y="135"/>
                    </a:lnTo>
                    <a:lnTo>
                      <a:pt x="108" y="135"/>
                    </a:lnTo>
                    <a:lnTo>
                      <a:pt x="106" y="135"/>
                    </a:lnTo>
                    <a:lnTo>
                      <a:pt x="106" y="133"/>
                    </a:lnTo>
                    <a:lnTo>
                      <a:pt x="104" y="133"/>
                    </a:lnTo>
                    <a:lnTo>
                      <a:pt x="106" y="133"/>
                    </a:lnTo>
                    <a:lnTo>
                      <a:pt x="104" y="133"/>
                    </a:lnTo>
                    <a:lnTo>
                      <a:pt x="104" y="131"/>
                    </a:lnTo>
                    <a:lnTo>
                      <a:pt x="106" y="131"/>
                    </a:lnTo>
                    <a:lnTo>
                      <a:pt x="106" y="129"/>
                    </a:lnTo>
                    <a:lnTo>
                      <a:pt x="106" y="131"/>
                    </a:lnTo>
                    <a:lnTo>
                      <a:pt x="106" y="129"/>
                    </a:lnTo>
                    <a:lnTo>
                      <a:pt x="104" y="127"/>
                    </a:lnTo>
                    <a:lnTo>
                      <a:pt x="102" y="127"/>
                    </a:lnTo>
                    <a:lnTo>
                      <a:pt x="100" y="127"/>
                    </a:lnTo>
                    <a:lnTo>
                      <a:pt x="100" y="129"/>
                    </a:lnTo>
                    <a:lnTo>
                      <a:pt x="98" y="127"/>
                    </a:lnTo>
                    <a:lnTo>
                      <a:pt x="98" y="129"/>
                    </a:lnTo>
                    <a:lnTo>
                      <a:pt x="96" y="129"/>
                    </a:lnTo>
                    <a:lnTo>
                      <a:pt x="94" y="129"/>
                    </a:lnTo>
                    <a:lnTo>
                      <a:pt x="92" y="131"/>
                    </a:lnTo>
                    <a:lnTo>
                      <a:pt x="92" y="129"/>
                    </a:lnTo>
                    <a:lnTo>
                      <a:pt x="92" y="131"/>
                    </a:lnTo>
                    <a:lnTo>
                      <a:pt x="92" y="129"/>
                    </a:lnTo>
                    <a:lnTo>
                      <a:pt x="90" y="131"/>
                    </a:lnTo>
                    <a:lnTo>
                      <a:pt x="90" y="129"/>
                    </a:lnTo>
                    <a:lnTo>
                      <a:pt x="90" y="131"/>
                    </a:lnTo>
                    <a:lnTo>
                      <a:pt x="88" y="133"/>
                    </a:lnTo>
                    <a:lnTo>
                      <a:pt x="86" y="133"/>
                    </a:lnTo>
                    <a:lnTo>
                      <a:pt x="84" y="133"/>
                    </a:lnTo>
                    <a:lnTo>
                      <a:pt x="83" y="131"/>
                    </a:lnTo>
                    <a:lnTo>
                      <a:pt x="81" y="131"/>
                    </a:lnTo>
                    <a:lnTo>
                      <a:pt x="79" y="129"/>
                    </a:lnTo>
                    <a:lnTo>
                      <a:pt x="77" y="129"/>
                    </a:lnTo>
                    <a:lnTo>
                      <a:pt x="75" y="127"/>
                    </a:lnTo>
                    <a:lnTo>
                      <a:pt x="75" y="129"/>
                    </a:lnTo>
                    <a:lnTo>
                      <a:pt x="75" y="127"/>
                    </a:lnTo>
                    <a:lnTo>
                      <a:pt x="75" y="1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2" name="Freeform 48"/>
              <p:cNvSpPr>
                <a:spLocks/>
              </p:cNvSpPr>
              <p:nvPr/>
            </p:nvSpPr>
            <p:spPr bwMode="auto">
              <a:xfrm>
                <a:off x="343408" y="3391997"/>
                <a:ext cx="3441" cy="3441"/>
              </a:xfrm>
              <a:custGeom>
                <a:avLst/>
                <a:gdLst>
                  <a:gd name="T0" fmla="*/ 0 w 2"/>
                  <a:gd name="T1" fmla="*/ 0 h 2"/>
                  <a:gd name="T2" fmla="*/ 0 w 2"/>
                  <a:gd name="T3" fmla="*/ 0 h 2"/>
                  <a:gd name="T4" fmla="*/ 2 w 2"/>
                  <a:gd name="T5" fmla="*/ 0 h 2"/>
                  <a:gd name="T6" fmla="*/ 2 w 2"/>
                  <a:gd name="T7" fmla="*/ 0 h 2"/>
                  <a:gd name="T8" fmla="*/ 0 w 2"/>
                  <a:gd name="T9" fmla="*/ 0 h 2"/>
                  <a:gd name="T10" fmla="*/ 0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2 h 2"/>
                  <a:gd name="T24" fmla="*/ 0 w 2"/>
                  <a:gd name="T25" fmla="*/ 0 h 2"/>
                  <a:gd name="T26" fmla="*/ 0 w 2"/>
                  <a:gd name="T27" fmla="*/ 0 h 2"/>
                  <a:gd name="T28" fmla="*/ 0 w 2"/>
                  <a:gd name="T29" fmla="*/ 0 h 2"/>
                  <a:gd name="T30" fmla="*/ 0 w 2"/>
                  <a:gd name="T3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 h="2">
                    <a:moveTo>
                      <a:pt x="0" y="0"/>
                    </a:moveTo>
                    <a:lnTo>
                      <a:pt x="0" y="0"/>
                    </a:lnTo>
                    <a:lnTo>
                      <a:pt x="2" y="0"/>
                    </a:lnTo>
                    <a:lnTo>
                      <a:pt x="2" y="0"/>
                    </a:lnTo>
                    <a:lnTo>
                      <a:pt x="0" y="0"/>
                    </a:lnTo>
                    <a:lnTo>
                      <a:pt x="0" y="0"/>
                    </a:lnTo>
                    <a:lnTo>
                      <a:pt x="0" y="0"/>
                    </a:lnTo>
                    <a:lnTo>
                      <a:pt x="0" y="0"/>
                    </a:lnTo>
                    <a:lnTo>
                      <a:pt x="0" y="0"/>
                    </a:lnTo>
                    <a:lnTo>
                      <a:pt x="0" y="0"/>
                    </a:lnTo>
                    <a:lnTo>
                      <a:pt x="0" y="0"/>
                    </a:lnTo>
                    <a:lnTo>
                      <a:pt x="0" y="2"/>
                    </a:lnTo>
                    <a:lnTo>
                      <a:pt x="0" y="0"/>
                    </a:lnTo>
                    <a:lnTo>
                      <a:pt x="0" y="0"/>
                    </a:lnTo>
                    <a:lnTo>
                      <a:pt x="0" y="0"/>
                    </a:lnTo>
                    <a:lnTo>
                      <a:pt x="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3" name="Freeform 49"/>
              <p:cNvSpPr>
                <a:spLocks noEditPoints="1"/>
              </p:cNvSpPr>
              <p:nvPr/>
            </p:nvSpPr>
            <p:spPr bwMode="auto">
              <a:xfrm>
                <a:off x="152418" y="3391997"/>
                <a:ext cx="194431" cy="101518"/>
              </a:xfrm>
              <a:custGeom>
                <a:avLst/>
                <a:gdLst>
                  <a:gd name="T0" fmla="*/ 0 w 113"/>
                  <a:gd name="T1" fmla="*/ 48 h 59"/>
                  <a:gd name="T2" fmla="*/ 0 w 113"/>
                  <a:gd name="T3" fmla="*/ 48 h 59"/>
                  <a:gd name="T4" fmla="*/ 0 w 113"/>
                  <a:gd name="T5" fmla="*/ 48 h 59"/>
                  <a:gd name="T6" fmla="*/ 0 w 113"/>
                  <a:gd name="T7" fmla="*/ 48 h 59"/>
                  <a:gd name="T8" fmla="*/ 0 w 113"/>
                  <a:gd name="T9" fmla="*/ 48 h 59"/>
                  <a:gd name="T10" fmla="*/ 0 w 113"/>
                  <a:gd name="T11" fmla="*/ 48 h 59"/>
                  <a:gd name="T12" fmla="*/ 0 w 113"/>
                  <a:gd name="T13" fmla="*/ 48 h 59"/>
                  <a:gd name="T14" fmla="*/ 0 w 113"/>
                  <a:gd name="T15" fmla="*/ 48 h 59"/>
                  <a:gd name="T16" fmla="*/ 0 w 113"/>
                  <a:gd name="T17" fmla="*/ 48 h 59"/>
                  <a:gd name="T18" fmla="*/ 0 w 113"/>
                  <a:gd name="T19" fmla="*/ 48 h 59"/>
                  <a:gd name="T20" fmla="*/ 2 w 113"/>
                  <a:gd name="T21" fmla="*/ 48 h 59"/>
                  <a:gd name="T22" fmla="*/ 2 w 113"/>
                  <a:gd name="T23" fmla="*/ 48 h 59"/>
                  <a:gd name="T24" fmla="*/ 2 w 113"/>
                  <a:gd name="T25" fmla="*/ 48 h 59"/>
                  <a:gd name="T26" fmla="*/ 2 w 113"/>
                  <a:gd name="T27" fmla="*/ 48 h 59"/>
                  <a:gd name="T28" fmla="*/ 2 w 113"/>
                  <a:gd name="T29" fmla="*/ 48 h 59"/>
                  <a:gd name="T30" fmla="*/ 38 w 113"/>
                  <a:gd name="T31" fmla="*/ 59 h 59"/>
                  <a:gd name="T32" fmla="*/ 36 w 113"/>
                  <a:gd name="T33" fmla="*/ 59 h 59"/>
                  <a:gd name="T34" fmla="*/ 36 w 113"/>
                  <a:gd name="T35" fmla="*/ 59 h 59"/>
                  <a:gd name="T36" fmla="*/ 36 w 113"/>
                  <a:gd name="T37" fmla="*/ 59 h 59"/>
                  <a:gd name="T38" fmla="*/ 38 w 113"/>
                  <a:gd name="T39" fmla="*/ 59 h 59"/>
                  <a:gd name="T40" fmla="*/ 38 w 113"/>
                  <a:gd name="T41" fmla="*/ 59 h 59"/>
                  <a:gd name="T42" fmla="*/ 38 w 113"/>
                  <a:gd name="T43" fmla="*/ 59 h 59"/>
                  <a:gd name="T44" fmla="*/ 38 w 113"/>
                  <a:gd name="T45" fmla="*/ 59 h 59"/>
                  <a:gd name="T46" fmla="*/ 38 w 113"/>
                  <a:gd name="T47" fmla="*/ 59 h 59"/>
                  <a:gd name="T48" fmla="*/ 88 w 113"/>
                  <a:gd name="T49" fmla="*/ 31 h 59"/>
                  <a:gd name="T50" fmla="*/ 88 w 113"/>
                  <a:gd name="T51" fmla="*/ 31 h 59"/>
                  <a:gd name="T52" fmla="*/ 88 w 113"/>
                  <a:gd name="T53" fmla="*/ 31 h 59"/>
                  <a:gd name="T54" fmla="*/ 88 w 113"/>
                  <a:gd name="T55" fmla="*/ 31 h 59"/>
                  <a:gd name="T56" fmla="*/ 88 w 113"/>
                  <a:gd name="T57" fmla="*/ 31 h 59"/>
                  <a:gd name="T58" fmla="*/ 90 w 113"/>
                  <a:gd name="T59" fmla="*/ 31 h 59"/>
                  <a:gd name="T60" fmla="*/ 90 w 113"/>
                  <a:gd name="T61" fmla="*/ 31 h 59"/>
                  <a:gd name="T62" fmla="*/ 88 w 113"/>
                  <a:gd name="T63" fmla="*/ 31 h 59"/>
                  <a:gd name="T64" fmla="*/ 86 w 113"/>
                  <a:gd name="T65" fmla="*/ 15 h 59"/>
                  <a:gd name="T66" fmla="*/ 86 w 113"/>
                  <a:gd name="T67" fmla="*/ 15 h 59"/>
                  <a:gd name="T68" fmla="*/ 86 w 113"/>
                  <a:gd name="T69" fmla="*/ 15 h 59"/>
                  <a:gd name="T70" fmla="*/ 86 w 113"/>
                  <a:gd name="T71" fmla="*/ 15 h 59"/>
                  <a:gd name="T72" fmla="*/ 113 w 113"/>
                  <a:gd name="T73" fmla="*/ 6 h 59"/>
                  <a:gd name="T74" fmla="*/ 113 w 113"/>
                  <a:gd name="T75" fmla="*/ 6 h 59"/>
                  <a:gd name="T76" fmla="*/ 113 w 113"/>
                  <a:gd name="T77" fmla="*/ 6 h 59"/>
                  <a:gd name="T78" fmla="*/ 113 w 113"/>
                  <a:gd name="T79" fmla="*/ 6 h 59"/>
                  <a:gd name="T80" fmla="*/ 113 w 113"/>
                  <a:gd name="T81" fmla="*/ 6 h 59"/>
                  <a:gd name="T82" fmla="*/ 113 w 113"/>
                  <a:gd name="T83" fmla="*/ 6 h 59"/>
                  <a:gd name="T84" fmla="*/ 113 w 113"/>
                  <a:gd name="T85" fmla="*/ 6 h 59"/>
                  <a:gd name="T86" fmla="*/ 113 w 113"/>
                  <a:gd name="T87" fmla="*/ 6 h 59"/>
                  <a:gd name="T88" fmla="*/ 113 w 113"/>
                  <a:gd name="T89" fmla="*/ 6 h 59"/>
                  <a:gd name="T90" fmla="*/ 113 w 113"/>
                  <a:gd name="T91" fmla="*/ 6 h 59"/>
                  <a:gd name="T92" fmla="*/ 111 w 113"/>
                  <a:gd name="T93" fmla="*/ 6 h 59"/>
                  <a:gd name="T94" fmla="*/ 113 w 113"/>
                  <a:gd name="T95" fmla="*/ 6 h 59"/>
                  <a:gd name="T96" fmla="*/ 113 w 113"/>
                  <a:gd name="T97" fmla="*/ 6 h 59"/>
                  <a:gd name="T98" fmla="*/ 111 w 113"/>
                  <a:gd name="T99" fmla="*/ 6 h 59"/>
                  <a:gd name="T100" fmla="*/ 111 w 113"/>
                  <a:gd name="T101" fmla="*/ 6 h 59"/>
                  <a:gd name="T102" fmla="*/ 111 w 113"/>
                  <a:gd name="T103" fmla="*/ 6 h 59"/>
                  <a:gd name="T104" fmla="*/ 111 w 113"/>
                  <a:gd name="T105" fmla="*/ 6 h 59"/>
                  <a:gd name="T106" fmla="*/ 111 w 113"/>
                  <a:gd name="T107" fmla="*/ 6 h 59"/>
                  <a:gd name="T108" fmla="*/ 111 w 113"/>
                  <a:gd name="T109" fmla="*/ 0 h 59"/>
                  <a:gd name="T110" fmla="*/ 111 w 113"/>
                  <a:gd name="T111" fmla="*/ 0 h 59"/>
                  <a:gd name="T112" fmla="*/ 111 w 113"/>
                  <a:gd name="T113" fmla="*/ 0 h 59"/>
                  <a:gd name="T114" fmla="*/ 111 w 113"/>
                  <a:gd name="T115" fmla="*/ 0 h 59"/>
                  <a:gd name="T116" fmla="*/ 111 w 113"/>
                  <a:gd name="T117" fmla="*/ 0 h 59"/>
                  <a:gd name="T118" fmla="*/ 111 w 113"/>
                  <a:gd name="T1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59">
                    <a:moveTo>
                      <a:pt x="0" y="48"/>
                    </a:moveTo>
                    <a:lnTo>
                      <a:pt x="0" y="48"/>
                    </a:lnTo>
                    <a:lnTo>
                      <a:pt x="0" y="48"/>
                    </a:lnTo>
                    <a:lnTo>
                      <a:pt x="0" y="48"/>
                    </a:lnTo>
                    <a:lnTo>
                      <a:pt x="0" y="48"/>
                    </a:lnTo>
                    <a:lnTo>
                      <a:pt x="0" y="48"/>
                    </a:lnTo>
                    <a:close/>
                    <a:moveTo>
                      <a:pt x="0" y="48"/>
                    </a:moveTo>
                    <a:lnTo>
                      <a:pt x="0" y="48"/>
                    </a:lnTo>
                    <a:lnTo>
                      <a:pt x="0" y="48"/>
                    </a:lnTo>
                    <a:lnTo>
                      <a:pt x="0" y="48"/>
                    </a:lnTo>
                    <a:close/>
                    <a:moveTo>
                      <a:pt x="2" y="48"/>
                    </a:moveTo>
                    <a:lnTo>
                      <a:pt x="2" y="48"/>
                    </a:lnTo>
                    <a:lnTo>
                      <a:pt x="2" y="48"/>
                    </a:lnTo>
                    <a:lnTo>
                      <a:pt x="2" y="48"/>
                    </a:lnTo>
                    <a:lnTo>
                      <a:pt x="2" y="48"/>
                    </a:lnTo>
                    <a:close/>
                    <a:moveTo>
                      <a:pt x="38" y="59"/>
                    </a:moveTo>
                    <a:lnTo>
                      <a:pt x="36" y="59"/>
                    </a:lnTo>
                    <a:lnTo>
                      <a:pt x="36" y="59"/>
                    </a:lnTo>
                    <a:lnTo>
                      <a:pt x="36" y="59"/>
                    </a:lnTo>
                    <a:lnTo>
                      <a:pt x="38" y="59"/>
                    </a:lnTo>
                    <a:lnTo>
                      <a:pt x="38" y="59"/>
                    </a:lnTo>
                    <a:lnTo>
                      <a:pt x="38" y="59"/>
                    </a:lnTo>
                    <a:lnTo>
                      <a:pt x="38" y="59"/>
                    </a:lnTo>
                    <a:lnTo>
                      <a:pt x="38" y="59"/>
                    </a:lnTo>
                    <a:close/>
                    <a:moveTo>
                      <a:pt x="88" y="31"/>
                    </a:moveTo>
                    <a:lnTo>
                      <a:pt x="88" y="31"/>
                    </a:lnTo>
                    <a:lnTo>
                      <a:pt x="88" y="31"/>
                    </a:lnTo>
                    <a:lnTo>
                      <a:pt x="88" y="31"/>
                    </a:lnTo>
                    <a:lnTo>
                      <a:pt x="88" y="31"/>
                    </a:lnTo>
                    <a:lnTo>
                      <a:pt x="90" y="31"/>
                    </a:lnTo>
                    <a:lnTo>
                      <a:pt x="90" y="31"/>
                    </a:lnTo>
                    <a:lnTo>
                      <a:pt x="88" y="31"/>
                    </a:lnTo>
                    <a:close/>
                    <a:moveTo>
                      <a:pt x="86" y="15"/>
                    </a:moveTo>
                    <a:lnTo>
                      <a:pt x="86" y="15"/>
                    </a:lnTo>
                    <a:lnTo>
                      <a:pt x="86" y="15"/>
                    </a:lnTo>
                    <a:lnTo>
                      <a:pt x="86" y="15"/>
                    </a:lnTo>
                    <a:close/>
                    <a:moveTo>
                      <a:pt x="113" y="6"/>
                    </a:moveTo>
                    <a:lnTo>
                      <a:pt x="113" y="6"/>
                    </a:lnTo>
                    <a:lnTo>
                      <a:pt x="113" y="6"/>
                    </a:lnTo>
                    <a:lnTo>
                      <a:pt x="113" y="6"/>
                    </a:lnTo>
                    <a:lnTo>
                      <a:pt x="113" y="6"/>
                    </a:lnTo>
                    <a:lnTo>
                      <a:pt x="113" y="6"/>
                    </a:lnTo>
                    <a:lnTo>
                      <a:pt x="113" y="6"/>
                    </a:lnTo>
                    <a:close/>
                    <a:moveTo>
                      <a:pt x="113" y="6"/>
                    </a:moveTo>
                    <a:lnTo>
                      <a:pt x="113" y="6"/>
                    </a:lnTo>
                    <a:lnTo>
                      <a:pt x="113" y="6"/>
                    </a:lnTo>
                    <a:lnTo>
                      <a:pt x="111" y="6"/>
                    </a:lnTo>
                    <a:lnTo>
                      <a:pt x="113" y="6"/>
                    </a:lnTo>
                    <a:lnTo>
                      <a:pt x="113" y="6"/>
                    </a:lnTo>
                    <a:close/>
                    <a:moveTo>
                      <a:pt x="111" y="6"/>
                    </a:moveTo>
                    <a:lnTo>
                      <a:pt x="111" y="6"/>
                    </a:lnTo>
                    <a:lnTo>
                      <a:pt x="111" y="6"/>
                    </a:lnTo>
                    <a:lnTo>
                      <a:pt x="111" y="6"/>
                    </a:lnTo>
                    <a:lnTo>
                      <a:pt x="111" y="6"/>
                    </a:lnTo>
                    <a:close/>
                    <a:moveTo>
                      <a:pt x="111" y="0"/>
                    </a:moveTo>
                    <a:lnTo>
                      <a:pt x="111" y="0"/>
                    </a:lnTo>
                    <a:lnTo>
                      <a:pt x="111" y="0"/>
                    </a:lnTo>
                    <a:lnTo>
                      <a:pt x="111" y="0"/>
                    </a:lnTo>
                    <a:lnTo>
                      <a:pt x="111" y="0"/>
                    </a:lnTo>
                    <a:lnTo>
                      <a:pt x="111"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4" name="Freeform 50"/>
              <p:cNvSpPr>
                <a:spLocks/>
              </p:cNvSpPr>
              <p:nvPr/>
            </p:nvSpPr>
            <p:spPr bwMode="auto">
              <a:xfrm>
                <a:off x="4115019" y="1007211"/>
                <a:ext cx="197872" cy="111841"/>
              </a:xfrm>
              <a:custGeom>
                <a:avLst/>
                <a:gdLst>
                  <a:gd name="T0" fmla="*/ 2 w 115"/>
                  <a:gd name="T1" fmla="*/ 65 h 65"/>
                  <a:gd name="T2" fmla="*/ 4 w 115"/>
                  <a:gd name="T3" fmla="*/ 55 h 65"/>
                  <a:gd name="T4" fmla="*/ 12 w 115"/>
                  <a:gd name="T5" fmla="*/ 48 h 65"/>
                  <a:gd name="T6" fmla="*/ 14 w 115"/>
                  <a:gd name="T7" fmla="*/ 46 h 65"/>
                  <a:gd name="T8" fmla="*/ 15 w 115"/>
                  <a:gd name="T9" fmla="*/ 42 h 65"/>
                  <a:gd name="T10" fmla="*/ 19 w 115"/>
                  <a:gd name="T11" fmla="*/ 38 h 65"/>
                  <a:gd name="T12" fmla="*/ 19 w 115"/>
                  <a:gd name="T13" fmla="*/ 32 h 65"/>
                  <a:gd name="T14" fmla="*/ 25 w 115"/>
                  <a:gd name="T15" fmla="*/ 29 h 65"/>
                  <a:gd name="T16" fmla="*/ 33 w 115"/>
                  <a:gd name="T17" fmla="*/ 30 h 65"/>
                  <a:gd name="T18" fmla="*/ 27 w 115"/>
                  <a:gd name="T19" fmla="*/ 29 h 65"/>
                  <a:gd name="T20" fmla="*/ 27 w 115"/>
                  <a:gd name="T21" fmla="*/ 23 h 65"/>
                  <a:gd name="T22" fmla="*/ 33 w 115"/>
                  <a:gd name="T23" fmla="*/ 19 h 65"/>
                  <a:gd name="T24" fmla="*/ 40 w 115"/>
                  <a:gd name="T25" fmla="*/ 21 h 65"/>
                  <a:gd name="T26" fmla="*/ 33 w 115"/>
                  <a:gd name="T27" fmla="*/ 17 h 65"/>
                  <a:gd name="T28" fmla="*/ 35 w 115"/>
                  <a:gd name="T29" fmla="*/ 15 h 65"/>
                  <a:gd name="T30" fmla="*/ 35 w 115"/>
                  <a:gd name="T31" fmla="*/ 11 h 65"/>
                  <a:gd name="T32" fmla="*/ 40 w 115"/>
                  <a:gd name="T33" fmla="*/ 7 h 65"/>
                  <a:gd name="T34" fmla="*/ 39 w 115"/>
                  <a:gd name="T35" fmla="*/ 7 h 65"/>
                  <a:gd name="T36" fmla="*/ 42 w 115"/>
                  <a:gd name="T37" fmla="*/ 5 h 65"/>
                  <a:gd name="T38" fmla="*/ 46 w 115"/>
                  <a:gd name="T39" fmla="*/ 7 h 65"/>
                  <a:gd name="T40" fmla="*/ 54 w 115"/>
                  <a:gd name="T41" fmla="*/ 9 h 65"/>
                  <a:gd name="T42" fmla="*/ 52 w 115"/>
                  <a:gd name="T43" fmla="*/ 2 h 65"/>
                  <a:gd name="T44" fmla="*/ 58 w 115"/>
                  <a:gd name="T45" fmla="*/ 2 h 65"/>
                  <a:gd name="T46" fmla="*/ 67 w 115"/>
                  <a:gd name="T47" fmla="*/ 4 h 65"/>
                  <a:gd name="T48" fmla="*/ 67 w 115"/>
                  <a:gd name="T49" fmla="*/ 5 h 65"/>
                  <a:gd name="T50" fmla="*/ 65 w 115"/>
                  <a:gd name="T51" fmla="*/ 9 h 65"/>
                  <a:gd name="T52" fmla="*/ 62 w 115"/>
                  <a:gd name="T53" fmla="*/ 15 h 65"/>
                  <a:gd name="T54" fmla="*/ 60 w 115"/>
                  <a:gd name="T55" fmla="*/ 23 h 65"/>
                  <a:gd name="T56" fmla="*/ 60 w 115"/>
                  <a:gd name="T57" fmla="*/ 25 h 65"/>
                  <a:gd name="T58" fmla="*/ 64 w 115"/>
                  <a:gd name="T59" fmla="*/ 21 h 65"/>
                  <a:gd name="T60" fmla="*/ 67 w 115"/>
                  <a:gd name="T61" fmla="*/ 15 h 65"/>
                  <a:gd name="T62" fmla="*/ 73 w 115"/>
                  <a:gd name="T63" fmla="*/ 11 h 65"/>
                  <a:gd name="T64" fmla="*/ 79 w 115"/>
                  <a:gd name="T65" fmla="*/ 11 h 65"/>
                  <a:gd name="T66" fmla="*/ 83 w 115"/>
                  <a:gd name="T67" fmla="*/ 9 h 65"/>
                  <a:gd name="T68" fmla="*/ 87 w 115"/>
                  <a:gd name="T69" fmla="*/ 11 h 65"/>
                  <a:gd name="T70" fmla="*/ 94 w 115"/>
                  <a:gd name="T71" fmla="*/ 15 h 65"/>
                  <a:gd name="T72" fmla="*/ 94 w 115"/>
                  <a:gd name="T73" fmla="*/ 21 h 65"/>
                  <a:gd name="T74" fmla="*/ 98 w 115"/>
                  <a:gd name="T75" fmla="*/ 23 h 65"/>
                  <a:gd name="T76" fmla="*/ 102 w 115"/>
                  <a:gd name="T77" fmla="*/ 21 h 65"/>
                  <a:gd name="T78" fmla="*/ 112 w 115"/>
                  <a:gd name="T79" fmla="*/ 21 h 65"/>
                  <a:gd name="T80" fmla="*/ 113 w 115"/>
                  <a:gd name="T81" fmla="*/ 25 h 65"/>
                  <a:gd name="T82" fmla="*/ 115 w 115"/>
                  <a:gd name="T83" fmla="*/ 32 h 65"/>
                  <a:gd name="T84" fmla="*/ 110 w 115"/>
                  <a:gd name="T85" fmla="*/ 38 h 65"/>
                  <a:gd name="T86" fmla="*/ 100 w 115"/>
                  <a:gd name="T87" fmla="*/ 42 h 65"/>
                  <a:gd name="T88" fmla="*/ 90 w 115"/>
                  <a:gd name="T89" fmla="*/ 44 h 65"/>
                  <a:gd name="T90" fmla="*/ 83 w 115"/>
                  <a:gd name="T91" fmla="*/ 48 h 65"/>
                  <a:gd name="T92" fmla="*/ 77 w 115"/>
                  <a:gd name="T93" fmla="*/ 48 h 65"/>
                  <a:gd name="T94" fmla="*/ 71 w 115"/>
                  <a:gd name="T95" fmla="*/ 50 h 65"/>
                  <a:gd name="T96" fmla="*/ 69 w 115"/>
                  <a:gd name="T97" fmla="*/ 50 h 65"/>
                  <a:gd name="T98" fmla="*/ 62 w 115"/>
                  <a:gd name="T99" fmla="*/ 50 h 65"/>
                  <a:gd name="T100" fmla="*/ 54 w 115"/>
                  <a:gd name="T101" fmla="*/ 52 h 65"/>
                  <a:gd name="T102" fmla="*/ 48 w 115"/>
                  <a:gd name="T103" fmla="*/ 52 h 65"/>
                  <a:gd name="T104" fmla="*/ 44 w 115"/>
                  <a:gd name="T105" fmla="*/ 54 h 65"/>
                  <a:gd name="T106" fmla="*/ 40 w 115"/>
                  <a:gd name="T107" fmla="*/ 54 h 65"/>
                  <a:gd name="T108" fmla="*/ 35 w 115"/>
                  <a:gd name="T109" fmla="*/ 54 h 65"/>
                  <a:gd name="T110" fmla="*/ 27 w 115"/>
                  <a:gd name="T111" fmla="*/ 59 h 65"/>
                  <a:gd name="T112" fmla="*/ 21 w 115"/>
                  <a:gd name="T113" fmla="*/ 59 h 65"/>
                  <a:gd name="T114" fmla="*/ 14 w 115"/>
                  <a:gd name="T115" fmla="*/ 63 h 65"/>
                  <a:gd name="T116" fmla="*/ 8 w 115"/>
                  <a:gd name="T117" fmla="*/ 63 h 65"/>
                  <a:gd name="T118" fmla="*/ 4 w 115"/>
                  <a:gd name="T1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5" h="65">
                    <a:moveTo>
                      <a:pt x="6" y="65"/>
                    </a:moveTo>
                    <a:lnTo>
                      <a:pt x="4" y="65"/>
                    </a:lnTo>
                    <a:lnTo>
                      <a:pt x="2" y="65"/>
                    </a:lnTo>
                    <a:lnTo>
                      <a:pt x="4" y="65"/>
                    </a:lnTo>
                    <a:lnTo>
                      <a:pt x="2" y="65"/>
                    </a:lnTo>
                    <a:lnTo>
                      <a:pt x="2" y="63"/>
                    </a:lnTo>
                    <a:lnTo>
                      <a:pt x="0" y="61"/>
                    </a:lnTo>
                    <a:lnTo>
                      <a:pt x="2" y="59"/>
                    </a:lnTo>
                    <a:lnTo>
                      <a:pt x="2" y="57"/>
                    </a:lnTo>
                    <a:lnTo>
                      <a:pt x="4" y="55"/>
                    </a:lnTo>
                    <a:lnTo>
                      <a:pt x="6" y="55"/>
                    </a:lnTo>
                    <a:lnTo>
                      <a:pt x="6" y="54"/>
                    </a:lnTo>
                    <a:lnTo>
                      <a:pt x="8" y="52"/>
                    </a:lnTo>
                    <a:lnTo>
                      <a:pt x="12" y="50"/>
                    </a:lnTo>
                    <a:lnTo>
                      <a:pt x="12" y="48"/>
                    </a:lnTo>
                    <a:lnTo>
                      <a:pt x="14" y="48"/>
                    </a:lnTo>
                    <a:lnTo>
                      <a:pt x="14" y="46"/>
                    </a:lnTo>
                    <a:lnTo>
                      <a:pt x="14" y="48"/>
                    </a:lnTo>
                    <a:lnTo>
                      <a:pt x="12" y="46"/>
                    </a:lnTo>
                    <a:lnTo>
                      <a:pt x="14" y="46"/>
                    </a:lnTo>
                    <a:lnTo>
                      <a:pt x="12" y="46"/>
                    </a:lnTo>
                    <a:lnTo>
                      <a:pt x="12" y="44"/>
                    </a:lnTo>
                    <a:lnTo>
                      <a:pt x="14" y="44"/>
                    </a:lnTo>
                    <a:lnTo>
                      <a:pt x="15" y="44"/>
                    </a:lnTo>
                    <a:lnTo>
                      <a:pt x="15" y="42"/>
                    </a:lnTo>
                    <a:lnTo>
                      <a:pt x="14" y="42"/>
                    </a:lnTo>
                    <a:lnTo>
                      <a:pt x="15" y="40"/>
                    </a:lnTo>
                    <a:lnTo>
                      <a:pt x="15" y="38"/>
                    </a:lnTo>
                    <a:lnTo>
                      <a:pt x="17" y="38"/>
                    </a:lnTo>
                    <a:lnTo>
                      <a:pt x="19" y="38"/>
                    </a:lnTo>
                    <a:lnTo>
                      <a:pt x="17" y="38"/>
                    </a:lnTo>
                    <a:lnTo>
                      <a:pt x="17" y="36"/>
                    </a:lnTo>
                    <a:lnTo>
                      <a:pt x="17" y="34"/>
                    </a:lnTo>
                    <a:lnTo>
                      <a:pt x="17" y="32"/>
                    </a:lnTo>
                    <a:lnTo>
                      <a:pt x="19" y="32"/>
                    </a:lnTo>
                    <a:lnTo>
                      <a:pt x="19" y="30"/>
                    </a:lnTo>
                    <a:lnTo>
                      <a:pt x="21" y="30"/>
                    </a:lnTo>
                    <a:lnTo>
                      <a:pt x="21" y="29"/>
                    </a:lnTo>
                    <a:lnTo>
                      <a:pt x="23" y="29"/>
                    </a:lnTo>
                    <a:lnTo>
                      <a:pt x="25" y="29"/>
                    </a:lnTo>
                    <a:lnTo>
                      <a:pt x="27" y="29"/>
                    </a:lnTo>
                    <a:lnTo>
                      <a:pt x="29" y="29"/>
                    </a:lnTo>
                    <a:lnTo>
                      <a:pt x="31" y="29"/>
                    </a:lnTo>
                    <a:lnTo>
                      <a:pt x="31" y="30"/>
                    </a:lnTo>
                    <a:lnTo>
                      <a:pt x="33" y="30"/>
                    </a:lnTo>
                    <a:lnTo>
                      <a:pt x="35" y="30"/>
                    </a:lnTo>
                    <a:lnTo>
                      <a:pt x="35" y="29"/>
                    </a:lnTo>
                    <a:lnTo>
                      <a:pt x="33" y="29"/>
                    </a:lnTo>
                    <a:lnTo>
                      <a:pt x="29" y="29"/>
                    </a:lnTo>
                    <a:lnTo>
                      <a:pt x="27" y="29"/>
                    </a:lnTo>
                    <a:lnTo>
                      <a:pt x="27" y="27"/>
                    </a:lnTo>
                    <a:lnTo>
                      <a:pt x="25" y="27"/>
                    </a:lnTo>
                    <a:lnTo>
                      <a:pt x="25" y="25"/>
                    </a:lnTo>
                    <a:lnTo>
                      <a:pt x="27" y="25"/>
                    </a:lnTo>
                    <a:lnTo>
                      <a:pt x="27" y="23"/>
                    </a:lnTo>
                    <a:lnTo>
                      <a:pt x="27" y="21"/>
                    </a:lnTo>
                    <a:lnTo>
                      <a:pt x="29" y="21"/>
                    </a:lnTo>
                    <a:lnTo>
                      <a:pt x="29" y="19"/>
                    </a:lnTo>
                    <a:lnTo>
                      <a:pt x="31" y="19"/>
                    </a:lnTo>
                    <a:lnTo>
                      <a:pt x="33" y="19"/>
                    </a:lnTo>
                    <a:lnTo>
                      <a:pt x="35" y="19"/>
                    </a:lnTo>
                    <a:lnTo>
                      <a:pt x="37" y="19"/>
                    </a:lnTo>
                    <a:lnTo>
                      <a:pt x="37" y="21"/>
                    </a:lnTo>
                    <a:lnTo>
                      <a:pt x="39" y="21"/>
                    </a:lnTo>
                    <a:lnTo>
                      <a:pt x="40" y="21"/>
                    </a:lnTo>
                    <a:lnTo>
                      <a:pt x="40" y="19"/>
                    </a:lnTo>
                    <a:lnTo>
                      <a:pt x="39" y="19"/>
                    </a:lnTo>
                    <a:lnTo>
                      <a:pt x="37" y="19"/>
                    </a:lnTo>
                    <a:lnTo>
                      <a:pt x="35" y="19"/>
                    </a:lnTo>
                    <a:lnTo>
                      <a:pt x="33" y="17"/>
                    </a:lnTo>
                    <a:lnTo>
                      <a:pt x="31" y="17"/>
                    </a:lnTo>
                    <a:lnTo>
                      <a:pt x="29" y="17"/>
                    </a:lnTo>
                    <a:lnTo>
                      <a:pt x="31" y="17"/>
                    </a:lnTo>
                    <a:lnTo>
                      <a:pt x="31" y="15"/>
                    </a:lnTo>
                    <a:lnTo>
                      <a:pt x="35" y="15"/>
                    </a:lnTo>
                    <a:lnTo>
                      <a:pt x="37" y="15"/>
                    </a:lnTo>
                    <a:lnTo>
                      <a:pt x="35" y="13"/>
                    </a:lnTo>
                    <a:lnTo>
                      <a:pt x="33" y="13"/>
                    </a:lnTo>
                    <a:lnTo>
                      <a:pt x="33" y="11"/>
                    </a:lnTo>
                    <a:lnTo>
                      <a:pt x="35" y="11"/>
                    </a:lnTo>
                    <a:lnTo>
                      <a:pt x="35" y="9"/>
                    </a:lnTo>
                    <a:lnTo>
                      <a:pt x="37" y="9"/>
                    </a:lnTo>
                    <a:lnTo>
                      <a:pt x="39" y="9"/>
                    </a:lnTo>
                    <a:lnTo>
                      <a:pt x="40" y="9"/>
                    </a:lnTo>
                    <a:lnTo>
                      <a:pt x="40" y="7"/>
                    </a:lnTo>
                    <a:lnTo>
                      <a:pt x="40" y="9"/>
                    </a:lnTo>
                    <a:lnTo>
                      <a:pt x="40" y="7"/>
                    </a:lnTo>
                    <a:lnTo>
                      <a:pt x="39" y="7"/>
                    </a:lnTo>
                    <a:lnTo>
                      <a:pt x="40" y="7"/>
                    </a:lnTo>
                    <a:lnTo>
                      <a:pt x="39" y="7"/>
                    </a:lnTo>
                    <a:lnTo>
                      <a:pt x="40" y="7"/>
                    </a:lnTo>
                    <a:lnTo>
                      <a:pt x="40" y="5"/>
                    </a:lnTo>
                    <a:lnTo>
                      <a:pt x="39" y="5"/>
                    </a:lnTo>
                    <a:lnTo>
                      <a:pt x="40" y="5"/>
                    </a:lnTo>
                    <a:lnTo>
                      <a:pt x="42" y="5"/>
                    </a:lnTo>
                    <a:lnTo>
                      <a:pt x="42" y="4"/>
                    </a:lnTo>
                    <a:lnTo>
                      <a:pt x="44" y="4"/>
                    </a:lnTo>
                    <a:lnTo>
                      <a:pt x="44" y="5"/>
                    </a:lnTo>
                    <a:lnTo>
                      <a:pt x="46" y="5"/>
                    </a:lnTo>
                    <a:lnTo>
                      <a:pt x="46" y="7"/>
                    </a:lnTo>
                    <a:lnTo>
                      <a:pt x="46" y="9"/>
                    </a:lnTo>
                    <a:lnTo>
                      <a:pt x="48" y="9"/>
                    </a:lnTo>
                    <a:lnTo>
                      <a:pt x="50" y="9"/>
                    </a:lnTo>
                    <a:lnTo>
                      <a:pt x="52" y="9"/>
                    </a:lnTo>
                    <a:lnTo>
                      <a:pt x="54" y="9"/>
                    </a:lnTo>
                    <a:lnTo>
                      <a:pt x="52" y="7"/>
                    </a:lnTo>
                    <a:lnTo>
                      <a:pt x="52" y="5"/>
                    </a:lnTo>
                    <a:lnTo>
                      <a:pt x="50" y="5"/>
                    </a:lnTo>
                    <a:lnTo>
                      <a:pt x="50" y="4"/>
                    </a:lnTo>
                    <a:lnTo>
                      <a:pt x="52" y="2"/>
                    </a:lnTo>
                    <a:lnTo>
                      <a:pt x="54" y="2"/>
                    </a:lnTo>
                    <a:lnTo>
                      <a:pt x="56" y="2"/>
                    </a:lnTo>
                    <a:lnTo>
                      <a:pt x="56" y="0"/>
                    </a:lnTo>
                    <a:lnTo>
                      <a:pt x="56" y="2"/>
                    </a:lnTo>
                    <a:lnTo>
                      <a:pt x="58" y="2"/>
                    </a:lnTo>
                    <a:lnTo>
                      <a:pt x="60" y="2"/>
                    </a:lnTo>
                    <a:lnTo>
                      <a:pt x="62" y="2"/>
                    </a:lnTo>
                    <a:lnTo>
                      <a:pt x="64" y="2"/>
                    </a:lnTo>
                    <a:lnTo>
                      <a:pt x="65" y="4"/>
                    </a:lnTo>
                    <a:lnTo>
                      <a:pt x="67" y="4"/>
                    </a:lnTo>
                    <a:lnTo>
                      <a:pt x="67" y="5"/>
                    </a:lnTo>
                    <a:lnTo>
                      <a:pt x="67" y="4"/>
                    </a:lnTo>
                    <a:lnTo>
                      <a:pt x="69" y="4"/>
                    </a:lnTo>
                    <a:lnTo>
                      <a:pt x="69" y="5"/>
                    </a:lnTo>
                    <a:lnTo>
                      <a:pt x="67" y="5"/>
                    </a:lnTo>
                    <a:lnTo>
                      <a:pt x="67" y="7"/>
                    </a:lnTo>
                    <a:lnTo>
                      <a:pt x="65" y="7"/>
                    </a:lnTo>
                    <a:lnTo>
                      <a:pt x="64" y="7"/>
                    </a:lnTo>
                    <a:lnTo>
                      <a:pt x="65" y="7"/>
                    </a:lnTo>
                    <a:lnTo>
                      <a:pt x="65" y="9"/>
                    </a:lnTo>
                    <a:lnTo>
                      <a:pt x="64" y="9"/>
                    </a:lnTo>
                    <a:lnTo>
                      <a:pt x="64" y="11"/>
                    </a:lnTo>
                    <a:lnTo>
                      <a:pt x="64" y="13"/>
                    </a:lnTo>
                    <a:lnTo>
                      <a:pt x="62" y="13"/>
                    </a:lnTo>
                    <a:lnTo>
                      <a:pt x="62" y="15"/>
                    </a:lnTo>
                    <a:lnTo>
                      <a:pt x="62" y="17"/>
                    </a:lnTo>
                    <a:lnTo>
                      <a:pt x="62" y="19"/>
                    </a:lnTo>
                    <a:lnTo>
                      <a:pt x="62" y="21"/>
                    </a:lnTo>
                    <a:lnTo>
                      <a:pt x="60" y="21"/>
                    </a:lnTo>
                    <a:lnTo>
                      <a:pt x="60" y="23"/>
                    </a:lnTo>
                    <a:lnTo>
                      <a:pt x="58" y="23"/>
                    </a:lnTo>
                    <a:lnTo>
                      <a:pt x="58" y="25"/>
                    </a:lnTo>
                    <a:lnTo>
                      <a:pt x="56" y="25"/>
                    </a:lnTo>
                    <a:lnTo>
                      <a:pt x="58" y="25"/>
                    </a:lnTo>
                    <a:lnTo>
                      <a:pt x="60" y="25"/>
                    </a:lnTo>
                    <a:lnTo>
                      <a:pt x="62" y="25"/>
                    </a:lnTo>
                    <a:lnTo>
                      <a:pt x="60" y="23"/>
                    </a:lnTo>
                    <a:lnTo>
                      <a:pt x="62" y="23"/>
                    </a:lnTo>
                    <a:lnTo>
                      <a:pt x="62" y="21"/>
                    </a:lnTo>
                    <a:lnTo>
                      <a:pt x="64" y="21"/>
                    </a:lnTo>
                    <a:lnTo>
                      <a:pt x="64" y="19"/>
                    </a:lnTo>
                    <a:lnTo>
                      <a:pt x="65" y="19"/>
                    </a:lnTo>
                    <a:lnTo>
                      <a:pt x="65" y="17"/>
                    </a:lnTo>
                    <a:lnTo>
                      <a:pt x="65" y="15"/>
                    </a:lnTo>
                    <a:lnTo>
                      <a:pt x="67" y="15"/>
                    </a:lnTo>
                    <a:lnTo>
                      <a:pt x="69" y="15"/>
                    </a:lnTo>
                    <a:lnTo>
                      <a:pt x="71" y="15"/>
                    </a:lnTo>
                    <a:lnTo>
                      <a:pt x="71" y="13"/>
                    </a:lnTo>
                    <a:lnTo>
                      <a:pt x="73" y="13"/>
                    </a:lnTo>
                    <a:lnTo>
                      <a:pt x="73" y="11"/>
                    </a:lnTo>
                    <a:lnTo>
                      <a:pt x="75" y="11"/>
                    </a:lnTo>
                    <a:lnTo>
                      <a:pt x="77" y="11"/>
                    </a:lnTo>
                    <a:lnTo>
                      <a:pt x="77" y="9"/>
                    </a:lnTo>
                    <a:lnTo>
                      <a:pt x="79" y="9"/>
                    </a:lnTo>
                    <a:lnTo>
                      <a:pt x="79" y="11"/>
                    </a:lnTo>
                    <a:lnTo>
                      <a:pt x="81" y="11"/>
                    </a:lnTo>
                    <a:lnTo>
                      <a:pt x="81" y="9"/>
                    </a:lnTo>
                    <a:lnTo>
                      <a:pt x="83" y="9"/>
                    </a:lnTo>
                    <a:lnTo>
                      <a:pt x="81" y="9"/>
                    </a:lnTo>
                    <a:lnTo>
                      <a:pt x="83" y="9"/>
                    </a:lnTo>
                    <a:lnTo>
                      <a:pt x="83" y="7"/>
                    </a:lnTo>
                    <a:lnTo>
                      <a:pt x="83" y="9"/>
                    </a:lnTo>
                    <a:lnTo>
                      <a:pt x="85" y="9"/>
                    </a:lnTo>
                    <a:lnTo>
                      <a:pt x="87" y="9"/>
                    </a:lnTo>
                    <a:lnTo>
                      <a:pt x="87" y="11"/>
                    </a:lnTo>
                    <a:lnTo>
                      <a:pt x="87" y="13"/>
                    </a:lnTo>
                    <a:lnTo>
                      <a:pt x="88" y="13"/>
                    </a:lnTo>
                    <a:lnTo>
                      <a:pt x="88" y="15"/>
                    </a:lnTo>
                    <a:lnTo>
                      <a:pt x="90" y="15"/>
                    </a:lnTo>
                    <a:lnTo>
                      <a:pt x="94" y="15"/>
                    </a:lnTo>
                    <a:lnTo>
                      <a:pt x="96" y="17"/>
                    </a:lnTo>
                    <a:lnTo>
                      <a:pt x="96" y="19"/>
                    </a:lnTo>
                    <a:lnTo>
                      <a:pt x="98" y="19"/>
                    </a:lnTo>
                    <a:lnTo>
                      <a:pt x="96" y="21"/>
                    </a:lnTo>
                    <a:lnTo>
                      <a:pt x="94" y="21"/>
                    </a:lnTo>
                    <a:lnTo>
                      <a:pt x="96" y="21"/>
                    </a:lnTo>
                    <a:lnTo>
                      <a:pt x="98" y="21"/>
                    </a:lnTo>
                    <a:lnTo>
                      <a:pt x="100" y="21"/>
                    </a:lnTo>
                    <a:lnTo>
                      <a:pt x="100" y="23"/>
                    </a:lnTo>
                    <a:lnTo>
                      <a:pt x="98" y="23"/>
                    </a:lnTo>
                    <a:lnTo>
                      <a:pt x="100" y="23"/>
                    </a:lnTo>
                    <a:lnTo>
                      <a:pt x="102" y="23"/>
                    </a:lnTo>
                    <a:lnTo>
                      <a:pt x="102" y="21"/>
                    </a:lnTo>
                    <a:lnTo>
                      <a:pt x="102" y="19"/>
                    </a:lnTo>
                    <a:lnTo>
                      <a:pt x="102" y="21"/>
                    </a:lnTo>
                    <a:lnTo>
                      <a:pt x="104" y="19"/>
                    </a:lnTo>
                    <a:lnTo>
                      <a:pt x="106" y="19"/>
                    </a:lnTo>
                    <a:lnTo>
                      <a:pt x="108" y="19"/>
                    </a:lnTo>
                    <a:lnTo>
                      <a:pt x="110" y="21"/>
                    </a:lnTo>
                    <a:lnTo>
                      <a:pt x="112" y="21"/>
                    </a:lnTo>
                    <a:lnTo>
                      <a:pt x="112" y="23"/>
                    </a:lnTo>
                    <a:lnTo>
                      <a:pt x="113" y="23"/>
                    </a:lnTo>
                    <a:lnTo>
                      <a:pt x="112" y="23"/>
                    </a:lnTo>
                    <a:lnTo>
                      <a:pt x="112" y="25"/>
                    </a:lnTo>
                    <a:lnTo>
                      <a:pt x="113" y="25"/>
                    </a:lnTo>
                    <a:lnTo>
                      <a:pt x="113" y="27"/>
                    </a:lnTo>
                    <a:lnTo>
                      <a:pt x="113" y="29"/>
                    </a:lnTo>
                    <a:lnTo>
                      <a:pt x="115" y="29"/>
                    </a:lnTo>
                    <a:lnTo>
                      <a:pt x="115" y="30"/>
                    </a:lnTo>
                    <a:lnTo>
                      <a:pt x="115" y="32"/>
                    </a:lnTo>
                    <a:lnTo>
                      <a:pt x="113" y="34"/>
                    </a:lnTo>
                    <a:lnTo>
                      <a:pt x="112" y="36"/>
                    </a:lnTo>
                    <a:lnTo>
                      <a:pt x="110" y="38"/>
                    </a:lnTo>
                    <a:lnTo>
                      <a:pt x="110" y="40"/>
                    </a:lnTo>
                    <a:lnTo>
                      <a:pt x="110" y="38"/>
                    </a:lnTo>
                    <a:lnTo>
                      <a:pt x="108" y="40"/>
                    </a:lnTo>
                    <a:lnTo>
                      <a:pt x="106" y="42"/>
                    </a:lnTo>
                    <a:lnTo>
                      <a:pt x="104" y="42"/>
                    </a:lnTo>
                    <a:lnTo>
                      <a:pt x="102" y="42"/>
                    </a:lnTo>
                    <a:lnTo>
                      <a:pt x="100" y="42"/>
                    </a:lnTo>
                    <a:lnTo>
                      <a:pt x="98" y="42"/>
                    </a:lnTo>
                    <a:lnTo>
                      <a:pt x="96" y="42"/>
                    </a:lnTo>
                    <a:lnTo>
                      <a:pt x="94" y="42"/>
                    </a:lnTo>
                    <a:lnTo>
                      <a:pt x="92" y="44"/>
                    </a:lnTo>
                    <a:lnTo>
                      <a:pt x="90" y="44"/>
                    </a:lnTo>
                    <a:lnTo>
                      <a:pt x="88" y="46"/>
                    </a:lnTo>
                    <a:lnTo>
                      <a:pt x="87" y="46"/>
                    </a:lnTo>
                    <a:lnTo>
                      <a:pt x="85" y="46"/>
                    </a:lnTo>
                    <a:lnTo>
                      <a:pt x="85" y="48"/>
                    </a:lnTo>
                    <a:lnTo>
                      <a:pt x="83" y="48"/>
                    </a:lnTo>
                    <a:lnTo>
                      <a:pt x="83" y="46"/>
                    </a:lnTo>
                    <a:lnTo>
                      <a:pt x="83" y="48"/>
                    </a:lnTo>
                    <a:lnTo>
                      <a:pt x="81" y="48"/>
                    </a:lnTo>
                    <a:lnTo>
                      <a:pt x="79" y="48"/>
                    </a:lnTo>
                    <a:lnTo>
                      <a:pt x="77" y="48"/>
                    </a:lnTo>
                    <a:lnTo>
                      <a:pt x="75" y="50"/>
                    </a:lnTo>
                    <a:lnTo>
                      <a:pt x="73" y="50"/>
                    </a:lnTo>
                    <a:lnTo>
                      <a:pt x="73" y="48"/>
                    </a:lnTo>
                    <a:lnTo>
                      <a:pt x="71" y="48"/>
                    </a:lnTo>
                    <a:lnTo>
                      <a:pt x="71" y="50"/>
                    </a:lnTo>
                    <a:lnTo>
                      <a:pt x="71" y="48"/>
                    </a:lnTo>
                    <a:lnTo>
                      <a:pt x="71" y="50"/>
                    </a:lnTo>
                    <a:lnTo>
                      <a:pt x="69" y="50"/>
                    </a:lnTo>
                    <a:lnTo>
                      <a:pt x="67" y="50"/>
                    </a:lnTo>
                    <a:lnTo>
                      <a:pt x="69" y="50"/>
                    </a:lnTo>
                    <a:lnTo>
                      <a:pt x="69" y="52"/>
                    </a:lnTo>
                    <a:lnTo>
                      <a:pt x="67" y="52"/>
                    </a:lnTo>
                    <a:lnTo>
                      <a:pt x="65" y="52"/>
                    </a:lnTo>
                    <a:lnTo>
                      <a:pt x="64" y="50"/>
                    </a:lnTo>
                    <a:lnTo>
                      <a:pt x="62" y="50"/>
                    </a:lnTo>
                    <a:lnTo>
                      <a:pt x="60" y="50"/>
                    </a:lnTo>
                    <a:lnTo>
                      <a:pt x="60" y="52"/>
                    </a:lnTo>
                    <a:lnTo>
                      <a:pt x="58" y="52"/>
                    </a:lnTo>
                    <a:lnTo>
                      <a:pt x="56" y="52"/>
                    </a:lnTo>
                    <a:lnTo>
                      <a:pt x="54" y="52"/>
                    </a:lnTo>
                    <a:lnTo>
                      <a:pt x="52" y="52"/>
                    </a:lnTo>
                    <a:lnTo>
                      <a:pt x="50" y="52"/>
                    </a:lnTo>
                    <a:lnTo>
                      <a:pt x="52" y="52"/>
                    </a:lnTo>
                    <a:lnTo>
                      <a:pt x="50" y="52"/>
                    </a:lnTo>
                    <a:lnTo>
                      <a:pt x="48" y="52"/>
                    </a:lnTo>
                    <a:lnTo>
                      <a:pt x="46" y="52"/>
                    </a:lnTo>
                    <a:lnTo>
                      <a:pt x="44" y="52"/>
                    </a:lnTo>
                    <a:lnTo>
                      <a:pt x="44" y="54"/>
                    </a:lnTo>
                    <a:lnTo>
                      <a:pt x="44" y="52"/>
                    </a:lnTo>
                    <a:lnTo>
                      <a:pt x="44" y="54"/>
                    </a:lnTo>
                    <a:lnTo>
                      <a:pt x="44" y="52"/>
                    </a:lnTo>
                    <a:lnTo>
                      <a:pt x="42" y="52"/>
                    </a:lnTo>
                    <a:lnTo>
                      <a:pt x="40" y="54"/>
                    </a:lnTo>
                    <a:lnTo>
                      <a:pt x="40" y="52"/>
                    </a:lnTo>
                    <a:lnTo>
                      <a:pt x="40" y="54"/>
                    </a:lnTo>
                    <a:lnTo>
                      <a:pt x="39" y="54"/>
                    </a:lnTo>
                    <a:lnTo>
                      <a:pt x="37" y="54"/>
                    </a:lnTo>
                    <a:lnTo>
                      <a:pt x="39" y="54"/>
                    </a:lnTo>
                    <a:lnTo>
                      <a:pt x="37" y="54"/>
                    </a:lnTo>
                    <a:lnTo>
                      <a:pt x="35" y="54"/>
                    </a:lnTo>
                    <a:lnTo>
                      <a:pt x="33" y="55"/>
                    </a:lnTo>
                    <a:lnTo>
                      <a:pt x="31" y="55"/>
                    </a:lnTo>
                    <a:lnTo>
                      <a:pt x="29" y="57"/>
                    </a:lnTo>
                    <a:lnTo>
                      <a:pt x="27" y="57"/>
                    </a:lnTo>
                    <a:lnTo>
                      <a:pt x="27" y="59"/>
                    </a:lnTo>
                    <a:lnTo>
                      <a:pt x="25" y="59"/>
                    </a:lnTo>
                    <a:lnTo>
                      <a:pt x="25" y="57"/>
                    </a:lnTo>
                    <a:lnTo>
                      <a:pt x="25" y="59"/>
                    </a:lnTo>
                    <a:lnTo>
                      <a:pt x="23" y="59"/>
                    </a:lnTo>
                    <a:lnTo>
                      <a:pt x="21" y="59"/>
                    </a:lnTo>
                    <a:lnTo>
                      <a:pt x="19" y="61"/>
                    </a:lnTo>
                    <a:lnTo>
                      <a:pt x="17" y="61"/>
                    </a:lnTo>
                    <a:lnTo>
                      <a:pt x="17" y="63"/>
                    </a:lnTo>
                    <a:lnTo>
                      <a:pt x="15" y="63"/>
                    </a:lnTo>
                    <a:lnTo>
                      <a:pt x="14" y="63"/>
                    </a:lnTo>
                    <a:lnTo>
                      <a:pt x="14" y="65"/>
                    </a:lnTo>
                    <a:lnTo>
                      <a:pt x="12" y="65"/>
                    </a:lnTo>
                    <a:lnTo>
                      <a:pt x="10" y="65"/>
                    </a:lnTo>
                    <a:lnTo>
                      <a:pt x="8" y="65"/>
                    </a:lnTo>
                    <a:lnTo>
                      <a:pt x="8" y="63"/>
                    </a:lnTo>
                    <a:lnTo>
                      <a:pt x="8" y="65"/>
                    </a:lnTo>
                    <a:lnTo>
                      <a:pt x="6" y="65"/>
                    </a:lnTo>
                    <a:lnTo>
                      <a:pt x="6" y="63"/>
                    </a:lnTo>
                    <a:lnTo>
                      <a:pt x="6" y="65"/>
                    </a:lnTo>
                    <a:lnTo>
                      <a:pt x="4" y="65"/>
                    </a:lnTo>
                    <a:lnTo>
                      <a:pt x="6" y="6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5" name="Freeform 51"/>
              <p:cNvSpPr>
                <a:spLocks noEditPoints="1"/>
              </p:cNvSpPr>
              <p:nvPr/>
            </p:nvSpPr>
            <p:spPr bwMode="auto">
              <a:xfrm>
                <a:off x="3347619" y="881604"/>
                <a:ext cx="1233689" cy="634912"/>
              </a:xfrm>
              <a:custGeom>
                <a:avLst/>
                <a:gdLst>
                  <a:gd name="T0" fmla="*/ 20 w 717"/>
                  <a:gd name="T1" fmla="*/ 363 h 369"/>
                  <a:gd name="T2" fmla="*/ 4 w 717"/>
                  <a:gd name="T3" fmla="*/ 365 h 369"/>
                  <a:gd name="T4" fmla="*/ 6 w 717"/>
                  <a:gd name="T5" fmla="*/ 353 h 369"/>
                  <a:gd name="T6" fmla="*/ 204 w 717"/>
                  <a:gd name="T7" fmla="*/ 328 h 369"/>
                  <a:gd name="T8" fmla="*/ 200 w 717"/>
                  <a:gd name="T9" fmla="*/ 330 h 369"/>
                  <a:gd name="T10" fmla="*/ 198 w 717"/>
                  <a:gd name="T11" fmla="*/ 323 h 369"/>
                  <a:gd name="T12" fmla="*/ 198 w 717"/>
                  <a:gd name="T13" fmla="*/ 321 h 369"/>
                  <a:gd name="T14" fmla="*/ 196 w 717"/>
                  <a:gd name="T15" fmla="*/ 328 h 369"/>
                  <a:gd name="T16" fmla="*/ 189 w 717"/>
                  <a:gd name="T17" fmla="*/ 319 h 369"/>
                  <a:gd name="T18" fmla="*/ 193 w 717"/>
                  <a:gd name="T19" fmla="*/ 276 h 369"/>
                  <a:gd name="T20" fmla="*/ 191 w 717"/>
                  <a:gd name="T21" fmla="*/ 278 h 369"/>
                  <a:gd name="T22" fmla="*/ 179 w 717"/>
                  <a:gd name="T23" fmla="*/ 276 h 369"/>
                  <a:gd name="T24" fmla="*/ 183 w 717"/>
                  <a:gd name="T25" fmla="*/ 271 h 369"/>
                  <a:gd name="T26" fmla="*/ 98 w 717"/>
                  <a:gd name="T27" fmla="*/ 234 h 369"/>
                  <a:gd name="T28" fmla="*/ 96 w 717"/>
                  <a:gd name="T29" fmla="*/ 238 h 369"/>
                  <a:gd name="T30" fmla="*/ 95 w 717"/>
                  <a:gd name="T31" fmla="*/ 242 h 369"/>
                  <a:gd name="T32" fmla="*/ 89 w 717"/>
                  <a:gd name="T33" fmla="*/ 250 h 369"/>
                  <a:gd name="T34" fmla="*/ 87 w 717"/>
                  <a:gd name="T35" fmla="*/ 246 h 369"/>
                  <a:gd name="T36" fmla="*/ 85 w 717"/>
                  <a:gd name="T37" fmla="*/ 250 h 369"/>
                  <a:gd name="T38" fmla="*/ 89 w 717"/>
                  <a:gd name="T39" fmla="*/ 236 h 369"/>
                  <a:gd name="T40" fmla="*/ 95 w 717"/>
                  <a:gd name="T41" fmla="*/ 236 h 369"/>
                  <a:gd name="T42" fmla="*/ 381 w 717"/>
                  <a:gd name="T43" fmla="*/ 215 h 369"/>
                  <a:gd name="T44" fmla="*/ 390 w 717"/>
                  <a:gd name="T45" fmla="*/ 213 h 369"/>
                  <a:gd name="T46" fmla="*/ 387 w 717"/>
                  <a:gd name="T47" fmla="*/ 219 h 369"/>
                  <a:gd name="T48" fmla="*/ 379 w 717"/>
                  <a:gd name="T49" fmla="*/ 221 h 369"/>
                  <a:gd name="T50" fmla="*/ 367 w 717"/>
                  <a:gd name="T51" fmla="*/ 217 h 369"/>
                  <a:gd name="T52" fmla="*/ 704 w 717"/>
                  <a:gd name="T53" fmla="*/ 169 h 369"/>
                  <a:gd name="T54" fmla="*/ 713 w 717"/>
                  <a:gd name="T55" fmla="*/ 173 h 369"/>
                  <a:gd name="T56" fmla="*/ 711 w 717"/>
                  <a:gd name="T57" fmla="*/ 175 h 369"/>
                  <a:gd name="T58" fmla="*/ 700 w 717"/>
                  <a:gd name="T59" fmla="*/ 171 h 369"/>
                  <a:gd name="T60" fmla="*/ 388 w 717"/>
                  <a:gd name="T61" fmla="*/ 178 h 369"/>
                  <a:gd name="T62" fmla="*/ 377 w 717"/>
                  <a:gd name="T63" fmla="*/ 184 h 369"/>
                  <a:gd name="T64" fmla="*/ 379 w 717"/>
                  <a:gd name="T65" fmla="*/ 180 h 369"/>
                  <a:gd name="T66" fmla="*/ 367 w 717"/>
                  <a:gd name="T67" fmla="*/ 182 h 369"/>
                  <a:gd name="T68" fmla="*/ 390 w 717"/>
                  <a:gd name="T69" fmla="*/ 173 h 369"/>
                  <a:gd name="T70" fmla="*/ 254 w 717"/>
                  <a:gd name="T71" fmla="*/ 171 h 369"/>
                  <a:gd name="T72" fmla="*/ 248 w 717"/>
                  <a:gd name="T73" fmla="*/ 165 h 369"/>
                  <a:gd name="T74" fmla="*/ 607 w 717"/>
                  <a:gd name="T75" fmla="*/ 115 h 369"/>
                  <a:gd name="T76" fmla="*/ 604 w 717"/>
                  <a:gd name="T77" fmla="*/ 119 h 369"/>
                  <a:gd name="T78" fmla="*/ 590 w 717"/>
                  <a:gd name="T79" fmla="*/ 119 h 369"/>
                  <a:gd name="T80" fmla="*/ 590 w 717"/>
                  <a:gd name="T81" fmla="*/ 117 h 369"/>
                  <a:gd name="T82" fmla="*/ 596 w 717"/>
                  <a:gd name="T83" fmla="*/ 117 h 369"/>
                  <a:gd name="T84" fmla="*/ 600 w 717"/>
                  <a:gd name="T85" fmla="*/ 115 h 369"/>
                  <a:gd name="T86" fmla="*/ 10 w 717"/>
                  <a:gd name="T87" fmla="*/ 38 h 369"/>
                  <a:gd name="T88" fmla="*/ 22 w 717"/>
                  <a:gd name="T89" fmla="*/ 40 h 369"/>
                  <a:gd name="T90" fmla="*/ 18 w 717"/>
                  <a:gd name="T91" fmla="*/ 44 h 369"/>
                  <a:gd name="T92" fmla="*/ 304 w 717"/>
                  <a:gd name="T93" fmla="*/ 53 h 369"/>
                  <a:gd name="T94" fmla="*/ 321 w 717"/>
                  <a:gd name="T95" fmla="*/ 55 h 369"/>
                  <a:gd name="T96" fmla="*/ 337 w 717"/>
                  <a:gd name="T97" fmla="*/ 63 h 369"/>
                  <a:gd name="T98" fmla="*/ 319 w 717"/>
                  <a:gd name="T99" fmla="*/ 69 h 369"/>
                  <a:gd name="T100" fmla="*/ 304 w 717"/>
                  <a:gd name="T101" fmla="*/ 69 h 369"/>
                  <a:gd name="T102" fmla="*/ 310 w 717"/>
                  <a:gd name="T103" fmla="*/ 67 h 369"/>
                  <a:gd name="T104" fmla="*/ 296 w 717"/>
                  <a:gd name="T105" fmla="*/ 63 h 369"/>
                  <a:gd name="T106" fmla="*/ 292 w 717"/>
                  <a:gd name="T107" fmla="*/ 55 h 369"/>
                  <a:gd name="T108" fmla="*/ 300 w 717"/>
                  <a:gd name="T109" fmla="*/ 53 h 369"/>
                  <a:gd name="T110" fmla="*/ 79 w 717"/>
                  <a:gd name="T111" fmla="*/ 5 h 369"/>
                  <a:gd name="T112" fmla="*/ 83 w 717"/>
                  <a:gd name="T113" fmla="*/ 0 h 369"/>
                  <a:gd name="T114" fmla="*/ 287 w 717"/>
                  <a:gd name="T115" fmla="*/ 19 h 369"/>
                  <a:gd name="T116" fmla="*/ 281 w 717"/>
                  <a:gd name="T117" fmla="*/ 1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7" h="369">
                    <a:moveTo>
                      <a:pt x="16" y="348"/>
                    </a:moveTo>
                    <a:lnTo>
                      <a:pt x="16" y="350"/>
                    </a:lnTo>
                    <a:lnTo>
                      <a:pt x="18" y="350"/>
                    </a:lnTo>
                    <a:lnTo>
                      <a:pt x="18" y="351"/>
                    </a:lnTo>
                    <a:lnTo>
                      <a:pt x="20" y="353"/>
                    </a:lnTo>
                    <a:lnTo>
                      <a:pt x="20" y="355"/>
                    </a:lnTo>
                    <a:lnTo>
                      <a:pt x="22" y="357"/>
                    </a:lnTo>
                    <a:lnTo>
                      <a:pt x="20" y="357"/>
                    </a:lnTo>
                    <a:lnTo>
                      <a:pt x="20" y="359"/>
                    </a:lnTo>
                    <a:lnTo>
                      <a:pt x="22" y="359"/>
                    </a:lnTo>
                    <a:lnTo>
                      <a:pt x="20" y="359"/>
                    </a:lnTo>
                    <a:lnTo>
                      <a:pt x="20" y="361"/>
                    </a:lnTo>
                    <a:lnTo>
                      <a:pt x="20" y="363"/>
                    </a:lnTo>
                    <a:lnTo>
                      <a:pt x="20" y="365"/>
                    </a:lnTo>
                    <a:lnTo>
                      <a:pt x="20" y="367"/>
                    </a:lnTo>
                    <a:lnTo>
                      <a:pt x="22" y="367"/>
                    </a:lnTo>
                    <a:lnTo>
                      <a:pt x="20" y="367"/>
                    </a:lnTo>
                    <a:lnTo>
                      <a:pt x="20" y="369"/>
                    </a:lnTo>
                    <a:lnTo>
                      <a:pt x="18" y="367"/>
                    </a:lnTo>
                    <a:lnTo>
                      <a:pt x="16" y="369"/>
                    </a:lnTo>
                    <a:lnTo>
                      <a:pt x="14" y="367"/>
                    </a:lnTo>
                    <a:lnTo>
                      <a:pt x="12" y="367"/>
                    </a:lnTo>
                    <a:lnTo>
                      <a:pt x="8" y="367"/>
                    </a:lnTo>
                    <a:lnTo>
                      <a:pt x="8" y="365"/>
                    </a:lnTo>
                    <a:lnTo>
                      <a:pt x="6" y="365"/>
                    </a:lnTo>
                    <a:lnTo>
                      <a:pt x="4" y="365"/>
                    </a:lnTo>
                    <a:lnTo>
                      <a:pt x="6" y="363"/>
                    </a:lnTo>
                    <a:lnTo>
                      <a:pt x="4" y="363"/>
                    </a:lnTo>
                    <a:lnTo>
                      <a:pt x="2" y="363"/>
                    </a:lnTo>
                    <a:lnTo>
                      <a:pt x="2" y="361"/>
                    </a:lnTo>
                    <a:lnTo>
                      <a:pt x="0" y="361"/>
                    </a:lnTo>
                    <a:lnTo>
                      <a:pt x="0" y="359"/>
                    </a:lnTo>
                    <a:lnTo>
                      <a:pt x="0" y="361"/>
                    </a:lnTo>
                    <a:lnTo>
                      <a:pt x="0" y="359"/>
                    </a:lnTo>
                    <a:lnTo>
                      <a:pt x="0" y="357"/>
                    </a:lnTo>
                    <a:lnTo>
                      <a:pt x="2" y="357"/>
                    </a:lnTo>
                    <a:lnTo>
                      <a:pt x="2" y="355"/>
                    </a:lnTo>
                    <a:lnTo>
                      <a:pt x="4" y="355"/>
                    </a:lnTo>
                    <a:lnTo>
                      <a:pt x="6" y="353"/>
                    </a:lnTo>
                    <a:lnTo>
                      <a:pt x="8" y="353"/>
                    </a:lnTo>
                    <a:lnTo>
                      <a:pt x="10" y="351"/>
                    </a:lnTo>
                    <a:lnTo>
                      <a:pt x="12" y="348"/>
                    </a:lnTo>
                    <a:lnTo>
                      <a:pt x="14" y="348"/>
                    </a:lnTo>
                    <a:lnTo>
                      <a:pt x="16" y="348"/>
                    </a:lnTo>
                    <a:close/>
                    <a:moveTo>
                      <a:pt x="200" y="323"/>
                    </a:moveTo>
                    <a:lnTo>
                      <a:pt x="202" y="323"/>
                    </a:lnTo>
                    <a:lnTo>
                      <a:pt x="202" y="325"/>
                    </a:lnTo>
                    <a:lnTo>
                      <a:pt x="202" y="326"/>
                    </a:lnTo>
                    <a:lnTo>
                      <a:pt x="200" y="326"/>
                    </a:lnTo>
                    <a:lnTo>
                      <a:pt x="202" y="326"/>
                    </a:lnTo>
                    <a:lnTo>
                      <a:pt x="204" y="326"/>
                    </a:lnTo>
                    <a:lnTo>
                      <a:pt x="204" y="328"/>
                    </a:lnTo>
                    <a:lnTo>
                      <a:pt x="202" y="328"/>
                    </a:lnTo>
                    <a:lnTo>
                      <a:pt x="202" y="330"/>
                    </a:lnTo>
                    <a:lnTo>
                      <a:pt x="204" y="330"/>
                    </a:lnTo>
                    <a:lnTo>
                      <a:pt x="202" y="330"/>
                    </a:lnTo>
                    <a:lnTo>
                      <a:pt x="200" y="330"/>
                    </a:lnTo>
                    <a:lnTo>
                      <a:pt x="200" y="332"/>
                    </a:lnTo>
                    <a:lnTo>
                      <a:pt x="198" y="332"/>
                    </a:lnTo>
                    <a:lnTo>
                      <a:pt x="198" y="334"/>
                    </a:lnTo>
                    <a:lnTo>
                      <a:pt x="196" y="334"/>
                    </a:lnTo>
                    <a:lnTo>
                      <a:pt x="196" y="332"/>
                    </a:lnTo>
                    <a:lnTo>
                      <a:pt x="198" y="332"/>
                    </a:lnTo>
                    <a:lnTo>
                      <a:pt x="198" y="330"/>
                    </a:lnTo>
                    <a:lnTo>
                      <a:pt x="200" y="330"/>
                    </a:lnTo>
                    <a:lnTo>
                      <a:pt x="200" y="328"/>
                    </a:lnTo>
                    <a:lnTo>
                      <a:pt x="198" y="328"/>
                    </a:lnTo>
                    <a:lnTo>
                      <a:pt x="200" y="328"/>
                    </a:lnTo>
                    <a:lnTo>
                      <a:pt x="200" y="330"/>
                    </a:lnTo>
                    <a:lnTo>
                      <a:pt x="198" y="330"/>
                    </a:lnTo>
                    <a:lnTo>
                      <a:pt x="196" y="330"/>
                    </a:lnTo>
                    <a:lnTo>
                      <a:pt x="194" y="330"/>
                    </a:lnTo>
                    <a:lnTo>
                      <a:pt x="194" y="328"/>
                    </a:lnTo>
                    <a:lnTo>
                      <a:pt x="196" y="328"/>
                    </a:lnTo>
                    <a:lnTo>
                      <a:pt x="196" y="326"/>
                    </a:lnTo>
                    <a:lnTo>
                      <a:pt x="196" y="325"/>
                    </a:lnTo>
                    <a:lnTo>
                      <a:pt x="196" y="323"/>
                    </a:lnTo>
                    <a:lnTo>
                      <a:pt x="198" y="323"/>
                    </a:lnTo>
                    <a:lnTo>
                      <a:pt x="198" y="325"/>
                    </a:lnTo>
                    <a:lnTo>
                      <a:pt x="200" y="325"/>
                    </a:lnTo>
                    <a:lnTo>
                      <a:pt x="198" y="325"/>
                    </a:lnTo>
                    <a:lnTo>
                      <a:pt x="198" y="326"/>
                    </a:lnTo>
                    <a:lnTo>
                      <a:pt x="198" y="328"/>
                    </a:lnTo>
                    <a:lnTo>
                      <a:pt x="198" y="326"/>
                    </a:lnTo>
                    <a:lnTo>
                      <a:pt x="198" y="325"/>
                    </a:lnTo>
                    <a:lnTo>
                      <a:pt x="200" y="325"/>
                    </a:lnTo>
                    <a:lnTo>
                      <a:pt x="198" y="325"/>
                    </a:lnTo>
                    <a:lnTo>
                      <a:pt x="198" y="323"/>
                    </a:lnTo>
                    <a:lnTo>
                      <a:pt x="196" y="323"/>
                    </a:lnTo>
                    <a:lnTo>
                      <a:pt x="198" y="323"/>
                    </a:lnTo>
                    <a:lnTo>
                      <a:pt x="198" y="321"/>
                    </a:lnTo>
                    <a:lnTo>
                      <a:pt x="200" y="321"/>
                    </a:lnTo>
                    <a:lnTo>
                      <a:pt x="200" y="323"/>
                    </a:lnTo>
                    <a:close/>
                    <a:moveTo>
                      <a:pt x="191" y="319"/>
                    </a:moveTo>
                    <a:lnTo>
                      <a:pt x="193" y="319"/>
                    </a:lnTo>
                    <a:lnTo>
                      <a:pt x="194" y="319"/>
                    </a:lnTo>
                    <a:lnTo>
                      <a:pt x="196" y="319"/>
                    </a:lnTo>
                    <a:lnTo>
                      <a:pt x="198" y="321"/>
                    </a:lnTo>
                    <a:lnTo>
                      <a:pt x="196" y="323"/>
                    </a:lnTo>
                    <a:lnTo>
                      <a:pt x="198" y="323"/>
                    </a:lnTo>
                    <a:lnTo>
                      <a:pt x="196" y="323"/>
                    </a:lnTo>
                    <a:lnTo>
                      <a:pt x="196" y="325"/>
                    </a:lnTo>
                    <a:lnTo>
                      <a:pt x="196" y="326"/>
                    </a:lnTo>
                    <a:lnTo>
                      <a:pt x="196" y="328"/>
                    </a:lnTo>
                    <a:lnTo>
                      <a:pt x="194" y="328"/>
                    </a:lnTo>
                    <a:lnTo>
                      <a:pt x="193" y="328"/>
                    </a:lnTo>
                    <a:lnTo>
                      <a:pt x="193" y="326"/>
                    </a:lnTo>
                    <a:lnTo>
                      <a:pt x="193" y="325"/>
                    </a:lnTo>
                    <a:lnTo>
                      <a:pt x="193" y="323"/>
                    </a:lnTo>
                    <a:lnTo>
                      <a:pt x="193" y="325"/>
                    </a:lnTo>
                    <a:lnTo>
                      <a:pt x="193" y="323"/>
                    </a:lnTo>
                    <a:lnTo>
                      <a:pt x="191" y="323"/>
                    </a:lnTo>
                    <a:lnTo>
                      <a:pt x="191" y="321"/>
                    </a:lnTo>
                    <a:lnTo>
                      <a:pt x="189" y="321"/>
                    </a:lnTo>
                    <a:lnTo>
                      <a:pt x="189" y="319"/>
                    </a:lnTo>
                    <a:lnTo>
                      <a:pt x="187" y="319"/>
                    </a:lnTo>
                    <a:lnTo>
                      <a:pt x="189" y="319"/>
                    </a:lnTo>
                    <a:lnTo>
                      <a:pt x="191" y="317"/>
                    </a:lnTo>
                    <a:lnTo>
                      <a:pt x="189" y="317"/>
                    </a:lnTo>
                    <a:lnTo>
                      <a:pt x="191" y="317"/>
                    </a:lnTo>
                    <a:lnTo>
                      <a:pt x="191" y="319"/>
                    </a:lnTo>
                    <a:close/>
                    <a:moveTo>
                      <a:pt x="194" y="271"/>
                    </a:moveTo>
                    <a:lnTo>
                      <a:pt x="194" y="273"/>
                    </a:lnTo>
                    <a:lnTo>
                      <a:pt x="196" y="273"/>
                    </a:lnTo>
                    <a:lnTo>
                      <a:pt x="196" y="275"/>
                    </a:lnTo>
                    <a:lnTo>
                      <a:pt x="194" y="275"/>
                    </a:lnTo>
                    <a:lnTo>
                      <a:pt x="194" y="276"/>
                    </a:lnTo>
                    <a:lnTo>
                      <a:pt x="194" y="275"/>
                    </a:lnTo>
                    <a:lnTo>
                      <a:pt x="194" y="276"/>
                    </a:lnTo>
                    <a:lnTo>
                      <a:pt x="193" y="276"/>
                    </a:lnTo>
                    <a:lnTo>
                      <a:pt x="193" y="275"/>
                    </a:lnTo>
                    <a:lnTo>
                      <a:pt x="193" y="276"/>
                    </a:lnTo>
                    <a:lnTo>
                      <a:pt x="191" y="276"/>
                    </a:lnTo>
                    <a:lnTo>
                      <a:pt x="191" y="275"/>
                    </a:lnTo>
                    <a:lnTo>
                      <a:pt x="189" y="275"/>
                    </a:lnTo>
                    <a:lnTo>
                      <a:pt x="191" y="275"/>
                    </a:lnTo>
                    <a:lnTo>
                      <a:pt x="189" y="275"/>
                    </a:lnTo>
                    <a:lnTo>
                      <a:pt x="189" y="273"/>
                    </a:lnTo>
                    <a:lnTo>
                      <a:pt x="189" y="275"/>
                    </a:lnTo>
                    <a:lnTo>
                      <a:pt x="187" y="275"/>
                    </a:lnTo>
                    <a:lnTo>
                      <a:pt x="189" y="276"/>
                    </a:lnTo>
                    <a:lnTo>
                      <a:pt x="189" y="278"/>
                    </a:lnTo>
                    <a:lnTo>
                      <a:pt x="191" y="278"/>
                    </a:lnTo>
                    <a:lnTo>
                      <a:pt x="191" y="276"/>
                    </a:lnTo>
                    <a:lnTo>
                      <a:pt x="193" y="276"/>
                    </a:lnTo>
                    <a:lnTo>
                      <a:pt x="193" y="278"/>
                    </a:lnTo>
                    <a:lnTo>
                      <a:pt x="191" y="278"/>
                    </a:lnTo>
                    <a:lnTo>
                      <a:pt x="189" y="278"/>
                    </a:lnTo>
                    <a:lnTo>
                      <a:pt x="187" y="278"/>
                    </a:lnTo>
                    <a:lnTo>
                      <a:pt x="185" y="278"/>
                    </a:lnTo>
                    <a:lnTo>
                      <a:pt x="185" y="276"/>
                    </a:lnTo>
                    <a:lnTo>
                      <a:pt x="183" y="276"/>
                    </a:lnTo>
                    <a:lnTo>
                      <a:pt x="181" y="276"/>
                    </a:lnTo>
                    <a:lnTo>
                      <a:pt x="179" y="276"/>
                    </a:lnTo>
                    <a:lnTo>
                      <a:pt x="181" y="276"/>
                    </a:lnTo>
                    <a:lnTo>
                      <a:pt x="179" y="276"/>
                    </a:lnTo>
                    <a:lnTo>
                      <a:pt x="177" y="276"/>
                    </a:lnTo>
                    <a:lnTo>
                      <a:pt x="177" y="275"/>
                    </a:lnTo>
                    <a:lnTo>
                      <a:pt x="177" y="273"/>
                    </a:lnTo>
                    <a:lnTo>
                      <a:pt x="179" y="273"/>
                    </a:lnTo>
                    <a:lnTo>
                      <a:pt x="181" y="273"/>
                    </a:lnTo>
                    <a:lnTo>
                      <a:pt x="181" y="275"/>
                    </a:lnTo>
                    <a:lnTo>
                      <a:pt x="183" y="275"/>
                    </a:lnTo>
                    <a:lnTo>
                      <a:pt x="185" y="275"/>
                    </a:lnTo>
                    <a:lnTo>
                      <a:pt x="185" y="273"/>
                    </a:lnTo>
                    <a:lnTo>
                      <a:pt x="183" y="273"/>
                    </a:lnTo>
                    <a:lnTo>
                      <a:pt x="185" y="273"/>
                    </a:lnTo>
                    <a:lnTo>
                      <a:pt x="183" y="273"/>
                    </a:lnTo>
                    <a:lnTo>
                      <a:pt x="183" y="271"/>
                    </a:lnTo>
                    <a:lnTo>
                      <a:pt x="185" y="271"/>
                    </a:lnTo>
                    <a:lnTo>
                      <a:pt x="183" y="271"/>
                    </a:lnTo>
                    <a:lnTo>
                      <a:pt x="185" y="271"/>
                    </a:lnTo>
                    <a:lnTo>
                      <a:pt x="187" y="271"/>
                    </a:lnTo>
                    <a:lnTo>
                      <a:pt x="185" y="271"/>
                    </a:lnTo>
                    <a:lnTo>
                      <a:pt x="185" y="273"/>
                    </a:lnTo>
                    <a:lnTo>
                      <a:pt x="187" y="273"/>
                    </a:lnTo>
                    <a:lnTo>
                      <a:pt x="187" y="271"/>
                    </a:lnTo>
                    <a:lnTo>
                      <a:pt x="189" y="271"/>
                    </a:lnTo>
                    <a:lnTo>
                      <a:pt x="191" y="271"/>
                    </a:lnTo>
                    <a:lnTo>
                      <a:pt x="193" y="271"/>
                    </a:lnTo>
                    <a:lnTo>
                      <a:pt x="194" y="271"/>
                    </a:lnTo>
                    <a:close/>
                    <a:moveTo>
                      <a:pt x="98" y="234"/>
                    </a:moveTo>
                    <a:lnTo>
                      <a:pt x="96" y="234"/>
                    </a:lnTo>
                    <a:lnTo>
                      <a:pt x="95" y="236"/>
                    </a:lnTo>
                    <a:lnTo>
                      <a:pt x="95" y="238"/>
                    </a:lnTo>
                    <a:lnTo>
                      <a:pt x="96" y="238"/>
                    </a:lnTo>
                    <a:lnTo>
                      <a:pt x="95" y="238"/>
                    </a:lnTo>
                    <a:lnTo>
                      <a:pt x="95" y="236"/>
                    </a:lnTo>
                    <a:lnTo>
                      <a:pt x="93" y="236"/>
                    </a:lnTo>
                    <a:lnTo>
                      <a:pt x="93" y="238"/>
                    </a:lnTo>
                    <a:lnTo>
                      <a:pt x="95" y="238"/>
                    </a:lnTo>
                    <a:lnTo>
                      <a:pt x="95" y="240"/>
                    </a:lnTo>
                    <a:lnTo>
                      <a:pt x="96" y="240"/>
                    </a:lnTo>
                    <a:lnTo>
                      <a:pt x="95" y="238"/>
                    </a:lnTo>
                    <a:lnTo>
                      <a:pt x="96" y="238"/>
                    </a:lnTo>
                    <a:lnTo>
                      <a:pt x="96" y="240"/>
                    </a:lnTo>
                    <a:lnTo>
                      <a:pt x="96" y="242"/>
                    </a:lnTo>
                    <a:lnTo>
                      <a:pt x="98" y="242"/>
                    </a:lnTo>
                    <a:lnTo>
                      <a:pt x="98" y="244"/>
                    </a:lnTo>
                    <a:lnTo>
                      <a:pt x="96" y="244"/>
                    </a:lnTo>
                    <a:lnTo>
                      <a:pt x="96" y="246"/>
                    </a:lnTo>
                    <a:lnTo>
                      <a:pt x="96" y="244"/>
                    </a:lnTo>
                    <a:lnTo>
                      <a:pt x="98" y="244"/>
                    </a:lnTo>
                    <a:lnTo>
                      <a:pt x="96" y="244"/>
                    </a:lnTo>
                    <a:lnTo>
                      <a:pt x="96" y="242"/>
                    </a:lnTo>
                    <a:lnTo>
                      <a:pt x="95" y="242"/>
                    </a:lnTo>
                    <a:lnTo>
                      <a:pt x="95" y="244"/>
                    </a:lnTo>
                    <a:lnTo>
                      <a:pt x="95" y="242"/>
                    </a:lnTo>
                    <a:lnTo>
                      <a:pt x="95" y="244"/>
                    </a:lnTo>
                    <a:lnTo>
                      <a:pt x="93" y="244"/>
                    </a:lnTo>
                    <a:lnTo>
                      <a:pt x="93" y="242"/>
                    </a:lnTo>
                    <a:lnTo>
                      <a:pt x="93" y="244"/>
                    </a:lnTo>
                    <a:lnTo>
                      <a:pt x="93" y="246"/>
                    </a:lnTo>
                    <a:lnTo>
                      <a:pt x="91" y="246"/>
                    </a:lnTo>
                    <a:lnTo>
                      <a:pt x="93" y="246"/>
                    </a:lnTo>
                    <a:lnTo>
                      <a:pt x="93" y="248"/>
                    </a:lnTo>
                    <a:lnTo>
                      <a:pt x="91" y="248"/>
                    </a:lnTo>
                    <a:lnTo>
                      <a:pt x="91" y="250"/>
                    </a:lnTo>
                    <a:lnTo>
                      <a:pt x="91" y="251"/>
                    </a:lnTo>
                    <a:lnTo>
                      <a:pt x="91" y="250"/>
                    </a:lnTo>
                    <a:lnTo>
                      <a:pt x="89" y="250"/>
                    </a:lnTo>
                    <a:lnTo>
                      <a:pt x="89" y="248"/>
                    </a:lnTo>
                    <a:lnTo>
                      <a:pt x="91" y="248"/>
                    </a:lnTo>
                    <a:lnTo>
                      <a:pt x="89" y="248"/>
                    </a:lnTo>
                    <a:lnTo>
                      <a:pt x="89" y="246"/>
                    </a:lnTo>
                    <a:lnTo>
                      <a:pt x="89" y="244"/>
                    </a:lnTo>
                    <a:lnTo>
                      <a:pt x="87" y="244"/>
                    </a:lnTo>
                    <a:lnTo>
                      <a:pt x="89" y="244"/>
                    </a:lnTo>
                    <a:lnTo>
                      <a:pt x="87" y="244"/>
                    </a:lnTo>
                    <a:lnTo>
                      <a:pt x="85" y="244"/>
                    </a:lnTo>
                    <a:lnTo>
                      <a:pt x="87" y="244"/>
                    </a:lnTo>
                    <a:lnTo>
                      <a:pt x="85" y="244"/>
                    </a:lnTo>
                    <a:lnTo>
                      <a:pt x="85" y="246"/>
                    </a:lnTo>
                    <a:lnTo>
                      <a:pt x="87" y="246"/>
                    </a:lnTo>
                    <a:lnTo>
                      <a:pt x="85" y="246"/>
                    </a:lnTo>
                    <a:lnTo>
                      <a:pt x="85" y="244"/>
                    </a:lnTo>
                    <a:lnTo>
                      <a:pt x="83" y="244"/>
                    </a:lnTo>
                    <a:lnTo>
                      <a:pt x="85" y="244"/>
                    </a:lnTo>
                    <a:lnTo>
                      <a:pt x="83" y="242"/>
                    </a:lnTo>
                    <a:lnTo>
                      <a:pt x="85" y="242"/>
                    </a:lnTo>
                    <a:lnTo>
                      <a:pt x="85" y="240"/>
                    </a:lnTo>
                    <a:lnTo>
                      <a:pt x="83" y="240"/>
                    </a:lnTo>
                    <a:lnTo>
                      <a:pt x="83" y="242"/>
                    </a:lnTo>
                    <a:lnTo>
                      <a:pt x="83" y="244"/>
                    </a:lnTo>
                    <a:lnTo>
                      <a:pt x="83" y="246"/>
                    </a:lnTo>
                    <a:lnTo>
                      <a:pt x="85" y="248"/>
                    </a:lnTo>
                    <a:lnTo>
                      <a:pt x="85" y="250"/>
                    </a:lnTo>
                    <a:lnTo>
                      <a:pt x="89" y="250"/>
                    </a:lnTo>
                    <a:lnTo>
                      <a:pt x="89" y="251"/>
                    </a:lnTo>
                    <a:lnTo>
                      <a:pt x="87" y="251"/>
                    </a:lnTo>
                    <a:lnTo>
                      <a:pt x="87" y="250"/>
                    </a:lnTo>
                    <a:lnTo>
                      <a:pt x="85" y="250"/>
                    </a:lnTo>
                    <a:lnTo>
                      <a:pt x="85" y="248"/>
                    </a:lnTo>
                    <a:lnTo>
                      <a:pt x="83" y="246"/>
                    </a:lnTo>
                    <a:lnTo>
                      <a:pt x="83" y="244"/>
                    </a:lnTo>
                    <a:lnTo>
                      <a:pt x="83" y="242"/>
                    </a:lnTo>
                    <a:lnTo>
                      <a:pt x="83" y="240"/>
                    </a:lnTo>
                    <a:lnTo>
                      <a:pt x="85" y="238"/>
                    </a:lnTo>
                    <a:lnTo>
                      <a:pt x="87" y="236"/>
                    </a:lnTo>
                    <a:lnTo>
                      <a:pt x="89" y="236"/>
                    </a:lnTo>
                    <a:lnTo>
                      <a:pt x="87" y="236"/>
                    </a:lnTo>
                    <a:lnTo>
                      <a:pt x="87" y="238"/>
                    </a:lnTo>
                    <a:lnTo>
                      <a:pt x="85" y="238"/>
                    </a:lnTo>
                    <a:lnTo>
                      <a:pt x="87" y="238"/>
                    </a:lnTo>
                    <a:lnTo>
                      <a:pt x="87" y="240"/>
                    </a:lnTo>
                    <a:lnTo>
                      <a:pt x="89" y="240"/>
                    </a:lnTo>
                    <a:lnTo>
                      <a:pt x="91" y="240"/>
                    </a:lnTo>
                    <a:lnTo>
                      <a:pt x="91" y="238"/>
                    </a:lnTo>
                    <a:lnTo>
                      <a:pt x="89" y="236"/>
                    </a:lnTo>
                    <a:lnTo>
                      <a:pt x="91" y="238"/>
                    </a:lnTo>
                    <a:lnTo>
                      <a:pt x="93" y="238"/>
                    </a:lnTo>
                    <a:lnTo>
                      <a:pt x="93" y="236"/>
                    </a:lnTo>
                    <a:lnTo>
                      <a:pt x="95" y="236"/>
                    </a:lnTo>
                    <a:lnTo>
                      <a:pt x="95" y="234"/>
                    </a:lnTo>
                    <a:lnTo>
                      <a:pt x="93" y="234"/>
                    </a:lnTo>
                    <a:lnTo>
                      <a:pt x="91" y="234"/>
                    </a:lnTo>
                    <a:lnTo>
                      <a:pt x="91" y="236"/>
                    </a:lnTo>
                    <a:lnTo>
                      <a:pt x="89" y="236"/>
                    </a:lnTo>
                    <a:lnTo>
                      <a:pt x="91" y="234"/>
                    </a:lnTo>
                    <a:lnTo>
                      <a:pt x="93" y="234"/>
                    </a:lnTo>
                    <a:lnTo>
                      <a:pt x="95" y="234"/>
                    </a:lnTo>
                    <a:lnTo>
                      <a:pt x="96" y="234"/>
                    </a:lnTo>
                    <a:lnTo>
                      <a:pt x="98" y="234"/>
                    </a:lnTo>
                    <a:close/>
                    <a:moveTo>
                      <a:pt x="379" y="213"/>
                    </a:moveTo>
                    <a:lnTo>
                      <a:pt x="379" y="215"/>
                    </a:lnTo>
                    <a:lnTo>
                      <a:pt x="381" y="215"/>
                    </a:lnTo>
                    <a:lnTo>
                      <a:pt x="383" y="215"/>
                    </a:lnTo>
                    <a:lnTo>
                      <a:pt x="385" y="215"/>
                    </a:lnTo>
                    <a:lnTo>
                      <a:pt x="383" y="215"/>
                    </a:lnTo>
                    <a:lnTo>
                      <a:pt x="385" y="215"/>
                    </a:lnTo>
                    <a:lnTo>
                      <a:pt x="383" y="215"/>
                    </a:lnTo>
                    <a:lnTo>
                      <a:pt x="383" y="217"/>
                    </a:lnTo>
                    <a:lnTo>
                      <a:pt x="385" y="217"/>
                    </a:lnTo>
                    <a:lnTo>
                      <a:pt x="385" y="215"/>
                    </a:lnTo>
                    <a:lnTo>
                      <a:pt x="387" y="215"/>
                    </a:lnTo>
                    <a:lnTo>
                      <a:pt x="385" y="215"/>
                    </a:lnTo>
                    <a:lnTo>
                      <a:pt x="387" y="213"/>
                    </a:lnTo>
                    <a:lnTo>
                      <a:pt x="388" y="213"/>
                    </a:lnTo>
                    <a:lnTo>
                      <a:pt x="390" y="213"/>
                    </a:lnTo>
                    <a:lnTo>
                      <a:pt x="390" y="215"/>
                    </a:lnTo>
                    <a:lnTo>
                      <a:pt x="388" y="215"/>
                    </a:lnTo>
                    <a:lnTo>
                      <a:pt x="388" y="217"/>
                    </a:lnTo>
                    <a:lnTo>
                      <a:pt x="390" y="217"/>
                    </a:lnTo>
                    <a:lnTo>
                      <a:pt x="390" y="219"/>
                    </a:lnTo>
                    <a:lnTo>
                      <a:pt x="390" y="217"/>
                    </a:lnTo>
                    <a:lnTo>
                      <a:pt x="388" y="217"/>
                    </a:lnTo>
                    <a:lnTo>
                      <a:pt x="387" y="217"/>
                    </a:lnTo>
                    <a:lnTo>
                      <a:pt x="385" y="217"/>
                    </a:lnTo>
                    <a:lnTo>
                      <a:pt x="387" y="217"/>
                    </a:lnTo>
                    <a:lnTo>
                      <a:pt x="387" y="219"/>
                    </a:lnTo>
                    <a:lnTo>
                      <a:pt x="387" y="217"/>
                    </a:lnTo>
                    <a:lnTo>
                      <a:pt x="387" y="219"/>
                    </a:lnTo>
                    <a:lnTo>
                      <a:pt x="388" y="219"/>
                    </a:lnTo>
                    <a:lnTo>
                      <a:pt x="390" y="219"/>
                    </a:lnTo>
                    <a:lnTo>
                      <a:pt x="390" y="221"/>
                    </a:lnTo>
                    <a:lnTo>
                      <a:pt x="388" y="221"/>
                    </a:lnTo>
                    <a:lnTo>
                      <a:pt x="388" y="223"/>
                    </a:lnTo>
                    <a:lnTo>
                      <a:pt x="390" y="223"/>
                    </a:lnTo>
                    <a:lnTo>
                      <a:pt x="388" y="223"/>
                    </a:lnTo>
                    <a:lnTo>
                      <a:pt x="388" y="221"/>
                    </a:lnTo>
                    <a:lnTo>
                      <a:pt x="387" y="221"/>
                    </a:lnTo>
                    <a:lnTo>
                      <a:pt x="385" y="221"/>
                    </a:lnTo>
                    <a:lnTo>
                      <a:pt x="383" y="221"/>
                    </a:lnTo>
                    <a:lnTo>
                      <a:pt x="381" y="221"/>
                    </a:lnTo>
                    <a:lnTo>
                      <a:pt x="379" y="221"/>
                    </a:lnTo>
                    <a:lnTo>
                      <a:pt x="377" y="221"/>
                    </a:lnTo>
                    <a:lnTo>
                      <a:pt x="375" y="221"/>
                    </a:lnTo>
                    <a:lnTo>
                      <a:pt x="373" y="221"/>
                    </a:lnTo>
                    <a:lnTo>
                      <a:pt x="373" y="219"/>
                    </a:lnTo>
                    <a:lnTo>
                      <a:pt x="375" y="221"/>
                    </a:lnTo>
                    <a:lnTo>
                      <a:pt x="375" y="219"/>
                    </a:lnTo>
                    <a:lnTo>
                      <a:pt x="373" y="219"/>
                    </a:lnTo>
                    <a:lnTo>
                      <a:pt x="371" y="219"/>
                    </a:lnTo>
                    <a:lnTo>
                      <a:pt x="371" y="217"/>
                    </a:lnTo>
                    <a:lnTo>
                      <a:pt x="371" y="219"/>
                    </a:lnTo>
                    <a:lnTo>
                      <a:pt x="369" y="219"/>
                    </a:lnTo>
                    <a:lnTo>
                      <a:pt x="369" y="217"/>
                    </a:lnTo>
                    <a:lnTo>
                      <a:pt x="367" y="217"/>
                    </a:lnTo>
                    <a:lnTo>
                      <a:pt x="367" y="215"/>
                    </a:lnTo>
                    <a:lnTo>
                      <a:pt x="369" y="215"/>
                    </a:lnTo>
                    <a:lnTo>
                      <a:pt x="371" y="215"/>
                    </a:lnTo>
                    <a:lnTo>
                      <a:pt x="373" y="215"/>
                    </a:lnTo>
                    <a:lnTo>
                      <a:pt x="373" y="217"/>
                    </a:lnTo>
                    <a:lnTo>
                      <a:pt x="371" y="217"/>
                    </a:lnTo>
                    <a:lnTo>
                      <a:pt x="373" y="217"/>
                    </a:lnTo>
                    <a:lnTo>
                      <a:pt x="373" y="215"/>
                    </a:lnTo>
                    <a:lnTo>
                      <a:pt x="375" y="215"/>
                    </a:lnTo>
                    <a:lnTo>
                      <a:pt x="375" y="213"/>
                    </a:lnTo>
                    <a:lnTo>
                      <a:pt x="377" y="213"/>
                    </a:lnTo>
                    <a:lnTo>
                      <a:pt x="379" y="213"/>
                    </a:lnTo>
                    <a:close/>
                    <a:moveTo>
                      <a:pt x="704" y="169"/>
                    </a:moveTo>
                    <a:lnTo>
                      <a:pt x="705" y="169"/>
                    </a:lnTo>
                    <a:lnTo>
                      <a:pt x="707" y="169"/>
                    </a:lnTo>
                    <a:lnTo>
                      <a:pt x="709" y="169"/>
                    </a:lnTo>
                    <a:lnTo>
                      <a:pt x="711" y="169"/>
                    </a:lnTo>
                    <a:lnTo>
                      <a:pt x="711" y="171"/>
                    </a:lnTo>
                    <a:lnTo>
                      <a:pt x="713" y="171"/>
                    </a:lnTo>
                    <a:lnTo>
                      <a:pt x="711" y="171"/>
                    </a:lnTo>
                    <a:lnTo>
                      <a:pt x="713" y="171"/>
                    </a:lnTo>
                    <a:lnTo>
                      <a:pt x="711" y="171"/>
                    </a:lnTo>
                    <a:lnTo>
                      <a:pt x="711" y="173"/>
                    </a:lnTo>
                    <a:lnTo>
                      <a:pt x="713" y="173"/>
                    </a:lnTo>
                    <a:lnTo>
                      <a:pt x="711" y="173"/>
                    </a:lnTo>
                    <a:lnTo>
                      <a:pt x="713" y="173"/>
                    </a:lnTo>
                    <a:lnTo>
                      <a:pt x="715" y="173"/>
                    </a:lnTo>
                    <a:lnTo>
                      <a:pt x="715" y="171"/>
                    </a:lnTo>
                    <a:lnTo>
                      <a:pt x="717" y="173"/>
                    </a:lnTo>
                    <a:lnTo>
                      <a:pt x="715" y="173"/>
                    </a:lnTo>
                    <a:lnTo>
                      <a:pt x="713" y="173"/>
                    </a:lnTo>
                    <a:lnTo>
                      <a:pt x="713" y="175"/>
                    </a:lnTo>
                    <a:lnTo>
                      <a:pt x="715" y="175"/>
                    </a:lnTo>
                    <a:lnTo>
                      <a:pt x="715" y="177"/>
                    </a:lnTo>
                    <a:lnTo>
                      <a:pt x="713" y="177"/>
                    </a:lnTo>
                    <a:lnTo>
                      <a:pt x="711" y="177"/>
                    </a:lnTo>
                    <a:lnTo>
                      <a:pt x="709" y="177"/>
                    </a:lnTo>
                    <a:lnTo>
                      <a:pt x="711" y="177"/>
                    </a:lnTo>
                    <a:lnTo>
                      <a:pt x="711" y="175"/>
                    </a:lnTo>
                    <a:lnTo>
                      <a:pt x="709" y="175"/>
                    </a:lnTo>
                    <a:lnTo>
                      <a:pt x="707" y="173"/>
                    </a:lnTo>
                    <a:lnTo>
                      <a:pt x="705" y="173"/>
                    </a:lnTo>
                    <a:lnTo>
                      <a:pt x="707" y="173"/>
                    </a:lnTo>
                    <a:lnTo>
                      <a:pt x="705" y="173"/>
                    </a:lnTo>
                    <a:lnTo>
                      <a:pt x="704" y="173"/>
                    </a:lnTo>
                    <a:lnTo>
                      <a:pt x="702" y="173"/>
                    </a:lnTo>
                    <a:lnTo>
                      <a:pt x="704" y="173"/>
                    </a:lnTo>
                    <a:lnTo>
                      <a:pt x="702" y="173"/>
                    </a:lnTo>
                    <a:lnTo>
                      <a:pt x="702" y="171"/>
                    </a:lnTo>
                    <a:lnTo>
                      <a:pt x="704" y="171"/>
                    </a:lnTo>
                    <a:lnTo>
                      <a:pt x="702" y="171"/>
                    </a:lnTo>
                    <a:lnTo>
                      <a:pt x="700" y="171"/>
                    </a:lnTo>
                    <a:lnTo>
                      <a:pt x="702" y="171"/>
                    </a:lnTo>
                    <a:lnTo>
                      <a:pt x="704" y="171"/>
                    </a:lnTo>
                    <a:lnTo>
                      <a:pt x="702" y="171"/>
                    </a:lnTo>
                    <a:lnTo>
                      <a:pt x="702" y="169"/>
                    </a:lnTo>
                    <a:lnTo>
                      <a:pt x="704" y="169"/>
                    </a:lnTo>
                    <a:close/>
                    <a:moveTo>
                      <a:pt x="392" y="177"/>
                    </a:moveTo>
                    <a:lnTo>
                      <a:pt x="390" y="177"/>
                    </a:lnTo>
                    <a:lnTo>
                      <a:pt x="390" y="178"/>
                    </a:lnTo>
                    <a:lnTo>
                      <a:pt x="388" y="178"/>
                    </a:lnTo>
                    <a:lnTo>
                      <a:pt x="388" y="180"/>
                    </a:lnTo>
                    <a:lnTo>
                      <a:pt x="387" y="180"/>
                    </a:lnTo>
                    <a:lnTo>
                      <a:pt x="388" y="180"/>
                    </a:lnTo>
                    <a:lnTo>
                      <a:pt x="388" y="178"/>
                    </a:lnTo>
                    <a:lnTo>
                      <a:pt x="387" y="178"/>
                    </a:lnTo>
                    <a:lnTo>
                      <a:pt x="387" y="180"/>
                    </a:lnTo>
                    <a:lnTo>
                      <a:pt x="385" y="180"/>
                    </a:lnTo>
                    <a:lnTo>
                      <a:pt x="385" y="182"/>
                    </a:lnTo>
                    <a:lnTo>
                      <a:pt x="385" y="180"/>
                    </a:lnTo>
                    <a:lnTo>
                      <a:pt x="387" y="180"/>
                    </a:lnTo>
                    <a:lnTo>
                      <a:pt x="385" y="180"/>
                    </a:lnTo>
                    <a:lnTo>
                      <a:pt x="385" y="182"/>
                    </a:lnTo>
                    <a:lnTo>
                      <a:pt x="383" y="182"/>
                    </a:lnTo>
                    <a:lnTo>
                      <a:pt x="381" y="182"/>
                    </a:lnTo>
                    <a:lnTo>
                      <a:pt x="379" y="182"/>
                    </a:lnTo>
                    <a:lnTo>
                      <a:pt x="379" y="184"/>
                    </a:lnTo>
                    <a:lnTo>
                      <a:pt x="377" y="184"/>
                    </a:lnTo>
                    <a:lnTo>
                      <a:pt x="375" y="184"/>
                    </a:lnTo>
                    <a:lnTo>
                      <a:pt x="375" y="186"/>
                    </a:lnTo>
                    <a:lnTo>
                      <a:pt x="373" y="186"/>
                    </a:lnTo>
                    <a:lnTo>
                      <a:pt x="375" y="186"/>
                    </a:lnTo>
                    <a:lnTo>
                      <a:pt x="375" y="184"/>
                    </a:lnTo>
                    <a:lnTo>
                      <a:pt x="377" y="184"/>
                    </a:lnTo>
                    <a:lnTo>
                      <a:pt x="377" y="182"/>
                    </a:lnTo>
                    <a:lnTo>
                      <a:pt x="379" y="182"/>
                    </a:lnTo>
                    <a:lnTo>
                      <a:pt x="381" y="182"/>
                    </a:lnTo>
                    <a:lnTo>
                      <a:pt x="381" y="180"/>
                    </a:lnTo>
                    <a:lnTo>
                      <a:pt x="381" y="182"/>
                    </a:lnTo>
                    <a:lnTo>
                      <a:pt x="381" y="180"/>
                    </a:lnTo>
                    <a:lnTo>
                      <a:pt x="379" y="180"/>
                    </a:lnTo>
                    <a:lnTo>
                      <a:pt x="377" y="180"/>
                    </a:lnTo>
                    <a:lnTo>
                      <a:pt x="377" y="182"/>
                    </a:lnTo>
                    <a:lnTo>
                      <a:pt x="375" y="182"/>
                    </a:lnTo>
                    <a:lnTo>
                      <a:pt x="373" y="182"/>
                    </a:lnTo>
                    <a:lnTo>
                      <a:pt x="371" y="182"/>
                    </a:lnTo>
                    <a:lnTo>
                      <a:pt x="369" y="182"/>
                    </a:lnTo>
                    <a:lnTo>
                      <a:pt x="371" y="182"/>
                    </a:lnTo>
                    <a:lnTo>
                      <a:pt x="369" y="182"/>
                    </a:lnTo>
                    <a:lnTo>
                      <a:pt x="369" y="180"/>
                    </a:lnTo>
                    <a:lnTo>
                      <a:pt x="369" y="182"/>
                    </a:lnTo>
                    <a:lnTo>
                      <a:pt x="367" y="182"/>
                    </a:lnTo>
                    <a:lnTo>
                      <a:pt x="369" y="182"/>
                    </a:lnTo>
                    <a:lnTo>
                      <a:pt x="367" y="182"/>
                    </a:lnTo>
                    <a:lnTo>
                      <a:pt x="369" y="180"/>
                    </a:lnTo>
                    <a:lnTo>
                      <a:pt x="371" y="180"/>
                    </a:lnTo>
                    <a:lnTo>
                      <a:pt x="373" y="178"/>
                    </a:lnTo>
                    <a:lnTo>
                      <a:pt x="375" y="178"/>
                    </a:lnTo>
                    <a:lnTo>
                      <a:pt x="377" y="178"/>
                    </a:lnTo>
                    <a:lnTo>
                      <a:pt x="379" y="178"/>
                    </a:lnTo>
                    <a:lnTo>
                      <a:pt x="381" y="178"/>
                    </a:lnTo>
                    <a:lnTo>
                      <a:pt x="381" y="177"/>
                    </a:lnTo>
                    <a:lnTo>
                      <a:pt x="383" y="177"/>
                    </a:lnTo>
                    <a:lnTo>
                      <a:pt x="385" y="175"/>
                    </a:lnTo>
                    <a:lnTo>
                      <a:pt x="387" y="175"/>
                    </a:lnTo>
                    <a:lnTo>
                      <a:pt x="388" y="173"/>
                    </a:lnTo>
                    <a:lnTo>
                      <a:pt x="390" y="173"/>
                    </a:lnTo>
                    <a:lnTo>
                      <a:pt x="390" y="175"/>
                    </a:lnTo>
                    <a:lnTo>
                      <a:pt x="392" y="175"/>
                    </a:lnTo>
                    <a:lnTo>
                      <a:pt x="392" y="177"/>
                    </a:lnTo>
                    <a:close/>
                    <a:moveTo>
                      <a:pt x="254" y="165"/>
                    </a:moveTo>
                    <a:lnTo>
                      <a:pt x="256" y="167"/>
                    </a:lnTo>
                    <a:lnTo>
                      <a:pt x="254" y="167"/>
                    </a:lnTo>
                    <a:lnTo>
                      <a:pt x="252" y="167"/>
                    </a:lnTo>
                    <a:lnTo>
                      <a:pt x="254" y="167"/>
                    </a:lnTo>
                    <a:lnTo>
                      <a:pt x="256" y="169"/>
                    </a:lnTo>
                    <a:lnTo>
                      <a:pt x="256" y="167"/>
                    </a:lnTo>
                    <a:lnTo>
                      <a:pt x="256" y="169"/>
                    </a:lnTo>
                    <a:lnTo>
                      <a:pt x="254" y="169"/>
                    </a:lnTo>
                    <a:lnTo>
                      <a:pt x="254" y="171"/>
                    </a:lnTo>
                    <a:lnTo>
                      <a:pt x="252" y="171"/>
                    </a:lnTo>
                    <a:lnTo>
                      <a:pt x="250" y="171"/>
                    </a:lnTo>
                    <a:lnTo>
                      <a:pt x="248" y="171"/>
                    </a:lnTo>
                    <a:lnTo>
                      <a:pt x="250" y="171"/>
                    </a:lnTo>
                    <a:lnTo>
                      <a:pt x="248" y="171"/>
                    </a:lnTo>
                    <a:lnTo>
                      <a:pt x="246" y="171"/>
                    </a:lnTo>
                    <a:lnTo>
                      <a:pt x="246" y="169"/>
                    </a:lnTo>
                    <a:lnTo>
                      <a:pt x="244" y="169"/>
                    </a:lnTo>
                    <a:lnTo>
                      <a:pt x="246" y="169"/>
                    </a:lnTo>
                    <a:lnTo>
                      <a:pt x="246" y="171"/>
                    </a:lnTo>
                    <a:lnTo>
                      <a:pt x="244" y="169"/>
                    </a:lnTo>
                    <a:lnTo>
                      <a:pt x="246" y="167"/>
                    </a:lnTo>
                    <a:lnTo>
                      <a:pt x="248" y="165"/>
                    </a:lnTo>
                    <a:lnTo>
                      <a:pt x="250" y="165"/>
                    </a:lnTo>
                    <a:lnTo>
                      <a:pt x="252" y="165"/>
                    </a:lnTo>
                    <a:lnTo>
                      <a:pt x="254" y="165"/>
                    </a:lnTo>
                    <a:close/>
                    <a:moveTo>
                      <a:pt x="602" y="115"/>
                    </a:moveTo>
                    <a:lnTo>
                      <a:pt x="604" y="115"/>
                    </a:lnTo>
                    <a:lnTo>
                      <a:pt x="602" y="115"/>
                    </a:lnTo>
                    <a:lnTo>
                      <a:pt x="604" y="115"/>
                    </a:lnTo>
                    <a:lnTo>
                      <a:pt x="606" y="115"/>
                    </a:lnTo>
                    <a:lnTo>
                      <a:pt x="607" y="115"/>
                    </a:lnTo>
                    <a:lnTo>
                      <a:pt x="606" y="115"/>
                    </a:lnTo>
                    <a:lnTo>
                      <a:pt x="607" y="115"/>
                    </a:lnTo>
                    <a:lnTo>
                      <a:pt x="606" y="115"/>
                    </a:lnTo>
                    <a:lnTo>
                      <a:pt x="607" y="115"/>
                    </a:lnTo>
                    <a:lnTo>
                      <a:pt x="607" y="117"/>
                    </a:lnTo>
                    <a:lnTo>
                      <a:pt x="607" y="119"/>
                    </a:lnTo>
                    <a:lnTo>
                      <a:pt x="606" y="119"/>
                    </a:lnTo>
                    <a:lnTo>
                      <a:pt x="604" y="121"/>
                    </a:lnTo>
                    <a:lnTo>
                      <a:pt x="602" y="121"/>
                    </a:lnTo>
                    <a:lnTo>
                      <a:pt x="604" y="121"/>
                    </a:lnTo>
                    <a:lnTo>
                      <a:pt x="604" y="119"/>
                    </a:lnTo>
                    <a:lnTo>
                      <a:pt x="602" y="119"/>
                    </a:lnTo>
                    <a:lnTo>
                      <a:pt x="604" y="119"/>
                    </a:lnTo>
                    <a:lnTo>
                      <a:pt x="602" y="119"/>
                    </a:lnTo>
                    <a:lnTo>
                      <a:pt x="604" y="119"/>
                    </a:lnTo>
                    <a:lnTo>
                      <a:pt x="606" y="119"/>
                    </a:lnTo>
                    <a:lnTo>
                      <a:pt x="604" y="119"/>
                    </a:lnTo>
                    <a:lnTo>
                      <a:pt x="604" y="117"/>
                    </a:lnTo>
                    <a:lnTo>
                      <a:pt x="604" y="119"/>
                    </a:lnTo>
                    <a:lnTo>
                      <a:pt x="602" y="119"/>
                    </a:lnTo>
                    <a:lnTo>
                      <a:pt x="600" y="119"/>
                    </a:lnTo>
                    <a:lnTo>
                      <a:pt x="598" y="119"/>
                    </a:lnTo>
                    <a:lnTo>
                      <a:pt x="596" y="119"/>
                    </a:lnTo>
                    <a:lnTo>
                      <a:pt x="594" y="119"/>
                    </a:lnTo>
                    <a:lnTo>
                      <a:pt x="592" y="119"/>
                    </a:lnTo>
                    <a:lnTo>
                      <a:pt x="594" y="119"/>
                    </a:lnTo>
                    <a:lnTo>
                      <a:pt x="592" y="119"/>
                    </a:lnTo>
                    <a:lnTo>
                      <a:pt x="590" y="119"/>
                    </a:lnTo>
                    <a:lnTo>
                      <a:pt x="588" y="119"/>
                    </a:lnTo>
                    <a:lnTo>
                      <a:pt x="590" y="119"/>
                    </a:lnTo>
                    <a:lnTo>
                      <a:pt x="588" y="119"/>
                    </a:lnTo>
                    <a:lnTo>
                      <a:pt x="586" y="119"/>
                    </a:lnTo>
                    <a:lnTo>
                      <a:pt x="588" y="119"/>
                    </a:lnTo>
                    <a:lnTo>
                      <a:pt x="586" y="119"/>
                    </a:lnTo>
                    <a:lnTo>
                      <a:pt x="584" y="119"/>
                    </a:lnTo>
                    <a:lnTo>
                      <a:pt x="584" y="117"/>
                    </a:lnTo>
                    <a:lnTo>
                      <a:pt x="586" y="117"/>
                    </a:lnTo>
                    <a:lnTo>
                      <a:pt x="584" y="117"/>
                    </a:lnTo>
                    <a:lnTo>
                      <a:pt x="584" y="119"/>
                    </a:lnTo>
                    <a:lnTo>
                      <a:pt x="586" y="119"/>
                    </a:lnTo>
                    <a:lnTo>
                      <a:pt x="586" y="117"/>
                    </a:lnTo>
                    <a:lnTo>
                      <a:pt x="588" y="117"/>
                    </a:lnTo>
                    <a:lnTo>
                      <a:pt x="590" y="117"/>
                    </a:lnTo>
                    <a:lnTo>
                      <a:pt x="588" y="117"/>
                    </a:lnTo>
                    <a:lnTo>
                      <a:pt x="590" y="117"/>
                    </a:lnTo>
                    <a:lnTo>
                      <a:pt x="592" y="117"/>
                    </a:lnTo>
                    <a:lnTo>
                      <a:pt x="590" y="117"/>
                    </a:lnTo>
                    <a:lnTo>
                      <a:pt x="592" y="117"/>
                    </a:lnTo>
                    <a:lnTo>
                      <a:pt x="594" y="117"/>
                    </a:lnTo>
                    <a:lnTo>
                      <a:pt x="596" y="117"/>
                    </a:lnTo>
                    <a:lnTo>
                      <a:pt x="594" y="117"/>
                    </a:lnTo>
                    <a:lnTo>
                      <a:pt x="596" y="117"/>
                    </a:lnTo>
                    <a:lnTo>
                      <a:pt x="598" y="117"/>
                    </a:lnTo>
                    <a:lnTo>
                      <a:pt x="596" y="117"/>
                    </a:lnTo>
                    <a:lnTo>
                      <a:pt x="598" y="117"/>
                    </a:lnTo>
                    <a:lnTo>
                      <a:pt x="596" y="117"/>
                    </a:lnTo>
                    <a:lnTo>
                      <a:pt x="596" y="115"/>
                    </a:lnTo>
                    <a:lnTo>
                      <a:pt x="598" y="115"/>
                    </a:lnTo>
                    <a:lnTo>
                      <a:pt x="598" y="117"/>
                    </a:lnTo>
                    <a:lnTo>
                      <a:pt x="600" y="117"/>
                    </a:lnTo>
                    <a:lnTo>
                      <a:pt x="600" y="115"/>
                    </a:lnTo>
                    <a:lnTo>
                      <a:pt x="600" y="117"/>
                    </a:lnTo>
                    <a:lnTo>
                      <a:pt x="600" y="115"/>
                    </a:lnTo>
                    <a:lnTo>
                      <a:pt x="598" y="115"/>
                    </a:lnTo>
                    <a:lnTo>
                      <a:pt x="600" y="115"/>
                    </a:lnTo>
                    <a:lnTo>
                      <a:pt x="602" y="115"/>
                    </a:lnTo>
                    <a:lnTo>
                      <a:pt x="600" y="115"/>
                    </a:lnTo>
                    <a:lnTo>
                      <a:pt x="602" y="115"/>
                    </a:lnTo>
                    <a:lnTo>
                      <a:pt x="600" y="115"/>
                    </a:lnTo>
                    <a:lnTo>
                      <a:pt x="602" y="115"/>
                    </a:lnTo>
                    <a:lnTo>
                      <a:pt x="604" y="115"/>
                    </a:lnTo>
                    <a:lnTo>
                      <a:pt x="602" y="115"/>
                    </a:lnTo>
                    <a:close/>
                    <a:moveTo>
                      <a:pt x="10" y="36"/>
                    </a:moveTo>
                    <a:lnTo>
                      <a:pt x="10" y="38"/>
                    </a:lnTo>
                    <a:lnTo>
                      <a:pt x="12" y="38"/>
                    </a:lnTo>
                    <a:lnTo>
                      <a:pt x="14" y="38"/>
                    </a:lnTo>
                    <a:lnTo>
                      <a:pt x="12" y="38"/>
                    </a:lnTo>
                    <a:lnTo>
                      <a:pt x="10" y="38"/>
                    </a:lnTo>
                    <a:lnTo>
                      <a:pt x="10" y="36"/>
                    </a:lnTo>
                    <a:lnTo>
                      <a:pt x="8" y="36"/>
                    </a:lnTo>
                    <a:lnTo>
                      <a:pt x="8" y="38"/>
                    </a:lnTo>
                    <a:lnTo>
                      <a:pt x="10" y="38"/>
                    </a:lnTo>
                    <a:lnTo>
                      <a:pt x="8" y="38"/>
                    </a:lnTo>
                    <a:lnTo>
                      <a:pt x="10" y="38"/>
                    </a:lnTo>
                    <a:lnTo>
                      <a:pt x="12" y="38"/>
                    </a:lnTo>
                    <a:lnTo>
                      <a:pt x="12" y="40"/>
                    </a:lnTo>
                    <a:lnTo>
                      <a:pt x="14" y="40"/>
                    </a:lnTo>
                    <a:lnTo>
                      <a:pt x="14" y="38"/>
                    </a:lnTo>
                    <a:lnTo>
                      <a:pt x="12" y="38"/>
                    </a:lnTo>
                    <a:lnTo>
                      <a:pt x="14" y="38"/>
                    </a:lnTo>
                    <a:lnTo>
                      <a:pt x="16" y="38"/>
                    </a:lnTo>
                    <a:lnTo>
                      <a:pt x="18" y="38"/>
                    </a:lnTo>
                    <a:lnTo>
                      <a:pt x="18" y="40"/>
                    </a:lnTo>
                    <a:lnTo>
                      <a:pt x="20" y="40"/>
                    </a:lnTo>
                    <a:lnTo>
                      <a:pt x="22" y="40"/>
                    </a:lnTo>
                    <a:lnTo>
                      <a:pt x="22" y="42"/>
                    </a:lnTo>
                    <a:lnTo>
                      <a:pt x="23" y="42"/>
                    </a:lnTo>
                    <a:lnTo>
                      <a:pt x="25" y="44"/>
                    </a:lnTo>
                    <a:lnTo>
                      <a:pt x="27" y="44"/>
                    </a:lnTo>
                    <a:lnTo>
                      <a:pt x="29" y="46"/>
                    </a:lnTo>
                    <a:lnTo>
                      <a:pt x="31" y="46"/>
                    </a:lnTo>
                    <a:lnTo>
                      <a:pt x="33" y="46"/>
                    </a:lnTo>
                    <a:lnTo>
                      <a:pt x="33" y="48"/>
                    </a:lnTo>
                    <a:lnTo>
                      <a:pt x="31" y="48"/>
                    </a:lnTo>
                    <a:lnTo>
                      <a:pt x="25" y="46"/>
                    </a:lnTo>
                    <a:lnTo>
                      <a:pt x="22" y="46"/>
                    </a:lnTo>
                    <a:lnTo>
                      <a:pt x="20" y="46"/>
                    </a:lnTo>
                    <a:lnTo>
                      <a:pt x="18" y="44"/>
                    </a:lnTo>
                    <a:lnTo>
                      <a:pt x="16" y="42"/>
                    </a:lnTo>
                    <a:lnTo>
                      <a:pt x="18" y="42"/>
                    </a:lnTo>
                    <a:lnTo>
                      <a:pt x="16" y="42"/>
                    </a:lnTo>
                    <a:lnTo>
                      <a:pt x="14" y="42"/>
                    </a:lnTo>
                    <a:lnTo>
                      <a:pt x="16" y="42"/>
                    </a:lnTo>
                    <a:lnTo>
                      <a:pt x="12" y="42"/>
                    </a:lnTo>
                    <a:lnTo>
                      <a:pt x="12" y="40"/>
                    </a:lnTo>
                    <a:lnTo>
                      <a:pt x="10" y="40"/>
                    </a:lnTo>
                    <a:lnTo>
                      <a:pt x="8" y="38"/>
                    </a:lnTo>
                    <a:lnTo>
                      <a:pt x="6" y="36"/>
                    </a:lnTo>
                    <a:lnTo>
                      <a:pt x="8" y="36"/>
                    </a:lnTo>
                    <a:lnTo>
                      <a:pt x="10" y="36"/>
                    </a:lnTo>
                    <a:close/>
                    <a:moveTo>
                      <a:pt x="304" y="53"/>
                    </a:moveTo>
                    <a:lnTo>
                      <a:pt x="308" y="53"/>
                    </a:lnTo>
                    <a:lnTo>
                      <a:pt x="308" y="55"/>
                    </a:lnTo>
                    <a:lnTo>
                      <a:pt x="310" y="55"/>
                    </a:lnTo>
                    <a:lnTo>
                      <a:pt x="312" y="55"/>
                    </a:lnTo>
                    <a:lnTo>
                      <a:pt x="314" y="55"/>
                    </a:lnTo>
                    <a:lnTo>
                      <a:pt x="315" y="55"/>
                    </a:lnTo>
                    <a:lnTo>
                      <a:pt x="314" y="55"/>
                    </a:lnTo>
                    <a:lnTo>
                      <a:pt x="315" y="55"/>
                    </a:lnTo>
                    <a:lnTo>
                      <a:pt x="317" y="55"/>
                    </a:lnTo>
                    <a:lnTo>
                      <a:pt x="315" y="55"/>
                    </a:lnTo>
                    <a:lnTo>
                      <a:pt x="317" y="55"/>
                    </a:lnTo>
                    <a:lnTo>
                      <a:pt x="319" y="55"/>
                    </a:lnTo>
                    <a:lnTo>
                      <a:pt x="321" y="55"/>
                    </a:lnTo>
                    <a:lnTo>
                      <a:pt x="323" y="55"/>
                    </a:lnTo>
                    <a:lnTo>
                      <a:pt x="325" y="55"/>
                    </a:lnTo>
                    <a:lnTo>
                      <a:pt x="325" y="57"/>
                    </a:lnTo>
                    <a:lnTo>
                      <a:pt x="329" y="57"/>
                    </a:lnTo>
                    <a:lnTo>
                      <a:pt x="331" y="57"/>
                    </a:lnTo>
                    <a:lnTo>
                      <a:pt x="333" y="57"/>
                    </a:lnTo>
                    <a:lnTo>
                      <a:pt x="333" y="59"/>
                    </a:lnTo>
                    <a:lnTo>
                      <a:pt x="335" y="59"/>
                    </a:lnTo>
                    <a:lnTo>
                      <a:pt x="337" y="59"/>
                    </a:lnTo>
                    <a:lnTo>
                      <a:pt x="339" y="59"/>
                    </a:lnTo>
                    <a:lnTo>
                      <a:pt x="339" y="61"/>
                    </a:lnTo>
                    <a:lnTo>
                      <a:pt x="337" y="61"/>
                    </a:lnTo>
                    <a:lnTo>
                      <a:pt x="337" y="63"/>
                    </a:lnTo>
                    <a:lnTo>
                      <a:pt x="335" y="63"/>
                    </a:lnTo>
                    <a:lnTo>
                      <a:pt x="333" y="63"/>
                    </a:lnTo>
                    <a:lnTo>
                      <a:pt x="333" y="65"/>
                    </a:lnTo>
                    <a:lnTo>
                      <a:pt x="331" y="65"/>
                    </a:lnTo>
                    <a:lnTo>
                      <a:pt x="333" y="65"/>
                    </a:lnTo>
                    <a:lnTo>
                      <a:pt x="331" y="65"/>
                    </a:lnTo>
                    <a:lnTo>
                      <a:pt x="329" y="65"/>
                    </a:lnTo>
                    <a:lnTo>
                      <a:pt x="329" y="67"/>
                    </a:lnTo>
                    <a:lnTo>
                      <a:pt x="327" y="67"/>
                    </a:lnTo>
                    <a:lnTo>
                      <a:pt x="325" y="67"/>
                    </a:lnTo>
                    <a:lnTo>
                      <a:pt x="325" y="69"/>
                    </a:lnTo>
                    <a:lnTo>
                      <a:pt x="323" y="69"/>
                    </a:lnTo>
                    <a:lnTo>
                      <a:pt x="319" y="69"/>
                    </a:lnTo>
                    <a:lnTo>
                      <a:pt x="317" y="69"/>
                    </a:lnTo>
                    <a:lnTo>
                      <a:pt x="315" y="69"/>
                    </a:lnTo>
                    <a:lnTo>
                      <a:pt x="314" y="69"/>
                    </a:lnTo>
                    <a:lnTo>
                      <a:pt x="310" y="69"/>
                    </a:lnTo>
                    <a:lnTo>
                      <a:pt x="308" y="69"/>
                    </a:lnTo>
                    <a:lnTo>
                      <a:pt x="310" y="69"/>
                    </a:lnTo>
                    <a:lnTo>
                      <a:pt x="308" y="69"/>
                    </a:lnTo>
                    <a:lnTo>
                      <a:pt x="306" y="69"/>
                    </a:lnTo>
                    <a:lnTo>
                      <a:pt x="304" y="69"/>
                    </a:lnTo>
                    <a:lnTo>
                      <a:pt x="306" y="69"/>
                    </a:lnTo>
                    <a:lnTo>
                      <a:pt x="304" y="69"/>
                    </a:lnTo>
                    <a:lnTo>
                      <a:pt x="306" y="69"/>
                    </a:lnTo>
                    <a:lnTo>
                      <a:pt x="304" y="69"/>
                    </a:lnTo>
                    <a:lnTo>
                      <a:pt x="304" y="67"/>
                    </a:lnTo>
                    <a:lnTo>
                      <a:pt x="306" y="67"/>
                    </a:lnTo>
                    <a:lnTo>
                      <a:pt x="304" y="67"/>
                    </a:lnTo>
                    <a:lnTo>
                      <a:pt x="306" y="67"/>
                    </a:lnTo>
                    <a:lnTo>
                      <a:pt x="308" y="67"/>
                    </a:lnTo>
                    <a:lnTo>
                      <a:pt x="306" y="67"/>
                    </a:lnTo>
                    <a:lnTo>
                      <a:pt x="306" y="65"/>
                    </a:lnTo>
                    <a:lnTo>
                      <a:pt x="306" y="67"/>
                    </a:lnTo>
                    <a:lnTo>
                      <a:pt x="308" y="67"/>
                    </a:lnTo>
                    <a:lnTo>
                      <a:pt x="306" y="67"/>
                    </a:lnTo>
                    <a:lnTo>
                      <a:pt x="308" y="65"/>
                    </a:lnTo>
                    <a:lnTo>
                      <a:pt x="308" y="67"/>
                    </a:lnTo>
                    <a:lnTo>
                      <a:pt x="310" y="67"/>
                    </a:lnTo>
                    <a:lnTo>
                      <a:pt x="312" y="67"/>
                    </a:lnTo>
                    <a:lnTo>
                      <a:pt x="312" y="65"/>
                    </a:lnTo>
                    <a:lnTo>
                      <a:pt x="310" y="65"/>
                    </a:lnTo>
                    <a:lnTo>
                      <a:pt x="312" y="65"/>
                    </a:lnTo>
                    <a:lnTo>
                      <a:pt x="310" y="65"/>
                    </a:lnTo>
                    <a:lnTo>
                      <a:pt x="308" y="65"/>
                    </a:lnTo>
                    <a:lnTo>
                      <a:pt x="308" y="63"/>
                    </a:lnTo>
                    <a:lnTo>
                      <a:pt x="306" y="63"/>
                    </a:lnTo>
                    <a:lnTo>
                      <a:pt x="304" y="63"/>
                    </a:lnTo>
                    <a:lnTo>
                      <a:pt x="302" y="63"/>
                    </a:lnTo>
                    <a:lnTo>
                      <a:pt x="300" y="63"/>
                    </a:lnTo>
                    <a:lnTo>
                      <a:pt x="298" y="63"/>
                    </a:lnTo>
                    <a:lnTo>
                      <a:pt x="296" y="63"/>
                    </a:lnTo>
                    <a:lnTo>
                      <a:pt x="294" y="63"/>
                    </a:lnTo>
                    <a:lnTo>
                      <a:pt x="292" y="63"/>
                    </a:lnTo>
                    <a:lnTo>
                      <a:pt x="290" y="63"/>
                    </a:lnTo>
                    <a:lnTo>
                      <a:pt x="290" y="61"/>
                    </a:lnTo>
                    <a:lnTo>
                      <a:pt x="289" y="61"/>
                    </a:lnTo>
                    <a:lnTo>
                      <a:pt x="289" y="59"/>
                    </a:lnTo>
                    <a:lnTo>
                      <a:pt x="290" y="59"/>
                    </a:lnTo>
                    <a:lnTo>
                      <a:pt x="292" y="59"/>
                    </a:lnTo>
                    <a:lnTo>
                      <a:pt x="290" y="57"/>
                    </a:lnTo>
                    <a:lnTo>
                      <a:pt x="289" y="57"/>
                    </a:lnTo>
                    <a:lnTo>
                      <a:pt x="290" y="57"/>
                    </a:lnTo>
                    <a:lnTo>
                      <a:pt x="290" y="55"/>
                    </a:lnTo>
                    <a:lnTo>
                      <a:pt x="292" y="55"/>
                    </a:lnTo>
                    <a:lnTo>
                      <a:pt x="290" y="55"/>
                    </a:lnTo>
                    <a:lnTo>
                      <a:pt x="289" y="53"/>
                    </a:lnTo>
                    <a:lnTo>
                      <a:pt x="290" y="53"/>
                    </a:lnTo>
                    <a:lnTo>
                      <a:pt x="289" y="53"/>
                    </a:lnTo>
                    <a:lnTo>
                      <a:pt x="287" y="53"/>
                    </a:lnTo>
                    <a:lnTo>
                      <a:pt x="285" y="53"/>
                    </a:lnTo>
                    <a:lnTo>
                      <a:pt x="287" y="53"/>
                    </a:lnTo>
                    <a:lnTo>
                      <a:pt x="289" y="53"/>
                    </a:lnTo>
                    <a:lnTo>
                      <a:pt x="290" y="53"/>
                    </a:lnTo>
                    <a:lnTo>
                      <a:pt x="292" y="53"/>
                    </a:lnTo>
                    <a:lnTo>
                      <a:pt x="294" y="53"/>
                    </a:lnTo>
                    <a:lnTo>
                      <a:pt x="296" y="53"/>
                    </a:lnTo>
                    <a:lnTo>
                      <a:pt x="300" y="53"/>
                    </a:lnTo>
                    <a:lnTo>
                      <a:pt x="304" y="53"/>
                    </a:lnTo>
                    <a:close/>
                    <a:moveTo>
                      <a:pt x="89" y="2"/>
                    </a:moveTo>
                    <a:lnTo>
                      <a:pt x="91" y="3"/>
                    </a:lnTo>
                    <a:lnTo>
                      <a:pt x="93" y="3"/>
                    </a:lnTo>
                    <a:lnTo>
                      <a:pt x="95" y="3"/>
                    </a:lnTo>
                    <a:lnTo>
                      <a:pt x="93" y="5"/>
                    </a:lnTo>
                    <a:lnTo>
                      <a:pt x="91" y="5"/>
                    </a:lnTo>
                    <a:lnTo>
                      <a:pt x="89" y="5"/>
                    </a:lnTo>
                    <a:lnTo>
                      <a:pt x="87" y="5"/>
                    </a:lnTo>
                    <a:lnTo>
                      <a:pt x="85" y="5"/>
                    </a:lnTo>
                    <a:lnTo>
                      <a:pt x="83" y="5"/>
                    </a:lnTo>
                    <a:lnTo>
                      <a:pt x="81" y="5"/>
                    </a:lnTo>
                    <a:lnTo>
                      <a:pt x="79" y="5"/>
                    </a:lnTo>
                    <a:lnTo>
                      <a:pt x="77" y="5"/>
                    </a:lnTo>
                    <a:lnTo>
                      <a:pt x="75" y="5"/>
                    </a:lnTo>
                    <a:lnTo>
                      <a:pt x="73" y="5"/>
                    </a:lnTo>
                    <a:lnTo>
                      <a:pt x="71" y="3"/>
                    </a:lnTo>
                    <a:lnTo>
                      <a:pt x="70" y="3"/>
                    </a:lnTo>
                    <a:lnTo>
                      <a:pt x="70" y="2"/>
                    </a:lnTo>
                    <a:lnTo>
                      <a:pt x="71" y="0"/>
                    </a:lnTo>
                    <a:lnTo>
                      <a:pt x="73" y="0"/>
                    </a:lnTo>
                    <a:lnTo>
                      <a:pt x="75" y="0"/>
                    </a:lnTo>
                    <a:lnTo>
                      <a:pt x="77" y="0"/>
                    </a:lnTo>
                    <a:lnTo>
                      <a:pt x="79" y="0"/>
                    </a:lnTo>
                    <a:lnTo>
                      <a:pt x="81" y="0"/>
                    </a:lnTo>
                    <a:lnTo>
                      <a:pt x="83" y="0"/>
                    </a:lnTo>
                    <a:lnTo>
                      <a:pt x="87" y="2"/>
                    </a:lnTo>
                    <a:lnTo>
                      <a:pt x="89" y="2"/>
                    </a:lnTo>
                    <a:close/>
                    <a:moveTo>
                      <a:pt x="289" y="13"/>
                    </a:moveTo>
                    <a:lnTo>
                      <a:pt x="290" y="13"/>
                    </a:lnTo>
                    <a:lnTo>
                      <a:pt x="294" y="13"/>
                    </a:lnTo>
                    <a:lnTo>
                      <a:pt x="296" y="13"/>
                    </a:lnTo>
                    <a:lnTo>
                      <a:pt x="298" y="15"/>
                    </a:lnTo>
                    <a:lnTo>
                      <a:pt x="298" y="17"/>
                    </a:lnTo>
                    <a:lnTo>
                      <a:pt x="296" y="17"/>
                    </a:lnTo>
                    <a:lnTo>
                      <a:pt x="294" y="19"/>
                    </a:lnTo>
                    <a:lnTo>
                      <a:pt x="292" y="19"/>
                    </a:lnTo>
                    <a:lnTo>
                      <a:pt x="290" y="19"/>
                    </a:lnTo>
                    <a:lnTo>
                      <a:pt x="287" y="19"/>
                    </a:lnTo>
                    <a:lnTo>
                      <a:pt x="283" y="19"/>
                    </a:lnTo>
                    <a:lnTo>
                      <a:pt x="281" y="19"/>
                    </a:lnTo>
                    <a:lnTo>
                      <a:pt x="279" y="17"/>
                    </a:lnTo>
                    <a:lnTo>
                      <a:pt x="277" y="17"/>
                    </a:lnTo>
                    <a:lnTo>
                      <a:pt x="273" y="17"/>
                    </a:lnTo>
                    <a:lnTo>
                      <a:pt x="271" y="17"/>
                    </a:lnTo>
                    <a:lnTo>
                      <a:pt x="271" y="15"/>
                    </a:lnTo>
                    <a:lnTo>
                      <a:pt x="271" y="13"/>
                    </a:lnTo>
                    <a:lnTo>
                      <a:pt x="273" y="13"/>
                    </a:lnTo>
                    <a:lnTo>
                      <a:pt x="275" y="13"/>
                    </a:lnTo>
                    <a:lnTo>
                      <a:pt x="277" y="13"/>
                    </a:lnTo>
                    <a:lnTo>
                      <a:pt x="279" y="13"/>
                    </a:lnTo>
                    <a:lnTo>
                      <a:pt x="281" y="13"/>
                    </a:lnTo>
                    <a:lnTo>
                      <a:pt x="287" y="13"/>
                    </a:lnTo>
                    <a:lnTo>
                      <a:pt x="289" y="1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6" name="Freeform 52"/>
              <p:cNvSpPr>
                <a:spLocks noEditPoints="1"/>
              </p:cNvSpPr>
              <p:nvPr/>
            </p:nvSpPr>
            <p:spPr bwMode="auto">
              <a:xfrm>
                <a:off x="3311486" y="900531"/>
                <a:ext cx="1352411" cy="2968080"/>
              </a:xfrm>
              <a:custGeom>
                <a:avLst/>
                <a:gdLst>
                  <a:gd name="T0" fmla="*/ 83 w 786"/>
                  <a:gd name="T1" fmla="*/ 496 h 1725"/>
                  <a:gd name="T2" fmla="*/ 91 w 786"/>
                  <a:gd name="T3" fmla="*/ 496 h 1725"/>
                  <a:gd name="T4" fmla="*/ 85 w 786"/>
                  <a:gd name="T5" fmla="*/ 481 h 1725"/>
                  <a:gd name="T6" fmla="*/ 19 w 786"/>
                  <a:gd name="T7" fmla="*/ 387 h 1725"/>
                  <a:gd name="T8" fmla="*/ 580 w 786"/>
                  <a:gd name="T9" fmla="*/ 135 h 1725"/>
                  <a:gd name="T10" fmla="*/ 582 w 786"/>
                  <a:gd name="T11" fmla="*/ 158 h 1725"/>
                  <a:gd name="T12" fmla="*/ 642 w 786"/>
                  <a:gd name="T13" fmla="*/ 171 h 1725"/>
                  <a:gd name="T14" fmla="*/ 726 w 786"/>
                  <a:gd name="T15" fmla="*/ 167 h 1725"/>
                  <a:gd name="T16" fmla="*/ 744 w 786"/>
                  <a:gd name="T17" fmla="*/ 196 h 1725"/>
                  <a:gd name="T18" fmla="*/ 701 w 786"/>
                  <a:gd name="T19" fmla="*/ 265 h 1725"/>
                  <a:gd name="T20" fmla="*/ 678 w 786"/>
                  <a:gd name="T21" fmla="*/ 296 h 1725"/>
                  <a:gd name="T22" fmla="*/ 569 w 786"/>
                  <a:gd name="T23" fmla="*/ 331 h 1725"/>
                  <a:gd name="T24" fmla="*/ 607 w 786"/>
                  <a:gd name="T25" fmla="*/ 365 h 1725"/>
                  <a:gd name="T26" fmla="*/ 525 w 786"/>
                  <a:gd name="T27" fmla="*/ 427 h 1725"/>
                  <a:gd name="T28" fmla="*/ 390 w 786"/>
                  <a:gd name="T29" fmla="*/ 483 h 1725"/>
                  <a:gd name="T30" fmla="*/ 390 w 786"/>
                  <a:gd name="T31" fmla="*/ 529 h 1725"/>
                  <a:gd name="T32" fmla="*/ 396 w 786"/>
                  <a:gd name="T33" fmla="*/ 487 h 1725"/>
                  <a:gd name="T34" fmla="*/ 515 w 786"/>
                  <a:gd name="T35" fmla="*/ 433 h 1725"/>
                  <a:gd name="T36" fmla="*/ 582 w 786"/>
                  <a:gd name="T37" fmla="*/ 554 h 1725"/>
                  <a:gd name="T38" fmla="*/ 555 w 786"/>
                  <a:gd name="T39" fmla="*/ 439 h 1725"/>
                  <a:gd name="T40" fmla="*/ 669 w 786"/>
                  <a:gd name="T41" fmla="*/ 365 h 1725"/>
                  <a:gd name="T42" fmla="*/ 717 w 786"/>
                  <a:gd name="T43" fmla="*/ 308 h 1725"/>
                  <a:gd name="T44" fmla="*/ 746 w 786"/>
                  <a:gd name="T45" fmla="*/ 462 h 1725"/>
                  <a:gd name="T46" fmla="*/ 680 w 786"/>
                  <a:gd name="T47" fmla="*/ 761 h 1725"/>
                  <a:gd name="T48" fmla="*/ 717 w 786"/>
                  <a:gd name="T49" fmla="*/ 885 h 1725"/>
                  <a:gd name="T50" fmla="*/ 663 w 786"/>
                  <a:gd name="T51" fmla="*/ 1090 h 1725"/>
                  <a:gd name="T52" fmla="*/ 657 w 786"/>
                  <a:gd name="T53" fmla="*/ 1234 h 1725"/>
                  <a:gd name="T54" fmla="*/ 546 w 786"/>
                  <a:gd name="T55" fmla="*/ 1306 h 1725"/>
                  <a:gd name="T56" fmla="*/ 434 w 786"/>
                  <a:gd name="T57" fmla="*/ 1536 h 1725"/>
                  <a:gd name="T58" fmla="*/ 340 w 786"/>
                  <a:gd name="T59" fmla="*/ 1675 h 1725"/>
                  <a:gd name="T60" fmla="*/ 263 w 786"/>
                  <a:gd name="T61" fmla="*/ 1565 h 1725"/>
                  <a:gd name="T62" fmla="*/ 187 w 786"/>
                  <a:gd name="T63" fmla="*/ 1329 h 1725"/>
                  <a:gd name="T64" fmla="*/ 81 w 786"/>
                  <a:gd name="T65" fmla="*/ 1004 h 1725"/>
                  <a:gd name="T66" fmla="*/ 135 w 786"/>
                  <a:gd name="T67" fmla="*/ 848 h 1725"/>
                  <a:gd name="T68" fmla="*/ 64 w 786"/>
                  <a:gd name="T69" fmla="*/ 663 h 1725"/>
                  <a:gd name="T70" fmla="*/ 0 w 786"/>
                  <a:gd name="T71" fmla="*/ 512 h 1725"/>
                  <a:gd name="T72" fmla="*/ 91 w 786"/>
                  <a:gd name="T73" fmla="*/ 523 h 1725"/>
                  <a:gd name="T74" fmla="*/ 110 w 786"/>
                  <a:gd name="T75" fmla="*/ 596 h 1725"/>
                  <a:gd name="T76" fmla="*/ 181 w 786"/>
                  <a:gd name="T77" fmla="*/ 642 h 1725"/>
                  <a:gd name="T78" fmla="*/ 100 w 786"/>
                  <a:gd name="T79" fmla="*/ 508 h 1725"/>
                  <a:gd name="T80" fmla="*/ 81 w 786"/>
                  <a:gd name="T81" fmla="*/ 383 h 1725"/>
                  <a:gd name="T82" fmla="*/ 117 w 786"/>
                  <a:gd name="T83" fmla="*/ 319 h 1725"/>
                  <a:gd name="T84" fmla="*/ 167 w 786"/>
                  <a:gd name="T85" fmla="*/ 398 h 1725"/>
                  <a:gd name="T86" fmla="*/ 244 w 786"/>
                  <a:gd name="T87" fmla="*/ 373 h 1725"/>
                  <a:gd name="T88" fmla="*/ 283 w 786"/>
                  <a:gd name="T89" fmla="*/ 406 h 1725"/>
                  <a:gd name="T90" fmla="*/ 300 w 786"/>
                  <a:gd name="T91" fmla="*/ 331 h 1725"/>
                  <a:gd name="T92" fmla="*/ 227 w 786"/>
                  <a:gd name="T93" fmla="*/ 333 h 1725"/>
                  <a:gd name="T94" fmla="*/ 206 w 786"/>
                  <a:gd name="T95" fmla="*/ 285 h 1725"/>
                  <a:gd name="T96" fmla="*/ 246 w 786"/>
                  <a:gd name="T97" fmla="*/ 248 h 1725"/>
                  <a:gd name="T98" fmla="*/ 350 w 786"/>
                  <a:gd name="T99" fmla="*/ 221 h 1725"/>
                  <a:gd name="T100" fmla="*/ 421 w 786"/>
                  <a:gd name="T101" fmla="*/ 217 h 1725"/>
                  <a:gd name="T102" fmla="*/ 425 w 786"/>
                  <a:gd name="T103" fmla="*/ 248 h 1725"/>
                  <a:gd name="T104" fmla="*/ 456 w 786"/>
                  <a:gd name="T105" fmla="*/ 308 h 1725"/>
                  <a:gd name="T106" fmla="*/ 542 w 786"/>
                  <a:gd name="T107" fmla="*/ 285 h 1725"/>
                  <a:gd name="T108" fmla="*/ 628 w 786"/>
                  <a:gd name="T109" fmla="*/ 269 h 1725"/>
                  <a:gd name="T110" fmla="*/ 598 w 786"/>
                  <a:gd name="T111" fmla="*/ 237 h 1725"/>
                  <a:gd name="T112" fmla="*/ 494 w 786"/>
                  <a:gd name="T113" fmla="*/ 267 h 1725"/>
                  <a:gd name="T114" fmla="*/ 550 w 786"/>
                  <a:gd name="T115" fmla="*/ 192 h 1725"/>
                  <a:gd name="T116" fmla="*/ 540 w 786"/>
                  <a:gd name="T117" fmla="*/ 139 h 1725"/>
                  <a:gd name="T118" fmla="*/ 459 w 786"/>
                  <a:gd name="T119" fmla="*/ 475 h 1725"/>
                  <a:gd name="T120" fmla="*/ 409 w 786"/>
                  <a:gd name="T121" fmla="*/ 85 h 1725"/>
                  <a:gd name="T122" fmla="*/ 396 w 786"/>
                  <a:gd name="T123" fmla="*/ 42 h 1725"/>
                  <a:gd name="T124" fmla="*/ 336 w 786"/>
                  <a:gd name="T125" fmla="*/ 39 h 1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86" h="1725">
                    <a:moveTo>
                      <a:pt x="429" y="550"/>
                    </a:moveTo>
                    <a:lnTo>
                      <a:pt x="429" y="548"/>
                    </a:lnTo>
                    <a:lnTo>
                      <a:pt x="429" y="550"/>
                    </a:lnTo>
                    <a:close/>
                    <a:moveTo>
                      <a:pt x="158" y="542"/>
                    </a:moveTo>
                    <a:lnTo>
                      <a:pt x="158" y="544"/>
                    </a:lnTo>
                    <a:lnTo>
                      <a:pt x="158" y="542"/>
                    </a:lnTo>
                    <a:lnTo>
                      <a:pt x="158" y="544"/>
                    </a:lnTo>
                    <a:lnTo>
                      <a:pt x="160" y="544"/>
                    </a:lnTo>
                    <a:lnTo>
                      <a:pt x="160" y="546"/>
                    </a:lnTo>
                    <a:lnTo>
                      <a:pt x="158" y="548"/>
                    </a:lnTo>
                    <a:lnTo>
                      <a:pt x="158" y="546"/>
                    </a:lnTo>
                    <a:lnTo>
                      <a:pt x="156" y="546"/>
                    </a:lnTo>
                    <a:lnTo>
                      <a:pt x="154" y="544"/>
                    </a:lnTo>
                    <a:lnTo>
                      <a:pt x="152" y="544"/>
                    </a:lnTo>
                    <a:lnTo>
                      <a:pt x="152" y="540"/>
                    </a:lnTo>
                    <a:lnTo>
                      <a:pt x="152" y="538"/>
                    </a:lnTo>
                    <a:lnTo>
                      <a:pt x="150" y="538"/>
                    </a:lnTo>
                    <a:lnTo>
                      <a:pt x="152" y="538"/>
                    </a:lnTo>
                    <a:lnTo>
                      <a:pt x="154" y="538"/>
                    </a:lnTo>
                    <a:lnTo>
                      <a:pt x="154" y="540"/>
                    </a:lnTo>
                    <a:lnTo>
                      <a:pt x="156" y="540"/>
                    </a:lnTo>
                    <a:lnTo>
                      <a:pt x="158" y="542"/>
                    </a:lnTo>
                    <a:close/>
                    <a:moveTo>
                      <a:pt x="114" y="535"/>
                    </a:moveTo>
                    <a:lnTo>
                      <a:pt x="116" y="535"/>
                    </a:lnTo>
                    <a:lnTo>
                      <a:pt x="116" y="537"/>
                    </a:lnTo>
                    <a:lnTo>
                      <a:pt x="116" y="535"/>
                    </a:lnTo>
                    <a:lnTo>
                      <a:pt x="114" y="535"/>
                    </a:lnTo>
                    <a:lnTo>
                      <a:pt x="114" y="533"/>
                    </a:lnTo>
                    <a:lnTo>
                      <a:pt x="112" y="531"/>
                    </a:lnTo>
                    <a:lnTo>
                      <a:pt x="112" y="529"/>
                    </a:lnTo>
                    <a:lnTo>
                      <a:pt x="110" y="529"/>
                    </a:lnTo>
                    <a:lnTo>
                      <a:pt x="110" y="527"/>
                    </a:lnTo>
                    <a:lnTo>
                      <a:pt x="110" y="529"/>
                    </a:lnTo>
                    <a:lnTo>
                      <a:pt x="110" y="527"/>
                    </a:lnTo>
                    <a:lnTo>
                      <a:pt x="112" y="527"/>
                    </a:lnTo>
                    <a:lnTo>
                      <a:pt x="112" y="529"/>
                    </a:lnTo>
                    <a:lnTo>
                      <a:pt x="114" y="531"/>
                    </a:lnTo>
                    <a:lnTo>
                      <a:pt x="114" y="533"/>
                    </a:lnTo>
                    <a:lnTo>
                      <a:pt x="116" y="533"/>
                    </a:lnTo>
                    <a:lnTo>
                      <a:pt x="116" y="535"/>
                    </a:lnTo>
                    <a:lnTo>
                      <a:pt x="116" y="537"/>
                    </a:lnTo>
                    <a:lnTo>
                      <a:pt x="114" y="537"/>
                    </a:lnTo>
                    <a:lnTo>
                      <a:pt x="112" y="537"/>
                    </a:lnTo>
                    <a:lnTo>
                      <a:pt x="112" y="535"/>
                    </a:lnTo>
                    <a:lnTo>
                      <a:pt x="112" y="537"/>
                    </a:lnTo>
                    <a:lnTo>
                      <a:pt x="112" y="535"/>
                    </a:lnTo>
                    <a:lnTo>
                      <a:pt x="110" y="535"/>
                    </a:lnTo>
                    <a:lnTo>
                      <a:pt x="108" y="535"/>
                    </a:lnTo>
                    <a:lnTo>
                      <a:pt x="108" y="533"/>
                    </a:lnTo>
                    <a:lnTo>
                      <a:pt x="108" y="531"/>
                    </a:lnTo>
                    <a:lnTo>
                      <a:pt x="108" y="529"/>
                    </a:lnTo>
                    <a:lnTo>
                      <a:pt x="108" y="531"/>
                    </a:lnTo>
                    <a:lnTo>
                      <a:pt x="108" y="529"/>
                    </a:lnTo>
                    <a:lnTo>
                      <a:pt x="108" y="531"/>
                    </a:lnTo>
                    <a:lnTo>
                      <a:pt x="108" y="529"/>
                    </a:lnTo>
                    <a:lnTo>
                      <a:pt x="110" y="529"/>
                    </a:lnTo>
                    <a:lnTo>
                      <a:pt x="108" y="529"/>
                    </a:lnTo>
                    <a:lnTo>
                      <a:pt x="110" y="529"/>
                    </a:lnTo>
                    <a:lnTo>
                      <a:pt x="110" y="527"/>
                    </a:lnTo>
                    <a:lnTo>
                      <a:pt x="110" y="529"/>
                    </a:lnTo>
                    <a:lnTo>
                      <a:pt x="110" y="527"/>
                    </a:lnTo>
                    <a:lnTo>
                      <a:pt x="112" y="529"/>
                    </a:lnTo>
                    <a:lnTo>
                      <a:pt x="112" y="531"/>
                    </a:lnTo>
                    <a:lnTo>
                      <a:pt x="114" y="533"/>
                    </a:lnTo>
                    <a:lnTo>
                      <a:pt x="114" y="535"/>
                    </a:lnTo>
                    <a:close/>
                    <a:moveTo>
                      <a:pt x="87" y="519"/>
                    </a:moveTo>
                    <a:lnTo>
                      <a:pt x="89" y="519"/>
                    </a:lnTo>
                    <a:lnTo>
                      <a:pt x="87" y="519"/>
                    </a:lnTo>
                    <a:lnTo>
                      <a:pt x="87" y="517"/>
                    </a:lnTo>
                    <a:lnTo>
                      <a:pt x="85" y="517"/>
                    </a:lnTo>
                    <a:lnTo>
                      <a:pt x="85" y="515"/>
                    </a:lnTo>
                    <a:lnTo>
                      <a:pt x="85" y="517"/>
                    </a:lnTo>
                    <a:lnTo>
                      <a:pt x="87" y="517"/>
                    </a:lnTo>
                    <a:lnTo>
                      <a:pt x="89" y="517"/>
                    </a:lnTo>
                    <a:lnTo>
                      <a:pt x="91" y="517"/>
                    </a:lnTo>
                    <a:lnTo>
                      <a:pt x="91" y="519"/>
                    </a:lnTo>
                    <a:lnTo>
                      <a:pt x="92" y="521"/>
                    </a:lnTo>
                    <a:lnTo>
                      <a:pt x="94" y="521"/>
                    </a:lnTo>
                    <a:lnTo>
                      <a:pt x="94" y="523"/>
                    </a:lnTo>
                    <a:lnTo>
                      <a:pt x="94" y="521"/>
                    </a:lnTo>
                    <a:lnTo>
                      <a:pt x="92" y="521"/>
                    </a:lnTo>
                    <a:lnTo>
                      <a:pt x="92" y="523"/>
                    </a:lnTo>
                    <a:lnTo>
                      <a:pt x="92" y="521"/>
                    </a:lnTo>
                    <a:lnTo>
                      <a:pt x="94" y="521"/>
                    </a:lnTo>
                    <a:lnTo>
                      <a:pt x="94" y="523"/>
                    </a:lnTo>
                    <a:lnTo>
                      <a:pt x="94" y="521"/>
                    </a:lnTo>
                    <a:lnTo>
                      <a:pt x="92" y="521"/>
                    </a:lnTo>
                    <a:lnTo>
                      <a:pt x="92" y="519"/>
                    </a:lnTo>
                    <a:lnTo>
                      <a:pt x="91" y="517"/>
                    </a:lnTo>
                    <a:lnTo>
                      <a:pt x="91" y="519"/>
                    </a:lnTo>
                    <a:lnTo>
                      <a:pt x="92" y="519"/>
                    </a:lnTo>
                    <a:lnTo>
                      <a:pt x="94" y="519"/>
                    </a:lnTo>
                    <a:lnTo>
                      <a:pt x="92" y="519"/>
                    </a:lnTo>
                    <a:lnTo>
                      <a:pt x="94" y="519"/>
                    </a:lnTo>
                    <a:lnTo>
                      <a:pt x="96" y="519"/>
                    </a:lnTo>
                    <a:lnTo>
                      <a:pt x="96" y="521"/>
                    </a:lnTo>
                    <a:lnTo>
                      <a:pt x="98" y="521"/>
                    </a:lnTo>
                    <a:lnTo>
                      <a:pt x="100" y="523"/>
                    </a:lnTo>
                    <a:lnTo>
                      <a:pt x="102" y="523"/>
                    </a:lnTo>
                    <a:lnTo>
                      <a:pt x="102" y="525"/>
                    </a:lnTo>
                    <a:lnTo>
                      <a:pt x="102" y="527"/>
                    </a:lnTo>
                    <a:lnTo>
                      <a:pt x="100" y="527"/>
                    </a:lnTo>
                    <a:lnTo>
                      <a:pt x="98" y="527"/>
                    </a:lnTo>
                    <a:lnTo>
                      <a:pt x="98" y="525"/>
                    </a:lnTo>
                    <a:lnTo>
                      <a:pt x="96" y="525"/>
                    </a:lnTo>
                    <a:lnTo>
                      <a:pt x="94" y="525"/>
                    </a:lnTo>
                    <a:lnTo>
                      <a:pt x="94" y="523"/>
                    </a:lnTo>
                    <a:lnTo>
                      <a:pt x="96" y="525"/>
                    </a:lnTo>
                    <a:lnTo>
                      <a:pt x="94" y="525"/>
                    </a:lnTo>
                    <a:lnTo>
                      <a:pt x="92" y="525"/>
                    </a:lnTo>
                    <a:lnTo>
                      <a:pt x="92" y="523"/>
                    </a:lnTo>
                    <a:lnTo>
                      <a:pt x="92" y="525"/>
                    </a:lnTo>
                    <a:lnTo>
                      <a:pt x="91" y="525"/>
                    </a:lnTo>
                    <a:lnTo>
                      <a:pt x="91" y="523"/>
                    </a:lnTo>
                    <a:lnTo>
                      <a:pt x="89" y="523"/>
                    </a:lnTo>
                    <a:lnTo>
                      <a:pt x="89" y="521"/>
                    </a:lnTo>
                    <a:lnTo>
                      <a:pt x="87" y="521"/>
                    </a:lnTo>
                    <a:lnTo>
                      <a:pt x="85" y="519"/>
                    </a:lnTo>
                    <a:lnTo>
                      <a:pt x="83" y="519"/>
                    </a:lnTo>
                    <a:lnTo>
                      <a:pt x="81" y="519"/>
                    </a:lnTo>
                    <a:lnTo>
                      <a:pt x="81" y="517"/>
                    </a:lnTo>
                    <a:lnTo>
                      <a:pt x="81" y="515"/>
                    </a:lnTo>
                    <a:lnTo>
                      <a:pt x="81" y="513"/>
                    </a:lnTo>
                    <a:lnTo>
                      <a:pt x="81" y="515"/>
                    </a:lnTo>
                    <a:lnTo>
                      <a:pt x="81" y="513"/>
                    </a:lnTo>
                    <a:lnTo>
                      <a:pt x="81" y="512"/>
                    </a:lnTo>
                    <a:lnTo>
                      <a:pt x="81" y="510"/>
                    </a:lnTo>
                    <a:lnTo>
                      <a:pt x="81" y="508"/>
                    </a:lnTo>
                    <a:lnTo>
                      <a:pt x="83" y="508"/>
                    </a:lnTo>
                    <a:lnTo>
                      <a:pt x="85" y="508"/>
                    </a:lnTo>
                    <a:lnTo>
                      <a:pt x="83" y="508"/>
                    </a:lnTo>
                    <a:lnTo>
                      <a:pt x="81" y="510"/>
                    </a:lnTo>
                    <a:lnTo>
                      <a:pt x="81" y="512"/>
                    </a:lnTo>
                    <a:lnTo>
                      <a:pt x="83" y="512"/>
                    </a:lnTo>
                    <a:lnTo>
                      <a:pt x="83" y="513"/>
                    </a:lnTo>
                    <a:lnTo>
                      <a:pt x="83" y="515"/>
                    </a:lnTo>
                    <a:lnTo>
                      <a:pt x="85" y="515"/>
                    </a:lnTo>
                    <a:lnTo>
                      <a:pt x="85" y="517"/>
                    </a:lnTo>
                    <a:lnTo>
                      <a:pt x="87" y="517"/>
                    </a:lnTo>
                    <a:lnTo>
                      <a:pt x="87" y="519"/>
                    </a:lnTo>
                    <a:close/>
                    <a:moveTo>
                      <a:pt x="100" y="512"/>
                    </a:moveTo>
                    <a:lnTo>
                      <a:pt x="100" y="513"/>
                    </a:lnTo>
                    <a:lnTo>
                      <a:pt x="100" y="512"/>
                    </a:lnTo>
                    <a:lnTo>
                      <a:pt x="100" y="510"/>
                    </a:lnTo>
                    <a:lnTo>
                      <a:pt x="98" y="510"/>
                    </a:lnTo>
                    <a:lnTo>
                      <a:pt x="98" y="508"/>
                    </a:lnTo>
                    <a:lnTo>
                      <a:pt x="98" y="506"/>
                    </a:lnTo>
                    <a:lnTo>
                      <a:pt x="100" y="508"/>
                    </a:lnTo>
                    <a:lnTo>
                      <a:pt x="98" y="506"/>
                    </a:lnTo>
                    <a:lnTo>
                      <a:pt x="100" y="508"/>
                    </a:lnTo>
                    <a:lnTo>
                      <a:pt x="102" y="510"/>
                    </a:lnTo>
                    <a:lnTo>
                      <a:pt x="102" y="512"/>
                    </a:lnTo>
                    <a:lnTo>
                      <a:pt x="100" y="512"/>
                    </a:lnTo>
                    <a:lnTo>
                      <a:pt x="100" y="513"/>
                    </a:lnTo>
                    <a:lnTo>
                      <a:pt x="98" y="513"/>
                    </a:lnTo>
                    <a:lnTo>
                      <a:pt x="98" y="512"/>
                    </a:lnTo>
                    <a:lnTo>
                      <a:pt x="98" y="510"/>
                    </a:lnTo>
                    <a:lnTo>
                      <a:pt x="98" y="508"/>
                    </a:lnTo>
                    <a:lnTo>
                      <a:pt x="98" y="510"/>
                    </a:lnTo>
                    <a:lnTo>
                      <a:pt x="100" y="510"/>
                    </a:lnTo>
                    <a:lnTo>
                      <a:pt x="98" y="510"/>
                    </a:lnTo>
                    <a:lnTo>
                      <a:pt x="100" y="510"/>
                    </a:lnTo>
                    <a:lnTo>
                      <a:pt x="100" y="512"/>
                    </a:lnTo>
                    <a:close/>
                    <a:moveTo>
                      <a:pt x="85" y="498"/>
                    </a:moveTo>
                    <a:lnTo>
                      <a:pt x="87" y="500"/>
                    </a:lnTo>
                    <a:lnTo>
                      <a:pt x="87" y="502"/>
                    </a:lnTo>
                    <a:lnTo>
                      <a:pt x="89" y="504"/>
                    </a:lnTo>
                    <a:lnTo>
                      <a:pt x="91" y="504"/>
                    </a:lnTo>
                    <a:lnTo>
                      <a:pt x="91" y="506"/>
                    </a:lnTo>
                    <a:lnTo>
                      <a:pt x="89" y="506"/>
                    </a:lnTo>
                    <a:lnTo>
                      <a:pt x="89" y="508"/>
                    </a:lnTo>
                    <a:lnTo>
                      <a:pt x="89" y="506"/>
                    </a:lnTo>
                    <a:lnTo>
                      <a:pt x="89" y="504"/>
                    </a:lnTo>
                    <a:lnTo>
                      <a:pt x="87" y="504"/>
                    </a:lnTo>
                    <a:lnTo>
                      <a:pt x="89" y="504"/>
                    </a:lnTo>
                    <a:lnTo>
                      <a:pt x="89" y="506"/>
                    </a:lnTo>
                    <a:lnTo>
                      <a:pt x="89" y="508"/>
                    </a:lnTo>
                    <a:lnTo>
                      <a:pt x="87" y="506"/>
                    </a:lnTo>
                    <a:lnTo>
                      <a:pt x="85" y="506"/>
                    </a:lnTo>
                    <a:lnTo>
                      <a:pt x="87" y="506"/>
                    </a:lnTo>
                    <a:lnTo>
                      <a:pt x="87" y="504"/>
                    </a:lnTo>
                    <a:lnTo>
                      <a:pt x="89" y="504"/>
                    </a:lnTo>
                    <a:lnTo>
                      <a:pt x="87" y="504"/>
                    </a:lnTo>
                    <a:lnTo>
                      <a:pt x="89" y="504"/>
                    </a:lnTo>
                    <a:lnTo>
                      <a:pt x="87" y="504"/>
                    </a:lnTo>
                    <a:lnTo>
                      <a:pt x="87" y="502"/>
                    </a:lnTo>
                    <a:lnTo>
                      <a:pt x="85" y="500"/>
                    </a:lnTo>
                    <a:lnTo>
                      <a:pt x="85" y="498"/>
                    </a:lnTo>
                    <a:close/>
                    <a:moveTo>
                      <a:pt x="87" y="506"/>
                    </a:moveTo>
                    <a:lnTo>
                      <a:pt x="85" y="506"/>
                    </a:lnTo>
                    <a:lnTo>
                      <a:pt x="85" y="504"/>
                    </a:lnTo>
                    <a:lnTo>
                      <a:pt x="83" y="502"/>
                    </a:lnTo>
                    <a:lnTo>
                      <a:pt x="83" y="500"/>
                    </a:lnTo>
                    <a:lnTo>
                      <a:pt x="85" y="500"/>
                    </a:lnTo>
                    <a:lnTo>
                      <a:pt x="85" y="502"/>
                    </a:lnTo>
                    <a:lnTo>
                      <a:pt x="85" y="500"/>
                    </a:lnTo>
                    <a:lnTo>
                      <a:pt x="83" y="500"/>
                    </a:lnTo>
                    <a:lnTo>
                      <a:pt x="83" y="498"/>
                    </a:lnTo>
                    <a:lnTo>
                      <a:pt x="83" y="496"/>
                    </a:lnTo>
                    <a:lnTo>
                      <a:pt x="81" y="496"/>
                    </a:lnTo>
                    <a:lnTo>
                      <a:pt x="83" y="496"/>
                    </a:lnTo>
                    <a:lnTo>
                      <a:pt x="83" y="498"/>
                    </a:lnTo>
                    <a:lnTo>
                      <a:pt x="85" y="498"/>
                    </a:lnTo>
                    <a:lnTo>
                      <a:pt x="85" y="500"/>
                    </a:lnTo>
                    <a:lnTo>
                      <a:pt x="85" y="502"/>
                    </a:lnTo>
                    <a:lnTo>
                      <a:pt x="87" y="502"/>
                    </a:lnTo>
                    <a:lnTo>
                      <a:pt x="87" y="504"/>
                    </a:lnTo>
                    <a:lnTo>
                      <a:pt x="87" y="506"/>
                    </a:lnTo>
                    <a:close/>
                    <a:moveTo>
                      <a:pt x="77" y="496"/>
                    </a:moveTo>
                    <a:lnTo>
                      <a:pt x="77" y="498"/>
                    </a:lnTo>
                    <a:lnTo>
                      <a:pt x="75" y="498"/>
                    </a:lnTo>
                    <a:lnTo>
                      <a:pt x="77" y="498"/>
                    </a:lnTo>
                    <a:lnTo>
                      <a:pt x="77" y="496"/>
                    </a:lnTo>
                    <a:lnTo>
                      <a:pt x="77" y="494"/>
                    </a:lnTo>
                    <a:lnTo>
                      <a:pt x="77" y="496"/>
                    </a:lnTo>
                    <a:lnTo>
                      <a:pt x="79" y="496"/>
                    </a:lnTo>
                    <a:lnTo>
                      <a:pt x="79" y="494"/>
                    </a:lnTo>
                    <a:lnTo>
                      <a:pt x="79" y="496"/>
                    </a:lnTo>
                    <a:lnTo>
                      <a:pt x="79" y="498"/>
                    </a:lnTo>
                    <a:lnTo>
                      <a:pt x="79" y="496"/>
                    </a:lnTo>
                    <a:lnTo>
                      <a:pt x="79" y="494"/>
                    </a:lnTo>
                    <a:lnTo>
                      <a:pt x="81" y="494"/>
                    </a:lnTo>
                    <a:lnTo>
                      <a:pt x="81" y="496"/>
                    </a:lnTo>
                    <a:lnTo>
                      <a:pt x="81" y="498"/>
                    </a:lnTo>
                    <a:lnTo>
                      <a:pt x="81" y="500"/>
                    </a:lnTo>
                    <a:lnTo>
                      <a:pt x="81" y="498"/>
                    </a:lnTo>
                    <a:lnTo>
                      <a:pt x="79" y="498"/>
                    </a:lnTo>
                    <a:lnTo>
                      <a:pt x="81" y="500"/>
                    </a:lnTo>
                    <a:lnTo>
                      <a:pt x="79" y="500"/>
                    </a:lnTo>
                    <a:lnTo>
                      <a:pt x="77" y="500"/>
                    </a:lnTo>
                    <a:lnTo>
                      <a:pt x="75" y="500"/>
                    </a:lnTo>
                    <a:lnTo>
                      <a:pt x="75" y="498"/>
                    </a:lnTo>
                    <a:lnTo>
                      <a:pt x="75" y="496"/>
                    </a:lnTo>
                    <a:lnTo>
                      <a:pt x="75" y="494"/>
                    </a:lnTo>
                    <a:lnTo>
                      <a:pt x="77" y="494"/>
                    </a:lnTo>
                    <a:lnTo>
                      <a:pt x="79" y="494"/>
                    </a:lnTo>
                    <a:lnTo>
                      <a:pt x="79" y="496"/>
                    </a:lnTo>
                    <a:lnTo>
                      <a:pt x="77" y="496"/>
                    </a:lnTo>
                    <a:lnTo>
                      <a:pt x="77" y="494"/>
                    </a:lnTo>
                    <a:lnTo>
                      <a:pt x="77" y="496"/>
                    </a:lnTo>
                    <a:close/>
                    <a:moveTo>
                      <a:pt x="85" y="498"/>
                    </a:moveTo>
                    <a:lnTo>
                      <a:pt x="87" y="498"/>
                    </a:lnTo>
                    <a:lnTo>
                      <a:pt x="85" y="498"/>
                    </a:lnTo>
                    <a:lnTo>
                      <a:pt x="87" y="498"/>
                    </a:lnTo>
                    <a:lnTo>
                      <a:pt x="85" y="498"/>
                    </a:lnTo>
                    <a:lnTo>
                      <a:pt x="85" y="496"/>
                    </a:lnTo>
                    <a:lnTo>
                      <a:pt x="85" y="494"/>
                    </a:lnTo>
                    <a:lnTo>
                      <a:pt x="83" y="494"/>
                    </a:lnTo>
                    <a:lnTo>
                      <a:pt x="85" y="494"/>
                    </a:lnTo>
                    <a:lnTo>
                      <a:pt x="87" y="496"/>
                    </a:lnTo>
                    <a:lnTo>
                      <a:pt x="87" y="498"/>
                    </a:lnTo>
                    <a:lnTo>
                      <a:pt x="89" y="498"/>
                    </a:lnTo>
                    <a:lnTo>
                      <a:pt x="89" y="500"/>
                    </a:lnTo>
                    <a:lnTo>
                      <a:pt x="89" y="502"/>
                    </a:lnTo>
                    <a:lnTo>
                      <a:pt x="89" y="504"/>
                    </a:lnTo>
                    <a:lnTo>
                      <a:pt x="91" y="504"/>
                    </a:lnTo>
                    <a:lnTo>
                      <a:pt x="89" y="504"/>
                    </a:lnTo>
                    <a:lnTo>
                      <a:pt x="89" y="502"/>
                    </a:lnTo>
                    <a:lnTo>
                      <a:pt x="87" y="500"/>
                    </a:lnTo>
                    <a:lnTo>
                      <a:pt x="87" y="498"/>
                    </a:lnTo>
                    <a:lnTo>
                      <a:pt x="85" y="498"/>
                    </a:lnTo>
                    <a:close/>
                    <a:moveTo>
                      <a:pt x="52" y="490"/>
                    </a:moveTo>
                    <a:lnTo>
                      <a:pt x="54" y="490"/>
                    </a:lnTo>
                    <a:lnTo>
                      <a:pt x="54" y="488"/>
                    </a:lnTo>
                    <a:lnTo>
                      <a:pt x="54" y="490"/>
                    </a:lnTo>
                    <a:lnTo>
                      <a:pt x="56" y="490"/>
                    </a:lnTo>
                    <a:lnTo>
                      <a:pt x="56" y="492"/>
                    </a:lnTo>
                    <a:lnTo>
                      <a:pt x="58" y="494"/>
                    </a:lnTo>
                    <a:lnTo>
                      <a:pt x="60" y="494"/>
                    </a:lnTo>
                    <a:lnTo>
                      <a:pt x="60" y="496"/>
                    </a:lnTo>
                    <a:lnTo>
                      <a:pt x="58" y="494"/>
                    </a:lnTo>
                    <a:lnTo>
                      <a:pt x="56" y="494"/>
                    </a:lnTo>
                    <a:lnTo>
                      <a:pt x="54" y="492"/>
                    </a:lnTo>
                    <a:lnTo>
                      <a:pt x="52" y="492"/>
                    </a:lnTo>
                    <a:lnTo>
                      <a:pt x="52" y="494"/>
                    </a:lnTo>
                    <a:lnTo>
                      <a:pt x="50" y="492"/>
                    </a:lnTo>
                    <a:lnTo>
                      <a:pt x="50" y="494"/>
                    </a:lnTo>
                    <a:lnTo>
                      <a:pt x="50" y="492"/>
                    </a:lnTo>
                    <a:lnTo>
                      <a:pt x="48" y="492"/>
                    </a:lnTo>
                    <a:lnTo>
                      <a:pt x="48" y="490"/>
                    </a:lnTo>
                    <a:lnTo>
                      <a:pt x="46" y="490"/>
                    </a:lnTo>
                    <a:lnTo>
                      <a:pt x="48" y="490"/>
                    </a:lnTo>
                    <a:lnTo>
                      <a:pt x="50" y="490"/>
                    </a:lnTo>
                    <a:lnTo>
                      <a:pt x="50" y="488"/>
                    </a:lnTo>
                    <a:lnTo>
                      <a:pt x="48" y="488"/>
                    </a:lnTo>
                    <a:lnTo>
                      <a:pt x="50" y="488"/>
                    </a:lnTo>
                    <a:lnTo>
                      <a:pt x="52" y="488"/>
                    </a:lnTo>
                    <a:lnTo>
                      <a:pt x="52" y="490"/>
                    </a:lnTo>
                    <a:close/>
                    <a:moveTo>
                      <a:pt x="114" y="494"/>
                    </a:moveTo>
                    <a:lnTo>
                      <a:pt x="114" y="496"/>
                    </a:lnTo>
                    <a:lnTo>
                      <a:pt x="114" y="494"/>
                    </a:lnTo>
                    <a:lnTo>
                      <a:pt x="116" y="494"/>
                    </a:lnTo>
                    <a:lnTo>
                      <a:pt x="116" y="496"/>
                    </a:lnTo>
                    <a:lnTo>
                      <a:pt x="114" y="496"/>
                    </a:lnTo>
                    <a:lnTo>
                      <a:pt x="112" y="496"/>
                    </a:lnTo>
                    <a:lnTo>
                      <a:pt x="112" y="498"/>
                    </a:lnTo>
                    <a:lnTo>
                      <a:pt x="110" y="498"/>
                    </a:lnTo>
                    <a:lnTo>
                      <a:pt x="110" y="496"/>
                    </a:lnTo>
                    <a:lnTo>
                      <a:pt x="112" y="496"/>
                    </a:lnTo>
                    <a:lnTo>
                      <a:pt x="112" y="494"/>
                    </a:lnTo>
                    <a:lnTo>
                      <a:pt x="114" y="494"/>
                    </a:lnTo>
                    <a:lnTo>
                      <a:pt x="114" y="492"/>
                    </a:lnTo>
                    <a:lnTo>
                      <a:pt x="114" y="490"/>
                    </a:lnTo>
                    <a:lnTo>
                      <a:pt x="116" y="490"/>
                    </a:lnTo>
                    <a:lnTo>
                      <a:pt x="116" y="492"/>
                    </a:lnTo>
                    <a:lnTo>
                      <a:pt x="116" y="494"/>
                    </a:lnTo>
                    <a:lnTo>
                      <a:pt x="114" y="494"/>
                    </a:lnTo>
                    <a:close/>
                    <a:moveTo>
                      <a:pt x="91" y="496"/>
                    </a:moveTo>
                    <a:lnTo>
                      <a:pt x="89" y="494"/>
                    </a:lnTo>
                    <a:lnTo>
                      <a:pt x="87" y="494"/>
                    </a:lnTo>
                    <a:lnTo>
                      <a:pt x="87" y="492"/>
                    </a:lnTo>
                    <a:lnTo>
                      <a:pt x="85" y="492"/>
                    </a:lnTo>
                    <a:lnTo>
                      <a:pt x="83" y="492"/>
                    </a:lnTo>
                    <a:lnTo>
                      <a:pt x="85" y="492"/>
                    </a:lnTo>
                    <a:lnTo>
                      <a:pt x="87" y="492"/>
                    </a:lnTo>
                    <a:lnTo>
                      <a:pt x="87" y="494"/>
                    </a:lnTo>
                    <a:lnTo>
                      <a:pt x="89" y="494"/>
                    </a:lnTo>
                    <a:lnTo>
                      <a:pt x="89" y="496"/>
                    </a:lnTo>
                    <a:lnTo>
                      <a:pt x="89" y="498"/>
                    </a:lnTo>
                    <a:lnTo>
                      <a:pt x="89" y="500"/>
                    </a:lnTo>
                    <a:lnTo>
                      <a:pt x="89" y="498"/>
                    </a:lnTo>
                    <a:lnTo>
                      <a:pt x="89" y="496"/>
                    </a:lnTo>
                    <a:lnTo>
                      <a:pt x="89" y="494"/>
                    </a:lnTo>
                    <a:lnTo>
                      <a:pt x="91" y="496"/>
                    </a:lnTo>
                    <a:lnTo>
                      <a:pt x="92" y="496"/>
                    </a:lnTo>
                    <a:lnTo>
                      <a:pt x="91" y="496"/>
                    </a:lnTo>
                    <a:lnTo>
                      <a:pt x="91" y="494"/>
                    </a:lnTo>
                    <a:lnTo>
                      <a:pt x="89" y="492"/>
                    </a:lnTo>
                    <a:lnTo>
                      <a:pt x="89" y="490"/>
                    </a:lnTo>
                    <a:lnTo>
                      <a:pt x="89" y="492"/>
                    </a:lnTo>
                    <a:lnTo>
                      <a:pt x="87" y="492"/>
                    </a:lnTo>
                    <a:lnTo>
                      <a:pt x="87" y="490"/>
                    </a:lnTo>
                    <a:lnTo>
                      <a:pt x="85" y="490"/>
                    </a:lnTo>
                    <a:lnTo>
                      <a:pt x="85" y="488"/>
                    </a:lnTo>
                    <a:lnTo>
                      <a:pt x="83" y="488"/>
                    </a:lnTo>
                    <a:lnTo>
                      <a:pt x="85" y="487"/>
                    </a:lnTo>
                    <a:lnTo>
                      <a:pt x="85" y="488"/>
                    </a:lnTo>
                    <a:lnTo>
                      <a:pt x="85" y="487"/>
                    </a:lnTo>
                    <a:lnTo>
                      <a:pt x="87" y="487"/>
                    </a:lnTo>
                    <a:lnTo>
                      <a:pt x="87" y="485"/>
                    </a:lnTo>
                    <a:lnTo>
                      <a:pt x="89" y="485"/>
                    </a:lnTo>
                    <a:lnTo>
                      <a:pt x="87" y="483"/>
                    </a:lnTo>
                    <a:lnTo>
                      <a:pt x="89" y="483"/>
                    </a:lnTo>
                    <a:lnTo>
                      <a:pt x="89" y="485"/>
                    </a:lnTo>
                    <a:lnTo>
                      <a:pt x="91" y="485"/>
                    </a:lnTo>
                    <a:lnTo>
                      <a:pt x="91" y="487"/>
                    </a:lnTo>
                    <a:lnTo>
                      <a:pt x="92" y="487"/>
                    </a:lnTo>
                    <a:lnTo>
                      <a:pt x="91" y="488"/>
                    </a:lnTo>
                    <a:lnTo>
                      <a:pt x="92" y="488"/>
                    </a:lnTo>
                    <a:lnTo>
                      <a:pt x="91" y="488"/>
                    </a:lnTo>
                    <a:lnTo>
                      <a:pt x="91" y="490"/>
                    </a:lnTo>
                    <a:lnTo>
                      <a:pt x="92" y="490"/>
                    </a:lnTo>
                    <a:lnTo>
                      <a:pt x="91" y="490"/>
                    </a:lnTo>
                    <a:lnTo>
                      <a:pt x="89" y="490"/>
                    </a:lnTo>
                    <a:lnTo>
                      <a:pt x="91" y="490"/>
                    </a:lnTo>
                    <a:lnTo>
                      <a:pt x="92" y="490"/>
                    </a:lnTo>
                    <a:lnTo>
                      <a:pt x="91" y="490"/>
                    </a:lnTo>
                    <a:lnTo>
                      <a:pt x="91" y="488"/>
                    </a:lnTo>
                    <a:lnTo>
                      <a:pt x="92" y="488"/>
                    </a:lnTo>
                    <a:lnTo>
                      <a:pt x="91" y="488"/>
                    </a:lnTo>
                    <a:lnTo>
                      <a:pt x="92" y="487"/>
                    </a:lnTo>
                    <a:lnTo>
                      <a:pt x="92" y="488"/>
                    </a:lnTo>
                    <a:lnTo>
                      <a:pt x="92" y="490"/>
                    </a:lnTo>
                    <a:lnTo>
                      <a:pt x="92" y="492"/>
                    </a:lnTo>
                    <a:lnTo>
                      <a:pt x="94" y="492"/>
                    </a:lnTo>
                    <a:lnTo>
                      <a:pt x="94" y="494"/>
                    </a:lnTo>
                    <a:lnTo>
                      <a:pt x="92" y="494"/>
                    </a:lnTo>
                    <a:lnTo>
                      <a:pt x="92" y="496"/>
                    </a:lnTo>
                    <a:lnTo>
                      <a:pt x="94" y="496"/>
                    </a:lnTo>
                    <a:lnTo>
                      <a:pt x="94" y="498"/>
                    </a:lnTo>
                    <a:lnTo>
                      <a:pt x="96" y="498"/>
                    </a:lnTo>
                    <a:lnTo>
                      <a:pt x="96" y="500"/>
                    </a:lnTo>
                    <a:lnTo>
                      <a:pt x="94" y="500"/>
                    </a:lnTo>
                    <a:lnTo>
                      <a:pt x="96" y="500"/>
                    </a:lnTo>
                    <a:lnTo>
                      <a:pt x="94" y="500"/>
                    </a:lnTo>
                    <a:lnTo>
                      <a:pt x="94" y="502"/>
                    </a:lnTo>
                    <a:lnTo>
                      <a:pt x="92" y="502"/>
                    </a:lnTo>
                    <a:lnTo>
                      <a:pt x="92" y="504"/>
                    </a:lnTo>
                    <a:lnTo>
                      <a:pt x="91" y="504"/>
                    </a:lnTo>
                    <a:lnTo>
                      <a:pt x="91" y="502"/>
                    </a:lnTo>
                    <a:lnTo>
                      <a:pt x="91" y="504"/>
                    </a:lnTo>
                    <a:lnTo>
                      <a:pt x="89" y="504"/>
                    </a:lnTo>
                    <a:lnTo>
                      <a:pt x="89" y="502"/>
                    </a:lnTo>
                    <a:lnTo>
                      <a:pt x="89" y="500"/>
                    </a:lnTo>
                    <a:lnTo>
                      <a:pt x="89" y="498"/>
                    </a:lnTo>
                    <a:lnTo>
                      <a:pt x="87" y="496"/>
                    </a:lnTo>
                    <a:lnTo>
                      <a:pt x="87" y="494"/>
                    </a:lnTo>
                    <a:lnTo>
                      <a:pt x="85" y="494"/>
                    </a:lnTo>
                    <a:lnTo>
                      <a:pt x="83" y="492"/>
                    </a:lnTo>
                    <a:lnTo>
                      <a:pt x="83" y="490"/>
                    </a:lnTo>
                    <a:lnTo>
                      <a:pt x="83" y="488"/>
                    </a:lnTo>
                    <a:lnTo>
                      <a:pt x="85" y="488"/>
                    </a:lnTo>
                    <a:lnTo>
                      <a:pt x="85" y="490"/>
                    </a:lnTo>
                    <a:lnTo>
                      <a:pt x="87" y="490"/>
                    </a:lnTo>
                    <a:lnTo>
                      <a:pt x="87" y="492"/>
                    </a:lnTo>
                    <a:lnTo>
                      <a:pt x="89" y="492"/>
                    </a:lnTo>
                    <a:lnTo>
                      <a:pt x="91" y="494"/>
                    </a:lnTo>
                    <a:lnTo>
                      <a:pt x="91" y="496"/>
                    </a:lnTo>
                    <a:close/>
                    <a:moveTo>
                      <a:pt x="98" y="487"/>
                    </a:moveTo>
                    <a:lnTo>
                      <a:pt x="96" y="487"/>
                    </a:lnTo>
                    <a:lnTo>
                      <a:pt x="98" y="487"/>
                    </a:lnTo>
                    <a:lnTo>
                      <a:pt x="100" y="487"/>
                    </a:lnTo>
                    <a:lnTo>
                      <a:pt x="100" y="488"/>
                    </a:lnTo>
                    <a:lnTo>
                      <a:pt x="98" y="488"/>
                    </a:lnTo>
                    <a:lnTo>
                      <a:pt x="100" y="488"/>
                    </a:lnTo>
                    <a:lnTo>
                      <a:pt x="100" y="487"/>
                    </a:lnTo>
                    <a:lnTo>
                      <a:pt x="100" y="488"/>
                    </a:lnTo>
                    <a:lnTo>
                      <a:pt x="100" y="487"/>
                    </a:lnTo>
                    <a:lnTo>
                      <a:pt x="102" y="487"/>
                    </a:lnTo>
                    <a:lnTo>
                      <a:pt x="102" y="488"/>
                    </a:lnTo>
                    <a:lnTo>
                      <a:pt x="102" y="490"/>
                    </a:lnTo>
                    <a:lnTo>
                      <a:pt x="102" y="494"/>
                    </a:lnTo>
                    <a:lnTo>
                      <a:pt x="100" y="494"/>
                    </a:lnTo>
                    <a:lnTo>
                      <a:pt x="100" y="496"/>
                    </a:lnTo>
                    <a:lnTo>
                      <a:pt x="98" y="496"/>
                    </a:lnTo>
                    <a:lnTo>
                      <a:pt x="98" y="494"/>
                    </a:lnTo>
                    <a:lnTo>
                      <a:pt x="96" y="494"/>
                    </a:lnTo>
                    <a:lnTo>
                      <a:pt x="94" y="492"/>
                    </a:lnTo>
                    <a:lnTo>
                      <a:pt x="94" y="490"/>
                    </a:lnTo>
                    <a:lnTo>
                      <a:pt x="92" y="490"/>
                    </a:lnTo>
                    <a:lnTo>
                      <a:pt x="94" y="490"/>
                    </a:lnTo>
                    <a:lnTo>
                      <a:pt x="92" y="490"/>
                    </a:lnTo>
                    <a:lnTo>
                      <a:pt x="92" y="488"/>
                    </a:lnTo>
                    <a:lnTo>
                      <a:pt x="92" y="487"/>
                    </a:lnTo>
                    <a:lnTo>
                      <a:pt x="92" y="485"/>
                    </a:lnTo>
                    <a:lnTo>
                      <a:pt x="91" y="485"/>
                    </a:lnTo>
                    <a:lnTo>
                      <a:pt x="91" y="483"/>
                    </a:lnTo>
                    <a:lnTo>
                      <a:pt x="89" y="483"/>
                    </a:lnTo>
                    <a:lnTo>
                      <a:pt x="91" y="483"/>
                    </a:lnTo>
                    <a:lnTo>
                      <a:pt x="91" y="481"/>
                    </a:lnTo>
                    <a:lnTo>
                      <a:pt x="89" y="479"/>
                    </a:lnTo>
                    <a:lnTo>
                      <a:pt x="91" y="479"/>
                    </a:lnTo>
                    <a:lnTo>
                      <a:pt x="91" y="477"/>
                    </a:lnTo>
                    <a:lnTo>
                      <a:pt x="92" y="477"/>
                    </a:lnTo>
                    <a:lnTo>
                      <a:pt x="92" y="475"/>
                    </a:lnTo>
                    <a:lnTo>
                      <a:pt x="92" y="477"/>
                    </a:lnTo>
                    <a:lnTo>
                      <a:pt x="91" y="479"/>
                    </a:lnTo>
                    <a:lnTo>
                      <a:pt x="92" y="477"/>
                    </a:lnTo>
                    <a:lnTo>
                      <a:pt x="92" y="479"/>
                    </a:lnTo>
                    <a:lnTo>
                      <a:pt x="94" y="479"/>
                    </a:lnTo>
                    <a:lnTo>
                      <a:pt x="94" y="481"/>
                    </a:lnTo>
                    <a:lnTo>
                      <a:pt x="96" y="481"/>
                    </a:lnTo>
                    <a:lnTo>
                      <a:pt x="96" y="483"/>
                    </a:lnTo>
                    <a:lnTo>
                      <a:pt x="96" y="481"/>
                    </a:lnTo>
                    <a:lnTo>
                      <a:pt x="98" y="481"/>
                    </a:lnTo>
                    <a:lnTo>
                      <a:pt x="98" y="483"/>
                    </a:lnTo>
                    <a:lnTo>
                      <a:pt x="98" y="481"/>
                    </a:lnTo>
                    <a:lnTo>
                      <a:pt x="98" y="483"/>
                    </a:lnTo>
                    <a:lnTo>
                      <a:pt x="100" y="483"/>
                    </a:lnTo>
                    <a:lnTo>
                      <a:pt x="100" y="485"/>
                    </a:lnTo>
                    <a:lnTo>
                      <a:pt x="98" y="485"/>
                    </a:lnTo>
                    <a:lnTo>
                      <a:pt x="98" y="487"/>
                    </a:lnTo>
                    <a:lnTo>
                      <a:pt x="96" y="487"/>
                    </a:lnTo>
                    <a:lnTo>
                      <a:pt x="94" y="487"/>
                    </a:lnTo>
                    <a:lnTo>
                      <a:pt x="94" y="488"/>
                    </a:lnTo>
                    <a:lnTo>
                      <a:pt x="94" y="487"/>
                    </a:lnTo>
                    <a:lnTo>
                      <a:pt x="96" y="487"/>
                    </a:lnTo>
                    <a:lnTo>
                      <a:pt x="98" y="487"/>
                    </a:lnTo>
                    <a:close/>
                    <a:moveTo>
                      <a:pt x="102" y="473"/>
                    </a:moveTo>
                    <a:lnTo>
                      <a:pt x="102" y="475"/>
                    </a:lnTo>
                    <a:lnTo>
                      <a:pt x="104" y="475"/>
                    </a:lnTo>
                    <a:lnTo>
                      <a:pt x="102" y="475"/>
                    </a:lnTo>
                    <a:lnTo>
                      <a:pt x="104" y="475"/>
                    </a:lnTo>
                    <a:lnTo>
                      <a:pt x="104" y="477"/>
                    </a:lnTo>
                    <a:lnTo>
                      <a:pt x="106" y="477"/>
                    </a:lnTo>
                    <a:lnTo>
                      <a:pt x="104" y="477"/>
                    </a:lnTo>
                    <a:lnTo>
                      <a:pt x="104" y="479"/>
                    </a:lnTo>
                    <a:lnTo>
                      <a:pt x="102" y="479"/>
                    </a:lnTo>
                    <a:lnTo>
                      <a:pt x="100" y="479"/>
                    </a:lnTo>
                    <a:lnTo>
                      <a:pt x="98" y="481"/>
                    </a:lnTo>
                    <a:lnTo>
                      <a:pt x="98" y="479"/>
                    </a:lnTo>
                    <a:lnTo>
                      <a:pt x="96" y="477"/>
                    </a:lnTo>
                    <a:lnTo>
                      <a:pt x="96" y="475"/>
                    </a:lnTo>
                    <a:lnTo>
                      <a:pt x="94" y="475"/>
                    </a:lnTo>
                    <a:lnTo>
                      <a:pt x="94" y="473"/>
                    </a:lnTo>
                    <a:lnTo>
                      <a:pt x="96" y="473"/>
                    </a:lnTo>
                    <a:lnTo>
                      <a:pt x="96" y="471"/>
                    </a:lnTo>
                    <a:lnTo>
                      <a:pt x="98" y="471"/>
                    </a:lnTo>
                    <a:lnTo>
                      <a:pt x="98" y="469"/>
                    </a:lnTo>
                    <a:lnTo>
                      <a:pt x="98" y="467"/>
                    </a:lnTo>
                    <a:lnTo>
                      <a:pt x="100" y="467"/>
                    </a:lnTo>
                    <a:lnTo>
                      <a:pt x="100" y="465"/>
                    </a:lnTo>
                    <a:lnTo>
                      <a:pt x="100" y="464"/>
                    </a:lnTo>
                    <a:lnTo>
                      <a:pt x="100" y="465"/>
                    </a:lnTo>
                    <a:lnTo>
                      <a:pt x="100" y="467"/>
                    </a:lnTo>
                    <a:lnTo>
                      <a:pt x="100" y="469"/>
                    </a:lnTo>
                    <a:lnTo>
                      <a:pt x="102" y="469"/>
                    </a:lnTo>
                    <a:lnTo>
                      <a:pt x="102" y="471"/>
                    </a:lnTo>
                    <a:lnTo>
                      <a:pt x="102" y="473"/>
                    </a:lnTo>
                    <a:close/>
                    <a:moveTo>
                      <a:pt x="66" y="404"/>
                    </a:moveTo>
                    <a:lnTo>
                      <a:pt x="68" y="404"/>
                    </a:lnTo>
                    <a:lnTo>
                      <a:pt x="69" y="406"/>
                    </a:lnTo>
                    <a:lnTo>
                      <a:pt x="69" y="408"/>
                    </a:lnTo>
                    <a:lnTo>
                      <a:pt x="71" y="410"/>
                    </a:lnTo>
                    <a:lnTo>
                      <a:pt x="71" y="412"/>
                    </a:lnTo>
                    <a:lnTo>
                      <a:pt x="69" y="412"/>
                    </a:lnTo>
                    <a:lnTo>
                      <a:pt x="69" y="410"/>
                    </a:lnTo>
                    <a:lnTo>
                      <a:pt x="69" y="412"/>
                    </a:lnTo>
                    <a:lnTo>
                      <a:pt x="68" y="410"/>
                    </a:lnTo>
                    <a:lnTo>
                      <a:pt x="69" y="412"/>
                    </a:lnTo>
                    <a:lnTo>
                      <a:pt x="69" y="410"/>
                    </a:lnTo>
                    <a:lnTo>
                      <a:pt x="69" y="412"/>
                    </a:lnTo>
                    <a:lnTo>
                      <a:pt x="71" y="412"/>
                    </a:lnTo>
                    <a:lnTo>
                      <a:pt x="71" y="410"/>
                    </a:lnTo>
                    <a:lnTo>
                      <a:pt x="71" y="412"/>
                    </a:lnTo>
                    <a:lnTo>
                      <a:pt x="71" y="414"/>
                    </a:lnTo>
                    <a:lnTo>
                      <a:pt x="73" y="415"/>
                    </a:lnTo>
                    <a:lnTo>
                      <a:pt x="75" y="415"/>
                    </a:lnTo>
                    <a:lnTo>
                      <a:pt x="75" y="417"/>
                    </a:lnTo>
                    <a:lnTo>
                      <a:pt x="77" y="417"/>
                    </a:lnTo>
                    <a:lnTo>
                      <a:pt x="75" y="417"/>
                    </a:lnTo>
                    <a:lnTo>
                      <a:pt x="77" y="417"/>
                    </a:lnTo>
                    <a:lnTo>
                      <a:pt x="75" y="417"/>
                    </a:lnTo>
                    <a:lnTo>
                      <a:pt x="75" y="419"/>
                    </a:lnTo>
                    <a:lnTo>
                      <a:pt x="75" y="417"/>
                    </a:lnTo>
                    <a:lnTo>
                      <a:pt x="73" y="417"/>
                    </a:lnTo>
                    <a:lnTo>
                      <a:pt x="75" y="417"/>
                    </a:lnTo>
                    <a:lnTo>
                      <a:pt x="75" y="419"/>
                    </a:lnTo>
                    <a:lnTo>
                      <a:pt x="75" y="417"/>
                    </a:lnTo>
                    <a:lnTo>
                      <a:pt x="77" y="417"/>
                    </a:lnTo>
                    <a:lnTo>
                      <a:pt x="79" y="417"/>
                    </a:lnTo>
                    <a:lnTo>
                      <a:pt x="79" y="419"/>
                    </a:lnTo>
                    <a:lnTo>
                      <a:pt x="81" y="419"/>
                    </a:lnTo>
                    <a:lnTo>
                      <a:pt x="79" y="419"/>
                    </a:lnTo>
                    <a:lnTo>
                      <a:pt x="81" y="419"/>
                    </a:lnTo>
                    <a:lnTo>
                      <a:pt x="85" y="421"/>
                    </a:lnTo>
                    <a:lnTo>
                      <a:pt x="87" y="421"/>
                    </a:lnTo>
                    <a:lnTo>
                      <a:pt x="91" y="421"/>
                    </a:lnTo>
                    <a:lnTo>
                      <a:pt x="92" y="421"/>
                    </a:lnTo>
                    <a:lnTo>
                      <a:pt x="96" y="421"/>
                    </a:lnTo>
                    <a:lnTo>
                      <a:pt x="96" y="419"/>
                    </a:lnTo>
                    <a:lnTo>
                      <a:pt x="98" y="419"/>
                    </a:lnTo>
                    <a:lnTo>
                      <a:pt x="100" y="419"/>
                    </a:lnTo>
                    <a:lnTo>
                      <a:pt x="102" y="419"/>
                    </a:lnTo>
                    <a:lnTo>
                      <a:pt x="104" y="419"/>
                    </a:lnTo>
                    <a:lnTo>
                      <a:pt x="106" y="419"/>
                    </a:lnTo>
                    <a:lnTo>
                      <a:pt x="108" y="419"/>
                    </a:lnTo>
                    <a:lnTo>
                      <a:pt x="110" y="419"/>
                    </a:lnTo>
                    <a:lnTo>
                      <a:pt x="110" y="421"/>
                    </a:lnTo>
                    <a:lnTo>
                      <a:pt x="112" y="421"/>
                    </a:lnTo>
                    <a:lnTo>
                      <a:pt x="114" y="421"/>
                    </a:lnTo>
                    <a:lnTo>
                      <a:pt x="116" y="423"/>
                    </a:lnTo>
                    <a:lnTo>
                      <a:pt x="116" y="425"/>
                    </a:lnTo>
                    <a:lnTo>
                      <a:pt x="117" y="425"/>
                    </a:lnTo>
                    <a:lnTo>
                      <a:pt x="116" y="427"/>
                    </a:lnTo>
                    <a:lnTo>
                      <a:pt x="114" y="429"/>
                    </a:lnTo>
                    <a:lnTo>
                      <a:pt x="114" y="431"/>
                    </a:lnTo>
                    <a:lnTo>
                      <a:pt x="112" y="431"/>
                    </a:lnTo>
                    <a:lnTo>
                      <a:pt x="110" y="431"/>
                    </a:lnTo>
                    <a:lnTo>
                      <a:pt x="108" y="433"/>
                    </a:lnTo>
                    <a:lnTo>
                      <a:pt x="108" y="435"/>
                    </a:lnTo>
                    <a:lnTo>
                      <a:pt x="108" y="437"/>
                    </a:lnTo>
                    <a:lnTo>
                      <a:pt x="108" y="439"/>
                    </a:lnTo>
                    <a:lnTo>
                      <a:pt x="108" y="440"/>
                    </a:lnTo>
                    <a:lnTo>
                      <a:pt x="106" y="440"/>
                    </a:lnTo>
                    <a:lnTo>
                      <a:pt x="104" y="440"/>
                    </a:lnTo>
                    <a:lnTo>
                      <a:pt x="102" y="440"/>
                    </a:lnTo>
                    <a:lnTo>
                      <a:pt x="100" y="442"/>
                    </a:lnTo>
                    <a:lnTo>
                      <a:pt x="98" y="442"/>
                    </a:lnTo>
                    <a:lnTo>
                      <a:pt x="96" y="442"/>
                    </a:lnTo>
                    <a:lnTo>
                      <a:pt x="94" y="442"/>
                    </a:lnTo>
                    <a:lnTo>
                      <a:pt x="94" y="444"/>
                    </a:lnTo>
                    <a:lnTo>
                      <a:pt x="92" y="444"/>
                    </a:lnTo>
                    <a:lnTo>
                      <a:pt x="91" y="444"/>
                    </a:lnTo>
                    <a:lnTo>
                      <a:pt x="91" y="446"/>
                    </a:lnTo>
                    <a:lnTo>
                      <a:pt x="89" y="446"/>
                    </a:lnTo>
                    <a:lnTo>
                      <a:pt x="89" y="448"/>
                    </a:lnTo>
                    <a:lnTo>
                      <a:pt x="91" y="448"/>
                    </a:lnTo>
                    <a:lnTo>
                      <a:pt x="89" y="448"/>
                    </a:lnTo>
                    <a:lnTo>
                      <a:pt x="89" y="450"/>
                    </a:lnTo>
                    <a:lnTo>
                      <a:pt x="91" y="452"/>
                    </a:lnTo>
                    <a:lnTo>
                      <a:pt x="89" y="452"/>
                    </a:lnTo>
                    <a:lnTo>
                      <a:pt x="91" y="452"/>
                    </a:lnTo>
                    <a:lnTo>
                      <a:pt x="91" y="454"/>
                    </a:lnTo>
                    <a:lnTo>
                      <a:pt x="91" y="456"/>
                    </a:lnTo>
                    <a:lnTo>
                      <a:pt x="89" y="458"/>
                    </a:lnTo>
                    <a:lnTo>
                      <a:pt x="87" y="458"/>
                    </a:lnTo>
                    <a:lnTo>
                      <a:pt x="87" y="460"/>
                    </a:lnTo>
                    <a:lnTo>
                      <a:pt x="87" y="462"/>
                    </a:lnTo>
                    <a:lnTo>
                      <a:pt x="87" y="464"/>
                    </a:lnTo>
                    <a:lnTo>
                      <a:pt x="87" y="465"/>
                    </a:lnTo>
                    <a:lnTo>
                      <a:pt x="89" y="465"/>
                    </a:lnTo>
                    <a:lnTo>
                      <a:pt x="89" y="467"/>
                    </a:lnTo>
                    <a:lnTo>
                      <a:pt x="87" y="467"/>
                    </a:lnTo>
                    <a:lnTo>
                      <a:pt x="89" y="467"/>
                    </a:lnTo>
                    <a:lnTo>
                      <a:pt x="89" y="469"/>
                    </a:lnTo>
                    <a:lnTo>
                      <a:pt x="89" y="471"/>
                    </a:lnTo>
                    <a:lnTo>
                      <a:pt x="89" y="473"/>
                    </a:lnTo>
                    <a:lnTo>
                      <a:pt x="91" y="473"/>
                    </a:lnTo>
                    <a:lnTo>
                      <a:pt x="89" y="475"/>
                    </a:lnTo>
                    <a:lnTo>
                      <a:pt x="87" y="477"/>
                    </a:lnTo>
                    <a:lnTo>
                      <a:pt x="85" y="477"/>
                    </a:lnTo>
                    <a:lnTo>
                      <a:pt x="83" y="479"/>
                    </a:lnTo>
                    <a:lnTo>
                      <a:pt x="85" y="479"/>
                    </a:lnTo>
                    <a:lnTo>
                      <a:pt x="85" y="477"/>
                    </a:lnTo>
                    <a:lnTo>
                      <a:pt x="85" y="479"/>
                    </a:lnTo>
                    <a:lnTo>
                      <a:pt x="85" y="481"/>
                    </a:lnTo>
                    <a:lnTo>
                      <a:pt x="85" y="483"/>
                    </a:lnTo>
                    <a:lnTo>
                      <a:pt x="83" y="483"/>
                    </a:lnTo>
                    <a:lnTo>
                      <a:pt x="83" y="481"/>
                    </a:lnTo>
                    <a:lnTo>
                      <a:pt x="83" y="483"/>
                    </a:lnTo>
                    <a:lnTo>
                      <a:pt x="81" y="483"/>
                    </a:lnTo>
                    <a:lnTo>
                      <a:pt x="81" y="485"/>
                    </a:lnTo>
                    <a:lnTo>
                      <a:pt x="79" y="485"/>
                    </a:lnTo>
                    <a:lnTo>
                      <a:pt x="77" y="485"/>
                    </a:lnTo>
                    <a:lnTo>
                      <a:pt x="75" y="483"/>
                    </a:lnTo>
                    <a:lnTo>
                      <a:pt x="75" y="485"/>
                    </a:lnTo>
                    <a:lnTo>
                      <a:pt x="73" y="485"/>
                    </a:lnTo>
                    <a:lnTo>
                      <a:pt x="73" y="487"/>
                    </a:lnTo>
                    <a:lnTo>
                      <a:pt x="73" y="488"/>
                    </a:lnTo>
                    <a:lnTo>
                      <a:pt x="73" y="490"/>
                    </a:lnTo>
                    <a:lnTo>
                      <a:pt x="73" y="488"/>
                    </a:lnTo>
                    <a:lnTo>
                      <a:pt x="73" y="487"/>
                    </a:lnTo>
                    <a:lnTo>
                      <a:pt x="73" y="485"/>
                    </a:lnTo>
                    <a:lnTo>
                      <a:pt x="75" y="485"/>
                    </a:lnTo>
                    <a:lnTo>
                      <a:pt x="75" y="487"/>
                    </a:lnTo>
                    <a:lnTo>
                      <a:pt x="77" y="487"/>
                    </a:lnTo>
                    <a:lnTo>
                      <a:pt x="77" y="488"/>
                    </a:lnTo>
                    <a:lnTo>
                      <a:pt x="75" y="488"/>
                    </a:lnTo>
                    <a:lnTo>
                      <a:pt x="75" y="490"/>
                    </a:lnTo>
                    <a:lnTo>
                      <a:pt x="77" y="492"/>
                    </a:lnTo>
                    <a:lnTo>
                      <a:pt x="75" y="492"/>
                    </a:lnTo>
                    <a:lnTo>
                      <a:pt x="75" y="494"/>
                    </a:lnTo>
                    <a:lnTo>
                      <a:pt x="75" y="496"/>
                    </a:lnTo>
                    <a:lnTo>
                      <a:pt x="73" y="496"/>
                    </a:lnTo>
                    <a:lnTo>
                      <a:pt x="71" y="496"/>
                    </a:lnTo>
                    <a:lnTo>
                      <a:pt x="69" y="496"/>
                    </a:lnTo>
                    <a:lnTo>
                      <a:pt x="69" y="498"/>
                    </a:lnTo>
                    <a:lnTo>
                      <a:pt x="68" y="498"/>
                    </a:lnTo>
                    <a:lnTo>
                      <a:pt x="68" y="500"/>
                    </a:lnTo>
                    <a:lnTo>
                      <a:pt x="66" y="500"/>
                    </a:lnTo>
                    <a:lnTo>
                      <a:pt x="66" y="498"/>
                    </a:lnTo>
                    <a:lnTo>
                      <a:pt x="66" y="500"/>
                    </a:lnTo>
                    <a:lnTo>
                      <a:pt x="64" y="498"/>
                    </a:lnTo>
                    <a:lnTo>
                      <a:pt x="62" y="500"/>
                    </a:lnTo>
                    <a:lnTo>
                      <a:pt x="62" y="498"/>
                    </a:lnTo>
                    <a:lnTo>
                      <a:pt x="62" y="500"/>
                    </a:lnTo>
                    <a:lnTo>
                      <a:pt x="62" y="498"/>
                    </a:lnTo>
                    <a:lnTo>
                      <a:pt x="62" y="496"/>
                    </a:lnTo>
                    <a:lnTo>
                      <a:pt x="60" y="496"/>
                    </a:lnTo>
                    <a:lnTo>
                      <a:pt x="58" y="496"/>
                    </a:lnTo>
                    <a:lnTo>
                      <a:pt x="60" y="496"/>
                    </a:lnTo>
                    <a:lnTo>
                      <a:pt x="60" y="494"/>
                    </a:lnTo>
                    <a:lnTo>
                      <a:pt x="58" y="494"/>
                    </a:lnTo>
                    <a:lnTo>
                      <a:pt x="58" y="492"/>
                    </a:lnTo>
                    <a:lnTo>
                      <a:pt x="56" y="492"/>
                    </a:lnTo>
                    <a:lnTo>
                      <a:pt x="56" y="490"/>
                    </a:lnTo>
                    <a:lnTo>
                      <a:pt x="54" y="490"/>
                    </a:lnTo>
                    <a:lnTo>
                      <a:pt x="54" y="488"/>
                    </a:lnTo>
                    <a:lnTo>
                      <a:pt x="54" y="490"/>
                    </a:lnTo>
                    <a:lnTo>
                      <a:pt x="52" y="490"/>
                    </a:lnTo>
                    <a:lnTo>
                      <a:pt x="52" y="488"/>
                    </a:lnTo>
                    <a:lnTo>
                      <a:pt x="50" y="488"/>
                    </a:lnTo>
                    <a:lnTo>
                      <a:pt x="52" y="488"/>
                    </a:lnTo>
                    <a:lnTo>
                      <a:pt x="52" y="487"/>
                    </a:lnTo>
                    <a:lnTo>
                      <a:pt x="50" y="487"/>
                    </a:lnTo>
                    <a:lnTo>
                      <a:pt x="50" y="488"/>
                    </a:lnTo>
                    <a:lnTo>
                      <a:pt x="50" y="487"/>
                    </a:lnTo>
                    <a:lnTo>
                      <a:pt x="48" y="487"/>
                    </a:lnTo>
                    <a:lnTo>
                      <a:pt x="48" y="485"/>
                    </a:lnTo>
                    <a:lnTo>
                      <a:pt x="46" y="485"/>
                    </a:lnTo>
                    <a:lnTo>
                      <a:pt x="46" y="483"/>
                    </a:lnTo>
                    <a:lnTo>
                      <a:pt x="48" y="483"/>
                    </a:lnTo>
                    <a:lnTo>
                      <a:pt x="48" y="481"/>
                    </a:lnTo>
                    <a:lnTo>
                      <a:pt x="50" y="481"/>
                    </a:lnTo>
                    <a:lnTo>
                      <a:pt x="48" y="481"/>
                    </a:lnTo>
                    <a:lnTo>
                      <a:pt x="50" y="481"/>
                    </a:lnTo>
                    <a:lnTo>
                      <a:pt x="48" y="481"/>
                    </a:lnTo>
                    <a:lnTo>
                      <a:pt x="50" y="481"/>
                    </a:lnTo>
                    <a:lnTo>
                      <a:pt x="50" y="479"/>
                    </a:lnTo>
                    <a:lnTo>
                      <a:pt x="48" y="479"/>
                    </a:lnTo>
                    <a:lnTo>
                      <a:pt x="50" y="479"/>
                    </a:lnTo>
                    <a:lnTo>
                      <a:pt x="50" y="477"/>
                    </a:lnTo>
                    <a:lnTo>
                      <a:pt x="52" y="477"/>
                    </a:lnTo>
                    <a:lnTo>
                      <a:pt x="52" y="475"/>
                    </a:lnTo>
                    <a:lnTo>
                      <a:pt x="50" y="475"/>
                    </a:lnTo>
                    <a:lnTo>
                      <a:pt x="52" y="475"/>
                    </a:lnTo>
                    <a:lnTo>
                      <a:pt x="50" y="475"/>
                    </a:lnTo>
                    <a:lnTo>
                      <a:pt x="50" y="473"/>
                    </a:lnTo>
                    <a:lnTo>
                      <a:pt x="48" y="473"/>
                    </a:lnTo>
                    <a:lnTo>
                      <a:pt x="48" y="471"/>
                    </a:lnTo>
                    <a:lnTo>
                      <a:pt x="48" y="469"/>
                    </a:lnTo>
                    <a:lnTo>
                      <a:pt x="50" y="469"/>
                    </a:lnTo>
                    <a:lnTo>
                      <a:pt x="48" y="469"/>
                    </a:lnTo>
                    <a:lnTo>
                      <a:pt x="50" y="469"/>
                    </a:lnTo>
                    <a:lnTo>
                      <a:pt x="50" y="467"/>
                    </a:lnTo>
                    <a:lnTo>
                      <a:pt x="50" y="465"/>
                    </a:lnTo>
                    <a:lnTo>
                      <a:pt x="50" y="467"/>
                    </a:lnTo>
                    <a:lnTo>
                      <a:pt x="50" y="465"/>
                    </a:lnTo>
                    <a:lnTo>
                      <a:pt x="50" y="464"/>
                    </a:lnTo>
                    <a:lnTo>
                      <a:pt x="50" y="460"/>
                    </a:lnTo>
                    <a:lnTo>
                      <a:pt x="50" y="452"/>
                    </a:lnTo>
                    <a:lnTo>
                      <a:pt x="46" y="450"/>
                    </a:lnTo>
                    <a:lnTo>
                      <a:pt x="43" y="448"/>
                    </a:lnTo>
                    <a:lnTo>
                      <a:pt x="37" y="446"/>
                    </a:lnTo>
                    <a:lnTo>
                      <a:pt x="37" y="444"/>
                    </a:lnTo>
                    <a:lnTo>
                      <a:pt x="27" y="435"/>
                    </a:lnTo>
                    <a:lnTo>
                      <a:pt x="23" y="433"/>
                    </a:lnTo>
                    <a:lnTo>
                      <a:pt x="21" y="433"/>
                    </a:lnTo>
                    <a:lnTo>
                      <a:pt x="21" y="431"/>
                    </a:lnTo>
                    <a:lnTo>
                      <a:pt x="19" y="429"/>
                    </a:lnTo>
                    <a:lnTo>
                      <a:pt x="19" y="427"/>
                    </a:lnTo>
                    <a:lnTo>
                      <a:pt x="21" y="427"/>
                    </a:lnTo>
                    <a:lnTo>
                      <a:pt x="23" y="425"/>
                    </a:lnTo>
                    <a:lnTo>
                      <a:pt x="25" y="423"/>
                    </a:lnTo>
                    <a:lnTo>
                      <a:pt x="27" y="421"/>
                    </a:lnTo>
                    <a:lnTo>
                      <a:pt x="27" y="419"/>
                    </a:lnTo>
                    <a:lnTo>
                      <a:pt x="25" y="417"/>
                    </a:lnTo>
                    <a:lnTo>
                      <a:pt x="27" y="417"/>
                    </a:lnTo>
                    <a:lnTo>
                      <a:pt x="27" y="415"/>
                    </a:lnTo>
                    <a:lnTo>
                      <a:pt x="29" y="415"/>
                    </a:lnTo>
                    <a:lnTo>
                      <a:pt x="29" y="417"/>
                    </a:lnTo>
                    <a:lnTo>
                      <a:pt x="31" y="417"/>
                    </a:lnTo>
                    <a:lnTo>
                      <a:pt x="33" y="417"/>
                    </a:lnTo>
                    <a:lnTo>
                      <a:pt x="35" y="417"/>
                    </a:lnTo>
                    <a:lnTo>
                      <a:pt x="35" y="419"/>
                    </a:lnTo>
                    <a:lnTo>
                      <a:pt x="37" y="419"/>
                    </a:lnTo>
                    <a:lnTo>
                      <a:pt x="39" y="419"/>
                    </a:lnTo>
                    <a:lnTo>
                      <a:pt x="41" y="419"/>
                    </a:lnTo>
                    <a:lnTo>
                      <a:pt x="41" y="417"/>
                    </a:lnTo>
                    <a:lnTo>
                      <a:pt x="43" y="417"/>
                    </a:lnTo>
                    <a:lnTo>
                      <a:pt x="43" y="415"/>
                    </a:lnTo>
                    <a:lnTo>
                      <a:pt x="43" y="417"/>
                    </a:lnTo>
                    <a:lnTo>
                      <a:pt x="44" y="415"/>
                    </a:lnTo>
                    <a:lnTo>
                      <a:pt x="44" y="417"/>
                    </a:lnTo>
                    <a:lnTo>
                      <a:pt x="44" y="415"/>
                    </a:lnTo>
                    <a:lnTo>
                      <a:pt x="46" y="415"/>
                    </a:lnTo>
                    <a:lnTo>
                      <a:pt x="44" y="415"/>
                    </a:lnTo>
                    <a:lnTo>
                      <a:pt x="44" y="414"/>
                    </a:lnTo>
                    <a:lnTo>
                      <a:pt x="46" y="414"/>
                    </a:lnTo>
                    <a:lnTo>
                      <a:pt x="44" y="414"/>
                    </a:lnTo>
                    <a:lnTo>
                      <a:pt x="46" y="414"/>
                    </a:lnTo>
                    <a:lnTo>
                      <a:pt x="44" y="414"/>
                    </a:lnTo>
                    <a:lnTo>
                      <a:pt x="44" y="412"/>
                    </a:lnTo>
                    <a:lnTo>
                      <a:pt x="46" y="412"/>
                    </a:lnTo>
                    <a:lnTo>
                      <a:pt x="44" y="412"/>
                    </a:lnTo>
                    <a:lnTo>
                      <a:pt x="46" y="412"/>
                    </a:lnTo>
                    <a:lnTo>
                      <a:pt x="46" y="410"/>
                    </a:lnTo>
                    <a:lnTo>
                      <a:pt x="44" y="410"/>
                    </a:lnTo>
                    <a:lnTo>
                      <a:pt x="46" y="410"/>
                    </a:lnTo>
                    <a:lnTo>
                      <a:pt x="44" y="410"/>
                    </a:lnTo>
                    <a:lnTo>
                      <a:pt x="46" y="410"/>
                    </a:lnTo>
                    <a:lnTo>
                      <a:pt x="46" y="408"/>
                    </a:lnTo>
                    <a:lnTo>
                      <a:pt x="44" y="408"/>
                    </a:lnTo>
                    <a:lnTo>
                      <a:pt x="46" y="408"/>
                    </a:lnTo>
                    <a:lnTo>
                      <a:pt x="44" y="408"/>
                    </a:lnTo>
                    <a:lnTo>
                      <a:pt x="44" y="406"/>
                    </a:lnTo>
                    <a:lnTo>
                      <a:pt x="44" y="408"/>
                    </a:lnTo>
                    <a:lnTo>
                      <a:pt x="46" y="408"/>
                    </a:lnTo>
                    <a:lnTo>
                      <a:pt x="44" y="406"/>
                    </a:lnTo>
                    <a:lnTo>
                      <a:pt x="46" y="406"/>
                    </a:lnTo>
                    <a:lnTo>
                      <a:pt x="48" y="406"/>
                    </a:lnTo>
                    <a:lnTo>
                      <a:pt x="50" y="406"/>
                    </a:lnTo>
                    <a:lnTo>
                      <a:pt x="48" y="406"/>
                    </a:lnTo>
                    <a:lnTo>
                      <a:pt x="50" y="406"/>
                    </a:lnTo>
                    <a:lnTo>
                      <a:pt x="52" y="406"/>
                    </a:lnTo>
                    <a:lnTo>
                      <a:pt x="52" y="404"/>
                    </a:lnTo>
                    <a:lnTo>
                      <a:pt x="50" y="404"/>
                    </a:lnTo>
                    <a:lnTo>
                      <a:pt x="50" y="402"/>
                    </a:lnTo>
                    <a:lnTo>
                      <a:pt x="48" y="402"/>
                    </a:lnTo>
                    <a:lnTo>
                      <a:pt x="48" y="400"/>
                    </a:lnTo>
                    <a:lnTo>
                      <a:pt x="46" y="400"/>
                    </a:lnTo>
                    <a:lnTo>
                      <a:pt x="46" y="398"/>
                    </a:lnTo>
                    <a:lnTo>
                      <a:pt x="46" y="400"/>
                    </a:lnTo>
                    <a:lnTo>
                      <a:pt x="46" y="398"/>
                    </a:lnTo>
                    <a:lnTo>
                      <a:pt x="44" y="398"/>
                    </a:lnTo>
                    <a:lnTo>
                      <a:pt x="43" y="398"/>
                    </a:lnTo>
                    <a:lnTo>
                      <a:pt x="43" y="396"/>
                    </a:lnTo>
                    <a:lnTo>
                      <a:pt x="41" y="396"/>
                    </a:lnTo>
                    <a:lnTo>
                      <a:pt x="41" y="394"/>
                    </a:lnTo>
                    <a:lnTo>
                      <a:pt x="41" y="396"/>
                    </a:lnTo>
                    <a:lnTo>
                      <a:pt x="41" y="394"/>
                    </a:lnTo>
                    <a:lnTo>
                      <a:pt x="39" y="394"/>
                    </a:lnTo>
                    <a:lnTo>
                      <a:pt x="39" y="392"/>
                    </a:lnTo>
                    <a:lnTo>
                      <a:pt x="37" y="392"/>
                    </a:lnTo>
                    <a:lnTo>
                      <a:pt x="37" y="394"/>
                    </a:lnTo>
                    <a:lnTo>
                      <a:pt x="35" y="394"/>
                    </a:lnTo>
                    <a:lnTo>
                      <a:pt x="35" y="392"/>
                    </a:lnTo>
                    <a:lnTo>
                      <a:pt x="33" y="392"/>
                    </a:lnTo>
                    <a:lnTo>
                      <a:pt x="33" y="394"/>
                    </a:lnTo>
                    <a:lnTo>
                      <a:pt x="33" y="392"/>
                    </a:lnTo>
                    <a:lnTo>
                      <a:pt x="33" y="394"/>
                    </a:lnTo>
                    <a:lnTo>
                      <a:pt x="31" y="394"/>
                    </a:lnTo>
                    <a:lnTo>
                      <a:pt x="31" y="392"/>
                    </a:lnTo>
                    <a:lnTo>
                      <a:pt x="29" y="392"/>
                    </a:lnTo>
                    <a:lnTo>
                      <a:pt x="29" y="390"/>
                    </a:lnTo>
                    <a:lnTo>
                      <a:pt x="27" y="390"/>
                    </a:lnTo>
                    <a:lnTo>
                      <a:pt x="25" y="390"/>
                    </a:lnTo>
                    <a:lnTo>
                      <a:pt x="25" y="389"/>
                    </a:lnTo>
                    <a:lnTo>
                      <a:pt x="23" y="389"/>
                    </a:lnTo>
                    <a:lnTo>
                      <a:pt x="25" y="389"/>
                    </a:lnTo>
                    <a:lnTo>
                      <a:pt x="23" y="389"/>
                    </a:lnTo>
                    <a:lnTo>
                      <a:pt x="23" y="387"/>
                    </a:lnTo>
                    <a:lnTo>
                      <a:pt x="21" y="387"/>
                    </a:lnTo>
                    <a:lnTo>
                      <a:pt x="21" y="385"/>
                    </a:lnTo>
                    <a:lnTo>
                      <a:pt x="19" y="387"/>
                    </a:lnTo>
                    <a:lnTo>
                      <a:pt x="19" y="385"/>
                    </a:lnTo>
                    <a:lnTo>
                      <a:pt x="18" y="385"/>
                    </a:lnTo>
                    <a:lnTo>
                      <a:pt x="19" y="385"/>
                    </a:lnTo>
                    <a:lnTo>
                      <a:pt x="19" y="383"/>
                    </a:lnTo>
                    <a:lnTo>
                      <a:pt x="18" y="383"/>
                    </a:lnTo>
                    <a:lnTo>
                      <a:pt x="16" y="383"/>
                    </a:lnTo>
                    <a:lnTo>
                      <a:pt x="18" y="383"/>
                    </a:lnTo>
                    <a:lnTo>
                      <a:pt x="16" y="383"/>
                    </a:lnTo>
                    <a:lnTo>
                      <a:pt x="16" y="381"/>
                    </a:lnTo>
                    <a:lnTo>
                      <a:pt x="14" y="381"/>
                    </a:lnTo>
                    <a:lnTo>
                      <a:pt x="16" y="381"/>
                    </a:lnTo>
                    <a:lnTo>
                      <a:pt x="18" y="381"/>
                    </a:lnTo>
                    <a:lnTo>
                      <a:pt x="16" y="379"/>
                    </a:lnTo>
                    <a:lnTo>
                      <a:pt x="18" y="379"/>
                    </a:lnTo>
                    <a:lnTo>
                      <a:pt x="16" y="379"/>
                    </a:lnTo>
                    <a:lnTo>
                      <a:pt x="16" y="377"/>
                    </a:lnTo>
                    <a:lnTo>
                      <a:pt x="18" y="377"/>
                    </a:lnTo>
                    <a:lnTo>
                      <a:pt x="16" y="377"/>
                    </a:lnTo>
                    <a:lnTo>
                      <a:pt x="16" y="375"/>
                    </a:lnTo>
                    <a:lnTo>
                      <a:pt x="14" y="375"/>
                    </a:lnTo>
                    <a:lnTo>
                      <a:pt x="14" y="373"/>
                    </a:lnTo>
                    <a:lnTo>
                      <a:pt x="16" y="373"/>
                    </a:lnTo>
                    <a:lnTo>
                      <a:pt x="16" y="371"/>
                    </a:lnTo>
                    <a:lnTo>
                      <a:pt x="18" y="371"/>
                    </a:lnTo>
                    <a:lnTo>
                      <a:pt x="16" y="371"/>
                    </a:lnTo>
                    <a:lnTo>
                      <a:pt x="16" y="373"/>
                    </a:lnTo>
                    <a:lnTo>
                      <a:pt x="18" y="371"/>
                    </a:lnTo>
                    <a:lnTo>
                      <a:pt x="23" y="373"/>
                    </a:lnTo>
                    <a:lnTo>
                      <a:pt x="25" y="373"/>
                    </a:lnTo>
                    <a:lnTo>
                      <a:pt x="27" y="375"/>
                    </a:lnTo>
                    <a:lnTo>
                      <a:pt x="29" y="375"/>
                    </a:lnTo>
                    <a:lnTo>
                      <a:pt x="31" y="375"/>
                    </a:lnTo>
                    <a:lnTo>
                      <a:pt x="33" y="375"/>
                    </a:lnTo>
                    <a:lnTo>
                      <a:pt x="35" y="375"/>
                    </a:lnTo>
                    <a:lnTo>
                      <a:pt x="35" y="377"/>
                    </a:lnTo>
                    <a:lnTo>
                      <a:pt x="37" y="377"/>
                    </a:lnTo>
                    <a:lnTo>
                      <a:pt x="39" y="377"/>
                    </a:lnTo>
                    <a:lnTo>
                      <a:pt x="39" y="379"/>
                    </a:lnTo>
                    <a:lnTo>
                      <a:pt x="41" y="381"/>
                    </a:lnTo>
                    <a:lnTo>
                      <a:pt x="43" y="381"/>
                    </a:lnTo>
                    <a:lnTo>
                      <a:pt x="43" y="383"/>
                    </a:lnTo>
                    <a:lnTo>
                      <a:pt x="44" y="385"/>
                    </a:lnTo>
                    <a:lnTo>
                      <a:pt x="46" y="387"/>
                    </a:lnTo>
                    <a:lnTo>
                      <a:pt x="48" y="387"/>
                    </a:lnTo>
                    <a:lnTo>
                      <a:pt x="48" y="389"/>
                    </a:lnTo>
                    <a:lnTo>
                      <a:pt x="52" y="390"/>
                    </a:lnTo>
                    <a:lnTo>
                      <a:pt x="54" y="390"/>
                    </a:lnTo>
                    <a:lnTo>
                      <a:pt x="56" y="392"/>
                    </a:lnTo>
                    <a:lnTo>
                      <a:pt x="58" y="394"/>
                    </a:lnTo>
                    <a:lnTo>
                      <a:pt x="64" y="396"/>
                    </a:lnTo>
                    <a:lnTo>
                      <a:pt x="64" y="398"/>
                    </a:lnTo>
                    <a:lnTo>
                      <a:pt x="64" y="400"/>
                    </a:lnTo>
                    <a:lnTo>
                      <a:pt x="64" y="398"/>
                    </a:lnTo>
                    <a:lnTo>
                      <a:pt x="62" y="398"/>
                    </a:lnTo>
                    <a:lnTo>
                      <a:pt x="64" y="398"/>
                    </a:lnTo>
                    <a:lnTo>
                      <a:pt x="64" y="396"/>
                    </a:lnTo>
                    <a:lnTo>
                      <a:pt x="62" y="396"/>
                    </a:lnTo>
                    <a:lnTo>
                      <a:pt x="60" y="396"/>
                    </a:lnTo>
                    <a:lnTo>
                      <a:pt x="62" y="396"/>
                    </a:lnTo>
                    <a:lnTo>
                      <a:pt x="60" y="396"/>
                    </a:lnTo>
                    <a:lnTo>
                      <a:pt x="62" y="398"/>
                    </a:lnTo>
                    <a:lnTo>
                      <a:pt x="62" y="400"/>
                    </a:lnTo>
                    <a:lnTo>
                      <a:pt x="64" y="400"/>
                    </a:lnTo>
                    <a:lnTo>
                      <a:pt x="64" y="402"/>
                    </a:lnTo>
                    <a:lnTo>
                      <a:pt x="66" y="402"/>
                    </a:lnTo>
                    <a:lnTo>
                      <a:pt x="66" y="404"/>
                    </a:lnTo>
                    <a:close/>
                    <a:moveTo>
                      <a:pt x="582" y="387"/>
                    </a:moveTo>
                    <a:lnTo>
                      <a:pt x="580" y="387"/>
                    </a:lnTo>
                    <a:lnTo>
                      <a:pt x="582" y="387"/>
                    </a:lnTo>
                    <a:lnTo>
                      <a:pt x="582" y="385"/>
                    </a:lnTo>
                    <a:lnTo>
                      <a:pt x="584" y="385"/>
                    </a:lnTo>
                    <a:lnTo>
                      <a:pt x="586" y="385"/>
                    </a:lnTo>
                    <a:lnTo>
                      <a:pt x="586" y="387"/>
                    </a:lnTo>
                    <a:lnTo>
                      <a:pt x="586" y="385"/>
                    </a:lnTo>
                    <a:lnTo>
                      <a:pt x="586" y="387"/>
                    </a:lnTo>
                    <a:lnTo>
                      <a:pt x="584" y="387"/>
                    </a:lnTo>
                    <a:lnTo>
                      <a:pt x="584" y="389"/>
                    </a:lnTo>
                    <a:lnTo>
                      <a:pt x="582" y="389"/>
                    </a:lnTo>
                    <a:lnTo>
                      <a:pt x="580" y="389"/>
                    </a:lnTo>
                    <a:lnTo>
                      <a:pt x="579" y="389"/>
                    </a:lnTo>
                    <a:lnTo>
                      <a:pt x="577" y="390"/>
                    </a:lnTo>
                    <a:lnTo>
                      <a:pt x="575" y="392"/>
                    </a:lnTo>
                    <a:lnTo>
                      <a:pt x="573" y="390"/>
                    </a:lnTo>
                    <a:lnTo>
                      <a:pt x="571" y="390"/>
                    </a:lnTo>
                    <a:lnTo>
                      <a:pt x="571" y="389"/>
                    </a:lnTo>
                    <a:lnTo>
                      <a:pt x="573" y="389"/>
                    </a:lnTo>
                    <a:lnTo>
                      <a:pt x="575" y="390"/>
                    </a:lnTo>
                    <a:lnTo>
                      <a:pt x="575" y="389"/>
                    </a:lnTo>
                    <a:lnTo>
                      <a:pt x="577" y="389"/>
                    </a:lnTo>
                    <a:lnTo>
                      <a:pt x="579" y="389"/>
                    </a:lnTo>
                    <a:lnTo>
                      <a:pt x="579" y="387"/>
                    </a:lnTo>
                    <a:lnTo>
                      <a:pt x="580" y="387"/>
                    </a:lnTo>
                    <a:lnTo>
                      <a:pt x="580" y="385"/>
                    </a:lnTo>
                    <a:lnTo>
                      <a:pt x="582" y="385"/>
                    </a:lnTo>
                    <a:lnTo>
                      <a:pt x="582" y="387"/>
                    </a:lnTo>
                    <a:close/>
                    <a:moveTo>
                      <a:pt x="730" y="292"/>
                    </a:moveTo>
                    <a:lnTo>
                      <a:pt x="730" y="294"/>
                    </a:lnTo>
                    <a:lnTo>
                      <a:pt x="728" y="294"/>
                    </a:lnTo>
                    <a:lnTo>
                      <a:pt x="725" y="298"/>
                    </a:lnTo>
                    <a:lnTo>
                      <a:pt x="723" y="298"/>
                    </a:lnTo>
                    <a:lnTo>
                      <a:pt x="723" y="300"/>
                    </a:lnTo>
                    <a:lnTo>
                      <a:pt x="721" y="300"/>
                    </a:lnTo>
                    <a:lnTo>
                      <a:pt x="719" y="300"/>
                    </a:lnTo>
                    <a:lnTo>
                      <a:pt x="717" y="300"/>
                    </a:lnTo>
                    <a:lnTo>
                      <a:pt x="717" y="302"/>
                    </a:lnTo>
                    <a:lnTo>
                      <a:pt x="717" y="300"/>
                    </a:lnTo>
                    <a:lnTo>
                      <a:pt x="717" y="302"/>
                    </a:lnTo>
                    <a:lnTo>
                      <a:pt x="715" y="302"/>
                    </a:lnTo>
                    <a:lnTo>
                      <a:pt x="713" y="304"/>
                    </a:lnTo>
                    <a:lnTo>
                      <a:pt x="711" y="304"/>
                    </a:lnTo>
                    <a:lnTo>
                      <a:pt x="711" y="306"/>
                    </a:lnTo>
                    <a:lnTo>
                      <a:pt x="711" y="308"/>
                    </a:lnTo>
                    <a:lnTo>
                      <a:pt x="709" y="308"/>
                    </a:lnTo>
                    <a:lnTo>
                      <a:pt x="707" y="306"/>
                    </a:lnTo>
                    <a:lnTo>
                      <a:pt x="705" y="306"/>
                    </a:lnTo>
                    <a:lnTo>
                      <a:pt x="705" y="308"/>
                    </a:lnTo>
                    <a:lnTo>
                      <a:pt x="703" y="308"/>
                    </a:lnTo>
                    <a:lnTo>
                      <a:pt x="701" y="308"/>
                    </a:lnTo>
                    <a:lnTo>
                      <a:pt x="700" y="308"/>
                    </a:lnTo>
                    <a:lnTo>
                      <a:pt x="698" y="308"/>
                    </a:lnTo>
                    <a:lnTo>
                      <a:pt x="698" y="310"/>
                    </a:lnTo>
                    <a:lnTo>
                      <a:pt x="700" y="310"/>
                    </a:lnTo>
                    <a:lnTo>
                      <a:pt x="698" y="310"/>
                    </a:lnTo>
                    <a:lnTo>
                      <a:pt x="696" y="310"/>
                    </a:lnTo>
                    <a:lnTo>
                      <a:pt x="696" y="308"/>
                    </a:lnTo>
                    <a:lnTo>
                      <a:pt x="694" y="308"/>
                    </a:lnTo>
                    <a:lnTo>
                      <a:pt x="694" y="306"/>
                    </a:lnTo>
                    <a:lnTo>
                      <a:pt x="694" y="304"/>
                    </a:lnTo>
                    <a:lnTo>
                      <a:pt x="694" y="302"/>
                    </a:lnTo>
                    <a:lnTo>
                      <a:pt x="696" y="302"/>
                    </a:lnTo>
                    <a:lnTo>
                      <a:pt x="698" y="300"/>
                    </a:lnTo>
                    <a:lnTo>
                      <a:pt x="700" y="298"/>
                    </a:lnTo>
                    <a:lnTo>
                      <a:pt x="700" y="296"/>
                    </a:lnTo>
                    <a:lnTo>
                      <a:pt x="700" y="294"/>
                    </a:lnTo>
                    <a:lnTo>
                      <a:pt x="700" y="292"/>
                    </a:lnTo>
                    <a:lnTo>
                      <a:pt x="701" y="292"/>
                    </a:lnTo>
                    <a:lnTo>
                      <a:pt x="701" y="290"/>
                    </a:lnTo>
                    <a:lnTo>
                      <a:pt x="703" y="290"/>
                    </a:lnTo>
                    <a:lnTo>
                      <a:pt x="705" y="290"/>
                    </a:lnTo>
                    <a:lnTo>
                      <a:pt x="707" y="290"/>
                    </a:lnTo>
                    <a:lnTo>
                      <a:pt x="709" y="290"/>
                    </a:lnTo>
                    <a:lnTo>
                      <a:pt x="711" y="290"/>
                    </a:lnTo>
                    <a:lnTo>
                      <a:pt x="713" y="290"/>
                    </a:lnTo>
                    <a:lnTo>
                      <a:pt x="711" y="290"/>
                    </a:lnTo>
                    <a:lnTo>
                      <a:pt x="713" y="290"/>
                    </a:lnTo>
                    <a:lnTo>
                      <a:pt x="715" y="290"/>
                    </a:lnTo>
                    <a:lnTo>
                      <a:pt x="717" y="290"/>
                    </a:lnTo>
                    <a:lnTo>
                      <a:pt x="715" y="290"/>
                    </a:lnTo>
                    <a:lnTo>
                      <a:pt x="717" y="290"/>
                    </a:lnTo>
                    <a:lnTo>
                      <a:pt x="717" y="292"/>
                    </a:lnTo>
                    <a:lnTo>
                      <a:pt x="717" y="290"/>
                    </a:lnTo>
                    <a:lnTo>
                      <a:pt x="719" y="292"/>
                    </a:lnTo>
                    <a:lnTo>
                      <a:pt x="721" y="292"/>
                    </a:lnTo>
                    <a:lnTo>
                      <a:pt x="723" y="292"/>
                    </a:lnTo>
                    <a:lnTo>
                      <a:pt x="725" y="292"/>
                    </a:lnTo>
                    <a:lnTo>
                      <a:pt x="725" y="290"/>
                    </a:lnTo>
                    <a:lnTo>
                      <a:pt x="725" y="292"/>
                    </a:lnTo>
                    <a:lnTo>
                      <a:pt x="725" y="290"/>
                    </a:lnTo>
                    <a:lnTo>
                      <a:pt x="725" y="289"/>
                    </a:lnTo>
                    <a:lnTo>
                      <a:pt x="725" y="287"/>
                    </a:lnTo>
                    <a:lnTo>
                      <a:pt x="726" y="287"/>
                    </a:lnTo>
                    <a:lnTo>
                      <a:pt x="728" y="285"/>
                    </a:lnTo>
                    <a:lnTo>
                      <a:pt x="730" y="285"/>
                    </a:lnTo>
                    <a:lnTo>
                      <a:pt x="732" y="285"/>
                    </a:lnTo>
                    <a:lnTo>
                      <a:pt x="734" y="285"/>
                    </a:lnTo>
                    <a:lnTo>
                      <a:pt x="736" y="285"/>
                    </a:lnTo>
                    <a:lnTo>
                      <a:pt x="734" y="287"/>
                    </a:lnTo>
                    <a:lnTo>
                      <a:pt x="732" y="287"/>
                    </a:lnTo>
                    <a:lnTo>
                      <a:pt x="730" y="287"/>
                    </a:lnTo>
                    <a:lnTo>
                      <a:pt x="730" y="289"/>
                    </a:lnTo>
                    <a:lnTo>
                      <a:pt x="728" y="289"/>
                    </a:lnTo>
                    <a:lnTo>
                      <a:pt x="728" y="290"/>
                    </a:lnTo>
                    <a:lnTo>
                      <a:pt x="728" y="292"/>
                    </a:lnTo>
                    <a:lnTo>
                      <a:pt x="730" y="294"/>
                    </a:lnTo>
                    <a:lnTo>
                      <a:pt x="730" y="292"/>
                    </a:lnTo>
                    <a:close/>
                    <a:moveTo>
                      <a:pt x="642" y="237"/>
                    </a:moveTo>
                    <a:lnTo>
                      <a:pt x="642" y="235"/>
                    </a:lnTo>
                    <a:lnTo>
                      <a:pt x="642" y="237"/>
                    </a:lnTo>
                    <a:close/>
                    <a:moveTo>
                      <a:pt x="602" y="239"/>
                    </a:moveTo>
                    <a:lnTo>
                      <a:pt x="604" y="237"/>
                    </a:lnTo>
                    <a:lnTo>
                      <a:pt x="604" y="239"/>
                    </a:lnTo>
                    <a:lnTo>
                      <a:pt x="602" y="239"/>
                    </a:lnTo>
                    <a:close/>
                    <a:moveTo>
                      <a:pt x="525" y="148"/>
                    </a:moveTo>
                    <a:lnTo>
                      <a:pt x="523" y="148"/>
                    </a:lnTo>
                    <a:lnTo>
                      <a:pt x="525" y="150"/>
                    </a:lnTo>
                    <a:lnTo>
                      <a:pt x="523" y="150"/>
                    </a:lnTo>
                    <a:lnTo>
                      <a:pt x="521" y="150"/>
                    </a:lnTo>
                    <a:lnTo>
                      <a:pt x="521" y="148"/>
                    </a:lnTo>
                    <a:lnTo>
                      <a:pt x="523" y="148"/>
                    </a:lnTo>
                    <a:lnTo>
                      <a:pt x="521" y="148"/>
                    </a:lnTo>
                    <a:lnTo>
                      <a:pt x="523" y="148"/>
                    </a:lnTo>
                    <a:lnTo>
                      <a:pt x="525" y="148"/>
                    </a:lnTo>
                    <a:close/>
                    <a:moveTo>
                      <a:pt x="575" y="133"/>
                    </a:moveTo>
                    <a:lnTo>
                      <a:pt x="575" y="135"/>
                    </a:lnTo>
                    <a:lnTo>
                      <a:pt x="577" y="135"/>
                    </a:lnTo>
                    <a:lnTo>
                      <a:pt x="579" y="135"/>
                    </a:lnTo>
                    <a:lnTo>
                      <a:pt x="580" y="135"/>
                    </a:lnTo>
                    <a:lnTo>
                      <a:pt x="582" y="135"/>
                    </a:lnTo>
                    <a:lnTo>
                      <a:pt x="580" y="135"/>
                    </a:lnTo>
                    <a:lnTo>
                      <a:pt x="582" y="135"/>
                    </a:lnTo>
                    <a:lnTo>
                      <a:pt x="584" y="135"/>
                    </a:lnTo>
                    <a:lnTo>
                      <a:pt x="582" y="135"/>
                    </a:lnTo>
                    <a:lnTo>
                      <a:pt x="582" y="137"/>
                    </a:lnTo>
                    <a:lnTo>
                      <a:pt x="582" y="135"/>
                    </a:lnTo>
                    <a:lnTo>
                      <a:pt x="582" y="137"/>
                    </a:lnTo>
                    <a:lnTo>
                      <a:pt x="584" y="137"/>
                    </a:lnTo>
                    <a:lnTo>
                      <a:pt x="584" y="135"/>
                    </a:lnTo>
                    <a:lnTo>
                      <a:pt x="584" y="137"/>
                    </a:lnTo>
                    <a:lnTo>
                      <a:pt x="584" y="135"/>
                    </a:lnTo>
                    <a:lnTo>
                      <a:pt x="586" y="135"/>
                    </a:lnTo>
                    <a:lnTo>
                      <a:pt x="584" y="135"/>
                    </a:lnTo>
                    <a:lnTo>
                      <a:pt x="586" y="135"/>
                    </a:lnTo>
                    <a:lnTo>
                      <a:pt x="584" y="137"/>
                    </a:lnTo>
                    <a:lnTo>
                      <a:pt x="584" y="135"/>
                    </a:lnTo>
                    <a:lnTo>
                      <a:pt x="584" y="137"/>
                    </a:lnTo>
                    <a:lnTo>
                      <a:pt x="586" y="137"/>
                    </a:lnTo>
                    <a:lnTo>
                      <a:pt x="584" y="135"/>
                    </a:lnTo>
                    <a:lnTo>
                      <a:pt x="586" y="135"/>
                    </a:lnTo>
                    <a:lnTo>
                      <a:pt x="586" y="137"/>
                    </a:lnTo>
                    <a:lnTo>
                      <a:pt x="586" y="135"/>
                    </a:lnTo>
                    <a:lnTo>
                      <a:pt x="586" y="137"/>
                    </a:lnTo>
                    <a:lnTo>
                      <a:pt x="586" y="135"/>
                    </a:lnTo>
                    <a:lnTo>
                      <a:pt x="588" y="135"/>
                    </a:lnTo>
                    <a:lnTo>
                      <a:pt x="590" y="135"/>
                    </a:lnTo>
                    <a:lnTo>
                      <a:pt x="588" y="135"/>
                    </a:lnTo>
                    <a:lnTo>
                      <a:pt x="590" y="135"/>
                    </a:lnTo>
                    <a:lnTo>
                      <a:pt x="592" y="135"/>
                    </a:lnTo>
                    <a:lnTo>
                      <a:pt x="590" y="135"/>
                    </a:lnTo>
                    <a:lnTo>
                      <a:pt x="592" y="135"/>
                    </a:lnTo>
                    <a:lnTo>
                      <a:pt x="594" y="135"/>
                    </a:lnTo>
                    <a:lnTo>
                      <a:pt x="592" y="135"/>
                    </a:lnTo>
                    <a:lnTo>
                      <a:pt x="594" y="135"/>
                    </a:lnTo>
                    <a:lnTo>
                      <a:pt x="596" y="135"/>
                    </a:lnTo>
                    <a:lnTo>
                      <a:pt x="598" y="137"/>
                    </a:lnTo>
                    <a:lnTo>
                      <a:pt x="596" y="137"/>
                    </a:lnTo>
                    <a:lnTo>
                      <a:pt x="598" y="137"/>
                    </a:lnTo>
                    <a:lnTo>
                      <a:pt x="596" y="137"/>
                    </a:lnTo>
                    <a:lnTo>
                      <a:pt x="598" y="137"/>
                    </a:lnTo>
                    <a:lnTo>
                      <a:pt x="596" y="137"/>
                    </a:lnTo>
                    <a:lnTo>
                      <a:pt x="598" y="137"/>
                    </a:lnTo>
                    <a:lnTo>
                      <a:pt x="596" y="137"/>
                    </a:lnTo>
                    <a:lnTo>
                      <a:pt x="598" y="137"/>
                    </a:lnTo>
                    <a:lnTo>
                      <a:pt x="598" y="139"/>
                    </a:lnTo>
                    <a:lnTo>
                      <a:pt x="600" y="139"/>
                    </a:lnTo>
                    <a:lnTo>
                      <a:pt x="600" y="141"/>
                    </a:lnTo>
                    <a:lnTo>
                      <a:pt x="598" y="141"/>
                    </a:lnTo>
                    <a:lnTo>
                      <a:pt x="600" y="141"/>
                    </a:lnTo>
                    <a:lnTo>
                      <a:pt x="602" y="141"/>
                    </a:lnTo>
                    <a:lnTo>
                      <a:pt x="600" y="141"/>
                    </a:lnTo>
                    <a:lnTo>
                      <a:pt x="602" y="141"/>
                    </a:lnTo>
                    <a:lnTo>
                      <a:pt x="604" y="141"/>
                    </a:lnTo>
                    <a:lnTo>
                      <a:pt x="602" y="141"/>
                    </a:lnTo>
                    <a:lnTo>
                      <a:pt x="604" y="141"/>
                    </a:lnTo>
                    <a:lnTo>
                      <a:pt x="602" y="141"/>
                    </a:lnTo>
                    <a:lnTo>
                      <a:pt x="604" y="141"/>
                    </a:lnTo>
                    <a:lnTo>
                      <a:pt x="602" y="141"/>
                    </a:lnTo>
                    <a:lnTo>
                      <a:pt x="604" y="141"/>
                    </a:lnTo>
                    <a:lnTo>
                      <a:pt x="604" y="142"/>
                    </a:lnTo>
                    <a:lnTo>
                      <a:pt x="602" y="142"/>
                    </a:lnTo>
                    <a:lnTo>
                      <a:pt x="604" y="142"/>
                    </a:lnTo>
                    <a:lnTo>
                      <a:pt x="602" y="142"/>
                    </a:lnTo>
                    <a:lnTo>
                      <a:pt x="600" y="142"/>
                    </a:lnTo>
                    <a:lnTo>
                      <a:pt x="598" y="142"/>
                    </a:lnTo>
                    <a:lnTo>
                      <a:pt x="596" y="142"/>
                    </a:lnTo>
                    <a:lnTo>
                      <a:pt x="594" y="142"/>
                    </a:lnTo>
                    <a:lnTo>
                      <a:pt x="596" y="142"/>
                    </a:lnTo>
                    <a:lnTo>
                      <a:pt x="594" y="142"/>
                    </a:lnTo>
                    <a:lnTo>
                      <a:pt x="592" y="142"/>
                    </a:lnTo>
                    <a:lnTo>
                      <a:pt x="592" y="144"/>
                    </a:lnTo>
                    <a:lnTo>
                      <a:pt x="590" y="144"/>
                    </a:lnTo>
                    <a:lnTo>
                      <a:pt x="588" y="144"/>
                    </a:lnTo>
                    <a:lnTo>
                      <a:pt x="586" y="144"/>
                    </a:lnTo>
                    <a:lnTo>
                      <a:pt x="584" y="144"/>
                    </a:lnTo>
                    <a:lnTo>
                      <a:pt x="584" y="146"/>
                    </a:lnTo>
                    <a:lnTo>
                      <a:pt x="584" y="144"/>
                    </a:lnTo>
                    <a:lnTo>
                      <a:pt x="584" y="146"/>
                    </a:lnTo>
                    <a:lnTo>
                      <a:pt x="582" y="146"/>
                    </a:lnTo>
                    <a:lnTo>
                      <a:pt x="584" y="146"/>
                    </a:lnTo>
                    <a:lnTo>
                      <a:pt x="582" y="146"/>
                    </a:lnTo>
                    <a:lnTo>
                      <a:pt x="584" y="146"/>
                    </a:lnTo>
                    <a:lnTo>
                      <a:pt x="586" y="144"/>
                    </a:lnTo>
                    <a:lnTo>
                      <a:pt x="588" y="144"/>
                    </a:lnTo>
                    <a:lnTo>
                      <a:pt x="590" y="144"/>
                    </a:lnTo>
                    <a:lnTo>
                      <a:pt x="592" y="144"/>
                    </a:lnTo>
                    <a:lnTo>
                      <a:pt x="592" y="142"/>
                    </a:lnTo>
                    <a:lnTo>
                      <a:pt x="594" y="142"/>
                    </a:lnTo>
                    <a:lnTo>
                      <a:pt x="596" y="142"/>
                    </a:lnTo>
                    <a:lnTo>
                      <a:pt x="594" y="142"/>
                    </a:lnTo>
                    <a:lnTo>
                      <a:pt x="596" y="142"/>
                    </a:lnTo>
                    <a:lnTo>
                      <a:pt x="594" y="142"/>
                    </a:lnTo>
                    <a:lnTo>
                      <a:pt x="596" y="142"/>
                    </a:lnTo>
                    <a:lnTo>
                      <a:pt x="594" y="144"/>
                    </a:lnTo>
                    <a:lnTo>
                      <a:pt x="592" y="146"/>
                    </a:lnTo>
                    <a:lnTo>
                      <a:pt x="590" y="146"/>
                    </a:lnTo>
                    <a:lnTo>
                      <a:pt x="590" y="148"/>
                    </a:lnTo>
                    <a:lnTo>
                      <a:pt x="590" y="146"/>
                    </a:lnTo>
                    <a:lnTo>
                      <a:pt x="590" y="148"/>
                    </a:lnTo>
                    <a:lnTo>
                      <a:pt x="592" y="148"/>
                    </a:lnTo>
                    <a:lnTo>
                      <a:pt x="590" y="148"/>
                    </a:lnTo>
                    <a:lnTo>
                      <a:pt x="588" y="148"/>
                    </a:lnTo>
                    <a:lnTo>
                      <a:pt x="588" y="150"/>
                    </a:lnTo>
                    <a:lnTo>
                      <a:pt x="588" y="148"/>
                    </a:lnTo>
                    <a:lnTo>
                      <a:pt x="588" y="150"/>
                    </a:lnTo>
                    <a:lnTo>
                      <a:pt x="586" y="150"/>
                    </a:lnTo>
                    <a:lnTo>
                      <a:pt x="588" y="150"/>
                    </a:lnTo>
                    <a:lnTo>
                      <a:pt x="586" y="150"/>
                    </a:lnTo>
                    <a:lnTo>
                      <a:pt x="586" y="152"/>
                    </a:lnTo>
                    <a:lnTo>
                      <a:pt x="584" y="152"/>
                    </a:lnTo>
                    <a:lnTo>
                      <a:pt x="582" y="152"/>
                    </a:lnTo>
                    <a:lnTo>
                      <a:pt x="580" y="152"/>
                    </a:lnTo>
                    <a:lnTo>
                      <a:pt x="579" y="154"/>
                    </a:lnTo>
                    <a:lnTo>
                      <a:pt x="577" y="154"/>
                    </a:lnTo>
                    <a:lnTo>
                      <a:pt x="575" y="154"/>
                    </a:lnTo>
                    <a:lnTo>
                      <a:pt x="573" y="154"/>
                    </a:lnTo>
                    <a:lnTo>
                      <a:pt x="573" y="156"/>
                    </a:lnTo>
                    <a:lnTo>
                      <a:pt x="571" y="156"/>
                    </a:lnTo>
                    <a:lnTo>
                      <a:pt x="573" y="156"/>
                    </a:lnTo>
                    <a:lnTo>
                      <a:pt x="571" y="156"/>
                    </a:lnTo>
                    <a:lnTo>
                      <a:pt x="569" y="156"/>
                    </a:lnTo>
                    <a:lnTo>
                      <a:pt x="567" y="156"/>
                    </a:lnTo>
                    <a:lnTo>
                      <a:pt x="565" y="156"/>
                    </a:lnTo>
                    <a:lnTo>
                      <a:pt x="565" y="158"/>
                    </a:lnTo>
                    <a:lnTo>
                      <a:pt x="563" y="158"/>
                    </a:lnTo>
                    <a:lnTo>
                      <a:pt x="563" y="156"/>
                    </a:lnTo>
                    <a:lnTo>
                      <a:pt x="563" y="158"/>
                    </a:lnTo>
                    <a:lnTo>
                      <a:pt x="565" y="158"/>
                    </a:lnTo>
                    <a:lnTo>
                      <a:pt x="563" y="158"/>
                    </a:lnTo>
                    <a:lnTo>
                      <a:pt x="565" y="158"/>
                    </a:lnTo>
                    <a:lnTo>
                      <a:pt x="563" y="158"/>
                    </a:lnTo>
                    <a:lnTo>
                      <a:pt x="563" y="160"/>
                    </a:lnTo>
                    <a:lnTo>
                      <a:pt x="561" y="160"/>
                    </a:lnTo>
                    <a:lnTo>
                      <a:pt x="561" y="162"/>
                    </a:lnTo>
                    <a:lnTo>
                      <a:pt x="563" y="162"/>
                    </a:lnTo>
                    <a:lnTo>
                      <a:pt x="561" y="162"/>
                    </a:lnTo>
                    <a:lnTo>
                      <a:pt x="563" y="162"/>
                    </a:lnTo>
                    <a:lnTo>
                      <a:pt x="565" y="164"/>
                    </a:lnTo>
                    <a:lnTo>
                      <a:pt x="567" y="164"/>
                    </a:lnTo>
                    <a:lnTo>
                      <a:pt x="565" y="164"/>
                    </a:lnTo>
                    <a:lnTo>
                      <a:pt x="565" y="166"/>
                    </a:lnTo>
                    <a:lnTo>
                      <a:pt x="567" y="166"/>
                    </a:lnTo>
                    <a:lnTo>
                      <a:pt x="565" y="166"/>
                    </a:lnTo>
                    <a:lnTo>
                      <a:pt x="567" y="166"/>
                    </a:lnTo>
                    <a:lnTo>
                      <a:pt x="565" y="166"/>
                    </a:lnTo>
                    <a:lnTo>
                      <a:pt x="567" y="166"/>
                    </a:lnTo>
                    <a:lnTo>
                      <a:pt x="569" y="166"/>
                    </a:lnTo>
                    <a:lnTo>
                      <a:pt x="571" y="166"/>
                    </a:lnTo>
                    <a:lnTo>
                      <a:pt x="571" y="167"/>
                    </a:lnTo>
                    <a:lnTo>
                      <a:pt x="573" y="167"/>
                    </a:lnTo>
                    <a:lnTo>
                      <a:pt x="573" y="169"/>
                    </a:lnTo>
                    <a:lnTo>
                      <a:pt x="571" y="169"/>
                    </a:lnTo>
                    <a:lnTo>
                      <a:pt x="571" y="171"/>
                    </a:lnTo>
                    <a:lnTo>
                      <a:pt x="573" y="171"/>
                    </a:lnTo>
                    <a:lnTo>
                      <a:pt x="571" y="171"/>
                    </a:lnTo>
                    <a:lnTo>
                      <a:pt x="573" y="171"/>
                    </a:lnTo>
                    <a:lnTo>
                      <a:pt x="571" y="171"/>
                    </a:lnTo>
                    <a:lnTo>
                      <a:pt x="573" y="169"/>
                    </a:lnTo>
                    <a:lnTo>
                      <a:pt x="573" y="167"/>
                    </a:lnTo>
                    <a:lnTo>
                      <a:pt x="571" y="167"/>
                    </a:lnTo>
                    <a:lnTo>
                      <a:pt x="571" y="166"/>
                    </a:lnTo>
                    <a:lnTo>
                      <a:pt x="571" y="167"/>
                    </a:lnTo>
                    <a:lnTo>
                      <a:pt x="571" y="166"/>
                    </a:lnTo>
                    <a:lnTo>
                      <a:pt x="569" y="166"/>
                    </a:lnTo>
                    <a:lnTo>
                      <a:pt x="567" y="166"/>
                    </a:lnTo>
                    <a:lnTo>
                      <a:pt x="565" y="164"/>
                    </a:lnTo>
                    <a:lnTo>
                      <a:pt x="567" y="164"/>
                    </a:lnTo>
                    <a:lnTo>
                      <a:pt x="565" y="164"/>
                    </a:lnTo>
                    <a:lnTo>
                      <a:pt x="565" y="162"/>
                    </a:lnTo>
                    <a:lnTo>
                      <a:pt x="563" y="162"/>
                    </a:lnTo>
                    <a:lnTo>
                      <a:pt x="561" y="162"/>
                    </a:lnTo>
                    <a:lnTo>
                      <a:pt x="561" y="160"/>
                    </a:lnTo>
                    <a:lnTo>
                      <a:pt x="563" y="160"/>
                    </a:lnTo>
                    <a:lnTo>
                      <a:pt x="561" y="160"/>
                    </a:lnTo>
                    <a:lnTo>
                      <a:pt x="563" y="160"/>
                    </a:lnTo>
                    <a:lnTo>
                      <a:pt x="561" y="160"/>
                    </a:lnTo>
                    <a:lnTo>
                      <a:pt x="563" y="160"/>
                    </a:lnTo>
                    <a:lnTo>
                      <a:pt x="561" y="160"/>
                    </a:lnTo>
                    <a:lnTo>
                      <a:pt x="563" y="160"/>
                    </a:lnTo>
                    <a:lnTo>
                      <a:pt x="563" y="158"/>
                    </a:lnTo>
                    <a:lnTo>
                      <a:pt x="565" y="158"/>
                    </a:lnTo>
                    <a:lnTo>
                      <a:pt x="567" y="158"/>
                    </a:lnTo>
                    <a:lnTo>
                      <a:pt x="569" y="158"/>
                    </a:lnTo>
                    <a:lnTo>
                      <a:pt x="571" y="158"/>
                    </a:lnTo>
                    <a:lnTo>
                      <a:pt x="573" y="158"/>
                    </a:lnTo>
                    <a:lnTo>
                      <a:pt x="571" y="158"/>
                    </a:lnTo>
                    <a:lnTo>
                      <a:pt x="573" y="158"/>
                    </a:lnTo>
                    <a:lnTo>
                      <a:pt x="575" y="158"/>
                    </a:lnTo>
                    <a:lnTo>
                      <a:pt x="575" y="156"/>
                    </a:lnTo>
                    <a:lnTo>
                      <a:pt x="577" y="156"/>
                    </a:lnTo>
                    <a:lnTo>
                      <a:pt x="575" y="156"/>
                    </a:lnTo>
                    <a:lnTo>
                      <a:pt x="577" y="156"/>
                    </a:lnTo>
                    <a:lnTo>
                      <a:pt x="575" y="156"/>
                    </a:lnTo>
                    <a:lnTo>
                      <a:pt x="577" y="156"/>
                    </a:lnTo>
                    <a:lnTo>
                      <a:pt x="577" y="158"/>
                    </a:lnTo>
                    <a:lnTo>
                      <a:pt x="577" y="156"/>
                    </a:lnTo>
                    <a:lnTo>
                      <a:pt x="577" y="158"/>
                    </a:lnTo>
                    <a:lnTo>
                      <a:pt x="579" y="158"/>
                    </a:lnTo>
                    <a:lnTo>
                      <a:pt x="580" y="158"/>
                    </a:lnTo>
                    <a:lnTo>
                      <a:pt x="582" y="158"/>
                    </a:lnTo>
                    <a:lnTo>
                      <a:pt x="584" y="156"/>
                    </a:lnTo>
                    <a:lnTo>
                      <a:pt x="586" y="156"/>
                    </a:lnTo>
                    <a:lnTo>
                      <a:pt x="588" y="156"/>
                    </a:lnTo>
                    <a:lnTo>
                      <a:pt x="590" y="156"/>
                    </a:lnTo>
                    <a:lnTo>
                      <a:pt x="592" y="156"/>
                    </a:lnTo>
                    <a:lnTo>
                      <a:pt x="592" y="154"/>
                    </a:lnTo>
                    <a:lnTo>
                      <a:pt x="594" y="154"/>
                    </a:lnTo>
                    <a:lnTo>
                      <a:pt x="596" y="154"/>
                    </a:lnTo>
                    <a:lnTo>
                      <a:pt x="598" y="154"/>
                    </a:lnTo>
                    <a:lnTo>
                      <a:pt x="598" y="152"/>
                    </a:lnTo>
                    <a:lnTo>
                      <a:pt x="600" y="152"/>
                    </a:lnTo>
                    <a:lnTo>
                      <a:pt x="598" y="152"/>
                    </a:lnTo>
                    <a:lnTo>
                      <a:pt x="598" y="154"/>
                    </a:lnTo>
                    <a:lnTo>
                      <a:pt x="598" y="156"/>
                    </a:lnTo>
                    <a:lnTo>
                      <a:pt x="596" y="156"/>
                    </a:lnTo>
                    <a:lnTo>
                      <a:pt x="596" y="158"/>
                    </a:lnTo>
                    <a:lnTo>
                      <a:pt x="594" y="158"/>
                    </a:lnTo>
                    <a:lnTo>
                      <a:pt x="592" y="158"/>
                    </a:lnTo>
                    <a:lnTo>
                      <a:pt x="590" y="158"/>
                    </a:lnTo>
                    <a:lnTo>
                      <a:pt x="592" y="158"/>
                    </a:lnTo>
                    <a:lnTo>
                      <a:pt x="590" y="158"/>
                    </a:lnTo>
                    <a:lnTo>
                      <a:pt x="590" y="160"/>
                    </a:lnTo>
                    <a:lnTo>
                      <a:pt x="588" y="160"/>
                    </a:lnTo>
                    <a:lnTo>
                      <a:pt x="590" y="160"/>
                    </a:lnTo>
                    <a:lnTo>
                      <a:pt x="590" y="162"/>
                    </a:lnTo>
                    <a:lnTo>
                      <a:pt x="592" y="162"/>
                    </a:lnTo>
                    <a:lnTo>
                      <a:pt x="590" y="162"/>
                    </a:lnTo>
                    <a:lnTo>
                      <a:pt x="592" y="162"/>
                    </a:lnTo>
                    <a:lnTo>
                      <a:pt x="590" y="162"/>
                    </a:lnTo>
                    <a:lnTo>
                      <a:pt x="590" y="160"/>
                    </a:lnTo>
                    <a:lnTo>
                      <a:pt x="592" y="160"/>
                    </a:lnTo>
                    <a:lnTo>
                      <a:pt x="590" y="160"/>
                    </a:lnTo>
                    <a:lnTo>
                      <a:pt x="592" y="160"/>
                    </a:lnTo>
                    <a:lnTo>
                      <a:pt x="594" y="160"/>
                    </a:lnTo>
                    <a:lnTo>
                      <a:pt x="596" y="160"/>
                    </a:lnTo>
                    <a:lnTo>
                      <a:pt x="598" y="160"/>
                    </a:lnTo>
                    <a:lnTo>
                      <a:pt x="598" y="158"/>
                    </a:lnTo>
                    <a:lnTo>
                      <a:pt x="600" y="160"/>
                    </a:lnTo>
                    <a:lnTo>
                      <a:pt x="600" y="158"/>
                    </a:lnTo>
                    <a:lnTo>
                      <a:pt x="602" y="158"/>
                    </a:lnTo>
                    <a:lnTo>
                      <a:pt x="600" y="158"/>
                    </a:lnTo>
                    <a:lnTo>
                      <a:pt x="602" y="158"/>
                    </a:lnTo>
                    <a:lnTo>
                      <a:pt x="602" y="156"/>
                    </a:lnTo>
                    <a:lnTo>
                      <a:pt x="604" y="156"/>
                    </a:lnTo>
                    <a:lnTo>
                      <a:pt x="602" y="156"/>
                    </a:lnTo>
                    <a:lnTo>
                      <a:pt x="604" y="156"/>
                    </a:lnTo>
                    <a:lnTo>
                      <a:pt x="605" y="156"/>
                    </a:lnTo>
                    <a:lnTo>
                      <a:pt x="607" y="156"/>
                    </a:lnTo>
                    <a:lnTo>
                      <a:pt x="609" y="156"/>
                    </a:lnTo>
                    <a:lnTo>
                      <a:pt x="607" y="156"/>
                    </a:lnTo>
                    <a:lnTo>
                      <a:pt x="609" y="156"/>
                    </a:lnTo>
                    <a:lnTo>
                      <a:pt x="609" y="158"/>
                    </a:lnTo>
                    <a:lnTo>
                      <a:pt x="609" y="156"/>
                    </a:lnTo>
                    <a:lnTo>
                      <a:pt x="611" y="156"/>
                    </a:lnTo>
                    <a:lnTo>
                      <a:pt x="611" y="158"/>
                    </a:lnTo>
                    <a:lnTo>
                      <a:pt x="611" y="156"/>
                    </a:lnTo>
                    <a:lnTo>
                      <a:pt x="613" y="156"/>
                    </a:lnTo>
                    <a:lnTo>
                      <a:pt x="611" y="156"/>
                    </a:lnTo>
                    <a:lnTo>
                      <a:pt x="613" y="156"/>
                    </a:lnTo>
                    <a:lnTo>
                      <a:pt x="613" y="158"/>
                    </a:lnTo>
                    <a:lnTo>
                      <a:pt x="613" y="156"/>
                    </a:lnTo>
                    <a:lnTo>
                      <a:pt x="613" y="158"/>
                    </a:lnTo>
                    <a:lnTo>
                      <a:pt x="611" y="158"/>
                    </a:lnTo>
                    <a:lnTo>
                      <a:pt x="609" y="158"/>
                    </a:lnTo>
                    <a:lnTo>
                      <a:pt x="611" y="158"/>
                    </a:lnTo>
                    <a:lnTo>
                      <a:pt x="609" y="158"/>
                    </a:lnTo>
                    <a:lnTo>
                      <a:pt x="611" y="158"/>
                    </a:lnTo>
                    <a:lnTo>
                      <a:pt x="613" y="158"/>
                    </a:lnTo>
                    <a:lnTo>
                      <a:pt x="613" y="156"/>
                    </a:lnTo>
                    <a:lnTo>
                      <a:pt x="613" y="158"/>
                    </a:lnTo>
                    <a:lnTo>
                      <a:pt x="613" y="156"/>
                    </a:lnTo>
                    <a:lnTo>
                      <a:pt x="615" y="156"/>
                    </a:lnTo>
                    <a:lnTo>
                      <a:pt x="617" y="156"/>
                    </a:lnTo>
                    <a:lnTo>
                      <a:pt x="615" y="156"/>
                    </a:lnTo>
                    <a:lnTo>
                      <a:pt x="617" y="156"/>
                    </a:lnTo>
                    <a:lnTo>
                      <a:pt x="615" y="156"/>
                    </a:lnTo>
                    <a:lnTo>
                      <a:pt x="613" y="156"/>
                    </a:lnTo>
                    <a:lnTo>
                      <a:pt x="615" y="156"/>
                    </a:lnTo>
                    <a:lnTo>
                      <a:pt x="613" y="156"/>
                    </a:lnTo>
                    <a:lnTo>
                      <a:pt x="615" y="156"/>
                    </a:lnTo>
                    <a:lnTo>
                      <a:pt x="617" y="156"/>
                    </a:lnTo>
                    <a:lnTo>
                      <a:pt x="615" y="156"/>
                    </a:lnTo>
                    <a:lnTo>
                      <a:pt x="617" y="156"/>
                    </a:lnTo>
                    <a:lnTo>
                      <a:pt x="615" y="156"/>
                    </a:lnTo>
                    <a:lnTo>
                      <a:pt x="615" y="154"/>
                    </a:lnTo>
                    <a:lnTo>
                      <a:pt x="617" y="154"/>
                    </a:lnTo>
                    <a:lnTo>
                      <a:pt x="619" y="154"/>
                    </a:lnTo>
                    <a:lnTo>
                      <a:pt x="617" y="154"/>
                    </a:lnTo>
                    <a:lnTo>
                      <a:pt x="619" y="154"/>
                    </a:lnTo>
                    <a:lnTo>
                      <a:pt x="617" y="154"/>
                    </a:lnTo>
                    <a:lnTo>
                      <a:pt x="619" y="154"/>
                    </a:lnTo>
                    <a:lnTo>
                      <a:pt x="619" y="156"/>
                    </a:lnTo>
                    <a:lnTo>
                      <a:pt x="621" y="156"/>
                    </a:lnTo>
                    <a:lnTo>
                      <a:pt x="619" y="156"/>
                    </a:lnTo>
                    <a:lnTo>
                      <a:pt x="621" y="156"/>
                    </a:lnTo>
                    <a:lnTo>
                      <a:pt x="621" y="154"/>
                    </a:lnTo>
                    <a:lnTo>
                      <a:pt x="621" y="156"/>
                    </a:lnTo>
                    <a:lnTo>
                      <a:pt x="619" y="156"/>
                    </a:lnTo>
                    <a:lnTo>
                      <a:pt x="621" y="156"/>
                    </a:lnTo>
                    <a:lnTo>
                      <a:pt x="623" y="156"/>
                    </a:lnTo>
                    <a:lnTo>
                      <a:pt x="625" y="156"/>
                    </a:lnTo>
                    <a:lnTo>
                      <a:pt x="627" y="156"/>
                    </a:lnTo>
                    <a:lnTo>
                      <a:pt x="627" y="158"/>
                    </a:lnTo>
                    <a:lnTo>
                      <a:pt x="628" y="158"/>
                    </a:lnTo>
                    <a:lnTo>
                      <a:pt x="630" y="158"/>
                    </a:lnTo>
                    <a:lnTo>
                      <a:pt x="628" y="158"/>
                    </a:lnTo>
                    <a:lnTo>
                      <a:pt x="630" y="158"/>
                    </a:lnTo>
                    <a:lnTo>
                      <a:pt x="630" y="160"/>
                    </a:lnTo>
                    <a:lnTo>
                      <a:pt x="630" y="158"/>
                    </a:lnTo>
                    <a:lnTo>
                      <a:pt x="630" y="160"/>
                    </a:lnTo>
                    <a:lnTo>
                      <a:pt x="628" y="160"/>
                    </a:lnTo>
                    <a:lnTo>
                      <a:pt x="627" y="160"/>
                    </a:lnTo>
                    <a:lnTo>
                      <a:pt x="625" y="160"/>
                    </a:lnTo>
                    <a:lnTo>
                      <a:pt x="625" y="162"/>
                    </a:lnTo>
                    <a:lnTo>
                      <a:pt x="625" y="160"/>
                    </a:lnTo>
                    <a:lnTo>
                      <a:pt x="625" y="162"/>
                    </a:lnTo>
                    <a:lnTo>
                      <a:pt x="625" y="160"/>
                    </a:lnTo>
                    <a:lnTo>
                      <a:pt x="625" y="162"/>
                    </a:lnTo>
                    <a:lnTo>
                      <a:pt x="627" y="162"/>
                    </a:lnTo>
                    <a:lnTo>
                      <a:pt x="627" y="160"/>
                    </a:lnTo>
                    <a:lnTo>
                      <a:pt x="627" y="162"/>
                    </a:lnTo>
                    <a:lnTo>
                      <a:pt x="627" y="160"/>
                    </a:lnTo>
                    <a:lnTo>
                      <a:pt x="627" y="162"/>
                    </a:lnTo>
                    <a:lnTo>
                      <a:pt x="627" y="160"/>
                    </a:lnTo>
                    <a:lnTo>
                      <a:pt x="627" y="162"/>
                    </a:lnTo>
                    <a:lnTo>
                      <a:pt x="628" y="160"/>
                    </a:lnTo>
                    <a:lnTo>
                      <a:pt x="628" y="162"/>
                    </a:lnTo>
                    <a:lnTo>
                      <a:pt x="628" y="160"/>
                    </a:lnTo>
                    <a:lnTo>
                      <a:pt x="628" y="162"/>
                    </a:lnTo>
                    <a:lnTo>
                      <a:pt x="627" y="162"/>
                    </a:lnTo>
                    <a:lnTo>
                      <a:pt x="625" y="162"/>
                    </a:lnTo>
                    <a:lnTo>
                      <a:pt x="625" y="164"/>
                    </a:lnTo>
                    <a:lnTo>
                      <a:pt x="627" y="164"/>
                    </a:lnTo>
                    <a:lnTo>
                      <a:pt x="627" y="162"/>
                    </a:lnTo>
                    <a:lnTo>
                      <a:pt x="627" y="164"/>
                    </a:lnTo>
                    <a:lnTo>
                      <a:pt x="627" y="162"/>
                    </a:lnTo>
                    <a:lnTo>
                      <a:pt x="627" y="164"/>
                    </a:lnTo>
                    <a:lnTo>
                      <a:pt x="625" y="164"/>
                    </a:lnTo>
                    <a:lnTo>
                      <a:pt x="623" y="166"/>
                    </a:lnTo>
                    <a:lnTo>
                      <a:pt x="623" y="164"/>
                    </a:lnTo>
                    <a:lnTo>
                      <a:pt x="623" y="166"/>
                    </a:lnTo>
                    <a:lnTo>
                      <a:pt x="623" y="167"/>
                    </a:lnTo>
                    <a:lnTo>
                      <a:pt x="621" y="167"/>
                    </a:lnTo>
                    <a:lnTo>
                      <a:pt x="621" y="169"/>
                    </a:lnTo>
                    <a:lnTo>
                      <a:pt x="619" y="169"/>
                    </a:lnTo>
                    <a:lnTo>
                      <a:pt x="617" y="169"/>
                    </a:lnTo>
                    <a:lnTo>
                      <a:pt x="617" y="171"/>
                    </a:lnTo>
                    <a:lnTo>
                      <a:pt x="619" y="171"/>
                    </a:lnTo>
                    <a:lnTo>
                      <a:pt x="617" y="171"/>
                    </a:lnTo>
                    <a:lnTo>
                      <a:pt x="617" y="173"/>
                    </a:lnTo>
                    <a:lnTo>
                      <a:pt x="617" y="171"/>
                    </a:lnTo>
                    <a:lnTo>
                      <a:pt x="617" y="173"/>
                    </a:lnTo>
                    <a:lnTo>
                      <a:pt x="619" y="173"/>
                    </a:lnTo>
                    <a:lnTo>
                      <a:pt x="617" y="173"/>
                    </a:lnTo>
                    <a:lnTo>
                      <a:pt x="619" y="173"/>
                    </a:lnTo>
                    <a:lnTo>
                      <a:pt x="617" y="173"/>
                    </a:lnTo>
                    <a:lnTo>
                      <a:pt x="617" y="175"/>
                    </a:lnTo>
                    <a:lnTo>
                      <a:pt x="617" y="177"/>
                    </a:lnTo>
                    <a:lnTo>
                      <a:pt x="615" y="177"/>
                    </a:lnTo>
                    <a:lnTo>
                      <a:pt x="613" y="175"/>
                    </a:lnTo>
                    <a:lnTo>
                      <a:pt x="615" y="175"/>
                    </a:lnTo>
                    <a:lnTo>
                      <a:pt x="613" y="175"/>
                    </a:lnTo>
                    <a:lnTo>
                      <a:pt x="611" y="175"/>
                    </a:lnTo>
                    <a:lnTo>
                      <a:pt x="613" y="175"/>
                    </a:lnTo>
                    <a:lnTo>
                      <a:pt x="611" y="175"/>
                    </a:lnTo>
                    <a:lnTo>
                      <a:pt x="613" y="175"/>
                    </a:lnTo>
                    <a:lnTo>
                      <a:pt x="611" y="175"/>
                    </a:lnTo>
                    <a:lnTo>
                      <a:pt x="611" y="177"/>
                    </a:lnTo>
                    <a:lnTo>
                      <a:pt x="611" y="175"/>
                    </a:lnTo>
                    <a:lnTo>
                      <a:pt x="611" y="177"/>
                    </a:lnTo>
                    <a:lnTo>
                      <a:pt x="611" y="179"/>
                    </a:lnTo>
                    <a:lnTo>
                      <a:pt x="613" y="179"/>
                    </a:lnTo>
                    <a:lnTo>
                      <a:pt x="613" y="181"/>
                    </a:lnTo>
                    <a:lnTo>
                      <a:pt x="613" y="179"/>
                    </a:lnTo>
                    <a:lnTo>
                      <a:pt x="615" y="179"/>
                    </a:lnTo>
                    <a:lnTo>
                      <a:pt x="615" y="181"/>
                    </a:lnTo>
                    <a:lnTo>
                      <a:pt x="617" y="179"/>
                    </a:lnTo>
                    <a:lnTo>
                      <a:pt x="619" y="179"/>
                    </a:lnTo>
                    <a:lnTo>
                      <a:pt x="619" y="181"/>
                    </a:lnTo>
                    <a:lnTo>
                      <a:pt x="621" y="181"/>
                    </a:lnTo>
                    <a:lnTo>
                      <a:pt x="621" y="179"/>
                    </a:lnTo>
                    <a:lnTo>
                      <a:pt x="623" y="179"/>
                    </a:lnTo>
                    <a:lnTo>
                      <a:pt x="625" y="179"/>
                    </a:lnTo>
                    <a:lnTo>
                      <a:pt x="627" y="179"/>
                    </a:lnTo>
                    <a:lnTo>
                      <a:pt x="625" y="177"/>
                    </a:lnTo>
                    <a:lnTo>
                      <a:pt x="627" y="177"/>
                    </a:lnTo>
                    <a:lnTo>
                      <a:pt x="627" y="179"/>
                    </a:lnTo>
                    <a:lnTo>
                      <a:pt x="627" y="177"/>
                    </a:lnTo>
                    <a:lnTo>
                      <a:pt x="628" y="177"/>
                    </a:lnTo>
                    <a:lnTo>
                      <a:pt x="630" y="177"/>
                    </a:lnTo>
                    <a:lnTo>
                      <a:pt x="632" y="177"/>
                    </a:lnTo>
                    <a:lnTo>
                      <a:pt x="634" y="177"/>
                    </a:lnTo>
                    <a:lnTo>
                      <a:pt x="636" y="177"/>
                    </a:lnTo>
                    <a:lnTo>
                      <a:pt x="638" y="177"/>
                    </a:lnTo>
                    <a:lnTo>
                      <a:pt x="638" y="175"/>
                    </a:lnTo>
                    <a:lnTo>
                      <a:pt x="640" y="175"/>
                    </a:lnTo>
                    <a:lnTo>
                      <a:pt x="642" y="175"/>
                    </a:lnTo>
                    <a:lnTo>
                      <a:pt x="642" y="173"/>
                    </a:lnTo>
                    <a:lnTo>
                      <a:pt x="642" y="171"/>
                    </a:lnTo>
                    <a:lnTo>
                      <a:pt x="642" y="169"/>
                    </a:lnTo>
                    <a:lnTo>
                      <a:pt x="644" y="169"/>
                    </a:lnTo>
                    <a:lnTo>
                      <a:pt x="644" y="167"/>
                    </a:lnTo>
                    <a:lnTo>
                      <a:pt x="646" y="167"/>
                    </a:lnTo>
                    <a:lnTo>
                      <a:pt x="646" y="169"/>
                    </a:lnTo>
                    <a:lnTo>
                      <a:pt x="646" y="167"/>
                    </a:lnTo>
                    <a:lnTo>
                      <a:pt x="644" y="167"/>
                    </a:lnTo>
                    <a:lnTo>
                      <a:pt x="644" y="169"/>
                    </a:lnTo>
                    <a:lnTo>
                      <a:pt x="642" y="169"/>
                    </a:lnTo>
                    <a:lnTo>
                      <a:pt x="642" y="167"/>
                    </a:lnTo>
                    <a:lnTo>
                      <a:pt x="640" y="167"/>
                    </a:lnTo>
                    <a:lnTo>
                      <a:pt x="640" y="166"/>
                    </a:lnTo>
                    <a:lnTo>
                      <a:pt x="642" y="166"/>
                    </a:lnTo>
                    <a:lnTo>
                      <a:pt x="640" y="166"/>
                    </a:lnTo>
                    <a:lnTo>
                      <a:pt x="642" y="166"/>
                    </a:lnTo>
                    <a:lnTo>
                      <a:pt x="640" y="166"/>
                    </a:lnTo>
                    <a:lnTo>
                      <a:pt x="642" y="166"/>
                    </a:lnTo>
                    <a:lnTo>
                      <a:pt x="644" y="166"/>
                    </a:lnTo>
                    <a:lnTo>
                      <a:pt x="646" y="166"/>
                    </a:lnTo>
                    <a:lnTo>
                      <a:pt x="648" y="166"/>
                    </a:lnTo>
                    <a:lnTo>
                      <a:pt x="648" y="164"/>
                    </a:lnTo>
                    <a:lnTo>
                      <a:pt x="646" y="164"/>
                    </a:lnTo>
                    <a:lnTo>
                      <a:pt x="648" y="164"/>
                    </a:lnTo>
                    <a:lnTo>
                      <a:pt x="648" y="166"/>
                    </a:lnTo>
                    <a:lnTo>
                      <a:pt x="646" y="166"/>
                    </a:lnTo>
                    <a:lnTo>
                      <a:pt x="646" y="167"/>
                    </a:lnTo>
                    <a:lnTo>
                      <a:pt x="648" y="167"/>
                    </a:lnTo>
                    <a:lnTo>
                      <a:pt x="646" y="167"/>
                    </a:lnTo>
                    <a:lnTo>
                      <a:pt x="648" y="167"/>
                    </a:lnTo>
                    <a:lnTo>
                      <a:pt x="650" y="167"/>
                    </a:lnTo>
                    <a:lnTo>
                      <a:pt x="650" y="169"/>
                    </a:lnTo>
                    <a:lnTo>
                      <a:pt x="652" y="169"/>
                    </a:lnTo>
                    <a:lnTo>
                      <a:pt x="652" y="171"/>
                    </a:lnTo>
                    <a:lnTo>
                      <a:pt x="653" y="171"/>
                    </a:lnTo>
                    <a:lnTo>
                      <a:pt x="652" y="171"/>
                    </a:lnTo>
                    <a:lnTo>
                      <a:pt x="652" y="173"/>
                    </a:lnTo>
                    <a:lnTo>
                      <a:pt x="652" y="171"/>
                    </a:lnTo>
                    <a:lnTo>
                      <a:pt x="653" y="171"/>
                    </a:lnTo>
                    <a:lnTo>
                      <a:pt x="652" y="171"/>
                    </a:lnTo>
                    <a:lnTo>
                      <a:pt x="653" y="171"/>
                    </a:lnTo>
                    <a:lnTo>
                      <a:pt x="652" y="171"/>
                    </a:lnTo>
                    <a:lnTo>
                      <a:pt x="653" y="171"/>
                    </a:lnTo>
                    <a:lnTo>
                      <a:pt x="652" y="171"/>
                    </a:lnTo>
                    <a:lnTo>
                      <a:pt x="652" y="169"/>
                    </a:lnTo>
                    <a:lnTo>
                      <a:pt x="653" y="169"/>
                    </a:lnTo>
                    <a:lnTo>
                      <a:pt x="652" y="169"/>
                    </a:lnTo>
                    <a:lnTo>
                      <a:pt x="652" y="167"/>
                    </a:lnTo>
                    <a:lnTo>
                      <a:pt x="650" y="167"/>
                    </a:lnTo>
                    <a:lnTo>
                      <a:pt x="648" y="167"/>
                    </a:lnTo>
                    <a:lnTo>
                      <a:pt x="648" y="166"/>
                    </a:lnTo>
                    <a:lnTo>
                      <a:pt x="648" y="167"/>
                    </a:lnTo>
                    <a:lnTo>
                      <a:pt x="648" y="166"/>
                    </a:lnTo>
                    <a:lnTo>
                      <a:pt x="650" y="166"/>
                    </a:lnTo>
                    <a:lnTo>
                      <a:pt x="652" y="166"/>
                    </a:lnTo>
                    <a:lnTo>
                      <a:pt x="650" y="166"/>
                    </a:lnTo>
                    <a:lnTo>
                      <a:pt x="652" y="166"/>
                    </a:lnTo>
                    <a:lnTo>
                      <a:pt x="653" y="166"/>
                    </a:lnTo>
                    <a:lnTo>
                      <a:pt x="655" y="166"/>
                    </a:lnTo>
                    <a:lnTo>
                      <a:pt x="657" y="166"/>
                    </a:lnTo>
                    <a:lnTo>
                      <a:pt x="657" y="164"/>
                    </a:lnTo>
                    <a:lnTo>
                      <a:pt x="657" y="166"/>
                    </a:lnTo>
                    <a:lnTo>
                      <a:pt x="657" y="164"/>
                    </a:lnTo>
                    <a:lnTo>
                      <a:pt x="659" y="164"/>
                    </a:lnTo>
                    <a:lnTo>
                      <a:pt x="661" y="164"/>
                    </a:lnTo>
                    <a:lnTo>
                      <a:pt x="659" y="164"/>
                    </a:lnTo>
                    <a:lnTo>
                      <a:pt x="661" y="164"/>
                    </a:lnTo>
                    <a:lnTo>
                      <a:pt x="663" y="164"/>
                    </a:lnTo>
                    <a:lnTo>
                      <a:pt x="665" y="164"/>
                    </a:lnTo>
                    <a:lnTo>
                      <a:pt x="667" y="162"/>
                    </a:lnTo>
                    <a:lnTo>
                      <a:pt x="669" y="162"/>
                    </a:lnTo>
                    <a:lnTo>
                      <a:pt x="669" y="160"/>
                    </a:lnTo>
                    <a:lnTo>
                      <a:pt x="671" y="162"/>
                    </a:lnTo>
                    <a:lnTo>
                      <a:pt x="669" y="162"/>
                    </a:lnTo>
                    <a:lnTo>
                      <a:pt x="671" y="162"/>
                    </a:lnTo>
                    <a:lnTo>
                      <a:pt x="669" y="162"/>
                    </a:lnTo>
                    <a:lnTo>
                      <a:pt x="671" y="162"/>
                    </a:lnTo>
                    <a:lnTo>
                      <a:pt x="673" y="162"/>
                    </a:lnTo>
                    <a:lnTo>
                      <a:pt x="675" y="162"/>
                    </a:lnTo>
                    <a:lnTo>
                      <a:pt x="677" y="162"/>
                    </a:lnTo>
                    <a:lnTo>
                      <a:pt x="678" y="162"/>
                    </a:lnTo>
                    <a:lnTo>
                      <a:pt x="677" y="162"/>
                    </a:lnTo>
                    <a:lnTo>
                      <a:pt x="678" y="162"/>
                    </a:lnTo>
                    <a:lnTo>
                      <a:pt x="680" y="162"/>
                    </a:lnTo>
                    <a:lnTo>
                      <a:pt x="682" y="162"/>
                    </a:lnTo>
                    <a:lnTo>
                      <a:pt x="682" y="164"/>
                    </a:lnTo>
                    <a:lnTo>
                      <a:pt x="682" y="162"/>
                    </a:lnTo>
                    <a:lnTo>
                      <a:pt x="684" y="164"/>
                    </a:lnTo>
                    <a:lnTo>
                      <a:pt x="684" y="162"/>
                    </a:lnTo>
                    <a:lnTo>
                      <a:pt x="682" y="162"/>
                    </a:lnTo>
                    <a:lnTo>
                      <a:pt x="684" y="162"/>
                    </a:lnTo>
                    <a:lnTo>
                      <a:pt x="682" y="162"/>
                    </a:lnTo>
                    <a:lnTo>
                      <a:pt x="684" y="162"/>
                    </a:lnTo>
                    <a:lnTo>
                      <a:pt x="682" y="162"/>
                    </a:lnTo>
                    <a:lnTo>
                      <a:pt x="684" y="162"/>
                    </a:lnTo>
                    <a:lnTo>
                      <a:pt x="684" y="160"/>
                    </a:lnTo>
                    <a:lnTo>
                      <a:pt x="686" y="160"/>
                    </a:lnTo>
                    <a:lnTo>
                      <a:pt x="688" y="160"/>
                    </a:lnTo>
                    <a:lnTo>
                      <a:pt x="688" y="158"/>
                    </a:lnTo>
                    <a:lnTo>
                      <a:pt x="690" y="158"/>
                    </a:lnTo>
                    <a:lnTo>
                      <a:pt x="692" y="158"/>
                    </a:lnTo>
                    <a:lnTo>
                      <a:pt x="694" y="158"/>
                    </a:lnTo>
                    <a:lnTo>
                      <a:pt x="694" y="156"/>
                    </a:lnTo>
                    <a:lnTo>
                      <a:pt x="696" y="156"/>
                    </a:lnTo>
                    <a:lnTo>
                      <a:pt x="694" y="156"/>
                    </a:lnTo>
                    <a:lnTo>
                      <a:pt x="694" y="158"/>
                    </a:lnTo>
                    <a:lnTo>
                      <a:pt x="696" y="158"/>
                    </a:lnTo>
                    <a:lnTo>
                      <a:pt x="698" y="158"/>
                    </a:lnTo>
                    <a:lnTo>
                      <a:pt x="700" y="158"/>
                    </a:lnTo>
                    <a:lnTo>
                      <a:pt x="701" y="158"/>
                    </a:lnTo>
                    <a:lnTo>
                      <a:pt x="701" y="156"/>
                    </a:lnTo>
                    <a:lnTo>
                      <a:pt x="700" y="156"/>
                    </a:lnTo>
                    <a:lnTo>
                      <a:pt x="701" y="156"/>
                    </a:lnTo>
                    <a:lnTo>
                      <a:pt x="703" y="156"/>
                    </a:lnTo>
                    <a:lnTo>
                      <a:pt x="701" y="156"/>
                    </a:lnTo>
                    <a:lnTo>
                      <a:pt x="703" y="156"/>
                    </a:lnTo>
                    <a:lnTo>
                      <a:pt x="701" y="156"/>
                    </a:lnTo>
                    <a:lnTo>
                      <a:pt x="703" y="156"/>
                    </a:lnTo>
                    <a:lnTo>
                      <a:pt x="705" y="156"/>
                    </a:lnTo>
                    <a:lnTo>
                      <a:pt x="703" y="156"/>
                    </a:lnTo>
                    <a:lnTo>
                      <a:pt x="705" y="156"/>
                    </a:lnTo>
                    <a:lnTo>
                      <a:pt x="703" y="156"/>
                    </a:lnTo>
                    <a:lnTo>
                      <a:pt x="703" y="158"/>
                    </a:lnTo>
                    <a:lnTo>
                      <a:pt x="705" y="158"/>
                    </a:lnTo>
                    <a:lnTo>
                      <a:pt x="703" y="158"/>
                    </a:lnTo>
                    <a:lnTo>
                      <a:pt x="705" y="158"/>
                    </a:lnTo>
                    <a:lnTo>
                      <a:pt x="705" y="160"/>
                    </a:lnTo>
                    <a:lnTo>
                      <a:pt x="703" y="160"/>
                    </a:lnTo>
                    <a:lnTo>
                      <a:pt x="703" y="162"/>
                    </a:lnTo>
                    <a:lnTo>
                      <a:pt x="701" y="162"/>
                    </a:lnTo>
                    <a:lnTo>
                      <a:pt x="700" y="162"/>
                    </a:lnTo>
                    <a:lnTo>
                      <a:pt x="700" y="164"/>
                    </a:lnTo>
                    <a:lnTo>
                      <a:pt x="700" y="162"/>
                    </a:lnTo>
                    <a:lnTo>
                      <a:pt x="700" y="164"/>
                    </a:lnTo>
                    <a:lnTo>
                      <a:pt x="698" y="164"/>
                    </a:lnTo>
                    <a:lnTo>
                      <a:pt x="700" y="164"/>
                    </a:lnTo>
                    <a:lnTo>
                      <a:pt x="698" y="164"/>
                    </a:lnTo>
                    <a:lnTo>
                      <a:pt x="696" y="164"/>
                    </a:lnTo>
                    <a:lnTo>
                      <a:pt x="696" y="166"/>
                    </a:lnTo>
                    <a:lnTo>
                      <a:pt x="696" y="167"/>
                    </a:lnTo>
                    <a:lnTo>
                      <a:pt x="696" y="166"/>
                    </a:lnTo>
                    <a:lnTo>
                      <a:pt x="696" y="167"/>
                    </a:lnTo>
                    <a:lnTo>
                      <a:pt x="694" y="167"/>
                    </a:lnTo>
                    <a:lnTo>
                      <a:pt x="694" y="169"/>
                    </a:lnTo>
                    <a:lnTo>
                      <a:pt x="694" y="171"/>
                    </a:lnTo>
                    <a:lnTo>
                      <a:pt x="692" y="171"/>
                    </a:lnTo>
                    <a:lnTo>
                      <a:pt x="692" y="173"/>
                    </a:lnTo>
                    <a:lnTo>
                      <a:pt x="690" y="173"/>
                    </a:lnTo>
                    <a:lnTo>
                      <a:pt x="692" y="173"/>
                    </a:lnTo>
                    <a:lnTo>
                      <a:pt x="692" y="171"/>
                    </a:lnTo>
                    <a:lnTo>
                      <a:pt x="694" y="171"/>
                    </a:lnTo>
                    <a:lnTo>
                      <a:pt x="694" y="169"/>
                    </a:lnTo>
                    <a:lnTo>
                      <a:pt x="694" y="167"/>
                    </a:lnTo>
                    <a:lnTo>
                      <a:pt x="696" y="167"/>
                    </a:lnTo>
                    <a:lnTo>
                      <a:pt x="696" y="166"/>
                    </a:lnTo>
                    <a:lnTo>
                      <a:pt x="696" y="164"/>
                    </a:lnTo>
                    <a:lnTo>
                      <a:pt x="698" y="164"/>
                    </a:lnTo>
                    <a:lnTo>
                      <a:pt x="700" y="164"/>
                    </a:lnTo>
                    <a:lnTo>
                      <a:pt x="700" y="162"/>
                    </a:lnTo>
                    <a:lnTo>
                      <a:pt x="701" y="162"/>
                    </a:lnTo>
                    <a:lnTo>
                      <a:pt x="703" y="162"/>
                    </a:lnTo>
                    <a:lnTo>
                      <a:pt x="703" y="160"/>
                    </a:lnTo>
                    <a:lnTo>
                      <a:pt x="705" y="160"/>
                    </a:lnTo>
                    <a:lnTo>
                      <a:pt x="705" y="158"/>
                    </a:lnTo>
                    <a:lnTo>
                      <a:pt x="707" y="158"/>
                    </a:lnTo>
                    <a:lnTo>
                      <a:pt x="709" y="158"/>
                    </a:lnTo>
                    <a:lnTo>
                      <a:pt x="711" y="158"/>
                    </a:lnTo>
                    <a:lnTo>
                      <a:pt x="713" y="158"/>
                    </a:lnTo>
                    <a:lnTo>
                      <a:pt x="715" y="158"/>
                    </a:lnTo>
                    <a:lnTo>
                      <a:pt x="713" y="158"/>
                    </a:lnTo>
                    <a:lnTo>
                      <a:pt x="711" y="160"/>
                    </a:lnTo>
                    <a:lnTo>
                      <a:pt x="711" y="158"/>
                    </a:lnTo>
                    <a:lnTo>
                      <a:pt x="713" y="158"/>
                    </a:lnTo>
                    <a:lnTo>
                      <a:pt x="713" y="160"/>
                    </a:lnTo>
                    <a:lnTo>
                      <a:pt x="711" y="160"/>
                    </a:lnTo>
                    <a:lnTo>
                      <a:pt x="711" y="162"/>
                    </a:lnTo>
                    <a:lnTo>
                      <a:pt x="711" y="164"/>
                    </a:lnTo>
                    <a:lnTo>
                      <a:pt x="711" y="166"/>
                    </a:lnTo>
                    <a:lnTo>
                      <a:pt x="711" y="164"/>
                    </a:lnTo>
                    <a:lnTo>
                      <a:pt x="711" y="162"/>
                    </a:lnTo>
                    <a:lnTo>
                      <a:pt x="713" y="160"/>
                    </a:lnTo>
                    <a:lnTo>
                      <a:pt x="715" y="160"/>
                    </a:lnTo>
                    <a:lnTo>
                      <a:pt x="713" y="160"/>
                    </a:lnTo>
                    <a:lnTo>
                      <a:pt x="713" y="162"/>
                    </a:lnTo>
                    <a:lnTo>
                      <a:pt x="715" y="162"/>
                    </a:lnTo>
                    <a:lnTo>
                      <a:pt x="715" y="160"/>
                    </a:lnTo>
                    <a:lnTo>
                      <a:pt x="715" y="162"/>
                    </a:lnTo>
                    <a:lnTo>
                      <a:pt x="715" y="160"/>
                    </a:lnTo>
                    <a:lnTo>
                      <a:pt x="717" y="160"/>
                    </a:lnTo>
                    <a:lnTo>
                      <a:pt x="719" y="160"/>
                    </a:lnTo>
                    <a:lnTo>
                      <a:pt x="721" y="162"/>
                    </a:lnTo>
                    <a:lnTo>
                      <a:pt x="723" y="162"/>
                    </a:lnTo>
                    <a:lnTo>
                      <a:pt x="723" y="164"/>
                    </a:lnTo>
                    <a:lnTo>
                      <a:pt x="725" y="164"/>
                    </a:lnTo>
                    <a:lnTo>
                      <a:pt x="726" y="164"/>
                    </a:lnTo>
                    <a:lnTo>
                      <a:pt x="728" y="166"/>
                    </a:lnTo>
                    <a:lnTo>
                      <a:pt x="726" y="166"/>
                    </a:lnTo>
                    <a:lnTo>
                      <a:pt x="726" y="167"/>
                    </a:lnTo>
                    <a:lnTo>
                      <a:pt x="725" y="167"/>
                    </a:lnTo>
                    <a:lnTo>
                      <a:pt x="726" y="167"/>
                    </a:lnTo>
                    <a:lnTo>
                      <a:pt x="725" y="167"/>
                    </a:lnTo>
                    <a:lnTo>
                      <a:pt x="725" y="169"/>
                    </a:lnTo>
                    <a:lnTo>
                      <a:pt x="723" y="169"/>
                    </a:lnTo>
                    <a:lnTo>
                      <a:pt x="723" y="171"/>
                    </a:lnTo>
                    <a:lnTo>
                      <a:pt x="723" y="173"/>
                    </a:lnTo>
                    <a:lnTo>
                      <a:pt x="723" y="175"/>
                    </a:lnTo>
                    <a:lnTo>
                      <a:pt x="725" y="175"/>
                    </a:lnTo>
                    <a:lnTo>
                      <a:pt x="725" y="177"/>
                    </a:lnTo>
                    <a:lnTo>
                      <a:pt x="725" y="175"/>
                    </a:lnTo>
                    <a:lnTo>
                      <a:pt x="723" y="175"/>
                    </a:lnTo>
                    <a:lnTo>
                      <a:pt x="723" y="173"/>
                    </a:lnTo>
                    <a:lnTo>
                      <a:pt x="725" y="173"/>
                    </a:lnTo>
                    <a:lnTo>
                      <a:pt x="723" y="173"/>
                    </a:lnTo>
                    <a:lnTo>
                      <a:pt x="723" y="171"/>
                    </a:lnTo>
                    <a:lnTo>
                      <a:pt x="725" y="171"/>
                    </a:lnTo>
                    <a:lnTo>
                      <a:pt x="725" y="169"/>
                    </a:lnTo>
                    <a:lnTo>
                      <a:pt x="726" y="169"/>
                    </a:lnTo>
                    <a:lnTo>
                      <a:pt x="726" y="167"/>
                    </a:lnTo>
                    <a:lnTo>
                      <a:pt x="728" y="167"/>
                    </a:lnTo>
                    <a:lnTo>
                      <a:pt x="728" y="166"/>
                    </a:lnTo>
                    <a:lnTo>
                      <a:pt x="730" y="166"/>
                    </a:lnTo>
                    <a:lnTo>
                      <a:pt x="732" y="166"/>
                    </a:lnTo>
                    <a:lnTo>
                      <a:pt x="732" y="167"/>
                    </a:lnTo>
                    <a:lnTo>
                      <a:pt x="734" y="167"/>
                    </a:lnTo>
                    <a:lnTo>
                      <a:pt x="732" y="167"/>
                    </a:lnTo>
                    <a:lnTo>
                      <a:pt x="734" y="167"/>
                    </a:lnTo>
                    <a:lnTo>
                      <a:pt x="736" y="167"/>
                    </a:lnTo>
                    <a:lnTo>
                      <a:pt x="738" y="169"/>
                    </a:lnTo>
                    <a:lnTo>
                      <a:pt x="740" y="169"/>
                    </a:lnTo>
                    <a:lnTo>
                      <a:pt x="740" y="171"/>
                    </a:lnTo>
                    <a:lnTo>
                      <a:pt x="738" y="171"/>
                    </a:lnTo>
                    <a:lnTo>
                      <a:pt x="740" y="171"/>
                    </a:lnTo>
                    <a:lnTo>
                      <a:pt x="740" y="173"/>
                    </a:lnTo>
                    <a:lnTo>
                      <a:pt x="738" y="173"/>
                    </a:lnTo>
                    <a:lnTo>
                      <a:pt x="740" y="173"/>
                    </a:lnTo>
                    <a:lnTo>
                      <a:pt x="740" y="175"/>
                    </a:lnTo>
                    <a:lnTo>
                      <a:pt x="738" y="175"/>
                    </a:lnTo>
                    <a:lnTo>
                      <a:pt x="736" y="175"/>
                    </a:lnTo>
                    <a:lnTo>
                      <a:pt x="736" y="173"/>
                    </a:lnTo>
                    <a:lnTo>
                      <a:pt x="734" y="175"/>
                    </a:lnTo>
                    <a:lnTo>
                      <a:pt x="736" y="175"/>
                    </a:lnTo>
                    <a:lnTo>
                      <a:pt x="738" y="175"/>
                    </a:lnTo>
                    <a:lnTo>
                      <a:pt x="736" y="175"/>
                    </a:lnTo>
                    <a:lnTo>
                      <a:pt x="736" y="177"/>
                    </a:lnTo>
                    <a:lnTo>
                      <a:pt x="738" y="175"/>
                    </a:lnTo>
                    <a:lnTo>
                      <a:pt x="738" y="177"/>
                    </a:lnTo>
                    <a:lnTo>
                      <a:pt x="740" y="177"/>
                    </a:lnTo>
                    <a:lnTo>
                      <a:pt x="740" y="175"/>
                    </a:lnTo>
                    <a:lnTo>
                      <a:pt x="740" y="177"/>
                    </a:lnTo>
                    <a:lnTo>
                      <a:pt x="742" y="177"/>
                    </a:lnTo>
                    <a:lnTo>
                      <a:pt x="744" y="177"/>
                    </a:lnTo>
                    <a:lnTo>
                      <a:pt x="744" y="179"/>
                    </a:lnTo>
                    <a:lnTo>
                      <a:pt x="742" y="179"/>
                    </a:lnTo>
                    <a:lnTo>
                      <a:pt x="744" y="179"/>
                    </a:lnTo>
                    <a:lnTo>
                      <a:pt x="742" y="179"/>
                    </a:lnTo>
                    <a:lnTo>
                      <a:pt x="744" y="179"/>
                    </a:lnTo>
                    <a:lnTo>
                      <a:pt x="742" y="179"/>
                    </a:lnTo>
                    <a:lnTo>
                      <a:pt x="742" y="181"/>
                    </a:lnTo>
                    <a:lnTo>
                      <a:pt x="740" y="181"/>
                    </a:lnTo>
                    <a:lnTo>
                      <a:pt x="740" y="183"/>
                    </a:lnTo>
                    <a:lnTo>
                      <a:pt x="742" y="183"/>
                    </a:lnTo>
                    <a:lnTo>
                      <a:pt x="742" y="181"/>
                    </a:lnTo>
                    <a:lnTo>
                      <a:pt x="744" y="181"/>
                    </a:lnTo>
                    <a:lnTo>
                      <a:pt x="746" y="181"/>
                    </a:lnTo>
                    <a:lnTo>
                      <a:pt x="746" y="179"/>
                    </a:lnTo>
                    <a:lnTo>
                      <a:pt x="748" y="179"/>
                    </a:lnTo>
                    <a:lnTo>
                      <a:pt x="748" y="177"/>
                    </a:lnTo>
                    <a:lnTo>
                      <a:pt x="746" y="177"/>
                    </a:lnTo>
                    <a:lnTo>
                      <a:pt x="748" y="177"/>
                    </a:lnTo>
                    <a:lnTo>
                      <a:pt x="748" y="175"/>
                    </a:lnTo>
                    <a:lnTo>
                      <a:pt x="750" y="175"/>
                    </a:lnTo>
                    <a:lnTo>
                      <a:pt x="750" y="177"/>
                    </a:lnTo>
                    <a:lnTo>
                      <a:pt x="750" y="175"/>
                    </a:lnTo>
                    <a:lnTo>
                      <a:pt x="751" y="175"/>
                    </a:lnTo>
                    <a:lnTo>
                      <a:pt x="751" y="177"/>
                    </a:lnTo>
                    <a:lnTo>
                      <a:pt x="753" y="177"/>
                    </a:lnTo>
                    <a:lnTo>
                      <a:pt x="753" y="175"/>
                    </a:lnTo>
                    <a:lnTo>
                      <a:pt x="751" y="175"/>
                    </a:lnTo>
                    <a:lnTo>
                      <a:pt x="750" y="175"/>
                    </a:lnTo>
                    <a:lnTo>
                      <a:pt x="748" y="173"/>
                    </a:lnTo>
                    <a:lnTo>
                      <a:pt x="748" y="175"/>
                    </a:lnTo>
                    <a:lnTo>
                      <a:pt x="746" y="175"/>
                    </a:lnTo>
                    <a:lnTo>
                      <a:pt x="746" y="173"/>
                    </a:lnTo>
                    <a:lnTo>
                      <a:pt x="744" y="173"/>
                    </a:lnTo>
                    <a:lnTo>
                      <a:pt x="744" y="171"/>
                    </a:lnTo>
                    <a:lnTo>
                      <a:pt x="746" y="171"/>
                    </a:lnTo>
                    <a:lnTo>
                      <a:pt x="746" y="173"/>
                    </a:lnTo>
                    <a:lnTo>
                      <a:pt x="746" y="171"/>
                    </a:lnTo>
                    <a:lnTo>
                      <a:pt x="748" y="171"/>
                    </a:lnTo>
                    <a:lnTo>
                      <a:pt x="748" y="173"/>
                    </a:lnTo>
                    <a:lnTo>
                      <a:pt x="748" y="171"/>
                    </a:lnTo>
                    <a:lnTo>
                      <a:pt x="750" y="171"/>
                    </a:lnTo>
                    <a:lnTo>
                      <a:pt x="748" y="171"/>
                    </a:lnTo>
                    <a:lnTo>
                      <a:pt x="750" y="171"/>
                    </a:lnTo>
                    <a:lnTo>
                      <a:pt x="750" y="169"/>
                    </a:lnTo>
                    <a:lnTo>
                      <a:pt x="750" y="171"/>
                    </a:lnTo>
                    <a:lnTo>
                      <a:pt x="750" y="169"/>
                    </a:lnTo>
                    <a:lnTo>
                      <a:pt x="751" y="171"/>
                    </a:lnTo>
                    <a:lnTo>
                      <a:pt x="753" y="171"/>
                    </a:lnTo>
                    <a:lnTo>
                      <a:pt x="751" y="171"/>
                    </a:lnTo>
                    <a:lnTo>
                      <a:pt x="750" y="171"/>
                    </a:lnTo>
                    <a:lnTo>
                      <a:pt x="751" y="173"/>
                    </a:lnTo>
                    <a:lnTo>
                      <a:pt x="751" y="171"/>
                    </a:lnTo>
                    <a:lnTo>
                      <a:pt x="751" y="173"/>
                    </a:lnTo>
                    <a:lnTo>
                      <a:pt x="753" y="173"/>
                    </a:lnTo>
                    <a:lnTo>
                      <a:pt x="753" y="171"/>
                    </a:lnTo>
                    <a:lnTo>
                      <a:pt x="753" y="173"/>
                    </a:lnTo>
                    <a:lnTo>
                      <a:pt x="755" y="175"/>
                    </a:lnTo>
                    <a:lnTo>
                      <a:pt x="755" y="177"/>
                    </a:lnTo>
                    <a:lnTo>
                      <a:pt x="755" y="179"/>
                    </a:lnTo>
                    <a:lnTo>
                      <a:pt x="757" y="179"/>
                    </a:lnTo>
                    <a:lnTo>
                      <a:pt x="755" y="179"/>
                    </a:lnTo>
                    <a:lnTo>
                      <a:pt x="757" y="179"/>
                    </a:lnTo>
                    <a:lnTo>
                      <a:pt x="757" y="181"/>
                    </a:lnTo>
                    <a:lnTo>
                      <a:pt x="757" y="183"/>
                    </a:lnTo>
                    <a:lnTo>
                      <a:pt x="759" y="183"/>
                    </a:lnTo>
                    <a:lnTo>
                      <a:pt x="759" y="185"/>
                    </a:lnTo>
                    <a:lnTo>
                      <a:pt x="757" y="185"/>
                    </a:lnTo>
                    <a:lnTo>
                      <a:pt x="755" y="185"/>
                    </a:lnTo>
                    <a:lnTo>
                      <a:pt x="757" y="185"/>
                    </a:lnTo>
                    <a:lnTo>
                      <a:pt x="759" y="185"/>
                    </a:lnTo>
                    <a:lnTo>
                      <a:pt x="759" y="187"/>
                    </a:lnTo>
                    <a:lnTo>
                      <a:pt x="761" y="187"/>
                    </a:lnTo>
                    <a:lnTo>
                      <a:pt x="759" y="189"/>
                    </a:lnTo>
                    <a:lnTo>
                      <a:pt x="757" y="189"/>
                    </a:lnTo>
                    <a:lnTo>
                      <a:pt x="759" y="189"/>
                    </a:lnTo>
                    <a:lnTo>
                      <a:pt x="761" y="189"/>
                    </a:lnTo>
                    <a:lnTo>
                      <a:pt x="761" y="187"/>
                    </a:lnTo>
                    <a:lnTo>
                      <a:pt x="759" y="187"/>
                    </a:lnTo>
                    <a:lnTo>
                      <a:pt x="761" y="187"/>
                    </a:lnTo>
                    <a:lnTo>
                      <a:pt x="759" y="185"/>
                    </a:lnTo>
                    <a:lnTo>
                      <a:pt x="761" y="185"/>
                    </a:lnTo>
                    <a:lnTo>
                      <a:pt x="763" y="185"/>
                    </a:lnTo>
                    <a:lnTo>
                      <a:pt x="763" y="183"/>
                    </a:lnTo>
                    <a:lnTo>
                      <a:pt x="765" y="183"/>
                    </a:lnTo>
                    <a:lnTo>
                      <a:pt x="767" y="185"/>
                    </a:lnTo>
                    <a:lnTo>
                      <a:pt x="765" y="185"/>
                    </a:lnTo>
                    <a:lnTo>
                      <a:pt x="765" y="187"/>
                    </a:lnTo>
                    <a:lnTo>
                      <a:pt x="767" y="187"/>
                    </a:lnTo>
                    <a:lnTo>
                      <a:pt x="767" y="191"/>
                    </a:lnTo>
                    <a:lnTo>
                      <a:pt x="767" y="192"/>
                    </a:lnTo>
                    <a:lnTo>
                      <a:pt x="765" y="192"/>
                    </a:lnTo>
                    <a:lnTo>
                      <a:pt x="767" y="192"/>
                    </a:lnTo>
                    <a:lnTo>
                      <a:pt x="765" y="192"/>
                    </a:lnTo>
                    <a:lnTo>
                      <a:pt x="765" y="194"/>
                    </a:lnTo>
                    <a:lnTo>
                      <a:pt x="765" y="198"/>
                    </a:lnTo>
                    <a:lnTo>
                      <a:pt x="763" y="200"/>
                    </a:lnTo>
                    <a:lnTo>
                      <a:pt x="763" y="202"/>
                    </a:lnTo>
                    <a:lnTo>
                      <a:pt x="763" y="204"/>
                    </a:lnTo>
                    <a:lnTo>
                      <a:pt x="761" y="202"/>
                    </a:lnTo>
                    <a:lnTo>
                      <a:pt x="761" y="204"/>
                    </a:lnTo>
                    <a:lnTo>
                      <a:pt x="759" y="204"/>
                    </a:lnTo>
                    <a:lnTo>
                      <a:pt x="759" y="202"/>
                    </a:lnTo>
                    <a:lnTo>
                      <a:pt x="761" y="202"/>
                    </a:lnTo>
                    <a:lnTo>
                      <a:pt x="763" y="200"/>
                    </a:lnTo>
                    <a:lnTo>
                      <a:pt x="763" y="198"/>
                    </a:lnTo>
                    <a:lnTo>
                      <a:pt x="761" y="198"/>
                    </a:lnTo>
                    <a:lnTo>
                      <a:pt x="759" y="198"/>
                    </a:lnTo>
                    <a:lnTo>
                      <a:pt x="757" y="196"/>
                    </a:lnTo>
                    <a:lnTo>
                      <a:pt x="755" y="196"/>
                    </a:lnTo>
                    <a:lnTo>
                      <a:pt x="755" y="198"/>
                    </a:lnTo>
                    <a:lnTo>
                      <a:pt x="753" y="198"/>
                    </a:lnTo>
                    <a:lnTo>
                      <a:pt x="751" y="198"/>
                    </a:lnTo>
                    <a:lnTo>
                      <a:pt x="753" y="196"/>
                    </a:lnTo>
                    <a:lnTo>
                      <a:pt x="751" y="196"/>
                    </a:lnTo>
                    <a:lnTo>
                      <a:pt x="750" y="196"/>
                    </a:lnTo>
                    <a:lnTo>
                      <a:pt x="748" y="196"/>
                    </a:lnTo>
                    <a:lnTo>
                      <a:pt x="748" y="194"/>
                    </a:lnTo>
                    <a:lnTo>
                      <a:pt x="746" y="194"/>
                    </a:lnTo>
                    <a:lnTo>
                      <a:pt x="744" y="194"/>
                    </a:lnTo>
                    <a:lnTo>
                      <a:pt x="742" y="192"/>
                    </a:lnTo>
                    <a:lnTo>
                      <a:pt x="740" y="192"/>
                    </a:lnTo>
                    <a:lnTo>
                      <a:pt x="738" y="192"/>
                    </a:lnTo>
                    <a:lnTo>
                      <a:pt x="736" y="192"/>
                    </a:lnTo>
                    <a:lnTo>
                      <a:pt x="734" y="192"/>
                    </a:lnTo>
                    <a:lnTo>
                      <a:pt x="732" y="192"/>
                    </a:lnTo>
                    <a:lnTo>
                      <a:pt x="732" y="191"/>
                    </a:lnTo>
                    <a:lnTo>
                      <a:pt x="730" y="191"/>
                    </a:lnTo>
                    <a:lnTo>
                      <a:pt x="728" y="191"/>
                    </a:lnTo>
                    <a:lnTo>
                      <a:pt x="730" y="191"/>
                    </a:lnTo>
                    <a:lnTo>
                      <a:pt x="732" y="191"/>
                    </a:lnTo>
                    <a:lnTo>
                      <a:pt x="732" y="192"/>
                    </a:lnTo>
                    <a:lnTo>
                      <a:pt x="734" y="192"/>
                    </a:lnTo>
                    <a:lnTo>
                      <a:pt x="732" y="192"/>
                    </a:lnTo>
                    <a:lnTo>
                      <a:pt x="734" y="192"/>
                    </a:lnTo>
                    <a:lnTo>
                      <a:pt x="732" y="192"/>
                    </a:lnTo>
                    <a:lnTo>
                      <a:pt x="734" y="192"/>
                    </a:lnTo>
                    <a:lnTo>
                      <a:pt x="732" y="192"/>
                    </a:lnTo>
                    <a:lnTo>
                      <a:pt x="734" y="192"/>
                    </a:lnTo>
                    <a:lnTo>
                      <a:pt x="736" y="192"/>
                    </a:lnTo>
                    <a:lnTo>
                      <a:pt x="738" y="192"/>
                    </a:lnTo>
                    <a:lnTo>
                      <a:pt x="738" y="194"/>
                    </a:lnTo>
                    <a:lnTo>
                      <a:pt x="738" y="192"/>
                    </a:lnTo>
                    <a:lnTo>
                      <a:pt x="738" y="194"/>
                    </a:lnTo>
                    <a:lnTo>
                      <a:pt x="738" y="196"/>
                    </a:lnTo>
                    <a:lnTo>
                      <a:pt x="740" y="196"/>
                    </a:lnTo>
                    <a:lnTo>
                      <a:pt x="742" y="194"/>
                    </a:lnTo>
                    <a:lnTo>
                      <a:pt x="742" y="196"/>
                    </a:lnTo>
                    <a:lnTo>
                      <a:pt x="744" y="196"/>
                    </a:lnTo>
                    <a:lnTo>
                      <a:pt x="746" y="196"/>
                    </a:lnTo>
                    <a:lnTo>
                      <a:pt x="748" y="196"/>
                    </a:lnTo>
                    <a:lnTo>
                      <a:pt x="748" y="198"/>
                    </a:lnTo>
                    <a:lnTo>
                      <a:pt x="746" y="198"/>
                    </a:lnTo>
                    <a:lnTo>
                      <a:pt x="744" y="198"/>
                    </a:lnTo>
                    <a:lnTo>
                      <a:pt x="744" y="200"/>
                    </a:lnTo>
                    <a:lnTo>
                      <a:pt x="744" y="198"/>
                    </a:lnTo>
                    <a:lnTo>
                      <a:pt x="746" y="200"/>
                    </a:lnTo>
                    <a:lnTo>
                      <a:pt x="748" y="200"/>
                    </a:lnTo>
                    <a:lnTo>
                      <a:pt x="748" y="202"/>
                    </a:lnTo>
                    <a:lnTo>
                      <a:pt x="746" y="202"/>
                    </a:lnTo>
                    <a:lnTo>
                      <a:pt x="746" y="204"/>
                    </a:lnTo>
                    <a:lnTo>
                      <a:pt x="746" y="206"/>
                    </a:lnTo>
                    <a:lnTo>
                      <a:pt x="748" y="206"/>
                    </a:lnTo>
                    <a:lnTo>
                      <a:pt x="750" y="206"/>
                    </a:lnTo>
                    <a:lnTo>
                      <a:pt x="748" y="206"/>
                    </a:lnTo>
                    <a:lnTo>
                      <a:pt x="750" y="206"/>
                    </a:lnTo>
                    <a:lnTo>
                      <a:pt x="751" y="204"/>
                    </a:lnTo>
                    <a:lnTo>
                      <a:pt x="750" y="202"/>
                    </a:lnTo>
                    <a:lnTo>
                      <a:pt x="751" y="200"/>
                    </a:lnTo>
                    <a:lnTo>
                      <a:pt x="753" y="198"/>
                    </a:lnTo>
                    <a:lnTo>
                      <a:pt x="755" y="198"/>
                    </a:lnTo>
                    <a:lnTo>
                      <a:pt x="757" y="198"/>
                    </a:lnTo>
                    <a:lnTo>
                      <a:pt x="757" y="200"/>
                    </a:lnTo>
                    <a:lnTo>
                      <a:pt x="755" y="200"/>
                    </a:lnTo>
                    <a:lnTo>
                      <a:pt x="757" y="200"/>
                    </a:lnTo>
                    <a:lnTo>
                      <a:pt x="757" y="202"/>
                    </a:lnTo>
                    <a:lnTo>
                      <a:pt x="755" y="202"/>
                    </a:lnTo>
                    <a:lnTo>
                      <a:pt x="757" y="202"/>
                    </a:lnTo>
                    <a:lnTo>
                      <a:pt x="757" y="204"/>
                    </a:lnTo>
                    <a:lnTo>
                      <a:pt x="759" y="204"/>
                    </a:lnTo>
                    <a:lnTo>
                      <a:pt x="761" y="204"/>
                    </a:lnTo>
                    <a:lnTo>
                      <a:pt x="763" y="204"/>
                    </a:lnTo>
                    <a:lnTo>
                      <a:pt x="765" y="204"/>
                    </a:lnTo>
                    <a:lnTo>
                      <a:pt x="767" y="204"/>
                    </a:lnTo>
                    <a:lnTo>
                      <a:pt x="767" y="206"/>
                    </a:lnTo>
                    <a:lnTo>
                      <a:pt x="767" y="208"/>
                    </a:lnTo>
                    <a:lnTo>
                      <a:pt x="767" y="206"/>
                    </a:lnTo>
                    <a:lnTo>
                      <a:pt x="767" y="208"/>
                    </a:lnTo>
                    <a:lnTo>
                      <a:pt x="765" y="208"/>
                    </a:lnTo>
                    <a:lnTo>
                      <a:pt x="765" y="210"/>
                    </a:lnTo>
                    <a:lnTo>
                      <a:pt x="763" y="210"/>
                    </a:lnTo>
                    <a:lnTo>
                      <a:pt x="763" y="212"/>
                    </a:lnTo>
                    <a:lnTo>
                      <a:pt x="761" y="212"/>
                    </a:lnTo>
                    <a:lnTo>
                      <a:pt x="759" y="212"/>
                    </a:lnTo>
                    <a:lnTo>
                      <a:pt x="757" y="212"/>
                    </a:lnTo>
                    <a:lnTo>
                      <a:pt x="757" y="214"/>
                    </a:lnTo>
                    <a:lnTo>
                      <a:pt x="755" y="214"/>
                    </a:lnTo>
                    <a:lnTo>
                      <a:pt x="753" y="214"/>
                    </a:lnTo>
                    <a:lnTo>
                      <a:pt x="753" y="216"/>
                    </a:lnTo>
                    <a:lnTo>
                      <a:pt x="751" y="216"/>
                    </a:lnTo>
                    <a:lnTo>
                      <a:pt x="750" y="216"/>
                    </a:lnTo>
                    <a:lnTo>
                      <a:pt x="751" y="216"/>
                    </a:lnTo>
                    <a:lnTo>
                      <a:pt x="750" y="216"/>
                    </a:lnTo>
                    <a:lnTo>
                      <a:pt x="748" y="216"/>
                    </a:lnTo>
                    <a:lnTo>
                      <a:pt x="746" y="216"/>
                    </a:lnTo>
                    <a:lnTo>
                      <a:pt x="746" y="217"/>
                    </a:lnTo>
                    <a:lnTo>
                      <a:pt x="744" y="217"/>
                    </a:lnTo>
                    <a:lnTo>
                      <a:pt x="742" y="217"/>
                    </a:lnTo>
                    <a:lnTo>
                      <a:pt x="742" y="219"/>
                    </a:lnTo>
                    <a:lnTo>
                      <a:pt x="740" y="219"/>
                    </a:lnTo>
                    <a:lnTo>
                      <a:pt x="742" y="219"/>
                    </a:lnTo>
                    <a:lnTo>
                      <a:pt x="742" y="217"/>
                    </a:lnTo>
                    <a:lnTo>
                      <a:pt x="744" y="217"/>
                    </a:lnTo>
                    <a:lnTo>
                      <a:pt x="746" y="217"/>
                    </a:lnTo>
                    <a:lnTo>
                      <a:pt x="746" y="216"/>
                    </a:lnTo>
                    <a:lnTo>
                      <a:pt x="748" y="216"/>
                    </a:lnTo>
                    <a:lnTo>
                      <a:pt x="750" y="216"/>
                    </a:lnTo>
                    <a:lnTo>
                      <a:pt x="751" y="216"/>
                    </a:lnTo>
                    <a:lnTo>
                      <a:pt x="750" y="216"/>
                    </a:lnTo>
                    <a:lnTo>
                      <a:pt x="751" y="216"/>
                    </a:lnTo>
                    <a:lnTo>
                      <a:pt x="753" y="216"/>
                    </a:lnTo>
                    <a:lnTo>
                      <a:pt x="753" y="214"/>
                    </a:lnTo>
                    <a:lnTo>
                      <a:pt x="755" y="214"/>
                    </a:lnTo>
                    <a:lnTo>
                      <a:pt x="757" y="212"/>
                    </a:lnTo>
                    <a:lnTo>
                      <a:pt x="759" y="212"/>
                    </a:lnTo>
                    <a:lnTo>
                      <a:pt x="761" y="212"/>
                    </a:lnTo>
                    <a:lnTo>
                      <a:pt x="763" y="212"/>
                    </a:lnTo>
                    <a:lnTo>
                      <a:pt x="763" y="210"/>
                    </a:lnTo>
                    <a:lnTo>
                      <a:pt x="763" y="212"/>
                    </a:lnTo>
                    <a:lnTo>
                      <a:pt x="763" y="210"/>
                    </a:lnTo>
                    <a:lnTo>
                      <a:pt x="765" y="210"/>
                    </a:lnTo>
                    <a:lnTo>
                      <a:pt x="767" y="210"/>
                    </a:lnTo>
                    <a:lnTo>
                      <a:pt x="767" y="212"/>
                    </a:lnTo>
                    <a:lnTo>
                      <a:pt x="767" y="214"/>
                    </a:lnTo>
                    <a:lnTo>
                      <a:pt x="767" y="216"/>
                    </a:lnTo>
                    <a:lnTo>
                      <a:pt x="765" y="216"/>
                    </a:lnTo>
                    <a:lnTo>
                      <a:pt x="765" y="217"/>
                    </a:lnTo>
                    <a:lnTo>
                      <a:pt x="765" y="216"/>
                    </a:lnTo>
                    <a:lnTo>
                      <a:pt x="765" y="217"/>
                    </a:lnTo>
                    <a:lnTo>
                      <a:pt x="765" y="219"/>
                    </a:lnTo>
                    <a:lnTo>
                      <a:pt x="763" y="219"/>
                    </a:lnTo>
                    <a:lnTo>
                      <a:pt x="761" y="221"/>
                    </a:lnTo>
                    <a:lnTo>
                      <a:pt x="761" y="223"/>
                    </a:lnTo>
                    <a:lnTo>
                      <a:pt x="759" y="223"/>
                    </a:lnTo>
                    <a:lnTo>
                      <a:pt x="759" y="225"/>
                    </a:lnTo>
                    <a:lnTo>
                      <a:pt x="757" y="227"/>
                    </a:lnTo>
                    <a:lnTo>
                      <a:pt x="755" y="227"/>
                    </a:lnTo>
                    <a:lnTo>
                      <a:pt x="753" y="229"/>
                    </a:lnTo>
                    <a:lnTo>
                      <a:pt x="755" y="229"/>
                    </a:lnTo>
                    <a:lnTo>
                      <a:pt x="753" y="229"/>
                    </a:lnTo>
                    <a:lnTo>
                      <a:pt x="755" y="229"/>
                    </a:lnTo>
                    <a:lnTo>
                      <a:pt x="757" y="229"/>
                    </a:lnTo>
                    <a:lnTo>
                      <a:pt x="755" y="229"/>
                    </a:lnTo>
                    <a:lnTo>
                      <a:pt x="753" y="231"/>
                    </a:lnTo>
                    <a:lnTo>
                      <a:pt x="753" y="233"/>
                    </a:lnTo>
                    <a:lnTo>
                      <a:pt x="751" y="235"/>
                    </a:lnTo>
                    <a:lnTo>
                      <a:pt x="750" y="235"/>
                    </a:lnTo>
                    <a:lnTo>
                      <a:pt x="750" y="237"/>
                    </a:lnTo>
                    <a:lnTo>
                      <a:pt x="748" y="237"/>
                    </a:lnTo>
                    <a:lnTo>
                      <a:pt x="746" y="237"/>
                    </a:lnTo>
                    <a:lnTo>
                      <a:pt x="746" y="239"/>
                    </a:lnTo>
                    <a:lnTo>
                      <a:pt x="744" y="239"/>
                    </a:lnTo>
                    <a:lnTo>
                      <a:pt x="742" y="239"/>
                    </a:lnTo>
                    <a:lnTo>
                      <a:pt x="742" y="240"/>
                    </a:lnTo>
                    <a:lnTo>
                      <a:pt x="740" y="240"/>
                    </a:lnTo>
                    <a:lnTo>
                      <a:pt x="738" y="240"/>
                    </a:lnTo>
                    <a:lnTo>
                      <a:pt x="738" y="242"/>
                    </a:lnTo>
                    <a:lnTo>
                      <a:pt x="740" y="240"/>
                    </a:lnTo>
                    <a:lnTo>
                      <a:pt x="740" y="242"/>
                    </a:lnTo>
                    <a:lnTo>
                      <a:pt x="738" y="244"/>
                    </a:lnTo>
                    <a:lnTo>
                      <a:pt x="736" y="244"/>
                    </a:lnTo>
                    <a:lnTo>
                      <a:pt x="736" y="246"/>
                    </a:lnTo>
                    <a:lnTo>
                      <a:pt x="738" y="246"/>
                    </a:lnTo>
                    <a:lnTo>
                      <a:pt x="736" y="246"/>
                    </a:lnTo>
                    <a:lnTo>
                      <a:pt x="738" y="246"/>
                    </a:lnTo>
                    <a:lnTo>
                      <a:pt x="736" y="246"/>
                    </a:lnTo>
                    <a:lnTo>
                      <a:pt x="736" y="248"/>
                    </a:lnTo>
                    <a:lnTo>
                      <a:pt x="736" y="246"/>
                    </a:lnTo>
                    <a:lnTo>
                      <a:pt x="736" y="248"/>
                    </a:lnTo>
                    <a:lnTo>
                      <a:pt x="736" y="246"/>
                    </a:lnTo>
                    <a:lnTo>
                      <a:pt x="736" y="248"/>
                    </a:lnTo>
                    <a:lnTo>
                      <a:pt x="738" y="248"/>
                    </a:lnTo>
                    <a:lnTo>
                      <a:pt x="736" y="248"/>
                    </a:lnTo>
                    <a:lnTo>
                      <a:pt x="736" y="250"/>
                    </a:lnTo>
                    <a:lnTo>
                      <a:pt x="734" y="250"/>
                    </a:lnTo>
                    <a:lnTo>
                      <a:pt x="734" y="252"/>
                    </a:lnTo>
                    <a:lnTo>
                      <a:pt x="732" y="252"/>
                    </a:lnTo>
                    <a:lnTo>
                      <a:pt x="730" y="252"/>
                    </a:lnTo>
                    <a:lnTo>
                      <a:pt x="732" y="252"/>
                    </a:lnTo>
                    <a:lnTo>
                      <a:pt x="730" y="252"/>
                    </a:lnTo>
                    <a:lnTo>
                      <a:pt x="728" y="252"/>
                    </a:lnTo>
                    <a:lnTo>
                      <a:pt x="726" y="252"/>
                    </a:lnTo>
                    <a:lnTo>
                      <a:pt x="725" y="252"/>
                    </a:lnTo>
                    <a:lnTo>
                      <a:pt x="725" y="254"/>
                    </a:lnTo>
                    <a:lnTo>
                      <a:pt x="723" y="254"/>
                    </a:lnTo>
                    <a:lnTo>
                      <a:pt x="723" y="256"/>
                    </a:lnTo>
                    <a:lnTo>
                      <a:pt x="721" y="256"/>
                    </a:lnTo>
                    <a:lnTo>
                      <a:pt x="721" y="258"/>
                    </a:lnTo>
                    <a:lnTo>
                      <a:pt x="719" y="258"/>
                    </a:lnTo>
                    <a:lnTo>
                      <a:pt x="719" y="256"/>
                    </a:lnTo>
                    <a:lnTo>
                      <a:pt x="717" y="256"/>
                    </a:lnTo>
                    <a:lnTo>
                      <a:pt x="715" y="256"/>
                    </a:lnTo>
                    <a:lnTo>
                      <a:pt x="715" y="254"/>
                    </a:lnTo>
                    <a:lnTo>
                      <a:pt x="715" y="256"/>
                    </a:lnTo>
                    <a:lnTo>
                      <a:pt x="713" y="256"/>
                    </a:lnTo>
                    <a:lnTo>
                      <a:pt x="713" y="254"/>
                    </a:lnTo>
                    <a:lnTo>
                      <a:pt x="713" y="256"/>
                    </a:lnTo>
                    <a:lnTo>
                      <a:pt x="711" y="254"/>
                    </a:lnTo>
                    <a:lnTo>
                      <a:pt x="709" y="254"/>
                    </a:lnTo>
                    <a:lnTo>
                      <a:pt x="711" y="254"/>
                    </a:lnTo>
                    <a:lnTo>
                      <a:pt x="713" y="256"/>
                    </a:lnTo>
                    <a:lnTo>
                      <a:pt x="713" y="254"/>
                    </a:lnTo>
                    <a:lnTo>
                      <a:pt x="713" y="256"/>
                    </a:lnTo>
                    <a:lnTo>
                      <a:pt x="715" y="256"/>
                    </a:lnTo>
                    <a:lnTo>
                      <a:pt x="715" y="254"/>
                    </a:lnTo>
                    <a:lnTo>
                      <a:pt x="715" y="256"/>
                    </a:lnTo>
                    <a:lnTo>
                      <a:pt x="715" y="254"/>
                    </a:lnTo>
                    <a:lnTo>
                      <a:pt x="715" y="256"/>
                    </a:lnTo>
                    <a:lnTo>
                      <a:pt x="717" y="256"/>
                    </a:lnTo>
                    <a:lnTo>
                      <a:pt x="719" y="256"/>
                    </a:lnTo>
                    <a:lnTo>
                      <a:pt x="719" y="258"/>
                    </a:lnTo>
                    <a:lnTo>
                      <a:pt x="717" y="258"/>
                    </a:lnTo>
                    <a:lnTo>
                      <a:pt x="719" y="258"/>
                    </a:lnTo>
                    <a:lnTo>
                      <a:pt x="721" y="258"/>
                    </a:lnTo>
                    <a:lnTo>
                      <a:pt x="721" y="260"/>
                    </a:lnTo>
                    <a:lnTo>
                      <a:pt x="719" y="260"/>
                    </a:lnTo>
                    <a:lnTo>
                      <a:pt x="719" y="262"/>
                    </a:lnTo>
                    <a:lnTo>
                      <a:pt x="717" y="262"/>
                    </a:lnTo>
                    <a:lnTo>
                      <a:pt x="719" y="262"/>
                    </a:lnTo>
                    <a:lnTo>
                      <a:pt x="719" y="260"/>
                    </a:lnTo>
                    <a:lnTo>
                      <a:pt x="719" y="262"/>
                    </a:lnTo>
                    <a:lnTo>
                      <a:pt x="719" y="260"/>
                    </a:lnTo>
                    <a:lnTo>
                      <a:pt x="717" y="260"/>
                    </a:lnTo>
                    <a:lnTo>
                      <a:pt x="719" y="260"/>
                    </a:lnTo>
                    <a:lnTo>
                      <a:pt x="717" y="260"/>
                    </a:lnTo>
                    <a:lnTo>
                      <a:pt x="717" y="262"/>
                    </a:lnTo>
                    <a:lnTo>
                      <a:pt x="717" y="260"/>
                    </a:lnTo>
                    <a:lnTo>
                      <a:pt x="717" y="262"/>
                    </a:lnTo>
                    <a:lnTo>
                      <a:pt x="719" y="262"/>
                    </a:lnTo>
                    <a:lnTo>
                      <a:pt x="717" y="262"/>
                    </a:lnTo>
                    <a:lnTo>
                      <a:pt x="715" y="262"/>
                    </a:lnTo>
                    <a:lnTo>
                      <a:pt x="713" y="264"/>
                    </a:lnTo>
                    <a:lnTo>
                      <a:pt x="711" y="265"/>
                    </a:lnTo>
                    <a:lnTo>
                      <a:pt x="709" y="265"/>
                    </a:lnTo>
                    <a:lnTo>
                      <a:pt x="707" y="265"/>
                    </a:lnTo>
                    <a:lnTo>
                      <a:pt x="705" y="265"/>
                    </a:lnTo>
                    <a:lnTo>
                      <a:pt x="703" y="265"/>
                    </a:lnTo>
                    <a:lnTo>
                      <a:pt x="701" y="265"/>
                    </a:lnTo>
                    <a:lnTo>
                      <a:pt x="700" y="265"/>
                    </a:lnTo>
                    <a:lnTo>
                      <a:pt x="698" y="265"/>
                    </a:lnTo>
                    <a:lnTo>
                      <a:pt x="696" y="265"/>
                    </a:lnTo>
                    <a:lnTo>
                      <a:pt x="694" y="265"/>
                    </a:lnTo>
                    <a:lnTo>
                      <a:pt x="692" y="265"/>
                    </a:lnTo>
                    <a:lnTo>
                      <a:pt x="692" y="264"/>
                    </a:lnTo>
                    <a:lnTo>
                      <a:pt x="690" y="264"/>
                    </a:lnTo>
                    <a:lnTo>
                      <a:pt x="688" y="264"/>
                    </a:lnTo>
                    <a:lnTo>
                      <a:pt x="688" y="262"/>
                    </a:lnTo>
                    <a:lnTo>
                      <a:pt x="688" y="264"/>
                    </a:lnTo>
                    <a:lnTo>
                      <a:pt x="688" y="262"/>
                    </a:lnTo>
                    <a:lnTo>
                      <a:pt x="688" y="264"/>
                    </a:lnTo>
                    <a:lnTo>
                      <a:pt x="688" y="262"/>
                    </a:lnTo>
                    <a:lnTo>
                      <a:pt x="686" y="262"/>
                    </a:lnTo>
                    <a:lnTo>
                      <a:pt x="684" y="262"/>
                    </a:lnTo>
                    <a:lnTo>
                      <a:pt x="684" y="260"/>
                    </a:lnTo>
                    <a:lnTo>
                      <a:pt x="686" y="260"/>
                    </a:lnTo>
                    <a:lnTo>
                      <a:pt x="684" y="260"/>
                    </a:lnTo>
                    <a:lnTo>
                      <a:pt x="684" y="258"/>
                    </a:lnTo>
                    <a:lnTo>
                      <a:pt x="684" y="256"/>
                    </a:lnTo>
                    <a:lnTo>
                      <a:pt x="682" y="256"/>
                    </a:lnTo>
                    <a:lnTo>
                      <a:pt x="682" y="254"/>
                    </a:lnTo>
                    <a:lnTo>
                      <a:pt x="680" y="254"/>
                    </a:lnTo>
                    <a:lnTo>
                      <a:pt x="682" y="254"/>
                    </a:lnTo>
                    <a:lnTo>
                      <a:pt x="682" y="252"/>
                    </a:lnTo>
                    <a:lnTo>
                      <a:pt x="682" y="250"/>
                    </a:lnTo>
                    <a:lnTo>
                      <a:pt x="682" y="248"/>
                    </a:lnTo>
                    <a:lnTo>
                      <a:pt x="680" y="248"/>
                    </a:lnTo>
                    <a:lnTo>
                      <a:pt x="680" y="246"/>
                    </a:lnTo>
                    <a:lnTo>
                      <a:pt x="680" y="248"/>
                    </a:lnTo>
                    <a:lnTo>
                      <a:pt x="680" y="246"/>
                    </a:lnTo>
                    <a:lnTo>
                      <a:pt x="678" y="246"/>
                    </a:lnTo>
                    <a:lnTo>
                      <a:pt x="678" y="244"/>
                    </a:lnTo>
                    <a:lnTo>
                      <a:pt x="678" y="242"/>
                    </a:lnTo>
                    <a:lnTo>
                      <a:pt x="678" y="240"/>
                    </a:lnTo>
                    <a:lnTo>
                      <a:pt x="678" y="239"/>
                    </a:lnTo>
                    <a:lnTo>
                      <a:pt x="680" y="239"/>
                    </a:lnTo>
                    <a:lnTo>
                      <a:pt x="678" y="239"/>
                    </a:lnTo>
                    <a:lnTo>
                      <a:pt x="680" y="239"/>
                    </a:lnTo>
                    <a:lnTo>
                      <a:pt x="680" y="237"/>
                    </a:lnTo>
                    <a:lnTo>
                      <a:pt x="682" y="237"/>
                    </a:lnTo>
                    <a:lnTo>
                      <a:pt x="682" y="235"/>
                    </a:lnTo>
                    <a:lnTo>
                      <a:pt x="684" y="235"/>
                    </a:lnTo>
                    <a:lnTo>
                      <a:pt x="686" y="235"/>
                    </a:lnTo>
                    <a:lnTo>
                      <a:pt x="686" y="233"/>
                    </a:lnTo>
                    <a:lnTo>
                      <a:pt x="688" y="233"/>
                    </a:lnTo>
                    <a:lnTo>
                      <a:pt x="688" y="231"/>
                    </a:lnTo>
                    <a:lnTo>
                      <a:pt x="688" y="233"/>
                    </a:lnTo>
                    <a:lnTo>
                      <a:pt x="686" y="233"/>
                    </a:lnTo>
                    <a:lnTo>
                      <a:pt x="686" y="235"/>
                    </a:lnTo>
                    <a:lnTo>
                      <a:pt x="684" y="235"/>
                    </a:lnTo>
                    <a:lnTo>
                      <a:pt x="682" y="235"/>
                    </a:lnTo>
                    <a:lnTo>
                      <a:pt x="682" y="237"/>
                    </a:lnTo>
                    <a:lnTo>
                      <a:pt x="680" y="237"/>
                    </a:lnTo>
                    <a:lnTo>
                      <a:pt x="680" y="239"/>
                    </a:lnTo>
                    <a:lnTo>
                      <a:pt x="678" y="239"/>
                    </a:lnTo>
                    <a:lnTo>
                      <a:pt x="678" y="240"/>
                    </a:lnTo>
                    <a:lnTo>
                      <a:pt x="678" y="242"/>
                    </a:lnTo>
                    <a:lnTo>
                      <a:pt x="678" y="244"/>
                    </a:lnTo>
                    <a:lnTo>
                      <a:pt x="678" y="246"/>
                    </a:lnTo>
                    <a:lnTo>
                      <a:pt x="680" y="246"/>
                    </a:lnTo>
                    <a:lnTo>
                      <a:pt x="680" y="248"/>
                    </a:lnTo>
                    <a:lnTo>
                      <a:pt x="682" y="248"/>
                    </a:lnTo>
                    <a:lnTo>
                      <a:pt x="682" y="250"/>
                    </a:lnTo>
                    <a:lnTo>
                      <a:pt x="682" y="252"/>
                    </a:lnTo>
                    <a:lnTo>
                      <a:pt x="682" y="250"/>
                    </a:lnTo>
                    <a:lnTo>
                      <a:pt x="682" y="252"/>
                    </a:lnTo>
                    <a:lnTo>
                      <a:pt x="680" y="252"/>
                    </a:lnTo>
                    <a:lnTo>
                      <a:pt x="680" y="254"/>
                    </a:lnTo>
                    <a:lnTo>
                      <a:pt x="682" y="254"/>
                    </a:lnTo>
                    <a:lnTo>
                      <a:pt x="682" y="256"/>
                    </a:lnTo>
                    <a:lnTo>
                      <a:pt x="684" y="256"/>
                    </a:lnTo>
                    <a:lnTo>
                      <a:pt x="682" y="256"/>
                    </a:lnTo>
                    <a:lnTo>
                      <a:pt x="684" y="256"/>
                    </a:lnTo>
                    <a:lnTo>
                      <a:pt x="684" y="258"/>
                    </a:lnTo>
                    <a:lnTo>
                      <a:pt x="682" y="258"/>
                    </a:lnTo>
                    <a:lnTo>
                      <a:pt x="684" y="258"/>
                    </a:lnTo>
                    <a:lnTo>
                      <a:pt x="684" y="260"/>
                    </a:lnTo>
                    <a:lnTo>
                      <a:pt x="684" y="262"/>
                    </a:lnTo>
                    <a:lnTo>
                      <a:pt x="686" y="262"/>
                    </a:lnTo>
                    <a:lnTo>
                      <a:pt x="688" y="262"/>
                    </a:lnTo>
                    <a:lnTo>
                      <a:pt x="688" y="264"/>
                    </a:lnTo>
                    <a:lnTo>
                      <a:pt x="690" y="264"/>
                    </a:lnTo>
                    <a:lnTo>
                      <a:pt x="692" y="265"/>
                    </a:lnTo>
                    <a:lnTo>
                      <a:pt x="694" y="265"/>
                    </a:lnTo>
                    <a:lnTo>
                      <a:pt x="696" y="265"/>
                    </a:lnTo>
                    <a:lnTo>
                      <a:pt x="698" y="265"/>
                    </a:lnTo>
                    <a:lnTo>
                      <a:pt x="700" y="265"/>
                    </a:lnTo>
                    <a:lnTo>
                      <a:pt x="701" y="265"/>
                    </a:lnTo>
                    <a:lnTo>
                      <a:pt x="703" y="265"/>
                    </a:lnTo>
                    <a:lnTo>
                      <a:pt x="705" y="265"/>
                    </a:lnTo>
                    <a:lnTo>
                      <a:pt x="705" y="267"/>
                    </a:lnTo>
                    <a:lnTo>
                      <a:pt x="707" y="267"/>
                    </a:lnTo>
                    <a:lnTo>
                      <a:pt x="707" y="269"/>
                    </a:lnTo>
                    <a:lnTo>
                      <a:pt x="705" y="269"/>
                    </a:lnTo>
                    <a:lnTo>
                      <a:pt x="703" y="271"/>
                    </a:lnTo>
                    <a:lnTo>
                      <a:pt x="701" y="271"/>
                    </a:lnTo>
                    <a:lnTo>
                      <a:pt x="700" y="271"/>
                    </a:lnTo>
                    <a:lnTo>
                      <a:pt x="700" y="273"/>
                    </a:lnTo>
                    <a:lnTo>
                      <a:pt x="698" y="273"/>
                    </a:lnTo>
                    <a:lnTo>
                      <a:pt x="698" y="275"/>
                    </a:lnTo>
                    <a:lnTo>
                      <a:pt x="696" y="275"/>
                    </a:lnTo>
                    <a:lnTo>
                      <a:pt x="694" y="275"/>
                    </a:lnTo>
                    <a:lnTo>
                      <a:pt x="696" y="277"/>
                    </a:lnTo>
                    <a:lnTo>
                      <a:pt x="694" y="277"/>
                    </a:lnTo>
                    <a:lnTo>
                      <a:pt x="694" y="275"/>
                    </a:lnTo>
                    <a:lnTo>
                      <a:pt x="692" y="275"/>
                    </a:lnTo>
                    <a:lnTo>
                      <a:pt x="692" y="277"/>
                    </a:lnTo>
                    <a:lnTo>
                      <a:pt x="690" y="277"/>
                    </a:lnTo>
                    <a:lnTo>
                      <a:pt x="690" y="275"/>
                    </a:lnTo>
                    <a:lnTo>
                      <a:pt x="690" y="277"/>
                    </a:lnTo>
                    <a:lnTo>
                      <a:pt x="688" y="277"/>
                    </a:lnTo>
                    <a:lnTo>
                      <a:pt x="688" y="279"/>
                    </a:lnTo>
                    <a:lnTo>
                      <a:pt x="686" y="279"/>
                    </a:lnTo>
                    <a:lnTo>
                      <a:pt x="684" y="279"/>
                    </a:lnTo>
                    <a:lnTo>
                      <a:pt x="684" y="281"/>
                    </a:lnTo>
                    <a:lnTo>
                      <a:pt x="684" y="279"/>
                    </a:lnTo>
                    <a:lnTo>
                      <a:pt x="684" y="281"/>
                    </a:lnTo>
                    <a:lnTo>
                      <a:pt x="682" y="281"/>
                    </a:lnTo>
                    <a:lnTo>
                      <a:pt x="682" y="279"/>
                    </a:lnTo>
                    <a:lnTo>
                      <a:pt x="682" y="281"/>
                    </a:lnTo>
                    <a:lnTo>
                      <a:pt x="680" y="281"/>
                    </a:lnTo>
                    <a:lnTo>
                      <a:pt x="678" y="281"/>
                    </a:lnTo>
                    <a:lnTo>
                      <a:pt x="677" y="281"/>
                    </a:lnTo>
                    <a:lnTo>
                      <a:pt x="675" y="281"/>
                    </a:lnTo>
                    <a:lnTo>
                      <a:pt x="677" y="281"/>
                    </a:lnTo>
                    <a:lnTo>
                      <a:pt x="677" y="279"/>
                    </a:lnTo>
                    <a:lnTo>
                      <a:pt x="675" y="279"/>
                    </a:lnTo>
                    <a:lnTo>
                      <a:pt x="675" y="281"/>
                    </a:lnTo>
                    <a:lnTo>
                      <a:pt x="675" y="279"/>
                    </a:lnTo>
                    <a:lnTo>
                      <a:pt x="673" y="279"/>
                    </a:lnTo>
                    <a:lnTo>
                      <a:pt x="675" y="279"/>
                    </a:lnTo>
                    <a:lnTo>
                      <a:pt x="673" y="279"/>
                    </a:lnTo>
                    <a:lnTo>
                      <a:pt x="671" y="279"/>
                    </a:lnTo>
                    <a:lnTo>
                      <a:pt x="671" y="277"/>
                    </a:lnTo>
                    <a:lnTo>
                      <a:pt x="669" y="277"/>
                    </a:lnTo>
                    <a:lnTo>
                      <a:pt x="669" y="275"/>
                    </a:lnTo>
                    <a:lnTo>
                      <a:pt x="669" y="277"/>
                    </a:lnTo>
                    <a:lnTo>
                      <a:pt x="671" y="277"/>
                    </a:lnTo>
                    <a:lnTo>
                      <a:pt x="671" y="279"/>
                    </a:lnTo>
                    <a:lnTo>
                      <a:pt x="673" y="279"/>
                    </a:lnTo>
                    <a:lnTo>
                      <a:pt x="675" y="279"/>
                    </a:lnTo>
                    <a:lnTo>
                      <a:pt x="673" y="279"/>
                    </a:lnTo>
                    <a:lnTo>
                      <a:pt x="675" y="279"/>
                    </a:lnTo>
                    <a:lnTo>
                      <a:pt x="675" y="281"/>
                    </a:lnTo>
                    <a:lnTo>
                      <a:pt x="675" y="279"/>
                    </a:lnTo>
                    <a:lnTo>
                      <a:pt x="677" y="279"/>
                    </a:lnTo>
                    <a:lnTo>
                      <a:pt x="675" y="281"/>
                    </a:lnTo>
                    <a:lnTo>
                      <a:pt x="677" y="281"/>
                    </a:lnTo>
                    <a:lnTo>
                      <a:pt x="678" y="281"/>
                    </a:lnTo>
                    <a:lnTo>
                      <a:pt x="680" y="281"/>
                    </a:lnTo>
                    <a:lnTo>
                      <a:pt x="682" y="281"/>
                    </a:lnTo>
                    <a:lnTo>
                      <a:pt x="684" y="281"/>
                    </a:lnTo>
                    <a:lnTo>
                      <a:pt x="684" y="279"/>
                    </a:lnTo>
                    <a:lnTo>
                      <a:pt x="684" y="281"/>
                    </a:lnTo>
                    <a:lnTo>
                      <a:pt x="684" y="279"/>
                    </a:lnTo>
                    <a:lnTo>
                      <a:pt x="684" y="281"/>
                    </a:lnTo>
                    <a:lnTo>
                      <a:pt x="686" y="279"/>
                    </a:lnTo>
                    <a:lnTo>
                      <a:pt x="686" y="281"/>
                    </a:lnTo>
                    <a:lnTo>
                      <a:pt x="686" y="279"/>
                    </a:lnTo>
                    <a:lnTo>
                      <a:pt x="688" y="279"/>
                    </a:lnTo>
                    <a:lnTo>
                      <a:pt x="688" y="277"/>
                    </a:lnTo>
                    <a:lnTo>
                      <a:pt x="690" y="277"/>
                    </a:lnTo>
                    <a:lnTo>
                      <a:pt x="692" y="277"/>
                    </a:lnTo>
                    <a:lnTo>
                      <a:pt x="690" y="277"/>
                    </a:lnTo>
                    <a:lnTo>
                      <a:pt x="692" y="277"/>
                    </a:lnTo>
                    <a:lnTo>
                      <a:pt x="692" y="279"/>
                    </a:lnTo>
                    <a:lnTo>
                      <a:pt x="694" y="279"/>
                    </a:lnTo>
                    <a:lnTo>
                      <a:pt x="694" y="277"/>
                    </a:lnTo>
                    <a:lnTo>
                      <a:pt x="696" y="277"/>
                    </a:lnTo>
                    <a:lnTo>
                      <a:pt x="698" y="277"/>
                    </a:lnTo>
                    <a:lnTo>
                      <a:pt x="698" y="275"/>
                    </a:lnTo>
                    <a:lnTo>
                      <a:pt x="698" y="277"/>
                    </a:lnTo>
                    <a:lnTo>
                      <a:pt x="698" y="279"/>
                    </a:lnTo>
                    <a:lnTo>
                      <a:pt x="698" y="281"/>
                    </a:lnTo>
                    <a:lnTo>
                      <a:pt x="698" y="283"/>
                    </a:lnTo>
                    <a:lnTo>
                      <a:pt x="696" y="285"/>
                    </a:lnTo>
                    <a:lnTo>
                      <a:pt x="694" y="285"/>
                    </a:lnTo>
                    <a:lnTo>
                      <a:pt x="694" y="287"/>
                    </a:lnTo>
                    <a:lnTo>
                      <a:pt x="692" y="287"/>
                    </a:lnTo>
                    <a:lnTo>
                      <a:pt x="692" y="289"/>
                    </a:lnTo>
                    <a:lnTo>
                      <a:pt x="690" y="289"/>
                    </a:lnTo>
                    <a:lnTo>
                      <a:pt x="688" y="289"/>
                    </a:lnTo>
                    <a:lnTo>
                      <a:pt x="688" y="290"/>
                    </a:lnTo>
                    <a:lnTo>
                      <a:pt x="686" y="290"/>
                    </a:lnTo>
                    <a:lnTo>
                      <a:pt x="688" y="290"/>
                    </a:lnTo>
                    <a:lnTo>
                      <a:pt x="686" y="290"/>
                    </a:lnTo>
                    <a:lnTo>
                      <a:pt x="686" y="289"/>
                    </a:lnTo>
                    <a:lnTo>
                      <a:pt x="686" y="290"/>
                    </a:lnTo>
                    <a:lnTo>
                      <a:pt x="684" y="290"/>
                    </a:lnTo>
                    <a:lnTo>
                      <a:pt x="682" y="292"/>
                    </a:lnTo>
                    <a:lnTo>
                      <a:pt x="680" y="292"/>
                    </a:lnTo>
                    <a:lnTo>
                      <a:pt x="680" y="294"/>
                    </a:lnTo>
                    <a:lnTo>
                      <a:pt x="678" y="294"/>
                    </a:lnTo>
                    <a:lnTo>
                      <a:pt x="678" y="296"/>
                    </a:lnTo>
                    <a:lnTo>
                      <a:pt x="678" y="294"/>
                    </a:lnTo>
                    <a:lnTo>
                      <a:pt x="678" y="296"/>
                    </a:lnTo>
                    <a:lnTo>
                      <a:pt x="677" y="298"/>
                    </a:lnTo>
                    <a:lnTo>
                      <a:pt x="678" y="296"/>
                    </a:lnTo>
                    <a:lnTo>
                      <a:pt x="677" y="296"/>
                    </a:lnTo>
                    <a:lnTo>
                      <a:pt x="678" y="296"/>
                    </a:lnTo>
                    <a:lnTo>
                      <a:pt x="677" y="296"/>
                    </a:lnTo>
                    <a:lnTo>
                      <a:pt x="678" y="296"/>
                    </a:lnTo>
                    <a:lnTo>
                      <a:pt x="677" y="298"/>
                    </a:lnTo>
                    <a:lnTo>
                      <a:pt x="675" y="300"/>
                    </a:lnTo>
                    <a:lnTo>
                      <a:pt x="675" y="302"/>
                    </a:lnTo>
                    <a:lnTo>
                      <a:pt x="675" y="304"/>
                    </a:lnTo>
                    <a:lnTo>
                      <a:pt x="673" y="304"/>
                    </a:lnTo>
                    <a:lnTo>
                      <a:pt x="675" y="304"/>
                    </a:lnTo>
                    <a:lnTo>
                      <a:pt x="673" y="304"/>
                    </a:lnTo>
                    <a:lnTo>
                      <a:pt x="673" y="306"/>
                    </a:lnTo>
                    <a:lnTo>
                      <a:pt x="673" y="304"/>
                    </a:lnTo>
                    <a:lnTo>
                      <a:pt x="673" y="306"/>
                    </a:lnTo>
                    <a:lnTo>
                      <a:pt x="673" y="304"/>
                    </a:lnTo>
                    <a:lnTo>
                      <a:pt x="673" y="306"/>
                    </a:lnTo>
                    <a:lnTo>
                      <a:pt x="671" y="308"/>
                    </a:lnTo>
                    <a:lnTo>
                      <a:pt x="669" y="308"/>
                    </a:lnTo>
                    <a:lnTo>
                      <a:pt x="669" y="306"/>
                    </a:lnTo>
                    <a:lnTo>
                      <a:pt x="669" y="308"/>
                    </a:lnTo>
                    <a:lnTo>
                      <a:pt x="671" y="308"/>
                    </a:lnTo>
                    <a:lnTo>
                      <a:pt x="671" y="310"/>
                    </a:lnTo>
                    <a:lnTo>
                      <a:pt x="671" y="308"/>
                    </a:lnTo>
                    <a:lnTo>
                      <a:pt x="671" y="310"/>
                    </a:lnTo>
                    <a:lnTo>
                      <a:pt x="669" y="310"/>
                    </a:lnTo>
                    <a:lnTo>
                      <a:pt x="669" y="312"/>
                    </a:lnTo>
                    <a:lnTo>
                      <a:pt x="667" y="312"/>
                    </a:lnTo>
                    <a:lnTo>
                      <a:pt x="667" y="314"/>
                    </a:lnTo>
                    <a:lnTo>
                      <a:pt x="665" y="314"/>
                    </a:lnTo>
                    <a:lnTo>
                      <a:pt x="665" y="315"/>
                    </a:lnTo>
                    <a:lnTo>
                      <a:pt x="665" y="314"/>
                    </a:lnTo>
                    <a:lnTo>
                      <a:pt x="665" y="315"/>
                    </a:lnTo>
                    <a:lnTo>
                      <a:pt x="663" y="314"/>
                    </a:lnTo>
                    <a:lnTo>
                      <a:pt x="663" y="315"/>
                    </a:lnTo>
                    <a:lnTo>
                      <a:pt x="661" y="315"/>
                    </a:lnTo>
                    <a:lnTo>
                      <a:pt x="659" y="315"/>
                    </a:lnTo>
                    <a:lnTo>
                      <a:pt x="659" y="317"/>
                    </a:lnTo>
                    <a:lnTo>
                      <a:pt x="657" y="317"/>
                    </a:lnTo>
                    <a:lnTo>
                      <a:pt x="655" y="317"/>
                    </a:lnTo>
                    <a:lnTo>
                      <a:pt x="653" y="317"/>
                    </a:lnTo>
                    <a:lnTo>
                      <a:pt x="652" y="319"/>
                    </a:lnTo>
                    <a:lnTo>
                      <a:pt x="650" y="319"/>
                    </a:lnTo>
                    <a:lnTo>
                      <a:pt x="648" y="319"/>
                    </a:lnTo>
                    <a:lnTo>
                      <a:pt x="650" y="319"/>
                    </a:lnTo>
                    <a:lnTo>
                      <a:pt x="648" y="319"/>
                    </a:lnTo>
                    <a:lnTo>
                      <a:pt x="646" y="319"/>
                    </a:lnTo>
                    <a:lnTo>
                      <a:pt x="644" y="319"/>
                    </a:lnTo>
                    <a:lnTo>
                      <a:pt x="642" y="319"/>
                    </a:lnTo>
                    <a:lnTo>
                      <a:pt x="640" y="319"/>
                    </a:lnTo>
                    <a:lnTo>
                      <a:pt x="638" y="317"/>
                    </a:lnTo>
                    <a:lnTo>
                      <a:pt x="640" y="317"/>
                    </a:lnTo>
                    <a:lnTo>
                      <a:pt x="640" y="315"/>
                    </a:lnTo>
                    <a:lnTo>
                      <a:pt x="638" y="315"/>
                    </a:lnTo>
                    <a:lnTo>
                      <a:pt x="636" y="315"/>
                    </a:lnTo>
                    <a:lnTo>
                      <a:pt x="634" y="314"/>
                    </a:lnTo>
                    <a:lnTo>
                      <a:pt x="632" y="314"/>
                    </a:lnTo>
                    <a:lnTo>
                      <a:pt x="630" y="314"/>
                    </a:lnTo>
                    <a:lnTo>
                      <a:pt x="628" y="314"/>
                    </a:lnTo>
                    <a:lnTo>
                      <a:pt x="627" y="314"/>
                    </a:lnTo>
                    <a:lnTo>
                      <a:pt x="625" y="314"/>
                    </a:lnTo>
                    <a:lnTo>
                      <a:pt x="625" y="312"/>
                    </a:lnTo>
                    <a:lnTo>
                      <a:pt x="623" y="312"/>
                    </a:lnTo>
                    <a:lnTo>
                      <a:pt x="625" y="312"/>
                    </a:lnTo>
                    <a:lnTo>
                      <a:pt x="623" y="312"/>
                    </a:lnTo>
                    <a:lnTo>
                      <a:pt x="623" y="310"/>
                    </a:lnTo>
                    <a:lnTo>
                      <a:pt x="623" y="312"/>
                    </a:lnTo>
                    <a:lnTo>
                      <a:pt x="621" y="312"/>
                    </a:lnTo>
                    <a:lnTo>
                      <a:pt x="623" y="312"/>
                    </a:lnTo>
                    <a:lnTo>
                      <a:pt x="623" y="310"/>
                    </a:lnTo>
                    <a:lnTo>
                      <a:pt x="621" y="310"/>
                    </a:lnTo>
                    <a:lnTo>
                      <a:pt x="623" y="310"/>
                    </a:lnTo>
                    <a:lnTo>
                      <a:pt x="621" y="308"/>
                    </a:lnTo>
                    <a:lnTo>
                      <a:pt x="621" y="310"/>
                    </a:lnTo>
                    <a:lnTo>
                      <a:pt x="621" y="308"/>
                    </a:lnTo>
                    <a:lnTo>
                      <a:pt x="621" y="310"/>
                    </a:lnTo>
                    <a:lnTo>
                      <a:pt x="621" y="308"/>
                    </a:lnTo>
                    <a:lnTo>
                      <a:pt x="621" y="310"/>
                    </a:lnTo>
                    <a:lnTo>
                      <a:pt x="623" y="310"/>
                    </a:lnTo>
                    <a:lnTo>
                      <a:pt x="621" y="310"/>
                    </a:lnTo>
                    <a:lnTo>
                      <a:pt x="623" y="310"/>
                    </a:lnTo>
                    <a:lnTo>
                      <a:pt x="621" y="312"/>
                    </a:lnTo>
                    <a:lnTo>
                      <a:pt x="623" y="312"/>
                    </a:lnTo>
                    <a:lnTo>
                      <a:pt x="623" y="310"/>
                    </a:lnTo>
                    <a:lnTo>
                      <a:pt x="623" y="312"/>
                    </a:lnTo>
                    <a:lnTo>
                      <a:pt x="625" y="312"/>
                    </a:lnTo>
                    <a:lnTo>
                      <a:pt x="623" y="312"/>
                    </a:lnTo>
                    <a:lnTo>
                      <a:pt x="625" y="312"/>
                    </a:lnTo>
                    <a:lnTo>
                      <a:pt x="625" y="314"/>
                    </a:lnTo>
                    <a:lnTo>
                      <a:pt x="623" y="314"/>
                    </a:lnTo>
                    <a:lnTo>
                      <a:pt x="621" y="314"/>
                    </a:lnTo>
                    <a:lnTo>
                      <a:pt x="623" y="314"/>
                    </a:lnTo>
                    <a:lnTo>
                      <a:pt x="621" y="314"/>
                    </a:lnTo>
                    <a:lnTo>
                      <a:pt x="623" y="314"/>
                    </a:lnTo>
                    <a:lnTo>
                      <a:pt x="623" y="312"/>
                    </a:lnTo>
                    <a:lnTo>
                      <a:pt x="621" y="312"/>
                    </a:lnTo>
                    <a:lnTo>
                      <a:pt x="621" y="314"/>
                    </a:lnTo>
                    <a:lnTo>
                      <a:pt x="621" y="312"/>
                    </a:lnTo>
                    <a:lnTo>
                      <a:pt x="619" y="314"/>
                    </a:lnTo>
                    <a:lnTo>
                      <a:pt x="619" y="312"/>
                    </a:lnTo>
                    <a:lnTo>
                      <a:pt x="619" y="314"/>
                    </a:lnTo>
                    <a:lnTo>
                      <a:pt x="617" y="314"/>
                    </a:lnTo>
                    <a:lnTo>
                      <a:pt x="615" y="314"/>
                    </a:lnTo>
                    <a:lnTo>
                      <a:pt x="613" y="314"/>
                    </a:lnTo>
                    <a:lnTo>
                      <a:pt x="615" y="314"/>
                    </a:lnTo>
                    <a:lnTo>
                      <a:pt x="613" y="312"/>
                    </a:lnTo>
                    <a:lnTo>
                      <a:pt x="613" y="314"/>
                    </a:lnTo>
                    <a:lnTo>
                      <a:pt x="613" y="312"/>
                    </a:lnTo>
                    <a:lnTo>
                      <a:pt x="615" y="314"/>
                    </a:lnTo>
                    <a:lnTo>
                      <a:pt x="613" y="314"/>
                    </a:lnTo>
                    <a:lnTo>
                      <a:pt x="615" y="314"/>
                    </a:lnTo>
                    <a:lnTo>
                      <a:pt x="617" y="314"/>
                    </a:lnTo>
                    <a:lnTo>
                      <a:pt x="619" y="314"/>
                    </a:lnTo>
                    <a:lnTo>
                      <a:pt x="619" y="312"/>
                    </a:lnTo>
                    <a:lnTo>
                      <a:pt x="619" y="314"/>
                    </a:lnTo>
                    <a:lnTo>
                      <a:pt x="621" y="314"/>
                    </a:lnTo>
                    <a:lnTo>
                      <a:pt x="623" y="312"/>
                    </a:lnTo>
                    <a:lnTo>
                      <a:pt x="623" y="314"/>
                    </a:lnTo>
                    <a:lnTo>
                      <a:pt x="621" y="314"/>
                    </a:lnTo>
                    <a:lnTo>
                      <a:pt x="621" y="315"/>
                    </a:lnTo>
                    <a:lnTo>
                      <a:pt x="621" y="314"/>
                    </a:lnTo>
                    <a:lnTo>
                      <a:pt x="623" y="314"/>
                    </a:lnTo>
                    <a:lnTo>
                      <a:pt x="625" y="314"/>
                    </a:lnTo>
                    <a:lnTo>
                      <a:pt x="627" y="314"/>
                    </a:lnTo>
                    <a:lnTo>
                      <a:pt x="628" y="314"/>
                    </a:lnTo>
                    <a:lnTo>
                      <a:pt x="630" y="314"/>
                    </a:lnTo>
                    <a:lnTo>
                      <a:pt x="632" y="314"/>
                    </a:lnTo>
                    <a:lnTo>
                      <a:pt x="634" y="314"/>
                    </a:lnTo>
                    <a:lnTo>
                      <a:pt x="634" y="315"/>
                    </a:lnTo>
                    <a:lnTo>
                      <a:pt x="636" y="315"/>
                    </a:lnTo>
                    <a:lnTo>
                      <a:pt x="638" y="315"/>
                    </a:lnTo>
                    <a:lnTo>
                      <a:pt x="640" y="315"/>
                    </a:lnTo>
                    <a:lnTo>
                      <a:pt x="640" y="317"/>
                    </a:lnTo>
                    <a:lnTo>
                      <a:pt x="638" y="317"/>
                    </a:lnTo>
                    <a:lnTo>
                      <a:pt x="638" y="319"/>
                    </a:lnTo>
                    <a:lnTo>
                      <a:pt x="640" y="319"/>
                    </a:lnTo>
                    <a:lnTo>
                      <a:pt x="638" y="319"/>
                    </a:lnTo>
                    <a:lnTo>
                      <a:pt x="638" y="321"/>
                    </a:lnTo>
                    <a:lnTo>
                      <a:pt x="636" y="321"/>
                    </a:lnTo>
                    <a:lnTo>
                      <a:pt x="634" y="321"/>
                    </a:lnTo>
                    <a:lnTo>
                      <a:pt x="634" y="319"/>
                    </a:lnTo>
                    <a:lnTo>
                      <a:pt x="632" y="319"/>
                    </a:lnTo>
                    <a:lnTo>
                      <a:pt x="630" y="321"/>
                    </a:lnTo>
                    <a:lnTo>
                      <a:pt x="628" y="321"/>
                    </a:lnTo>
                    <a:lnTo>
                      <a:pt x="627" y="321"/>
                    </a:lnTo>
                    <a:lnTo>
                      <a:pt x="625" y="321"/>
                    </a:lnTo>
                    <a:lnTo>
                      <a:pt x="623" y="321"/>
                    </a:lnTo>
                    <a:lnTo>
                      <a:pt x="621" y="321"/>
                    </a:lnTo>
                    <a:lnTo>
                      <a:pt x="619" y="321"/>
                    </a:lnTo>
                    <a:lnTo>
                      <a:pt x="617" y="321"/>
                    </a:lnTo>
                    <a:lnTo>
                      <a:pt x="615" y="321"/>
                    </a:lnTo>
                    <a:lnTo>
                      <a:pt x="613" y="321"/>
                    </a:lnTo>
                    <a:lnTo>
                      <a:pt x="611" y="321"/>
                    </a:lnTo>
                    <a:lnTo>
                      <a:pt x="609" y="321"/>
                    </a:lnTo>
                    <a:lnTo>
                      <a:pt x="609" y="323"/>
                    </a:lnTo>
                    <a:lnTo>
                      <a:pt x="607" y="323"/>
                    </a:lnTo>
                    <a:lnTo>
                      <a:pt x="605" y="325"/>
                    </a:lnTo>
                    <a:lnTo>
                      <a:pt x="604" y="325"/>
                    </a:lnTo>
                    <a:lnTo>
                      <a:pt x="602" y="327"/>
                    </a:lnTo>
                    <a:lnTo>
                      <a:pt x="604" y="327"/>
                    </a:lnTo>
                    <a:lnTo>
                      <a:pt x="602" y="329"/>
                    </a:lnTo>
                    <a:lnTo>
                      <a:pt x="600" y="329"/>
                    </a:lnTo>
                    <a:lnTo>
                      <a:pt x="598" y="329"/>
                    </a:lnTo>
                    <a:lnTo>
                      <a:pt x="598" y="331"/>
                    </a:lnTo>
                    <a:lnTo>
                      <a:pt x="600" y="331"/>
                    </a:lnTo>
                    <a:lnTo>
                      <a:pt x="598" y="331"/>
                    </a:lnTo>
                    <a:lnTo>
                      <a:pt x="596" y="331"/>
                    </a:lnTo>
                    <a:lnTo>
                      <a:pt x="594" y="333"/>
                    </a:lnTo>
                    <a:lnTo>
                      <a:pt x="592" y="331"/>
                    </a:lnTo>
                    <a:lnTo>
                      <a:pt x="590" y="331"/>
                    </a:lnTo>
                    <a:lnTo>
                      <a:pt x="588" y="331"/>
                    </a:lnTo>
                    <a:lnTo>
                      <a:pt x="588" y="333"/>
                    </a:lnTo>
                    <a:lnTo>
                      <a:pt x="586" y="333"/>
                    </a:lnTo>
                    <a:lnTo>
                      <a:pt x="584" y="333"/>
                    </a:lnTo>
                    <a:lnTo>
                      <a:pt x="582" y="333"/>
                    </a:lnTo>
                    <a:lnTo>
                      <a:pt x="582" y="335"/>
                    </a:lnTo>
                    <a:lnTo>
                      <a:pt x="584" y="335"/>
                    </a:lnTo>
                    <a:lnTo>
                      <a:pt x="584" y="337"/>
                    </a:lnTo>
                    <a:lnTo>
                      <a:pt x="582" y="337"/>
                    </a:lnTo>
                    <a:lnTo>
                      <a:pt x="582" y="335"/>
                    </a:lnTo>
                    <a:lnTo>
                      <a:pt x="580" y="335"/>
                    </a:lnTo>
                    <a:lnTo>
                      <a:pt x="582" y="335"/>
                    </a:lnTo>
                    <a:lnTo>
                      <a:pt x="582" y="333"/>
                    </a:lnTo>
                    <a:lnTo>
                      <a:pt x="580" y="333"/>
                    </a:lnTo>
                    <a:lnTo>
                      <a:pt x="580" y="335"/>
                    </a:lnTo>
                    <a:lnTo>
                      <a:pt x="579" y="335"/>
                    </a:lnTo>
                    <a:lnTo>
                      <a:pt x="580" y="335"/>
                    </a:lnTo>
                    <a:lnTo>
                      <a:pt x="579" y="335"/>
                    </a:lnTo>
                    <a:lnTo>
                      <a:pt x="579" y="333"/>
                    </a:lnTo>
                    <a:lnTo>
                      <a:pt x="579" y="335"/>
                    </a:lnTo>
                    <a:lnTo>
                      <a:pt x="577" y="333"/>
                    </a:lnTo>
                    <a:lnTo>
                      <a:pt x="575" y="333"/>
                    </a:lnTo>
                    <a:lnTo>
                      <a:pt x="577" y="333"/>
                    </a:lnTo>
                    <a:lnTo>
                      <a:pt x="575" y="333"/>
                    </a:lnTo>
                    <a:lnTo>
                      <a:pt x="573" y="333"/>
                    </a:lnTo>
                    <a:lnTo>
                      <a:pt x="571" y="333"/>
                    </a:lnTo>
                    <a:lnTo>
                      <a:pt x="571" y="331"/>
                    </a:lnTo>
                    <a:lnTo>
                      <a:pt x="571" y="333"/>
                    </a:lnTo>
                    <a:lnTo>
                      <a:pt x="571" y="331"/>
                    </a:lnTo>
                    <a:lnTo>
                      <a:pt x="569" y="331"/>
                    </a:lnTo>
                    <a:lnTo>
                      <a:pt x="569" y="333"/>
                    </a:lnTo>
                    <a:lnTo>
                      <a:pt x="567" y="333"/>
                    </a:lnTo>
                    <a:lnTo>
                      <a:pt x="567" y="331"/>
                    </a:lnTo>
                    <a:lnTo>
                      <a:pt x="567" y="333"/>
                    </a:lnTo>
                    <a:lnTo>
                      <a:pt x="565" y="333"/>
                    </a:lnTo>
                    <a:lnTo>
                      <a:pt x="565" y="335"/>
                    </a:lnTo>
                    <a:lnTo>
                      <a:pt x="563" y="335"/>
                    </a:lnTo>
                    <a:lnTo>
                      <a:pt x="563" y="337"/>
                    </a:lnTo>
                    <a:lnTo>
                      <a:pt x="565" y="337"/>
                    </a:lnTo>
                    <a:lnTo>
                      <a:pt x="563" y="339"/>
                    </a:lnTo>
                    <a:lnTo>
                      <a:pt x="563" y="337"/>
                    </a:lnTo>
                    <a:lnTo>
                      <a:pt x="561" y="337"/>
                    </a:lnTo>
                    <a:lnTo>
                      <a:pt x="559" y="337"/>
                    </a:lnTo>
                    <a:lnTo>
                      <a:pt x="559" y="335"/>
                    </a:lnTo>
                    <a:lnTo>
                      <a:pt x="557" y="335"/>
                    </a:lnTo>
                    <a:lnTo>
                      <a:pt x="557" y="333"/>
                    </a:lnTo>
                    <a:lnTo>
                      <a:pt x="555" y="333"/>
                    </a:lnTo>
                    <a:lnTo>
                      <a:pt x="555" y="331"/>
                    </a:lnTo>
                    <a:lnTo>
                      <a:pt x="554" y="331"/>
                    </a:lnTo>
                    <a:lnTo>
                      <a:pt x="552" y="331"/>
                    </a:lnTo>
                    <a:lnTo>
                      <a:pt x="550" y="331"/>
                    </a:lnTo>
                    <a:lnTo>
                      <a:pt x="552" y="329"/>
                    </a:lnTo>
                    <a:lnTo>
                      <a:pt x="550" y="329"/>
                    </a:lnTo>
                    <a:lnTo>
                      <a:pt x="548" y="329"/>
                    </a:lnTo>
                    <a:lnTo>
                      <a:pt x="546" y="329"/>
                    </a:lnTo>
                    <a:lnTo>
                      <a:pt x="544" y="329"/>
                    </a:lnTo>
                    <a:lnTo>
                      <a:pt x="544" y="331"/>
                    </a:lnTo>
                    <a:lnTo>
                      <a:pt x="542" y="331"/>
                    </a:lnTo>
                    <a:lnTo>
                      <a:pt x="540" y="333"/>
                    </a:lnTo>
                    <a:lnTo>
                      <a:pt x="540" y="331"/>
                    </a:lnTo>
                    <a:lnTo>
                      <a:pt x="542" y="331"/>
                    </a:lnTo>
                    <a:lnTo>
                      <a:pt x="540" y="331"/>
                    </a:lnTo>
                    <a:lnTo>
                      <a:pt x="540" y="329"/>
                    </a:lnTo>
                    <a:lnTo>
                      <a:pt x="540" y="331"/>
                    </a:lnTo>
                    <a:lnTo>
                      <a:pt x="540" y="333"/>
                    </a:lnTo>
                    <a:lnTo>
                      <a:pt x="542" y="331"/>
                    </a:lnTo>
                    <a:lnTo>
                      <a:pt x="544" y="331"/>
                    </a:lnTo>
                    <a:lnTo>
                      <a:pt x="544" y="329"/>
                    </a:lnTo>
                    <a:lnTo>
                      <a:pt x="546" y="329"/>
                    </a:lnTo>
                    <a:lnTo>
                      <a:pt x="548" y="329"/>
                    </a:lnTo>
                    <a:lnTo>
                      <a:pt x="550" y="329"/>
                    </a:lnTo>
                    <a:lnTo>
                      <a:pt x="552" y="329"/>
                    </a:lnTo>
                    <a:lnTo>
                      <a:pt x="550" y="331"/>
                    </a:lnTo>
                    <a:lnTo>
                      <a:pt x="552" y="331"/>
                    </a:lnTo>
                    <a:lnTo>
                      <a:pt x="554" y="331"/>
                    </a:lnTo>
                    <a:lnTo>
                      <a:pt x="555" y="331"/>
                    </a:lnTo>
                    <a:lnTo>
                      <a:pt x="555" y="333"/>
                    </a:lnTo>
                    <a:lnTo>
                      <a:pt x="557" y="333"/>
                    </a:lnTo>
                    <a:lnTo>
                      <a:pt x="557" y="335"/>
                    </a:lnTo>
                    <a:lnTo>
                      <a:pt x="559" y="335"/>
                    </a:lnTo>
                    <a:lnTo>
                      <a:pt x="559" y="337"/>
                    </a:lnTo>
                    <a:lnTo>
                      <a:pt x="561" y="337"/>
                    </a:lnTo>
                    <a:lnTo>
                      <a:pt x="563" y="337"/>
                    </a:lnTo>
                    <a:lnTo>
                      <a:pt x="563" y="339"/>
                    </a:lnTo>
                    <a:lnTo>
                      <a:pt x="565" y="337"/>
                    </a:lnTo>
                    <a:lnTo>
                      <a:pt x="563" y="337"/>
                    </a:lnTo>
                    <a:lnTo>
                      <a:pt x="565" y="337"/>
                    </a:lnTo>
                    <a:lnTo>
                      <a:pt x="565" y="335"/>
                    </a:lnTo>
                    <a:lnTo>
                      <a:pt x="565" y="333"/>
                    </a:lnTo>
                    <a:lnTo>
                      <a:pt x="567" y="333"/>
                    </a:lnTo>
                    <a:lnTo>
                      <a:pt x="569" y="333"/>
                    </a:lnTo>
                    <a:lnTo>
                      <a:pt x="569" y="331"/>
                    </a:lnTo>
                    <a:lnTo>
                      <a:pt x="571" y="333"/>
                    </a:lnTo>
                    <a:lnTo>
                      <a:pt x="571" y="331"/>
                    </a:lnTo>
                    <a:lnTo>
                      <a:pt x="571" y="333"/>
                    </a:lnTo>
                    <a:lnTo>
                      <a:pt x="573" y="333"/>
                    </a:lnTo>
                    <a:lnTo>
                      <a:pt x="575" y="333"/>
                    </a:lnTo>
                    <a:lnTo>
                      <a:pt x="577" y="333"/>
                    </a:lnTo>
                    <a:lnTo>
                      <a:pt x="575" y="333"/>
                    </a:lnTo>
                    <a:lnTo>
                      <a:pt x="577" y="333"/>
                    </a:lnTo>
                    <a:lnTo>
                      <a:pt x="579" y="335"/>
                    </a:lnTo>
                    <a:lnTo>
                      <a:pt x="579" y="333"/>
                    </a:lnTo>
                    <a:lnTo>
                      <a:pt x="579" y="335"/>
                    </a:lnTo>
                    <a:lnTo>
                      <a:pt x="580" y="335"/>
                    </a:lnTo>
                    <a:lnTo>
                      <a:pt x="579" y="335"/>
                    </a:lnTo>
                    <a:lnTo>
                      <a:pt x="580" y="335"/>
                    </a:lnTo>
                    <a:lnTo>
                      <a:pt x="580" y="333"/>
                    </a:lnTo>
                    <a:lnTo>
                      <a:pt x="582" y="333"/>
                    </a:lnTo>
                    <a:lnTo>
                      <a:pt x="582" y="335"/>
                    </a:lnTo>
                    <a:lnTo>
                      <a:pt x="580" y="335"/>
                    </a:lnTo>
                    <a:lnTo>
                      <a:pt x="582" y="335"/>
                    </a:lnTo>
                    <a:lnTo>
                      <a:pt x="582" y="337"/>
                    </a:lnTo>
                    <a:lnTo>
                      <a:pt x="584" y="337"/>
                    </a:lnTo>
                    <a:lnTo>
                      <a:pt x="584" y="335"/>
                    </a:lnTo>
                    <a:lnTo>
                      <a:pt x="582" y="333"/>
                    </a:lnTo>
                    <a:lnTo>
                      <a:pt x="582" y="335"/>
                    </a:lnTo>
                    <a:lnTo>
                      <a:pt x="582" y="333"/>
                    </a:lnTo>
                    <a:lnTo>
                      <a:pt x="584" y="333"/>
                    </a:lnTo>
                    <a:lnTo>
                      <a:pt x="586" y="333"/>
                    </a:lnTo>
                    <a:lnTo>
                      <a:pt x="584" y="333"/>
                    </a:lnTo>
                    <a:lnTo>
                      <a:pt x="586" y="333"/>
                    </a:lnTo>
                    <a:lnTo>
                      <a:pt x="588" y="333"/>
                    </a:lnTo>
                    <a:lnTo>
                      <a:pt x="588" y="331"/>
                    </a:lnTo>
                    <a:lnTo>
                      <a:pt x="590" y="331"/>
                    </a:lnTo>
                    <a:lnTo>
                      <a:pt x="592" y="331"/>
                    </a:lnTo>
                    <a:lnTo>
                      <a:pt x="594" y="333"/>
                    </a:lnTo>
                    <a:lnTo>
                      <a:pt x="596" y="331"/>
                    </a:lnTo>
                    <a:lnTo>
                      <a:pt x="598" y="331"/>
                    </a:lnTo>
                    <a:lnTo>
                      <a:pt x="600" y="331"/>
                    </a:lnTo>
                    <a:lnTo>
                      <a:pt x="598" y="331"/>
                    </a:lnTo>
                    <a:lnTo>
                      <a:pt x="600" y="329"/>
                    </a:lnTo>
                    <a:lnTo>
                      <a:pt x="600" y="331"/>
                    </a:lnTo>
                    <a:lnTo>
                      <a:pt x="600" y="329"/>
                    </a:lnTo>
                    <a:lnTo>
                      <a:pt x="602" y="329"/>
                    </a:lnTo>
                    <a:lnTo>
                      <a:pt x="604" y="329"/>
                    </a:lnTo>
                    <a:lnTo>
                      <a:pt x="604" y="327"/>
                    </a:lnTo>
                    <a:lnTo>
                      <a:pt x="604" y="325"/>
                    </a:lnTo>
                    <a:lnTo>
                      <a:pt x="605" y="325"/>
                    </a:lnTo>
                    <a:lnTo>
                      <a:pt x="607" y="323"/>
                    </a:lnTo>
                    <a:lnTo>
                      <a:pt x="609" y="323"/>
                    </a:lnTo>
                    <a:lnTo>
                      <a:pt x="611" y="321"/>
                    </a:lnTo>
                    <a:lnTo>
                      <a:pt x="609" y="321"/>
                    </a:lnTo>
                    <a:lnTo>
                      <a:pt x="611" y="321"/>
                    </a:lnTo>
                    <a:lnTo>
                      <a:pt x="613" y="321"/>
                    </a:lnTo>
                    <a:lnTo>
                      <a:pt x="611" y="321"/>
                    </a:lnTo>
                    <a:lnTo>
                      <a:pt x="613" y="321"/>
                    </a:lnTo>
                    <a:lnTo>
                      <a:pt x="615" y="321"/>
                    </a:lnTo>
                    <a:lnTo>
                      <a:pt x="617" y="321"/>
                    </a:lnTo>
                    <a:lnTo>
                      <a:pt x="619" y="321"/>
                    </a:lnTo>
                    <a:lnTo>
                      <a:pt x="621" y="321"/>
                    </a:lnTo>
                    <a:lnTo>
                      <a:pt x="623" y="321"/>
                    </a:lnTo>
                    <a:lnTo>
                      <a:pt x="625" y="321"/>
                    </a:lnTo>
                    <a:lnTo>
                      <a:pt x="625" y="323"/>
                    </a:lnTo>
                    <a:lnTo>
                      <a:pt x="627" y="321"/>
                    </a:lnTo>
                    <a:lnTo>
                      <a:pt x="628" y="321"/>
                    </a:lnTo>
                    <a:lnTo>
                      <a:pt x="630" y="321"/>
                    </a:lnTo>
                    <a:lnTo>
                      <a:pt x="632" y="321"/>
                    </a:lnTo>
                    <a:lnTo>
                      <a:pt x="632" y="319"/>
                    </a:lnTo>
                    <a:lnTo>
                      <a:pt x="634" y="319"/>
                    </a:lnTo>
                    <a:lnTo>
                      <a:pt x="634" y="321"/>
                    </a:lnTo>
                    <a:lnTo>
                      <a:pt x="636" y="321"/>
                    </a:lnTo>
                    <a:lnTo>
                      <a:pt x="638" y="321"/>
                    </a:lnTo>
                    <a:lnTo>
                      <a:pt x="638" y="323"/>
                    </a:lnTo>
                    <a:lnTo>
                      <a:pt x="640" y="323"/>
                    </a:lnTo>
                    <a:lnTo>
                      <a:pt x="642" y="323"/>
                    </a:lnTo>
                    <a:lnTo>
                      <a:pt x="644" y="323"/>
                    </a:lnTo>
                    <a:lnTo>
                      <a:pt x="646" y="323"/>
                    </a:lnTo>
                    <a:lnTo>
                      <a:pt x="644" y="325"/>
                    </a:lnTo>
                    <a:lnTo>
                      <a:pt x="642" y="327"/>
                    </a:lnTo>
                    <a:lnTo>
                      <a:pt x="640" y="329"/>
                    </a:lnTo>
                    <a:lnTo>
                      <a:pt x="640" y="331"/>
                    </a:lnTo>
                    <a:lnTo>
                      <a:pt x="638" y="331"/>
                    </a:lnTo>
                    <a:lnTo>
                      <a:pt x="640" y="331"/>
                    </a:lnTo>
                    <a:lnTo>
                      <a:pt x="638" y="331"/>
                    </a:lnTo>
                    <a:lnTo>
                      <a:pt x="638" y="333"/>
                    </a:lnTo>
                    <a:lnTo>
                      <a:pt x="638" y="335"/>
                    </a:lnTo>
                    <a:lnTo>
                      <a:pt x="638" y="337"/>
                    </a:lnTo>
                    <a:lnTo>
                      <a:pt x="636" y="337"/>
                    </a:lnTo>
                    <a:lnTo>
                      <a:pt x="634" y="337"/>
                    </a:lnTo>
                    <a:lnTo>
                      <a:pt x="634" y="339"/>
                    </a:lnTo>
                    <a:lnTo>
                      <a:pt x="632" y="337"/>
                    </a:lnTo>
                    <a:lnTo>
                      <a:pt x="632" y="339"/>
                    </a:lnTo>
                    <a:lnTo>
                      <a:pt x="630" y="339"/>
                    </a:lnTo>
                    <a:lnTo>
                      <a:pt x="630" y="337"/>
                    </a:lnTo>
                    <a:lnTo>
                      <a:pt x="630" y="339"/>
                    </a:lnTo>
                    <a:lnTo>
                      <a:pt x="630" y="337"/>
                    </a:lnTo>
                    <a:lnTo>
                      <a:pt x="628" y="337"/>
                    </a:lnTo>
                    <a:lnTo>
                      <a:pt x="628" y="339"/>
                    </a:lnTo>
                    <a:lnTo>
                      <a:pt x="627" y="337"/>
                    </a:lnTo>
                    <a:lnTo>
                      <a:pt x="627" y="339"/>
                    </a:lnTo>
                    <a:lnTo>
                      <a:pt x="627" y="337"/>
                    </a:lnTo>
                    <a:lnTo>
                      <a:pt x="627" y="339"/>
                    </a:lnTo>
                    <a:lnTo>
                      <a:pt x="625" y="339"/>
                    </a:lnTo>
                    <a:lnTo>
                      <a:pt x="625" y="340"/>
                    </a:lnTo>
                    <a:lnTo>
                      <a:pt x="623" y="340"/>
                    </a:lnTo>
                    <a:lnTo>
                      <a:pt x="623" y="342"/>
                    </a:lnTo>
                    <a:lnTo>
                      <a:pt x="623" y="344"/>
                    </a:lnTo>
                    <a:lnTo>
                      <a:pt x="623" y="346"/>
                    </a:lnTo>
                    <a:lnTo>
                      <a:pt x="623" y="348"/>
                    </a:lnTo>
                    <a:lnTo>
                      <a:pt x="621" y="348"/>
                    </a:lnTo>
                    <a:lnTo>
                      <a:pt x="621" y="350"/>
                    </a:lnTo>
                    <a:lnTo>
                      <a:pt x="619" y="350"/>
                    </a:lnTo>
                    <a:lnTo>
                      <a:pt x="619" y="352"/>
                    </a:lnTo>
                    <a:lnTo>
                      <a:pt x="621" y="352"/>
                    </a:lnTo>
                    <a:lnTo>
                      <a:pt x="619" y="352"/>
                    </a:lnTo>
                    <a:lnTo>
                      <a:pt x="621" y="354"/>
                    </a:lnTo>
                    <a:lnTo>
                      <a:pt x="621" y="356"/>
                    </a:lnTo>
                    <a:lnTo>
                      <a:pt x="619" y="356"/>
                    </a:lnTo>
                    <a:lnTo>
                      <a:pt x="619" y="358"/>
                    </a:lnTo>
                    <a:lnTo>
                      <a:pt x="617" y="358"/>
                    </a:lnTo>
                    <a:lnTo>
                      <a:pt x="617" y="360"/>
                    </a:lnTo>
                    <a:lnTo>
                      <a:pt x="617" y="362"/>
                    </a:lnTo>
                    <a:lnTo>
                      <a:pt x="615" y="362"/>
                    </a:lnTo>
                    <a:lnTo>
                      <a:pt x="617" y="362"/>
                    </a:lnTo>
                    <a:lnTo>
                      <a:pt x="615" y="364"/>
                    </a:lnTo>
                    <a:lnTo>
                      <a:pt x="613" y="364"/>
                    </a:lnTo>
                    <a:lnTo>
                      <a:pt x="613" y="365"/>
                    </a:lnTo>
                    <a:lnTo>
                      <a:pt x="611" y="365"/>
                    </a:lnTo>
                    <a:lnTo>
                      <a:pt x="611" y="367"/>
                    </a:lnTo>
                    <a:lnTo>
                      <a:pt x="611" y="365"/>
                    </a:lnTo>
                    <a:lnTo>
                      <a:pt x="611" y="367"/>
                    </a:lnTo>
                    <a:lnTo>
                      <a:pt x="609" y="367"/>
                    </a:lnTo>
                    <a:lnTo>
                      <a:pt x="607" y="367"/>
                    </a:lnTo>
                    <a:lnTo>
                      <a:pt x="607" y="369"/>
                    </a:lnTo>
                    <a:lnTo>
                      <a:pt x="605" y="369"/>
                    </a:lnTo>
                    <a:lnTo>
                      <a:pt x="605" y="367"/>
                    </a:lnTo>
                    <a:lnTo>
                      <a:pt x="605" y="365"/>
                    </a:lnTo>
                    <a:lnTo>
                      <a:pt x="605" y="367"/>
                    </a:lnTo>
                    <a:lnTo>
                      <a:pt x="607" y="365"/>
                    </a:lnTo>
                    <a:lnTo>
                      <a:pt x="605" y="365"/>
                    </a:lnTo>
                    <a:lnTo>
                      <a:pt x="604" y="365"/>
                    </a:lnTo>
                    <a:lnTo>
                      <a:pt x="605" y="365"/>
                    </a:lnTo>
                    <a:lnTo>
                      <a:pt x="604" y="365"/>
                    </a:lnTo>
                    <a:lnTo>
                      <a:pt x="605" y="365"/>
                    </a:lnTo>
                    <a:lnTo>
                      <a:pt x="604" y="365"/>
                    </a:lnTo>
                    <a:lnTo>
                      <a:pt x="605" y="365"/>
                    </a:lnTo>
                    <a:lnTo>
                      <a:pt x="607" y="365"/>
                    </a:lnTo>
                    <a:lnTo>
                      <a:pt x="605" y="365"/>
                    </a:lnTo>
                    <a:lnTo>
                      <a:pt x="607" y="365"/>
                    </a:lnTo>
                    <a:lnTo>
                      <a:pt x="605" y="365"/>
                    </a:lnTo>
                    <a:lnTo>
                      <a:pt x="605" y="367"/>
                    </a:lnTo>
                    <a:lnTo>
                      <a:pt x="605" y="365"/>
                    </a:lnTo>
                    <a:lnTo>
                      <a:pt x="605" y="367"/>
                    </a:lnTo>
                    <a:lnTo>
                      <a:pt x="604" y="369"/>
                    </a:lnTo>
                    <a:lnTo>
                      <a:pt x="604" y="367"/>
                    </a:lnTo>
                    <a:lnTo>
                      <a:pt x="602" y="367"/>
                    </a:lnTo>
                    <a:lnTo>
                      <a:pt x="602" y="369"/>
                    </a:lnTo>
                    <a:lnTo>
                      <a:pt x="600" y="369"/>
                    </a:lnTo>
                    <a:lnTo>
                      <a:pt x="600" y="371"/>
                    </a:lnTo>
                    <a:lnTo>
                      <a:pt x="598" y="371"/>
                    </a:lnTo>
                    <a:lnTo>
                      <a:pt x="596" y="371"/>
                    </a:lnTo>
                    <a:lnTo>
                      <a:pt x="596" y="373"/>
                    </a:lnTo>
                    <a:lnTo>
                      <a:pt x="598" y="373"/>
                    </a:lnTo>
                    <a:lnTo>
                      <a:pt x="596" y="373"/>
                    </a:lnTo>
                    <a:lnTo>
                      <a:pt x="596" y="375"/>
                    </a:lnTo>
                    <a:lnTo>
                      <a:pt x="594" y="375"/>
                    </a:lnTo>
                    <a:lnTo>
                      <a:pt x="592" y="377"/>
                    </a:lnTo>
                    <a:lnTo>
                      <a:pt x="590" y="379"/>
                    </a:lnTo>
                    <a:lnTo>
                      <a:pt x="588" y="379"/>
                    </a:lnTo>
                    <a:lnTo>
                      <a:pt x="590" y="379"/>
                    </a:lnTo>
                    <a:lnTo>
                      <a:pt x="590" y="381"/>
                    </a:lnTo>
                    <a:lnTo>
                      <a:pt x="588" y="381"/>
                    </a:lnTo>
                    <a:lnTo>
                      <a:pt x="586" y="381"/>
                    </a:lnTo>
                    <a:lnTo>
                      <a:pt x="584" y="381"/>
                    </a:lnTo>
                    <a:lnTo>
                      <a:pt x="582" y="383"/>
                    </a:lnTo>
                    <a:lnTo>
                      <a:pt x="580" y="385"/>
                    </a:lnTo>
                    <a:lnTo>
                      <a:pt x="579" y="385"/>
                    </a:lnTo>
                    <a:lnTo>
                      <a:pt x="579" y="387"/>
                    </a:lnTo>
                    <a:lnTo>
                      <a:pt x="577" y="387"/>
                    </a:lnTo>
                    <a:lnTo>
                      <a:pt x="575" y="387"/>
                    </a:lnTo>
                    <a:lnTo>
                      <a:pt x="573" y="389"/>
                    </a:lnTo>
                    <a:lnTo>
                      <a:pt x="571" y="389"/>
                    </a:lnTo>
                    <a:lnTo>
                      <a:pt x="569" y="389"/>
                    </a:lnTo>
                    <a:lnTo>
                      <a:pt x="569" y="390"/>
                    </a:lnTo>
                    <a:lnTo>
                      <a:pt x="567" y="390"/>
                    </a:lnTo>
                    <a:lnTo>
                      <a:pt x="569" y="390"/>
                    </a:lnTo>
                    <a:lnTo>
                      <a:pt x="567" y="390"/>
                    </a:lnTo>
                    <a:lnTo>
                      <a:pt x="567" y="392"/>
                    </a:lnTo>
                    <a:lnTo>
                      <a:pt x="565" y="392"/>
                    </a:lnTo>
                    <a:lnTo>
                      <a:pt x="563" y="392"/>
                    </a:lnTo>
                    <a:lnTo>
                      <a:pt x="563" y="394"/>
                    </a:lnTo>
                    <a:lnTo>
                      <a:pt x="561" y="394"/>
                    </a:lnTo>
                    <a:lnTo>
                      <a:pt x="561" y="396"/>
                    </a:lnTo>
                    <a:lnTo>
                      <a:pt x="559" y="396"/>
                    </a:lnTo>
                    <a:lnTo>
                      <a:pt x="557" y="396"/>
                    </a:lnTo>
                    <a:lnTo>
                      <a:pt x="555" y="396"/>
                    </a:lnTo>
                    <a:lnTo>
                      <a:pt x="557" y="396"/>
                    </a:lnTo>
                    <a:lnTo>
                      <a:pt x="555" y="396"/>
                    </a:lnTo>
                    <a:lnTo>
                      <a:pt x="555" y="394"/>
                    </a:lnTo>
                    <a:lnTo>
                      <a:pt x="555" y="396"/>
                    </a:lnTo>
                    <a:lnTo>
                      <a:pt x="554" y="396"/>
                    </a:lnTo>
                    <a:lnTo>
                      <a:pt x="552" y="396"/>
                    </a:lnTo>
                    <a:lnTo>
                      <a:pt x="552" y="394"/>
                    </a:lnTo>
                    <a:lnTo>
                      <a:pt x="550" y="394"/>
                    </a:lnTo>
                    <a:lnTo>
                      <a:pt x="550" y="392"/>
                    </a:lnTo>
                    <a:lnTo>
                      <a:pt x="550" y="390"/>
                    </a:lnTo>
                    <a:lnTo>
                      <a:pt x="548" y="390"/>
                    </a:lnTo>
                    <a:lnTo>
                      <a:pt x="546" y="390"/>
                    </a:lnTo>
                    <a:lnTo>
                      <a:pt x="544" y="390"/>
                    </a:lnTo>
                    <a:lnTo>
                      <a:pt x="542" y="390"/>
                    </a:lnTo>
                    <a:lnTo>
                      <a:pt x="540" y="390"/>
                    </a:lnTo>
                    <a:lnTo>
                      <a:pt x="540" y="392"/>
                    </a:lnTo>
                    <a:lnTo>
                      <a:pt x="538" y="392"/>
                    </a:lnTo>
                    <a:lnTo>
                      <a:pt x="536" y="392"/>
                    </a:lnTo>
                    <a:lnTo>
                      <a:pt x="534" y="392"/>
                    </a:lnTo>
                    <a:lnTo>
                      <a:pt x="532" y="392"/>
                    </a:lnTo>
                    <a:lnTo>
                      <a:pt x="531" y="392"/>
                    </a:lnTo>
                    <a:lnTo>
                      <a:pt x="531" y="390"/>
                    </a:lnTo>
                    <a:lnTo>
                      <a:pt x="529" y="390"/>
                    </a:lnTo>
                    <a:lnTo>
                      <a:pt x="529" y="389"/>
                    </a:lnTo>
                    <a:lnTo>
                      <a:pt x="529" y="390"/>
                    </a:lnTo>
                    <a:lnTo>
                      <a:pt x="527" y="390"/>
                    </a:lnTo>
                    <a:lnTo>
                      <a:pt x="527" y="389"/>
                    </a:lnTo>
                    <a:lnTo>
                      <a:pt x="525" y="389"/>
                    </a:lnTo>
                    <a:lnTo>
                      <a:pt x="525" y="387"/>
                    </a:lnTo>
                    <a:lnTo>
                      <a:pt x="523" y="387"/>
                    </a:lnTo>
                    <a:lnTo>
                      <a:pt x="523" y="385"/>
                    </a:lnTo>
                    <a:lnTo>
                      <a:pt x="521" y="385"/>
                    </a:lnTo>
                    <a:lnTo>
                      <a:pt x="519" y="385"/>
                    </a:lnTo>
                    <a:lnTo>
                      <a:pt x="519" y="383"/>
                    </a:lnTo>
                    <a:lnTo>
                      <a:pt x="517" y="383"/>
                    </a:lnTo>
                    <a:lnTo>
                      <a:pt x="519" y="383"/>
                    </a:lnTo>
                    <a:lnTo>
                      <a:pt x="517" y="383"/>
                    </a:lnTo>
                    <a:lnTo>
                      <a:pt x="519" y="383"/>
                    </a:lnTo>
                    <a:lnTo>
                      <a:pt x="517" y="383"/>
                    </a:lnTo>
                    <a:lnTo>
                      <a:pt x="517" y="385"/>
                    </a:lnTo>
                    <a:lnTo>
                      <a:pt x="515" y="385"/>
                    </a:lnTo>
                    <a:lnTo>
                      <a:pt x="517" y="385"/>
                    </a:lnTo>
                    <a:lnTo>
                      <a:pt x="515" y="385"/>
                    </a:lnTo>
                    <a:lnTo>
                      <a:pt x="517" y="385"/>
                    </a:lnTo>
                    <a:lnTo>
                      <a:pt x="517" y="383"/>
                    </a:lnTo>
                    <a:lnTo>
                      <a:pt x="519" y="383"/>
                    </a:lnTo>
                    <a:lnTo>
                      <a:pt x="519" y="385"/>
                    </a:lnTo>
                    <a:lnTo>
                      <a:pt x="521" y="385"/>
                    </a:lnTo>
                    <a:lnTo>
                      <a:pt x="523" y="385"/>
                    </a:lnTo>
                    <a:lnTo>
                      <a:pt x="523" y="387"/>
                    </a:lnTo>
                    <a:lnTo>
                      <a:pt x="525" y="387"/>
                    </a:lnTo>
                    <a:lnTo>
                      <a:pt x="525" y="389"/>
                    </a:lnTo>
                    <a:lnTo>
                      <a:pt x="527" y="389"/>
                    </a:lnTo>
                    <a:lnTo>
                      <a:pt x="527" y="390"/>
                    </a:lnTo>
                    <a:lnTo>
                      <a:pt x="529" y="390"/>
                    </a:lnTo>
                    <a:lnTo>
                      <a:pt x="529" y="389"/>
                    </a:lnTo>
                    <a:lnTo>
                      <a:pt x="529" y="390"/>
                    </a:lnTo>
                    <a:lnTo>
                      <a:pt x="531" y="390"/>
                    </a:lnTo>
                    <a:lnTo>
                      <a:pt x="531" y="392"/>
                    </a:lnTo>
                    <a:lnTo>
                      <a:pt x="532" y="392"/>
                    </a:lnTo>
                    <a:lnTo>
                      <a:pt x="534" y="392"/>
                    </a:lnTo>
                    <a:lnTo>
                      <a:pt x="536" y="392"/>
                    </a:lnTo>
                    <a:lnTo>
                      <a:pt x="538" y="392"/>
                    </a:lnTo>
                    <a:lnTo>
                      <a:pt x="540" y="392"/>
                    </a:lnTo>
                    <a:lnTo>
                      <a:pt x="540" y="390"/>
                    </a:lnTo>
                    <a:lnTo>
                      <a:pt x="542" y="390"/>
                    </a:lnTo>
                    <a:lnTo>
                      <a:pt x="544" y="390"/>
                    </a:lnTo>
                    <a:lnTo>
                      <a:pt x="546" y="390"/>
                    </a:lnTo>
                    <a:lnTo>
                      <a:pt x="548" y="390"/>
                    </a:lnTo>
                    <a:lnTo>
                      <a:pt x="550" y="390"/>
                    </a:lnTo>
                    <a:lnTo>
                      <a:pt x="550" y="392"/>
                    </a:lnTo>
                    <a:lnTo>
                      <a:pt x="550" y="394"/>
                    </a:lnTo>
                    <a:lnTo>
                      <a:pt x="552" y="394"/>
                    </a:lnTo>
                    <a:lnTo>
                      <a:pt x="552" y="396"/>
                    </a:lnTo>
                    <a:lnTo>
                      <a:pt x="554" y="396"/>
                    </a:lnTo>
                    <a:lnTo>
                      <a:pt x="555" y="396"/>
                    </a:lnTo>
                    <a:lnTo>
                      <a:pt x="557" y="396"/>
                    </a:lnTo>
                    <a:lnTo>
                      <a:pt x="559" y="396"/>
                    </a:lnTo>
                    <a:lnTo>
                      <a:pt x="559" y="398"/>
                    </a:lnTo>
                    <a:lnTo>
                      <a:pt x="559" y="396"/>
                    </a:lnTo>
                    <a:lnTo>
                      <a:pt x="561" y="396"/>
                    </a:lnTo>
                    <a:lnTo>
                      <a:pt x="561" y="398"/>
                    </a:lnTo>
                    <a:lnTo>
                      <a:pt x="559" y="398"/>
                    </a:lnTo>
                    <a:lnTo>
                      <a:pt x="559" y="400"/>
                    </a:lnTo>
                    <a:lnTo>
                      <a:pt x="557" y="400"/>
                    </a:lnTo>
                    <a:lnTo>
                      <a:pt x="555" y="402"/>
                    </a:lnTo>
                    <a:lnTo>
                      <a:pt x="557" y="402"/>
                    </a:lnTo>
                    <a:lnTo>
                      <a:pt x="555" y="402"/>
                    </a:lnTo>
                    <a:lnTo>
                      <a:pt x="555" y="404"/>
                    </a:lnTo>
                    <a:lnTo>
                      <a:pt x="555" y="402"/>
                    </a:lnTo>
                    <a:lnTo>
                      <a:pt x="557" y="402"/>
                    </a:lnTo>
                    <a:lnTo>
                      <a:pt x="555" y="402"/>
                    </a:lnTo>
                    <a:lnTo>
                      <a:pt x="557" y="402"/>
                    </a:lnTo>
                    <a:lnTo>
                      <a:pt x="557" y="400"/>
                    </a:lnTo>
                    <a:lnTo>
                      <a:pt x="559" y="400"/>
                    </a:lnTo>
                    <a:lnTo>
                      <a:pt x="561" y="398"/>
                    </a:lnTo>
                    <a:lnTo>
                      <a:pt x="561" y="400"/>
                    </a:lnTo>
                    <a:lnTo>
                      <a:pt x="561" y="402"/>
                    </a:lnTo>
                    <a:lnTo>
                      <a:pt x="559" y="402"/>
                    </a:lnTo>
                    <a:lnTo>
                      <a:pt x="557" y="402"/>
                    </a:lnTo>
                    <a:lnTo>
                      <a:pt x="557" y="404"/>
                    </a:lnTo>
                    <a:lnTo>
                      <a:pt x="557" y="406"/>
                    </a:lnTo>
                    <a:lnTo>
                      <a:pt x="555" y="408"/>
                    </a:lnTo>
                    <a:lnTo>
                      <a:pt x="554" y="408"/>
                    </a:lnTo>
                    <a:lnTo>
                      <a:pt x="554" y="410"/>
                    </a:lnTo>
                    <a:lnTo>
                      <a:pt x="552" y="410"/>
                    </a:lnTo>
                    <a:lnTo>
                      <a:pt x="552" y="408"/>
                    </a:lnTo>
                    <a:lnTo>
                      <a:pt x="552" y="410"/>
                    </a:lnTo>
                    <a:lnTo>
                      <a:pt x="554" y="410"/>
                    </a:lnTo>
                    <a:lnTo>
                      <a:pt x="554" y="412"/>
                    </a:lnTo>
                    <a:lnTo>
                      <a:pt x="552" y="414"/>
                    </a:lnTo>
                    <a:lnTo>
                      <a:pt x="552" y="415"/>
                    </a:lnTo>
                    <a:lnTo>
                      <a:pt x="550" y="415"/>
                    </a:lnTo>
                    <a:lnTo>
                      <a:pt x="550" y="417"/>
                    </a:lnTo>
                    <a:lnTo>
                      <a:pt x="548" y="417"/>
                    </a:lnTo>
                    <a:lnTo>
                      <a:pt x="546" y="417"/>
                    </a:lnTo>
                    <a:lnTo>
                      <a:pt x="546" y="415"/>
                    </a:lnTo>
                    <a:lnTo>
                      <a:pt x="548" y="415"/>
                    </a:lnTo>
                    <a:lnTo>
                      <a:pt x="546" y="415"/>
                    </a:lnTo>
                    <a:lnTo>
                      <a:pt x="546" y="417"/>
                    </a:lnTo>
                    <a:lnTo>
                      <a:pt x="546" y="415"/>
                    </a:lnTo>
                    <a:lnTo>
                      <a:pt x="544" y="415"/>
                    </a:lnTo>
                    <a:lnTo>
                      <a:pt x="544" y="417"/>
                    </a:lnTo>
                    <a:lnTo>
                      <a:pt x="542" y="417"/>
                    </a:lnTo>
                    <a:lnTo>
                      <a:pt x="540" y="417"/>
                    </a:lnTo>
                    <a:lnTo>
                      <a:pt x="538" y="417"/>
                    </a:lnTo>
                    <a:lnTo>
                      <a:pt x="538" y="419"/>
                    </a:lnTo>
                    <a:lnTo>
                      <a:pt x="538" y="421"/>
                    </a:lnTo>
                    <a:lnTo>
                      <a:pt x="536" y="423"/>
                    </a:lnTo>
                    <a:lnTo>
                      <a:pt x="538" y="423"/>
                    </a:lnTo>
                    <a:lnTo>
                      <a:pt x="538" y="425"/>
                    </a:lnTo>
                    <a:lnTo>
                      <a:pt x="536" y="425"/>
                    </a:lnTo>
                    <a:lnTo>
                      <a:pt x="534" y="425"/>
                    </a:lnTo>
                    <a:lnTo>
                      <a:pt x="534" y="427"/>
                    </a:lnTo>
                    <a:lnTo>
                      <a:pt x="532" y="427"/>
                    </a:lnTo>
                    <a:lnTo>
                      <a:pt x="531" y="427"/>
                    </a:lnTo>
                    <a:lnTo>
                      <a:pt x="529" y="427"/>
                    </a:lnTo>
                    <a:lnTo>
                      <a:pt x="527" y="427"/>
                    </a:lnTo>
                    <a:lnTo>
                      <a:pt x="529" y="427"/>
                    </a:lnTo>
                    <a:lnTo>
                      <a:pt x="527" y="429"/>
                    </a:lnTo>
                    <a:lnTo>
                      <a:pt x="527" y="427"/>
                    </a:lnTo>
                    <a:lnTo>
                      <a:pt x="525" y="427"/>
                    </a:lnTo>
                    <a:lnTo>
                      <a:pt x="523" y="427"/>
                    </a:lnTo>
                    <a:lnTo>
                      <a:pt x="523" y="429"/>
                    </a:lnTo>
                    <a:lnTo>
                      <a:pt x="525" y="429"/>
                    </a:lnTo>
                    <a:lnTo>
                      <a:pt x="523" y="429"/>
                    </a:lnTo>
                    <a:lnTo>
                      <a:pt x="521" y="429"/>
                    </a:lnTo>
                    <a:lnTo>
                      <a:pt x="519" y="429"/>
                    </a:lnTo>
                    <a:lnTo>
                      <a:pt x="517" y="429"/>
                    </a:lnTo>
                    <a:lnTo>
                      <a:pt x="515" y="429"/>
                    </a:lnTo>
                    <a:lnTo>
                      <a:pt x="513" y="429"/>
                    </a:lnTo>
                    <a:lnTo>
                      <a:pt x="513" y="431"/>
                    </a:lnTo>
                    <a:lnTo>
                      <a:pt x="511" y="433"/>
                    </a:lnTo>
                    <a:lnTo>
                      <a:pt x="511" y="431"/>
                    </a:lnTo>
                    <a:lnTo>
                      <a:pt x="509" y="431"/>
                    </a:lnTo>
                    <a:lnTo>
                      <a:pt x="509" y="433"/>
                    </a:lnTo>
                    <a:lnTo>
                      <a:pt x="507" y="433"/>
                    </a:lnTo>
                    <a:lnTo>
                      <a:pt x="507" y="435"/>
                    </a:lnTo>
                    <a:lnTo>
                      <a:pt x="506" y="435"/>
                    </a:lnTo>
                    <a:lnTo>
                      <a:pt x="504" y="437"/>
                    </a:lnTo>
                    <a:lnTo>
                      <a:pt x="502" y="437"/>
                    </a:lnTo>
                    <a:lnTo>
                      <a:pt x="500" y="437"/>
                    </a:lnTo>
                    <a:lnTo>
                      <a:pt x="498" y="437"/>
                    </a:lnTo>
                    <a:lnTo>
                      <a:pt x="496" y="437"/>
                    </a:lnTo>
                    <a:lnTo>
                      <a:pt x="496" y="439"/>
                    </a:lnTo>
                    <a:lnTo>
                      <a:pt x="494" y="439"/>
                    </a:lnTo>
                    <a:lnTo>
                      <a:pt x="492" y="440"/>
                    </a:lnTo>
                    <a:lnTo>
                      <a:pt x="490" y="440"/>
                    </a:lnTo>
                    <a:lnTo>
                      <a:pt x="490" y="442"/>
                    </a:lnTo>
                    <a:lnTo>
                      <a:pt x="488" y="442"/>
                    </a:lnTo>
                    <a:lnTo>
                      <a:pt x="486" y="442"/>
                    </a:lnTo>
                    <a:lnTo>
                      <a:pt x="486" y="444"/>
                    </a:lnTo>
                    <a:lnTo>
                      <a:pt x="484" y="442"/>
                    </a:lnTo>
                    <a:lnTo>
                      <a:pt x="484" y="444"/>
                    </a:lnTo>
                    <a:lnTo>
                      <a:pt x="482" y="444"/>
                    </a:lnTo>
                    <a:lnTo>
                      <a:pt x="482" y="446"/>
                    </a:lnTo>
                    <a:lnTo>
                      <a:pt x="482" y="448"/>
                    </a:lnTo>
                    <a:lnTo>
                      <a:pt x="484" y="450"/>
                    </a:lnTo>
                    <a:lnTo>
                      <a:pt x="484" y="452"/>
                    </a:lnTo>
                    <a:lnTo>
                      <a:pt x="484" y="454"/>
                    </a:lnTo>
                    <a:lnTo>
                      <a:pt x="484" y="456"/>
                    </a:lnTo>
                    <a:lnTo>
                      <a:pt x="484" y="458"/>
                    </a:lnTo>
                    <a:lnTo>
                      <a:pt x="482" y="458"/>
                    </a:lnTo>
                    <a:lnTo>
                      <a:pt x="482" y="460"/>
                    </a:lnTo>
                    <a:lnTo>
                      <a:pt x="481" y="462"/>
                    </a:lnTo>
                    <a:lnTo>
                      <a:pt x="481" y="464"/>
                    </a:lnTo>
                    <a:lnTo>
                      <a:pt x="481" y="462"/>
                    </a:lnTo>
                    <a:lnTo>
                      <a:pt x="479" y="464"/>
                    </a:lnTo>
                    <a:lnTo>
                      <a:pt x="481" y="464"/>
                    </a:lnTo>
                    <a:lnTo>
                      <a:pt x="479" y="464"/>
                    </a:lnTo>
                    <a:lnTo>
                      <a:pt x="479" y="465"/>
                    </a:lnTo>
                    <a:lnTo>
                      <a:pt x="477" y="465"/>
                    </a:lnTo>
                    <a:lnTo>
                      <a:pt x="477" y="467"/>
                    </a:lnTo>
                    <a:lnTo>
                      <a:pt x="475" y="467"/>
                    </a:lnTo>
                    <a:lnTo>
                      <a:pt x="477" y="467"/>
                    </a:lnTo>
                    <a:lnTo>
                      <a:pt x="475" y="467"/>
                    </a:lnTo>
                    <a:lnTo>
                      <a:pt x="473" y="467"/>
                    </a:lnTo>
                    <a:lnTo>
                      <a:pt x="471" y="467"/>
                    </a:lnTo>
                    <a:lnTo>
                      <a:pt x="473" y="467"/>
                    </a:lnTo>
                    <a:lnTo>
                      <a:pt x="471" y="467"/>
                    </a:lnTo>
                    <a:lnTo>
                      <a:pt x="471" y="469"/>
                    </a:lnTo>
                    <a:lnTo>
                      <a:pt x="469" y="469"/>
                    </a:lnTo>
                    <a:lnTo>
                      <a:pt x="469" y="467"/>
                    </a:lnTo>
                    <a:lnTo>
                      <a:pt x="467" y="467"/>
                    </a:lnTo>
                    <a:lnTo>
                      <a:pt x="469" y="467"/>
                    </a:lnTo>
                    <a:lnTo>
                      <a:pt x="467" y="467"/>
                    </a:lnTo>
                    <a:lnTo>
                      <a:pt x="465" y="467"/>
                    </a:lnTo>
                    <a:lnTo>
                      <a:pt x="463" y="467"/>
                    </a:lnTo>
                    <a:lnTo>
                      <a:pt x="461" y="467"/>
                    </a:lnTo>
                    <a:lnTo>
                      <a:pt x="459" y="467"/>
                    </a:lnTo>
                    <a:lnTo>
                      <a:pt x="458" y="467"/>
                    </a:lnTo>
                    <a:lnTo>
                      <a:pt x="456" y="467"/>
                    </a:lnTo>
                    <a:lnTo>
                      <a:pt x="458" y="467"/>
                    </a:lnTo>
                    <a:lnTo>
                      <a:pt x="456" y="467"/>
                    </a:lnTo>
                    <a:lnTo>
                      <a:pt x="454" y="467"/>
                    </a:lnTo>
                    <a:lnTo>
                      <a:pt x="454" y="465"/>
                    </a:lnTo>
                    <a:lnTo>
                      <a:pt x="452" y="467"/>
                    </a:lnTo>
                    <a:lnTo>
                      <a:pt x="450" y="467"/>
                    </a:lnTo>
                    <a:lnTo>
                      <a:pt x="452" y="469"/>
                    </a:lnTo>
                    <a:lnTo>
                      <a:pt x="452" y="471"/>
                    </a:lnTo>
                    <a:lnTo>
                      <a:pt x="450" y="471"/>
                    </a:lnTo>
                    <a:lnTo>
                      <a:pt x="450" y="473"/>
                    </a:lnTo>
                    <a:lnTo>
                      <a:pt x="452" y="473"/>
                    </a:lnTo>
                    <a:lnTo>
                      <a:pt x="454" y="473"/>
                    </a:lnTo>
                    <a:lnTo>
                      <a:pt x="454" y="475"/>
                    </a:lnTo>
                    <a:lnTo>
                      <a:pt x="454" y="477"/>
                    </a:lnTo>
                    <a:lnTo>
                      <a:pt x="452" y="477"/>
                    </a:lnTo>
                    <a:lnTo>
                      <a:pt x="454" y="477"/>
                    </a:lnTo>
                    <a:lnTo>
                      <a:pt x="452" y="477"/>
                    </a:lnTo>
                    <a:lnTo>
                      <a:pt x="452" y="479"/>
                    </a:lnTo>
                    <a:lnTo>
                      <a:pt x="454" y="481"/>
                    </a:lnTo>
                    <a:lnTo>
                      <a:pt x="452" y="483"/>
                    </a:lnTo>
                    <a:lnTo>
                      <a:pt x="450" y="483"/>
                    </a:lnTo>
                    <a:lnTo>
                      <a:pt x="448" y="483"/>
                    </a:lnTo>
                    <a:lnTo>
                      <a:pt x="446" y="485"/>
                    </a:lnTo>
                    <a:lnTo>
                      <a:pt x="446" y="487"/>
                    </a:lnTo>
                    <a:lnTo>
                      <a:pt x="448" y="487"/>
                    </a:lnTo>
                    <a:lnTo>
                      <a:pt x="448" y="488"/>
                    </a:lnTo>
                    <a:lnTo>
                      <a:pt x="446" y="488"/>
                    </a:lnTo>
                    <a:lnTo>
                      <a:pt x="444" y="488"/>
                    </a:lnTo>
                    <a:lnTo>
                      <a:pt x="442" y="488"/>
                    </a:lnTo>
                    <a:lnTo>
                      <a:pt x="440" y="488"/>
                    </a:lnTo>
                    <a:lnTo>
                      <a:pt x="438" y="488"/>
                    </a:lnTo>
                    <a:lnTo>
                      <a:pt x="436" y="488"/>
                    </a:lnTo>
                    <a:lnTo>
                      <a:pt x="438" y="488"/>
                    </a:lnTo>
                    <a:lnTo>
                      <a:pt x="436" y="488"/>
                    </a:lnTo>
                    <a:lnTo>
                      <a:pt x="434" y="487"/>
                    </a:lnTo>
                    <a:lnTo>
                      <a:pt x="433" y="487"/>
                    </a:lnTo>
                    <a:lnTo>
                      <a:pt x="431" y="487"/>
                    </a:lnTo>
                    <a:lnTo>
                      <a:pt x="429" y="487"/>
                    </a:lnTo>
                    <a:lnTo>
                      <a:pt x="427" y="487"/>
                    </a:lnTo>
                    <a:lnTo>
                      <a:pt x="425" y="487"/>
                    </a:lnTo>
                    <a:lnTo>
                      <a:pt x="423" y="487"/>
                    </a:lnTo>
                    <a:lnTo>
                      <a:pt x="421" y="487"/>
                    </a:lnTo>
                    <a:lnTo>
                      <a:pt x="419" y="487"/>
                    </a:lnTo>
                    <a:lnTo>
                      <a:pt x="417" y="487"/>
                    </a:lnTo>
                    <a:lnTo>
                      <a:pt x="415" y="487"/>
                    </a:lnTo>
                    <a:lnTo>
                      <a:pt x="413" y="487"/>
                    </a:lnTo>
                    <a:lnTo>
                      <a:pt x="411" y="488"/>
                    </a:lnTo>
                    <a:lnTo>
                      <a:pt x="409" y="488"/>
                    </a:lnTo>
                    <a:lnTo>
                      <a:pt x="408" y="488"/>
                    </a:lnTo>
                    <a:lnTo>
                      <a:pt x="406" y="488"/>
                    </a:lnTo>
                    <a:lnTo>
                      <a:pt x="404" y="487"/>
                    </a:lnTo>
                    <a:lnTo>
                      <a:pt x="404" y="488"/>
                    </a:lnTo>
                    <a:lnTo>
                      <a:pt x="404" y="487"/>
                    </a:lnTo>
                    <a:lnTo>
                      <a:pt x="402" y="488"/>
                    </a:lnTo>
                    <a:lnTo>
                      <a:pt x="402" y="487"/>
                    </a:lnTo>
                    <a:lnTo>
                      <a:pt x="400" y="488"/>
                    </a:lnTo>
                    <a:lnTo>
                      <a:pt x="398" y="488"/>
                    </a:lnTo>
                    <a:lnTo>
                      <a:pt x="396" y="487"/>
                    </a:lnTo>
                    <a:lnTo>
                      <a:pt x="394" y="487"/>
                    </a:lnTo>
                    <a:lnTo>
                      <a:pt x="392" y="487"/>
                    </a:lnTo>
                    <a:lnTo>
                      <a:pt x="390" y="487"/>
                    </a:lnTo>
                    <a:lnTo>
                      <a:pt x="390" y="485"/>
                    </a:lnTo>
                    <a:lnTo>
                      <a:pt x="388" y="485"/>
                    </a:lnTo>
                    <a:lnTo>
                      <a:pt x="390" y="483"/>
                    </a:lnTo>
                    <a:lnTo>
                      <a:pt x="390" y="481"/>
                    </a:lnTo>
                    <a:lnTo>
                      <a:pt x="390" y="479"/>
                    </a:lnTo>
                    <a:lnTo>
                      <a:pt x="392" y="479"/>
                    </a:lnTo>
                    <a:lnTo>
                      <a:pt x="394" y="479"/>
                    </a:lnTo>
                    <a:lnTo>
                      <a:pt x="394" y="477"/>
                    </a:lnTo>
                    <a:lnTo>
                      <a:pt x="396" y="477"/>
                    </a:lnTo>
                    <a:lnTo>
                      <a:pt x="396" y="479"/>
                    </a:lnTo>
                    <a:lnTo>
                      <a:pt x="396" y="477"/>
                    </a:lnTo>
                    <a:lnTo>
                      <a:pt x="396" y="479"/>
                    </a:lnTo>
                    <a:lnTo>
                      <a:pt x="398" y="477"/>
                    </a:lnTo>
                    <a:lnTo>
                      <a:pt x="400" y="477"/>
                    </a:lnTo>
                    <a:lnTo>
                      <a:pt x="400" y="475"/>
                    </a:lnTo>
                    <a:lnTo>
                      <a:pt x="402" y="475"/>
                    </a:lnTo>
                    <a:lnTo>
                      <a:pt x="404" y="475"/>
                    </a:lnTo>
                    <a:lnTo>
                      <a:pt x="406" y="475"/>
                    </a:lnTo>
                    <a:lnTo>
                      <a:pt x="408" y="475"/>
                    </a:lnTo>
                    <a:lnTo>
                      <a:pt x="409" y="475"/>
                    </a:lnTo>
                    <a:lnTo>
                      <a:pt x="408" y="475"/>
                    </a:lnTo>
                    <a:lnTo>
                      <a:pt x="409" y="475"/>
                    </a:lnTo>
                    <a:lnTo>
                      <a:pt x="411" y="475"/>
                    </a:lnTo>
                    <a:lnTo>
                      <a:pt x="409" y="473"/>
                    </a:lnTo>
                    <a:lnTo>
                      <a:pt x="411" y="473"/>
                    </a:lnTo>
                    <a:lnTo>
                      <a:pt x="413" y="473"/>
                    </a:lnTo>
                    <a:lnTo>
                      <a:pt x="413" y="471"/>
                    </a:lnTo>
                    <a:lnTo>
                      <a:pt x="415" y="471"/>
                    </a:lnTo>
                    <a:lnTo>
                      <a:pt x="417" y="471"/>
                    </a:lnTo>
                    <a:lnTo>
                      <a:pt x="417" y="469"/>
                    </a:lnTo>
                    <a:lnTo>
                      <a:pt x="417" y="467"/>
                    </a:lnTo>
                    <a:lnTo>
                      <a:pt x="419" y="467"/>
                    </a:lnTo>
                    <a:lnTo>
                      <a:pt x="417" y="467"/>
                    </a:lnTo>
                    <a:lnTo>
                      <a:pt x="417" y="465"/>
                    </a:lnTo>
                    <a:lnTo>
                      <a:pt x="419" y="465"/>
                    </a:lnTo>
                    <a:lnTo>
                      <a:pt x="417" y="465"/>
                    </a:lnTo>
                    <a:lnTo>
                      <a:pt x="417" y="467"/>
                    </a:lnTo>
                    <a:lnTo>
                      <a:pt x="419" y="467"/>
                    </a:lnTo>
                    <a:lnTo>
                      <a:pt x="417" y="467"/>
                    </a:lnTo>
                    <a:lnTo>
                      <a:pt x="417" y="469"/>
                    </a:lnTo>
                    <a:lnTo>
                      <a:pt x="417" y="471"/>
                    </a:lnTo>
                    <a:lnTo>
                      <a:pt x="415" y="471"/>
                    </a:lnTo>
                    <a:lnTo>
                      <a:pt x="413" y="471"/>
                    </a:lnTo>
                    <a:lnTo>
                      <a:pt x="411" y="473"/>
                    </a:lnTo>
                    <a:lnTo>
                      <a:pt x="413" y="473"/>
                    </a:lnTo>
                    <a:lnTo>
                      <a:pt x="411" y="473"/>
                    </a:lnTo>
                    <a:lnTo>
                      <a:pt x="409" y="473"/>
                    </a:lnTo>
                    <a:lnTo>
                      <a:pt x="409" y="475"/>
                    </a:lnTo>
                    <a:lnTo>
                      <a:pt x="408" y="475"/>
                    </a:lnTo>
                    <a:lnTo>
                      <a:pt x="406" y="475"/>
                    </a:lnTo>
                    <a:lnTo>
                      <a:pt x="404" y="475"/>
                    </a:lnTo>
                    <a:lnTo>
                      <a:pt x="402" y="475"/>
                    </a:lnTo>
                    <a:lnTo>
                      <a:pt x="400" y="475"/>
                    </a:lnTo>
                    <a:lnTo>
                      <a:pt x="400" y="477"/>
                    </a:lnTo>
                    <a:lnTo>
                      <a:pt x="398" y="477"/>
                    </a:lnTo>
                    <a:lnTo>
                      <a:pt x="400" y="477"/>
                    </a:lnTo>
                    <a:lnTo>
                      <a:pt x="398" y="477"/>
                    </a:lnTo>
                    <a:lnTo>
                      <a:pt x="396" y="477"/>
                    </a:lnTo>
                    <a:lnTo>
                      <a:pt x="396" y="479"/>
                    </a:lnTo>
                    <a:lnTo>
                      <a:pt x="396" y="477"/>
                    </a:lnTo>
                    <a:lnTo>
                      <a:pt x="396" y="479"/>
                    </a:lnTo>
                    <a:lnTo>
                      <a:pt x="396" y="477"/>
                    </a:lnTo>
                    <a:lnTo>
                      <a:pt x="394" y="477"/>
                    </a:lnTo>
                    <a:lnTo>
                      <a:pt x="394" y="479"/>
                    </a:lnTo>
                    <a:lnTo>
                      <a:pt x="392" y="479"/>
                    </a:lnTo>
                    <a:lnTo>
                      <a:pt x="390" y="479"/>
                    </a:lnTo>
                    <a:lnTo>
                      <a:pt x="390" y="481"/>
                    </a:lnTo>
                    <a:lnTo>
                      <a:pt x="390" y="483"/>
                    </a:lnTo>
                    <a:lnTo>
                      <a:pt x="390" y="485"/>
                    </a:lnTo>
                    <a:lnTo>
                      <a:pt x="388" y="485"/>
                    </a:lnTo>
                    <a:lnTo>
                      <a:pt x="390" y="483"/>
                    </a:lnTo>
                    <a:lnTo>
                      <a:pt x="388" y="485"/>
                    </a:lnTo>
                    <a:lnTo>
                      <a:pt x="386" y="485"/>
                    </a:lnTo>
                    <a:lnTo>
                      <a:pt x="384" y="485"/>
                    </a:lnTo>
                    <a:lnTo>
                      <a:pt x="384" y="483"/>
                    </a:lnTo>
                    <a:lnTo>
                      <a:pt x="383" y="483"/>
                    </a:lnTo>
                    <a:lnTo>
                      <a:pt x="381" y="483"/>
                    </a:lnTo>
                    <a:lnTo>
                      <a:pt x="379" y="483"/>
                    </a:lnTo>
                    <a:lnTo>
                      <a:pt x="377" y="483"/>
                    </a:lnTo>
                    <a:lnTo>
                      <a:pt x="377" y="481"/>
                    </a:lnTo>
                    <a:lnTo>
                      <a:pt x="375" y="481"/>
                    </a:lnTo>
                    <a:lnTo>
                      <a:pt x="373" y="481"/>
                    </a:lnTo>
                    <a:lnTo>
                      <a:pt x="371" y="481"/>
                    </a:lnTo>
                    <a:lnTo>
                      <a:pt x="369" y="481"/>
                    </a:lnTo>
                    <a:lnTo>
                      <a:pt x="367" y="481"/>
                    </a:lnTo>
                    <a:lnTo>
                      <a:pt x="367" y="483"/>
                    </a:lnTo>
                    <a:lnTo>
                      <a:pt x="365" y="483"/>
                    </a:lnTo>
                    <a:lnTo>
                      <a:pt x="363" y="483"/>
                    </a:lnTo>
                    <a:lnTo>
                      <a:pt x="365" y="483"/>
                    </a:lnTo>
                    <a:lnTo>
                      <a:pt x="363" y="483"/>
                    </a:lnTo>
                    <a:lnTo>
                      <a:pt x="365" y="483"/>
                    </a:lnTo>
                    <a:lnTo>
                      <a:pt x="367" y="483"/>
                    </a:lnTo>
                    <a:lnTo>
                      <a:pt x="367" y="481"/>
                    </a:lnTo>
                    <a:lnTo>
                      <a:pt x="367" y="483"/>
                    </a:lnTo>
                    <a:lnTo>
                      <a:pt x="367" y="485"/>
                    </a:lnTo>
                    <a:lnTo>
                      <a:pt x="365" y="485"/>
                    </a:lnTo>
                    <a:lnTo>
                      <a:pt x="367" y="485"/>
                    </a:lnTo>
                    <a:lnTo>
                      <a:pt x="365" y="485"/>
                    </a:lnTo>
                    <a:lnTo>
                      <a:pt x="363" y="485"/>
                    </a:lnTo>
                    <a:lnTo>
                      <a:pt x="363" y="487"/>
                    </a:lnTo>
                    <a:lnTo>
                      <a:pt x="361" y="487"/>
                    </a:lnTo>
                    <a:lnTo>
                      <a:pt x="361" y="488"/>
                    </a:lnTo>
                    <a:lnTo>
                      <a:pt x="360" y="490"/>
                    </a:lnTo>
                    <a:lnTo>
                      <a:pt x="360" y="492"/>
                    </a:lnTo>
                    <a:lnTo>
                      <a:pt x="360" y="494"/>
                    </a:lnTo>
                    <a:lnTo>
                      <a:pt x="361" y="494"/>
                    </a:lnTo>
                    <a:lnTo>
                      <a:pt x="363" y="494"/>
                    </a:lnTo>
                    <a:lnTo>
                      <a:pt x="365" y="494"/>
                    </a:lnTo>
                    <a:lnTo>
                      <a:pt x="367" y="496"/>
                    </a:lnTo>
                    <a:lnTo>
                      <a:pt x="367" y="498"/>
                    </a:lnTo>
                    <a:lnTo>
                      <a:pt x="369" y="498"/>
                    </a:lnTo>
                    <a:lnTo>
                      <a:pt x="371" y="500"/>
                    </a:lnTo>
                    <a:lnTo>
                      <a:pt x="373" y="500"/>
                    </a:lnTo>
                    <a:lnTo>
                      <a:pt x="375" y="500"/>
                    </a:lnTo>
                    <a:lnTo>
                      <a:pt x="377" y="500"/>
                    </a:lnTo>
                    <a:lnTo>
                      <a:pt x="379" y="500"/>
                    </a:lnTo>
                    <a:lnTo>
                      <a:pt x="381" y="500"/>
                    </a:lnTo>
                    <a:lnTo>
                      <a:pt x="381" y="498"/>
                    </a:lnTo>
                    <a:lnTo>
                      <a:pt x="381" y="500"/>
                    </a:lnTo>
                    <a:lnTo>
                      <a:pt x="383" y="500"/>
                    </a:lnTo>
                    <a:lnTo>
                      <a:pt x="384" y="500"/>
                    </a:lnTo>
                    <a:lnTo>
                      <a:pt x="386" y="500"/>
                    </a:lnTo>
                    <a:lnTo>
                      <a:pt x="386" y="498"/>
                    </a:lnTo>
                    <a:lnTo>
                      <a:pt x="388" y="498"/>
                    </a:lnTo>
                    <a:lnTo>
                      <a:pt x="388" y="500"/>
                    </a:lnTo>
                    <a:lnTo>
                      <a:pt x="390" y="500"/>
                    </a:lnTo>
                    <a:lnTo>
                      <a:pt x="392" y="500"/>
                    </a:lnTo>
                    <a:lnTo>
                      <a:pt x="390" y="500"/>
                    </a:lnTo>
                    <a:lnTo>
                      <a:pt x="390" y="502"/>
                    </a:lnTo>
                    <a:lnTo>
                      <a:pt x="388" y="502"/>
                    </a:lnTo>
                    <a:lnTo>
                      <a:pt x="388" y="504"/>
                    </a:lnTo>
                    <a:lnTo>
                      <a:pt x="390" y="504"/>
                    </a:lnTo>
                    <a:lnTo>
                      <a:pt x="390" y="506"/>
                    </a:lnTo>
                    <a:lnTo>
                      <a:pt x="392" y="506"/>
                    </a:lnTo>
                    <a:lnTo>
                      <a:pt x="394" y="506"/>
                    </a:lnTo>
                    <a:lnTo>
                      <a:pt x="392" y="504"/>
                    </a:lnTo>
                    <a:lnTo>
                      <a:pt x="394" y="504"/>
                    </a:lnTo>
                    <a:lnTo>
                      <a:pt x="394" y="506"/>
                    </a:lnTo>
                    <a:lnTo>
                      <a:pt x="396" y="506"/>
                    </a:lnTo>
                    <a:lnTo>
                      <a:pt x="398" y="506"/>
                    </a:lnTo>
                    <a:lnTo>
                      <a:pt x="398" y="504"/>
                    </a:lnTo>
                    <a:lnTo>
                      <a:pt x="400" y="504"/>
                    </a:lnTo>
                    <a:lnTo>
                      <a:pt x="402" y="504"/>
                    </a:lnTo>
                    <a:lnTo>
                      <a:pt x="402" y="506"/>
                    </a:lnTo>
                    <a:lnTo>
                      <a:pt x="402" y="508"/>
                    </a:lnTo>
                    <a:lnTo>
                      <a:pt x="400" y="508"/>
                    </a:lnTo>
                    <a:lnTo>
                      <a:pt x="400" y="510"/>
                    </a:lnTo>
                    <a:lnTo>
                      <a:pt x="400" y="512"/>
                    </a:lnTo>
                    <a:lnTo>
                      <a:pt x="400" y="513"/>
                    </a:lnTo>
                    <a:lnTo>
                      <a:pt x="400" y="515"/>
                    </a:lnTo>
                    <a:lnTo>
                      <a:pt x="400" y="513"/>
                    </a:lnTo>
                    <a:lnTo>
                      <a:pt x="402" y="515"/>
                    </a:lnTo>
                    <a:lnTo>
                      <a:pt x="400" y="515"/>
                    </a:lnTo>
                    <a:lnTo>
                      <a:pt x="402" y="515"/>
                    </a:lnTo>
                    <a:lnTo>
                      <a:pt x="402" y="517"/>
                    </a:lnTo>
                    <a:lnTo>
                      <a:pt x="404" y="517"/>
                    </a:lnTo>
                    <a:lnTo>
                      <a:pt x="402" y="519"/>
                    </a:lnTo>
                    <a:lnTo>
                      <a:pt x="402" y="521"/>
                    </a:lnTo>
                    <a:lnTo>
                      <a:pt x="402" y="519"/>
                    </a:lnTo>
                    <a:lnTo>
                      <a:pt x="402" y="521"/>
                    </a:lnTo>
                    <a:lnTo>
                      <a:pt x="400" y="521"/>
                    </a:lnTo>
                    <a:lnTo>
                      <a:pt x="400" y="523"/>
                    </a:lnTo>
                    <a:lnTo>
                      <a:pt x="400" y="525"/>
                    </a:lnTo>
                    <a:lnTo>
                      <a:pt x="400" y="527"/>
                    </a:lnTo>
                    <a:lnTo>
                      <a:pt x="400" y="525"/>
                    </a:lnTo>
                    <a:lnTo>
                      <a:pt x="398" y="525"/>
                    </a:lnTo>
                    <a:lnTo>
                      <a:pt x="398" y="527"/>
                    </a:lnTo>
                    <a:lnTo>
                      <a:pt x="400" y="527"/>
                    </a:lnTo>
                    <a:lnTo>
                      <a:pt x="398" y="527"/>
                    </a:lnTo>
                    <a:lnTo>
                      <a:pt x="398" y="529"/>
                    </a:lnTo>
                    <a:lnTo>
                      <a:pt x="396" y="529"/>
                    </a:lnTo>
                    <a:lnTo>
                      <a:pt x="396" y="531"/>
                    </a:lnTo>
                    <a:lnTo>
                      <a:pt x="394" y="531"/>
                    </a:lnTo>
                    <a:lnTo>
                      <a:pt x="392" y="531"/>
                    </a:lnTo>
                    <a:lnTo>
                      <a:pt x="392" y="529"/>
                    </a:lnTo>
                    <a:lnTo>
                      <a:pt x="390" y="529"/>
                    </a:lnTo>
                    <a:lnTo>
                      <a:pt x="388" y="529"/>
                    </a:lnTo>
                    <a:lnTo>
                      <a:pt x="388" y="531"/>
                    </a:lnTo>
                    <a:lnTo>
                      <a:pt x="388" y="529"/>
                    </a:lnTo>
                    <a:lnTo>
                      <a:pt x="388" y="531"/>
                    </a:lnTo>
                    <a:lnTo>
                      <a:pt x="388" y="533"/>
                    </a:lnTo>
                    <a:lnTo>
                      <a:pt x="386" y="533"/>
                    </a:lnTo>
                    <a:lnTo>
                      <a:pt x="386" y="535"/>
                    </a:lnTo>
                    <a:lnTo>
                      <a:pt x="384" y="535"/>
                    </a:lnTo>
                    <a:lnTo>
                      <a:pt x="384" y="537"/>
                    </a:lnTo>
                    <a:lnTo>
                      <a:pt x="383" y="537"/>
                    </a:lnTo>
                    <a:lnTo>
                      <a:pt x="383" y="538"/>
                    </a:lnTo>
                    <a:lnTo>
                      <a:pt x="381" y="538"/>
                    </a:lnTo>
                    <a:lnTo>
                      <a:pt x="379" y="540"/>
                    </a:lnTo>
                    <a:lnTo>
                      <a:pt x="377" y="540"/>
                    </a:lnTo>
                    <a:lnTo>
                      <a:pt x="375" y="540"/>
                    </a:lnTo>
                    <a:lnTo>
                      <a:pt x="375" y="542"/>
                    </a:lnTo>
                    <a:lnTo>
                      <a:pt x="375" y="544"/>
                    </a:lnTo>
                    <a:lnTo>
                      <a:pt x="373" y="544"/>
                    </a:lnTo>
                    <a:lnTo>
                      <a:pt x="371" y="544"/>
                    </a:lnTo>
                    <a:lnTo>
                      <a:pt x="371" y="546"/>
                    </a:lnTo>
                    <a:lnTo>
                      <a:pt x="369" y="546"/>
                    </a:lnTo>
                    <a:lnTo>
                      <a:pt x="367" y="546"/>
                    </a:lnTo>
                    <a:lnTo>
                      <a:pt x="365" y="546"/>
                    </a:lnTo>
                    <a:lnTo>
                      <a:pt x="363" y="546"/>
                    </a:lnTo>
                    <a:lnTo>
                      <a:pt x="361" y="546"/>
                    </a:lnTo>
                    <a:lnTo>
                      <a:pt x="361" y="548"/>
                    </a:lnTo>
                    <a:lnTo>
                      <a:pt x="361" y="546"/>
                    </a:lnTo>
                    <a:lnTo>
                      <a:pt x="360" y="546"/>
                    </a:lnTo>
                    <a:lnTo>
                      <a:pt x="358" y="546"/>
                    </a:lnTo>
                    <a:lnTo>
                      <a:pt x="356" y="546"/>
                    </a:lnTo>
                    <a:lnTo>
                      <a:pt x="354" y="546"/>
                    </a:lnTo>
                    <a:lnTo>
                      <a:pt x="356" y="546"/>
                    </a:lnTo>
                    <a:lnTo>
                      <a:pt x="354" y="546"/>
                    </a:lnTo>
                    <a:lnTo>
                      <a:pt x="354" y="548"/>
                    </a:lnTo>
                    <a:lnTo>
                      <a:pt x="352" y="546"/>
                    </a:lnTo>
                    <a:lnTo>
                      <a:pt x="350" y="546"/>
                    </a:lnTo>
                    <a:lnTo>
                      <a:pt x="350" y="548"/>
                    </a:lnTo>
                    <a:lnTo>
                      <a:pt x="350" y="546"/>
                    </a:lnTo>
                    <a:lnTo>
                      <a:pt x="352" y="546"/>
                    </a:lnTo>
                    <a:lnTo>
                      <a:pt x="352" y="548"/>
                    </a:lnTo>
                    <a:lnTo>
                      <a:pt x="354" y="548"/>
                    </a:lnTo>
                    <a:lnTo>
                      <a:pt x="354" y="546"/>
                    </a:lnTo>
                    <a:lnTo>
                      <a:pt x="356" y="546"/>
                    </a:lnTo>
                    <a:lnTo>
                      <a:pt x="358" y="546"/>
                    </a:lnTo>
                    <a:lnTo>
                      <a:pt x="360" y="546"/>
                    </a:lnTo>
                    <a:lnTo>
                      <a:pt x="361" y="546"/>
                    </a:lnTo>
                    <a:lnTo>
                      <a:pt x="361" y="548"/>
                    </a:lnTo>
                    <a:lnTo>
                      <a:pt x="361" y="546"/>
                    </a:lnTo>
                    <a:lnTo>
                      <a:pt x="363" y="546"/>
                    </a:lnTo>
                    <a:lnTo>
                      <a:pt x="365" y="546"/>
                    </a:lnTo>
                    <a:lnTo>
                      <a:pt x="365" y="548"/>
                    </a:lnTo>
                    <a:lnTo>
                      <a:pt x="365" y="546"/>
                    </a:lnTo>
                    <a:lnTo>
                      <a:pt x="365" y="548"/>
                    </a:lnTo>
                    <a:lnTo>
                      <a:pt x="363" y="548"/>
                    </a:lnTo>
                    <a:lnTo>
                      <a:pt x="361" y="548"/>
                    </a:lnTo>
                    <a:lnTo>
                      <a:pt x="363" y="548"/>
                    </a:lnTo>
                    <a:lnTo>
                      <a:pt x="361" y="548"/>
                    </a:lnTo>
                    <a:lnTo>
                      <a:pt x="361" y="550"/>
                    </a:lnTo>
                    <a:lnTo>
                      <a:pt x="361" y="548"/>
                    </a:lnTo>
                    <a:lnTo>
                      <a:pt x="363" y="548"/>
                    </a:lnTo>
                    <a:lnTo>
                      <a:pt x="365" y="548"/>
                    </a:lnTo>
                    <a:lnTo>
                      <a:pt x="365" y="546"/>
                    </a:lnTo>
                    <a:lnTo>
                      <a:pt x="367" y="546"/>
                    </a:lnTo>
                    <a:lnTo>
                      <a:pt x="369" y="546"/>
                    </a:lnTo>
                    <a:lnTo>
                      <a:pt x="371" y="546"/>
                    </a:lnTo>
                    <a:lnTo>
                      <a:pt x="373" y="546"/>
                    </a:lnTo>
                    <a:lnTo>
                      <a:pt x="373" y="544"/>
                    </a:lnTo>
                    <a:lnTo>
                      <a:pt x="373" y="546"/>
                    </a:lnTo>
                    <a:lnTo>
                      <a:pt x="373" y="544"/>
                    </a:lnTo>
                    <a:lnTo>
                      <a:pt x="375" y="544"/>
                    </a:lnTo>
                    <a:lnTo>
                      <a:pt x="373" y="544"/>
                    </a:lnTo>
                    <a:lnTo>
                      <a:pt x="375" y="544"/>
                    </a:lnTo>
                    <a:lnTo>
                      <a:pt x="375" y="542"/>
                    </a:lnTo>
                    <a:lnTo>
                      <a:pt x="377" y="542"/>
                    </a:lnTo>
                    <a:lnTo>
                      <a:pt x="377" y="540"/>
                    </a:lnTo>
                    <a:lnTo>
                      <a:pt x="379" y="540"/>
                    </a:lnTo>
                    <a:lnTo>
                      <a:pt x="381" y="540"/>
                    </a:lnTo>
                    <a:lnTo>
                      <a:pt x="381" y="538"/>
                    </a:lnTo>
                    <a:lnTo>
                      <a:pt x="383" y="538"/>
                    </a:lnTo>
                    <a:lnTo>
                      <a:pt x="381" y="538"/>
                    </a:lnTo>
                    <a:lnTo>
                      <a:pt x="383" y="538"/>
                    </a:lnTo>
                    <a:lnTo>
                      <a:pt x="383" y="537"/>
                    </a:lnTo>
                    <a:lnTo>
                      <a:pt x="384" y="537"/>
                    </a:lnTo>
                    <a:lnTo>
                      <a:pt x="384" y="535"/>
                    </a:lnTo>
                    <a:lnTo>
                      <a:pt x="384" y="537"/>
                    </a:lnTo>
                    <a:lnTo>
                      <a:pt x="384" y="535"/>
                    </a:lnTo>
                    <a:lnTo>
                      <a:pt x="386" y="535"/>
                    </a:lnTo>
                    <a:lnTo>
                      <a:pt x="386" y="533"/>
                    </a:lnTo>
                    <a:lnTo>
                      <a:pt x="388" y="533"/>
                    </a:lnTo>
                    <a:lnTo>
                      <a:pt x="388" y="531"/>
                    </a:lnTo>
                    <a:lnTo>
                      <a:pt x="390" y="529"/>
                    </a:lnTo>
                    <a:lnTo>
                      <a:pt x="392" y="529"/>
                    </a:lnTo>
                    <a:lnTo>
                      <a:pt x="392" y="531"/>
                    </a:lnTo>
                    <a:lnTo>
                      <a:pt x="394" y="531"/>
                    </a:lnTo>
                    <a:lnTo>
                      <a:pt x="396" y="531"/>
                    </a:lnTo>
                    <a:lnTo>
                      <a:pt x="396" y="529"/>
                    </a:lnTo>
                    <a:lnTo>
                      <a:pt x="398" y="529"/>
                    </a:lnTo>
                    <a:lnTo>
                      <a:pt x="400" y="527"/>
                    </a:lnTo>
                    <a:lnTo>
                      <a:pt x="398" y="527"/>
                    </a:lnTo>
                    <a:lnTo>
                      <a:pt x="400" y="527"/>
                    </a:lnTo>
                    <a:lnTo>
                      <a:pt x="400" y="529"/>
                    </a:lnTo>
                    <a:lnTo>
                      <a:pt x="402" y="529"/>
                    </a:lnTo>
                    <a:lnTo>
                      <a:pt x="404" y="529"/>
                    </a:lnTo>
                    <a:lnTo>
                      <a:pt x="404" y="531"/>
                    </a:lnTo>
                    <a:lnTo>
                      <a:pt x="406" y="531"/>
                    </a:lnTo>
                    <a:lnTo>
                      <a:pt x="404" y="531"/>
                    </a:lnTo>
                    <a:lnTo>
                      <a:pt x="406" y="531"/>
                    </a:lnTo>
                    <a:lnTo>
                      <a:pt x="406" y="533"/>
                    </a:lnTo>
                    <a:lnTo>
                      <a:pt x="408" y="533"/>
                    </a:lnTo>
                    <a:lnTo>
                      <a:pt x="408" y="535"/>
                    </a:lnTo>
                    <a:lnTo>
                      <a:pt x="408" y="533"/>
                    </a:lnTo>
                    <a:lnTo>
                      <a:pt x="408" y="535"/>
                    </a:lnTo>
                    <a:lnTo>
                      <a:pt x="408" y="537"/>
                    </a:lnTo>
                    <a:lnTo>
                      <a:pt x="409" y="537"/>
                    </a:lnTo>
                    <a:lnTo>
                      <a:pt x="409" y="538"/>
                    </a:lnTo>
                    <a:lnTo>
                      <a:pt x="409" y="540"/>
                    </a:lnTo>
                    <a:lnTo>
                      <a:pt x="408" y="540"/>
                    </a:lnTo>
                    <a:lnTo>
                      <a:pt x="408" y="542"/>
                    </a:lnTo>
                    <a:lnTo>
                      <a:pt x="406" y="542"/>
                    </a:lnTo>
                    <a:lnTo>
                      <a:pt x="408" y="542"/>
                    </a:lnTo>
                    <a:lnTo>
                      <a:pt x="406" y="544"/>
                    </a:lnTo>
                    <a:lnTo>
                      <a:pt x="404" y="544"/>
                    </a:lnTo>
                    <a:lnTo>
                      <a:pt x="404" y="546"/>
                    </a:lnTo>
                    <a:lnTo>
                      <a:pt x="404" y="548"/>
                    </a:lnTo>
                    <a:lnTo>
                      <a:pt x="406" y="548"/>
                    </a:lnTo>
                    <a:lnTo>
                      <a:pt x="404" y="548"/>
                    </a:lnTo>
                    <a:lnTo>
                      <a:pt x="406" y="548"/>
                    </a:lnTo>
                    <a:lnTo>
                      <a:pt x="404" y="548"/>
                    </a:lnTo>
                    <a:lnTo>
                      <a:pt x="404" y="546"/>
                    </a:lnTo>
                    <a:lnTo>
                      <a:pt x="404" y="544"/>
                    </a:lnTo>
                    <a:lnTo>
                      <a:pt x="406" y="544"/>
                    </a:lnTo>
                    <a:lnTo>
                      <a:pt x="408" y="542"/>
                    </a:lnTo>
                    <a:lnTo>
                      <a:pt x="406" y="542"/>
                    </a:lnTo>
                    <a:lnTo>
                      <a:pt x="408" y="542"/>
                    </a:lnTo>
                    <a:lnTo>
                      <a:pt x="408" y="540"/>
                    </a:lnTo>
                    <a:lnTo>
                      <a:pt x="409" y="540"/>
                    </a:lnTo>
                    <a:lnTo>
                      <a:pt x="409" y="538"/>
                    </a:lnTo>
                    <a:lnTo>
                      <a:pt x="411" y="538"/>
                    </a:lnTo>
                    <a:lnTo>
                      <a:pt x="411" y="540"/>
                    </a:lnTo>
                    <a:lnTo>
                      <a:pt x="413" y="540"/>
                    </a:lnTo>
                    <a:lnTo>
                      <a:pt x="413" y="542"/>
                    </a:lnTo>
                    <a:lnTo>
                      <a:pt x="413" y="540"/>
                    </a:lnTo>
                    <a:lnTo>
                      <a:pt x="415" y="542"/>
                    </a:lnTo>
                    <a:lnTo>
                      <a:pt x="415" y="540"/>
                    </a:lnTo>
                    <a:lnTo>
                      <a:pt x="415" y="542"/>
                    </a:lnTo>
                    <a:lnTo>
                      <a:pt x="415" y="540"/>
                    </a:lnTo>
                    <a:lnTo>
                      <a:pt x="415" y="542"/>
                    </a:lnTo>
                    <a:lnTo>
                      <a:pt x="417" y="540"/>
                    </a:lnTo>
                    <a:lnTo>
                      <a:pt x="417" y="542"/>
                    </a:lnTo>
                    <a:lnTo>
                      <a:pt x="419" y="542"/>
                    </a:lnTo>
                    <a:lnTo>
                      <a:pt x="421" y="542"/>
                    </a:lnTo>
                    <a:lnTo>
                      <a:pt x="421" y="544"/>
                    </a:lnTo>
                    <a:lnTo>
                      <a:pt x="423" y="544"/>
                    </a:lnTo>
                    <a:lnTo>
                      <a:pt x="423" y="546"/>
                    </a:lnTo>
                    <a:lnTo>
                      <a:pt x="425" y="546"/>
                    </a:lnTo>
                    <a:lnTo>
                      <a:pt x="425" y="548"/>
                    </a:lnTo>
                    <a:lnTo>
                      <a:pt x="427" y="548"/>
                    </a:lnTo>
                    <a:lnTo>
                      <a:pt x="429" y="548"/>
                    </a:lnTo>
                    <a:lnTo>
                      <a:pt x="429" y="550"/>
                    </a:lnTo>
                    <a:lnTo>
                      <a:pt x="431" y="550"/>
                    </a:lnTo>
                    <a:lnTo>
                      <a:pt x="431" y="552"/>
                    </a:lnTo>
                    <a:lnTo>
                      <a:pt x="433" y="552"/>
                    </a:lnTo>
                    <a:lnTo>
                      <a:pt x="433" y="554"/>
                    </a:lnTo>
                    <a:lnTo>
                      <a:pt x="433" y="556"/>
                    </a:lnTo>
                    <a:lnTo>
                      <a:pt x="433" y="554"/>
                    </a:lnTo>
                    <a:lnTo>
                      <a:pt x="433" y="552"/>
                    </a:lnTo>
                    <a:lnTo>
                      <a:pt x="431" y="552"/>
                    </a:lnTo>
                    <a:lnTo>
                      <a:pt x="431" y="550"/>
                    </a:lnTo>
                    <a:lnTo>
                      <a:pt x="429" y="550"/>
                    </a:lnTo>
                    <a:lnTo>
                      <a:pt x="429" y="548"/>
                    </a:lnTo>
                    <a:lnTo>
                      <a:pt x="427" y="548"/>
                    </a:lnTo>
                    <a:lnTo>
                      <a:pt x="425" y="548"/>
                    </a:lnTo>
                    <a:lnTo>
                      <a:pt x="425" y="546"/>
                    </a:lnTo>
                    <a:lnTo>
                      <a:pt x="423" y="546"/>
                    </a:lnTo>
                    <a:lnTo>
                      <a:pt x="421" y="544"/>
                    </a:lnTo>
                    <a:lnTo>
                      <a:pt x="421" y="542"/>
                    </a:lnTo>
                    <a:lnTo>
                      <a:pt x="419" y="542"/>
                    </a:lnTo>
                    <a:lnTo>
                      <a:pt x="417" y="542"/>
                    </a:lnTo>
                    <a:lnTo>
                      <a:pt x="417" y="540"/>
                    </a:lnTo>
                    <a:lnTo>
                      <a:pt x="415" y="540"/>
                    </a:lnTo>
                    <a:lnTo>
                      <a:pt x="415" y="542"/>
                    </a:lnTo>
                    <a:lnTo>
                      <a:pt x="415" y="540"/>
                    </a:lnTo>
                    <a:lnTo>
                      <a:pt x="415" y="542"/>
                    </a:lnTo>
                    <a:lnTo>
                      <a:pt x="413" y="540"/>
                    </a:lnTo>
                    <a:lnTo>
                      <a:pt x="411" y="540"/>
                    </a:lnTo>
                    <a:lnTo>
                      <a:pt x="411" y="538"/>
                    </a:lnTo>
                    <a:lnTo>
                      <a:pt x="411" y="540"/>
                    </a:lnTo>
                    <a:lnTo>
                      <a:pt x="411" y="538"/>
                    </a:lnTo>
                    <a:lnTo>
                      <a:pt x="409" y="538"/>
                    </a:lnTo>
                    <a:lnTo>
                      <a:pt x="409" y="537"/>
                    </a:lnTo>
                    <a:lnTo>
                      <a:pt x="409" y="535"/>
                    </a:lnTo>
                    <a:lnTo>
                      <a:pt x="408" y="535"/>
                    </a:lnTo>
                    <a:lnTo>
                      <a:pt x="408" y="533"/>
                    </a:lnTo>
                    <a:lnTo>
                      <a:pt x="406" y="533"/>
                    </a:lnTo>
                    <a:lnTo>
                      <a:pt x="406" y="531"/>
                    </a:lnTo>
                    <a:lnTo>
                      <a:pt x="404" y="529"/>
                    </a:lnTo>
                    <a:lnTo>
                      <a:pt x="402" y="529"/>
                    </a:lnTo>
                    <a:lnTo>
                      <a:pt x="400" y="529"/>
                    </a:lnTo>
                    <a:lnTo>
                      <a:pt x="402" y="527"/>
                    </a:lnTo>
                    <a:lnTo>
                      <a:pt x="400" y="527"/>
                    </a:lnTo>
                    <a:lnTo>
                      <a:pt x="400" y="525"/>
                    </a:lnTo>
                    <a:lnTo>
                      <a:pt x="400" y="523"/>
                    </a:lnTo>
                    <a:lnTo>
                      <a:pt x="402" y="521"/>
                    </a:lnTo>
                    <a:lnTo>
                      <a:pt x="402" y="519"/>
                    </a:lnTo>
                    <a:lnTo>
                      <a:pt x="404" y="519"/>
                    </a:lnTo>
                    <a:lnTo>
                      <a:pt x="404" y="517"/>
                    </a:lnTo>
                    <a:lnTo>
                      <a:pt x="402" y="515"/>
                    </a:lnTo>
                    <a:lnTo>
                      <a:pt x="402" y="513"/>
                    </a:lnTo>
                    <a:lnTo>
                      <a:pt x="400" y="513"/>
                    </a:lnTo>
                    <a:lnTo>
                      <a:pt x="400" y="512"/>
                    </a:lnTo>
                    <a:lnTo>
                      <a:pt x="402" y="512"/>
                    </a:lnTo>
                    <a:lnTo>
                      <a:pt x="400" y="510"/>
                    </a:lnTo>
                    <a:lnTo>
                      <a:pt x="402" y="510"/>
                    </a:lnTo>
                    <a:lnTo>
                      <a:pt x="400" y="510"/>
                    </a:lnTo>
                    <a:lnTo>
                      <a:pt x="402" y="510"/>
                    </a:lnTo>
                    <a:lnTo>
                      <a:pt x="400" y="510"/>
                    </a:lnTo>
                    <a:lnTo>
                      <a:pt x="402" y="508"/>
                    </a:lnTo>
                    <a:lnTo>
                      <a:pt x="402" y="506"/>
                    </a:lnTo>
                    <a:lnTo>
                      <a:pt x="402" y="504"/>
                    </a:lnTo>
                    <a:lnTo>
                      <a:pt x="400" y="504"/>
                    </a:lnTo>
                    <a:lnTo>
                      <a:pt x="398" y="504"/>
                    </a:lnTo>
                    <a:lnTo>
                      <a:pt x="398" y="506"/>
                    </a:lnTo>
                    <a:lnTo>
                      <a:pt x="396" y="506"/>
                    </a:lnTo>
                    <a:lnTo>
                      <a:pt x="394" y="506"/>
                    </a:lnTo>
                    <a:lnTo>
                      <a:pt x="394" y="504"/>
                    </a:lnTo>
                    <a:lnTo>
                      <a:pt x="392" y="504"/>
                    </a:lnTo>
                    <a:lnTo>
                      <a:pt x="392" y="506"/>
                    </a:lnTo>
                    <a:lnTo>
                      <a:pt x="390" y="504"/>
                    </a:lnTo>
                    <a:lnTo>
                      <a:pt x="388" y="504"/>
                    </a:lnTo>
                    <a:lnTo>
                      <a:pt x="388" y="502"/>
                    </a:lnTo>
                    <a:lnTo>
                      <a:pt x="390" y="502"/>
                    </a:lnTo>
                    <a:lnTo>
                      <a:pt x="390" y="500"/>
                    </a:lnTo>
                    <a:lnTo>
                      <a:pt x="392" y="500"/>
                    </a:lnTo>
                    <a:lnTo>
                      <a:pt x="390" y="500"/>
                    </a:lnTo>
                    <a:lnTo>
                      <a:pt x="388" y="500"/>
                    </a:lnTo>
                    <a:lnTo>
                      <a:pt x="388" y="498"/>
                    </a:lnTo>
                    <a:lnTo>
                      <a:pt x="386" y="498"/>
                    </a:lnTo>
                    <a:lnTo>
                      <a:pt x="384" y="500"/>
                    </a:lnTo>
                    <a:lnTo>
                      <a:pt x="383" y="500"/>
                    </a:lnTo>
                    <a:lnTo>
                      <a:pt x="381" y="500"/>
                    </a:lnTo>
                    <a:lnTo>
                      <a:pt x="381" y="498"/>
                    </a:lnTo>
                    <a:lnTo>
                      <a:pt x="379" y="498"/>
                    </a:lnTo>
                    <a:lnTo>
                      <a:pt x="379" y="500"/>
                    </a:lnTo>
                    <a:lnTo>
                      <a:pt x="377" y="500"/>
                    </a:lnTo>
                    <a:lnTo>
                      <a:pt x="375" y="500"/>
                    </a:lnTo>
                    <a:lnTo>
                      <a:pt x="375" y="498"/>
                    </a:lnTo>
                    <a:lnTo>
                      <a:pt x="373" y="498"/>
                    </a:lnTo>
                    <a:lnTo>
                      <a:pt x="373" y="500"/>
                    </a:lnTo>
                    <a:lnTo>
                      <a:pt x="371" y="500"/>
                    </a:lnTo>
                    <a:lnTo>
                      <a:pt x="371" y="498"/>
                    </a:lnTo>
                    <a:lnTo>
                      <a:pt x="369" y="496"/>
                    </a:lnTo>
                    <a:lnTo>
                      <a:pt x="367" y="496"/>
                    </a:lnTo>
                    <a:lnTo>
                      <a:pt x="367" y="494"/>
                    </a:lnTo>
                    <a:lnTo>
                      <a:pt x="365" y="494"/>
                    </a:lnTo>
                    <a:lnTo>
                      <a:pt x="363" y="494"/>
                    </a:lnTo>
                    <a:lnTo>
                      <a:pt x="361" y="494"/>
                    </a:lnTo>
                    <a:lnTo>
                      <a:pt x="360" y="494"/>
                    </a:lnTo>
                    <a:lnTo>
                      <a:pt x="360" y="492"/>
                    </a:lnTo>
                    <a:lnTo>
                      <a:pt x="360" y="490"/>
                    </a:lnTo>
                    <a:lnTo>
                      <a:pt x="361" y="490"/>
                    </a:lnTo>
                    <a:lnTo>
                      <a:pt x="361" y="488"/>
                    </a:lnTo>
                    <a:lnTo>
                      <a:pt x="363" y="488"/>
                    </a:lnTo>
                    <a:lnTo>
                      <a:pt x="363" y="487"/>
                    </a:lnTo>
                    <a:lnTo>
                      <a:pt x="365" y="487"/>
                    </a:lnTo>
                    <a:lnTo>
                      <a:pt x="363" y="487"/>
                    </a:lnTo>
                    <a:lnTo>
                      <a:pt x="365" y="487"/>
                    </a:lnTo>
                    <a:lnTo>
                      <a:pt x="365" y="485"/>
                    </a:lnTo>
                    <a:lnTo>
                      <a:pt x="367" y="485"/>
                    </a:lnTo>
                    <a:lnTo>
                      <a:pt x="365" y="487"/>
                    </a:lnTo>
                    <a:lnTo>
                      <a:pt x="367" y="485"/>
                    </a:lnTo>
                    <a:lnTo>
                      <a:pt x="369" y="485"/>
                    </a:lnTo>
                    <a:lnTo>
                      <a:pt x="369" y="483"/>
                    </a:lnTo>
                    <a:lnTo>
                      <a:pt x="369" y="481"/>
                    </a:lnTo>
                    <a:lnTo>
                      <a:pt x="371" y="481"/>
                    </a:lnTo>
                    <a:lnTo>
                      <a:pt x="373" y="483"/>
                    </a:lnTo>
                    <a:lnTo>
                      <a:pt x="375" y="481"/>
                    </a:lnTo>
                    <a:lnTo>
                      <a:pt x="377" y="481"/>
                    </a:lnTo>
                    <a:lnTo>
                      <a:pt x="377" y="483"/>
                    </a:lnTo>
                    <a:lnTo>
                      <a:pt x="379" y="483"/>
                    </a:lnTo>
                    <a:lnTo>
                      <a:pt x="381" y="483"/>
                    </a:lnTo>
                    <a:lnTo>
                      <a:pt x="383" y="483"/>
                    </a:lnTo>
                    <a:lnTo>
                      <a:pt x="384" y="483"/>
                    </a:lnTo>
                    <a:lnTo>
                      <a:pt x="384" y="485"/>
                    </a:lnTo>
                    <a:lnTo>
                      <a:pt x="386" y="485"/>
                    </a:lnTo>
                    <a:lnTo>
                      <a:pt x="388" y="485"/>
                    </a:lnTo>
                    <a:lnTo>
                      <a:pt x="388" y="487"/>
                    </a:lnTo>
                    <a:lnTo>
                      <a:pt x="390" y="487"/>
                    </a:lnTo>
                    <a:lnTo>
                      <a:pt x="392" y="487"/>
                    </a:lnTo>
                    <a:lnTo>
                      <a:pt x="394" y="487"/>
                    </a:lnTo>
                    <a:lnTo>
                      <a:pt x="396" y="487"/>
                    </a:lnTo>
                    <a:lnTo>
                      <a:pt x="396" y="488"/>
                    </a:lnTo>
                    <a:lnTo>
                      <a:pt x="398" y="488"/>
                    </a:lnTo>
                    <a:lnTo>
                      <a:pt x="400" y="488"/>
                    </a:lnTo>
                    <a:lnTo>
                      <a:pt x="402" y="488"/>
                    </a:lnTo>
                    <a:lnTo>
                      <a:pt x="404" y="488"/>
                    </a:lnTo>
                    <a:lnTo>
                      <a:pt x="406" y="488"/>
                    </a:lnTo>
                    <a:lnTo>
                      <a:pt x="408" y="488"/>
                    </a:lnTo>
                    <a:lnTo>
                      <a:pt x="409" y="488"/>
                    </a:lnTo>
                    <a:lnTo>
                      <a:pt x="411" y="488"/>
                    </a:lnTo>
                    <a:lnTo>
                      <a:pt x="413" y="488"/>
                    </a:lnTo>
                    <a:lnTo>
                      <a:pt x="411" y="488"/>
                    </a:lnTo>
                    <a:lnTo>
                      <a:pt x="413" y="488"/>
                    </a:lnTo>
                    <a:lnTo>
                      <a:pt x="413" y="490"/>
                    </a:lnTo>
                    <a:lnTo>
                      <a:pt x="413" y="488"/>
                    </a:lnTo>
                    <a:lnTo>
                      <a:pt x="415" y="487"/>
                    </a:lnTo>
                    <a:lnTo>
                      <a:pt x="417" y="487"/>
                    </a:lnTo>
                    <a:lnTo>
                      <a:pt x="419" y="487"/>
                    </a:lnTo>
                    <a:lnTo>
                      <a:pt x="421" y="487"/>
                    </a:lnTo>
                    <a:lnTo>
                      <a:pt x="423" y="487"/>
                    </a:lnTo>
                    <a:lnTo>
                      <a:pt x="421" y="487"/>
                    </a:lnTo>
                    <a:lnTo>
                      <a:pt x="423" y="487"/>
                    </a:lnTo>
                    <a:lnTo>
                      <a:pt x="425" y="487"/>
                    </a:lnTo>
                    <a:lnTo>
                      <a:pt x="427" y="487"/>
                    </a:lnTo>
                    <a:lnTo>
                      <a:pt x="429" y="487"/>
                    </a:lnTo>
                    <a:lnTo>
                      <a:pt x="431" y="487"/>
                    </a:lnTo>
                    <a:lnTo>
                      <a:pt x="433" y="487"/>
                    </a:lnTo>
                    <a:lnTo>
                      <a:pt x="434" y="487"/>
                    </a:lnTo>
                    <a:lnTo>
                      <a:pt x="434" y="488"/>
                    </a:lnTo>
                    <a:lnTo>
                      <a:pt x="436" y="488"/>
                    </a:lnTo>
                    <a:lnTo>
                      <a:pt x="438" y="488"/>
                    </a:lnTo>
                    <a:lnTo>
                      <a:pt x="438" y="490"/>
                    </a:lnTo>
                    <a:lnTo>
                      <a:pt x="440" y="490"/>
                    </a:lnTo>
                    <a:lnTo>
                      <a:pt x="442" y="490"/>
                    </a:lnTo>
                    <a:lnTo>
                      <a:pt x="442" y="492"/>
                    </a:lnTo>
                    <a:lnTo>
                      <a:pt x="440" y="492"/>
                    </a:lnTo>
                    <a:lnTo>
                      <a:pt x="440" y="490"/>
                    </a:lnTo>
                    <a:lnTo>
                      <a:pt x="438" y="490"/>
                    </a:lnTo>
                    <a:lnTo>
                      <a:pt x="438" y="492"/>
                    </a:lnTo>
                    <a:lnTo>
                      <a:pt x="440" y="492"/>
                    </a:lnTo>
                    <a:lnTo>
                      <a:pt x="440" y="494"/>
                    </a:lnTo>
                    <a:lnTo>
                      <a:pt x="440" y="496"/>
                    </a:lnTo>
                    <a:lnTo>
                      <a:pt x="440" y="498"/>
                    </a:lnTo>
                    <a:lnTo>
                      <a:pt x="438" y="498"/>
                    </a:lnTo>
                    <a:lnTo>
                      <a:pt x="440" y="498"/>
                    </a:lnTo>
                    <a:lnTo>
                      <a:pt x="440" y="500"/>
                    </a:lnTo>
                    <a:lnTo>
                      <a:pt x="438" y="500"/>
                    </a:lnTo>
                    <a:lnTo>
                      <a:pt x="438" y="498"/>
                    </a:lnTo>
                    <a:lnTo>
                      <a:pt x="438" y="500"/>
                    </a:lnTo>
                    <a:lnTo>
                      <a:pt x="436" y="500"/>
                    </a:lnTo>
                    <a:lnTo>
                      <a:pt x="436" y="502"/>
                    </a:lnTo>
                    <a:lnTo>
                      <a:pt x="438" y="502"/>
                    </a:lnTo>
                    <a:lnTo>
                      <a:pt x="436" y="502"/>
                    </a:lnTo>
                    <a:lnTo>
                      <a:pt x="436" y="500"/>
                    </a:lnTo>
                    <a:lnTo>
                      <a:pt x="438" y="500"/>
                    </a:lnTo>
                    <a:lnTo>
                      <a:pt x="440" y="500"/>
                    </a:lnTo>
                    <a:lnTo>
                      <a:pt x="440" y="498"/>
                    </a:lnTo>
                    <a:lnTo>
                      <a:pt x="438" y="498"/>
                    </a:lnTo>
                    <a:lnTo>
                      <a:pt x="440" y="498"/>
                    </a:lnTo>
                    <a:lnTo>
                      <a:pt x="440" y="496"/>
                    </a:lnTo>
                    <a:lnTo>
                      <a:pt x="440" y="494"/>
                    </a:lnTo>
                    <a:lnTo>
                      <a:pt x="442" y="492"/>
                    </a:lnTo>
                    <a:lnTo>
                      <a:pt x="440" y="492"/>
                    </a:lnTo>
                    <a:lnTo>
                      <a:pt x="438" y="492"/>
                    </a:lnTo>
                    <a:lnTo>
                      <a:pt x="438" y="490"/>
                    </a:lnTo>
                    <a:lnTo>
                      <a:pt x="440" y="490"/>
                    </a:lnTo>
                    <a:lnTo>
                      <a:pt x="440" y="492"/>
                    </a:lnTo>
                    <a:lnTo>
                      <a:pt x="442" y="492"/>
                    </a:lnTo>
                    <a:lnTo>
                      <a:pt x="444" y="492"/>
                    </a:lnTo>
                    <a:lnTo>
                      <a:pt x="444" y="490"/>
                    </a:lnTo>
                    <a:lnTo>
                      <a:pt x="442" y="490"/>
                    </a:lnTo>
                    <a:lnTo>
                      <a:pt x="444" y="490"/>
                    </a:lnTo>
                    <a:lnTo>
                      <a:pt x="446" y="490"/>
                    </a:lnTo>
                    <a:lnTo>
                      <a:pt x="446" y="488"/>
                    </a:lnTo>
                    <a:lnTo>
                      <a:pt x="446" y="490"/>
                    </a:lnTo>
                    <a:lnTo>
                      <a:pt x="446" y="488"/>
                    </a:lnTo>
                    <a:lnTo>
                      <a:pt x="448" y="488"/>
                    </a:lnTo>
                    <a:lnTo>
                      <a:pt x="448" y="487"/>
                    </a:lnTo>
                    <a:lnTo>
                      <a:pt x="448" y="485"/>
                    </a:lnTo>
                    <a:lnTo>
                      <a:pt x="448" y="483"/>
                    </a:lnTo>
                    <a:lnTo>
                      <a:pt x="448" y="485"/>
                    </a:lnTo>
                    <a:lnTo>
                      <a:pt x="450" y="483"/>
                    </a:lnTo>
                    <a:lnTo>
                      <a:pt x="452" y="483"/>
                    </a:lnTo>
                    <a:lnTo>
                      <a:pt x="454" y="483"/>
                    </a:lnTo>
                    <a:lnTo>
                      <a:pt x="454" y="481"/>
                    </a:lnTo>
                    <a:lnTo>
                      <a:pt x="454" y="483"/>
                    </a:lnTo>
                    <a:lnTo>
                      <a:pt x="454" y="481"/>
                    </a:lnTo>
                    <a:lnTo>
                      <a:pt x="454" y="479"/>
                    </a:lnTo>
                    <a:lnTo>
                      <a:pt x="454" y="477"/>
                    </a:lnTo>
                    <a:lnTo>
                      <a:pt x="454" y="475"/>
                    </a:lnTo>
                    <a:lnTo>
                      <a:pt x="454" y="473"/>
                    </a:lnTo>
                    <a:lnTo>
                      <a:pt x="454" y="475"/>
                    </a:lnTo>
                    <a:lnTo>
                      <a:pt x="454" y="473"/>
                    </a:lnTo>
                    <a:lnTo>
                      <a:pt x="452" y="473"/>
                    </a:lnTo>
                    <a:lnTo>
                      <a:pt x="452" y="471"/>
                    </a:lnTo>
                    <a:lnTo>
                      <a:pt x="454" y="471"/>
                    </a:lnTo>
                    <a:lnTo>
                      <a:pt x="456" y="471"/>
                    </a:lnTo>
                    <a:lnTo>
                      <a:pt x="456" y="473"/>
                    </a:lnTo>
                    <a:lnTo>
                      <a:pt x="458" y="473"/>
                    </a:lnTo>
                    <a:lnTo>
                      <a:pt x="456" y="471"/>
                    </a:lnTo>
                    <a:lnTo>
                      <a:pt x="458" y="471"/>
                    </a:lnTo>
                    <a:lnTo>
                      <a:pt x="456" y="471"/>
                    </a:lnTo>
                    <a:lnTo>
                      <a:pt x="454" y="471"/>
                    </a:lnTo>
                    <a:lnTo>
                      <a:pt x="452" y="471"/>
                    </a:lnTo>
                    <a:lnTo>
                      <a:pt x="454" y="471"/>
                    </a:lnTo>
                    <a:lnTo>
                      <a:pt x="452" y="469"/>
                    </a:lnTo>
                    <a:lnTo>
                      <a:pt x="452" y="467"/>
                    </a:lnTo>
                    <a:lnTo>
                      <a:pt x="454" y="467"/>
                    </a:lnTo>
                    <a:lnTo>
                      <a:pt x="456" y="467"/>
                    </a:lnTo>
                    <a:lnTo>
                      <a:pt x="458" y="467"/>
                    </a:lnTo>
                    <a:lnTo>
                      <a:pt x="459" y="467"/>
                    </a:lnTo>
                    <a:lnTo>
                      <a:pt x="461" y="467"/>
                    </a:lnTo>
                    <a:lnTo>
                      <a:pt x="463" y="467"/>
                    </a:lnTo>
                    <a:lnTo>
                      <a:pt x="465" y="467"/>
                    </a:lnTo>
                    <a:lnTo>
                      <a:pt x="467" y="467"/>
                    </a:lnTo>
                    <a:lnTo>
                      <a:pt x="467" y="469"/>
                    </a:lnTo>
                    <a:lnTo>
                      <a:pt x="467" y="467"/>
                    </a:lnTo>
                    <a:lnTo>
                      <a:pt x="467" y="469"/>
                    </a:lnTo>
                    <a:lnTo>
                      <a:pt x="469" y="469"/>
                    </a:lnTo>
                    <a:lnTo>
                      <a:pt x="471" y="469"/>
                    </a:lnTo>
                    <a:lnTo>
                      <a:pt x="473" y="467"/>
                    </a:lnTo>
                    <a:lnTo>
                      <a:pt x="475" y="467"/>
                    </a:lnTo>
                    <a:lnTo>
                      <a:pt x="477" y="467"/>
                    </a:lnTo>
                    <a:lnTo>
                      <a:pt x="479" y="465"/>
                    </a:lnTo>
                    <a:lnTo>
                      <a:pt x="479" y="464"/>
                    </a:lnTo>
                    <a:lnTo>
                      <a:pt x="481" y="464"/>
                    </a:lnTo>
                    <a:lnTo>
                      <a:pt x="481" y="462"/>
                    </a:lnTo>
                    <a:lnTo>
                      <a:pt x="482" y="462"/>
                    </a:lnTo>
                    <a:lnTo>
                      <a:pt x="482" y="460"/>
                    </a:lnTo>
                    <a:lnTo>
                      <a:pt x="484" y="460"/>
                    </a:lnTo>
                    <a:lnTo>
                      <a:pt x="486" y="460"/>
                    </a:lnTo>
                    <a:lnTo>
                      <a:pt x="486" y="462"/>
                    </a:lnTo>
                    <a:lnTo>
                      <a:pt x="488" y="462"/>
                    </a:lnTo>
                    <a:lnTo>
                      <a:pt x="488" y="460"/>
                    </a:lnTo>
                    <a:lnTo>
                      <a:pt x="490" y="462"/>
                    </a:lnTo>
                    <a:lnTo>
                      <a:pt x="490" y="464"/>
                    </a:lnTo>
                    <a:lnTo>
                      <a:pt x="490" y="462"/>
                    </a:lnTo>
                    <a:lnTo>
                      <a:pt x="490" y="464"/>
                    </a:lnTo>
                    <a:lnTo>
                      <a:pt x="492" y="464"/>
                    </a:lnTo>
                    <a:lnTo>
                      <a:pt x="492" y="465"/>
                    </a:lnTo>
                    <a:lnTo>
                      <a:pt x="494" y="465"/>
                    </a:lnTo>
                    <a:lnTo>
                      <a:pt x="496" y="465"/>
                    </a:lnTo>
                    <a:lnTo>
                      <a:pt x="496" y="467"/>
                    </a:lnTo>
                    <a:lnTo>
                      <a:pt x="496" y="465"/>
                    </a:lnTo>
                    <a:lnTo>
                      <a:pt x="494" y="464"/>
                    </a:lnTo>
                    <a:lnTo>
                      <a:pt x="492" y="462"/>
                    </a:lnTo>
                    <a:lnTo>
                      <a:pt x="490" y="462"/>
                    </a:lnTo>
                    <a:lnTo>
                      <a:pt x="490" y="460"/>
                    </a:lnTo>
                    <a:lnTo>
                      <a:pt x="490" y="462"/>
                    </a:lnTo>
                    <a:lnTo>
                      <a:pt x="490" y="460"/>
                    </a:lnTo>
                    <a:lnTo>
                      <a:pt x="488" y="460"/>
                    </a:lnTo>
                    <a:lnTo>
                      <a:pt x="488" y="462"/>
                    </a:lnTo>
                    <a:lnTo>
                      <a:pt x="486" y="462"/>
                    </a:lnTo>
                    <a:lnTo>
                      <a:pt x="486" y="460"/>
                    </a:lnTo>
                    <a:lnTo>
                      <a:pt x="484" y="460"/>
                    </a:lnTo>
                    <a:lnTo>
                      <a:pt x="484" y="458"/>
                    </a:lnTo>
                    <a:lnTo>
                      <a:pt x="484" y="456"/>
                    </a:lnTo>
                    <a:lnTo>
                      <a:pt x="484" y="454"/>
                    </a:lnTo>
                    <a:lnTo>
                      <a:pt x="486" y="454"/>
                    </a:lnTo>
                    <a:lnTo>
                      <a:pt x="486" y="452"/>
                    </a:lnTo>
                    <a:lnTo>
                      <a:pt x="484" y="454"/>
                    </a:lnTo>
                    <a:lnTo>
                      <a:pt x="486" y="454"/>
                    </a:lnTo>
                    <a:lnTo>
                      <a:pt x="484" y="454"/>
                    </a:lnTo>
                    <a:lnTo>
                      <a:pt x="484" y="452"/>
                    </a:lnTo>
                    <a:lnTo>
                      <a:pt x="486" y="450"/>
                    </a:lnTo>
                    <a:lnTo>
                      <a:pt x="486" y="452"/>
                    </a:lnTo>
                    <a:lnTo>
                      <a:pt x="486" y="450"/>
                    </a:lnTo>
                    <a:lnTo>
                      <a:pt x="484" y="450"/>
                    </a:lnTo>
                    <a:lnTo>
                      <a:pt x="484" y="448"/>
                    </a:lnTo>
                    <a:lnTo>
                      <a:pt x="482" y="448"/>
                    </a:lnTo>
                    <a:lnTo>
                      <a:pt x="482" y="446"/>
                    </a:lnTo>
                    <a:lnTo>
                      <a:pt x="484" y="446"/>
                    </a:lnTo>
                    <a:lnTo>
                      <a:pt x="484" y="444"/>
                    </a:lnTo>
                    <a:lnTo>
                      <a:pt x="486" y="444"/>
                    </a:lnTo>
                    <a:lnTo>
                      <a:pt x="488" y="444"/>
                    </a:lnTo>
                    <a:lnTo>
                      <a:pt x="490" y="442"/>
                    </a:lnTo>
                    <a:lnTo>
                      <a:pt x="492" y="440"/>
                    </a:lnTo>
                    <a:lnTo>
                      <a:pt x="494" y="440"/>
                    </a:lnTo>
                    <a:lnTo>
                      <a:pt x="496" y="439"/>
                    </a:lnTo>
                    <a:lnTo>
                      <a:pt x="498" y="439"/>
                    </a:lnTo>
                    <a:lnTo>
                      <a:pt x="500" y="439"/>
                    </a:lnTo>
                    <a:lnTo>
                      <a:pt x="498" y="439"/>
                    </a:lnTo>
                    <a:lnTo>
                      <a:pt x="496" y="439"/>
                    </a:lnTo>
                    <a:lnTo>
                      <a:pt x="494" y="440"/>
                    </a:lnTo>
                    <a:lnTo>
                      <a:pt x="496" y="439"/>
                    </a:lnTo>
                    <a:lnTo>
                      <a:pt x="498" y="439"/>
                    </a:lnTo>
                    <a:lnTo>
                      <a:pt x="498" y="437"/>
                    </a:lnTo>
                    <a:lnTo>
                      <a:pt x="498" y="439"/>
                    </a:lnTo>
                    <a:lnTo>
                      <a:pt x="500" y="439"/>
                    </a:lnTo>
                    <a:lnTo>
                      <a:pt x="502" y="437"/>
                    </a:lnTo>
                    <a:lnTo>
                      <a:pt x="504" y="437"/>
                    </a:lnTo>
                    <a:lnTo>
                      <a:pt x="506" y="437"/>
                    </a:lnTo>
                    <a:lnTo>
                      <a:pt x="507" y="437"/>
                    </a:lnTo>
                    <a:lnTo>
                      <a:pt x="509" y="435"/>
                    </a:lnTo>
                    <a:lnTo>
                      <a:pt x="511" y="435"/>
                    </a:lnTo>
                    <a:lnTo>
                      <a:pt x="511" y="433"/>
                    </a:lnTo>
                    <a:lnTo>
                      <a:pt x="513" y="433"/>
                    </a:lnTo>
                    <a:lnTo>
                      <a:pt x="511" y="433"/>
                    </a:lnTo>
                    <a:lnTo>
                      <a:pt x="513" y="433"/>
                    </a:lnTo>
                    <a:lnTo>
                      <a:pt x="515" y="433"/>
                    </a:lnTo>
                    <a:lnTo>
                      <a:pt x="517" y="433"/>
                    </a:lnTo>
                    <a:lnTo>
                      <a:pt x="519" y="433"/>
                    </a:lnTo>
                    <a:lnTo>
                      <a:pt x="521" y="433"/>
                    </a:lnTo>
                    <a:lnTo>
                      <a:pt x="523" y="433"/>
                    </a:lnTo>
                    <a:lnTo>
                      <a:pt x="525" y="433"/>
                    </a:lnTo>
                    <a:lnTo>
                      <a:pt x="525" y="431"/>
                    </a:lnTo>
                    <a:lnTo>
                      <a:pt x="527" y="431"/>
                    </a:lnTo>
                    <a:lnTo>
                      <a:pt x="529" y="431"/>
                    </a:lnTo>
                    <a:lnTo>
                      <a:pt x="531" y="431"/>
                    </a:lnTo>
                    <a:lnTo>
                      <a:pt x="532" y="431"/>
                    </a:lnTo>
                    <a:lnTo>
                      <a:pt x="532" y="429"/>
                    </a:lnTo>
                    <a:lnTo>
                      <a:pt x="532" y="427"/>
                    </a:lnTo>
                    <a:lnTo>
                      <a:pt x="534" y="427"/>
                    </a:lnTo>
                    <a:lnTo>
                      <a:pt x="534" y="425"/>
                    </a:lnTo>
                    <a:lnTo>
                      <a:pt x="536" y="425"/>
                    </a:lnTo>
                    <a:lnTo>
                      <a:pt x="538" y="425"/>
                    </a:lnTo>
                    <a:lnTo>
                      <a:pt x="538" y="423"/>
                    </a:lnTo>
                    <a:lnTo>
                      <a:pt x="538" y="425"/>
                    </a:lnTo>
                    <a:lnTo>
                      <a:pt x="540" y="425"/>
                    </a:lnTo>
                    <a:lnTo>
                      <a:pt x="540" y="427"/>
                    </a:lnTo>
                    <a:lnTo>
                      <a:pt x="540" y="425"/>
                    </a:lnTo>
                    <a:lnTo>
                      <a:pt x="540" y="427"/>
                    </a:lnTo>
                    <a:lnTo>
                      <a:pt x="542" y="427"/>
                    </a:lnTo>
                    <a:lnTo>
                      <a:pt x="544" y="427"/>
                    </a:lnTo>
                    <a:lnTo>
                      <a:pt x="542" y="429"/>
                    </a:lnTo>
                    <a:lnTo>
                      <a:pt x="544" y="427"/>
                    </a:lnTo>
                    <a:lnTo>
                      <a:pt x="544" y="429"/>
                    </a:lnTo>
                    <a:lnTo>
                      <a:pt x="542" y="429"/>
                    </a:lnTo>
                    <a:lnTo>
                      <a:pt x="542" y="431"/>
                    </a:lnTo>
                    <a:lnTo>
                      <a:pt x="540" y="431"/>
                    </a:lnTo>
                    <a:lnTo>
                      <a:pt x="542" y="431"/>
                    </a:lnTo>
                    <a:lnTo>
                      <a:pt x="542" y="429"/>
                    </a:lnTo>
                    <a:lnTo>
                      <a:pt x="544" y="429"/>
                    </a:lnTo>
                    <a:lnTo>
                      <a:pt x="546" y="429"/>
                    </a:lnTo>
                    <a:lnTo>
                      <a:pt x="548" y="429"/>
                    </a:lnTo>
                    <a:lnTo>
                      <a:pt x="548" y="431"/>
                    </a:lnTo>
                    <a:lnTo>
                      <a:pt x="548" y="433"/>
                    </a:lnTo>
                    <a:lnTo>
                      <a:pt x="550" y="433"/>
                    </a:lnTo>
                    <a:lnTo>
                      <a:pt x="550" y="435"/>
                    </a:lnTo>
                    <a:lnTo>
                      <a:pt x="550" y="437"/>
                    </a:lnTo>
                    <a:lnTo>
                      <a:pt x="552" y="437"/>
                    </a:lnTo>
                    <a:lnTo>
                      <a:pt x="554" y="439"/>
                    </a:lnTo>
                    <a:lnTo>
                      <a:pt x="555" y="439"/>
                    </a:lnTo>
                    <a:lnTo>
                      <a:pt x="557" y="439"/>
                    </a:lnTo>
                    <a:lnTo>
                      <a:pt x="559" y="440"/>
                    </a:lnTo>
                    <a:lnTo>
                      <a:pt x="561" y="440"/>
                    </a:lnTo>
                    <a:lnTo>
                      <a:pt x="563" y="440"/>
                    </a:lnTo>
                    <a:lnTo>
                      <a:pt x="563" y="442"/>
                    </a:lnTo>
                    <a:lnTo>
                      <a:pt x="565" y="442"/>
                    </a:lnTo>
                    <a:lnTo>
                      <a:pt x="565" y="444"/>
                    </a:lnTo>
                    <a:lnTo>
                      <a:pt x="567" y="444"/>
                    </a:lnTo>
                    <a:lnTo>
                      <a:pt x="567" y="442"/>
                    </a:lnTo>
                    <a:lnTo>
                      <a:pt x="569" y="442"/>
                    </a:lnTo>
                    <a:lnTo>
                      <a:pt x="569" y="444"/>
                    </a:lnTo>
                    <a:lnTo>
                      <a:pt x="569" y="446"/>
                    </a:lnTo>
                    <a:lnTo>
                      <a:pt x="569" y="448"/>
                    </a:lnTo>
                    <a:lnTo>
                      <a:pt x="567" y="448"/>
                    </a:lnTo>
                    <a:lnTo>
                      <a:pt x="565" y="448"/>
                    </a:lnTo>
                    <a:lnTo>
                      <a:pt x="563" y="448"/>
                    </a:lnTo>
                    <a:lnTo>
                      <a:pt x="563" y="450"/>
                    </a:lnTo>
                    <a:lnTo>
                      <a:pt x="565" y="450"/>
                    </a:lnTo>
                    <a:lnTo>
                      <a:pt x="567" y="452"/>
                    </a:lnTo>
                    <a:lnTo>
                      <a:pt x="565" y="452"/>
                    </a:lnTo>
                    <a:lnTo>
                      <a:pt x="565" y="454"/>
                    </a:lnTo>
                    <a:lnTo>
                      <a:pt x="563" y="454"/>
                    </a:lnTo>
                    <a:lnTo>
                      <a:pt x="563" y="456"/>
                    </a:lnTo>
                    <a:lnTo>
                      <a:pt x="563" y="458"/>
                    </a:lnTo>
                    <a:lnTo>
                      <a:pt x="561" y="458"/>
                    </a:lnTo>
                    <a:lnTo>
                      <a:pt x="561" y="460"/>
                    </a:lnTo>
                    <a:lnTo>
                      <a:pt x="559" y="460"/>
                    </a:lnTo>
                    <a:lnTo>
                      <a:pt x="557" y="460"/>
                    </a:lnTo>
                    <a:lnTo>
                      <a:pt x="555" y="462"/>
                    </a:lnTo>
                    <a:lnTo>
                      <a:pt x="557" y="464"/>
                    </a:lnTo>
                    <a:lnTo>
                      <a:pt x="557" y="465"/>
                    </a:lnTo>
                    <a:lnTo>
                      <a:pt x="555" y="465"/>
                    </a:lnTo>
                    <a:lnTo>
                      <a:pt x="554" y="465"/>
                    </a:lnTo>
                    <a:lnTo>
                      <a:pt x="552" y="465"/>
                    </a:lnTo>
                    <a:lnTo>
                      <a:pt x="550" y="467"/>
                    </a:lnTo>
                    <a:lnTo>
                      <a:pt x="550" y="469"/>
                    </a:lnTo>
                    <a:lnTo>
                      <a:pt x="552" y="469"/>
                    </a:lnTo>
                    <a:lnTo>
                      <a:pt x="552" y="471"/>
                    </a:lnTo>
                    <a:lnTo>
                      <a:pt x="554" y="471"/>
                    </a:lnTo>
                    <a:lnTo>
                      <a:pt x="555" y="473"/>
                    </a:lnTo>
                    <a:lnTo>
                      <a:pt x="557" y="471"/>
                    </a:lnTo>
                    <a:lnTo>
                      <a:pt x="559" y="471"/>
                    </a:lnTo>
                    <a:lnTo>
                      <a:pt x="559" y="473"/>
                    </a:lnTo>
                    <a:lnTo>
                      <a:pt x="559" y="475"/>
                    </a:lnTo>
                    <a:lnTo>
                      <a:pt x="561" y="475"/>
                    </a:lnTo>
                    <a:lnTo>
                      <a:pt x="563" y="475"/>
                    </a:lnTo>
                    <a:lnTo>
                      <a:pt x="563" y="477"/>
                    </a:lnTo>
                    <a:lnTo>
                      <a:pt x="563" y="479"/>
                    </a:lnTo>
                    <a:lnTo>
                      <a:pt x="565" y="479"/>
                    </a:lnTo>
                    <a:lnTo>
                      <a:pt x="565" y="481"/>
                    </a:lnTo>
                    <a:lnTo>
                      <a:pt x="567" y="481"/>
                    </a:lnTo>
                    <a:lnTo>
                      <a:pt x="567" y="483"/>
                    </a:lnTo>
                    <a:lnTo>
                      <a:pt x="569" y="483"/>
                    </a:lnTo>
                    <a:lnTo>
                      <a:pt x="569" y="485"/>
                    </a:lnTo>
                    <a:lnTo>
                      <a:pt x="569" y="487"/>
                    </a:lnTo>
                    <a:lnTo>
                      <a:pt x="567" y="487"/>
                    </a:lnTo>
                    <a:lnTo>
                      <a:pt x="567" y="488"/>
                    </a:lnTo>
                    <a:lnTo>
                      <a:pt x="569" y="488"/>
                    </a:lnTo>
                    <a:lnTo>
                      <a:pt x="569" y="490"/>
                    </a:lnTo>
                    <a:lnTo>
                      <a:pt x="571" y="490"/>
                    </a:lnTo>
                    <a:lnTo>
                      <a:pt x="573" y="490"/>
                    </a:lnTo>
                    <a:lnTo>
                      <a:pt x="575" y="490"/>
                    </a:lnTo>
                    <a:lnTo>
                      <a:pt x="577" y="490"/>
                    </a:lnTo>
                    <a:lnTo>
                      <a:pt x="579" y="492"/>
                    </a:lnTo>
                    <a:lnTo>
                      <a:pt x="577" y="492"/>
                    </a:lnTo>
                    <a:lnTo>
                      <a:pt x="579" y="492"/>
                    </a:lnTo>
                    <a:lnTo>
                      <a:pt x="579" y="494"/>
                    </a:lnTo>
                    <a:lnTo>
                      <a:pt x="577" y="494"/>
                    </a:lnTo>
                    <a:lnTo>
                      <a:pt x="577" y="496"/>
                    </a:lnTo>
                    <a:lnTo>
                      <a:pt x="575" y="498"/>
                    </a:lnTo>
                    <a:lnTo>
                      <a:pt x="575" y="500"/>
                    </a:lnTo>
                    <a:lnTo>
                      <a:pt x="577" y="500"/>
                    </a:lnTo>
                    <a:lnTo>
                      <a:pt x="577" y="502"/>
                    </a:lnTo>
                    <a:lnTo>
                      <a:pt x="579" y="502"/>
                    </a:lnTo>
                    <a:lnTo>
                      <a:pt x="580" y="502"/>
                    </a:lnTo>
                    <a:lnTo>
                      <a:pt x="579" y="502"/>
                    </a:lnTo>
                    <a:lnTo>
                      <a:pt x="577" y="504"/>
                    </a:lnTo>
                    <a:lnTo>
                      <a:pt x="575" y="504"/>
                    </a:lnTo>
                    <a:lnTo>
                      <a:pt x="575" y="506"/>
                    </a:lnTo>
                    <a:lnTo>
                      <a:pt x="577" y="506"/>
                    </a:lnTo>
                    <a:lnTo>
                      <a:pt x="579" y="506"/>
                    </a:lnTo>
                    <a:lnTo>
                      <a:pt x="579" y="504"/>
                    </a:lnTo>
                    <a:lnTo>
                      <a:pt x="580" y="504"/>
                    </a:lnTo>
                    <a:lnTo>
                      <a:pt x="580" y="506"/>
                    </a:lnTo>
                    <a:lnTo>
                      <a:pt x="580" y="508"/>
                    </a:lnTo>
                    <a:lnTo>
                      <a:pt x="580" y="510"/>
                    </a:lnTo>
                    <a:lnTo>
                      <a:pt x="582" y="510"/>
                    </a:lnTo>
                    <a:lnTo>
                      <a:pt x="582" y="512"/>
                    </a:lnTo>
                    <a:lnTo>
                      <a:pt x="584" y="513"/>
                    </a:lnTo>
                    <a:lnTo>
                      <a:pt x="584" y="512"/>
                    </a:lnTo>
                    <a:lnTo>
                      <a:pt x="586" y="512"/>
                    </a:lnTo>
                    <a:lnTo>
                      <a:pt x="586" y="513"/>
                    </a:lnTo>
                    <a:lnTo>
                      <a:pt x="584" y="513"/>
                    </a:lnTo>
                    <a:lnTo>
                      <a:pt x="584" y="515"/>
                    </a:lnTo>
                    <a:lnTo>
                      <a:pt x="586" y="515"/>
                    </a:lnTo>
                    <a:lnTo>
                      <a:pt x="584" y="515"/>
                    </a:lnTo>
                    <a:lnTo>
                      <a:pt x="584" y="517"/>
                    </a:lnTo>
                    <a:lnTo>
                      <a:pt x="584" y="515"/>
                    </a:lnTo>
                    <a:lnTo>
                      <a:pt x="582" y="515"/>
                    </a:lnTo>
                    <a:lnTo>
                      <a:pt x="580" y="515"/>
                    </a:lnTo>
                    <a:lnTo>
                      <a:pt x="580" y="517"/>
                    </a:lnTo>
                    <a:lnTo>
                      <a:pt x="582" y="517"/>
                    </a:lnTo>
                    <a:lnTo>
                      <a:pt x="580" y="517"/>
                    </a:lnTo>
                    <a:lnTo>
                      <a:pt x="580" y="519"/>
                    </a:lnTo>
                    <a:lnTo>
                      <a:pt x="579" y="517"/>
                    </a:lnTo>
                    <a:lnTo>
                      <a:pt x="579" y="519"/>
                    </a:lnTo>
                    <a:lnTo>
                      <a:pt x="579" y="521"/>
                    </a:lnTo>
                    <a:lnTo>
                      <a:pt x="579" y="519"/>
                    </a:lnTo>
                    <a:lnTo>
                      <a:pt x="577" y="519"/>
                    </a:lnTo>
                    <a:lnTo>
                      <a:pt x="577" y="521"/>
                    </a:lnTo>
                    <a:lnTo>
                      <a:pt x="575" y="521"/>
                    </a:lnTo>
                    <a:lnTo>
                      <a:pt x="575" y="523"/>
                    </a:lnTo>
                    <a:lnTo>
                      <a:pt x="575" y="525"/>
                    </a:lnTo>
                    <a:lnTo>
                      <a:pt x="573" y="525"/>
                    </a:lnTo>
                    <a:lnTo>
                      <a:pt x="571" y="525"/>
                    </a:lnTo>
                    <a:lnTo>
                      <a:pt x="571" y="527"/>
                    </a:lnTo>
                    <a:lnTo>
                      <a:pt x="573" y="529"/>
                    </a:lnTo>
                    <a:lnTo>
                      <a:pt x="571" y="529"/>
                    </a:lnTo>
                    <a:lnTo>
                      <a:pt x="571" y="531"/>
                    </a:lnTo>
                    <a:lnTo>
                      <a:pt x="571" y="533"/>
                    </a:lnTo>
                    <a:lnTo>
                      <a:pt x="573" y="533"/>
                    </a:lnTo>
                    <a:lnTo>
                      <a:pt x="573" y="535"/>
                    </a:lnTo>
                    <a:lnTo>
                      <a:pt x="571" y="535"/>
                    </a:lnTo>
                    <a:lnTo>
                      <a:pt x="571" y="537"/>
                    </a:lnTo>
                    <a:lnTo>
                      <a:pt x="571" y="538"/>
                    </a:lnTo>
                    <a:lnTo>
                      <a:pt x="569" y="538"/>
                    </a:lnTo>
                    <a:lnTo>
                      <a:pt x="569" y="537"/>
                    </a:lnTo>
                    <a:lnTo>
                      <a:pt x="569" y="538"/>
                    </a:lnTo>
                    <a:lnTo>
                      <a:pt x="567" y="538"/>
                    </a:lnTo>
                    <a:lnTo>
                      <a:pt x="569" y="538"/>
                    </a:lnTo>
                    <a:lnTo>
                      <a:pt x="569" y="540"/>
                    </a:lnTo>
                    <a:lnTo>
                      <a:pt x="567" y="540"/>
                    </a:lnTo>
                    <a:lnTo>
                      <a:pt x="569" y="540"/>
                    </a:lnTo>
                    <a:lnTo>
                      <a:pt x="569" y="542"/>
                    </a:lnTo>
                    <a:lnTo>
                      <a:pt x="571" y="542"/>
                    </a:lnTo>
                    <a:lnTo>
                      <a:pt x="571" y="544"/>
                    </a:lnTo>
                    <a:lnTo>
                      <a:pt x="573" y="544"/>
                    </a:lnTo>
                    <a:lnTo>
                      <a:pt x="575" y="544"/>
                    </a:lnTo>
                    <a:lnTo>
                      <a:pt x="573" y="546"/>
                    </a:lnTo>
                    <a:lnTo>
                      <a:pt x="573" y="544"/>
                    </a:lnTo>
                    <a:lnTo>
                      <a:pt x="571" y="544"/>
                    </a:lnTo>
                    <a:lnTo>
                      <a:pt x="571" y="546"/>
                    </a:lnTo>
                    <a:lnTo>
                      <a:pt x="573" y="546"/>
                    </a:lnTo>
                    <a:lnTo>
                      <a:pt x="573" y="548"/>
                    </a:lnTo>
                    <a:lnTo>
                      <a:pt x="573" y="550"/>
                    </a:lnTo>
                    <a:lnTo>
                      <a:pt x="575" y="550"/>
                    </a:lnTo>
                    <a:lnTo>
                      <a:pt x="575" y="552"/>
                    </a:lnTo>
                    <a:lnTo>
                      <a:pt x="577" y="552"/>
                    </a:lnTo>
                    <a:lnTo>
                      <a:pt x="579" y="552"/>
                    </a:lnTo>
                    <a:lnTo>
                      <a:pt x="577" y="552"/>
                    </a:lnTo>
                    <a:lnTo>
                      <a:pt x="579" y="552"/>
                    </a:lnTo>
                    <a:lnTo>
                      <a:pt x="579" y="554"/>
                    </a:lnTo>
                    <a:lnTo>
                      <a:pt x="580" y="554"/>
                    </a:lnTo>
                    <a:lnTo>
                      <a:pt x="580" y="552"/>
                    </a:lnTo>
                    <a:lnTo>
                      <a:pt x="582" y="552"/>
                    </a:lnTo>
                    <a:lnTo>
                      <a:pt x="582" y="554"/>
                    </a:lnTo>
                    <a:lnTo>
                      <a:pt x="582" y="556"/>
                    </a:lnTo>
                    <a:lnTo>
                      <a:pt x="584" y="556"/>
                    </a:lnTo>
                    <a:lnTo>
                      <a:pt x="586" y="556"/>
                    </a:lnTo>
                    <a:lnTo>
                      <a:pt x="586" y="558"/>
                    </a:lnTo>
                    <a:lnTo>
                      <a:pt x="584" y="558"/>
                    </a:lnTo>
                    <a:lnTo>
                      <a:pt x="582" y="558"/>
                    </a:lnTo>
                    <a:lnTo>
                      <a:pt x="582" y="560"/>
                    </a:lnTo>
                    <a:lnTo>
                      <a:pt x="584" y="560"/>
                    </a:lnTo>
                    <a:lnTo>
                      <a:pt x="584" y="562"/>
                    </a:lnTo>
                    <a:lnTo>
                      <a:pt x="586" y="562"/>
                    </a:lnTo>
                    <a:lnTo>
                      <a:pt x="586" y="563"/>
                    </a:lnTo>
                    <a:lnTo>
                      <a:pt x="586" y="565"/>
                    </a:lnTo>
                    <a:lnTo>
                      <a:pt x="588" y="565"/>
                    </a:lnTo>
                    <a:lnTo>
                      <a:pt x="590" y="567"/>
                    </a:lnTo>
                    <a:lnTo>
                      <a:pt x="588" y="565"/>
                    </a:lnTo>
                    <a:lnTo>
                      <a:pt x="586" y="565"/>
                    </a:lnTo>
                    <a:lnTo>
                      <a:pt x="586" y="563"/>
                    </a:lnTo>
                    <a:lnTo>
                      <a:pt x="586" y="562"/>
                    </a:lnTo>
                    <a:lnTo>
                      <a:pt x="584" y="562"/>
                    </a:lnTo>
                    <a:lnTo>
                      <a:pt x="584" y="560"/>
                    </a:lnTo>
                    <a:lnTo>
                      <a:pt x="582" y="560"/>
                    </a:lnTo>
                    <a:lnTo>
                      <a:pt x="582" y="558"/>
                    </a:lnTo>
                    <a:lnTo>
                      <a:pt x="584" y="558"/>
                    </a:lnTo>
                    <a:lnTo>
                      <a:pt x="586" y="558"/>
                    </a:lnTo>
                    <a:lnTo>
                      <a:pt x="586" y="556"/>
                    </a:lnTo>
                    <a:lnTo>
                      <a:pt x="584" y="556"/>
                    </a:lnTo>
                    <a:lnTo>
                      <a:pt x="582" y="556"/>
                    </a:lnTo>
                    <a:lnTo>
                      <a:pt x="582" y="554"/>
                    </a:lnTo>
                    <a:lnTo>
                      <a:pt x="582" y="552"/>
                    </a:lnTo>
                    <a:lnTo>
                      <a:pt x="580" y="552"/>
                    </a:lnTo>
                    <a:lnTo>
                      <a:pt x="580" y="554"/>
                    </a:lnTo>
                    <a:lnTo>
                      <a:pt x="579" y="554"/>
                    </a:lnTo>
                    <a:lnTo>
                      <a:pt x="579" y="552"/>
                    </a:lnTo>
                    <a:lnTo>
                      <a:pt x="577" y="552"/>
                    </a:lnTo>
                    <a:lnTo>
                      <a:pt x="575" y="552"/>
                    </a:lnTo>
                    <a:lnTo>
                      <a:pt x="575" y="550"/>
                    </a:lnTo>
                    <a:lnTo>
                      <a:pt x="573" y="550"/>
                    </a:lnTo>
                    <a:lnTo>
                      <a:pt x="573" y="548"/>
                    </a:lnTo>
                    <a:lnTo>
                      <a:pt x="573" y="546"/>
                    </a:lnTo>
                    <a:lnTo>
                      <a:pt x="571" y="546"/>
                    </a:lnTo>
                    <a:lnTo>
                      <a:pt x="571" y="544"/>
                    </a:lnTo>
                    <a:lnTo>
                      <a:pt x="573" y="544"/>
                    </a:lnTo>
                    <a:lnTo>
                      <a:pt x="573" y="546"/>
                    </a:lnTo>
                    <a:lnTo>
                      <a:pt x="575" y="546"/>
                    </a:lnTo>
                    <a:lnTo>
                      <a:pt x="575" y="544"/>
                    </a:lnTo>
                    <a:lnTo>
                      <a:pt x="573" y="544"/>
                    </a:lnTo>
                    <a:lnTo>
                      <a:pt x="571" y="544"/>
                    </a:lnTo>
                    <a:lnTo>
                      <a:pt x="573" y="544"/>
                    </a:lnTo>
                    <a:lnTo>
                      <a:pt x="571" y="544"/>
                    </a:lnTo>
                    <a:lnTo>
                      <a:pt x="571" y="542"/>
                    </a:lnTo>
                    <a:lnTo>
                      <a:pt x="569" y="542"/>
                    </a:lnTo>
                    <a:lnTo>
                      <a:pt x="569" y="540"/>
                    </a:lnTo>
                    <a:lnTo>
                      <a:pt x="569" y="538"/>
                    </a:lnTo>
                    <a:lnTo>
                      <a:pt x="567" y="538"/>
                    </a:lnTo>
                    <a:lnTo>
                      <a:pt x="569" y="538"/>
                    </a:lnTo>
                    <a:lnTo>
                      <a:pt x="571" y="538"/>
                    </a:lnTo>
                    <a:lnTo>
                      <a:pt x="571" y="537"/>
                    </a:lnTo>
                    <a:lnTo>
                      <a:pt x="571" y="535"/>
                    </a:lnTo>
                    <a:lnTo>
                      <a:pt x="573" y="535"/>
                    </a:lnTo>
                    <a:lnTo>
                      <a:pt x="573" y="533"/>
                    </a:lnTo>
                    <a:lnTo>
                      <a:pt x="571" y="533"/>
                    </a:lnTo>
                    <a:lnTo>
                      <a:pt x="571" y="531"/>
                    </a:lnTo>
                    <a:lnTo>
                      <a:pt x="571" y="529"/>
                    </a:lnTo>
                    <a:lnTo>
                      <a:pt x="573" y="529"/>
                    </a:lnTo>
                    <a:lnTo>
                      <a:pt x="573" y="527"/>
                    </a:lnTo>
                    <a:lnTo>
                      <a:pt x="571" y="527"/>
                    </a:lnTo>
                    <a:lnTo>
                      <a:pt x="571" y="525"/>
                    </a:lnTo>
                    <a:lnTo>
                      <a:pt x="573" y="525"/>
                    </a:lnTo>
                    <a:lnTo>
                      <a:pt x="575" y="525"/>
                    </a:lnTo>
                    <a:lnTo>
                      <a:pt x="575" y="523"/>
                    </a:lnTo>
                    <a:lnTo>
                      <a:pt x="575" y="521"/>
                    </a:lnTo>
                    <a:lnTo>
                      <a:pt x="577" y="521"/>
                    </a:lnTo>
                    <a:lnTo>
                      <a:pt x="577" y="519"/>
                    </a:lnTo>
                    <a:lnTo>
                      <a:pt x="579" y="519"/>
                    </a:lnTo>
                    <a:lnTo>
                      <a:pt x="579" y="521"/>
                    </a:lnTo>
                    <a:lnTo>
                      <a:pt x="579" y="519"/>
                    </a:lnTo>
                    <a:lnTo>
                      <a:pt x="579" y="517"/>
                    </a:lnTo>
                    <a:lnTo>
                      <a:pt x="579" y="519"/>
                    </a:lnTo>
                    <a:lnTo>
                      <a:pt x="580" y="519"/>
                    </a:lnTo>
                    <a:lnTo>
                      <a:pt x="582" y="517"/>
                    </a:lnTo>
                    <a:lnTo>
                      <a:pt x="582" y="515"/>
                    </a:lnTo>
                    <a:lnTo>
                      <a:pt x="584" y="515"/>
                    </a:lnTo>
                    <a:lnTo>
                      <a:pt x="584" y="517"/>
                    </a:lnTo>
                    <a:lnTo>
                      <a:pt x="586" y="515"/>
                    </a:lnTo>
                    <a:lnTo>
                      <a:pt x="584" y="515"/>
                    </a:lnTo>
                    <a:lnTo>
                      <a:pt x="584" y="513"/>
                    </a:lnTo>
                    <a:lnTo>
                      <a:pt x="586" y="513"/>
                    </a:lnTo>
                    <a:lnTo>
                      <a:pt x="586" y="512"/>
                    </a:lnTo>
                    <a:lnTo>
                      <a:pt x="584" y="512"/>
                    </a:lnTo>
                    <a:lnTo>
                      <a:pt x="584" y="513"/>
                    </a:lnTo>
                    <a:lnTo>
                      <a:pt x="584" y="512"/>
                    </a:lnTo>
                    <a:lnTo>
                      <a:pt x="582" y="512"/>
                    </a:lnTo>
                    <a:lnTo>
                      <a:pt x="582" y="510"/>
                    </a:lnTo>
                    <a:lnTo>
                      <a:pt x="580" y="510"/>
                    </a:lnTo>
                    <a:lnTo>
                      <a:pt x="582" y="510"/>
                    </a:lnTo>
                    <a:lnTo>
                      <a:pt x="582" y="508"/>
                    </a:lnTo>
                    <a:lnTo>
                      <a:pt x="580" y="508"/>
                    </a:lnTo>
                    <a:lnTo>
                      <a:pt x="580" y="506"/>
                    </a:lnTo>
                    <a:lnTo>
                      <a:pt x="580" y="504"/>
                    </a:lnTo>
                    <a:lnTo>
                      <a:pt x="579" y="504"/>
                    </a:lnTo>
                    <a:lnTo>
                      <a:pt x="579" y="506"/>
                    </a:lnTo>
                    <a:lnTo>
                      <a:pt x="577" y="506"/>
                    </a:lnTo>
                    <a:lnTo>
                      <a:pt x="575" y="504"/>
                    </a:lnTo>
                    <a:lnTo>
                      <a:pt x="577" y="504"/>
                    </a:lnTo>
                    <a:lnTo>
                      <a:pt x="579" y="504"/>
                    </a:lnTo>
                    <a:lnTo>
                      <a:pt x="579" y="502"/>
                    </a:lnTo>
                    <a:lnTo>
                      <a:pt x="580" y="502"/>
                    </a:lnTo>
                    <a:lnTo>
                      <a:pt x="579" y="502"/>
                    </a:lnTo>
                    <a:lnTo>
                      <a:pt x="577" y="502"/>
                    </a:lnTo>
                    <a:lnTo>
                      <a:pt x="577" y="500"/>
                    </a:lnTo>
                    <a:lnTo>
                      <a:pt x="575" y="500"/>
                    </a:lnTo>
                    <a:lnTo>
                      <a:pt x="575" y="498"/>
                    </a:lnTo>
                    <a:lnTo>
                      <a:pt x="577" y="498"/>
                    </a:lnTo>
                    <a:lnTo>
                      <a:pt x="577" y="496"/>
                    </a:lnTo>
                    <a:lnTo>
                      <a:pt x="577" y="494"/>
                    </a:lnTo>
                    <a:lnTo>
                      <a:pt x="579" y="494"/>
                    </a:lnTo>
                    <a:lnTo>
                      <a:pt x="579" y="492"/>
                    </a:lnTo>
                    <a:lnTo>
                      <a:pt x="580" y="492"/>
                    </a:lnTo>
                    <a:lnTo>
                      <a:pt x="580" y="494"/>
                    </a:lnTo>
                    <a:lnTo>
                      <a:pt x="582" y="494"/>
                    </a:lnTo>
                    <a:lnTo>
                      <a:pt x="584" y="494"/>
                    </a:lnTo>
                    <a:lnTo>
                      <a:pt x="586" y="492"/>
                    </a:lnTo>
                    <a:lnTo>
                      <a:pt x="586" y="494"/>
                    </a:lnTo>
                    <a:lnTo>
                      <a:pt x="588" y="494"/>
                    </a:lnTo>
                    <a:lnTo>
                      <a:pt x="586" y="494"/>
                    </a:lnTo>
                    <a:lnTo>
                      <a:pt x="586" y="492"/>
                    </a:lnTo>
                    <a:lnTo>
                      <a:pt x="584" y="492"/>
                    </a:lnTo>
                    <a:lnTo>
                      <a:pt x="584" y="494"/>
                    </a:lnTo>
                    <a:lnTo>
                      <a:pt x="582" y="494"/>
                    </a:lnTo>
                    <a:lnTo>
                      <a:pt x="580" y="494"/>
                    </a:lnTo>
                    <a:lnTo>
                      <a:pt x="580" y="492"/>
                    </a:lnTo>
                    <a:lnTo>
                      <a:pt x="579" y="492"/>
                    </a:lnTo>
                    <a:lnTo>
                      <a:pt x="579" y="490"/>
                    </a:lnTo>
                    <a:lnTo>
                      <a:pt x="577" y="490"/>
                    </a:lnTo>
                    <a:lnTo>
                      <a:pt x="575" y="490"/>
                    </a:lnTo>
                    <a:lnTo>
                      <a:pt x="573" y="490"/>
                    </a:lnTo>
                    <a:lnTo>
                      <a:pt x="571" y="490"/>
                    </a:lnTo>
                    <a:lnTo>
                      <a:pt x="569" y="490"/>
                    </a:lnTo>
                    <a:lnTo>
                      <a:pt x="569" y="488"/>
                    </a:lnTo>
                    <a:lnTo>
                      <a:pt x="567" y="488"/>
                    </a:lnTo>
                    <a:lnTo>
                      <a:pt x="567" y="487"/>
                    </a:lnTo>
                    <a:lnTo>
                      <a:pt x="567" y="488"/>
                    </a:lnTo>
                    <a:lnTo>
                      <a:pt x="567" y="487"/>
                    </a:lnTo>
                    <a:lnTo>
                      <a:pt x="569" y="487"/>
                    </a:lnTo>
                    <a:lnTo>
                      <a:pt x="569" y="485"/>
                    </a:lnTo>
                    <a:lnTo>
                      <a:pt x="569" y="483"/>
                    </a:lnTo>
                    <a:lnTo>
                      <a:pt x="567" y="481"/>
                    </a:lnTo>
                    <a:lnTo>
                      <a:pt x="565" y="479"/>
                    </a:lnTo>
                    <a:lnTo>
                      <a:pt x="563" y="479"/>
                    </a:lnTo>
                    <a:lnTo>
                      <a:pt x="563" y="477"/>
                    </a:lnTo>
                    <a:lnTo>
                      <a:pt x="565" y="477"/>
                    </a:lnTo>
                    <a:lnTo>
                      <a:pt x="563" y="477"/>
                    </a:lnTo>
                    <a:lnTo>
                      <a:pt x="563" y="475"/>
                    </a:lnTo>
                    <a:lnTo>
                      <a:pt x="561" y="475"/>
                    </a:lnTo>
                    <a:lnTo>
                      <a:pt x="559" y="473"/>
                    </a:lnTo>
                    <a:lnTo>
                      <a:pt x="559" y="471"/>
                    </a:lnTo>
                    <a:lnTo>
                      <a:pt x="557" y="471"/>
                    </a:lnTo>
                    <a:lnTo>
                      <a:pt x="555" y="473"/>
                    </a:lnTo>
                    <a:lnTo>
                      <a:pt x="554" y="471"/>
                    </a:lnTo>
                    <a:lnTo>
                      <a:pt x="552" y="471"/>
                    </a:lnTo>
                    <a:lnTo>
                      <a:pt x="552" y="469"/>
                    </a:lnTo>
                    <a:lnTo>
                      <a:pt x="550" y="469"/>
                    </a:lnTo>
                    <a:lnTo>
                      <a:pt x="550" y="467"/>
                    </a:lnTo>
                    <a:lnTo>
                      <a:pt x="552" y="467"/>
                    </a:lnTo>
                    <a:lnTo>
                      <a:pt x="552" y="465"/>
                    </a:lnTo>
                    <a:lnTo>
                      <a:pt x="554" y="465"/>
                    </a:lnTo>
                    <a:lnTo>
                      <a:pt x="555" y="465"/>
                    </a:lnTo>
                    <a:lnTo>
                      <a:pt x="557" y="465"/>
                    </a:lnTo>
                    <a:lnTo>
                      <a:pt x="557" y="464"/>
                    </a:lnTo>
                    <a:lnTo>
                      <a:pt x="555" y="462"/>
                    </a:lnTo>
                    <a:lnTo>
                      <a:pt x="557" y="460"/>
                    </a:lnTo>
                    <a:lnTo>
                      <a:pt x="559" y="460"/>
                    </a:lnTo>
                    <a:lnTo>
                      <a:pt x="561" y="460"/>
                    </a:lnTo>
                    <a:lnTo>
                      <a:pt x="561" y="458"/>
                    </a:lnTo>
                    <a:lnTo>
                      <a:pt x="563" y="458"/>
                    </a:lnTo>
                    <a:lnTo>
                      <a:pt x="563" y="456"/>
                    </a:lnTo>
                    <a:lnTo>
                      <a:pt x="565" y="456"/>
                    </a:lnTo>
                    <a:lnTo>
                      <a:pt x="565" y="454"/>
                    </a:lnTo>
                    <a:lnTo>
                      <a:pt x="567" y="452"/>
                    </a:lnTo>
                    <a:lnTo>
                      <a:pt x="565" y="450"/>
                    </a:lnTo>
                    <a:lnTo>
                      <a:pt x="563" y="450"/>
                    </a:lnTo>
                    <a:lnTo>
                      <a:pt x="563" y="448"/>
                    </a:lnTo>
                    <a:lnTo>
                      <a:pt x="565" y="448"/>
                    </a:lnTo>
                    <a:lnTo>
                      <a:pt x="567" y="450"/>
                    </a:lnTo>
                    <a:lnTo>
                      <a:pt x="567" y="448"/>
                    </a:lnTo>
                    <a:lnTo>
                      <a:pt x="569" y="448"/>
                    </a:lnTo>
                    <a:lnTo>
                      <a:pt x="569" y="446"/>
                    </a:lnTo>
                    <a:lnTo>
                      <a:pt x="569" y="444"/>
                    </a:lnTo>
                    <a:lnTo>
                      <a:pt x="569" y="442"/>
                    </a:lnTo>
                    <a:lnTo>
                      <a:pt x="567" y="442"/>
                    </a:lnTo>
                    <a:lnTo>
                      <a:pt x="567" y="444"/>
                    </a:lnTo>
                    <a:lnTo>
                      <a:pt x="565" y="444"/>
                    </a:lnTo>
                    <a:lnTo>
                      <a:pt x="565" y="442"/>
                    </a:lnTo>
                    <a:lnTo>
                      <a:pt x="563" y="442"/>
                    </a:lnTo>
                    <a:lnTo>
                      <a:pt x="563" y="440"/>
                    </a:lnTo>
                    <a:lnTo>
                      <a:pt x="561" y="440"/>
                    </a:lnTo>
                    <a:lnTo>
                      <a:pt x="559" y="440"/>
                    </a:lnTo>
                    <a:lnTo>
                      <a:pt x="557" y="439"/>
                    </a:lnTo>
                    <a:lnTo>
                      <a:pt x="555" y="439"/>
                    </a:lnTo>
                    <a:lnTo>
                      <a:pt x="554" y="437"/>
                    </a:lnTo>
                    <a:lnTo>
                      <a:pt x="554" y="435"/>
                    </a:lnTo>
                    <a:lnTo>
                      <a:pt x="552" y="435"/>
                    </a:lnTo>
                    <a:lnTo>
                      <a:pt x="552" y="433"/>
                    </a:lnTo>
                    <a:lnTo>
                      <a:pt x="554" y="433"/>
                    </a:lnTo>
                    <a:lnTo>
                      <a:pt x="554" y="431"/>
                    </a:lnTo>
                    <a:lnTo>
                      <a:pt x="552" y="431"/>
                    </a:lnTo>
                    <a:lnTo>
                      <a:pt x="552" y="429"/>
                    </a:lnTo>
                    <a:lnTo>
                      <a:pt x="550" y="429"/>
                    </a:lnTo>
                    <a:lnTo>
                      <a:pt x="548" y="429"/>
                    </a:lnTo>
                    <a:lnTo>
                      <a:pt x="546" y="429"/>
                    </a:lnTo>
                    <a:lnTo>
                      <a:pt x="544" y="429"/>
                    </a:lnTo>
                    <a:lnTo>
                      <a:pt x="544" y="427"/>
                    </a:lnTo>
                    <a:lnTo>
                      <a:pt x="544" y="425"/>
                    </a:lnTo>
                    <a:lnTo>
                      <a:pt x="542" y="423"/>
                    </a:lnTo>
                    <a:lnTo>
                      <a:pt x="542" y="421"/>
                    </a:lnTo>
                    <a:lnTo>
                      <a:pt x="544" y="419"/>
                    </a:lnTo>
                    <a:lnTo>
                      <a:pt x="546" y="419"/>
                    </a:lnTo>
                    <a:lnTo>
                      <a:pt x="548" y="419"/>
                    </a:lnTo>
                    <a:lnTo>
                      <a:pt x="548" y="417"/>
                    </a:lnTo>
                    <a:lnTo>
                      <a:pt x="550" y="417"/>
                    </a:lnTo>
                    <a:lnTo>
                      <a:pt x="552" y="417"/>
                    </a:lnTo>
                    <a:lnTo>
                      <a:pt x="552" y="415"/>
                    </a:lnTo>
                    <a:lnTo>
                      <a:pt x="552" y="414"/>
                    </a:lnTo>
                    <a:lnTo>
                      <a:pt x="554" y="412"/>
                    </a:lnTo>
                    <a:lnTo>
                      <a:pt x="554" y="410"/>
                    </a:lnTo>
                    <a:lnTo>
                      <a:pt x="555" y="410"/>
                    </a:lnTo>
                    <a:lnTo>
                      <a:pt x="555" y="408"/>
                    </a:lnTo>
                    <a:lnTo>
                      <a:pt x="557" y="408"/>
                    </a:lnTo>
                    <a:lnTo>
                      <a:pt x="557" y="406"/>
                    </a:lnTo>
                    <a:lnTo>
                      <a:pt x="557" y="408"/>
                    </a:lnTo>
                    <a:lnTo>
                      <a:pt x="557" y="410"/>
                    </a:lnTo>
                    <a:lnTo>
                      <a:pt x="557" y="408"/>
                    </a:lnTo>
                    <a:lnTo>
                      <a:pt x="559" y="408"/>
                    </a:lnTo>
                    <a:lnTo>
                      <a:pt x="557" y="408"/>
                    </a:lnTo>
                    <a:lnTo>
                      <a:pt x="557" y="406"/>
                    </a:lnTo>
                    <a:lnTo>
                      <a:pt x="559" y="404"/>
                    </a:lnTo>
                    <a:lnTo>
                      <a:pt x="559" y="406"/>
                    </a:lnTo>
                    <a:lnTo>
                      <a:pt x="559" y="404"/>
                    </a:lnTo>
                    <a:lnTo>
                      <a:pt x="561" y="404"/>
                    </a:lnTo>
                    <a:lnTo>
                      <a:pt x="563" y="402"/>
                    </a:lnTo>
                    <a:lnTo>
                      <a:pt x="563" y="400"/>
                    </a:lnTo>
                    <a:lnTo>
                      <a:pt x="563" y="398"/>
                    </a:lnTo>
                    <a:lnTo>
                      <a:pt x="565" y="400"/>
                    </a:lnTo>
                    <a:lnTo>
                      <a:pt x="565" y="398"/>
                    </a:lnTo>
                    <a:lnTo>
                      <a:pt x="563" y="398"/>
                    </a:lnTo>
                    <a:lnTo>
                      <a:pt x="563" y="396"/>
                    </a:lnTo>
                    <a:lnTo>
                      <a:pt x="565" y="396"/>
                    </a:lnTo>
                    <a:lnTo>
                      <a:pt x="567" y="394"/>
                    </a:lnTo>
                    <a:lnTo>
                      <a:pt x="567" y="392"/>
                    </a:lnTo>
                    <a:lnTo>
                      <a:pt x="569" y="392"/>
                    </a:lnTo>
                    <a:lnTo>
                      <a:pt x="571" y="392"/>
                    </a:lnTo>
                    <a:lnTo>
                      <a:pt x="573" y="392"/>
                    </a:lnTo>
                    <a:lnTo>
                      <a:pt x="575" y="392"/>
                    </a:lnTo>
                    <a:lnTo>
                      <a:pt x="577" y="392"/>
                    </a:lnTo>
                    <a:lnTo>
                      <a:pt x="577" y="390"/>
                    </a:lnTo>
                    <a:lnTo>
                      <a:pt x="579" y="390"/>
                    </a:lnTo>
                    <a:lnTo>
                      <a:pt x="579" y="392"/>
                    </a:lnTo>
                    <a:lnTo>
                      <a:pt x="580" y="392"/>
                    </a:lnTo>
                    <a:lnTo>
                      <a:pt x="580" y="394"/>
                    </a:lnTo>
                    <a:lnTo>
                      <a:pt x="582" y="394"/>
                    </a:lnTo>
                    <a:lnTo>
                      <a:pt x="582" y="396"/>
                    </a:lnTo>
                    <a:lnTo>
                      <a:pt x="584" y="396"/>
                    </a:lnTo>
                    <a:lnTo>
                      <a:pt x="584" y="394"/>
                    </a:lnTo>
                    <a:lnTo>
                      <a:pt x="584" y="396"/>
                    </a:lnTo>
                    <a:lnTo>
                      <a:pt x="586" y="396"/>
                    </a:lnTo>
                    <a:lnTo>
                      <a:pt x="588" y="396"/>
                    </a:lnTo>
                    <a:lnTo>
                      <a:pt x="590" y="396"/>
                    </a:lnTo>
                    <a:lnTo>
                      <a:pt x="588" y="396"/>
                    </a:lnTo>
                    <a:lnTo>
                      <a:pt x="586" y="396"/>
                    </a:lnTo>
                    <a:lnTo>
                      <a:pt x="584" y="396"/>
                    </a:lnTo>
                    <a:lnTo>
                      <a:pt x="584" y="394"/>
                    </a:lnTo>
                    <a:lnTo>
                      <a:pt x="584" y="396"/>
                    </a:lnTo>
                    <a:lnTo>
                      <a:pt x="582" y="396"/>
                    </a:lnTo>
                    <a:lnTo>
                      <a:pt x="582" y="394"/>
                    </a:lnTo>
                    <a:lnTo>
                      <a:pt x="580" y="394"/>
                    </a:lnTo>
                    <a:lnTo>
                      <a:pt x="582" y="392"/>
                    </a:lnTo>
                    <a:lnTo>
                      <a:pt x="580" y="394"/>
                    </a:lnTo>
                    <a:lnTo>
                      <a:pt x="580" y="392"/>
                    </a:lnTo>
                    <a:lnTo>
                      <a:pt x="579" y="392"/>
                    </a:lnTo>
                    <a:lnTo>
                      <a:pt x="580" y="392"/>
                    </a:lnTo>
                    <a:lnTo>
                      <a:pt x="580" y="390"/>
                    </a:lnTo>
                    <a:lnTo>
                      <a:pt x="582" y="390"/>
                    </a:lnTo>
                    <a:lnTo>
                      <a:pt x="582" y="389"/>
                    </a:lnTo>
                    <a:lnTo>
                      <a:pt x="584" y="389"/>
                    </a:lnTo>
                    <a:lnTo>
                      <a:pt x="586" y="389"/>
                    </a:lnTo>
                    <a:lnTo>
                      <a:pt x="586" y="387"/>
                    </a:lnTo>
                    <a:lnTo>
                      <a:pt x="588" y="387"/>
                    </a:lnTo>
                    <a:lnTo>
                      <a:pt x="586" y="387"/>
                    </a:lnTo>
                    <a:lnTo>
                      <a:pt x="588" y="387"/>
                    </a:lnTo>
                    <a:lnTo>
                      <a:pt x="586" y="387"/>
                    </a:lnTo>
                    <a:lnTo>
                      <a:pt x="588" y="387"/>
                    </a:lnTo>
                    <a:lnTo>
                      <a:pt x="590" y="387"/>
                    </a:lnTo>
                    <a:lnTo>
                      <a:pt x="592" y="385"/>
                    </a:lnTo>
                    <a:lnTo>
                      <a:pt x="594" y="385"/>
                    </a:lnTo>
                    <a:lnTo>
                      <a:pt x="594" y="387"/>
                    </a:lnTo>
                    <a:lnTo>
                      <a:pt x="592" y="387"/>
                    </a:lnTo>
                    <a:lnTo>
                      <a:pt x="594" y="387"/>
                    </a:lnTo>
                    <a:lnTo>
                      <a:pt x="594" y="385"/>
                    </a:lnTo>
                    <a:lnTo>
                      <a:pt x="596" y="385"/>
                    </a:lnTo>
                    <a:lnTo>
                      <a:pt x="598" y="385"/>
                    </a:lnTo>
                    <a:lnTo>
                      <a:pt x="598" y="383"/>
                    </a:lnTo>
                    <a:lnTo>
                      <a:pt x="598" y="381"/>
                    </a:lnTo>
                    <a:lnTo>
                      <a:pt x="598" y="379"/>
                    </a:lnTo>
                    <a:lnTo>
                      <a:pt x="598" y="381"/>
                    </a:lnTo>
                    <a:lnTo>
                      <a:pt x="598" y="379"/>
                    </a:lnTo>
                    <a:lnTo>
                      <a:pt x="598" y="377"/>
                    </a:lnTo>
                    <a:lnTo>
                      <a:pt x="600" y="377"/>
                    </a:lnTo>
                    <a:lnTo>
                      <a:pt x="602" y="375"/>
                    </a:lnTo>
                    <a:lnTo>
                      <a:pt x="604" y="375"/>
                    </a:lnTo>
                    <a:lnTo>
                      <a:pt x="604" y="373"/>
                    </a:lnTo>
                    <a:lnTo>
                      <a:pt x="605" y="373"/>
                    </a:lnTo>
                    <a:lnTo>
                      <a:pt x="604" y="373"/>
                    </a:lnTo>
                    <a:lnTo>
                      <a:pt x="605" y="373"/>
                    </a:lnTo>
                    <a:lnTo>
                      <a:pt x="605" y="375"/>
                    </a:lnTo>
                    <a:lnTo>
                      <a:pt x="605" y="373"/>
                    </a:lnTo>
                    <a:lnTo>
                      <a:pt x="607" y="373"/>
                    </a:lnTo>
                    <a:lnTo>
                      <a:pt x="605" y="373"/>
                    </a:lnTo>
                    <a:lnTo>
                      <a:pt x="607" y="373"/>
                    </a:lnTo>
                    <a:lnTo>
                      <a:pt x="605" y="373"/>
                    </a:lnTo>
                    <a:lnTo>
                      <a:pt x="607" y="373"/>
                    </a:lnTo>
                    <a:lnTo>
                      <a:pt x="605" y="373"/>
                    </a:lnTo>
                    <a:lnTo>
                      <a:pt x="605" y="371"/>
                    </a:lnTo>
                    <a:lnTo>
                      <a:pt x="607" y="371"/>
                    </a:lnTo>
                    <a:lnTo>
                      <a:pt x="605" y="371"/>
                    </a:lnTo>
                    <a:lnTo>
                      <a:pt x="607" y="371"/>
                    </a:lnTo>
                    <a:lnTo>
                      <a:pt x="605" y="371"/>
                    </a:lnTo>
                    <a:lnTo>
                      <a:pt x="605" y="369"/>
                    </a:lnTo>
                    <a:lnTo>
                      <a:pt x="607" y="369"/>
                    </a:lnTo>
                    <a:lnTo>
                      <a:pt x="609" y="369"/>
                    </a:lnTo>
                    <a:lnTo>
                      <a:pt x="611" y="369"/>
                    </a:lnTo>
                    <a:lnTo>
                      <a:pt x="613" y="369"/>
                    </a:lnTo>
                    <a:lnTo>
                      <a:pt x="615" y="369"/>
                    </a:lnTo>
                    <a:lnTo>
                      <a:pt x="615" y="367"/>
                    </a:lnTo>
                    <a:lnTo>
                      <a:pt x="617" y="367"/>
                    </a:lnTo>
                    <a:lnTo>
                      <a:pt x="617" y="365"/>
                    </a:lnTo>
                    <a:lnTo>
                      <a:pt x="619" y="365"/>
                    </a:lnTo>
                    <a:lnTo>
                      <a:pt x="619" y="364"/>
                    </a:lnTo>
                    <a:lnTo>
                      <a:pt x="621" y="364"/>
                    </a:lnTo>
                    <a:lnTo>
                      <a:pt x="621" y="362"/>
                    </a:lnTo>
                    <a:lnTo>
                      <a:pt x="621" y="364"/>
                    </a:lnTo>
                    <a:lnTo>
                      <a:pt x="623" y="364"/>
                    </a:lnTo>
                    <a:lnTo>
                      <a:pt x="625" y="364"/>
                    </a:lnTo>
                    <a:lnTo>
                      <a:pt x="627" y="364"/>
                    </a:lnTo>
                    <a:lnTo>
                      <a:pt x="627" y="365"/>
                    </a:lnTo>
                    <a:lnTo>
                      <a:pt x="627" y="367"/>
                    </a:lnTo>
                    <a:lnTo>
                      <a:pt x="628" y="367"/>
                    </a:lnTo>
                    <a:lnTo>
                      <a:pt x="627" y="367"/>
                    </a:lnTo>
                    <a:lnTo>
                      <a:pt x="628" y="367"/>
                    </a:lnTo>
                    <a:lnTo>
                      <a:pt x="628" y="369"/>
                    </a:lnTo>
                    <a:lnTo>
                      <a:pt x="630" y="369"/>
                    </a:lnTo>
                    <a:lnTo>
                      <a:pt x="628" y="369"/>
                    </a:lnTo>
                    <a:lnTo>
                      <a:pt x="630" y="369"/>
                    </a:lnTo>
                    <a:lnTo>
                      <a:pt x="628" y="369"/>
                    </a:lnTo>
                    <a:lnTo>
                      <a:pt x="628" y="367"/>
                    </a:lnTo>
                    <a:lnTo>
                      <a:pt x="627" y="367"/>
                    </a:lnTo>
                    <a:lnTo>
                      <a:pt x="628" y="367"/>
                    </a:lnTo>
                    <a:lnTo>
                      <a:pt x="627" y="367"/>
                    </a:lnTo>
                    <a:lnTo>
                      <a:pt x="627" y="365"/>
                    </a:lnTo>
                    <a:lnTo>
                      <a:pt x="627" y="364"/>
                    </a:lnTo>
                    <a:lnTo>
                      <a:pt x="625" y="364"/>
                    </a:lnTo>
                    <a:lnTo>
                      <a:pt x="623" y="364"/>
                    </a:lnTo>
                    <a:lnTo>
                      <a:pt x="621" y="364"/>
                    </a:lnTo>
                    <a:lnTo>
                      <a:pt x="621" y="362"/>
                    </a:lnTo>
                    <a:lnTo>
                      <a:pt x="623" y="362"/>
                    </a:lnTo>
                    <a:lnTo>
                      <a:pt x="623" y="360"/>
                    </a:lnTo>
                    <a:lnTo>
                      <a:pt x="623" y="358"/>
                    </a:lnTo>
                    <a:lnTo>
                      <a:pt x="625" y="358"/>
                    </a:lnTo>
                    <a:lnTo>
                      <a:pt x="627" y="360"/>
                    </a:lnTo>
                    <a:lnTo>
                      <a:pt x="628" y="360"/>
                    </a:lnTo>
                    <a:lnTo>
                      <a:pt x="630" y="360"/>
                    </a:lnTo>
                    <a:lnTo>
                      <a:pt x="632" y="360"/>
                    </a:lnTo>
                    <a:lnTo>
                      <a:pt x="632" y="362"/>
                    </a:lnTo>
                    <a:lnTo>
                      <a:pt x="632" y="360"/>
                    </a:lnTo>
                    <a:lnTo>
                      <a:pt x="634" y="360"/>
                    </a:lnTo>
                    <a:lnTo>
                      <a:pt x="636" y="360"/>
                    </a:lnTo>
                    <a:lnTo>
                      <a:pt x="636" y="362"/>
                    </a:lnTo>
                    <a:lnTo>
                      <a:pt x="638" y="362"/>
                    </a:lnTo>
                    <a:lnTo>
                      <a:pt x="640" y="362"/>
                    </a:lnTo>
                    <a:lnTo>
                      <a:pt x="642" y="362"/>
                    </a:lnTo>
                    <a:lnTo>
                      <a:pt x="644" y="362"/>
                    </a:lnTo>
                    <a:lnTo>
                      <a:pt x="646" y="362"/>
                    </a:lnTo>
                    <a:lnTo>
                      <a:pt x="648" y="362"/>
                    </a:lnTo>
                    <a:lnTo>
                      <a:pt x="650" y="362"/>
                    </a:lnTo>
                    <a:lnTo>
                      <a:pt x="650" y="360"/>
                    </a:lnTo>
                    <a:lnTo>
                      <a:pt x="652" y="360"/>
                    </a:lnTo>
                    <a:lnTo>
                      <a:pt x="653" y="360"/>
                    </a:lnTo>
                    <a:lnTo>
                      <a:pt x="655" y="360"/>
                    </a:lnTo>
                    <a:lnTo>
                      <a:pt x="657" y="360"/>
                    </a:lnTo>
                    <a:lnTo>
                      <a:pt x="657" y="362"/>
                    </a:lnTo>
                    <a:lnTo>
                      <a:pt x="659" y="362"/>
                    </a:lnTo>
                    <a:lnTo>
                      <a:pt x="661" y="362"/>
                    </a:lnTo>
                    <a:lnTo>
                      <a:pt x="661" y="364"/>
                    </a:lnTo>
                    <a:lnTo>
                      <a:pt x="663" y="364"/>
                    </a:lnTo>
                    <a:lnTo>
                      <a:pt x="665" y="364"/>
                    </a:lnTo>
                    <a:lnTo>
                      <a:pt x="667" y="362"/>
                    </a:lnTo>
                    <a:lnTo>
                      <a:pt x="667" y="364"/>
                    </a:lnTo>
                    <a:lnTo>
                      <a:pt x="669" y="364"/>
                    </a:lnTo>
                    <a:lnTo>
                      <a:pt x="669" y="365"/>
                    </a:lnTo>
                    <a:lnTo>
                      <a:pt x="669" y="364"/>
                    </a:lnTo>
                    <a:lnTo>
                      <a:pt x="671" y="364"/>
                    </a:lnTo>
                    <a:lnTo>
                      <a:pt x="671" y="365"/>
                    </a:lnTo>
                    <a:lnTo>
                      <a:pt x="673" y="365"/>
                    </a:lnTo>
                    <a:lnTo>
                      <a:pt x="671" y="365"/>
                    </a:lnTo>
                    <a:lnTo>
                      <a:pt x="673" y="365"/>
                    </a:lnTo>
                    <a:lnTo>
                      <a:pt x="673" y="367"/>
                    </a:lnTo>
                    <a:lnTo>
                      <a:pt x="673" y="365"/>
                    </a:lnTo>
                    <a:lnTo>
                      <a:pt x="673" y="367"/>
                    </a:lnTo>
                    <a:lnTo>
                      <a:pt x="673" y="365"/>
                    </a:lnTo>
                    <a:lnTo>
                      <a:pt x="673" y="367"/>
                    </a:lnTo>
                    <a:lnTo>
                      <a:pt x="673" y="365"/>
                    </a:lnTo>
                    <a:lnTo>
                      <a:pt x="673" y="364"/>
                    </a:lnTo>
                    <a:lnTo>
                      <a:pt x="671" y="364"/>
                    </a:lnTo>
                    <a:lnTo>
                      <a:pt x="669" y="364"/>
                    </a:lnTo>
                    <a:lnTo>
                      <a:pt x="669" y="362"/>
                    </a:lnTo>
                    <a:lnTo>
                      <a:pt x="667" y="362"/>
                    </a:lnTo>
                    <a:lnTo>
                      <a:pt x="665" y="362"/>
                    </a:lnTo>
                    <a:lnTo>
                      <a:pt x="665" y="364"/>
                    </a:lnTo>
                    <a:lnTo>
                      <a:pt x="663" y="364"/>
                    </a:lnTo>
                    <a:lnTo>
                      <a:pt x="663" y="362"/>
                    </a:lnTo>
                    <a:lnTo>
                      <a:pt x="661" y="362"/>
                    </a:lnTo>
                    <a:lnTo>
                      <a:pt x="659" y="360"/>
                    </a:lnTo>
                    <a:lnTo>
                      <a:pt x="659" y="362"/>
                    </a:lnTo>
                    <a:lnTo>
                      <a:pt x="657" y="362"/>
                    </a:lnTo>
                    <a:lnTo>
                      <a:pt x="657" y="360"/>
                    </a:lnTo>
                    <a:lnTo>
                      <a:pt x="655" y="360"/>
                    </a:lnTo>
                    <a:lnTo>
                      <a:pt x="653" y="360"/>
                    </a:lnTo>
                    <a:lnTo>
                      <a:pt x="653" y="358"/>
                    </a:lnTo>
                    <a:lnTo>
                      <a:pt x="652" y="358"/>
                    </a:lnTo>
                    <a:lnTo>
                      <a:pt x="650" y="360"/>
                    </a:lnTo>
                    <a:lnTo>
                      <a:pt x="650" y="362"/>
                    </a:lnTo>
                    <a:lnTo>
                      <a:pt x="648" y="362"/>
                    </a:lnTo>
                    <a:lnTo>
                      <a:pt x="646" y="362"/>
                    </a:lnTo>
                    <a:lnTo>
                      <a:pt x="648" y="362"/>
                    </a:lnTo>
                    <a:lnTo>
                      <a:pt x="646" y="362"/>
                    </a:lnTo>
                    <a:lnTo>
                      <a:pt x="646" y="360"/>
                    </a:lnTo>
                    <a:lnTo>
                      <a:pt x="648" y="360"/>
                    </a:lnTo>
                    <a:lnTo>
                      <a:pt x="648" y="362"/>
                    </a:lnTo>
                    <a:lnTo>
                      <a:pt x="648" y="360"/>
                    </a:lnTo>
                    <a:lnTo>
                      <a:pt x="648" y="362"/>
                    </a:lnTo>
                    <a:lnTo>
                      <a:pt x="648" y="360"/>
                    </a:lnTo>
                    <a:lnTo>
                      <a:pt x="646" y="360"/>
                    </a:lnTo>
                    <a:lnTo>
                      <a:pt x="644" y="360"/>
                    </a:lnTo>
                    <a:lnTo>
                      <a:pt x="644" y="358"/>
                    </a:lnTo>
                    <a:lnTo>
                      <a:pt x="646" y="358"/>
                    </a:lnTo>
                    <a:lnTo>
                      <a:pt x="646" y="360"/>
                    </a:lnTo>
                    <a:lnTo>
                      <a:pt x="646" y="358"/>
                    </a:lnTo>
                    <a:lnTo>
                      <a:pt x="644" y="358"/>
                    </a:lnTo>
                    <a:lnTo>
                      <a:pt x="642" y="360"/>
                    </a:lnTo>
                    <a:lnTo>
                      <a:pt x="640" y="360"/>
                    </a:lnTo>
                    <a:lnTo>
                      <a:pt x="638" y="360"/>
                    </a:lnTo>
                    <a:lnTo>
                      <a:pt x="638" y="358"/>
                    </a:lnTo>
                    <a:lnTo>
                      <a:pt x="640" y="358"/>
                    </a:lnTo>
                    <a:lnTo>
                      <a:pt x="638" y="358"/>
                    </a:lnTo>
                    <a:lnTo>
                      <a:pt x="638" y="360"/>
                    </a:lnTo>
                    <a:lnTo>
                      <a:pt x="636" y="360"/>
                    </a:lnTo>
                    <a:lnTo>
                      <a:pt x="636" y="358"/>
                    </a:lnTo>
                    <a:lnTo>
                      <a:pt x="634" y="358"/>
                    </a:lnTo>
                    <a:lnTo>
                      <a:pt x="632" y="358"/>
                    </a:lnTo>
                    <a:lnTo>
                      <a:pt x="630" y="358"/>
                    </a:lnTo>
                    <a:lnTo>
                      <a:pt x="630" y="356"/>
                    </a:lnTo>
                    <a:lnTo>
                      <a:pt x="630" y="358"/>
                    </a:lnTo>
                    <a:lnTo>
                      <a:pt x="628" y="356"/>
                    </a:lnTo>
                    <a:lnTo>
                      <a:pt x="627" y="356"/>
                    </a:lnTo>
                    <a:lnTo>
                      <a:pt x="628" y="356"/>
                    </a:lnTo>
                    <a:lnTo>
                      <a:pt x="627" y="356"/>
                    </a:lnTo>
                    <a:lnTo>
                      <a:pt x="627" y="354"/>
                    </a:lnTo>
                    <a:lnTo>
                      <a:pt x="627" y="352"/>
                    </a:lnTo>
                    <a:lnTo>
                      <a:pt x="627" y="350"/>
                    </a:lnTo>
                    <a:lnTo>
                      <a:pt x="627" y="348"/>
                    </a:lnTo>
                    <a:lnTo>
                      <a:pt x="628" y="348"/>
                    </a:lnTo>
                    <a:lnTo>
                      <a:pt x="628" y="346"/>
                    </a:lnTo>
                    <a:lnTo>
                      <a:pt x="628" y="344"/>
                    </a:lnTo>
                    <a:lnTo>
                      <a:pt x="630" y="344"/>
                    </a:lnTo>
                    <a:lnTo>
                      <a:pt x="632" y="344"/>
                    </a:lnTo>
                    <a:lnTo>
                      <a:pt x="634" y="344"/>
                    </a:lnTo>
                    <a:lnTo>
                      <a:pt x="636" y="346"/>
                    </a:lnTo>
                    <a:lnTo>
                      <a:pt x="638" y="346"/>
                    </a:lnTo>
                    <a:lnTo>
                      <a:pt x="640" y="346"/>
                    </a:lnTo>
                    <a:lnTo>
                      <a:pt x="642" y="346"/>
                    </a:lnTo>
                    <a:lnTo>
                      <a:pt x="642" y="344"/>
                    </a:lnTo>
                    <a:lnTo>
                      <a:pt x="644" y="344"/>
                    </a:lnTo>
                    <a:lnTo>
                      <a:pt x="646" y="344"/>
                    </a:lnTo>
                    <a:lnTo>
                      <a:pt x="648" y="344"/>
                    </a:lnTo>
                    <a:lnTo>
                      <a:pt x="650" y="344"/>
                    </a:lnTo>
                    <a:lnTo>
                      <a:pt x="652" y="344"/>
                    </a:lnTo>
                    <a:lnTo>
                      <a:pt x="653" y="342"/>
                    </a:lnTo>
                    <a:lnTo>
                      <a:pt x="655" y="342"/>
                    </a:lnTo>
                    <a:lnTo>
                      <a:pt x="657" y="342"/>
                    </a:lnTo>
                    <a:lnTo>
                      <a:pt x="659" y="342"/>
                    </a:lnTo>
                    <a:lnTo>
                      <a:pt x="661" y="342"/>
                    </a:lnTo>
                    <a:lnTo>
                      <a:pt x="661" y="340"/>
                    </a:lnTo>
                    <a:lnTo>
                      <a:pt x="663" y="339"/>
                    </a:lnTo>
                    <a:lnTo>
                      <a:pt x="665" y="339"/>
                    </a:lnTo>
                    <a:lnTo>
                      <a:pt x="667" y="337"/>
                    </a:lnTo>
                    <a:lnTo>
                      <a:pt x="669" y="337"/>
                    </a:lnTo>
                    <a:lnTo>
                      <a:pt x="669" y="339"/>
                    </a:lnTo>
                    <a:lnTo>
                      <a:pt x="669" y="337"/>
                    </a:lnTo>
                    <a:lnTo>
                      <a:pt x="669" y="339"/>
                    </a:lnTo>
                    <a:lnTo>
                      <a:pt x="669" y="337"/>
                    </a:lnTo>
                    <a:lnTo>
                      <a:pt x="669" y="339"/>
                    </a:lnTo>
                    <a:lnTo>
                      <a:pt x="671" y="339"/>
                    </a:lnTo>
                    <a:lnTo>
                      <a:pt x="671" y="337"/>
                    </a:lnTo>
                    <a:lnTo>
                      <a:pt x="673" y="337"/>
                    </a:lnTo>
                    <a:lnTo>
                      <a:pt x="673" y="339"/>
                    </a:lnTo>
                    <a:lnTo>
                      <a:pt x="673" y="337"/>
                    </a:lnTo>
                    <a:lnTo>
                      <a:pt x="673" y="335"/>
                    </a:lnTo>
                    <a:lnTo>
                      <a:pt x="671" y="335"/>
                    </a:lnTo>
                    <a:lnTo>
                      <a:pt x="669" y="335"/>
                    </a:lnTo>
                    <a:lnTo>
                      <a:pt x="669" y="337"/>
                    </a:lnTo>
                    <a:lnTo>
                      <a:pt x="669" y="335"/>
                    </a:lnTo>
                    <a:lnTo>
                      <a:pt x="669" y="333"/>
                    </a:lnTo>
                    <a:lnTo>
                      <a:pt x="671" y="333"/>
                    </a:lnTo>
                    <a:lnTo>
                      <a:pt x="673" y="333"/>
                    </a:lnTo>
                    <a:lnTo>
                      <a:pt x="675" y="333"/>
                    </a:lnTo>
                    <a:lnTo>
                      <a:pt x="677" y="333"/>
                    </a:lnTo>
                    <a:lnTo>
                      <a:pt x="677" y="331"/>
                    </a:lnTo>
                    <a:lnTo>
                      <a:pt x="678" y="331"/>
                    </a:lnTo>
                    <a:lnTo>
                      <a:pt x="682" y="329"/>
                    </a:lnTo>
                    <a:lnTo>
                      <a:pt x="684" y="329"/>
                    </a:lnTo>
                    <a:lnTo>
                      <a:pt x="684" y="327"/>
                    </a:lnTo>
                    <a:lnTo>
                      <a:pt x="684" y="329"/>
                    </a:lnTo>
                    <a:lnTo>
                      <a:pt x="686" y="327"/>
                    </a:lnTo>
                    <a:lnTo>
                      <a:pt x="688" y="327"/>
                    </a:lnTo>
                    <a:lnTo>
                      <a:pt x="690" y="327"/>
                    </a:lnTo>
                    <a:lnTo>
                      <a:pt x="690" y="325"/>
                    </a:lnTo>
                    <a:lnTo>
                      <a:pt x="692" y="325"/>
                    </a:lnTo>
                    <a:lnTo>
                      <a:pt x="690" y="325"/>
                    </a:lnTo>
                    <a:lnTo>
                      <a:pt x="692" y="325"/>
                    </a:lnTo>
                    <a:lnTo>
                      <a:pt x="690" y="325"/>
                    </a:lnTo>
                    <a:lnTo>
                      <a:pt x="690" y="323"/>
                    </a:lnTo>
                    <a:lnTo>
                      <a:pt x="690" y="321"/>
                    </a:lnTo>
                    <a:lnTo>
                      <a:pt x="688" y="321"/>
                    </a:lnTo>
                    <a:lnTo>
                      <a:pt x="688" y="323"/>
                    </a:lnTo>
                    <a:lnTo>
                      <a:pt x="688" y="321"/>
                    </a:lnTo>
                    <a:lnTo>
                      <a:pt x="690" y="321"/>
                    </a:lnTo>
                    <a:lnTo>
                      <a:pt x="688" y="321"/>
                    </a:lnTo>
                    <a:lnTo>
                      <a:pt x="690" y="321"/>
                    </a:lnTo>
                    <a:lnTo>
                      <a:pt x="692" y="323"/>
                    </a:lnTo>
                    <a:lnTo>
                      <a:pt x="694" y="323"/>
                    </a:lnTo>
                    <a:lnTo>
                      <a:pt x="692" y="323"/>
                    </a:lnTo>
                    <a:lnTo>
                      <a:pt x="694" y="323"/>
                    </a:lnTo>
                    <a:lnTo>
                      <a:pt x="694" y="325"/>
                    </a:lnTo>
                    <a:lnTo>
                      <a:pt x="694" y="323"/>
                    </a:lnTo>
                    <a:lnTo>
                      <a:pt x="694" y="325"/>
                    </a:lnTo>
                    <a:lnTo>
                      <a:pt x="694" y="323"/>
                    </a:lnTo>
                    <a:lnTo>
                      <a:pt x="694" y="321"/>
                    </a:lnTo>
                    <a:lnTo>
                      <a:pt x="694" y="323"/>
                    </a:lnTo>
                    <a:lnTo>
                      <a:pt x="694" y="321"/>
                    </a:lnTo>
                    <a:lnTo>
                      <a:pt x="692" y="321"/>
                    </a:lnTo>
                    <a:lnTo>
                      <a:pt x="692" y="319"/>
                    </a:lnTo>
                    <a:lnTo>
                      <a:pt x="690" y="319"/>
                    </a:lnTo>
                    <a:lnTo>
                      <a:pt x="688" y="319"/>
                    </a:lnTo>
                    <a:lnTo>
                      <a:pt x="688" y="321"/>
                    </a:lnTo>
                    <a:lnTo>
                      <a:pt x="688" y="319"/>
                    </a:lnTo>
                    <a:lnTo>
                      <a:pt x="688" y="317"/>
                    </a:lnTo>
                    <a:lnTo>
                      <a:pt x="690" y="317"/>
                    </a:lnTo>
                    <a:lnTo>
                      <a:pt x="692" y="319"/>
                    </a:lnTo>
                    <a:lnTo>
                      <a:pt x="694" y="321"/>
                    </a:lnTo>
                    <a:lnTo>
                      <a:pt x="696" y="321"/>
                    </a:lnTo>
                    <a:lnTo>
                      <a:pt x="698" y="321"/>
                    </a:lnTo>
                    <a:lnTo>
                      <a:pt x="700" y="321"/>
                    </a:lnTo>
                    <a:lnTo>
                      <a:pt x="701" y="321"/>
                    </a:lnTo>
                    <a:lnTo>
                      <a:pt x="703" y="321"/>
                    </a:lnTo>
                    <a:lnTo>
                      <a:pt x="703" y="319"/>
                    </a:lnTo>
                    <a:lnTo>
                      <a:pt x="703" y="321"/>
                    </a:lnTo>
                    <a:lnTo>
                      <a:pt x="705" y="321"/>
                    </a:lnTo>
                    <a:lnTo>
                      <a:pt x="703" y="321"/>
                    </a:lnTo>
                    <a:lnTo>
                      <a:pt x="703" y="319"/>
                    </a:lnTo>
                    <a:lnTo>
                      <a:pt x="705" y="319"/>
                    </a:lnTo>
                    <a:lnTo>
                      <a:pt x="703" y="319"/>
                    </a:lnTo>
                    <a:lnTo>
                      <a:pt x="705" y="319"/>
                    </a:lnTo>
                    <a:lnTo>
                      <a:pt x="705" y="317"/>
                    </a:lnTo>
                    <a:lnTo>
                      <a:pt x="707" y="317"/>
                    </a:lnTo>
                    <a:lnTo>
                      <a:pt x="709" y="317"/>
                    </a:lnTo>
                    <a:lnTo>
                      <a:pt x="707" y="317"/>
                    </a:lnTo>
                    <a:lnTo>
                      <a:pt x="709" y="317"/>
                    </a:lnTo>
                    <a:lnTo>
                      <a:pt x="707" y="315"/>
                    </a:lnTo>
                    <a:lnTo>
                      <a:pt x="709" y="315"/>
                    </a:lnTo>
                    <a:lnTo>
                      <a:pt x="707" y="315"/>
                    </a:lnTo>
                    <a:lnTo>
                      <a:pt x="709" y="315"/>
                    </a:lnTo>
                    <a:lnTo>
                      <a:pt x="707" y="315"/>
                    </a:lnTo>
                    <a:lnTo>
                      <a:pt x="709" y="315"/>
                    </a:lnTo>
                    <a:lnTo>
                      <a:pt x="707" y="315"/>
                    </a:lnTo>
                    <a:lnTo>
                      <a:pt x="709" y="315"/>
                    </a:lnTo>
                    <a:lnTo>
                      <a:pt x="707" y="315"/>
                    </a:lnTo>
                    <a:lnTo>
                      <a:pt x="707" y="314"/>
                    </a:lnTo>
                    <a:lnTo>
                      <a:pt x="707" y="315"/>
                    </a:lnTo>
                    <a:lnTo>
                      <a:pt x="707" y="314"/>
                    </a:lnTo>
                    <a:lnTo>
                      <a:pt x="709" y="314"/>
                    </a:lnTo>
                    <a:lnTo>
                      <a:pt x="711" y="314"/>
                    </a:lnTo>
                    <a:lnTo>
                      <a:pt x="711" y="312"/>
                    </a:lnTo>
                    <a:lnTo>
                      <a:pt x="713" y="312"/>
                    </a:lnTo>
                    <a:lnTo>
                      <a:pt x="713" y="310"/>
                    </a:lnTo>
                    <a:lnTo>
                      <a:pt x="715" y="308"/>
                    </a:lnTo>
                    <a:lnTo>
                      <a:pt x="717" y="308"/>
                    </a:lnTo>
                    <a:lnTo>
                      <a:pt x="719" y="308"/>
                    </a:lnTo>
                    <a:lnTo>
                      <a:pt x="717" y="308"/>
                    </a:lnTo>
                    <a:lnTo>
                      <a:pt x="719" y="308"/>
                    </a:lnTo>
                    <a:lnTo>
                      <a:pt x="721" y="306"/>
                    </a:lnTo>
                    <a:lnTo>
                      <a:pt x="723" y="306"/>
                    </a:lnTo>
                    <a:lnTo>
                      <a:pt x="721" y="306"/>
                    </a:lnTo>
                    <a:lnTo>
                      <a:pt x="723" y="306"/>
                    </a:lnTo>
                    <a:lnTo>
                      <a:pt x="723" y="304"/>
                    </a:lnTo>
                    <a:lnTo>
                      <a:pt x="725" y="304"/>
                    </a:lnTo>
                    <a:lnTo>
                      <a:pt x="726" y="304"/>
                    </a:lnTo>
                    <a:lnTo>
                      <a:pt x="728" y="304"/>
                    </a:lnTo>
                    <a:lnTo>
                      <a:pt x="728" y="306"/>
                    </a:lnTo>
                    <a:lnTo>
                      <a:pt x="728" y="304"/>
                    </a:lnTo>
                    <a:lnTo>
                      <a:pt x="730" y="304"/>
                    </a:lnTo>
                    <a:lnTo>
                      <a:pt x="730" y="306"/>
                    </a:lnTo>
                    <a:lnTo>
                      <a:pt x="728" y="306"/>
                    </a:lnTo>
                    <a:lnTo>
                      <a:pt x="730" y="306"/>
                    </a:lnTo>
                    <a:lnTo>
                      <a:pt x="730" y="308"/>
                    </a:lnTo>
                    <a:lnTo>
                      <a:pt x="730" y="306"/>
                    </a:lnTo>
                    <a:lnTo>
                      <a:pt x="730" y="308"/>
                    </a:lnTo>
                    <a:lnTo>
                      <a:pt x="732" y="306"/>
                    </a:lnTo>
                    <a:lnTo>
                      <a:pt x="732" y="308"/>
                    </a:lnTo>
                    <a:lnTo>
                      <a:pt x="730" y="308"/>
                    </a:lnTo>
                    <a:lnTo>
                      <a:pt x="730" y="310"/>
                    </a:lnTo>
                    <a:lnTo>
                      <a:pt x="728" y="310"/>
                    </a:lnTo>
                    <a:lnTo>
                      <a:pt x="726" y="310"/>
                    </a:lnTo>
                    <a:lnTo>
                      <a:pt x="726" y="312"/>
                    </a:lnTo>
                    <a:lnTo>
                      <a:pt x="725" y="312"/>
                    </a:lnTo>
                    <a:lnTo>
                      <a:pt x="723" y="312"/>
                    </a:lnTo>
                    <a:lnTo>
                      <a:pt x="723" y="314"/>
                    </a:lnTo>
                    <a:lnTo>
                      <a:pt x="721" y="315"/>
                    </a:lnTo>
                    <a:lnTo>
                      <a:pt x="721" y="317"/>
                    </a:lnTo>
                    <a:lnTo>
                      <a:pt x="721" y="319"/>
                    </a:lnTo>
                    <a:lnTo>
                      <a:pt x="719" y="319"/>
                    </a:lnTo>
                    <a:lnTo>
                      <a:pt x="719" y="321"/>
                    </a:lnTo>
                    <a:lnTo>
                      <a:pt x="717" y="321"/>
                    </a:lnTo>
                    <a:lnTo>
                      <a:pt x="715" y="321"/>
                    </a:lnTo>
                    <a:lnTo>
                      <a:pt x="713" y="321"/>
                    </a:lnTo>
                    <a:lnTo>
                      <a:pt x="711" y="321"/>
                    </a:lnTo>
                    <a:lnTo>
                      <a:pt x="709" y="321"/>
                    </a:lnTo>
                    <a:lnTo>
                      <a:pt x="709" y="323"/>
                    </a:lnTo>
                    <a:lnTo>
                      <a:pt x="711" y="323"/>
                    </a:lnTo>
                    <a:lnTo>
                      <a:pt x="713" y="323"/>
                    </a:lnTo>
                    <a:lnTo>
                      <a:pt x="713" y="325"/>
                    </a:lnTo>
                    <a:lnTo>
                      <a:pt x="715" y="323"/>
                    </a:lnTo>
                    <a:lnTo>
                      <a:pt x="715" y="325"/>
                    </a:lnTo>
                    <a:lnTo>
                      <a:pt x="715" y="323"/>
                    </a:lnTo>
                    <a:lnTo>
                      <a:pt x="715" y="325"/>
                    </a:lnTo>
                    <a:lnTo>
                      <a:pt x="717" y="325"/>
                    </a:lnTo>
                    <a:lnTo>
                      <a:pt x="717" y="323"/>
                    </a:lnTo>
                    <a:lnTo>
                      <a:pt x="717" y="325"/>
                    </a:lnTo>
                    <a:lnTo>
                      <a:pt x="719" y="325"/>
                    </a:lnTo>
                    <a:lnTo>
                      <a:pt x="719" y="327"/>
                    </a:lnTo>
                    <a:lnTo>
                      <a:pt x="721" y="327"/>
                    </a:lnTo>
                    <a:lnTo>
                      <a:pt x="721" y="329"/>
                    </a:lnTo>
                    <a:lnTo>
                      <a:pt x="719" y="329"/>
                    </a:lnTo>
                    <a:lnTo>
                      <a:pt x="719" y="331"/>
                    </a:lnTo>
                    <a:lnTo>
                      <a:pt x="719" y="329"/>
                    </a:lnTo>
                    <a:lnTo>
                      <a:pt x="719" y="331"/>
                    </a:lnTo>
                    <a:lnTo>
                      <a:pt x="717" y="331"/>
                    </a:lnTo>
                    <a:lnTo>
                      <a:pt x="715" y="331"/>
                    </a:lnTo>
                    <a:lnTo>
                      <a:pt x="715" y="333"/>
                    </a:lnTo>
                    <a:lnTo>
                      <a:pt x="715" y="335"/>
                    </a:lnTo>
                    <a:lnTo>
                      <a:pt x="717" y="335"/>
                    </a:lnTo>
                    <a:lnTo>
                      <a:pt x="719" y="335"/>
                    </a:lnTo>
                    <a:lnTo>
                      <a:pt x="721" y="335"/>
                    </a:lnTo>
                    <a:lnTo>
                      <a:pt x="721" y="333"/>
                    </a:lnTo>
                    <a:lnTo>
                      <a:pt x="723" y="333"/>
                    </a:lnTo>
                    <a:lnTo>
                      <a:pt x="725" y="333"/>
                    </a:lnTo>
                    <a:lnTo>
                      <a:pt x="726" y="333"/>
                    </a:lnTo>
                    <a:lnTo>
                      <a:pt x="726" y="335"/>
                    </a:lnTo>
                    <a:lnTo>
                      <a:pt x="725" y="335"/>
                    </a:lnTo>
                    <a:lnTo>
                      <a:pt x="725" y="337"/>
                    </a:lnTo>
                    <a:lnTo>
                      <a:pt x="726" y="337"/>
                    </a:lnTo>
                    <a:lnTo>
                      <a:pt x="728" y="339"/>
                    </a:lnTo>
                    <a:lnTo>
                      <a:pt x="726" y="339"/>
                    </a:lnTo>
                    <a:lnTo>
                      <a:pt x="726" y="340"/>
                    </a:lnTo>
                    <a:lnTo>
                      <a:pt x="725" y="340"/>
                    </a:lnTo>
                    <a:lnTo>
                      <a:pt x="725" y="342"/>
                    </a:lnTo>
                    <a:lnTo>
                      <a:pt x="726" y="344"/>
                    </a:lnTo>
                    <a:lnTo>
                      <a:pt x="726" y="342"/>
                    </a:lnTo>
                    <a:lnTo>
                      <a:pt x="726" y="344"/>
                    </a:lnTo>
                    <a:lnTo>
                      <a:pt x="726" y="342"/>
                    </a:lnTo>
                    <a:lnTo>
                      <a:pt x="728" y="342"/>
                    </a:lnTo>
                    <a:lnTo>
                      <a:pt x="728" y="344"/>
                    </a:lnTo>
                    <a:lnTo>
                      <a:pt x="728" y="342"/>
                    </a:lnTo>
                    <a:lnTo>
                      <a:pt x="730" y="344"/>
                    </a:lnTo>
                    <a:lnTo>
                      <a:pt x="728" y="344"/>
                    </a:lnTo>
                    <a:lnTo>
                      <a:pt x="726" y="344"/>
                    </a:lnTo>
                    <a:lnTo>
                      <a:pt x="728" y="344"/>
                    </a:lnTo>
                    <a:lnTo>
                      <a:pt x="728" y="346"/>
                    </a:lnTo>
                    <a:lnTo>
                      <a:pt x="726" y="346"/>
                    </a:lnTo>
                    <a:lnTo>
                      <a:pt x="725" y="346"/>
                    </a:lnTo>
                    <a:lnTo>
                      <a:pt x="725" y="348"/>
                    </a:lnTo>
                    <a:lnTo>
                      <a:pt x="725" y="350"/>
                    </a:lnTo>
                    <a:lnTo>
                      <a:pt x="726" y="350"/>
                    </a:lnTo>
                    <a:lnTo>
                      <a:pt x="726" y="352"/>
                    </a:lnTo>
                    <a:lnTo>
                      <a:pt x="726" y="350"/>
                    </a:lnTo>
                    <a:lnTo>
                      <a:pt x="726" y="352"/>
                    </a:lnTo>
                    <a:lnTo>
                      <a:pt x="725" y="352"/>
                    </a:lnTo>
                    <a:lnTo>
                      <a:pt x="726" y="352"/>
                    </a:lnTo>
                    <a:lnTo>
                      <a:pt x="725" y="352"/>
                    </a:lnTo>
                    <a:lnTo>
                      <a:pt x="726" y="352"/>
                    </a:lnTo>
                    <a:lnTo>
                      <a:pt x="726" y="354"/>
                    </a:lnTo>
                    <a:lnTo>
                      <a:pt x="726" y="356"/>
                    </a:lnTo>
                    <a:lnTo>
                      <a:pt x="726" y="358"/>
                    </a:lnTo>
                    <a:lnTo>
                      <a:pt x="728" y="358"/>
                    </a:lnTo>
                    <a:lnTo>
                      <a:pt x="728" y="360"/>
                    </a:lnTo>
                    <a:lnTo>
                      <a:pt x="730" y="360"/>
                    </a:lnTo>
                    <a:lnTo>
                      <a:pt x="732" y="360"/>
                    </a:lnTo>
                    <a:lnTo>
                      <a:pt x="732" y="362"/>
                    </a:lnTo>
                    <a:lnTo>
                      <a:pt x="732" y="364"/>
                    </a:lnTo>
                    <a:lnTo>
                      <a:pt x="734" y="364"/>
                    </a:lnTo>
                    <a:lnTo>
                      <a:pt x="734" y="362"/>
                    </a:lnTo>
                    <a:lnTo>
                      <a:pt x="734" y="364"/>
                    </a:lnTo>
                    <a:lnTo>
                      <a:pt x="736" y="364"/>
                    </a:lnTo>
                    <a:lnTo>
                      <a:pt x="738" y="364"/>
                    </a:lnTo>
                    <a:lnTo>
                      <a:pt x="740" y="364"/>
                    </a:lnTo>
                    <a:lnTo>
                      <a:pt x="742" y="364"/>
                    </a:lnTo>
                    <a:lnTo>
                      <a:pt x="742" y="365"/>
                    </a:lnTo>
                    <a:lnTo>
                      <a:pt x="742" y="367"/>
                    </a:lnTo>
                    <a:lnTo>
                      <a:pt x="740" y="367"/>
                    </a:lnTo>
                    <a:lnTo>
                      <a:pt x="740" y="369"/>
                    </a:lnTo>
                    <a:lnTo>
                      <a:pt x="738" y="369"/>
                    </a:lnTo>
                    <a:lnTo>
                      <a:pt x="736" y="369"/>
                    </a:lnTo>
                    <a:lnTo>
                      <a:pt x="736" y="371"/>
                    </a:lnTo>
                    <a:lnTo>
                      <a:pt x="738" y="371"/>
                    </a:lnTo>
                    <a:lnTo>
                      <a:pt x="736" y="373"/>
                    </a:lnTo>
                    <a:lnTo>
                      <a:pt x="738" y="373"/>
                    </a:lnTo>
                    <a:lnTo>
                      <a:pt x="740" y="373"/>
                    </a:lnTo>
                    <a:lnTo>
                      <a:pt x="742" y="373"/>
                    </a:lnTo>
                    <a:lnTo>
                      <a:pt x="742" y="375"/>
                    </a:lnTo>
                    <a:lnTo>
                      <a:pt x="744" y="375"/>
                    </a:lnTo>
                    <a:lnTo>
                      <a:pt x="746" y="375"/>
                    </a:lnTo>
                    <a:lnTo>
                      <a:pt x="748" y="375"/>
                    </a:lnTo>
                    <a:lnTo>
                      <a:pt x="750" y="375"/>
                    </a:lnTo>
                    <a:lnTo>
                      <a:pt x="751" y="375"/>
                    </a:lnTo>
                    <a:lnTo>
                      <a:pt x="751" y="377"/>
                    </a:lnTo>
                    <a:lnTo>
                      <a:pt x="751" y="379"/>
                    </a:lnTo>
                    <a:lnTo>
                      <a:pt x="751" y="381"/>
                    </a:lnTo>
                    <a:lnTo>
                      <a:pt x="753" y="379"/>
                    </a:lnTo>
                    <a:lnTo>
                      <a:pt x="753" y="381"/>
                    </a:lnTo>
                    <a:lnTo>
                      <a:pt x="753" y="383"/>
                    </a:lnTo>
                    <a:lnTo>
                      <a:pt x="755" y="383"/>
                    </a:lnTo>
                    <a:lnTo>
                      <a:pt x="757" y="383"/>
                    </a:lnTo>
                    <a:lnTo>
                      <a:pt x="759" y="383"/>
                    </a:lnTo>
                    <a:lnTo>
                      <a:pt x="761" y="383"/>
                    </a:lnTo>
                    <a:lnTo>
                      <a:pt x="761" y="385"/>
                    </a:lnTo>
                    <a:lnTo>
                      <a:pt x="761" y="387"/>
                    </a:lnTo>
                    <a:lnTo>
                      <a:pt x="763" y="398"/>
                    </a:lnTo>
                    <a:lnTo>
                      <a:pt x="765" y="410"/>
                    </a:lnTo>
                    <a:lnTo>
                      <a:pt x="767" y="417"/>
                    </a:lnTo>
                    <a:lnTo>
                      <a:pt x="767" y="423"/>
                    </a:lnTo>
                    <a:lnTo>
                      <a:pt x="769" y="423"/>
                    </a:lnTo>
                    <a:lnTo>
                      <a:pt x="771" y="423"/>
                    </a:lnTo>
                    <a:lnTo>
                      <a:pt x="773" y="423"/>
                    </a:lnTo>
                    <a:lnTo>
                      <a:pt x="774" y="423"/>
                    </a:lnTo>
                    <a:lnTo>
                      <a:pt x="776" y="425"/>
                    </a:lnTo>
                    <a:lnTo>
                      <a:pt x="778" y="427"/>
                    </a:lnTo>
                    <a:lnTo>
                      <a:pt x="780" y="427"/>
                    </a:lnTo>
                    <a:lnTo>
                      <a:pt x="782" y="427"/>
                    </a:lnTo>
                    <a:lnTo>
                      <a:pt x="782" y="425"/>
                    </a:lnTo>
                    <a:lnTo>
                      <a:pt x="784" y="427"/>
                    </a:lnTo>
                    <a:lnTo>
                      <a:pt x="786" y="429"/>
                    </a:lnTo>
                    <a:lnTo>
                      <a:pt x="786" y="431"/>
                    </a:lnTo>
                    <a:lnTo>
                      <a:pt x="784" y="431"/>
                    </a:lnTo>
                    <a:lnTo>
                      <a:pt x="782" y="433"/>
                    </a:lnTo>
                    <a:lnTo>
                      <a:pt x="782" y="435"/>
                    </a:lnTo>
                    <a:lnTo>
                      <a:pt x="784" y="437"/>
                    </a:lnTo>
                    <a:lnTo>
                      <a:pt x="782" y="437"/>
                    </a:lnTo>
                    <a:lnTo>
                      <a:pt x="782" y="439"/>
                    </a:lnTo>
                    <a:lnTo>
                      <a:pt x="780" y="439"/>
                    </a:lnTo>
                    <a:lnTo>
                      <a:pt x="780" y="440"/>
                    </a:lnTo>
                    <a:lnTo>
                      <a:pt x="778" y="440"/>
                    </a:lnTo>
                    <a:lnTo>
                      <a:pt x="778" y="444"/>
                    </a:lnTo>
                    <a:lnTo>
                      <a:pt x="776" y="444"/>
                    </a:lnTo>
                    <a:lnTo>
                      <a:pt x="776" y="442"/>
                    </a:lnTo>
                    <a:lnTo>
                      <a:pt x="774" y="440"/>
                    </a:lnTo>
                    <a:lnTo>
                      <a:pt x="773" y="440"/>
                    </a:lnTo>
                    <a:lnTo>
                      <a:pt x="773" y="442"/>
                    </a:lnTo>
                    <a:lnTo>
                      <a:pt x="773" y="444"/>
                    </a:lnTo>
                    <a:lnTo>
                      <a:pt x="773" y="446"/>
                    </a:lnTo>
                    <a:lnTo>
                      <a:pt x="771" y="446"/>
                    </a:lnTo>
                    <a:lnTo>
                      <a:pt x="767" y="448"/>
                    </a:lnTo>
                    <a:lnTo>
                      <a:pt x="765" y="448"/>
                    </a:lnTo>
                    <a:lnTo>
                      <a:pt x="763" y="448"/>
                    </a:lnTo>
                    <a:lnTo>
                      <a:pt x="763" y="450"/>
                    </a:lnTo>
                    <a:lnTo>
                      <a:pt x="761" y="450"/>
                    </a:lnTo>
                    <a:lnTo>
                      <a:pt x="761" y="452"/>
                    </a:lnTo>
                    <a:lnTo>
                      <a:pt x="759" y="452"/>
                    </a:lnTo>
                    <a:lnTo>
                      <a:pt x="759" y="454"/>
                    </a:lnTo>
                    <a:lnTo>
                      <a:pt x="759" y="456"/>
                    </a:lnTo>
                    <a:lnTo>
                      <a:pt x="757" y="456"/>
                    </a:lnTo>
                    <a:lnTo>
                      <a:pt x="753" y="456"/>
                    </a:lnTo>
                    <a:lnTo>
                      <a:pt x="753" y="458"/>
                    </a:lnTo>
                    <a:lnTo>
                      <a:pt x="751" y="458"/>
                    </a:lnTo>
                    <a:lnTo>
                      <a:pt x="750" y="458"/>
                    </a:lnTo>
                    <a:lnTo>
                      <a:pt x="750" y="460"/>
                    </a:lnTo>
                    <a:lnTo>
                      <a:pt x="748" y="460"/>
                    </a:lnTo>
                    <a:lnTo>
                      <a:pt x="748" y="462"/>
                    </a:lnTo>
                    <a:lnTo>
                      <a:pt x="746" y="462"/>
                    </a:lnTo>
                    <a:lnTo>
                      <a:pt x="746" y="460"/>
                    </a:lnTo>
                    <a:lnTo>
                      <a:pt x="746" y="462"/>
                    </a:lnTo>
                    <a:lnTo>
                      <a:pt x="744" y="462"/>
                    </a:lnTo>
                    <a:lnTo>
                      <a:pt x="742" y="462"/>
                    </a:lnTo>
                    <a:lnTo>
                      <a:pt x="742" y="464"/>
                    </a:lnTo>
                    <a:lnTo>
                      <a:pt x="740" y="464"/>
                    </a:lnTo>
                    <a:lnTo>
                      <a:pt x="740" y="465"/>
                    </a:lnTo>
                    <a:lnTo>
                      <a:pt x="740" y="467"/>
                    </a:lnTo>
                    <a:lnTo>
                      <a:pt x="738" y="467"/>
                    </a:lnTo>
                    <a:lnTo>
                      <a:pt x="736" y="467"/>
                    </a:lnTo>
                    <a:lnTo>
                      <a:pt x="736" y="469"/>
                    </a:lnTo>
                    <a:lnTo>
                      <a:pt x="734" y="469"/>
                    </a:lnTo>
                    <a:lnTo>
                      <a:pt x="734" y="471"/>
                    </a:lnTo>
                    <a:lnTo>
                      <a:pt x="732" y="471"/>
                    </a:lnTo>
                    <a:lnTo>
                      <a:pt x="732" y="473"/>
                    </a:lnTo>
                    <a:lnTo>
                      <a:pt x="732" y="475"/>
                    </a:lnTo>
                    <a:lnTo>
                      <a:pt x="732" y="477"/>
                    </a:lnTo>
                    <a:lnTo>
                      <a:pt x="734" y="477"/>
                    </a:lnTo>
                    <a:lnTo>
                      <a:pt x="732" y="479"/>
                    </a:lnTo>
                    <a:lnTo>
                      <a:pt x="732" y="481"/>
                    </a:lnTo>
                    <a:lnTo>
                      <a:pt x="734" y="483"/>
                    </a:lnTo>
                    <a:lnTo>
                      <a:pt x="736" y="483"/>
                    </a:lnTo>
                    <a:lnTo>
                      <a:pt x="738" y="483"/>
                    </a:lnTo>
                    <a:lnTo>
                      <a:pt x="738" y="485"/>
                    </a:lnTo>
                    <a:lnTo>
                      <a:pt x="736" y="485"/>
                    </a:lnTo>
                    <a:lnTo>
                      <a:pt x="734" y="485"/>
                    </a:lnTo>
                    <a:lnTo>
                      <a:pt x="732" y="485"/>
                    </a:lnTo>
                    <a:lnTo>
                      <a:pt x="730" y="487"/>
                    </a:lnTo>
                    <a:lnTo>
                      <a:pt x="728" y="487"/>
                    </a:lnTo>
                    <a:lnTo>
                      <a:pt x="726" y="488"/>
                    </a:lnTo>
                    <a:lnTo>
                      <a:pt x="725" y="488"/>
                    </a:lnTo>
                    <a:lnTo>
                      <a:pt x="723" y="488"/>
                    </a:lnTo>
                    <a:lnTo>
                      <a:pt x="723" y="490"/>
                    </a:lnTo>
                    <a:lnTo>
                      <a:pt x="721" y="490"/>
                    </a:lnTo>
                    <a:lnTo>
                      <a:pt x="723" y="490"/>
                    </a:lnTo>
                    <a:lnTo>
                      <a:pt x="723" y="492"/>
                    </a:lnTo>
                    <a:lnTo>
                      <a:pt x="723" y="494"/>
                    </a:lnTo>
                    <a:lnTo>
                      <a:pt x="723" y="496"/>
                    </a:lnTo>
                    <a:lnTo>
                      <a:pt x="721" y="496"/>
                    </a:lnTo>
                    <a:lnTo>
                      <a:pt x="721" y="498"/>
                    </a:lnTo>
                    <a:lnTo>
                      <a:pt x="717" y="498"/>
                    </a:lnTo>
                    <a:lnTo>
                      <a:pt x="717" y="500"/>
                    </a:lnTo>
                    <a:lnTo>
                      <a:pt x="717" y="502"/>
                    </a:lnTo>
                    <a:lnTo>
                      <a:pt x="719" y="504"/>
                    </a:lnTo>
                    <a:lnTo>
                      <a:pt x="719" y="506"/>
                    </a:lnTo>
                    <a:lnTo>
                      <a:pt x="721" y="508"/>
                    </a:lnTo>
                    <a:lnTo>
                      <a:pt x="723" y="508"/>
                    </a:lnTo>
                    <a:lnTo>
                      <a:pt x="725" y="508"/>
                    </a:lnTo>
                    <a:lnTo>
                      <a:pt x="725" y="510"/>
                    </a:lnTo>
                    <a:lnTo>
                      <a:pt x="723" y="510"/>
                    </a:lnTo>
                    <a:lnTo>
                      <a:pt x="723" y="512"/>
                    </a:lnTo>
                    <a:lnTo>
                      <a:pt x="721" y="513"/>
                    </a:lnTo>
                    <a:lnTo>
                      <a:pt x="723" y="513"/>
                    </a:lnTo>
                    <a:lnTo>
                      <a:pt x="721" y="515"/>
                    </a:lnTo>
                    <a:lnTo>
                      <a:pt x="723" y="517"/>
                    </a:lnTo>
                    <a:lnTo>
                      <a:pt x="723" y="519"/>
                    </a:lnTo>
                    <a:lnTo>
                      <a:pt x="723" y="521"/>
                    </a:lnTo>
                    <a:lnTo>
                      <a:pt x="721" y="521"/>
                    </a:lnTo>
                    <a:lnTo>
                      <a:pt x="721" y="523"/>
                    </a:lnTo>
                    <a:lnTo>
                      <a:pt x="721" y="525"/>
                    </a:lnTo>
                    <a:lnTo>
                      <a:pt x="719" y="525"/>
                    </a:lnTo>
                    <a:lnTo>
                      <a:pt x="717" y="525"/>
                    </a:lnTo>
                    <a:lnTo>
                      <a:pt x="715" y="525"/>
                    </a:lnTo>
                    <a:lnTo>
                      <a:pt x="713" y="525"/>
                    </a:lnTo>
                    <a:lnTo>
                      <a:pt x="711" y="525"/>
                    </a:lnTo>
                    <a:lnTo>
                      <a:pt x="711" y="523"/>
                    </a:lnTo>
                    <a:lnTo>
                      <a:pt x="711" y="521"/>
                    </a:lnTo>
                    <a:lnTo>
                      <a:pt x="709" y="523"/>
                    </a:lnTo>
                    <a:lnTo>
                      <a:pt x="707" y="523"/>
                    </a:lnTo>
                    <a:lnTo>
                      <a:pt x="705" y="523"/>
                    </a:lnTo>
                    <a:lnTo>
                      <a:pt x="703" y="523"/>
                    </a:lnTo>
                    <a:lnTo>
                      <a:pt x="701" y="523"/>
                    </a:lnTo>
                    <a:lnTo>
                      <a:pt x="700" y="523"/>
                    </a:lnTo>
                    <a:lnTo>
                      <a:pt x="698" y="523"/>
                    </a:lnTo>
                    <a:lnTo>
                      <a:pt x="696" y="523"/>
                    </a:lnTo>
                    <a:lnTo>
                      <a:pt x="694" y="523"/>
                    </a:lnTo>
                    <a:lnTo>
                      <a:pt x="694" y="525"/>
                    </a:lnTo>
                    <a:lnTo>
                      <a:pt x="694" y="527"/>
                    </a:lnTo>
                    <a:lnTo>
                      <a:pt x="692" y="527"/>
                    </a:lnTo>
                    <a:lnTo>
                      <a:pt x="690" y="527"/>
                    </a:lnTo>
                    <a:lnTo>
                      <a:pt x="690" y="529"/>
                    </a:lnTo>
                    <a:lnTo>
                      <a:pt x="690" y="531"/>
                    </a:lnTo>
                    <a:lnTo>
                      <a:pt x="690" y="533"/>
                    </a:lnTo>
                    <a:lnTo>
                      <a:pt x="688" y="535"/>
                    </a:lnTo>
                    <a:lnTo>
                      <a:pt x="684" y="535"/>
                    </a:lnTo>
                    <a:lnTo>
                      <a:pt x="678" y="538"/>
                    </a:lnTo>
                    <a:lnTo>
                      <a:pt x="677" y="538"/>
                    </a:lnTo>
                    <a:lnTo>
                      <a:pt x="673" y="542"/>
                    </a:lnTo>
                    <a:lnTo>
                      <a:pt x="669" y="544"/>
                    </a:lnTo>
                    <a:lnTo>
                      <a:pt x="667" y="544"/>
                    </a:lnTo>
                    <a:lnTo>
                      <a:pt x="665" y="546"/>
                    </a:lnTo>
                    <a:lnTo>
                      <a:pt x="663" y="548"/>
                    </a:lnTo>
                    <a:lnTo>
                      <a:pt x="663" y="546"/>
                    </a:lnTo>
                    <a:lnTo>
                      <a:pt x="661" y="546"/>
                    </a:lnTo>
                    <a:lnTo>
                      <a:pt x="659" y="546"/>
                    </a:lnTo>
                    <a:lnTo>
                      <a:pt x="657" y="544"/>
                    </a:lnTo>
                    <a:lnTo>
                      <a:pt x="655" y="544"/>
                    </a:lnTo>
                    <a:lnTo>
                      <a:pt x="653" y="544"/>
                    </a:lnTo>
                    <a:lnTo>
                      <a:pt x="653" y="546"/>
                    </a:lnTo>
                    <a:lnTo>
                      <a:pt x="653" y="548"/>
                    </a:lnTo>
                    <a:lnTo>
                      <a:pt x="653" y="550"/>
                    </a:lnTo>
                    <a:lnTo>
                      <a:pt x="652" y="550"/>
                    </a:lnTo>
                    <a:lnTo>
                      <a:pt x="652" y="552"/>
                    </a:lnTo>
                    <a:lnTo>
                      <a:pt x="650" y="552"/>
                    </a:lnTo>
                    <a:lnTo>
                      <a:pt x="648" y="554"/>
                    </a:lnTo>
                    <a:lnTo>
                      <a:pt x="648" y="556"/>
                    </a:lnTo>
                    <a:lnTo>
                      <a:pt x="650" y="558"/>
                    </a:lnTo>
                    <a:lnTo>
                      <a:pt x="652" y="560"/>
                    </a:lnTo>
                    <a:lnTo>
                      <a:pt x="671" y="585"/>
                    </a:lnTo>
                    <a:lnTo>
                      <a:pt x="673" y="600"/>
                    </a:lnTo>
                    <a:lnTo>
                      <a:pt x="675" y="613"/>
                    </a:lnTo>
                    <a:lnTo>
                      <a:pt x="675" y="617"/>
                    </a:lnTo>
                    <a:lnTo>
                      <a:pt x="675" y="623"/>
                    </a:lnTo>
                    <a:lnTo>
                      <a:pt x="677" y="637"/>
                    </a:lnTo>
                    <a:lnTo>
                      <a:pt x="677" y="652"/>
                    </a:lnTo>
                    <a:lnTo>
                      <a:pt x="678" y="665"/>
                    </a:lnTo>
                    <a:lnTo>
                      <a:pt x="678" y="677"/>
                    </a:lnTo>
                    <a:lnTo>
                      <a:pt x="678" y="679"/>
                    </a:lnTo>
                    <a:lnTo>
                      <a:pt x="677" y="681"/>
                    </a:lnTo>
                    <a:lnTo>
                      <a:pt x="675" y="681"/>
                    </a:lnTo>
                    <a:lnTo>
                      <a:pt x="673" y="681"/>
                    </a:lnTo>
                    <a:lnTo>
                      <a:pt x="671" y="681"/>
                    </a:lnTo>
                    <a:lnTo>
                      <a:pt x="669" y="683"/>
                    </a:lnTo>
                    <a:lnTo>
                      <a:pt x="669" y="685"/>
                    </a:lnTo>
                    <a:lnTo>
                      <a:pt x="669" y="687"/>
                    </a:lnTo>
                    <a:lnTo>
                      <a:pt x="667" y="688"/>
                    </a:lnTo>
                    <a:lnTo>
                      <a:pt x="665" y="688"/>
                    </a:lnTo>
                    <a:lnTo>
                      <a:pt x="663" y="688"/>
                    </a:lnTo>
                    <a:lnTo>
                      <a:pt x="663" y="690"/>
                    </a:lnTo>
                    <a:lnTo>
                      <a:pt x="663" y="692"/>
                    </a:lnTo>
                    <a:lnTo>
                      <a:pt x="663" y="694"/>
                    </a:lnTo>
                    <a:lnTo>
                      <a:pt x="661" y="694"/>
                    </a:lnTo>
                    <a:lnTo>
                      <a:pt x="661" y="696"/>
                    </a:lnTo>
                    <a:lnTo>
                      <a:pt x="659" y="698"/>
                    </a:lnTo>
                    <a:lnTo>
                      <a:pt x="655" y="698"/>
                    </a:lnTo>
                    <a:lnTo>
                      <a:pt x="653" y="700"/>
                    </a:lnTo>
                    <a:lnTo>
                      <a:pt x="652" y="698"/>
                    </a:lnTo>
                    <a:lnTo>
                      <a:pt x="650" y="698"/>
                    </a:lnTo>
                    <a:lnTo>
                      <a:pt x="650" y="700"/>
                    </a:lnTo>
                    <a:lnTo>
                      <a:pt x="650" y="702"/>
                    </a:lnTo>
                    <a:lnTo>
                      <a:pt x="652" y="702"/>
                    </a:lnTo>
                    <a:lnTo>
                      <a:pt x="652" y="704"/>
                    </a:lnTo>
                    <a:lnTo>
                      <a:pt x="653" y="704"/>
                    </a:lnTo>
                    <a:lnTo>
                      <a:pt x="655" y="704"/>
                    </a:lnTo>
                    <a:lnTo>
                      <a:pt x="657" y="702"/>
                    </a:lnTo>
                    <a:lnTo>
                      <a:pt x="657" y="704"/>
                    </a:lnTo>
                    <a:lnTo>
                      <a:pt x="659" y="706"/>
                    </a:lnTo>
                    <a:lnTo>
                      <a:pt x="663" y="706"/>
                    </a:lnTo>
                    <a:lnTo>
                      <a:pt x="663" y="708"/>
                    </a:lnTo>
                    <a:lnTo>
                      <a:pt x="663" y="712"/>
                    </a:lnTo>
                    <a:lnTo>
                      <a:pt x="661" y="712"/>
                    </a:lnTo>
                    <a:lnTo>
                      <a:pt x="663" y="712"/>
                    </a:lnTo>
                    <a:lnTo>
                      <a:pt x="663" y="713"/>
                    </a:lnTo>
                    <a:lnTo>
                      <a:pt x="665" y="713"/>
                    </a:lnTo>
                    <a:lnTo>
                      <a:pt x="665" y="712"/>
                    </a:lnTo>
                    <a:lnTo>
                      <a:pt x="667" y="712"/>
                    </a:lnTo>
                    <a:lnTo>
                      <a:pt x="667" y="713"/>
                    </a:lnTo>
                    <a:lnTo>
                      <a:pt x="667" y="715"/>
                    </a:lnTo>
                    <a:lnTo>
                      <a:pt x="667" y="717"/>
                    </a:lnTo>
                    <a:lnTo>
                      <a:pt x="669" y="717"/>
                    </a:lnTo>
                    <a:lnTo>
                      <a:pt x="671" y="717"/>
                    </a:lnTo>
                    <a:lnTo>
                      <a:pt x="669" y="717"/>
                    </a:lnTo>
                    <a:lnTo>
                      <a:pt x="669" y="719"/>
                    </a:lnTo>
                    <a:lnTo>
                      <a:pt x="669" y="721"/>
                    </a:lnTo>
                    <a:lnTo>
                      <a:pt x="671" y="723"/>
                    </a:lnTo>
                    <a:lnTo>
                      <a:pt x="671" y="725"/>
                    </a:lnTo>
                    <a:lnTo>
                      <a:pt x="671" y="727"/>
                    </a:lnTo>
                    <a:lnTo>
                      <a:pt x="673" y="727"/>
                    </a:lnTo>
                    <a:lnTo>
                      <a:pt x="673" y="729"/>
                    </a:lnTo>
                    <a:lnTo>
                      <a:pt x="673" y="731"/>
                    </a:lnTo>
                    <a:lnTo>
                      <a:pt x="673" y="733"/>
                    </a:lnTo>
                    <a:lnTo>
                      <a:pt x="671" y="733"/>
                    </a:lnTo>
                    <a:lnTo>
                      <a:pt x="671" y="735"/>
                    </a:lnTo>
                    <a:lnTo>
                      <a:pt x="669" y="735"/>
                    </a:lnTo>
                    <a:lnTo>
                      <a:pt x="669" y="736"/>
                    </a:lnTo>
                    <a:lnTo>
                      <a:pt x="669" y="738"/>
                    </a:lnTo>
                    <a:lnTo>
                      <a:pt x="669" y="740"/>
                    </a:lnTo>
                    <a:lnTo>
                      <a:pt x="669" y="742"/>
                    </a:lnTo>
                    <a:lnTo>
                      <a:pt x="669" y="744"/>
                    </a:lnTo>
                    <a:lnTo>
                      <a:pt x="669" y="746"/>
                    </a:lnTo>
                    <a:lnTo>
                      <a:pt x="669" y="748"/>
                    </a:lnTo>
                    <a:lnTo>
                      <a:pt x="669" y="750"/>
                    </a:lnTo>
                    <a:lnTo>
                      <a:pt x="671" y="750"/>
                    </a:lnTo>
                    <a:lnTo>
                      <a:pt x="673" y="752"/>
                    </a:lnTo>
                    <a:lnTo>
                      <a:pt x="675" y="752"/>
                    </a:lnTo>
                    <a:lnTo>
                      <a:pt x="675" y="750"/>
                    </a:lnTo>
                    <a:lnTo>
                      <a:pt x="675" y="752"/>
                    </a:lnTo>
                    <a:lnTo>
                      <a:pt x="675" y="750"/>
                    </a:lnTo>
                    <a:lnTo>
                      <a:pt x="677" y="750"/>
                    </a:lnTo>
                    <a:lnTo>
                      <a:pt x="677" y="752"/>
                    </a:lnTo>
                    <a:lnTo>
                      <a:pt x="677" y="754"/>
                    </a:lnTo>
                    <a:lnTo>
                      <a:pt x="678" y="754"/>
                    </a:lnTo>
                    <a:lnTo>
                      <a:pt x="678" y="756"/>
                    </a:lnTo>
                    <a:lnTo>
                      <a:pt x="678" y="758"/>
                    </a:lnTo>
                    <a:lnTo>
                      <a:pt x="680" y="758"/>
                    </a:lnTo>
                    <a:lnTo>
                      <a:pt x="680" y="760"/>
                    </a:lnTo>
                    <a:lnTo>
                      <a:pt x="682" y="760"/>
                    </a:lnTo>
                    <a:lnTo>
                      <a:pt x="680" y="760"/>
                    </a:lnTo>
                    <a:lnTo>
                      <a:pt x="680" y="761"/>
                    </a:lnTo>
                    <a:lnTo>
                      <a:pt x="680" y="763"/>
                    </a:lnTo>
                    <a:lnTo>
                      <a:pt x="680" y="765"/>
                    </a:lnTo>
                    <a:lnTo>
                      <a:pt x="680" y="767"/>
                    </a:lnTo>
                    <a:lnTo>
                      <a:pt x="682" y="767"/>
                    </a:lnTo>
                    <a:lnTo>
                      <a:pt x="680" y="767"/>
                    </a:lnTo>
                    <a:lnTo>
                      <a:pt x="680" y="769"/>
                    </a:lnTo>
                    <a:lnTo>
                      <a:pt x="682" y="769"/>
                    </a:lnTo>
                    <a:lnTo>
                      <a:pt x="680" y="769"/>
                    </a:lnTo>
                    <a:lnTo>
                      <a:pt x="682" y="771"/>
                    </a:lnTo>
                    <a:lnTo>
                      <a:pt x="680" y="771"/>
                    </a:lnTo>
                    <a:lnTo>
                      <a:pt x="682" y="771"/>
                    </a:lnTo>
                    <a:lnTo>
                      <a:pt x="682" y="773"/>
                    </a:lnTo>
                    <a:lnTo>
                      <a:pt x="680" y="773"/>
                    </a:lnTo>
                    <a:lnTo>
                      <a:pt x="680" y="775"/>
                    </a:lnTo>
                    <a:lnTo>
                      <a:pt x="682" y="775"/>
                    </a:lnTo>
                    <a:lnTo>
                      <a:pt x="680" y="775"/>
                    </a:lnTo>
                    <a:lnTo>
                      <a:pt x="680" y="777"/>
                    </a:lnTo>
                    <a:lnTo>
                      <a:pt x="682" y="777"/>
                    </a:lnTo>
                    <a:lnTo>
                      <a:pt x="680" y="777"/>
                    </a:lnTo>
                    <a:lnTo>
                      <a:pt x="682" y="777"/>
                    </a:lnTo>
                    <a:lnTo>
                      <a:pt x="682" y="779"/>
                    </a:lnTo>
                    <a:lnTo>
                      <a:pt x="680" y="779"/>
                    </a:lnTo>
                    <a:lnTo>
                      <a:pt x="680" y="777"/>
                    </a:lnTo>
                    <a:lnTo>
                      <a:pt x="680" y="779"/>
                    </a:lnTo>
                    <a:lnTo>
                      <a:pt x="682" y="779"/>
                    </a:lnTo>
                    <a:lnTo>
                      <a:pt x="680" y="781"/>
                    </a:lnTo>
                    <a:lnTo>
                      <a:pt x="682" y="781"/>
                    </a:lnTo>
                    <a:lnTo>
                      <a:pt x="684" y="781"/>
                    </a:lnTo>
                    <a:lnTo>
                      <a:pt x="684" y="783"/>
                    </a:lnTo>
                    <a:lnTo>
                      <a:pt x="686" y="783"/>
                    </a:lnTo>
                    <a:lnTo>
                      <a:pt x="688" y="783"/>
                    </a:lnTo>
                    <a:lnTo>
                      <a:pt x="686" y="783"/>
                    </a:lnTo>
                    <a:lnTo>
                      <a:pt x="686" y="785"/>
                    </a:lnTo>
                    <a:lnTo>
                      <a:pt x="688" y="785"/>
                    </a:lnTo>
                    <a:lnTo>
                      <a:pt x="690" y="785"/>
                    </a:lnTo>
                    <a:lnTo>
                      <a:pt x="690" y="786"/>
                    </a:lnTo>
                    <a:lnTo>
                      <a:pt x="690" y="788"/>
                    </a:lnTo>
                    <a:lnTo>
                      <a:pt x="692" y="788"/>
                    </a:lnTo>
                    <a:lnTo>
                      <a:pt x="694" y="788"/>
                    </a:lnTo>
                    <a:lnTo>
                      <a:pt x="696" y="788"/>
                    </a:lnTo>
                    <a:lnTo>
                      <a:pt x="698" y="790"/>
                    </a:lnTo>
                    <a:lnTo>
                      <a:pt x="696" y="790"/>
                    </a:lnTo>
                    <a:lnTo>
                      <a:pt x="696" y="794"/>
                    </a:lnTo>
                    <a:lnTo>
                      <a:pt x="694" y="794"/>
                    </a:lnTo>
                    <a:lnTo>
                      <a:pt x="694" y="796"/>
                    </a:lnTo>
                    <a:lnTo>
                      <a:pt x="694" y="798"/>
                    </a:lnTo>
                    <a:lnTo>
                      <a:pt x="692" y="798"/>
                    </a:lnTo>
                    <a:lnTo>
                      <a:pt x="690" y="798"/>
                    </a:lnTo>
                    <a:lnTo>
                      <a:pt x="690" y="796"/>
                    </a:lnTo>
                    <a:lnTo>
                      <a:pt x="688" y="796"/>
                    </a:lnTo>
                    <a:lnTo>
                      <a:pt x="688" y="798"/>
                    </a:lnTo>
                    <a:lnTo>
                      <a:pt x="686" y="798"/>
                    </a:lnTo>
                    <a:lnTo>
                      <a:pt x="686" y="800"/>
                    </a:lnTo>
                    <a:lnTo>
                      <a:pt x="686" y="802"/>
                    </a:lnTo>
                    <a:lnTo>
                      <a:pt x="684" y="802"/>
                    </a:lnTo>
                    <a:lnTo>
                      <a:pt x="684" y="804"/>
                    </a:lnTo>
                    <a:lnTo>
                      <a:pt x="684" y="808"/>
                    </a:lnTo>
                    <a:lnTo>
                      <a:pt x="686" y="808"/>
                    </a:lnTo>
                    <a:lnTo>
                      <a:pt x="686" y="810"/>
                    </a:lnTo>
                    <a:lnTo>
                      <a:pt x="684" y="808"/>
                    </a:lnTo>
                    <a:lnTo>
                      <a:pt x="682" y="811"/>
                    </a:lnTo>
                    <a:lnTo>
                      <a:pt x="682" y="813"/>
                    </a:lnTo>
                    <a:lnTo>
                      <a:pt x="680" y="813"/>
                    </a:lnTo>
                    <a:lnTo>
                      <a:pt x="680" y="815"/>
                    </a:lnTo>
                    <a:lnTo>
                      <a:pt x="678" y="815"/>
                    </a:lnTo>
                    <a:lnTo>
                      <a:pt x="678" y="817"/>
                    </a:lnTo>
                    <a:lnTo>
                      <a:pt x="677" y="819"/>
                    </a:lnTo>
                    <a:lnTo>
                      <a:pt x="675" y="819"/>
                    </a:lnTo>
                    <a:lnTo>
                      <a:pt x="675" y="821"/>
                    </a:lnTo>
                    <a:lnTo>
                      <a:pt x="673" y="823"/>
                    </a:lnTo>
                    <a:lnTo>
                      <a:pt x="675" y="823"/>
                    </a:lnTo>
                    <a:lnTo>
                      <a:pt x="677" y="825"/>
                    </a:lnTo>
                    <a:lnTo>
                      <a:pt x="677" y="827"/>
                    </a:lnTo>
                    <a:lnTo>
                      <a:pt x="678" y="827"/>
                    </a:lnTo>
                    <a:lnTo>
                      <a:pt x="678" y="829"/>
                    </a:lnTo>
                    <a:lnTo>
                      <a:pt x="678" y="831"/>
                    </a:lnTo>
                    <a:lnTo>
                      <a:pt x="680" y="831"/>
                    </a:lnTo>
                    <a:lnTo>
                      <a:pt x="682" y="831"/>
                    </a:lnTo>
                    <a:lnTo>
                      <a:pt x="680" y="831"/>
                    </a:lnTo>
                    <a:lnTo>
                      <a:pt x="678" y="831"/>
                    </a:lnTo>
                    <a:lnTo>
                      <a:pt x="677" y="831"/>
                    </a:lnTo>
                    <a:lnTo>
                      <a:pt x="677" y="829"/>
                    </a:lnTo>
                    <a:lnTo>
                      <a:pt x="675" y="829"/>
                    </a:lnTo>
                    <a:lnTo>
                      <a:pt x="675" y="831"/>
                    </a:lnTo>
                    <a:lnTo>
                      <a:pt x="675" y="833"/>
                    </a:lnTo>
                    <a:lnTo>
                      <a:pt x="677" y="835"/>
                    </a:lnTo>
                    <a:lnTo>
                      <a:pt x="675" y="835"/>
                    </a:lnTo>
                    <a:lnTo>
                      <a:pt x="673" y="835"/>
                    </a:lnTo>
                    <a:lnTo>
                      <a:pt x="673" y="836"/>
                    </a:lnTo>
                    <a:lnTo>
                      <a:pt x="673" y="838"/>
                    </a:lnTo>
                    <a:lnTo>
                      <a:pt x="671" y="838"/>
                    </a:lnTo>
                    <a:lnTo>
                      <a:pt x="671" y="840"/>
                    </a:lnTo>
                    <a:lnTo>
                      <a:pt x="673" y="842"/>
                    </a:lnTo>
                    <a:lnTo>
                      <a:pt x="673" y="844"/>
                    </a:lnTo>
                    <a:lnTo>
                      <a:pt x="675" y="844"/>
                    </a:lnTo>
                    <a:lnTo>
                      <a:pt x="673" y="844"/>
                    </a:lnTo>
                    <a:lnTo>
                      <a:pt x="673" y="846"/>
                    </a:lnTo>
                    <a:lnTo>
                      <a:pt x="671" y="846"/>
                    </a:lnTo>
                    <a:lnTo>
                      <a:pt x="671" y="844"/>
                    </a:lnTo>
                    <a:lnTo>
                      <a:pt x="669" y="844"/>
                    </a:lnTo>
                    <a:lnTo>
                      <a:pt x="669" y="846"/>
                    </a:lnTo>
                    <a:lnTo>
                      <a:pt x="671" y="846"/>
                    </a:lnTo>
                    <a:lnTo>
                      <a:pt x="671" y="848"/>
                    </a:lnTo>
                    <a:lnTo>
                      <a:pt x="671" y="850"/>
                    </a:lnTo>
                    <a:lnTo>
                      <a:pt x="671" y="852"/>
                    </a:lnTo>
                    <a:lnTo>
                      <a:pt x="673" y="854"/>
                    </a:lnTo>
                    <a:lnTo>
                      <a:pt x="673" y="856"/>
                    </a:lnTo>
                    <a:lnTo>
                      <a:pt x="671" y="856"/>
                    </a:lnTo>
                    <a:lnTo>
                      <a:pt x="673" y="856"/>
                    </a:lnTo>
                    <a:lnTo>
                      <a:pt x="673" y="858"/>
                    </a:lnTo>
                    <a:lnTo>
                      <a:pt x="675" y="856"/>
                    </a:lnTo>
                    <a:lnTo>
                      <a:pt x="677" y="856"/>
                    </a:lnTo>
                    <a:lnTo>
                      <a:pt x="677" y="854"/>
                    </a:lnTo>
                    <a:lnTo>
                      <a:pt x="678" y="854"/>
                    </a:lnTo>
                    <a:lnTo>
                      <a:pt x="680" y="854"/>
                    </a:lnTo>
                    <a:lnTo>
                      <a:pt x="680" y="856"/>
                    </a:lnTo>
                    <a:lnTo>
                      <a:pt x="682" y="856"/>
                    </a:lnTo>
                    <a:lnTo>
                      <a:pt x="682" y="858"/>
                    </a:lnTo>
                    <a:lnTo>
                      <a:pt x="680" y="860"/>
                    </a:lnTo>
                    <a:lnTo>
                      <a:pt x="684" y="860"/>
                    </a:lnTo>
                    <a:lnTo>
                      <a:pt x="686" y="858"/>
                    </a:lnTo>
                    <a:lnTo>
                      <a:pt x="688" y="858"/>
                    </a:lnTo>
                    <a:lnTo>
                      <a:pt x="690" y="856"/>
                    </a:lnTo>
                    <a:lnTo>
                      <a:pt x="692" y="856"/>
                    </a:lnTo>
                    <a:lnTo>
                      <a:pt x="696" y="856"/>
                    </a:lnTo>
                    <a:lnTo>
                      <a:pt x="694" y="852"/>
                    </a:lnTo>
                    <a:lnTo>
                      <a:pt x="694" y="850"/>
                    </a:lnTo>
                    <a:lnTo>
                      <a:pt x="696" y="852"/>
                    </a:lnTo>
                    <a:lnTo>
                      <a:pt x="698" y="854"/>
                    </a:lnTo>
                    <a:lnTo>
                      <a:pt x="698" y="856"/>
                    </a:lnTo>
                    <a:lnTo>
                      <a:pt x="700" y="858"/>
                    </a:lnTo>
                    <a:lnTo>
                      <a:pt x="701" y="858"/>
                    </a:lnTo>
                    <a:lnTo>
                      <a:pt x="703" y="858"/>
                    </a:lnTo>
                    <a:lnTo>
                      <a:pt x="705" y="860"/>
                    </a:lnTo>
                    <a:lnTo>
                      <a:pt x="707" y="860"/>
                    </a:lnTo>
                    <a:lnTo>
                      <a:pt x="709" y="861"/>
                    </a:lnTo>
                    <a:lnTo>
                      <a:pt x="713" y="861"/>
                    </a:lnTo>
                    <a:lnTo>
                      <a:pt x="713" y="863"/>
                    </a:lnTo>
                    <a:lnTo>
                      <a:pt x="715" y="865"/>
                    </a:lnTo>
                    <a:lnTo>
                      <a:pt x="715" y="867"/>
                    </a:lnTo>
                    <a:lnTo>
                      <a:pt x="717" y="865"/>
                    </a:lnTo>
                    <a:lnTo>
                      <a:pt x="719" y="865"/>
                    </a:lnTo>
                    <a:lnTo>
                      <a:pt x="721" y="865"/>
                    </a:lnTo>
                    <a:lnTo>
                      <a:pt x="721" y="863"/>
                    </a:lnTo>
                    <a:lnTo>
                      <a:pt x="723" y="863"/>
                    </a:lnTo>
                    <a:lnTo>
                      <a:pt x="725" y="863"/>
                    </a:lnTo>
                    <a:lnTo>
                      <a:pt x="726" y="863"/>
                    </a:lnTo>
                    <a:lnTo>
                      <a:pt x="726" y="865"/>
                    </a:lnTo>
                    <a:lnTo>
                      <a:pt x="728" y="865"/>
                    </a:lnTo>
                    <a:lnTo>
                      <a:pt x="730" y="867"/>
                    </a:lnTo>
                    <a:lnTo>
                      <a:pt x="732" y="869"/>
                    </a:lnTo>
                    <a:lnTo>
                      <a:pt x="732" y="867"/>
                    </a:lnTo>
                    <a:lnTo>
                      <a:pt x="734" y="869"/>
                    </a:lnTo>
                    <a:lnTo>
                      <a:pt x="736" y="869"/>
                    </a:lnTo>
                    <a:lnTo>
                      <a:pt x="734" y="867"/>
                    </a:lnTo>
                    <a:lnTo>
                      <a:pt x="736" y="867"/>
                    </a:lnTo>
                    <a:lnTo>
                      <a:pt x="736" y="865"/>
                    </a:lnTo>
                    <a:lnTo>
                      <a:pt x="738" y="863"/>
                    </a:lnTo>
                    <a:lnTo>
                      <a:pt x="740" y="863"/>
                    </a:lnTo>
                    <a:lnTo>
                      <a:pt x="742" y="863"/>
                    </a:lnTo>
                    <a:lnTo>
                      <a:pt x="742" y="865"/>
                    </a:lnTo>
                    <a:lnTo>
                      <a:pt x="742" y="867"/>
                    </a:lnTo>
                    <a:lnTo>
                      <a:pt x="744" y="867"/>
                    </a:lnTo>
                    <a:lnTo>
                      <a:pt x="744" y="869"/>
                    </a:lnTo>
                    <a:lnTo>
                      <a:pt x="744" y="871"/>
                    </a:lnTo>
                    <a:lnTo>
                      <a:pt x="746" y="871"/>
                    </a:lnTo>
                    <a:lnTo>
                      <a:pt x="746" y="873"/>
                    </a:lnTo>
                    <a:lnTo>
                      <a:pt x="746" y="875"/>
                    </a:lnTo>
                    <a:lnTo>
                      <a:pt x="746" y="877"/>
                    </a:lnTo>
                    <a:lnTo>
                      <a:pt x="746" y="879"/>
                    </a:lnTo>
                    <a:lnTo>
                      <a:pt x="744" y="879"/>
                    </a:lnTo>
                    <a:lnTo>
                      <a:pt x="742" y="879"/>
                    </a:lnTo>
                    <a:lnTo>
                      <a:pt x="740" y="879"/>
                    </a:lnTo>
                    <a:lnTo>
                      <a:pt x="738" y="879"/>
                    </a:lnTo>
                    <a:lnTo>
                      <a:pt x="738" y="881"/>
                    </a:lnTo>
                    <a:lnTo>
                      <a:pt x="736" y="879"/>
                    </a:lnTo>
                    <a:lnTo>
                      <a:pt x="734" y="881"/>
                    </a:lnTo>
                    <a:lnTo>
                      <a:pt x="732" y="881"/>
                    </a:lnTo>
                    <a:lnTo>
                      <a:pt x="732" y="879"/>
                    </a:lnTo>
                    <a:lnTo>
                      <a:pt x="732" y="881"/>
                    </a:lnTo>
                    <a:lnTo>
                      <a:pt x="730" y="881"/>
                    </a:lnTo>
                    <a:lnTo>
                      <a:pt x="728" y="881"/>
                    </a:lnTo>
                    <a:lnTo>
                      <a:pt x="728" y="883"/>
                    </a:lnTo>
                    <a:lnTo>
                      <a:pt x="726" y="883"/>
                    </a:lnTo>
                    <a:lnTo>
                      <a:pt x="726" y="885"/>
                    </a:lnTo>
                    <a:lnTo>
                      <a:pt x="726" y="886"/>
                    </a:lnTo>
                    <a:lnTo>
                      <a:pt x="726" y="888"/>
                    </a:lnTo>
                    <a:lnTo>
                      <a:pt x="725" y="888"/>
                    </a:lnTo>
                    <a:lnTo>
                      <a:pt x="723" y="886"/>
                    </a:lnTo>
                    <a:lnTo>
                      <a:pt x="725" y="886"/>
                    </a:lnTo>
                    <a:lnTo>
                      <a:pt x="723" y="886"/>
                    </a:lnTo>
                    <a:lnTo>
                      <a:pt x="723" y="888"/>
                    </a:lnTo>
                    <a:lnTo>
                      <a:pt x="721" y="888"/>
                    </a:lnTo>
                    <a:lnTo>
                      <a:pt x="719" y="888"/>
                    </a:lnTo>
                    <a:lnTo>
                      <a:pt x="721" y="888"/>
                    </a:lnTo>
                    <a:lnTo>
                      <a:pt x="721" y="886"/>
                    </a:lnTo>
                    <a:lnTo>
                      <a:pt x="719" y="886"/>
                    </a:lnTo>
                    <a:lnTo>
                      <a:pt x="719" y="885"/>
                    </a:lnTo>
                    <a:lnTo>
                      <a:pt x="717" y="885"/>
                    </a:lnTo>
                    <a:lnTo>
                      <a:pt x="715" y="885"/>
                    </a:lnTo>
                    <a:lnTo>
                      <a:pt x="715" y="886"/>
                    </a:lnTo>
                    <a:lnTo>
                      <a:pt x="713" y="886"/>
                    </a:lnTo>
                    <a:lnTo>
                      <a:pt x="715" y="886"/>
                    </a:lnTo>
                    <a:lnTo>
                      <a:pt x="713" y="886"/>
                    </a:lnTo>
                    <a:lnTo>
                      <a:pt x="713" y="888"/>
                    </a:lnTo>
                    <a:lnTo>
                      <a:pt x="711" y="888"/>
                    </a:lnTo>
                    <a:lnTo>
                      <a:pt x="711" y="886"/>
                    </a:lnTo>
                    <a:lnTo>
                      <a:pt x="709" y="888"/>
                    </a:lnTo>
                    <a:lnTo>
                      <a:pt x="709" y="886"/>
                    </a:lnTo>
                    <a:lnTo>
                      <a:pt x="707" y="886"/>
                    </a:lnTo>
                    <a:lnTo>
                      <a:pt x="707" y="885"/>
                    </a:lnTo>
                    <a:lnTo>
                      <a:pt x="707" y="886"/>
                    </a:lnTo>
                    <a:lnTo>
                      <a:pt x="705" y="885"/>
                    </a:lnTo>
                    <a:lnTo>
                      <a:pt x="705" y="886"/>
                    </a:lnTo>
                    <a:lnTo>
                      <a:pt x="703" y="886"/>
                    </a:lnTo>
                    <a:lnTo>
                      <a:pt x="703" y="885"/>
                    </a:lnTo>
                    <a:lnTo>
                      <a:pt x="703" y="883"/>
                    </a:lnTo>
                    <a:lnTo>
                      <a:pt x="703" y="885"/>
                    </a:lnTo>
                    <a:lnTo>
                      <a:pt x="701" y="885"/>
                    </a:lnTo>
                    <a:lnTo>
                      <a:pt x="701" y="883"/>
                    </a:lnTo>
                    <a:lnTo>
                      <a:pt x="700" y="883"/>
                    </a:lnTo>
                    <a:lnTo>
                      <a:pt x="700" y="885"/>
                    </a:lnTo>
                    <a:lnTo>
                      <a:pt x="701" y="888"/>
                    </a:lnTo>
                    <a:lnTo>
                      <a:pt x="703" y="888"/>
                    </a:lnTo>
                    <a:lnTo>
                      <a:pt x="703" y="890"/>
                    </a:lnTo>
                    <a:lnTo>
                      <a:pt x="705" y="892"/>
                    </a:lnTo>
                    <a:lnTo>
                      <a:pt x="703" y="894"/>
                    </a:lnTo>
                    <a:lnTo>
                      <a:pt x="703" y="896"/>
                    </a:lnTo>
                    <a:lnTo>
                      <a:pt x="701" y="896"/>
                    </a:lnTo>
                    <a:lnTo>
                      <a:pt x="701" y="898"/>
                    </a:lnTo>
                    <a:lnTo>
                      <a:pt x="701" y="900"/>
                    </a:lnTo>
                    <a:lnTo>
                      <a:pt x="701" y="902"/>
                    </a:lnTo>
                    <a:lnTo>
                      <a:pt x="701" y="904"/>
                    </a:lnTo>
                    <a:lnTo>
                      <a:pt x="701" y="906"/>
                    </a:lnTo>
                    <a:lnTo>
                      <a:pt x="703" y="906"/>
                    </a:lnTo>
                    <a:lnTo>
                      <a:pt x="703" y="908"/>
                    </a:lnTo>
                    <a:lnTo>
                      <a:pt x="703" y="910"/>
                    </a:lnTo>
                    <a:lnTo>
                      <a:pt x="701" y="910"/>
                    </a:lnTo>
                    <a:lnTo>
                      <a:pt x="701" y="911"/>
                    </a:lnTo>
                    <a:lnTo>
                      <a:pt x="701" y="913"/>
                    </a:lnTo>
                    <a:lnTo>
                      <a:pt x="700" y="913"/>
                    </a:lnTo>
                    <a:lnTo>
                      <a:pt x="698" y="915"/>
                    </a:lnTo>
                    <a:lnTo>
                      <a:pt x="700" y="915"/>
                    </a:lnTo>
                    <a:lnTo>
                      <a:pt x="701" y="917"/>
                    </a:lnTo>
                    <a:lnTo>
                      <a:pt x="701" y="919"/>
                    </a:lnTo>
                    <a:lnTo>
                      <a:pt x="703" y="921"/>
                    </a:lnTo>
                    <a:lnTo>
                      <a:pt x="705" y="921"/>
                    </a:lnTo>
                    <a:lnTo>
                      <a:pt x="705" y="923"/>
                    </a:lnTo>
                    <a:lnTo>
                      <a:pt x="707" y="923"/>
                    </a:lnTo>
                    <a:lnTo>
                      <a:pt x="705" y="925"/>
                    </a:lnTo>
                    <a:lnTo>
                      <a:pt x="707" y="925"/>
                    </a:lnTo>
                    <a:lnTo>
                      <a:pt x="705" y="925"/>
                    </a:lnTo>
                    <a:lnTo>
                      <a:pt x="705" y="927"/>
                    </a:lnTo>
                    <a:lnTo>
                      <a:pt x="705" y="929"/>
                    </a:lnTo>
                    <a:lnTo>
                      <a:pt x="703" y="929"/>
                    </a:lnTo>
                    <a:lnTo>
                      <a:pt x="701" y="929"/>
                    </a:lnTo>
                    <a:lnTo>
                      <a:pt x="701" y="927"/>
                    </a:lnTo>
                    <a:lnTo>
                      <a:pt x="700" y="927"/>
                    </a:lnTo>
                    <a:lnTo>
                      <a:pt x="698" y="927"/>
                    </a:lnTo>
                    <a:lnTo>
                      <a:pt x="698" y="929"/>
                    </a:lnTo>
                    <a:lnTo>
                      <a:pt x="698" y="931"/>
                    </a:lnTo>
                    <a:lnTo>
                      <a:pt x="698" y="933"/>
                    </a:lnTo>
                    <a:lnTo>
                      <a:pt x="698" y="935"/>
                    </a:lnTo>
                    <a:lnTo>
                      <a:pt x="700" y="935"/>
                    </a:lnTo>
                    <a:lnTo>
                      <a:pt x="700" y="936"/>
                    </a:lnTo>
                    <a:lnTo>
                      <a:pt x="700" y="938"/>
                    </a:lnTo>
                    <a:lnTo>
                      <a:pt x="700" y="940"/>
                    </a:lnTo>
                    <a:lnTo>
                      <a:pt x="700" y="942"/>
                    </a:lnTo>
                    <a:lnTo>
                      <a:pt x="698" y="942"/>
                    </a:lnTo>
                    <a:lnTo>
                      <a:pt x="698" y="944"/>
                    </a:lnTo>
                    <a:lnTo>
                      <a:pt x="696" y="944"/>
                    </a:lnTo>
                    <a:lnTo>
                      <a:pt x="694" y="944"/>
                    </a:lnTo>
                    <a:lnTo>
                      <a:pt x="692" y="946"/>
                    </a:lnTo>
                    <a:lnTo>
                      <a:pt x="692" y="948"/>
                    </a:lnTo>
                    <a:lnTo>
                      <a:pt x="694" y="950"/>
                    </a:lnTo>
                    <a:lnTo>
                      <a:pt x="694" y="952"/>
                    </a:lnTo>
                    <a:lnTo>
                      <a:pt x="694" y="954"/>
                    </a:lnTo>
                    <a:lnTo>
                      <a:pt x="696" y="954"/>
                    </a:lnTo>
                    <a:lnTo>
                      <a:pt x="696" y="956"/>
                    </a:lnTo>
                    <a:lnTo>
                      <a:pt x="698" y="956"/>
                    </a:lnTo>
                    <a:lnTo>
                      <a:pt x="700" y="958"/>
                    </a:lnTo>
                    <a:lnTo>
                      <a:pt x="701" y="958"/>
                    </a:lnTo>
                    <a:lnTo>
                      <a:pt x="703" y="960"/>
                    </a:lnTo>
                    <a:lnTo>
                      <a:pt x="703" y="961"/>
                    </a:lnTo>
                    <a:lnTo>
                      <a:pt x="703" y="963"/>
                    </a:lnTo>
                    <a:lnTo>
                      <a:pt x="705" y="965"/>
                    </a:lnTo>
                    <a:lnTo>
                      <a:pt x="705" y="967"/>
                    </a:lnTo>
                    <a:lnTo>
                      <a:pt x="703" y="969"/>
                    </a:lnTo>
                    <a:lnTo>
                      <a:pt x="705" y="969"/>
                    </a:lnTo>
                    <a:lnTo>
                      <a:pt x="707" y="969"/>
                    </a:lnTo>
                    <a:lnTo>
                      <a:pt x="709" y="971"/>
                    </a:lnTo>
                    <a:lnTo>
                      <a:pt x="711" y="971"/>
                    </a:lnTo>
                    <a:lnTo>
                      <a:pt x="713" y="971"/>
                    </a:lnTo>
                    <a:lnTo>
                      <a:pt x="715" y="973"/>
                    </a:lnTo>
                    <a:lnTo>
                      <a:pt x="715" y="975"/>
                    </a:lnTo>
                    <a:lnTo>
                      <a:pt x="713" y="975"/>
                    </a:lnTo>
                    <a:lnTo>
                      <a:pt x="711" y="977"/>
                    </a:lnTo>
                    <a:lnTo>
                      <a:pt x="713" y="977"/>
                    </a:lnTo>
                    <a:lnTo>
                      <a:pt x="713" y="979"/>
                    </a:lnTo>
                    <a:lnTo>
                      <a:pt x="713" y="981"/>
                    </a:lnTo>
                    <a:lnTo>
                      <a:pt x="715" y="981"/>
                    </a:lnTo>
                    <a:lnTo>
                      <a:pt x="715" y="983"/>
                    </a:lnTo>
                    <a:lnTo>
                      <a:pt x="711" y="983"/>
                    </a:lnTo>
                    <a:lnTo>
                      <a:pt x="711" y="984"/>
                    </a:lnTo>
                    <a:lnTo>
                      <a:pt x="709" y="986"/>
                    </a:lnTo>
                    <a:lnTo>
                      <a:pt x="709" y="988"/>
                    </a:lnTo>
                    <a:lnTo>
                      <a:pt x="707" y="988"/>
                    </a:lnTo>
                    <a:lnTo>
                      <a:pt x="705" y="988"/>
                    </a:lnTo>
                    <a:lnTo>
                      <a:pt x="705" y="990"/>
                    </a:lnTo>
                    <a:lnTo>
                      <a:pt x="707" y="990"/>
                    </a:lnTo>
                    <a:lnTo>
                      <a:pt x="707" y="992"/>
                    </a:lnTo>
                    <a:lnTo>
                      <a:pt x="705" y="994"/>
                    </a:lnTo>
                    <a:lnTo>
                      <a:pt x="705" y="996"/>
                    </a:lnTo>
                    <a:lnTo>
                      <a:pt x="703" y="996"/>
                    </a:lnTo>
                    <a:lnTo>
                      <a:pt x="705" y="996"/>
                    </a:lnTo>
                    <a:lnTo>
                      <a:pt x="705" y="998"/>
                    </a:lnTo>
                    <a:lnTo>
                      <a:pt x="707" y="998"/>
                    </a:lnTo>
                    <a:lnTo>
                      <a:pt x="707" y="1000"/>
                    </a:lnTo>
                    <a:lnTo>
                      <a:pt x="707" y="1002"/>
                    </a:lnTo>
                    <a:lnTo>
                      <a:pt x="707" y="1004"/>
                    </a:lnTo>
                    <a:lnTo>
                      <a:pt x="707" y="1006"/>
                    </a:lnTo>
                    <a:lnTo>
                      <a:pt x="707" y="1008"/>
                    </a:lnTo>
                    <a:lnTo>
                      <a:pt x="707" y="1009"/>
                    </a:lnTo>
                    <a:lnTo>
                      <a:pt x="707" y="1011"/>
                    </a:lnTo>
                    <a:lnTo>
                      <a:pt x="705" y="1011"/>
                    </a:lnTo>
                    <a:lnTo>
                      <a:pt x="705" y="1013"/>
                    </a:lnTo>
                    <a:lnTo>
                      <a:pt x="705" y="1011"/>
                    </a:lnTo>
                    <a:lnTo>
                      <a:pt x="705" y="1013"/>
                    </a:lnTo>
                    <a:lnTo>
                      <a:pt x="703" y="1013"/>
                    </a:lnTo>
                    <a:lnTo>
                      <a:pt x="703" y="1015"/>
                    </a:lnTo>
                    <a:lnTo>
                      <a:pt x="703" y="1017"/>
                    </a:lnTo>
                    <a:lnTo>
                      <a:pt x="701" y="1017"/>
                    </a:lnTo>
                    <a:lnTo>
                      <a:pt x="700" y="1017"/>
                    </a:lnTo>
                    <a:lnTo>
                      <a:pt x="700" y="1019"/>
                    </a:lnTo>
                    <a:lnTo>
                      <a:pt x="698" y="1021"/>
                    </a:lnTo>
                    <a:lnTo>
                      <a:pt x="698" y="1023"/>
                    </a:lnTo>
                    <a:lnTo>
                      <a:pt x="696" y="1023"/>
                    </a:lnTo>
                    <a:lnTo>
                      <a:pt x="696" y="1025"/>
                    </a:lnTo>
                    <a:lnTo>
                      <a:pt x="696" y="1027"/>
                    </a:lnTo>
                    <a:lnTo>
                      <a:pt x="694" y="1027"/>
                    </a:lnTo>
                    <a:lnTo>
                      <a:pt x="696" y="1029"/>
                    </a:lnTo>
                    <a:lnTo>
                      <a:pt x="696" y="1031"/>
                    </a:lnTo>
                    <a:lnTo>
                      <a:pt x="698" y="1033"/>
                    </a:lnTo>
                    <a:lnTo>
                      <a:pt x="698" y="1034"/>
                    </a:lnTo>
                    <a:lnTo>
                      <a:pt x="698" y="1036"/>
                    </a:lnTo>
                    <a:lnTo>
                      <a:pt x="696" y="1036"/>
                    </a:lnTo>
                    <a:lnTo>
                      <a:pt x="694" y="1038"/>
                    </a:lnTo>
                    <a:lnTo>
                      <a:pt x="694" y="1040"/>
                    </a:lnTo>
                    <a:lnTo>
                      <a:pt x="692" y="1038"/>
                    </a:lnTo>
                    <a:lnTo>
                      <a:pt x="690" y="1038"/>
                    </a:lnTo>
                    <a:lnTo>
                      <a:pt x="688" y="1040"/>
                    </a:lnTo>
                    <a:lnTo>
                      <a:pt x="688" y="1042"/>
                    </a:lnTo>
                    <a:lnTo>
                      <a:pt x="688" y="1044"/>
                    </a:lnTo>
                    <a:lnTo>
                      <a:pt x="686" y="1044"/>
                    </a:lnTo>
                    <a:lnTo>
                      <a:pt x="684" y="1046"/>
                    </a:lnTo>
                    <a:lnTo>
                      <a:pt x="682" y="1046"/>
                    </a:lnTo>
                    <a:lnTo>
                      <a:pt x="682" y="1048"/>
                    </a:lnTo>
                    <a:lnTo>
                      <a:pt x="680" y="1048"/>
                    </a:lnTo>
                    <a:lnTo>
                      <a:pt x="680" y="1050"/>
                    </a:lnTo>
                    <a:lnTo>
                      <a:pt x="680" y="1052"/>
                    </a:lnTo>
                    <a:lnTo>
                      <a:pt x="678" y="1054"/>
                    </a:lnTo>
                    <a:lnTo>
                      <a:pt x="680" y="1054"/>
                    </a:lnTo>
                    <a:lnTo>
                      <a:pt x="680" y="1056"/>
                    </a:lnTo>
                    <a:lnTo>
                      <a:pt x="678" y="1056"/>
                    </a:lnTo>
                    <a:lnTo>
                      <a:pt x="677" y="1056"/>
                    </a:lnTo>
                    <a:lnTo>
                      <a:pt x="675" y="1058"/>
                    </a:lnTo>
                    <a:lnTo>
                      <a:pt x="673" y="1058"/>
                    </a:lnTo>
                    <a:lnTo>
                      <a:pt x="671" y="1058"/>
                    </a:lnTo>
                    <a:lnTo>
                      <a:pt x="669" y="1059"/>
                    </a:lnTo>
                    <a:lnTo>
                      <a:pt x="669" y="1061"/>
                    </a:lnTo>
                    <a:lnTo>
                      <a:pt x="667" y="1061"/>
                    </a:lnTo>
                    <a:lnTo>
                      <a:pt x="665" y="1061"/>
                    </a:lnTo>
                    <a:lnTo>
                      <a:pt x="667" y="1063"/>
                    </a:lnTo>
                    <a:lnTo>
                      <a:pt x="669" y="1063"/>
                    </a:lnTo>
                    <a:lnTo>
                      <a:pt x="671" y="1063"/>
                    </a:lnTo>
                    <a:lnTo>
                      <a:pt x="671" y="1065"/>
                    </a:lnTo>
                    <a:lnTo>
                      <a:pt x="673" y="1067"/>
                    </a:lnTo>
                    <a:lnTo>
                      <a:pt x="673" y="1069"/>
                    </a:lnTo>
                    <a:lnTo>
                      <a:pt x="675" y="1069"/>
                    </a:lnTo>
                    <a:lnTo>
                      <a:pt x="675" y="1071"/>
                    </a:lnTo>
                    <a:lnTo>
                      <a:pt x="675" y="1073"/>
                    </a:lnTo>
                    <a:lnTo>
                      <a:pt x="673" y="1071"/>
                    </a:lnTo>
                    <a:lnTo>
                      <a:pt x="673" y="1073"/>
                    </a:lnTo>
                    <a:lnTo>
                      <a:pt x="671" y="1071"/>
                    </a:lnTo>
                    <a:lnTo>
                      <a:pt x="671" y="1073"/>
                    </a:lnTo>
                    <a:lnTo>
                      <a:pt x="671" y="1071"/>
                    </a:lnTo>
                    <a:lnTo>
                      <a:pt x="669" y="1073"/>
                    </a:lnTo>
                    <a:lnTo>
                      <a:pt x="669" y="1075"/>
                    </a:lnTo>
                    <a:lnTo>
                      <a:pt x="667" y="1075"/>
                    </a:lnTo>
                    <a:lnTo>
                      <a:pt x="667" y="1077"/>
                    </a:lnTo>
                    <a:lnTo>
                      <a:pt x="665" y="1077"/>
                    </a:lnTo>
                    <a:lnTo>
                      <a:pt x="665" y="1079"/>
                    </a:lnTo>
                    <a:lnTo>
                      <a:pt x="663" y="1081"/>
                    </a:lnTo>
                    <a:lnTo>
                      <a:pt x="663" y="1083"/>
                    </a:lnTo>
                    <a:lnTo>
                      <a:pt x="663" y="1084"/>
                    </a:lnTo>
                    <a:lnTo>
                      <a:pt x="663" y="1086"/>
                    </a:lnTo>
                    <a:lnTo>
                      <a:pt x="663" y="1088"/>
                    </a:lnTo>
                    <a:lnTo>
                      <a:pt x="663" y="1090"/>
                    </a:lnTo>
                    <a:lnTo>
                      <a:pt x="665" y="1090"/>
                    </a:lnTo>
                    <a:lnTo>
                      <a:pt x="665" y="1092"/>
                    </a:lnTo>
                    <a:lnTo>
                      <a:pt x="665" y="1094"/>
                    </a:lnTo>
                    <a:lnTo>
                      <a:pt x="663" y="1094"/>
                    </a:lnTo>
                    <a:lnTo>
                      <a:pt x="661" y="1094"/>
                    </a:lnTo>
                    <a:lnTo>
                      <a:pt x="659" y="1096"/>
                    </a:lnTo>
                    <a:lnTo>
                      <a:pt x="659" y="1098"/>
                    </a:lnTo>
                    <a:lnTo>
                      <a:pt x="661" y="1098"/>
                    </a:lnTo>
                    <a:lnTo>
                      <a:pt x="661" y="1100"/>
                    </a:lnTo>
                    <a:lnTo>
                      <a:pt x="663" y="1100"/>
                    </a:lnTo>
                    <a:lnTo>
                      <a:pt x="663" y="1102"/>
                    </a:lnTo>
                    <a:lnTo>
                      <a:pt x="665" y="1102"/>
                    </a:lnTo>
                    <a:lnTo>
                      <a:pt x="665" y="1104"/>
                    </a:lnTo>
                    <a:lnTo>
                      <a:pt x="665" y="1106"/>
                    </a:lnTo>
                    <a:lnTo>
                      <a:pt x="663" y="1106"/>
                    </a:lnTo>
                    <a:lnTo>
                      <a:pt x="663" y="1108"/>
                    </a:lnTo>
                    <a:lnTo>
                      <a:pt x="663" y="1109"/>
                    </a:lnTo>
                    <a:lnTo>
                      <a:pt x="663" y="1111"/>
                    </a:lnTo>
                    <a:lnTo>
                      <a:pt x="663" y="1113"/>
                    </a:lnTo>
                    <a:lnTo>
                      <a:pt x="665" y="1113"/>
                    </a:lnTo>
                    <a:lnTo>
                      <a:pt x="665" y="1115"/>
                    </a:lnTo>
                    <a:lnTo>
                      <a:pt x="667" y="1115"/>
                    </a:lnTo>
                    <a:lnTo>
                      <a:pt x="667" y="1117"/>
                    </a:lnTo>
                    <a:lnTo>
                      <a:pt x="667" y="1119"/>
                    </a:lnTo>
                    <a:lnTo>
                      <a:pt x="667" y="1121"/>
                    </a:lnTo>
                    <a:lnTo>
                      <a:pt x="669" y="1121"/>
                    </a:lnTo>
                    <a:lnTo>
                      <a:pt x="669" y="1123"/>
                    </a:lnTo>
                    <a:lnTo>
                      <a:pt x="667" y="1123"/>
                    </a:lnTo>
                    <a:lnTo>
                      <a:pt x="669" y="1123"/>
                    </a:lnTo>
                    <a:lnTo>
                      <a:pt x="667" y="1123"/>
                    </a:lnTo>
                    <a:lnTo>
                      <a:pt x="669" y="1123"/>
                    </a:lnTo>
                    <a:lnTo>
                      <a:pt x="669" y="1125"/>
                    </a:lnTo>
                    <a:lnTo>
                      <a:pt x="671" y="1125"/>
                    </a:lnTo>
                    <a:lnTo>
                      <a:pt x="673" y="1125"/>
                    </a:lnTo>
                    <a:lnTo>
                      <a:pt x="673" y="1127"/>
                    </a:lnTo>
                    <a:lnTo>
                      <a:pt x="675" y="1127"/>
                    </a:lnTo>
                    <a:lnTo>
                      <a:pt x="673" y="1127"/>
                    </a:lnTo>
                    <a:lnTo>
                      <a:pt x="675" y="1127"/>
                    </a:lnTo>
                    <a:lnTo>
                      <a:pt x="675" y="1129"/>
                    </a:lnTo>
                    <a:lnTo>
                      <a:pt x="675" y="1127"/>
                    </a:lnTo>
                    <a:lnTo>
                      <a:pt x="675" y="1129"/>
                    </a:lnTo>
                    <a:lnTo>
                      <a:pt x="675" y="1131"/>
                    </a:lnTo>
                    <a:lnTo>
                      <a:pt x="677" y="1131"/>
                    </a:lnTo>
                    <a:lnTo>
                      <a:pt x="678" y="1131"/>
                    </a:lnTo>
                    <a:lnTo>
                      <a:pt x="680" y="1131"/>
                    </a:lnTo>
                    <a:lnTo>
                      <a:pt x="682" y="1131"/>
                    </a:lnTo>
                    <a:lnTo>
                      <a:pt x="684" y="1131"/>
                    </a:lnTo>
                    <a:lnTo>
                      <a:pt x="686" y="1131"/>
                    </a:lnTo>
                    <a:lnTo>
                      <a:pt x="688" y="1131"/>
                    </a:lnTo>
                    <a:lnTo>
                      <a:pt x="690" y="1129"/>
                    </a:lnTo>
                    <a:lnTo>
                      <a:pt x="690" y="1131"/>
                    </a:lnTo>
                    <a:lnTo>
                      <a:pt x="690" y="1133"/>
                    </a:lnTo>
                    <a:lnTo>
                      <a:pt x="692" y="1133"/>
                    </a:lnTo>
                    <a:lnTo>
                      <a:pt x="690" y="1133"/>
                    </a:lnTo>
                    <a:lnTo>
                      <a:pt x="690" y="1131"/>
                    </a:lnTo>
                    <a:lnTo>
                      <a:pt x="692" y="1131"/>
                    </a:lnTo>
                    <a:lnTo>
                      <a:pt x="692" y="1133"/>
                    </a:lnTo>
                    <a:lnTo>
                      <a:pt x="694" y="1133"/>
                    </a:lnTo>
                    <a:lnTo>
                      <a:pt x="694" y="1134"/>
                    </a:lnTo>
                    <a:lnTo>
                      <a:pt x="696" y="1134"/>
                    </a:lnTo>
                    <a:lnTo>
                      <a:pt x="694" y="1134"/>
                    </a:lnTo>
                    <a:lnTo>
                      <a:pt x="694" y="1136"/>
                    </a:lnTo>
                    <a:lnTo>
                      <a:pt x="694" y="1138"/>
                    </a:lnTo>
                    <a:lnTo>
                      <a:pt x="694" y="1140"/>
                    </a:lnTo>
                    <a:lnTo>
                      <a:pt x="694" y="1142"/>
                    </a:lnTo>
                    <a:lnTo>
                      <a:pt x="694" y="1144"/>
                    </a:lnTo>
                    <a:lnTo>
                      <a:pt x="696" y="1144"/>
                    </a:lnTo>
                    <a:lnTo>
                      <a:pt x="696" y="1146"/>
                    </a:lnTo>
                    <a:lnTo>
                      <a:pt x="696" y="1148"/>
                    </a:lnTo>
                    <a:lnTo>
                      <a:pt x="696" y="1150"/>
                    </a:lnTo>
                    <a:lnTo>
                      <a:pt x="694" y="1150"/>
                    </a:lnTo>
                    <a:lnTo>
                      <a:pt x="694" y="1152"/>
                    </a:lnTo>
                    <a:lnTo>
                      <a:pt x="694" y="1154"/>
                    </a:lnTo>
                    <a:lnTo>
                      <a:pt x="696" y="1154"/>
                    </a:lnTo>
                    <a:lnTo>
                      <a:pt x="694" y="1154"/>
                    </a:lnTo>
                    <a:lnTo>
                      <a:pt x="696" y="1156"/>
                    </a:lnTo>
                    <a:lnTo>
                      <a:pt x="696" y="1158"/>
                    </a:lnTo>
                    <a:lnTo>
                      <a:pt x="698" y="1158"/>
                    </a:lnTo>
                    <a:lnTo>
                      <a:pt x="696" y="1158"/>
                    </a:lnTo>
                    <a:lnTo>
                      <a:pt x="698" y="1158"/>
                    </a:lnTo>
                    <a:lnTo>
                      <a:pt x="698" y="1159"/>
                    </a:lnTo>
                    <a:lnTo>
                      <a:pt x="696" y="1159"/>
                    </a:lnTo>
                    <a:lnTo>
                      <a:pt x="698" y="1159"/>
                    </a:lnTo>
                    <a:lnTo>
                      <a:pt x="696" y="1159"/>
                    </a:lnTo>
                    <a:lnTo>
                      <a:pt x="696" y="1158"/>
                    </a:lnTo>
                    <a:lnTo>
                      <a:pt x="696" y="1159"/>
                    </a:lnTo>
                    <a:lnTo>
                      <a:pt x="696" y="1158"/>
                    </a:lnTo>
                    <a:lnTo>
                      <a:pt x="694" y="1159"/>
                    </a:lnTo>
                    <a:lnTo>
                      <a:pt x="692" y="1159"/>
                    </a:lnTo>
                    <a:lnTo>
                      <a:pt x="690" y="1159"/>
                    </a:lnTo>
                    <a:lnTo>
                      <a:pt x="690" y="1158"/>
                    </a:lnTo>
                    <a:lnTo>
                      <a:pt x="688" y="1159"/>
                    </a:lnTo>
                    <a:lnTo>
                      <a:pt x="688" y="1158"/>
                    </a:lnTo>
                    <a:lnTo>
                      <a:pt x="686" y="1158"/>
                    </a:lnTo>
                    <a:lnTo>
                      <a:pt x="688" y="1158"/>
                    </a:lnTo>
                    <a:lnTo>
                      <a:pt x="686" y="1158"/>
                    </a:lnTo>
                    <a:lnTo>
                      <a:pt x="686" y="1159"/>
                    </a:lnTo>
                    <a:lnTo>
                      <a:pt x="684" y="1159"/>
                    </a:lnTo>
                    <a:lnTo>
                      <a:pt x="684" y="1158"/>
                    </a:lnTo>
                    <a:lnTo>
                      <a:pt x="684" y="1159"/>
                    </a:lnTo>
                    <a:lnTo>
                      <a:pt x="682" y="1161"/>
                    </a:lnTo>
                    <a:lnTo>
                      <a:pt x="682" y="1159"/>
                    </a:lnTo>
                    <a:lnTo>
                      <a:pt x="682" y="1161"/>
                    </a:lnTo>
                    <a:lnTo>
                      <a:pt x="684" y="1163"/>
                    </a:lnTo>
                    <a:lnTo>
                      <a:pt x="682" y="1163"/>
                    </a:lnTo>
                    <a:lnTo>
                      <a:pt x="684" y="1163"/>
                    </a:lnTo>
                    <a:lnTo>
                      <a:pt x="684" y="1165"/>
                    </a:lnTo>
                    <a:lnTo>
                      <a:pt x="682" y="1165"/>
                    </a:lnTo>
                    <a:lnTo>
                      <a:pt x="680" y="1165"/>
                    </a:lnTo>
                    <a:lnTo>
                      <a:pt x="678" y="1167"/>
                    </a:lnTo>
                    <a:lnTo>
                      <a:pt x="680" y="1167"/>
                    </a:lnTo>
                    <a:lnTo>
                      <a:pt x="678" y="1167"/>
                    </a:lnTo>
                    <a:lnTo>
                      <a:pt x="678" y="1169"/>
                    </a:lnTo>
                    <a:lnTo>
                      <a:pt x="678" y="1171"/>
                    </a:lnTo>
                    <a:lnTo>
                      <a:pt x="677" y="1171"/>
                    </a:lnTo>
                    <a:lnTo>
                      <a:pt x="677" y="1173"/>
                    </a:lnTo>
                    <a:lnTo>
                      <a:pt x="678" y="1173"/>
                    </a:lnTo>
                    <a:lnTo>
                      <a:pt x="677" y="1175"/>
                    </a:lnTo>
                    <a:lnTo>
                      <a:pt x="678" y="1175"/>
                    </a:lnTo>
                    <a:lnTo>
                      <a:pt x="678" y="1177"/>
                    </a:lnTo>
                    <a:lnTo>
                      <a:pt x="680" y="1177"/>
                    </a:lnTo>
                    <a:lnTo>
                      <a:pt x="680" y="1179"/>
                    </a:lnTo>
                    <a:lnTo>
                      <a:pt x="680" y="1181"/>
                    </a:lnTo>
                    <a:lnTo>
                      <a:pt x="682" y="1183"/>
                    </a:lnTo>
                    <a:lnTo>
                      <a:pt x="684" y="1184"/>
                    </a:lnTo>
                    <a:lnTo>
                      <a:pt x="684" y="1186"/>
                    </a:lnTo>
                    <a:lnTo>
                      <a:pt x="686" y="1186"/>
                    </a:lnTo>
                    <a:lnTo>
                      <a:pt x="688" y="1184"/>
                    </a:lnTo>
                    <a:lnTo>
                      <a:pt x="690" y="1184"/>
                    </a:lnTo>
                    <a:lnTo>
                      <a:pt x="690" y="1186"/>
                    </a:lnTo>
                    <a:lnTo>
                      <a:pt x="692" y="1186"/>
                    </a:lnTo>
                    <a:lnTo>
                      <a:pt x="692" y="1188"/>
                    </a:lnTo>
                    <a:lnTo>
                      <a:pt x="692" y="1190"/>
                    </a:lnTo>
                    <a:lnTo>
                      <a:pt x="694" y="1192"/>
                    </a:lnTo>
                    <a:lnTo>
                      <a:pt x="692" y="1194"/>
                    </a:lnTo>
                    <a:lnTo>
                      <a:pt x="692" y="1196"/>
                    </a:lnTo>
                    <a:lnTo>
                      <a:pt x="692" y="1198"/>
                    </a:lnTo>
                    <a:lnTo>
                      <a:pt x="694" y="1198"/>
                    </a:lnTo>
                    <a:lnTo>
                      <a:pt x="696" y="1198"/>
                    </a:lnTo>
                    <a:lnTo>
                      <a:pt x="696" y="1200"/>
                    </a:lnTo>
                    <a:lnTo>
                      <a:pt x="696" y="1202"/>
                    </a:lnTo>
                    <a:lnTo>
                      <a:pt x="698" y="1202"/>
                    </a:lnTo>
                    <a:lnTo>
                      <a:pt x="698" y="1204"/>
                    </a:lnTo>
                    <a:lnTo>
                      <a:pt x="696" y="1204"/>
                    </a:lnTo>
                    <a:lnTo>
                      <a:pt x="696" y="1206"/>
                    </a:lnTo>
                    <a:lnTo>
                      <a:pt x="698" y="1206"/>
                    </a:lnTo>
                    <a:lnTo>
                      <a:pt x="698" y="1208"/>
                    </a:lnTo>
                    <a:lnTo>
                      <a:pt x="698" y="1209"/>
                    </a:lnTo>
                    <a:lnTo>
                      <a:pt x="698" y="1211"/>
                    </a:lnTo>
                    <a:lnTo>
                      <a:pt x="696" y="1211"/>
                    </a:lnTo>
                    <a:lnTo>
                      <a:pt x="694" y="1213"/>
                    </a:lnTo>
                    <a:lnTo>
                      <a:pt x="692" y="1213"/>
                    </a:lnTo>
                    <a:lnTo>
                      <a:pt x="692" y="1215"/>
                    </a:lnTo>
                    <a:lnTo>
                      <a:pt x="690" y="1215"/>
                    </a:lnTo>
                    <a:lnTo>
                      <a:pt x="690" y="1217"/>
                    </a:lnTo>
                    <a:lnTo>
                      <a:pt x="688" y="1219"/>
                    </a:lnTo>
                    <a:lnTo>
                      <a:pt x="686" y="1219"/>
                    </a:lnTo>
                    <a:lnTo>
                      <a:pt x="686" y="1221"/>
                    </a:lnTo>
                    <a:lnTo>
                      <a:pt x="686" y="1223"/>
                    </a:lnTo>
                    <a:lnTo>
                      <a:pt x="684" y="1225"/>
                    </a:lnTo>
                    <a:lnTo>
                      <a:pt x="682" y="1227"/>
                    </a:lnTo>
                    <a:lnTo>
                      <a:pt x="682" y="1229"/>
                    </a:lnTo>
                    <a:lnTo>
                      <a:pt x="682" y="1231"/>
                    </a:lnTo>
                    <a:lnTo>
                      <a:pt x="684" y="1232"/>
                    </a:lnTo>
                    <a:lnTo>
                      <a:pt x="684" y="1234"/>
                    </a:lnTo>
                    <a:lnTo>
                      <a:pt x="686" y="1234"/>
                    </a:lnTo>
                    <a:lnTo>
                      <a:pt x="686" y="1236"/>
                    </a:lnTo>
                    <a:lnTo>
                      <a:pt x="686" y="1238"/>
                    </a:lnTo>
                    <a:lnTo>
                      <a:pt x="684" y="1238"/>
                    </a:lnTo>
                    <a:lnTo>
                      <a:pt x="682" y="1238"/>
                    </a:lnTo>
                    <a:lnTo>
                      <a:pt x="682" y="1240"/>
                    </a:lnTo>
                    <a:lnTo>
                      <a:pt x="680" y="1240"/>
                    </a:lnTo>
                    <a:lnTo>
                      <a:pt x="680" y="1242"/>
                    </a:lnTo>
                    <a:lnTo>
                      <a:pt x="678" y="1242"/>
                    </a:lnTo>
                    <a:lnTo>
                      <a:pt x="678" y="1240"/>
                    </a:lnTo>
                    <a:lnTo>
                      <a:pt x="678" y="1242"/>
                    </a:lnTo>
                    <a:lnTo>
                      <a:pt x="677" y="1242"/>
                    </a:lnTo>
                    <a:lnTo>
                      <a:pt x="675" y="1244"/>
                    </a:lnTo>
                    <a:lnTo>
                      <a:pt x="673" y="1244"/>
                    </a:lnTo>
                    <a:lnTo>
                      <a:pt x="673" y="1242"/>
                    </a:lnTo>
                    <a:lnTo>
                      <a:pt x="671" y="1240"/>
                    </a:lnTo>
                    <a:lnTo>
                      <a:pt x="671" y="1238"/>
                    </a:lnTo>
                    <a:lnTo>
                      <a:pt x="671" y="1236"/>
                    </a:lnTo>
                    <a:lnTo>
                      <a:pt x="669" y="1236"/>
                    </a:lnTo>
                    <a:lnTo>
                      <a:pt x="669" y="1238"/>
                    </a:lnTo>
                    <a:lnTo>
                      <a:pt x="667" y="1238"/>
                    </a:lnTo>
                    <a:lnTo>
                      <a:pt x="667" y="1236"/>
                    </a:lnTo>
                    <a:lnTo>
                      <a:pt x="665" y="1236"/>
                    </a:lnTo>
                    <a:lnTo>
                      <a:pt x="665" y="1234"/>
                    </a:lnTo>
                    <a:lnTo>
                      <a:pt x="665" y="1232"/>
                    </a:lnTo>
                    <a:lnTo>
                      <a:pt x="665" y="1234"/>
                    </a:lnTo>
                    <a:lnTo>
                      <a:pt x="663" y="1234"/>
                    </a:lnTo>
                    <a:lnTo>
                      <a:pt x="661" y="1234"/>
                    </a:lnTo>
                    <a:lnTo>
                      <a:pt x="659" y="1234"/>
                    </a:lnTo>
                    <a:lnTo>
                      <a:pt x="659" y="1236"/>
                    </a:lnTo>
                    <a:lnTo>
                      <a:pt x="659" y="1238"/>
                    </a:lnTo>
                    <a:lnTo>
                      <a:pt x="657" y="1238"/>
                    </a:lnTo>
                    <a:lnTo>
                      <a:pt x="657" y="1236"/>
                    </a:lnTo>
                    <a:lnTo>
                      <a:pt x="657" y="1234"/>
                    </a:lnTo>
                    <a:lnTo>
                      <a:pt x="657" y="1232"/>
                    </a:lnTo>
                    <a:lnTo>
                      <a:pt x="657" y="1231"/>
                    </a:lnTo>
                    <a:lnTo>
                      <a:pt x="655" y="1229"/>
                    </a:lnTo>
                    <a:lnTo>
                      <a:pt x="657" y="1229"/>
                    </a:lnTo>
                    <a:lnTo>
                      <a:pt x="657" y="1227"/>
                    </a:lnTo>
                    <a:lnTo>
                      <a:pt x="655" y="1227"/>
                    </a:lnTo>
                    <a:lnTo>
                      <a:pt x="655" y="1225"/>
                    </a:lnTo>
                    <a:lnTo>
                      <a:pt x="653" y="1225"/>
                    </a:lnTo>
                    <a:lnTo>
                      <a:pt x="653" y="1227"/>
                    </a:lnTo>
                    <a:lnTo>
                      <a:pt x="652" y="1227"/>
                    </a:lnTo>
                    <a:lnTo>
                      <a:pt x="650" y="1227"/>
                    </a:lnTo>
                    <a:lnTo>
                      <a:pt x="650" y="1225"/>
                    </a:lnTo>
                    <a:lnTo>
                      <a:pt x="648" y="1225"/>
                    </a:lnTo>
                    <a:lnTo>
                      <a:pt x="646" y="1227"/>
                    </a:lnTo>
                    <a:lnTo>
                      <a:pt x="646" y="1225"/>
                    </a:lnTo>
                    <a:lnTo>
                      <a:pt x="646" y="1227"/>
                    </a:lnTo>
                    <a:lnTo>
                      <a:pt x="646" y="1225"/>
                    </a:lnTo>
                    <a:lnTo>
                      <a:pt x="646" y="1223"/>
                    </a:lnTo>
                    <a:lnTo>
                      <a:pt x="646" y="1221"/>
                    </a:lnTo>
                    <a:lnTo>
                      <a:pt x="644" y="1223"/>
                    </a:lnTo>
                    <a:lnTo>
                      <a:pt x="644" y="1221"/>
                    </a:lnTo>
                    <a:lnTo>
                      <a:pt x="644" y="1223"/>
                    </a:lnTo>
                    <a:lnTo>
                      <a:pt x="644" y="1221"/>
                    </a:lnTo>
                    <a:lnTo>
                      <a:pt x="642" y="1221"/>
                    </a:lnTo>
                    <a:lnTo>
                      <a:pt x="640" y="1221"/>
                    </a:lnTo>
                    <a:lnTo>
                      <a:pt x="640" y="1219"/>
                    </a:lnTo>
                    <a:lnTo>
                      <a:pt x="638" y="1219"/>
                    </a:lnTo>
                    <a:lnTo>
                      <a:pt x="638" y="1217"/>
                    </a:lnTo>
                    <a:lnTo>
                      <a:pt x="638" y="1215"/>
                    </a:lnTo>
                    <a:lnTo>
                      <a:pt x="636" y="1215"/>
                    </a:lnTo>
                    <a:lnTo>
                      <a:pt x="636" y="1213"/>
                    </a:lnTo>
                    <a:lnTo>
                      <a:pt x="636" y="1211"/>
                    </a:lnTo>
                    <a:lnTo>
                      <a:pt x="634" y="1211"/>
                    </a:lnTo>
                    <a:lnTo>
                      <a:pt x="634" y="1209"/>
                    </a:lnTo>
                    <a:lnTo>
                      <a:pt x="632" y="1208"/>
                    </a:lnTo>
                    <a:lnTo>
                      <a:pt x="632" y="1206"/>
                    </a:lnTo>
                    <a:lnTo>
                      <a:pt x="634" y="1206"/>
                    </a:lnTo>
                    <a:lnTo>
                      <a:pt x="636" y="1206"/>
                    </a:lnTo>
                    <a:lnTo>
                      <a:pt x="636" y="1204"/>
                    </a:lnTo>
                    <a:lnTo>
                      <a:pt x="634" y="1204"/>
                    </a:lnTo>
                    <a:lnTo>
                      <a:pt x="632" y="1202"/>
                    </a:lnTo>
                    <a:lnTo>
                      <a:pt x="630" y="1204"/>
                    </a:lnTo>
                    <a:lnTo>
                      <a:pt x="630" y="1206"/>
                    </a:lnTo>
                    <a:lnTo>
                      <a:pt x="627" y="1204"/>
                    </a:lnTo>
                    <a:lnTo>
                      <a:pt x="627" y="1202"/>
                    </a:lnTo>
                    <a:lnTo>
                      <a:pt x="625" y="1204"/>
                    </a:lnTo>
                    <a:lnTo>
                      <a:pt x="623" y="1204"/>
                    </a:lnTo>
                    <a:lnTo>
                      <a:pt x="621" y="1206"/>
                    </a:lnTo>
                    <a:lnTo>
                      <a:pt x="621" y="1208"/>
                    </a:lnTo>
                    <a:lnTo>
                      <a:pt x="621" y="1209"/>
                    </a:lnTo>
                    <a:lnTo>
                      <a:pt x="619" y="1209"/>
                    </a:lnTo>
                    <a:lnTo>
                      <a:pt x="617" y="1209"/>
                    </a:lnTo>
                    <a:lnTo>
                      <a:pt x="615" y="1209"/>
                    </a:lnTo>
                    <a:lnTo>
                      <a:pt x="613" y="1209"/>
                    </a:lnTo>
                    <a:lnTo>
                      <a:pt x="611" y="1211"/>
                    </a:lnTo>
                    <a:lnTo>
                      <a:pt x="609" y="1213"/>
                    </a:lnTo>
                    <a:lnTo>
                      <a:pt x="609" y="1215"/>
                    </a:lnTo>
                    <a:lnTo>
                      <a:pt x="607" y="1217"/>
                    </a:lnTo>
                    <a:lnTo>
                      <a:pt x="607" y="1219"/>
                    </a:lnTo>
                    <a:lnTo>
                      <a:pt x="609" y="1221"/>
                    </a:lnTo>
                    <a:lnTo>
                      <a:pt x="609" y="1223"/>
                    </a:lnTo>
                    <a:lnTo>
                      <a:pt x="609" y="1225"/>
                    </a:lnTo>
                    <a:lnTo>
                      <a:pt x="609" y="1227"/>
                    </a:lnTo>
                    <a:lnTo>
                      <a:pt x="611" y="1227"/>
                    </a:lnTo>
                    <a:lnTo>
                      <a:pt x="611" y="1229"/>
                    </a:lnTo>
                    <a:lnTo>
                      <a:pt x="613" y="1231"/>
                    </a:lnTo>
                    <a:lnTo>
                      <a:pt x="613" y="1232"/>
                    </a:lnTo>
                    <a:lnTo>
                      <a:pt x="613" y="1234"/>
                    </a:lnTo>
                    <a:lnTo>
                      <a:pt x="615" y="1236"/>
                    </a:lnTo>
                    <a:lnTo>
                      <a:pt x="615" y="1238"/>
                    </a:lnTo>
                    <a:lnTo>
                      <a:pt x="615" y="1240"/>
                    </a:lnTo>
                    <a:lnTo>
                      <a:pt x="615" y="1242"/>
                    </a:lnTo>
                    <a:lnTo>
                      <a:pt x="613" y="1242"/>
                    </a:lnTo>
                    <a:lnTo>
                      <a:pt x="613" y="1244"/>
                    </a:lnTo>
                    <a:lnTo>
                      <a:pt x="613" y="1242"/>
                    </a:lnTo>
                    <a:lnTo>
                      <a:pt x="613" y="1244"/>
                    </a:lnTo>
                    <a:lnTo>
                      <a:pt x="611" y="1244"/>
                    </a:lnTo>
                    <a:lnTo>
                      <a:pt x="611" y="1246"/>
                    </a:lnTo>
                    <a:lnTo>
                      <a:pt x="609" y="1246"/>
                    </a:lnTo>
                    <a:lnTo>
                      <a:pt x="609" y="1248"/>
                    </a:lnTo>
                    <a:lnTo>
                      <a:pt x="607" y="1248"/>
                    </a:lnTo>
                    <a:lnTo>
                      <a:pt x="607" y="1250"/>
                    </a:lnTo>
                    <a:lnTo>
                      <a:pt x="607" y="1252"/>
                    </a:lnTo>
                    <a:lnTo>
                      <a:pt x="607" y="1254"/>
                    </a:lnTo>
                    <a:lnTo>
                      <a:pt x="605" y="1254"/>
                    </a:lnTo>
                    <a:lnTo>
                      <a:pt x="605" y="1256"/>
                    </a:lnTo>
                    <a:lnTo>
                      <a:pt x="604" y="1256"/>
                    </a:lnTo>
                    <a:lnTo>
                      <a:pt x="604" y="1257"/>
                    </a:lnTo>
                    <a:lnTo>
                      <a:pt x="602" y="1257"/>
                    </a:lnTo>
                    <a:lnTo>
                      <a:pt x="602" y="1259"/>
                    </a:lnTo>
                    <a:lnTo>
                      <a:pt x="600" y="1259"/>
                    </a:lnTo>
                    <a:lnTo>
                      <a:pt x="598" y="1259"/>
                    </a:lnTo>
                    <a:lnTo>
                      <a:pt x="596" y="1259"/>
                    </a:lnTo>
                    <a:lnTo>
                      <a:pt x="596" y="1261"/>
                    </a:lnTo>
                    <a:lnTo>
                      <a:pt x="594" y="1261"/>
                    </a:lnTo>
                    <a:lnTo>
                      <a:pt x="592" y="1261"/>
                    </a:lnTo>
                    <a:lnTo>
                      <a:pt x="592" y="1263"/>
                    </a:lnTo>
                    <a:lnTo>
                      <a:pt x="590" y="1263"/>
                    </a:lnTo>
                    <a:lnTo>
                      <a:pt x="590" y="1265"/>
                    </a:lnTo>
                    <a:lnTo>
                      <a:pt x="588" y="1265"/>
                    </a:lnTo>
                    <a:lnTo>
                      <a:pt x="588" y="1267"/>
                    </a:lnTo>
                    <a:lnTo>
                      <a:pt x="590" y="1267"/>
                    </a:lnTo>
                    <a:lnTo>
                      <a:pt x="588" y="1267"/>
                    </a:lnTo>
                    <a:lnTo>
                      <a:pt x="590" y="1267"/>
                    </a:lnTo>
                    <a:lnTo>
                      <a:pt x="590" y="1269"/>
                    </a:lnTo>
                    <a:lnTo>
                      <a:pt x="588" y="1269"/>
                    </a:lnTo>
                    <a:lnTo>
                      <a:pt x="588" y="1271"/>
                    </a:lnTo>
                    <a:lnTo>
                      <a:pt x="586" y="1273"/>
                    </a:lnTo>
                    <a:lnTo>
                      <a:pt x="586" y="1275"/>
                    </a:lnTo>
                    <a:lnTo>
                      <a:pt x="586" y="1277"/>
                    </a:lnTo>
                    <a:lnTo>
                      <a:pt x="584" y="1277"/>
                    </a:lnTo>
                    <a:lnTo>
                      <a:pt x="582" y="1277"/>
                    </a:lnTo>
                    <a:lnTo>
                      <a:pt x="580" y="1277"/>
                    </a:lnTo>
                    <a:lnTo>
                      <a:pt x="580" y="1279"/>
                    </a:lnTo>
                    <a:lnTo>
                      <a:pt x="579" y="1279"/>
                    </a:lnTo>
                    <a:lnTo>
                      <a:pt x="579" y="1281"/>
                    </a:lnTo>
                    <a:lnTo>
                      <a:pt x="577" y="1281"/>
                    </a:lnTo>
                    <a:lnTo>
                      <a:pt x="577" y="1282"/>
                    </a:lnTo>
                    <a:lnTo>
                      <a:pt x="575" y="1284"/>
                    </a:lnTo>
                    <a:lnTo>
                      <a:pt x="573" y="1286"/>
                    </a:lnTo>
                    <a:lnTo>
                      <a:pt x="573" y="1288"/>
                    </a:lnTo>
                    <a:lnTo>
                      <a:pt x="575" y="1290"/>
                    </a:lnTo>
                    <a:lnTo>
                      <a:pt x="575" y="1292"/>
                    </a:lnTo>
                    <a:lnTo>
                      <a:pt x="575" y="1294"/>
                    </a:lnTo>
                    <a:lnTo>
                      <a:pt x="575" y="1296"/>
                    </a:lnTo>
                    <a:lnTo>
                      <a:pt x="573" y="1298"/>
                    </a:lnTo>
                    <a:lnTo>
                      <a:pt x="571" y="1298"/>
                    </a:lnTo>
                    <a:lnTo>
                      <a:pt x="571" y="1300"/>
                    </a:lnTo>
                    <a:lnTo>
                      <a:pt x="571" y="1302"/>
                    </a:lnTo>
                    <a:lnTo>
                      <a:pt x="569" y="1304"/>
                    </a:lnTo>
                    <a:lnTo>
                      <a:pt x="567" y="1302"/>
                    </a:lnTo>
                    <a:lnTo>
                      <a:pt x="565" y="1302"/>
                    </a:lnTo>
                    <a:lnTo>
                      <a:pt x="565" y="1304"/>
                    </a:lnTo>
                    <a:lnTo>
                      <a:pt x="565" y="1306"/>
                    </a:lnTo>
                    <a:lnTo>
                      <a:pt x="567" y="1306"/>
                    </a:lnTo>
                    <a:lnTo>
                      <a:pt x="565" y="1307"/>
                    </a:lnTo>
                    <a:lnTo>
                      <a:pt x="567" y="1307"/>
                    </a:lnTo>
                    <a:lnTo>
                      <a:pt x="567" y="1309"/>
                    </a:lnTo>
                    <a:lnTo>
                      <a:pt x="567" y="1311"/>
                    </a:lnTo>
                    <a:lnTo>
                      <a:pt x="567" y="1313"/>
                    </a:lnTo>
                    <a:lnTo>
                      <a:pt x="565" y="1313"/>
                    </a:lnTo>
                    <a:lnTo>
                      <a:pt x="567" y="1315"/>
                    </a:lnTo>
                    <a:lnTo>
                      <a:pt x="565" y="1315"/>
                    </a:lnTo>
                    <a:lnTo>
                      <a:pt x="567" y="1315"/>
                    </a:lnTo>
                    <a:lnTo>
                      <a:pt x="565" y="1315"/>
                    </a:lnTo>
                    <a:lnTo>
                      <a:pt x="565" y="1317"/>
                    </a:lnTo>
                    <a:lnTo>
                      <a:pt x="567" y="1317"/>
                    </a:lnTo>
                    <a:lnTo>
                      <a:pt x="565" y="1319"/>
                    </a:lnTo>
                    <a:lnTo>
                      <a:pt x="567" y="1321"/>
                    </a:lnTo>
                    <a:lnTo>
                      <a:pt x="569" y="1321"/>
                    </a:lnTo>
                    <a:lnTo>
                      <a:pt x="569" y="1323"/>
                    </a:lnTo>
                    <a:lnTo>
                      <a:pt x="571" y="1323"/>
                    </a:lnTo>
                    <a:lnTo>
                      <a:pt x="569" y="1323"/>
                    </a:lnTo>
                    <a:lnTo>
                      <a:pt x="571" y="1323"/>
                    </a:lnTo>
                    <a:lnTo>
                      <a:pt x="571" y="1325"/>
                    </a:lnTo>
                    <a:lnTo>
                      <a:pt x="569" y="1325"/>
                    </a:lnTo>
                    <a:lnTo>
                      <a:pt x="571" y="1325"/>
                    </a:lnTo>
                    <a:lnTo>
                      <a:pt x="569" y="1325"/>
                    </a:lnTo>
                    <a:lnTo>
                      <a:pt x="571" y="1327"/>
                    </a:lnTo>
                    <a:lnTo>
                      <a:pt x="569" y="1327"/>
                    </a:lnTo>
                    <a:lnTo>
                      <a:pt x="571" y="1327"/>
                    </a:lnTo>
                    <a:lnTo>
                      <a:pt x="569" y="1327"/>
                    </a:lnTo>
                    <a:lnTo>
                      <a:pt x="571" y="1329"/>
                    </a:lnTo>
                    <a:lnTo>
                      <a:pt x="571" y="1331"/>
                    </a:lnTo>
                    <a:lnTo>
                      <a:pt x="569" y="1331"/>
                    </a:lnTo>
                    <a:lnTo>
                      <a:pt x="571" y="1331"/>
                    </a:lnTo>
                    <a:lnTo>
                      <a:pt x="569" y="1331"/>
                    </a:lnTo>
                    <a:lnTo>
                      <a:pt x="569" y="1332"/>
                    </a:lnTo>
                    <a:lnTo>
                      <a:pt x="569" y="1331"/>
                    </a:lnTo>
                    <a:lnTo>
                      <a:pt x="567" y="1331"/>
                    </a:lnTo>
                    <a:lnTo>
                      <a:pt x="567" y="1332"/>
                    </a:lnTo>
                    <a:lnTo>
                      <a:pt x="565" y="1332"/>
                    </a:lnTo>
                    <a:lnTo>
                      <a:pt x="565" y="1334"/>
                    </a:lnTo>
                    <a:lnTo>
                      <a:pt x="563" y="1334"/>
                    </a:lnTo>
                    <a:lnTo>
                      <a:pt x="563" y="1332"/>
                    </a:lnTo>
                    <a:lnTo>
                      <a:pt x="561" y="1331"/>
                    </a:lnTo>
                    <a:lnTo>
                      <a:pt x="559" y="1331"/>
                    </a:lnTo>
                    <a:lnTo>
                      <a:pt x="559" y="1329"/>
                    </a:lnTo>
                    <a:lnTo>
                      <a:pt x="557" y="1329"/>
                    </a:lnTo>
                    <a:lnTo>
                      <a:pt x="555" y="1327"/>
                    </a:lnTo>
                    <a:lnTo>
                      <a:pt x="554" y="1327"/>
                    </a:lnTo>
                    <a:lnTo>
                      <a:pt x="554" y="1325"/>
                    </a:lnTo>
                    <a:lnTo>
                      <a:pt x="554" y="1323"/>
                    </a:lnTo>
                    <a:lnTo>
                      <a:pt x="552" y="1323"/>
                    </a:lnTo>
                    <a:lnTo>
                      <a:pt x="552" y="1321"/>
                    </a:lnTo>
                    <a:lnTo>
                      <a:pt x="550" y="1319"/>
                    </a:lnTo>
                    <a:lnTo>
                      <a:pt x="552" y="1317"/>
                    </a:lnTo>
                    <a:lnTo>
                      <a:pt x="550" y="1317"/>
                    </a:lnTo>
                    <a:lnTo>
                      <a:pt x="550" y="1315"/>
                    </a:lnTo>
                    <a:lnTo>
                      <a:pt x="550" y="1313"/>
                    </a:lnTo>
                    <a:lnTo>
                      <a:pt x="552" y="1313"/>
                    </a:lnTo>
                    <a:lnTo>
                      <a:pt x="550" y="1313"/>
                    </a:lnTo>
                    <a:lnTo>
                      <a:pt x="550" y="1311"/>
                    </a:lnTo>
                    <a:lnTo>
                      <a:pt x="548" y="1311"/>
                    </a:lnTo>
                    <a:lnTo>
                      <a:pt x="548" y="1309"/>
                    </a:lnTo>
                    <a:lnTo>
                      <a:pt x="550" y="1309"/>
                    </a:lnTo>
                    <a:lnTo>
                      <a:pt x="548" y="1307"/>
                    </a:lnTo>
                    <a:lnTo>
                      <a:pt x="546" y="1307"/>
                    </a:lnTo>
                    <a:lnTo>
                      <a:pt x="546" y="1306"/>
                    </a:lnTo>
                    <a:lnTo>
                      <a:pt x="544" y="1306"/>
                    </a:lnTo>
                    <a:lnTo>
                      <a:pt x="542" y="1306"/>
                    </a:lnTo>
                    <a:lnTo>
                      <a:pt x="544" y="1304"/>
                    </a:lnTo>
                    <a:lnTo>
                      <a:pt x="542" y="1304"/>
                    </a:lnTo>
                    <a:lnTo>
                      <a:pt x="542" y="1302"/>
                    </a:lnTo>
                    <a:lnTo>
                      <a:pt x="542" y="1300"/>
                    </a:lnTo>
                    <a:lnTo>
                      <a:pt x="540" y="1300"/>
                    </a:lnTo>
                    <a:lnTo>
                      <a:pt x="540" y="1298"/>
                    </a:lnTo>
                    <a:lnTo>
                      <a:pt x="540" y="1296"/>
                    </a:lnTo>
                    <a:lnTo>
                      <a:pt x="540" y="1294"/>
                    </a:lnTo>
                    <a:lnTo>
                      <a:pt x="540" y="1292"/>
                    </a:lnTo>
                    <a:lnTo>
                      <a:pt x="540" y="1290"/>
                    </a:lnTo>
                    <a:lnTo>
                      <a:pt x="538" y="1290"/>
                    </a:lnTo>
                    <a:lnTo>
                      <a:pt x="536" y="1290"/>
                    </a:lnTo>
                    <a:lnTo>
                      <a:pt x="534" y="1290"/>
                    </a:lnTo>
                    <a:lnTo>
                      <a:pt x="532" y="1292"/>
                    </a:lnTo>
                    <a:lnTo>
                      <a:pt x="531" y="1292"/>
                    </a:lnTo>
                    <a:lnTo>
                      <a:pt x="531" y="1290"/>
                    </a:lnTo>
                    <a:lnTo>
                      <a:pt x="529" y="1290"/>
                    </a:lnTo>
                    <a:lnTo>
                      <a:pt x="527" y="1292"/>
                    </a:lnTo>
                    <a:lnTo>
                      <a:pt x="527" y="1294"/>
                    </a:lnTo>
                    <a:lnTo>
                      <a:pt x="527" y="1296"/>
                    </a:lnTo>
                    <a:lnTo>
                      <a:pt x="525" y="1298"/>
                    </a:lnTo>
                    <a:lnTo>
                      <a:pt x="525" y="1300"/>
                    </a:lnTo>
                    <a:lnTo>
                      <a:pt x="523" y="1302"/>
                    </a:lnTo>
                    <a:lnTo>
                      <a:pt x="523" y="1304"/>
                    </a:lnTo>
                    <a:lnTo>
                      <a:pt x="523" y="1306"/>
                    </a:lnTo>
                    <a:lnTo>
                      <a:pt x="523" y="1307"/>
                    </a:lnTo>
                    <a:lnTo>
                      <a:pt x="521" y="1307"/>
                    </a:lnTo>
                    <a:lnTo>
                      <a:pt x="521" y="1309"/>
                    </a:lnTo>
                    <a:lnTo>
                      <a:pt x="521" y="1311"/>
                    </a:lnTo>
                    <a:lnTo>
                      <a:pt x="519" y="1311"/>
                    </a:lnTo>
                    <a:lnTo>
                      <a:pt x="519" y="1309"/>
                    </a:lnTo>
                    <a:lnTo>
                      <a:pt x="517" y="1311"/>
                    </a:lnTo>
                    <a:lnTo>
                      <a:pt x="515" y="1311"/>
                    </a:lnTo>
                    <a:lnTo>
                      <a:pt x="513" y="1313"/>
                    </a:lnTo>
                    <a:lnTo>
                      <a:pt x="511" y="1311"/>
                    </a:lnTo>
                    <a:lnTo>
                      <a:pt x="509" y="1311"/>
                    </a:lnTo>
                    <a:lnTo>
                      <a:pt x="509" y="1313"/>
                    </a:lnTo>
                    <a:lnTo>
                      <a:pt x="507" y="1315"/>
                    </a:lnTo>
                    <a:lnTo>
                      <a:pt x="506" y="1315"/>
                    </a:lnTo>
                    <a:lnTo>
                      <a:pt x="506" y="1317"/>
                    </a:lnTo>
                    <a:lnTo>
                      <a:pt x="504" y="1317"/>
                    </a:lnTo>
                    <a:lnTo>
                      <a:pt x="504" y="1315"/>
                    </a:lnTo>
                    <a:lnTo>
                      <a:pt x="502" y="1315"/>
                    </a:lnTo>
                    <a:lnTo>
                      <a:pt x="502" y="1313"/>
                    </a:lnTo>
                    <a:lnTo>
                      <a:pt x="500" y="1311"/>
                    </a:lnTo>
                    <a:lnTo>
                      <a:pt x="498" y="1311"/>
                    </a:lnTo>
                    <a:lnTo>
                      <a:pt x="498" y="1313"/>
                    </a:lnTo>
                    <a:lnTo>
                      <a:pt x="496" y="1313"/>
                    </a:lnTo>
                    <a:lnTo>
                      <a:pt x="494" y="1313"/>
                    </a:lnTo>
                    <a:lnTo>
                      <a:pt x="494" y="1311"/>
                    </a:lnTo>
                    <a:lnTo>
                      <a:pt x="492" y="1311"/>
                    </a:lnTo>
                    <a:lnTo>
                      <a:pt x="490" y="1311"/>
                    </a:lnTo>
                    <a:lnTo>
                      <a:pt x="488" y="1311"/>
                    </a:lnTo>
                    <a:lnTo>
                      <a:pt x="486" y="1311"/>
                    </a:lnTo>
                    <a:lnTo>
                      <a:pt x="484" y="1311"/>
                    </a:lnTo>
                    <a:lnTo>
                      <a:pt x="482" y="1311"/>
                    </a:lnTo>
                    <a:lnTo>
                      <a:pt x="481" y="1309"/>
                    </a:lnTo>
                    <a:lnTo>
                      <a:pt x="481" y="1311"/>
                    </a:lnTo>
                    <a:lnTo>
                      <a:pt x="481" y="1309"/>
                    </a:lnTo>
                    <a:lnTo>
                      <a:pt x="481" y="1311"/>
                    </a:lnTo>
                    <a:lnTo>
                      <a:pt x="481" y="1309"/>
                    </a:lnTo>
                    <a:lnTo>
                      <a:pt x="479" y="1309"/>
                    </a:lnTo>
                    <a:lnTo>
                      <a:pt x="477" y="1309"/>
                    </a:lnTo>
                    <a:lnTo>
                      <a:pt x="475" y="1309"/>
                    </a:lnTo>
                    <a:lnTo>
                      <a:pt x="473" y="1313"/>
                    </a:lnTo>
                    <a:lnTo>
                      <a:pt x="473" y="1315"/>
                    </a:lnTo>
                    <a:lnTo>
                      <a:pt x="471" y="1317"/>
                    </a:lnTo>
                    <a:lnTo>
                      <a:pt x="471" y="1319"/>
                    </a:lnTo>
                    <a:lnTo>
                      <a:pt x="471" y="1321"/>
                    </a:lnTo>
                    <a:lnTo>
                      <a:pt x="469" y="1327"/>
                    </a:lnTo>
                    <a:lnTo>
                      <a:pt x="467" y="1331"/>
                    </a:lnTo>
                    <a:lnTo>
                      <a:pt x="465" y="1336"/>
                    </a:lnTo>
                    <a:lnTo>
                      <a:pt x="465" y="1338"/>
                    </a:lnTo>
                    <a:lnTo>
                      <a:pt x="463" y="1342"/>
                    </a:lnTo>
                    <a:lnTo>
                      <a:pt x="461" y="1350"/>
                    </a:lnTo>
                    <a:lnTo>
                      <a:pt x="459" y="1354"/>
                    </a:lnTo>
                    <a:lnTo>
                      <a:pt x="459" y="1356"/>
                    </a:lnTo>
                    <a:lnTo>
                      <a:pt x="458" y="1363"/>
                    </a:lnTo>
                    <a:lnTo>
                      <a:pt x="456" y="1365"/>
                    </a:lnTo>
                    <a:lnTo>
                      <a:pt x="458" y="1365"/>
                    </a:lnTo>
                    <a:lnTo>
                      <a:pt x="459" y="1365"/>
                    </a:lnTo>
                    <a:lnTo>
                      <a:pt x="459" y="1367"/>
                    </a:lnTo>
                    <a:lnTo>
                      <a:pt x="459" y="1369"/>
                    </a:lnTo>
                    <a:lnTo>
                      <a:pt x="461" y="1369"/>
                    </a:lnTo>
                    <a:lnTo>
                      <a:pt x="461" y="1367"/>
                    </a:lnTo>
                    <a:lnTo>
                      <a:pt x="463" y="1369"/>
                    </a:lnTo>
                    <a:lnTo>
                      <a:pt x="463" y="1367"/>
                    </a:lnTo>
                    <a:lnTo>
                      <a:pt x="465" y="1367"/>
                    </a:lnTo>
                    <a:lnTo>
                      <a:pt x="465" y="1369"/>
                    </a:lnTo>
                    <a:lnTo>
                      <a:pt x="467" y="1367"/>
                    </a:lnTo>
                    <a:lnTo>
                      <a:pt x="467" y="1369"/>
                    </a:lnTo>
                    <a:lnTo>
                      <a:pt x="465" y="1371"/>
                    </a:lnTo>
                    <a:lnTo>
                      <a:pt x="463" y="1373"/>
                    </a:lnTo>
                    <a:lnTo>
                      <a:pt x="461" y="1375"/>
                    </a:lnTo>
                    <a:lnTo>
                      <a:pt x="461" y="1377"/>
                    </a:lnTo>
                    <a:lnTo>
                      <a:pt x="461" y="1379"/>
                    </a:lnTo>
                    <a:lnTo>
                      <a:pt x="463" y="1381"/>
                    </a:lnTo>
                    <a:lnTo>
                      <a:pt x="465" y="1381"/>
                    </a:lnTo>
                    <a:lnTo>
                      <a:pt x="467" y="1379"/>
                    </a:lnTo>
                    <a:lnTo>
                      <a:pt x="469" y="1379"/>
                    </a:lnTo>
                    <a:lnTo>
                      <a:pt x="471" y="1381"/>
                    </a:lnTo>
                    <a:lnTo>
                      <a:pt x="471" y="1382"/>
                    </a:lnTo>
                    <a:lnTo>
                      <a:pt x="471" y="1384"/>
                    </a:lnTo>
                    <a:lnTo>
                      <a:pt x="469" y="1384"/>
                    </a:lnTo>
                    <a:lnTo>
                      <a:pt x="471" y="1384"/>
                    </a:lnTo>
                    <a:lnTo>
                      <a:pt x="471" y="1386"/>
                    </a:lnTo>
                    <a:lnTo>
                      <a:pt x="471" y="1388"/>
                    </a:lnTo>
                    <a:lnTo>
                      <a:pt x="471" y="1390"/>
                    </a:lnTo>
                    <a:lnTo>
                      <a:pt x="469" y="1390"/>
                    </a:lnTo>
                    <a:lnTo>
                      <a:pt x="469" y="1392"/>
                    </a:lnTo>
                    <a:lnTo>
                      <a:pt x="471" y="1392"/>
                    </a:lnTo>
                    <a:lnTo>
                      <a:pt x="471" y="1394"/>
                    </a:lnTo>
                    <a:lnTo>
                      <a:pt x="471" y="1396"/>
                    </a:lnTo>
                    <a:lnTo>
                      <a:pt x="475" y="1396"/>
                    </a:lnTo>
                    <a:lnTo>
                      <a:pt x="475" y="1407"/>
                    </a:lnTo>
                    <a:lnTo>
                      <a:pt x="471" y="1407"/>
                    </a:lnTo>
                    <a:lnTo>
                      <a:pt x="463" y="1407"/>
                    </a:lnTo>
                    <a:lnTo>
                      <a:pt x="463" y="1411"/>
                    </a:lnTo>
                    <a:lnTo>
                      <a:pt x="463" y="1415"/>
                    </a:lnTo>
                    <a:lnTo>
                      <a:pt x="465" y="1415"/>
                    </a:lnTo>
                    <a:lnTo>
                      <a:pt x="465" y="1419"/>
                    </a:lnTo>
                    <a:lnTo>
                      <a:pt x="465" y="1421"/>
                    </a:lnTo>
                    <a:lnTo>
                      <a:pt x="463" y="1421"/>
                    </a:lnTo>
                    <a:lnTo>
                      <a:pt x="461" y="1421"/>
                    </a:lnTo>
                    <a:lnTo>
                      <a:pt x="461" y="1423"/>
                    </a:lnTo>
                    <a:lnTo>
                      <a:pt x="459" y="1423"/>
                    </a:lnTo>
                    <a:lnTo>
                      <a:pt x="459" y="1425"/>
                    </a:lnTo>
                    <a:lnTo>
                      <a:pt x="461" y="1425"/>
                    </a:lnTo>
                    <a:lnTo>
                      <a:pt x="461" y="1429"/>
                    </a:lnTo>
                    <a:lnTo>
                      <a:pt x="459" y="1431"/>
                    </a:lnTo>
                    <a:lnTo>
                      <a:pt x="459" y="1432"/>
                    </a:lnTo>
                    <a:lnTo>
                      <a:pt x="458" y="1432"/>
                    </a:lnTo>
                    <a:lnTo>
                      <a:pt x="458" y="1431"/>
                    </a:lnTo>
                    <a:lnTo>
                      <a:pt x="456" y="1429"/>
                    </a:lnTo>
                    <a:lnTo>
                      <a:pt x="452" y="1427"/>
                    </a:lnTo>
                    <a:lnTo>
                      <a:pt x="450" y="1429"/>
                    </a:lnTo>
                    <a:lnTo>
                      <a:pt x="448" y="1434"/>
                    </a:lnTo>
                    <a:lnTo>
                      <a:pt x="446" y="1434"/>
                    </a:lnTo>
                    <a:lnTo>
                      <a:pt x="446" y="1440"/>
                    </a:lnTo>
                    <a:lnTo>
                      <a:pt x="446" y="1444"/>
                    </a:lnTo>
                    <a:lnTo>
                      <a:pt x="444" y="1444"/>
                    </a:lnTo>
                    <a:lnTo>
                      <a:pt x="444" y="1446"/>
                    </a:lnTo>
                    <a:lnTo>
                      <a:pt x="442" y="1448"/>
                    </a:lnTo>
                    <a:lnTo>
                      <a:pt x="440" y="1450"/>
                    </a:lnTo>
                    <a:lnTo>
                      <a:pt x="438" y="1452"/>
                    </a:lnTo>
                    <a:lnTo>
                      <a:pt x="438" y="1454"/>
                    </a:lnTo>
                    <a:lnTo>
                      <a:pt x="440" y="1454"/>
                    </a:lnTo>
                    <a:lnTo>
                      <a:pt x="440" y="1456"/>
                    </a:lnTo>
                    <a:lnTo>
                      <a:pt x="442" y="1456"/>
                    </a:lnTo>
                    <a:lnTo>
                      <a:pt x="440" y="1457"/>
                    </a:lnTo>
                    <a:lnTo>
                      <a:pt x="438" y="1459"/>
                    </a:lnTo>
                    <a:lnTo>
                      <a:pt x="440" y="1459"/>
                    </a:lnTo>
                    <a:lnTo>
                      <a:pt x="442" y="1461"/>
                    </a:lnTo>
                    <a:lnTo>
                      <a:pt x="442" y="1463"/>
                    </a:lnTo>
                    <a:lnTo>
                      <a:pt x="442" y="1465"/>
                    </a:lnTo>
                    <a:lnTo>
                      <a:pt x="440" y="1465"/>
                    </a:lnTo>
                    <a:lnTo>
                      <a:pt x="442" y="1467"/>
                    </a:lnTo>
                    <a:lnTo>
                      <a:pt x="442" y="1469"/>
                    </a:lnTo>
                    <a:lnTo>
                      <a:pt x="442" y="1471"/>
                    </a:lnTo>
                    <a:lnTo>
                      <a:pt x="442" y="1473"/>
                    </a:lnTo>
                    <a:lnTo>
                      <a:pt x="442" y="1475"/>
                    </a:lnTo>
                    <a:lnTo>
                      <a:pt x="444" y="1475"/>
                    </a:lnTo>
                    <a:lnTo>
                      <a:pt x="444" y="1479"/>
                    </a:lnTo>
                    <a:lnTo>
                      <a:pt x="446" y="1480"/>
                    </a:lnTo>
                    <a:lnTo>
                      <a:pt x="446" y="1482"/>
                    </a:lnTo>
                    <a:lnTo>
                      <a:pt x="444" y="1482"/>
                    </a:lnTo>
                    <a:lnTo>
                      <a:pt x="440" y="1484"/>
                    </a:lnTo>
                    <a:lnTo>
                      <a:pt x="438" y="1484"/>
                    </a:lnTo>
                    <a:lnTo>
                      <a:pt x="438" y="1486"/>
                    </a:lnTo>
                    <a:lnTo>
                      <a:pt x="438" y="1488"/>
                    </a:lnTo>
                    <a:lnTo>
                      <a:pt x="438" y="1490"/>
                    </a:lnTo>
                    <a:lnTo>
                      <a:pt x="438" y="1492"/>
                    </a:lnTo>
                    <a:lnTo>
                      <a:pt x="436" y="1492"/>
                    </a:lnTo>
                    <a:lnTo>
                      <a:pt x="436" y="1494"/>
                    </a:lnTo>
                    <a:lnTo>
                      <a:pt x="436" y="1496"/>
                    </a:lnTo>
                    <a:lnTo>
                      <a:pt x="438" y="1498"/>
                    </a:lnTo>
                    <a:lnTo>
                      <a:pt x="436" y="1498"/>
                    </a:lnTo>
                    <a:lnTo>
                      <a:pt x="436" y="1500"/>
                    </a:lnTo>
                    <a:lnTo>
                      <a:pt x="434" y="1502"/>
                    </a:lnTo>
                    <a:lnTo>
                      <a:pt x="434" y="1504"/>
                    </a:lnTo>
                    <a:lnTo>
                      <a:pt x="436" y="1505"/>
                    </a:lnTo>
                    <a:lnTo>
                      <a:pt x="438" y="1507"/>
                    </a:lnTo>
                    <a:lnTo>
                      <a:pt x="438" y="1509"/>
                    </a:lnTo>
                    <a:lnTo>
                      <a:pt x="438" y="1511"/>
                    </a:lnTo>
                    <a:lnTo>
                      <a:pt x="438" y="1513"/>
                    </a:lnTo>
                    <a:lnTo>
                      <a:pt x="438" y="1515"/>
                    </a:lnTo>
                    <a:lnTo>
                      <a:pt x="438" y="1517"/>
                    </a:lnTo>
                    <a:lnTo>
                      <a:pt x="436" y="1519"/>
                    </a:lnTo>
                    <a:lnTo>
                      <a:pt x="436" y="1521"/>
                    </a:lnTo>
                    <a:lnTo>
                      <a:pt x="434" y="1525"/>
                    </a:lnTo>
                    <a:lnTo>
                      <a:pt x="434" y="1527"/>
                    </a:lnTo>
                    <a:lnTo>
                      <a:pt x="434" y="1530"/>
                    </a:lnTo>
                    <a:lnTo>
                      <a:pt x="434" y="1532"/>
                    </a:lnTo>
                    <a:lnTo>
                      <a:pt x="433" y="1532"/>
                    </a:lnTo>
                    <a:lnTo>
                      <a:pt x="433" y="1534"/>
                    </a:lnTo>
                    <a:lnTo>
                      <a:pt x="434" y="1534"/>
                    </a:lnTo>
                    <a:lnTo>
                      <a:pt x="434" y="1536"/>
                    </a:lnTo>
                    <a:lnTo>
                      <a:pt x="433" y="1536"/>
                    </a:lnTo>
                    <a:lnTo>
                      <a:pt x="431" y="1536"/>
                    </a:lnTo>
                    <a:lnTo>
                      <a:pt x="427" y="1534"/>
                    </a:lnTo>
                    <a:lnTo>
                      <a:pt x="425" y="1534"/>
                    </a:lnTo>
                    <a:lnTo>
                      <a:pt x="423" y="1534"/>
                    </a:lnTo>
                    <a:lnTo>
                      <a:pt x="421" y="1534"/>
                    </a:lnTo>
                    <a:lnTo>
                      <a:pt x="421" y="1536"/>
                    </a:lnTo>
                    <a:lnTo>
                      <a:pt x="421" y="1534"/>
                    </a:lnTo>
                    <a:lnTo>
                      <a:pt x="419" y="1534"/>
                    </a:lnTo>
                    <a:lnTo>
                      <a:pt x="417" y="1534"/>
                    </a:lnTo>
                    <a:lnTo>
                      <a:pt x="417" y="1532"/>
                    </a:lnTo>
                    <a:lnTo>
                      <a:pt x="415" y="1534"/>
                    </a:lnTo>
                    <a:lnTo>
                      <a:pt x="417" y="1536"/>
                    </a:lnTo>
                    <a:lnTo>
                      <a:pt x="415" y="1536"/>
                    </a:lnTo>
                    <a:lnTo>
                      <a:pt x="415" y="1538"/>
                    </a:lnTo>
                    <a:lnTo>
                      <a:pt x="413" y="1538"/>
                    </a:lnTo>
                    <a:lnTo>
                      <a:pt x="415" y="1538"/>
                    </a:lnTo>
                    <a:lnTo>
                      <a:pt x="413" y="1538"/>
                    </a:lnTo>
                    <a:lnTo>
                      <a:pt x="415" y="1538"/>
                    </a:lnTo>
                    <a:lnTo>
                      <a:pt x="413" y="1538"/>
                    </a:lnTo>
                    <a:lnTo>
                      <a:pt x="413" y="1540"/>
                    </a:lnTo>
                    <a:lnTo>
                      <a:pt x="413" y="1542"/>
                    </a:lnTo>
                    <a:lnTo>
                      <a:pt x="415" y="1542"/>
                    </a:lnTo>
                    <a:lnTo>
                      <a:pt x="413" y="1542"/>
                    </a:lnTo>
                    <a:lnTo>
                      <a:pt x="413" y="1544"/>
                    </a:lnTo>
                    <a:lnTo>
                      <a:pt x="411" y="1544"/>
                    </a:lnTo>
                    <a:lnTo>
                      <a:pt x="413" y="1544"/>
                    </a:lnTo>
                    <a:lnTo>
                      <a:pt x="411" y="1546"/>
                    </a:lnTo>
                    <a:lnTo>
                      <a:pt x="409" y="1546"/>
                    </a:lnTo>
                    <a:lnTo>
                      <a:pt x="409" y="1544"/>
                    </a:lnTo>
                    <a:lnTo>
                      <a:pt x="408" y="1544"/>
                    </a:lnTo>
                    <a:lnTo>
                      <a:pt x="406" y="1544"/>
                    </a:lnTo>
                    <a:lnTo>
                      <a:pt x="404" y="1546"/>
                    </a:lnTo>
                    <a:lnTo>
                      <a:pt x="406" y="1546"/>
                    </a:lnTo>
                    <a:lnTo>
                      <a:pt x="404" y="1548"/>
                    </a:lnTo>
                    <a:lnTo>
                      <a:pt x="404" y="1550"/>
                    </a:lnTo>
                    <a:lnTo>
                      <a:pt x="404" y="1552"/>
                    </a:lnTo>
                    <a:lnTo>
                      <a:pt x="404" y="1554"/>
                    </a:lnTo>
                    <a:lnTo>
                      <a:pt x="404" y="1555"/>
                    </a:lnTo>
                    <a:lnTo>
                      <a:pt x="406" y="1555"/>
                    </a:lnTo>
                    <a:lnTo>
                      <a:pt x="406" y="1557"/>
                    </a:lnTo>
                    <a:lnTo>
                      <a:pt x="408" y="1557"/>
                    </a:lnTo>
                    <a:lnTo>
                      <a:pt x="409" y="1557"/>
                    </a:lnTo>
                    <a:lnTo>
                      <a:pt x="409" y="1559"/>
                    </a:lnTo>
                    <a:lnTo>
                      <a:pt x="411" y="1559"/>
                    </a:lnTo>
                    <a:lnTo>
                      <a:pt x="409" y="1559"/>
                    </a:lnTo>
                    <a:lnTo>
                      <a:pt x="411" y="1561"/>
                    </a:lnTo>
                    <a:lnTo>
                      <a:pt x="411" y="1563"/>
                    </a:lnTo>
                    <a:lnTo>
                      <a:pt x="411" y="1565"/>
                    </a:lnTo>
                    <a:lnTo>
                      <a:pt x="413" y="1565"/>
                    </a:lnTo>
                    <a:lnTo>
                      <a:pt x="415" y="1565"/>
                    </a:lnTo>
                    <a:lnTo>
                      <a:pt x="415" y="1567"/>
                    </a:lnTo>
                    <a:lnTo>
                      <a:pt x="417" y="1567"/>
                    </a:lnTo>
                    <a:lnTo>
                      <a:pt x="417" y="1569"/>
                    </a:lnTo>
                    <a:lnTo>
                      <a:pt x="417" y="1571"/>
                    </a:lnTo>
                    <a:lnTo>
                      <a:pt x="419" y="1571"/>
                    </a:lnTo>
                    <a:lnTo>
                      <a:pt x="417" y="1573"/>
                    </a:lnTo>
                    <a:lnTo>
                      <a:pt x="419" y="1573"/>
                    </a:lnTo>
                    <a:lnTo>
                      <a:pt x="419" y="1575"/>
                    </a:lnTo>
                    <a:lnTo>
                      <a:pt x="421" y="1575"/>
                    </a:lnTo>
                    <a:lnTo>
                      <a:pt x="421" y="1577"/>
                    </a:lnTo>
                    <a:lnTo>
                      <a:pt x="421" y="1579"/>
                    </a:lnTo>
                    <a:lnTo>
                      <a:pt x="423" y="1579"/>
                    </a:lnTo>
                    <a:lnTo>
                      <a:pt x="423" y="1580"/>
                    </a:lnTo>
                    <a:lnTo>
                      <a:pt x="425" y="1580"/>
                    </a:lnTo>
                    <a:lnTo>
                      <a:pt x="425" y="1582"/>
                    </a:lnTo>
                    <a:lnTo>
                      <a:pt x="427" y="1582"/>
                    </a:lnTo>
                    <a:lnTo>
                      <a:pt x="427" y="1584"/>
                    </a:lnTo>
                    <a:lnTo>
                      <a:pt x="429" y="1586"/>
                    </a:lnTo>
                    <a:lnTo>
                      <a:pt x="429" y="1588"/>
                    </a:lnTo>
                    <a:lnTo>
                      <a:pt x="431" y="1588"/>
                    </a:lnTo>
                    <a:lnTo>
                      <a:pt x="433" y="1590"/>
                    </a:lnTo>
                    <a:lnTo>
                      <a:pt x="433" y="1592"/>
                    </a:lnTo>
                    <a:lnTo>
                      <a:pt x="433" y="1594"/>
                    </a:lnTo>
                    <a:lnTo>
                      <a:pt x="434" y="1594"/>
                    </a:lnTo>
                    <a:lnTo>
                      <a:pt x="434" y="1596"/>
                    </a:lnTo>
                    <a:lnTo>
                      <a:pt x="436" y="1596"/>
                    </a:lnTo>
                    <a:lnTo>
                      <a:pt x="436" y="1594"/>
                    </a:lnTo>
                    <a:lnTo>
                      <a:pt x="438" y="1594"/>
                    </a:lnTo>
                    <a:lnTo>
                      <a:pt x="438" y="1596"/>
                    </a:lnTo>
                    <a:lnTo>
                      <a:pt x="440" y="1596"/>
                    </a:lnTo>
                    <a:lnTo>
                      <a:pt x="438" y="1598"/>
                    </a:lnTo>
                    <a:lnTo>
                      <a:pt x="440" y="1598"/>
                    </a:lnTo>
                    <a:lnTo>
                      <a:pt x="438" y="1600"/>
                    </a:lnTo>
                    <a:lnTo>
                      <a:pt x="438" y="1602"/>
                    </a:lnTo>
                    <a:lnTo>
                      <a:pt x="436" y="1602"/>
                    </a:lnTo>
                    <a:lnTo>
                      <a:pt x="434" y="1602"/>
                    </a:lnTo>
                    <a:lnTo>
                      <a:pt x="434" y="1604"/>
                    </a:lnTo>
                    <a:lnTo>
                      <a:pt x="433" y="1604"/>
                    </a:lnTo>
                    <a:lnTo>
                      <a:pt x="433" y="1605"/>
                    </a:lnTo>
                    <a:lnTo>
                      <a:pt x="431" y="1605"/>
                    </a:lnTo>
                    <a:lnTo>
                      <a:pt x="431" y="1604"/>
                    </a:lnTo>
                    <a:lnTo>
                      <a:pt x="429" y="1604"/>
                    </a:lnTo>
                    <a:lnTo>
                      <a:pt x="429" y="1602"/>
                    </a:lnTo>
                    <a:lnTo>
                      <a:pt x="427" y="1602"/>
                    </a:lnTo>
                    <a:lnTo>
                      <a:pt x="429" y="1600"/>
                    </a:lnTo>
                    <a:lnTo>
                      <a:pt x="427" y="1600"/>
                    </a:lnTo>
                    <a:lnTo>
                      <a:pt x="425" y="1600"/>
                    </a:lnTo>
                    <a:lnTo>
                      <a:pt x="425" y="1598"/>
                    </a:lnTo>
                    <a:lnTo>
                      <a:pt x="423" y="1598"/>
                    </a:lnTo>
                    <a:lnTo>
                      <a:pt x="423" y="1600"/>
                    </a:lnTo>
                    <a:lnTo>
                      <a:pt x="423" y="1602"/>
                    </a:lnTo>
                    <a:lnTo>
                      <a:pt x="425" y="1604"/>
                    </a:lnTo>
                    <a:lnTo>
                      <a:pt x="423" y="1605"/>
                    </a:lnTo>
                    <a:lnTo>
                      <a:pt x="421" y="1605"/>
                    </a:lnTo>
                    <a:lnTo>
                      <a:pt x="419" y="1605"/>
                    </a:lnTo>
                    <a:lnTo>
                      <a:pt x="419" y="1607"/>
                    </a:lnTo>
                    <a:lnTo>
                      <a:pt x="419" y="1609"/>
                    </a:lnTo>
                    <a:lnTo>
                      <a:pt x="417" y="1609"/>
                    </a:lnTo>
                    <a:lnTo>
                      <a:pt x="415" y="1607"/>
                    </a:lnTo>
                    <a:lnTo>
                      <a:pt x="413" y="1607"/>
                    </a:lnTo>
                    <a:lnTo>
                      <a:pt x="411" y="1607"/>
                    </a:lnTo>
                    <a:lnTo>
                      <a:pt x="409" y="1607"/>
                    </a:lnTo>
                    <a:lnTo>
                      <a:pt x="408" y="1607"/>
                    </a:lnTo>
                    <a:lnTo>
                      <a:pt x="408" y="1605"/>
                    </a:lnTo>
                    <a:lnTo>
                      <a:pt x="406" y="1605"/>
                    </a:lnTo>
                    <a:lnTo>
                      <a:pt x="404" y="1607"/>
                    </a:lnTo>
                    <a:lnTo>
                      <a:pt x="404" y="1609"/>
                    </a:lnTo>
                    <a:lnTo>
                      <a:pt x="402" y="1609"/>
                    </a:lnTo>
                    <a:lnTo>
                      <a:pt x="402" y="1611"/>
                    </a:lnTo>
                    <a:lnTo>
                      <a:pt x="400" y="1611"/>
                    </a:lnTo>
                    <a:lnTo>
                      <a:pt x="398" y="1611"/>
                    </a:lnTo>
                    <a:lnTo>
                      <a:pt x="398" y="1613"/>
                    </a:lnTo>
                    <a:lnTo>
                      <a:pt x="396" y="1613"/>
                    </a:lnTo>
                    <a:lnTo>
                      <a:pt x="396" y="1615"/>
                    </a:lnTo>
                    <a:lnTo>
                      <a:pt x="394" y="1615"/>
                    </a:lnTo>
                    <a:lnTo>
                      <a:pt x="392" y="1615"/>
                    </a:lnTo>
                    <a:lnTo>
                      <a:pt x="392" y="1613"/>
                    </a:lnTo>
                    <a:lnTo>
                      <a:pt x="390" y="1613"/>
                    </a:lnTo>
                    <a:lnTo>
                      <a:pt x="392" y="1613"/>
                    </a:lnTo>
                    <a:lnTo>
                      <a:pt x="392" y="1611"/>
                    </a:lnTo>
                    <a:lnTo>
                      <a:pt x="390" y="1611"/>
                    </a:lnTo>
                    <a:lnTo>
                      <a:pt x="390" y="1609"/>
                    </a:lnTo>
                    <a:lnTo>
                      <a:pt x="388" y="1609"/>
                    </a:lnTo>
                    <a:lnTo>
                      <a:pt x="386" y="1609"/>
                    </a:lnTo>
                    <a:lnTo>
                      <a:pt x="386" y="1611"/>
                    </a:lnTo>
                    <a:lnTo>
                      <a:pt x="386" y="1613"/>
                    </a:lnTo>
                    <a:lnTo>
                      <a:pt x="384" y="1613"/>
                    </a:lnTo>
                    <a:lnTo>
                      <a:pt x="383" y="1613"/>
                    </a:lnTo>
                    <a:lnTo>
                      <a:pt x="383" y="1615"/>
                    </a:lnTo>
                    <a:lnTo>
                      <a:pt x="381" y="1615"/>
                    </a:lnTo>
                    <a:lnTo>
                      <a:pt x="381" y="1613"/>
                    </a:lnTo>
                    <a:lnTo>
                      <a:pt x="379" y="1613"/>
                    </a:lnTo>
                    <a:lnTo>
                      <a:pt x="379" y="1615"/>
                    </a:lnTo>
                    <a:lnTo>
                      <a:pt x="379" y="1613"/>
                    </a:lnTo>
                    <a:lnTo>
                      <a:pt x="377" y="1613"/>
                    </a:lnTo>
                    <a:lnTo>
                      <a:pt x="375" y="1615"/>
                    </a:lnTo>
                    <a:lnTo>
                      <a:pt x="373" y="1615"/>
                    </a:lnTo>
                    <a:lnTo>
                      <a:pt x="371" y="1615"/>
                    </a:lnTo>
                    <a:lnTo>
                      <a:pt x="371" y="1617"/>
                    </a:lnTo>
                    <a:lnTo>
                      <a:pt x="369" y="1617"/>
                    </a:lnTo>
                    <a:lnTo>
                      <a:pt x="367" y="1619"/>
                    </a:lnTo>
                    <a:lnTo>
                      <a:pt x="367" y="1621"/>
                    </a:lnTo>
                    <a:lnTo>
                      <a:pt x="369" y="1621"/>
                    </a:lnTo>
                    <a:lnTo>
                      <a:pt x="371" y="1623"/>
                    </a:lnTo>
                    <a:lnTo>
                      <a:pt x="371" y="1625"/>
                    </a:lnTo>
                    <a:lnTo>
                      <a:pt x="371" y="1627"/>
                    </a:lnTo>
                    <a:lnTo>
                      <a:pt x="369" y="1627"/>
                    </a:lnTo>
                    <a:lnTo>
                      <a:pt x="369" y="1629"/>
                    </a:lnTo>
                    <a:lnTo>
                      <a:pt x="367" y="1629"/>
                    </a:lnTo>
                    <a:lnTo>
                      <a:pt x="367" y="1630"/>
                    </a:lnTo>
                    <a:lnTo>
                      <a:pt x="367" y="1632"/>
                    </a:lnTo>
                    <a:lnTo>
                      <a:pt x="367" y="1634"/>
                    </a:lnTo>
                    <a:lnTo>
                      <a:pt x="367" y="1636"/>
                    </a:lnTo>
                    <a:lnTo>
                      <a:pt x="367" y="1638"/>
                    </a:lnTo>
                    <a:lnTo>
                      <a:pt x="367" y="1640"/>
                    </a:lnTo>
                    <a:lnTo>
                      <a:pt x="365" y="1640"/>
                    </a:lnTo>
                    <a:lnTo>
                      <a:pt x="367" y="1640"/>
                    </a:lnTo>
                    <a:lnTo>
                      <a:pt x="365" y="1642"/>
                    </a:lnTo>
                    <a:lnTo>
                      <a:pt x="367" y="1642"/>
                    </a:lnTo>
                    <a:lnTo>
                      <a:pt x="365" y="1642"/>
                    </a:lnTo>
                    <a:lnTo>
                      <a:pt x="365" y="1644"/>
                    </a:lnTo>
                    <a:lnTo>
                      <a:pt x="363" y="1646"/>
                    </a:lnTo>
                    <a:lnTo>
                      <a:pt x="365" y="1648"/>
                    </a:lnTo>
                    <a:lnTo>
                      <a:pt x="363" y="1648"/>
                    </a:lnTo>
                    <a:lnTo>
                      <a:pt x="361" y="1648"/>
                    </a:lnTo>
                    <a:lnTo>
                      <a:pt x="360" y="1648"/>
                    </a:lnTo>
                    <a:lnTo>
                      <a:pt x="358" y="1648"/>
                    </a:lnTo>
                    <a:lnTo>
                      <a:pt x="356" y="1648"/>
                    </a:lnTo>
                    <a:lnTo>
                      <a:pt x="356" y="1650"/>
                    </a:lnTo>
                    <a:lnTo>
                      <a:pt x="354" y="1650"/>
                    </a:lnTo>
                    <a:lnTo>
                      <a:pt x="352" y="1652"/>
                    </a:lnTo>
                    <a:lnTo>
                      <a:pt x="352" y="1654"/>
                    </a:lnTo>
                    <a:lnTo>
                      <a:pt x="352" y="1655"/>
                    </a:lnTo>
                    <a:lnTo>
                      <a:pt x="350" y="1655"/>
                    </a:lnTo>
                    <a:lnTo>
                      <a:pt x="352" y="1657"/>
                    </a:lnTo>
                    <a:lnTo>
                      <a:pt x="350" y="1657"/>
                    </a:lnTo>
                    <a:lnTo>
                      <a:pt x="350" y="1659"/>
                    </a:lnTo>
                    <a:lnTo>
                      <a:pt x="350" y="1661"/>
                    </a:lnTo>
                    <a:lnTo>
                      <a:pt x="350" y="1663"/>
                    </a:lnTo>
                    <a:lnTo>
                      <a:pt x="348" y="1663"/>
                    </a:lnTo>
                    <a:lnTo>
                      <a:pt x="348" y="1665"/>
                    </a:lnTo>
                    <a:lnTo>
                      <a:pt x="346" y="1667"/>
                    </a:lnTo>
                    <a:lnTo>
                      <a:pt x="344" y="1667"/>
                    </a:lnTo>
                    <a:lnTo>
                      <a:pt x="344" y="1669"/>
                    </a:lnTo>
                    <a:lnTo>
                      <a:pt x="344" y="1671"/>
                    </a:lnTo>
                    <a:lnTo>
                      <a:pt x="342" y="1673"/>
                    </a:lnTo>
                    <a:lnTo>
                      <a:pt x="342" y="1675"/>
                    </a:lnTo>
                    <a:lnTo>
                      <a:pt x="340" y="1675"/>
                    </a:lnTo>
                    <a:lnTo>
                      <a:pt x="340" y="1677"/>
                    </a:lnTo>
                    <a:lnTo>
                      <a:pt x="338" y="1679"/>
                    </a:lnTo>
                    <a:lnTo>
                      <a:pt x="336" y="1680"/>
                    </a:lnTo>
                    <a:lnTo>
                      <a:pt x="336" y="1682"/>
                    </a:lnTo>
                    <a:lnTo>
                      <a:pt x="336" y="1684"/>
                    </a:lnTo>
                    <a:lnTo>
                      <a:pt x="336" y="1686"/>
                    </a:lnTo>
                    <a:lnTo>
                      <a:pt x="335" y="1688"/>
                    </a:lnTo>
                    <a:lnTo>
                      <a:pt x="335" y="1690"/>
                    </a:lnTo>
                    <a:lnTo>
                      <a:pt x="335" y="1692"/>
                    </a:lnTo>
                    <a:lnTo>
                      <a:pt x="333" y="1692"/>
                    </a:lnTo>
                    <a:lnTo>
                      <a:pt x="333" y="1694"/>
                    </a:lnTo>
                    <a:lnTo>
                      <a:pt x="335" y="1694"/>
                    </a:lnTo>
                    <a:lnTo>
                      <a:pt x="335" y="1696"/>
                    </a:lnTo>
                    <a:lnTo>
                      <a:pt x="333" y="1696"/>
                    </a:lnTo>
                    <a:lnTo>
                      <a:pt x="331" y="1698"/>
                    </a:lnTo>
                    <a:lnTo>
                      <a:pt x="329" y="1698"/>
                    </a:lnTo>
                    <a:lnTo>
                      <a:pt x="327" y="1698"/>
                    </a:lnTo>
                    <a:lnTo>
                      <a:pt x="325" y="1700"/>
                    </a:lnTo>
                    <a:lnTo>
                      <a:pt x="323" y="1700"/>
                    </a:lnTo>
                    <a:lnTo>
                      <a:pt x="323" y="1702"/>
                    </a:lnTo>
                    <a:lnTo>
                      <a:pt x="321" y="1704"/>
                    </a:lnTo>
                    <a:lnTo>
                      <a:pt x="319" y="1704"/>
                    </a:lnTo>
                    <a:lnTo>
                      <a:pt x="319" y="1707"/>
                    </a:lnTo>
                    <a:lnTo>
                      <a:pt x="317" y="1707"/>
                    </a:lnTo>
                    <a:lnTo>
                      <a:pt x="315" y="1707"/>
                    </a:lnTo>
                    <a:lnTo>
                      <a:pt x="315" y="1709"/>
                    </a:lnTo>
                    <a:lnTo>
                      <a:pt x="315" y="1711"/>
                    </a:lnTo>
                    <a:lnTo>
                      <a:pt x="313" y="1711"/>
                    </a:lnTo>
                    <a:lnTo>
                      <a:pt x="313" y="1713"/>
                    </a:lnTo>
                    <a:lnTo>
                      <a:pt x="311" y="1713"/>
                    </a:lnTo>
                    <a:lnTo>
                      <a:pt x="311" y="1715"/>
                    </a:lnTo>
                    <a:lnTo>
                      <a:pt x="310" y="1715"/>
                    </a:lnTo>
                    <a:lnTo>
                      <a:pt x="308" y="1715"/>
                    </a:lnTo>
                    <a:lnTo>
                      <a:pt x="306" y="1717"/>
                    </a:lnTo>
                    <a:lnTo>
                      <a:pt x="306" y="1719"/>
                    </a:lnTo>
                    <a:lnTo>
                      <a:pt x="306" y="1721"/>
                    </a:lnTo>
                    <a:lnTo>
                      <a:pt x="304" y="1721"/>
                    </a:lnTo>
                    <a:lnTo>
                      <a:pt x="302" y="1719"/>
                    </a:lnTo>
                    <a:lnTo>
                      <a:pt x="300" y="1719"/>
                    </a:lnTo>
                    <a:lnTo>
                      <a:pt x="298" y="1719"/>
                    </a:lnTo>
                    <a:lnTo>
                      <a:pt x="298" y="1721"/>
                    </a:lnTo>
                    <a:lnTo>
                      <a:pt x="296" y="1723"/>
                    </a:lnTo>
                    <a:lnTo>
                      <a:pt x="294" y="1723"/>
                    </a:lnTo>
                    <a:lnTo>
                      <a:pt x="292" y="1723"/>
                    </a:lnTo>
                    <a:lnTo>
                      <a:pt x="290" y="1723"/>
                    </a:lnTo>
                    <a:lnTo>
                      <a:pt x="288" y="1723"/>
                    </a:lnTo>
                    <a:lnTo>
                      <a:pt x="287" y="1721"/>
                    </a:lnTo>
                    <a:lnTo>
                      <a:pt x="285" y="1721"/>
                    </a:lnTo>
                    <a:lnTo>
                      <a:pt x="285" y="1723"/>
                    </a:lnTo>
                    <a:lnTo>
                      <a:pt x="285" y="1721"/>
                    </a:lnTo>
                    <a:lnTo>
                      <a:pt x="283" y="1721"/>
                    </a:lnTo>
                    <a:lnTo>
                      <a:pt x="281" y="1723"/>
                    </a:lnTo>
                    <a:lnTo>
                      <a:pt x="279" y="1723"/>
                    </a:lnTo>
                    <a:lnTo>
                      <a:pt x="277" y="1723"/>
                    </a:lnTo>
                    <a:lnTo>
                      <a:pt x="277" y="1725"/>
                    </a:lnTo>
                    <a:lnTo>
                      <a:pt x="275" y="1723"/>
                    </a:lnTo>
                    <a:lnTo>
                      <a:pt x="273" y="1723"/>
                    </a:lnTo>
                    <a:lnTo>
                      <a:pt x="273" y="1721"/>
                    </a:lnTo>
                    <a:lnTo>
                      <a:pt x="271" y="1721"/>
                    </a:lnTo>
                    <a:lnTo>
                      <a:pt x="271" y="1719"/>
                    </a:lnTo>
                    <a:lnTo>
                      <a:pt x="269" y="1717"/>
                    </a:lnTo>
                    <a:lnTo>
                      <a:pt x="267" y="1717"/>
                    </a:lnTo>
                    <a:lnTo>
                      <a:pt x="265" y="1717"/>
                    </a:lnTo>
                    <a:lnTo>
                      <a:pt x="263" y="1717"/>
                    </a:lnTo>
                    <a:lnTo>
                      <a:pt x="262" y="1717"/>
                    </a:lnTo>
                    <a:lnTo>
                      <a:pt x="260" y="1715"/>
                    </a:lnTo>
                    <a:lnTo>
                      <a:pt x="258" y="1715"/>
                    </a:lnTo>
                    <a:lnTo>
                      <a:pt x="256" y="1715"/>
                    </a:lnTo>
                    <a:lnTo>
                      <a:pt x="254" y="1715"/>
                    </a:lnTo>
                    <a:lnTo>
                      <a:pt x="252" y="1715"/>
                    </a:lnTo>
                    <a:lnTo>
                      <a:pt x="250" y="1715"/>
                    </a:lnTo>
                    <a:lnTo>
                      <a:pt x="248" y="1715"/>
                    </a:lnTo>
                    <a:lnTo>
                      <a:pt x="248" y="1717"/>
                    </a:lnTo>
                    <a:lnTo>
                      <a:pt x="248" y="1715"/>
                    </a:lnTo>
                    <a:lnTo>
                      <a:pt x="246" y="1715"/>
                    </a:lnTo>
                    <a:lnTo>
                      <a:pt x="244" y="1715"/>
                    </a:lnTo>
                    <a:lnTo>
                      <a:pt x="244" y="1713"/>
                    </a:lnTo>
                    <a:lnTo>
                      <a:pt x="242" y="1711"/>
                    </a:lnTo>
                    <a:lnTo>
                      <a:pt x="240" y="1711"/>
                    </a:lnTo>
                    <a:lnTo>
                      <a:pt x="238" y="1711"/>
                    </a:lnTo>
                    <a:lnTo>
                      <a:pt x="237" y="1711"/>
                    </a:lnTo>
                    <a:lnTo>
                      <a:pt x="237" y="1713"/>
                    </a:lnTo>
                    <a:lnTo>
                      <a:pt x="235" y="1713"/>
                    </a:lnTo>
                    <a:lnTo>
                      <a:pt x="233" y="1713"/>
                    </a:lnTo>
                    <a:lnTo>
                      <a:pt x="233" y="1709"/>
                    </a:lnTo>
                    <a:lnTo>
                      <a:pt x="231" y="1709"/>
                    </a:lnTo>
                    <a:lnTo>
                      <a:pt x="231" y="1707"/>
                    </a:lnTo>
                    <a:lnTo>
                      <a:pt x="231" y="1705"/>
                    </a:lnTo>
                    <a:lnTo>
                      <a:pt x="231" y="1704"/>
                    </a:lnTo>
                    <a:lnTo>
                      <a:pt x="231" y="1702"/>
                    </a:lnTo>
                    <a:lnTo>
                      <a:pt x="229" y="1702"/>
                    </a:lnTo>
                    <a:lnTo>
                      <a:pt x="227" y="1700"/>
                    </a:lnTo>
                    <a:lnTo>
                      <a:pt x="225" y="1700"/>
                    </a:lnTo>
                    <a:lnTo>
                      <a:pt x="225" y="1698"/>
                    </a:lnTo>
                    <a:lnTo>
                      <a:pt x="223" y="1698"/>
                    </a:lnTo>
                    <a:lnTo>
                      <a:pt x="223" y="1696"/>
                    </a:lnTo>
                    <a:lnTo>
                      <a:pt x="221" y="1694"/>
                    </a:lnTo>
                    <a:lnTo>
                      <a:pt x="221" y="1692"/>
                    </a:lnTo>
                    <a:lnTo>
                      <a:pt x="223" y="1690"/>
                    </a:lnTo>
                    <a:lnTo>
                      <a:pt x="223" y="1688"/>
                    </a:lnTo>
                    <a:lnTo>
                      <a:pt x="225" y="1686"/>
                    </a:lnTo>
                    <a:lnTo>
                      <a:pt x="227" y="1684"/>
                    </a:lnTo>
                    <a:lnTo>
                      <a:pt x="229" y="1682"/>
                    </a:lnTo>
                    <a:lnTo>
                      <a:pt x="229" y="1680"/>
                    </a:lnTo>
                    <a:lnTo>
                      <a:pt x="229" y="1679"/>
                    </a:lnTo>
                    <a:lnTo>
                      <a:pt x="231" y="1675"/>
                    </a:lnTo>
                    <a:lnTo>
                      <a:pt x="235" y="1669"/>
                    </a:lnTo>
                    <a:lnTo>
                      <a:pt x="237" y="1665"/>
                    </a:lnTo>
                    <a:lnTo>
                      <a:pt x="238" y="1665"/>
                    </a:lnTo>
                    <a:lnTo>
                      <a:pt x="240" y="1665"/>
                    </a:lnTo>
                    <a:lnTo>
                      <a:pt x="242" y="1665"/>
                    </a:lnTo>
                    <a:lnTo>
                      <a:pt x="244" y="1663"/>
                    </a:lnTo>
                    <a:lnTo>
                      <a:pt x="246" y="1663"/>
                    </a:lnTo>
                    <a:lnTo>
                      <a:pt x="246" y="1665"/>
                    </a:lnTo>
                    <a:lnTo>
                      <a:pt x="248" y="1663"/>
                    </a:lnTo>
                    <a:lnTo>
                      <a:pt x="248" y="1665"/>
                    </a:lnTo>
                    <a:lnTo>
                      <a:pt x="248" y="1663"/>
                    </a:lnTo>
                    <a:lnTo>
                      <a:pt x="250" y="1663"/>
                    </a:lnTo>
                    <a:lnTo>
                      <a:pt x="250" y="1661"/>
                    </a:lnTo>
                    <a:lnTo>
                      <a:pt x="250" y="1659"/>
                    </a:lnTo>
                    <a:lnTo>
                      <a:pt x="250" y="1657"/>
                    </a:lnTo>
                    <a:lnTo>
                      <a:pt x="252" y="1657"/>
                    </a:lnTo>
                    <a:lnTo>
                      <a:pt x="252" y="1655"/>
                    </a:lnTo>
                    <a:lnTo>
                      <a:pt x="252" y="1654"/>
                    </a:lnTo>
                    <a:lnTo>
                      <a:pt x="254" y="1652"/>
                    </a:lnTo>
                    <a:lnTo>
                      <a:pt x="254" y="1650"/>
                    </a:lnTo>
                    <a:lnTo>
                      <a:pt x="256" y="1650"/>
                    </a:lnTo>
                    <a:lnTo>
                      <a:pt x="256" y="1648"/>
                    </a:lnTo>
                    <a:lnTo>
                      <a:pt x="256" y="1646"/>
                    </a:lnTo>
                    <a:lnTo>
                      <a:pt x="258" y="1646"/>
                    </a:lnTo>
                    <a:lnTo>
                      <a:pt x="258" y="1644"/>
                    </a:lnTo>
                    <a:lnTo>
                      <a:pt x="258" y="1642"/>
                    </a:lnTo>
                    <a:lnTo>
                      <a:pt x="260" y="1640"/>
                    </a:lnTo>
                    <a:lnTo>
                      <a:pt x="260" y="1638"/>
                    </a:lnTo>
                    <a:lnTo>
                      <a:pt x="258" y="1638"/>
                    </a:lnTo>
                    <a:lnTo>
                      <a:pt x="258" y="1636"/>
                    </a:lnTo>
                    <a:lnTo>
                      <a:pt x="258" y="1634"/>
                    </a:lnTo>
                    <a:lnTo>
                      <a:pt x="258" y="1632"/>
                    </a:lnTo>
                    <a:lnTo>
                      <a:pt x="258" y="1630"/>
                    </a:lnTo>
                    <a:lnTo>
                      <a:pt x="258" y="1629"/>
                    </a:lnTo>
                    <a:lnTo>
                      <a:pt x="260" y="1629"/>
                    </a:lnTo>
                    <a:lnTo>
                      <a:pt x="262" y="1629"/>
                    </a:lnTo>
                    <a:lnTo>
                      <a:pt x="263" y="1629"/>
                    </a:lnTo>
                    <a:lnTo>
                      <a:pt x="265" y="1629"/>
                    </a:lnTo>
                    <a:lnTo>
                      <a:pt x="265" y="1627"/>
                    </a:lnTo>
                    <a:lnTo>
                      <a:pt x="267" y="1627"/>
                    </a:lnTo>
                    <a:lnTo>
                      <a:pt x="269" y="1625"/>
                    </a:lnTo>
                    <a:lnTo>
                      <a:pt x="269" y="1623"/>
                    </a:lnTo>
                    <a:lnTo>
                      <a:pt x="271" y="1623"/>
                    </a:lnTo>
                    <a:lnTo>
                      <a:pt x="271" y="1621"/>
                    </a:lnTo>
                    <a:lnTo>
                      <a:pt x="271" y="1619"/>
                    </a:lnTo>
                    <a:lnTo>
                      <a:pt x="273" y="1617"/>
                    </a:lnTo>
                    <a:lnTo>
                      <a:pt x="275" y="1615"/>
                    </a:lnTo>
                    <a:lnTo>
                      <a:pt x="275" y="1613"/>
                    </a:lnTo>
                    <a:lnTo>
                      <a:pt x="275" y="1611"/>
                    </a:lnTo>
                    <a:lnTo>
                      <a:pt x="273" y="1611"/>
                    </a:lnTo>
                    <a:lnTo>
                      <a:pt x="275" y="1611"/>
                    </a:lnTo>
                    <a:lnTo>
                      <a:pt x="273" y="1611"/>
                    </a:lnTo>
                    <a:lnTo>
                      <a:pt x="275" y="1609"/>
                    </a:lnTo>
                    <a:lnTo>
                      <a:pt x="275" y="1607"/>
                    </a:lnTo>
                    <a:lnTo>
                      <a:pt x="273" y="1607"/>
                    </a:lnTo>
                    <a:lnTo>
                      <a:pt x="271" y="1607"/>
                    </a:lnTo>
                    <a:lnTo>
                      <a:pt x="271" y="1605"/>
                    </a:lnTo>
                    <a:lnTo>
                      <a:pt x="269" y="1605"/>
                    </a:lnTo>
                    <a:lnTo>
                      <a:pt x="269" y="1604"/>
                    </a:lnTo>
                    <a:lnTo>
                      <a:pt x="269" y="1602"/>
                    </a:lnTo>
                    <a:lnTo>
                      <a:pt x="267" y="1602"/>
                    </a:lnTo>
                    <a:lnTo>
                      <a:pt x="267" y="1604"/>
                    </a:lnTo>
                    <a:lnTo>
                      <a:pt x="265" y="1602"/>
                    </a:lnTo>
                    <a:lnTo>
                      <a:pt x="265" y="1600"/>
                    </a:lnTo>
                    <a:lnTo>
                      <a:pt x="265" y="1598"/>
                    </a:lnTo>
                    <a:lnTo>
                      <a:pt x="263" y="1598"/>
                    </a:lnTo>
                    <a:lnTo>
                      <a:pt x="263" y="1596"/>
                    </a:lnTo>
                    <a:lnTo>
                      <a:pt x="262" y="1596"/>
                    </a:lnTo>
                    <a:lnTo>
                      <a:pt x="262" y="1594"/>
                    </a:lnTo>
                    <a:lnTo>
                      <a:pt x="263" y="1594"/>
                    </a:lnTo>
                    <a:lnTo>
                      <a:pt x="263" y="1592"/>
                    </a:lnTo>
                    <a:lnTo>
                      <a:pt x="263" y="1590"/>
                    </a:lnTo>
                    <a:lnTo>
                      <a:pt x="263" y="1588"/>
                    </a:lnTo>
                    <a:lnTo>
                      <a:pt x="262" y="1588"/>
                    </a:lnTo>
                    <a:lnTo>
                      <a:pt x="260" y="1588"/>
                    </a:lnTo>
                    <a:lnTo>
                      <a:pt x="260" y="1586"/>
                    </a:lnTo>
                    <a:lnTo>
                      <a:pt x="260" y="1584"/>
                    </a:lnTo>
                    <a:lnTo>
                      <a:pt x="260" y="1582"/>
                    </a:lnTo>
                    <a:lnTo>
                      <a:pt x="260" y="1580"/>
                    </a:lnTo>
                    <a:lnTo>
                      <a:pt x="258" y="1580"/>
                    </a:lnTo>
                    <a:lnTo>
                      <a:pt x="258" y="1579"/>
                    </a:lnTo>
                    <a:lnTo>
                      <a:pt x="260" y="1579"/>
                    </a:lnTo>
                    <a:lnTo>
                      <a:pt x="258" y="1577"/>
                    </a:lnTo>
                    <a:lnTo>
                      <a:pt x="260" y="1577"/>
                    </a:lnTo>
                    <a:lnTo>
                      <a:pt x="262" y="1577"/>
                    </a:lnTo>
                    <a:lnTo>
                      <a:pt x="262" y="1575"/>
                    </a:lnTo>
                    <a:lnTo>
                      <a:pt x="260" y="1575"/>
                    </a:lnTo>
                    <a:lnTo>
                      <a:pt x="262" y="1575"/>
                    </a:lnTo>
                    <a:lnTo>
                      <a:pt x="262" y="1573"/>
                    </a:lnTo>
                    <a:lnTo>
                      <a:pt x="263" y="1573"/>
                    </a:lnTo>
                    <a:lnTo>
                      <a:pt x="263" y="1569"/>
                    </a:lnTo>
                    <a:lnTo>
                      <a:pt x="263" y="1567"/>
                    </a:lnTo>
                    <a:lnTo>
                      <a:pt x="263" y="1565"/>
                    </a:lnTo>
                    <a:lnTo>
                      <a:pt x="263" y="1563"/>
                    </a:lnTo>
                    <a:lnTo>
                      <a:pt x="262" y="1561"/>
                    </a:lnTo>
                    <a:lnTo>
                      <a:pt x="262" y="1559"/>
                    </a:lnTo>
                    <a:lnTo>
                      <a:pt x="260" y="1555"/>
                    </a:lnTo>
                    <a:lnTo>
                      <a:pt x="260" y="1554"/>
                    </a:lnTo>
                    <a:lnTo>
                      <a:pt x="260" y="1552"/>
                    </a:lnTo>
                    <a:lnTo>
                      <a:pt x="258" y="1550"/>
                    </a:lnTo>
                    <a:lnTo>
                      <a:pt x="258" y="1548"/>
                    </a:lnTo>
                    <a:lnTo>
                      <a:pt x="256" y="1546"/>
                    </a:lnTo>
                    <a:lnTo>
                      <a:pt x="256" y="1544"/>
                    </a:lnTo>
                    <a:lnTo>
                      <a:pt x="254" y="1544"/>
                    </a:lnTo>
                    <a:lnTo>
                      <a:pt x="254" y="1540"/>
                    </a:lnTo>
                    <a:lnTo>
                      <a:pt x="254" y="1538"/>
                    </a:lnTo>
                    <a:lnTo>
                      <a:pt x="254" y="1536"/>
                    </a:lnTo>
                    <a:lnTo>
                      <a:pt x="254" y="1534"/>
                    </a:lnTo>
                    <a:lnTo>
                      <a:pt x="252" y="1532"/>
                    </a:lnTo>
                    <a:lnTo>
                      <a:pt x="250" y="1530"/>
                    </a:lnTo>
                    <a:lnTo>
                      <a:pt x="248" y="1529"/>
                    </a:lnTo>
                    <a:lnTo>
                      <a:pt x="246" y="1527"/>
                    </a:lnTo>
                    <a:lnTo>
                      <a:pt x="244" y="1525"/>
                    </a:lnTo>
                    <a:lnTo>
                      <a:pt x="244" y="1523"/>
                    </a:lnTo>
                    <a:lnTo>
                      <a:pt x="244" y="1521"/>
                    </a:lnTo>
                    <a:lnTo>
                      <a:pt x="244" y="1519"/>
                    </a:lnTo>
                    <a:lnTo>
                      <a:pt x="244" y="1515"/>
                    </a:lnTo>
                    <a:lnTo>
                      <a:pt x="244" y="1511"/>
                    </a:lnTo>
                    <a:lnTo>
                      <a:pt x="242" y="1511"/>
                    </a:lnTo>
                    <a:lnTo>
                      <a:pt x="240" y="1509"/>
                    </a:lnTo>
                    <a:lnTo>
                      <a:pt x="238" y="1509"/>
                    </a:lnTo>
                    <a:lnTo>
                      <a:pt x="238" y="1505"/>
                    </a:lnTo>
                    <a:lnTo>
                      <a:pt x="237" y="1505"/>
                    </a:lnTo>
                    <a:lnTo>
                      <a:pt x="235" y="1507"/>
                    </a:lnTo>
                    <a:lnTo>
                      <a:pt x="231" y="1507"/>
                    </a:lnTo>
                    <a:lnTo>
                      <a:pt x="231" y="1505"/>
                    </a:lnTo>
                    <a:lnTo>
                      <a:pt x="231" y="1504"/>
                    </a:lnTo>
                    <a:lnTo>
                      <a:pt x="231" y="1500"/>
                    </a:lnTo>
                    <a:lnTo>
                      <a:pt x="233" y="1500"/>
                    </a:lnTo>
                    <a:lnTo>
                      <a:pt x="231" y="1498"/>
                    </a:lnTo>
                    <a:lnTo>
                      <a:pt x="231" y="1496"/>
                    </a:lnTo>
                    <a:lnTo>
                      <a:pt x="229" y="1496"/>
                    </a:lnTo>
                    <a:lnTo>
                      <a:pt x="227" y="1496"/>
                    </a:lnTo>
                    <a:lnTo>
                      <a:pt x="227" y="1494"/>
                    </a:lnTo>
                    <a:lnTo>
                      <a:pt x="225" y="1496"/>
                    </a:lnTo>
                    <a:lnTo>
                      <a:pt x="225" y="1494"/>
                    </a:lnTo>
                    <a:lnTo>
                      <a:pt x="225" y="1496"/>
                    </a:lnTo>
                    <a:lnTo>
                      <a:pt x="225" y="1494"/>
                    </a:lnTo>
                    <a:lnTo>
                      <a:pt x="223" y="1494"/>
                    </a:lnTo>
                    <a:lnTo>
                      <a:pt x="223" y="1496"/>
                    </a:lnTo>
                    <a:lnTo>
                      <a:pt x="223" y="1494"/>
                    </a:lnTo>
                    <a:lnTo>
                      <a:pt x="221" y="1494"/>
                    </a:lnTo>
                    <a:lnTo>
                      <a:pt x="219" y="1494"/>
                    </a:lnTo>
                    <a:lnTo>
                      <a:pt x="219" y="1492"/>
                    </a:lnTo>
                    <a:lnTo>
                      <a:pt x="217" y="1492"/>
                    </a:lnTo>
                    <a:lnTo>
                      <a:pt x="215" y="1492"/>
                    </a:lnTo>
                    <a:lnTo>
                      <a:pt x="215" y="1490"/>
                    </a:lnTo>
                    <a:lnTo>
                      <a:pt x="215" y="1492"/>
                    </a:lnTo>
                    <a:lnTo>
                      <a:pt x="214" y="1492"/>
                    </a:lnTo>
                    <a:lnTo>
                      <a:pt x="212" y="1492"/>
                    </a:lnTo>
                    <a:lnTo>
                      <a:pt x="210" y="1492"/>
                    </a:lnTo>
                    <a:lnTo>
                      <a:pt x="210" y="1494"/>
                    </a:lnTo>
                    <a:lnTo>
                      <a:pt x="208" y="1494"/>
                    </a:lnTo>
                    <a:lnTo>
                      <a:pt x="206" y="1494"/>
                    </a:lnTo>
                    <a:lnTo>
                      <a:pt x="206" y="1496"/>
                    </a:lnTo>
                    <a:lnTo>
                      <a:pt x="204" y="1496"/>
                    </a:lnTo>
                    <a:lnTo>
                      <a:pt x="206" y="1498"/>
                    </a:lnTo>
                    <a:lnTo>
                      <a:pt x="206" y="1500"/>
                    </a:lnTo>
                    <a:lnTo>
                      <a:pt x="204" y="1500"/>
                    </a:lnTo>
                    <a:lnTo>
                      <a:pt x="202" y="1496"/>
                    </a:lnTo>
                    <a:lnTo>
                      <a:pt x="202" y="1494"/>
                    </a:lnTo>
                    <a:lnTo>
                      <a:pt x="200" y="1494"/>
                    </a:lnTo>
                    <a:lnTo>
                      <a:pt x="198" y="1494"/>
                    </a:lnTo>
                    <a:lnTo>
                      <a:pt x="194" y="1494"/>
                    </a:lnTo>
                    <a:lnTo>
                      <a:pt x="194" y="1496"/>
                    </a:lnTo>
                    <a:lnTo>
                      <a:pt x="194" y="1498"/>
                    </a:lnTo>
                    <a:lnTo>
                      <a:pt x="192" y="1498"/>
                    </a:lnTo>
                    <a:lnTo>
                      <a:pt x="192" y="1496"/>
                    </a:lnTo>
                    <a:lnTo>
                      <a:pt x="190" y="1496"/>
                    </a:lnTo>
                    <a:lnTo>
                      <a:pt x="190" y="1494"/>
                    </a:lnTo>
                    <a:lnTo>
                      <a:pt x="190" y="1492"/>
                    </a:lnTo>
                    <a:lnTo>
                      <a:pt x="190" y="1490"/>
                    </a:lnTo>
                    <a:lnTo>
                      <a:pt x="189" y="1490"/>
                    </a:lnTo>
                    <a:lnTo>
                      <a:pt x="187" y="1490"/>
                    </a:lnTo>
                    <a:lnTo>
                      <a:pt x="185" y="1490"/>
                    </a:lnTo>
                    <a:lnTo>
                      <a:pt x="183" y="1490"/>
                    </a:lnTo>
                    <a:lnTo>
                      <a:pt x="183" y="1488"/>
                    </a:lnTo>
                    <a:lnTo>
                      <a:pt x="185" y="1486"/>
                    </a:lnTo>
                    <a:lnTo>
                      <a:pt x="183" y="1484"/>
                    </a:lnTo>
                    <a:lnTo>
                      <a:pt x="181" y="1482"/>
                    </a:lnTo>
                    <a:lnTo>
                      <a:pt x="183" y="1477"/>
                    </a:lnTo>
                    <a:lnTo>
                      <a:pt x="183" y="1475"/>
                    </a:lnTo>
                    <a:lnTo>
                      <a:pt x="181" y="1475"/>
                    </a:lnTo>
                    <a:lnTo>
                      <a:pt x="179" y="1475"/>
                    </a:lnTo>
                    <a:lnTo>
                      <a:pt x="177" y="1473"/>
                    </a:lnTo>
                    <a:lnTo>
                      <a:pt x="177" y="1471"/>
                    </a:lnTo>
                    <a:lnTo>
                      <a:pt x="175" y="1471"/>
                    </a:lnTo>
                    <a:lnTo>
                      <a:pt x="173" y="1471"/>
                    </a:lnTo>
                    <a:lnTo>
                      <a:pt x="173" y="1469"/>
                    </a:lnTo>
                    <a:lnTo>
                      <a:pt x="173" y="1467"/>
                    </a:lnTo>
                    <a:lnTo>
                      <a:pt x="171" y="1467"/>
                    </a:lnTo>
                    <a:lnTo>
                      <a:pt x="169" y="1467"/>
                    </a:lnTo>
                    <a:lnTo>
                      <a:pt x="169" y="1465"/>
                    </a:lnTo>
                    <a:lnTo>
                      <a:pt x="171" y="1465"/>
                    </a:lnTo>
                    <a:lnTo>
                      <a:pt x="171" y="1463"/>
                    </a:lnTo>
                    <a:lnTo>
                      <a:pt x="171" y="1461"/>
                    </a:lnTo>
                    <a:lnTo>
                      <a:pt x="171" y="1463"/>
                    </a:lnTo>
                    <a:lnTo>
                      <a:pt x="171" y="1461"/>
                    </a:lnTo>
                    <a:lnTo>
                      <a:pt x="173" y="1461"/>
                    </a:lnTo>
                    <a:lnTo>
                      <a:pt x="173" y="1459"/>
                    </a:lnTo>
                    <a:lnTo>
                      <a:pt x="175" y="1459"/>
                    </a:lnTo>
                    <a:lnTo>
                      <a:pt x="175" y="1457"/>
                    </a:lnTo>
                    <a:lnTo>
                      <a:pt x="177" y="1457"/>
                    </a:lnTo>
                    <a:lnTo>
                      <a:pt x="177" y="1456"/>
                    </a:lnTo>
                    <a:lnTo>
                      <a:pt x="179" y="1456"/>
                    </a:lnTo>
                    <a:lnTo>
                      <a:pt x="179" y="1454"/>
                    </a:lnTo>
                    <a:lnTo>
                      <a:pt x="181" y="1454"/>
                    </a:lnTo>
                    <a:lnTo>
                      <a:pt x="179" y="1454"/>
                    </a:lnTo>
                    <a:lnTo>
                      <a:pt x="181" y="1454"/>
                    </a:lnTo>
                    <a:lnTo>
                      <a:pt x="181" y="1452"/>
                    </a:lnTo>
                    <a:lnTo>
                      <a:pt x="183" y="1452"/>
                    </a:lnTo>
                    <a:lnTo>
                      <a:pt x="185" y="1452"/>
                    </a:lnTo>
                    <a:lnTo>
                      <a:pt x="185" y="1450"/>
                    </a:lnTo>
                    <a:lnTo>
                      <a:pt x="187" y="1450"/>
                    </a:lnTo>
                    <a:lnTo>
                      <a:pt x="189" y="1450"/>
                    </a:lnTo>
                    <a:lnTo>
                      <a:pt x="189" y="1448"/>
                    </a:lnTo>
                    <a:lnTo>
                      <a:pt x="190" y="1448"/>
                    </a:lnTo>
                    <a:lnTo>
                      <a:pt x="190" y="1446"/>
                    </a:lnTo>
                    <a:lnTo>
                      <a:pt x="190" y="1448"/>
                    </a:lnTo>
                    <a:lnTo>
                      <a:pt x="190" y="1446"/>
                    </a:lnTo>
                    <a:lnTo>
                      <a:pt x="192" y="1446"/>
                    </a:lnTo>
                    <a:lnTo>
                      <a:pt x="194" y="1446"/>
                    </a:lnTo>
                    <a:lnTo>
                      <a:pt x="196" y="1446"/>
                    </a:lnTo>
                    <a:lnTo>
                      <a:pt x="196" y="1444"/>
                    </a:lnTo>
                    <a:lnTo>
                      <a:pt x="196" y="1442"/>
                    </a:lnTo>
                    <a:lnTo>
                      <a:pt x="194" y="1442"/>
                    </a:lnTo>
                    <a:lnTo>
                      <a:pt x="196" y="1442"/>
                    </a:lnTo>
                    <a:lnTo>
                      <a:pt x="196" y="1440"/>
                    </a:lnTo>
                    <a:lnTo>
                      <a:pt x="196" y="1438"/>
                    </a:lnTo>
                    <a:lnTo>
                      <a:pt x="194" y="1438"/>
                    </a:lnTo>
                    <a:lnTo>
                      <a:pt x="194" y="1436"/>
                    </a:lnTo>
                    <a:lnTo>
                      <a:pt x="194" y="1438"/>
                    </a:lnTo>
                    <a:lnTo>
                      <a:pt x="194" y="1436"/>
                    </a:lnTo>
                    <a:lnTo>
                      <a:pt x="194" y="1438"/>
                    </a:lnTo>
                    <a:lnTo>
                      <a:pt x="194" y="1436"/>
                    </a:lnTo>
                    <a:lnTo>
                      <a:pt x="194" y="1438"/>
                    </a:lnTo>
                    <a:lnTo>
                      <a:pt x="192" y="1438"/>
                    </a:lnTo>
                    <a:lnTo>
                      <a:pt x="192" y="1436"/>
                    </a:lnTo>
                    <a:lnTo>
                      <a:pt x="194" y="1436"/>
                    </a:lnTo>
                    <a:lnTo>
                      <a:pt x="192" y="1434"/>
                    </a:lnTo>
                    <a:lnTo>
                      <a:pt x="192" y="1432"/>
                    </a:lnTo>
                    <a:lnTo>
                      <a:pt x="192" y="1431"/>
                    </a:lnTo>
                    <a:lnTo>
                      <a:pt x="192" y="1429"/>
                    </a:lnTo>
                    <a:lnTo>
                      <a:pt x="192" y="1427"/>
                    </a:lnTo>
                    <a:lnTo>
                      <a:pt x="192" y="1429"/>
                    </a:lnTo>
                    <a:lnTo>
                      <a:pt x="192" y="1427"/>
                    </a:lnTo>
                    <a:lnTo>
                      <a:pt x="194" y="1427"/>
                    </a:lnTo>
                    <a:lnTo>
                      <a:pt x="194" y="1425"/>
                    </a:lnTo>
                    <a:lnTo>
                      <a:pt x="192" y="1425"/>
                    </a:lnTo>
                    <a:lnTo>
                      <a:pt x="192" y="1423"/>
                    </a:lnTo>
                    <a:lnTo>
                      <a:pt x="192" y="1421"/>
                    </a:lnTo>
                    <a:lnTo>
                      <a:pt x="190" y="1421"/>
                    </a:lnTo>
                    <a:lnTo>
                      <a:pt x="190" y="1419"/>
                    </a:lnTo>
                    <a:lnTo>
                      <a:pt x="189" y="1419"/>
                    </a:lnTo>
                    <a:lnTo>
                      <a:pt x="189" y="1417"/>
                    </a:lnTo>
                    <a:lnTo>
                      <a:pt x="189" y="1415"/>
                    </a:lnTo>
                    <a:lnTo>
                      <a:pt x="187" y="1415"/>
                    </a:lnTo>
                    <a:lnTo>
                      <a:pt x="187" y="1409"/>
                    </a:lnTo>
                    <a:lnTo>
                      <a:pt x="183" y="1409"/>
                    </a:lnTo>
                    <a:lnTo>
                      <a:pt x="183" y="1407"/>
                    </a:lnTo>
                    <a:lnTo>
                      <a:pt x="183" y="1406"/>
                    </a:lnTo>
                    <a:lnTo>
                      <a:pt x="181" y="1406"/>
                    </a:lnTo>
                    <a:lnTo>
                      <a:pt x="181" y="1404"/>
                    </a:lnTo>
                    <a:lnTo>
                      <a:pt x="179" y="1404"/>
                    </a:lnTo>
                    <a:lnTo>
                      <a:pt x="177" y="1404"/>
                    </a:lnTo>
                    <a:lnTo>
                      <a:pt x="177" y="1400"/>
                    </a:lnTo>
                    <a:lnTo>
                      <a:pt x="173" y="1400"/>
                    </a:lnTo>
                    <a:lnTo>
                      <a:pt x="173" y="1396"/>
                    </a:lnTo>
                    <a:lnTo>
                      <a:pt x="173" y="1392"/>
                    </a:lnTo>
                    <a:lnTo>
                      <a:pt x="171" y="1392"/>
                    </a:lnTo>
                    <a:lnTo>
                      <a:pt x="171" y="1388"/>
                    </a:lnTo>
                    <a:lnTo>
                      <a:pt x="171" y="1386"/>
                    </a:lnTo>
                    <a:lnTo>
                      <a:pt x="177" y="1386"/>
                    </a:lnTo>
                    <a:lnTo>
                      <a:pt x="177" y="1382"/>
                    </a:lnTo>
                    <a:lnTo>
                      <a:pt x="179" y="1381"/>
                    </a:lnTo>
                    <a:lnTo>
                      <a:pt x="175" y="1379"/>
                    </a:lnTo>
                    <a:lnTo>
                      <a:pt x="177" y="1373"/>
                    </a:lnTo>
                    <a:lnTo>
                      <a:pt x="175" y="1375"/>
                    </a:lnTo>
                    <a:lnTo>
                      <a:pt x="177" y="1367"/>
                    </a:lnTo>
                    <a:lnTo>
                      <a:pt x="179" y="1359"/>
                    </a:lnTo>
                    <a:lnTo>
                      <a:pt x="181" y="1356"/>
                    </a:lnTo>
                    <a:lnTo>
                      <a:pt x="179" y="1356"/>
                    </a:lnTo>
                    <a:lnTo>
                      <a:pt x="177" y="1356"/>
                    </a:lnTo>
                    <a:lnTo>
                      <a:pt x="175" y="1354"/>
                    </a:lnTo>
                    <a:lnTo>
                      <a:pt x="173" y="1354"/>
                    </a:lnTo>
                    <a:lnTo>
                      <a:pt x="173" y="1352"/>
                    </a:lnTo>
                    <a:lnTo>
                      <a:pt x="175" y="1350"/>
                    </a:lnTo>
                    <a:lnTo>
                      <a:pt x="177" y="1346"/>
                    </a:lnTo>
                    <a:lnTo>
                      <a:pt x="181" y="1346"/>
                    </a:lnTo>
                    <a:lnTo>
                      <a:pt x="183" y="1338"/>
                    </a:lnTo>
                    <a:lnTo>
                      <a:pt x="185" y="1334"/>
                    </a:lnTo>
                    <a:lnTo>
                      <a:pt x="187" y="1329"/>
                    </a:lnTo>
                    <a:lnTo>
                      <a:pt x="187" y="1331"/>
                    </a:lnTo>
                    <a:lnTo>
                      <a:pt x="187" y="1332"/>
                    </a:lnTo>
                    <a:lnTo>
                      <a:pt x="189" y="1332"/>
                    </a:lnTo>
                    <a:lnTo>
                      <a:pt x="189" y="1331"/>
                    </a:lnTo>
                    <a:lnTo>
                      <a:pt x="190" y="1329"/>
                    </a:lnTo>
                    <a:lnTo>
                      <a:pt x="190" y="1327"/>
                    </a:lnTo>
                    <a:lnTo>
                      <a:pt x="192" y="1327"/>
                    </a:lnTo>
                    <a:lnTo>
                      <a:pt x="192" y="1329"/>
                    </a:lnTo>
                    <a:lnTo>
                      <a:pt x="190" y="1329"/>
                    </a:lnTo>
                    <a:lnTo>
                      <a:pt x="192" y="1331"/>
                    </a:lnTo>
                    <a:lnTo>
                      <a:pt x="192" y="1329"/>
                    </a:lnTo>
                    <a:lnTo>
                      <a:pt x="194" y="1327"/>
                    </a:lnTo>
                    <a:lnTo>
                      <a:pt x="194" y="1329"/>
                    </a:lnTo>
                    <a:lnTo>
                      <a:pt x="192" y="1329"/>
                    </a:lnTo>
                    <a:lnTo>
                      <a:pt x="194" y="1329"/>
                    </a:lnTo>
                    <a:lnTo>
                      <a:pt x="196" y="1329"/>
                    </a:lnTo>
                    <a:lnTo>
                      <a:pt x="194" y="1329"/>
                    </a:lnTo>
                    <a:lnTo>
                      <a:pt x="194" y="1327"/>
                    </a:lnTo>
                    <a:lnTo>
                      <a:pt x="194" y="1325"/>
                    </a:lnTo>
                    <a:lnTo>
                      <a:pt x="194" y="1323"/>
                    </a:lnTo>
                    <a:lnTo>
                      <a:pt x="194" y="1321"/>
                    </a:lnTo>
                    <a:lnTo>
                      <a:pt x="198" y="1321"/>
                    </a:lnTo>
                    <a:lnTo>
                      <a:pt x="202" y="1321"/>
                    </a:lnTo>
                    <a:lnTo>
                      <a:pt x="202" y="1319"/>
                    </a:lnTo>
                    <a:lnTo>
                      <a:pt x="204" y="1317"/>
                    </a:lnTo>
                    <a:lnTo>
                      <a:pt x="202" y="1317"/>
                    </a:lnTo>
                    <a:lnTo>
                      <a:pt x="204" y="1317"/>
                    </a:lnTo>
                    <a:lnTo>
                      <a:pt x="202" y="1315"/>
                    </a:lnTo>
                    <a:lnTo>
                      <a:pt x="202" y="1313"/>
                    </a:lnTo>
                    <a:lnTo>
                      <a:pt x="202" y="1311"/>
                    </a:lnTo>
                    <a:lnTo>
                      <a:pt x="204" y="1311"/>
                    </a:lnTo>
                    <a:lnTo>
                      <a:pt x="202" y="1311"/>
                    </a:lnTo>
                    <a:lnTo>
                      <a:pt x="204" y="1309"/>
                    </a:lnTo>
                    <a:lnTo>
                      <a:pt x="202" y="1309"/>
                    </a:lnTo>
                    <a:lnTo>
                      <a:pt x="202" y="1307"/>
                    </a:lnTo>
                    <a:lnTo>
                      <a:pt x="204" y="1307"/>
                    </a:lnTo>
                    <a:lnTo>
                      <a:pt x="202" y="1307"/>
                    </a:lnTo>
                    <a:lnTo>
                      <a:pt x="204" y="1307"/>
                    </a:lnTo>
                    <a:lnTo>
                      <a:pt x="202" y="1307"/>
                    </a:lnTo>
                    <a:lnTo>
                      <a:pt x="202" y="1306"/>
                    </a:lnTo>
                    <a:lnTo>
                      <a:pt x="204" y="1306"/>
                    </a:lnTo>
                    <a:lnTo>
                      <a:pt x="202" y="1306"/>
                    </a:lnTo>
                    <a:lnTo>
                      <a:pt x="204" y="1306"/>
                    </a:lnTo>
                    <a:lnTo>
                      <a:pt x="204" y="1304"/>
                    </a:lnTo>
                    <a:lnTo>
                      <a:pt x="204" y="1302"/>
                    </a:lnTo>
                    <a:lnTo>
                      <a:pt x="204" y="1300"/>
                    </a:lnTo>
                    <a:lnTo>
                      <a:pt x="202" y="1300"/>
                    </a:lnTo>
                    <a:lnTo>
                      <a:pt x="202" y="1298"/>
                    </a:lnTo>
                    <a:lnTo>
                      <a:pt x="200" y="1298"/>
                    </a:lnTo>
                    <a:lnTo>
                      <a:pt x="196" y="1298"/>
                    </a:lnTo>
                    <a:lnTo>
                      <a:pt x="194" y="1298"/>
                    </a:lnTo>
                    <a:lnTo>
                      <a:pt x="192" y="1296"/>
                    </a:lnTo>
                    <a:lnTo>
                      <a:pt x="190" y="1298"/>
                    </a:lnTo>
                    <a:lnTo>
                      <a:pt x="189" y="1296"/>
                    </a:lnTo>
                    <a:lnTo>
                      <a:pt x="187" y="1296"/>
                    </a:lnTo>
                    <a:lnTo>
                      <a:pt x="187" y="1294"/>
                    </a:lnTo>
                    <a:lnTo>
                      <a:pt x="183" y="1290"/>
                    </a:lnTo>
                    <a:lnTo>
                      <a:pt x="179" y="1290"/>
                    </a:lnTo>
                    <a:lnTo>
                      <a:pt x="173" y="1288"/>
                    </a:lnTo>
                    <a:lnTo>
                      <a:pt x="169" y="1286"/>
                    </a:lnTo>
                    <a:lnTo>
                      <a:pt x="165" y="1284"/>
                    </a:lnTo>
                    <a:lnTo>
                      <a:pt x="165" y="1282"/>
                    </a:lnTo>
                    <a:lnTo>
                      <a:pt x="164" y="1279"/>
                    </a:lnTo>
                    <a:lnTo>
                      <a:pt x="164" y="1277"/>
                    </a:lnTo>
                    <a:lnTo>
                      <a:pt x="164" y="1275"/>
                    </a:lnTo>
                    <a:lnTo>
                      <a:pt x="162" y="1269"/>
                    </a:lnTo>
                    <a:lnTo>
                      <a:pt x="162" y="1261"/>
                    </a:lnTo>
                    <a:lnTo>
                      <a:pt x="162" y="1257"/>
                    </a:lnTo>
                    <a:lnTo>
                      <a:pt x="162" y="1256"/>
                    </a:lnTo>
                    <a:lnTo>
                      <a:pt x="164" y="1254"/>
                    </a:lnTo>
                    <a:lnTo>
                      <a:pt x="165" y="1252"/>
                    </a:lnTo>
                    <a:lnTo>
                      <a:pt x="165" y="1250"/>
                    </a:lnTo>
                    <a:lnTo>
                      <a:pt x="167" y="1250"/>
                    </a:lnTo>
                    <a:lnTo>
                      <a:pt x="171" y="1242"/>
                    </a:lnTo>
                    <a:lnTo>
                      <a:pt x="173" y="1238"/>
                    </a:lnTo>
                    <a:lnTo>
                      <a:pt x="175" y="1234"/>
                    </a:lnTo>
                    <a:lnTo>
                      <a:pt x="177" y="1232"/>
                    </a:lnTo>
                    <a:lnTo>
                      <a:pt x="179" y="1232"/>
                    </a:lnTo>
                    <a:lnTo>
                      <a:pt x="183" y="1229"/>
                    </a:lnTo>
                    <a:lnTo>
                      <a:pt x="189" y="1227"/>
                    </a:lnTo>
                    <a:lnTo>
                      <a:pt x="190" y="1225"/>
                    </a:lnTo>
                    <a:lnTo>
                      <a:pt x="185" y="1211"/>
                    </a:lnTo>
                    <a:lnTo>
                      <a:pt x="187" y="1206"/>
                    </a:lnTo>
                    <a:lnTo>
                      <a:pt x="185" y="1206"/>
                    </a:lnTo>
                    <a:lnTo>
                      <a:pt x="181" y="1206"/>
                    </a:lnTo>
                    <a:lnTo>
                      <a:pt x="175" y="1208"/>
                    </a:lnTo>
                    <a:lnTo>
                      <a:pt x="169" y="1208"/>
                    </a:lnTo>
                    <a:lnTo>
                      <a:pt x="165" y="1208"/>
                    </a:lnTo>
                    <a:lnTo>
                      <a:pt x="164" y="1208"/>
                    </a:lnTo>
                    <a:lnTo>
                      <a:pt x="164" y="1204"/>
                    </a:lnTo>
                    <a:lnTo>
                      <a:pt x="160" y="1196"/>
                    </a:lnTo>
                    <a:lnTo>
                      <a:pt x="160" y="1194"/>
                    </a:lnTo>
                    <a:lnTo>
                      <a:pt x="158" y="1192"/>
                    </a:lnTo>
                    <a:lnTo>
                      <a:pt x="158" y="1188"/>
                    </a:lnTo>
                    <a:lnTo>
                      <a:pt x="156" y="1186"/>
                    </a:lnTo>
                    <a:lnTo>
                      <a:pt x="156" y="1184"/>
                    </a:lnTo>
                    <a:lnTo>
                      <a:pt x="156" y="1183"/>
                    </a:lnTo>
                    <a:lnTo>
                      <a:pt x="154" y="1181"/>
                    </a:lnTo>
                    <a:lnTo>
                      <a:pt x="154" y="1179"/>
                    </a:lnTo>
                    <a:lnTo>
                      <a:pt x="152" y="1179"/>
                    </a:lnTo>
                    <a:lnTo>
                      <a:pt x="144" y="1177"/>
                    </a:lnTo>
                    <a:lnTo>
                      <a:pt x="142" y="1171"/>
                    </a:lnTo>
                    <a:lnTo>
                      <a:pt x="142" y="1163"/>
                    </a:lnTo>
                    <a:lnTo>
                      <a:pt x="141" y="1163"/>
                    </a:lnTo>
                    <a:lnTo>
                      <a:pt x="137" y="1161"/>
                    </a:lnTo>
                    <a:lnTo>
                      <a:pt x="131" y="1159"/>
                    </a:lnTo>
                    <a:lnTo>
                      <a:pt x="129" y="1158"/>
                    </a:lnTo>
                    <a:lnTo>
                      <a:pt x="112" y="1156"/>
                    </a:lnTo>
                    <a:lnTo>
                      <a:pt x="110" y="1156"/>
                    </a:lnTo>
                    <a:lnTo>
                      <a:pt x="110" y="1158"/>
                    </a:lnTo>
                    <a:lnTo>
                      <a:pt x="108" y="1158"/>
                    </a:lnTo>
                    <a:lnTo>
                      <a:pt x="106" y="1158"/>
                    </a:lnTo>
                    <a:lnTo>
                      <a:pt x="96" y="1159"/>
                    </a:lnTo>
                    <a:lnTo>
                      <a:pt x="94" y="1159"/>
                    </a:lnTo>
                    <a:lnTo>
                      <a:pt x="92" y="1159"/>
                    </a:lnTo>
                    <a:lnTo>
                      <a:pt x="87" y="1158"/>
                    </a:lnTo>
                    <a:lnTo>
                      <a:pt x="83" y="1158"/>
                    </a:lnTo>
                    <a:lnTo>
                      <a:pt x="77" y="1158"/>
                    </a:lnTo>
                    <a:lnTo>
                      <a:pt x="73" y="1158"/>
                    </a:lnTo>
                    <a:lnTo>
                      <a:pt x="71" y="1156"/>
                    </a:lnTo>
                    <a:lnTo>
                      <a:pt x="69" y="1152"/>
                    </a:lnTo>
                    <a:lnTo>
                      <a:pt x="68" y="1152"/>
                    </a:lnTo>
                    <a:lnTo>
                      <a:pt x="68" y="1150"/>
                    </a:lnTo>
                    <a:lnTo>
                      <a:pt x="68" y="1148"/>
                    </a:lnTo>
                    <a:lnTo>
                      <a:pt x="69" y="1148"/>
                    </a:lnTo>
                    <a:lnTo>
                      <a:pt x="69" y="1146"/>
                    </a:lnTo>
                    <a:lnTo>
                      <a:pt x="69" y="1142"/>
                    </a:lnTo>
                    <a:lnTo>
                      <a:pt x="71" y="1140"/>
                    </a:lnTo>
                    <a:lnTo>
                      <a:pt x="71" y="1138"/>
                    </a:lnTo>
                    <a:lnTo>
                      <a:pt x="71" y="1136"/>
                    </a:lnTo>
                    <a:lnTo>
                      <a:pt x="73" y="1136"/>
                    </a:lnTo>
                    <a:lnTo>
                      <a:pt x="73" y="1134"/>
                    </a:lnTo>
                    <a:lnTo>
                      <a:pt x="73" y="1133"/>
                    </a:lnTo>
                    <a:lnTo>
                      <a:pt x="75" y="1133"/>
                    </a:lnTo>
                    <a:lnTo>
                      <a:pt x="75" y="1131"/>
                    </a:lnTo>
                    <a:lnTo>
                      <a:pt x="75" y="1129"/>
                    </a:lnTo>
                    <a:lnTo>
                      <a:pt x="75" y="1127"/>
                    </a:lnTo>
                    <a:lnTo>
                      <a:pt x="77" y="1129"/>
                    </a:lnTo>
                    <a:lnTo>
                      <a:pt x="77" y="1127"/>
                    </a:lnTo>
                    <a:lnTo>
                      <a:pt x="77" y="1125"/>
                    </a:lnTo>
                    <a:lnTo>
                      <a:pt x="77" y="1123"/>
                    </a:lnTo>
                    <a:lnTo>
                      <a:pt x="75" y="1121"/>
                    </a:lnTo>
                    <a:lnTo>
                      <a:pt x="75" y="1119"/>
                    </a:lnTo>
                    <a:lnTo>
                      <a:pt x="75" y="1117"/>
                    </a:lnTo>
                    <a:lnTo>
                      <a:pt x="73" y="1115"/>
                    </a:lnTo>
                    <a:lnTo>
                      <a:pt x="73" y="1113"/>
                    </a:lnTo>
                    <a:lnTo>
                      <a:pt x="71" y="1109"/>
                    </a:lnTo>
                    <a:lnTo>
                      <a:pt x="71" y="1106"/>
                    </a:lnTo>
                    <a:lnTo>
                      <a:pt x="69" y="1100"/>
                    </a:lnTo>
                    <a:lnTo>
                      <a:pt x="68" y="1096"/>
                    </a:lnTo>
                    <a:lnTo>
                      <a:pt x="66" y="1096"/>
                    </a:lnTo>
                    <a:lnTo>
                      <a:pt x="66" y="1094"/>
                    </a:lnTo>
                    <a:lnTo>
                      <a:pt x="66" y="1092"/>
                    </a:lnTo>
                    <a:lnTo>
                      <a:pt x="69" y="1088"/>
                    </a:lnTo>
                    <a:lnTo>
                      <a:pt x="73" y="1086"/>
                    </a:lnTo>
                    <a:lnTo>
                      <a:pt x="75" y="1084"/>
                    </a:lnTo>
                    <a:lnTo>
                      <a:pt x="77" y="1083"/>
                    </a:lnTo>
                    <a:lnTo>
                      <a:pt x="110" y="1067"/>
                    </a:lnTo>
                    <a:lnTo>
                      <a:pt x="110" y="1063"/>
                    </a:lnTo>
                    <a:lnTo>
                      <a:pt x="108" y="1063"/>
                    </a:lnTo>
                    <a:lnTo>
                      <a:pt x="108" y="1061"/>
                    </a:lnTo>
                    <a:lnTo>
                      <a:pt x="110" y="1059"/>
                    </a:lnTo>
                    <a:lnTo>
                      <a:pt x="112" y="1058"/>
                    </a:lnTo>
                    <a:lnTo>
                      <a:pt x="114" y="1058"/>
                    </a:lnTo>
                    <a:lnTo>
                      <a:pt x="116" y="1058"/>
                    </a:lnTo>
                    <a:lnTo>
                      <a:pt x="117" y="1058"/>
                    </a:lnTo>
                    <a:lnTo>
                      <a:pt x="119" y="1056"/>
                    </a:lnTo>
                    <a:lnTo>
                      <a:pt x="119" y="1052"/>
                    </a:lnTo>
                    <a:lnTo>
                      <a:pt x="116" y="1048"/>
                    </a:lnTo>
                    <a:lnTo>
                      <a:pt x="114" y="1048"/>
                    </a:lnTo>
                    <a:lnTo>
                      <a:pt x="112" y="1048"/>
                    </a:lnTo>
                    <a:lnTo>
                      <a:pt x="108" y="1046"/>
                    </a:lnTo>
                    <a:lnTo>
                      <a:pt x="106" y="1044"/>
                    </a:lnTo>
                    <a:lnTo>
                      <a:pt x="104" y="1040"/>
                    </a:lnTo>
                    <a:lnTo>
                      <a:pt x="102" y="1040"/>
                    </a:lnTo>
                    <a:lnTo>
                      <a:pt x="100" y="1040"/>
                    </a:lnTo>
                    <a:lnTo>
                      <a:pt x="98" y="1040"/>
                    </a:lnTo>
                    <a:lnTo>
                      <a:pt x="96" y="1038"/>
                    </a:lnTo>
                    <a:lnTo>
                      <a:pt x="96" y="1036"/>
                    </a:lnTo>
                    <a:lnTo>
                      <a:pt x="94" y="1034"/>
                    </a:lnTo>
                    <a:lnTo>
                      <a:pt x="92" y="1033"/>
                    </a:lnTo>
                    <a:lnTo>
                      <a:pt x="91" y="1033"/>
                    </a:lnTo>
                    <a:lnTo>
                      <a:pt x="89" y="1033"/>
                    </a:lnTo>
                    <a:lnTo>
                      <a:pt x="87" y="1033"/>
                    </a:lnTo>
                    <a:lnTo>
                      <a:pt x="85" y="1033"/>
                    </a:lnTo>
                    <a:lnTo>
                      <a:pt x="83" y="1031"/>
                    </a:lnTo>
                    <a:lnTo>
                      <a:pt x="83" y="1029"/>
                    </a:lnTo>
                    <a:lnTo>
                      <a:pt x="83" y="1027"/>
                    </a:lnTo>
                    <a:lnTo>
                      <a:pt x="81" y="1025"/>
                    </a:lnTo>
                    <a:lnTo>
                      <a:pt x="81" y="1023"/>
                    </a:lnTo>
                    <a:lnTo>
                      <a:pt x="79" y="1021"/>
                    </a:lnTo>
                    <a:lnTo>
                      <a:pt x="81" y="1019"/>
                    </a:lnTo>
                    <a:lnTo>
                      <a:pt x="81" y="1017"/>
                    </a:lnTo>
                    <a:lnTo>
                      <a:pt x="81" y="1015"/>
                    </a:lnTo>
                    <a:lnTo>
                      <a:pt x="81" y="1011"/>
                    </a:lnTo>
                    <a:lnTo>
                      <a:pt x="81" y="1009"/>
                    </a:lnTo>
                    <a:lnTo>
                      <a:pt x="79" y="1006"/>
                    </a:lnTo>
                    <a:lnTo>
                      <a:pt x="79" y="1004"/>
                    </a:lnTo>
                    <a:lnTo>
                      <a:pt x="81" y="1004"/>
                    </a:lnTo>
                    <a:lnTo>
                      <a:pt x="83" y="1002"/>
                    </a:lnTo>
                    <a:lnTo>
                      <a:pt x="83" y="1000"/>
                    </a:lnTo>
                    <a:lnTo>
                      <a:pt x="87" y="996"/>
                    </a:lnTo>
                    <a:lnTo>
                      <a:pt x="89" y="994"/>
                    </a:lnTo>
                    <a:lnTo>
                      <a:pt x="89" y="992"/>
                    </a:lnTo>
                    <a:lnTo>
                      <a:pt x="91" y="992"/>
                    </a:lnTo>
                    <a:lnTo>
                      <a:pt x="92" y="990"/>
                    </a:lnTo>
                    <a:lnTo>
                      <a:pt x="94" y="988"/>
                    </a:lnTo>
                    <a:lnTo>
                      <a:pt x="94" y="986"/>
                    </a:lnTo>
                    <a:lnTo>
                      <a:pt x="96" y="986"/>
                    </a:lnTo>
                    <a:lnTo>
                      <a:pt x="96" y="984"/>
                    </a:lnTo>
                    <a:lnTo>
                      <a:pt x="94" y="984"/>
                    </a:lnTo>
                    <a:lnTo>
                      <a:pt x="96" y="984"/>
                    </a:lnTo>
                    <a:lnTo>
                      <a:pt x="96" y="983"/>
                    </a:lnTo>
                    <a:lnTo>
                      <a:pt x="94" y="983"/>
                    </a:lnTo>
                    <a:lnTo>
                      <a:pt x="96" y="983"/>
                    </a:lnTo>
                    <a:lnTo>
                      <a:pt x="96" y="981"/>
                    </a:lnTo>
                    <a:lnTo>
                      <a:pt x="98" y="981"/>
                    </a:lnTo>
                    <a:lnTo>
                      <a:pt x="98" y="979"/>
                    </a:lnTo>
                    <a:lnTo>
                      <a:pt x="100" y="979"/>
                    </a:lnTo>
                    <a:lnTo>
                      <a:pt x="102" y="979"/>
                    </a:lnTo>
                    <a:lnTo>
                      <a:pt x="100" y="979"/>
                    </a:lnTo>
                    <a:lnTo>
                      <a:pt x="102" y="979"/>
                    </a:lnTo>
                    <a:lnTo>
                      <a:pt x="102" y="977"/>
                    </a:lnTo>
                    <a:lnTo>
                      <a:pt x="100" y="977"/>
                    </a:lnTo>
                    <a:lnTo>
                      <a:pt x="100" y="975"/>
                    </a:lnTo>
                    <a:lnTo>
                      <a:pt x="102" y="975"/>
                    </a:lnTo>
                    <a:lnTo>
                      <a:pt x="102" y="973"/>
                    </a:lnTo>
                    <a:lnTo>
                      <a:pt x="104" y="973"/>
                    </a:lnTo>
                    <a:lnTo>
                      <a:pt x="104" y="971"/>
                    </a:lnTo>
                    <a:lnTo>
                      <a:pt x="104" y="969"/>
                    </a:lnTo>
                    <a:lnTo>
                      <a:pt x="106" y="969"/>
                    </a:lnTo>
                    <a:lnTo>
                      <a:pt x="106" y="967"/>
                    </a:lnTo>
                    <a:lnTo>
                      <a:pt x="108" y="967"/>
                    </a:lnTo>
                    <a:lnTo>
                      <a:pt x="108" y="965"/>
                    </a:lnTo>
                    <a:lnTo>
                      <a:pt x="110" y="963"/>
                    </a:lnTo>
                    <a:lnTo>
                      <a:pt x="112" y="963"/>
                    </a:lnTo>
                    <a:lnTo>
                      <a:pt x="114" y="963"/>
                    </a:lnTo>
                    <a:lnTo>
                      <a:pt x="114" y="961"/>
                    </a:lnTo>
                    <a:lnTo>
                      <a:pt x="116" y="961"/>
                    </a:lnTo>
                    <a:lnTo>
                      <a:pt x="116" y="960"/>
                    </a:lnTo>
                    <a:lnTo>
                      <a:pt x="116" y="958"/>
                    </a:lnTo>
                    <a:lnTo>
                      <a:pt x="116" y="956"/>
                    </a:lnTo>
                    <a:lnTo>
                      <a:pt x="117" y="956"/>
                    </a:lnTo>
                    <a:lnTo>
                      <a:pt x="117" y="954"/>
                    </a:lnTo>
                    <a:lnTo>
                      <a:pt x="119" y="954"/>
                    </a:lnTo>
                    <a:lnTo>
                      <a:pt x="117" y="954"/>
                    </a:lnTo>
                    <a:lnTo>
                      <a:pt x="119" y="954"/>
                    </a:lnTo>
                    <a:lnTo>
                      <a:pt x="117" y="954"/>
                    </a:lnTo>
                    <a:lnTo>
                      <a:pt x="117" y="952"/>
                    </a:lnTo>
                    <a:lnTo>
                      <a:pt x="117" y="950"/>
                    </a:lnTo>
                    <a:lnTo>
                      <a:pt x="116" y="948"/>
                    </a:lnTo>
                    <a:lnTo>
                      <a:pt x="117" y="948"/>
                    </a:lnTo>
                    <a:lnTo>
                      <a:pt x="116" y="948"/>
                    </a:lnTo>
                    <a:lnTo>
                      <a:pt x="117" y="948"/>
                    </a:lnTo>
                    <a:lnTo>
                      <a:pt x="116" y="948"/>
                    </a:lnTo>
                    <a:lnTo>
                      <a:pt x="117" y="948"/>
                    </a:lnTo>
                    <a:lnTo>
                      <a:pt x="116" y="948"/>
                    </a:lnTo>
                    <a:lnTo>
                      <a:pt x="116" y="946"/>
                    </a:lnTo>
                    <a:lnTo>
                      <a:pt x="116" y="948"/>
                    </a:lnTo>
                    <a:lnTo>
                      <a:pt x="116" y="946"/>
                    </a:lnTo>
                    <a:lnTo>
                      <a:pt x="116" y="944"/>
                    </a:lnTo>
                    <a:lnTo>
                      <a:pt x="117" y="944"/>
                    </a:lnTo>
                    <a:lnTo>
                      <a:pt x="116" y="944"/>
                    </a:lnTo>
                    <a:lnTo>
                      <a:pt x="117" y="944"/>
                    </a:lnTo>
                    <a:lnTo>
                      <a:pt x="117" y="942"/>
                    </a:lnTo>
                    <a:lnTo>
                      <a:pt x="117" y="940"/>
                    </a:lnTo>
                    <a:lnTo>
                      <a:pt x="119" y="938"/>
                    </a:lnTo>
                    <a:lnTo>
                      <a:pt x="119" y="940"/>
                    </a:lnTo>
                    <a:lnTo>
                      <a:pt x="119" y="938"/>
                    </a:lnTo>
                    <a:lnTo>
                      <a:pt x="117" y="938"/>
                    </a:lnTo>
                    <a:lnTo>
                      <a:pt x="119" y="938"/>
                    </a:lnTo>
                    <a:lnTo>
                      <a:pt x="119" y="936"/>
                    </a:lnTo>
                    <a:lnTo>
                      <a:pt x="121" y="936"/>
                    </a:lnTo>
                    <a:lnTo>
                      <a:pt x="119" y="936"/>
                    </a:lnTo>
                    <a:lnTo>
                      <a:pt x="121" y="936"/>
                    </a:lnTo>
                    <a:lnTo>
                      <a:pt x="121" y="935"/>
                    </a:lnTo>
                    <a:lnTo>
                      <a:pt x="123" y="935"/>
                    </a:lnTo>
                    <a:lnTo>
                      <a:pt x="123" y="933"/>
                    </a:lnTo>
                    <a:lnTo>
                      <a:pt x="121" y="933"/>
                    </a:lnTo>
                    <a:lnTo>
                      <a:pt x="123" y="933"/>
                    </a:lnTo>
                    <a:lnTo>
                      <a:pt x="121" y="933"/>
                    </a:lnTo>
                    <a:lnTo>
                      <a:pt x="121" y="931"/>
                    </a:lnTo>
                    <a:lnTo>
                      <a:pt x="119" y="931"/>
                    </a:lnTo>
                    <a:lnTo>
                      <a:pt x="117" y="931"/>
                    </a:lnTo>
                    <a:lnTo>
                      <a:pt x="117" y="933"/>
                    </a:lnTo>
                    <a:lnTo>
                      <a:pt x="117" y="931"/>
                    </a:lnTo>
                    <a:lnTo>
                      <a:pt x="117" y="933"/>
                    </a:lnTo>
                    <a:lnTo>
                      <a:pt x="116" y="933"/>
                    </a:lnTo>
                    <a:lnTo>
                      <a:pt x="116" y="931"/>
                    </a:lnTo>
                    <a:lnTo>
                      <a:pt x="114" y="931"/>
                    </a:lnTo>
                    <a:lnTo>
                      <a:pt x="116" y="931"/>
                    </a:lnTo>
                    <a:lnTo>
                      <a:pt x="114" y="931"/>
                    </a:lnTo>
                    <a:lnTo>
                      <a:pt x="114" y="929"/>
                    </a:lnTo>
                    <a:lnTo>
                      <a:pt x="114" y="931"/>
                    </a:lnTo>
                    <a:lnTo>
                      <a:pt x="114" y="929"/>
                    </a:lnTo>
                    <a:lnTo>
                      <a:pt x="116" y="929"/>
                    </a:lnTo>
                    <a:lnTo>
                      <a:pt x="114" y="929"/>
                    </a:lnTo>
                    <a:lnTo>
                      <a:pt x="116" y="929"/>
                    </a:lnTo>
                    <a:lnTo>
                      <a:pt x="114" y="929"/>
                    </a:lnTo>
                    <a:lnTo>
                      <a:pt x="116" y="929"/>
                    </a:lnTo>
                    <a:lnTo>
                      <a:pt x="116" y="927"/>
                    </a:lnTo>
                    <a:lnTo>
                      <a:pt x="114" y="927"/>
                    </a:lnTo>
                    <a:lnTo>
                      <a:pt x="114" y="925"/>
                    </a:lnTo>
                    <a:lnTo>
                      <a:pt x="116" y="925"/>
                    </a:lnTo>
                    <a:lnTo>
                      <a:pt x="114" y="925"/>
                    </a:lnTo>
                    <a:lnTo>
                      <a:pt x="116" y="925"/>
                    </a:lnTo>
                    <a:lnTo>
                      <a:pt x="114" y="925"/>
                    </a:lnTo>
                    <a:lnTo>
                      <a:pt x="114" y="923"/>
                    </a:lnTo>
                    <a:lnTo>
                      <a:pt x="112" y="921"/>
                    </a:lnTo>
                    <a:lnTo>
                      <a:pt x="114" y="921"/>
                    </a:lnTo>
                    <a:lnTo>
                      <a:pt x="112" y="921"/>
                    </a:lnTo>
                    <a:lnTo>
                      <a:pt x="112" y="923"/>
                    </a:lnTo>
                    <a:lnTo>
                      <a:pt x="110" y="923"/>
                    </a:lnTo>
                    <a:lnTo>
                      <a:pt x="110" y="921"/>
                    </a:lnTo>
                    <a:lnTo>
                      <a:pt x="108" y="921"/>
                    </a:lnTo>
                    <a:lnTo>
                      <a:pt x="108" y="919"/>
                    </a:lnTo>
                    <a:lnTo>
                      <a:pt x="108" y="921"/>
                    </a:lnTo>
                    <a:lnTo>
                      <a:pt x="106" y="921"/>
                    </a:lnTo>
                    <a:lnTo>
                      <a:pt x="106" y="919"/>
                    </a:lnTo>
                    <a:lnTo>
                      <a:pt x="108" y="919"/>
                    </a:lnTo>
                    <a:lnTo>
                      <a:pt x="106" y="919"/>
                    </a:lnTo>
                    <a:lnTo>
                      <a:pt x="106" y="917"/>
                    </a:lnTo>
                    <a:lnTo>
                      <a:pt x="108" y="917"/>
                    </a:lnTo>
                    <a:lnTo>
                      <a:pt x="106" y="917"/>
                    </a:lnTo>
                    <a:lnTo>
                      <a:pt x="106" y="915"/>
                    </a:lnTo>
                    <a:lnTo>
                      <a:pt x="106" y="917"/>
                    </a:lnTo>
                    <a:lnTo>
                      <a:pt x="106" y="915"/>
                    </a:lnTo>
                    <a:lnTo>
                      <a:pt x="106" y="917"/>
                    </a:lnTo>
                    <a:lnTo>
                      <a:pt x="108" y="917"/>
                    </a:lnTo>
                    <a:lnTo>
                      <a:pt x="106" y="917"/>
                    </a:lnTo>
                    <a:lnTo>
                      <a:pt x="108" y="917"/>
                    </a:lnTo>
                    <a:lnTo>
                      <a:pt x="108" y="919"/>
                    </a:lnTo>
                    <a:lnTo>
                      <a:pt x="110" y="917"/>
                    </a:lnTo>
                    <a:lnTo>
                      <a:pt x="108" y="917"/>
                    </a:lnTo>
                    <a:lnTo>
                      <a:pt x="110" y="917"/>
                    </a:lnTo>
                    <a:lnTo>
                      <a:pt x="110" y="915"/>
                    </a:lnTo>
                    <a:lnTo>
                      <a:pt x="112" y="915"/>
                    </a:lnTo>
                    <a:lnTo>
                      <a:pt x="110" y="915"/>
                    </a:lnTo>
                    <a:lnTo>
                      <a:pt x="112" y="915"/>
                    </a:lnTo>
                    <a:lnTo>
                      <a:pt x="112" y="913"/>
                    </a:lnTo>
                    <a:lnTo>
                      <a:pt x="114" y="913"/>
                    </a:lnTo>
                    <a:lnTo>
                      <a:pt x="114" y="911"/>
                    </a:lnTo>
                    <a:lnTo>
                      <a:pt x="114" y="910"/>
                    </a:lnTo>
                    <a:lnTo>
                      <a:pt x="116" y="910"/>
                    </a:lnTo>
                    <a:lnTo>
                      <a:pt x="114" y="910"/>
                    </a:lnTo>
                    <a:lnTo>
                      <a:pt x="116" y="910"/>
                    </a:lnTo>
                    <a:lnTo>
                      <a:pt x="114" y="910"/>
                    </a:lnTo>
                    <a:lnTo>
                      <a:pt x="114" y="908"/>
                    </a:lnTo>
                    <a:lnTo>
                      <a:pt x="116" y="908"/>
                    </a:lnTo>
                    <a:lnTo>
                      <a:pt x="114" y="908"/>
                    </a:lnTo>
                    <a:lnTo>
                      <a:pt x="116" y="908"/>
                    </a:lnTo>
                    <a:lnTo>
                      <a:pt x="116" y="906"/>
                    </a:lnTo>
                    <a:lnTo>
                      <a:pt x="117" y="906"/>
                    </a:lnTo>
                    <a:lnTo>
                      <a:pt x="116" y="906"/>
                    </a:lnTo>
                    <a:lnTo>
                      <a:pt x="116" y="904"/>
                    </a:lnTo>
                    <a:lnTo>
                      <a:pt x="116" y="902"/>
                    </a:lnTo>
                    <a:lnTo>
                      <a:pt x="117" y="902"/>
                    </a:lnTo>
                    <a:lnTo>
                      <a:pt x="116" y="900"/>
                    </a:lnTo>
                    <a:lnTo>
                      <a:pt x="117" y="900"/>
                    </a:lnTo>
                    <a:lnTo>
                      <a:pt x="116" y="900"/>
                    </a:lnTo>
                    <a:lnTo>
                      <a:pt x="117" y="900"/>
                    </a:lnTo>
                    <a:lnTo>
                      <a:pt x="119" y="900"/>
                    </a:lnTo>
                    <a:lnTo>
                      <a:pt x="119" y="898"/>
                    </a:lnTo>
                    <a:lnTo>
                      <a:pt x="121" y="898"/>
                    </a:lnTo>
                    <a:lnTo>
                      <a:pt x="119" y="898"/>
                    </a:lnTo>
                    <a:lnTo>
                      <a:pt x="119" y="896"/>
                    </a:lnTo>
                    <a:lnTo>
                      <a:pt x="121" y="896"/>
                    </a:lnTo>
                    <a:lnTo>
                      <a:pt x="123" y="896"/>
                    </a:lnTo>
                    <a:lnTo>
                      <a:pt x="123" y="894"/>
                    </a:lnTo>
                    <a:lnTo>
                      <a:pt x="125" y="894"/>
                    </a:lnTo>
                    <a:lnTo>
                      <a:pt x="125" y="892"/>
                    </a:lnTo>
                    <a:lnTo>
                      <a:pt x="127" y="892"/>
                    </a:lnTo>
                    <a:lnTo>
                      <a:pt x="129" y="892"/>
                    </a:lnTo>
                    <a:lnTo>
                      <a:pt x="133" y="890"/>
                    </a:lnTo>
                    <a:lnTo>
                      <a:pt x="135" y="890"/>
                    </a:lnTo>
                    <a:lnTo>
                      <a:pt x="135" y="888"/>
                    </a:lnTo>
                    <a:lnTo>
                      <a:pt x="135" y="886"/>
                    </a:lnTo>
                    <a:lnTo>
                      <a:pt x="135" y="885"/>
                    </a:lnTo>
                    <a:lnTo>
                      <a:pt x="133" y="885"/>
                    </a:lnTo>
                    <a:lnTo>
                      <a:pt x="135" y="885"/>
                    </a:lnTo>
                    <a:lnTo>
                      <a:pt x="135" y="883"/>
                    </a:lnTo>
                    <a:lnTo>
                      <a:pt x="135" y="881"/>
                    </a:lnTo>
                    <a:lnTo>
                      <a:pt x="135" y="879"/>
                    </a:lnTo>
                    <a:lnTo>
                      <a:pt x="137" y="879"/>
                    </a:lnTo>
                    <a:lnTo>
                      <a:pt x="137" y="875"/>
                    </a:lnTo>
                    <a:lnTo>
                      <a:pt x="137" y="873"/>
                    </a:lnTo>
                    <a:lnTo>
                      <a:pt x="135" y="871"/>
                    </a:lnTo>
                    <a:lnTo>
                      <a:pt x="135" y="869"/>
                    </a:lnTo>
                    <a:lnTo>
                      <a:pt x="135" y="867"/>
                    </a:lnTo>
                    <a:lnTo>
                      <a:pt x="135" y="865"/>
                    </a:lnTo>
                    <a:lnTo>
                      <a:pt x="135" y="863"/>
                    </a:lnTo>
                    <a:lnTo>
                      <a:pt x="133" y="863"/>
                    </a:lnTo>
                    <a:lnTo>
                      <a:pt x="133" y="861"/>
                    </a:lnTo>
                    <a:lnTo>
                      <a:pt x="133" y="860"/>
                    </a:lnTo>
                    <a:lnTo>
                      <a:pt x="137" y="856"/>
                    </a:lnTo>
                    <a:lnTo>
                      <a:pt x="137" y="854"/>
                    </a:lnTo>
                    <a:lnTo>
                      <a:pt x="135" y="850"/>
                    </a:lnTo>
                    <a:lnTo>
                      <a:pt x="135" y="848"/>
                    </a:lnTo>
                    <a:lnTo>
                      <a:pt x="135" y="846"/>
                    </a:lnTo>
                    <a:lnTo>
                      <a:pt x="135" y="842"/>
                    </a:lnTo>
                    <a:lnTo>
                      <a:pt x="133" y="840"/>
                    </a:lnTo>
                    <a:lnTo>
                      <a:pt x="131" y="838"/>
                    </a:lnTo>
                    <a:lnTo>
                      <a:pt x="129" y="838"/>
                    </a:lnTo>
                    <a:lnTo>
                      <a:pt x="127" y="836"/>
                    </a:lnTo>
                    <a:lnTo>
                      <a:pt x="127" y="838"/>
                    </a:lnTo>
                    <a:lnTo>
                      <a:pt x="125" y="838"/>
                    </a:lnTo>
                    <a:lnTo>
                      <a:pt x="123" y="838"/>
                    </a:lnTo>
                    <a:lnTo>
                      <a:pt x="123" y="840"/>
                    </a:lnTo>
                    <a:lnTo>
                      <a:pt x="121" y="840"/>
                    </a:lnTo>
                    <a:lnTo>
                      <a:pt x="119" y="840"/>
                    </a:lnTo>
                    <a:lnTo>
                      <a:pt x="121" y="840"/>
                    </a:lnTo>
                    <a:lnTo>
                      <a:pt x="119" y="840"/>
                    </a:lnTo>
                    <a:lnTo>
                      <a:pt x="117" y="840"/>
                    </a:lnTo>
                    <a:lnTo>
                      <a:pt x="117" y="842"/>
                    </a:lnTo>
                    <a:lnTo>
                      <a:pt x="117" y="840"/>
                    </a:lnTo>
                    <a:lnTo>
                      <a:pt x="117" y="842"/>
                    </a:lnTo>
                    <a:lnTo>
                      <a:pt x="116" y="842"/>
                    </a:lnTo>
                    <a:lnTo>
                      <a:pt x="116" y="840"/>
                    </a:lnTo>
                    <a:lnTo>
                      <a:pt x="116" y="838"/>
                    </a:lnTo>
                    <a:lnTo>
                      <a:pt x="114" y="838"/>
                    </a:lnTo>
                    <a:lnTo>
                      <a:pt x="114" y="836"/>
                    </a:lnTo>
                    <a:lnTo>
                      <a:pt x="112" y="836"/>
                    </a:lnTo>
                    <a:lnTo>
                      <a:pt x="114" y="836"/>
                    </a:lnTo>
                    <a:lnTo>
                      <a:pt x="112" y="836"/>
                    </a:lnTo>
                    <a:lnTo>
                      <a:pt x="112" y="835"/>
                    </a:lnTo>
                    <a:lnTo>
                      <a:pt x="114" y="835"/>
                    </a:lnTo>
                    <a:lnTo>
                      <a:pt x="114" y="833"/>
                    </a:lnTo>
                    <a:lnTo>
                      <a:pt x="114" y="831"/>
                    </a:lnTo>
                    <a:lnTo>
                      <a:pt x="112" y="831"/>
                    </a:lnTo>
                    <a:lnTo>
                      <a:pt x="112" y="829"/>
                    </a:lnTo>
                    <a:lnTo>
                      <a:pt x="112" y="831"/>
                    </a:lnTo>
                    <a:lnTo>
                      <a:pt x="110" y="831"/>
                    </a:lnTo>
                    <a:lnTo>
                      <a:pt x="110" y="829"/>
                    </a:lnTo>
                    <a:lnTo>
                      <a:pt x="110" y="831"/>
                    </a:lnTo>
                    <a:lnTo>
                      <a:pt x="110" y="829"/>
                    </a:lnTo>
                    <a:lnTo>
                      <a:pt x="108" y="831"/>
                    </a:lnTo>
                    <a:lnTo>
                      <a:pt x="108" y="829"/>
                    </a:lnTo>
                    <a:lnTo>
                      <a:pt x="108" y="831"/>
                    </a:lnTo>
                    <a:lnTo>
                      <a:pt x="106" y="831"/>
                    </a:lnTo>
                    <a:lnTo>
                      <a:pt x="104" y="831"/>
                    </a:lnTo>
                    <a:lnTo>
                      <a:pt x="102" y="831"/>
                    </a:lnTo>
                    <a:lnTo>
                      <a:pt x="100" y="831"/>
                    </a:lnTo>
                    <a:lnTo>
                      <a:pt x="98" y="831"/>
                    </a:lnTo>
                    <a:lnTo>
                      <a:pt x="98" y="829"/>
                    </a:lnTo>
                    <a:lnTo>
                      <a:pt x="98" y="831"/>
                    </a:lnTo>
                    <a:lnTo>
                      <a:pt x="96" y="831"/>
                    </a:lnTo>
                    <a:lnTo>
                      <a:pt x="94" y="831"/>
                    </a:lnTo>
                    <a:lnTo>
                      <a:pt x="96" y="831"/>
                    </a:lnTo>
                    <a:lnTo>
                      <a:pt x="94" y="829"/>
                    </a:lnTo>
                    <a:lnTo>
                      <a:pt x="94" y="827"/>
                    </a:lnTo>
                    <a:lnTo>
                      <a:pt x="94" y="829"/>
                    </a:lnTo>
                    <a:lnTo>
                      <a:pt x="94" y="827"/>
                    </a:lnTo>
                    <a:lnTo>
                      <a:pt x="96" y="827"/>
                    </a:lnTo>
                    <a:lnTo>
                      <a:pt x="96" y="825"/>
                    </a:lnTo>
                    <a:lnTo>
                      <a:pt x="98" y="825"/>
                    </a:lnTo>
                    <a:lnTo>
                      <a:pt x="98" y="823"/>
                    </a:lnTo>
                    <a:lnTo>
                      <a:pt x="96" y="823"/>
                    </a:lnTo>
                    <a:lnTo>
                      <a:pt x="98" y="823"/>
                    </a:lnTo>
                    <a:lnTo>
                      <a:pt x="98" y="821"/>
                    </a:lnTo>
                    <a:lnTo>
                      <a:pt x="96" y="821"/>
                    </a:lnTo>
                    <a:lnTo>
                      <a:pt x="98" y="819"/>
                    </a:lnTo>
                    <a:lnTo>
                      <a:pt x="96" y="819"/>
                    </a:lnTo>
                    <a:lnTo>
                      <a:pt x="96" y="821"/>
                    </a:lnTo>
                    <a:lnTo>
                      <a:pt x="96" y="819"/>
                    </a:lnTo>
                    <a:lnTo>
                      <a:pt x="96" y="817"/>
                    </a:lnTo>
                    <a:lnTo>
                      <a:pt x="98" y="813"/>
                    </a:lnTo>
                    <a:lnTo>
                      <a:pt x="100" y="811"/>
                    </a:lnTo>
                    <a:lnTo>
                      <a:pt x="102" y="811"/>
                    </a:lnTo>
                    <a:lnTo>
                      <a:pt x="102" y="810"/>
                    </a:lnTo>
                    <a:lnTo>
                      <a:pt x="104" y="810"/>
                    </a:lnTo>
                    <a:lnTo>
                      <a:pt x="104" y="808"/>
                    </a:lnTo>
                    <a:lnTo>
                      <a:pt x="104" y="806"/>
                    </a:lnTo>
                    <a:lnTo>
                      <a:pt x="104" y="804"/>
                    </a:lnTo>
                    <a:lnTo>
                      <a:pt x="104" y="802"/>
                    </a:lnTo>
                    <a:lnTo>
                      <a:pt x="104" y="800"/>
                    </a:lnTo>
                    <a:lnTo>
                      <a:pt x="102" y="800"/>
                    </a:lnTo>
                    <a:lnTo>
                      <a:pt x="104" y="798"/>
                    </a:lnTo>
                    <a:lnTo>
                      <a:pt x="104" y="796"/>
                    </a:lnTo>
                    <a:lnTo>
                      <a:pt x="104" y="794"/>
                    </a:lnTo>
                    <a:lnTo>
                      <a:pt x="102" y="794"/>
                    </a:lnTo>
                    <a:lnTo>
                      <a:pt x="102" y="792"/>
                    </a:lnTo>
                    <a:lnTo>
                      <a:pt x="102" y="790"/>
                    </a:lnTo>
                    <a:lnTo>
                      <a:pt x="100" y="790"/>
                    </a:lnTo>
                    <a:lnTo>
                      <a:pt x="98" y="788"/>
                    </a:lnTo>
                    <a:lnTo>
                      <a:pt x="96" y="788"/>
                    </a:lnTo>
                    <a:lnTo>
                      <a:pt x="96" y="786"/>
                    </a:lnTo>
                    <a:lnTo>
                      <a:pt x="98" y="786"/>
                    </a:lnTo>
                    <a:lnTo>
                      <a:pt x="98" y="785"/>
                    </a:lnTo>
                    <a:lnTo>
                      <a:pt x="100" y="785"/>
                    </a:lnTo>
                    <a:lnTo>
                      <a:pt x="100" y="783"/>
                    </a:lnTo>
                    <a:lnTo>
                      <a:pt x="100" y="781"/>
                    </a:lnTo>
                    <a:lnTo>
                      <a:pt x="98" y="783"/>
                    </a:lnTo>
                    <a:lnTo>
                      <a:pt x="98" y="781"/>
                    </a:lnTo>
                    <a:lnTo>
                      <a:pt x="96" y="781"/>
                    </a:lnTo>
                    <a:lnTo>
                      <a:pt x="96" y="779"/>
                    </a:lnTo>
                    <a:lnTo>
                      <a:pt x="94" y="779"/>
                    </a:lnTo>
                    <a:lnTo>
                      <a:pt x="94" y="777"/>
                    </a:lnTo>
                    <a:lnTo>
                      <a:pt x="92" y="773"/>
                    </a:lnTo>
                    <a:lnTo>
                      <a:pt x="89" y="773"/>
                    </a:lnTo>
                    <a:lnTo>
                      <a:pt x="85" y="773"/>
                    </a:lnTo>
                    <a:lnTo>
                      <a:pt x="83" y="773"/>
                    </a:lnTo>
                    <a:lnTo>
                      <a:pt x="83" y="775"/>
                    </a:lnTo>
                    <a:lnTo>
                      <a:pt x="81" y="775"/>
                    </a:lnTo>
                    <a:lnTo>
                      <a:pt x="79" y="771"/>
                    </a:lnTo>
                    <a:lnTo>
                      <a:pt x="81" y="769"/>
                    </a:lnTo>
                    <a:lnTo>
                      <a:pt x="81" y="767"/>
                    </a:lnTo>
                    <a:lnTo>
                      <a:pt x="81" y="765"/>
                    </a:lnTo>
                    <a:lnTo>
                      <a:pt x="81" y="763"/>
                    </a:lnTo>
                    <a:lnTo>
                      <a:pt x="79" y="763"/>
                    </a:lnTo>
                    <a:lnTo>
                      <a:pt x="79" y="761"/>
                    </a:lnTo>
                    <a:lnTo>
                      <a:pt x="77" y="761"/>
                    </a:lnTo>
                    <a:lnTo>
                      <a:pt x="77" y="760"/>
                    </a:lnTo>
                    <a:lnTo>
                      <a:pt x="75" y="760"/>
                    </a:lnTo>
                    <a:lnTo>
                      <a:pt x="77" y="760"/>
                    </a:lnTo>
                    <a:lnTo>
                      <a:pt x="77" y="758"/>
                    </a:lnTo>
                    <a:lnTo>
                      <a:pt x="77" y="756"/>
                    </a:lnTo>
                    <a:lnTo>
                      <a:pt x="75" y="756"/>
                    </a:lnTo>
                    <a:lnTo>
                      <a:pt x="75" y="758"/>
                    </a:lnTo>
                    <a:lnTo>
                      <a:pt x="75" y="756"/>
                    </a:lnTo>
                    <a:lnTo>
                      <a:pt x="77" y="756"/>
                    </a:lnTo>
                    <a:lnTo>
                      <a:pt x="77" y="754"/>
                    </a:lnTo>
                    <a:lnTo>
                      <a:pt x="79" y="754"/>
                    </a:lnTo>
                    <a:lnTo>
                      <a:pt x="79" y="752"/>
                    </a:lnTo>
                    <a:lnTo>
                      <a:pt x="81" y="752"/>
                    </a:lnTo>
                    <a:lnTo>
                      <a:pt x="81" y="750"/>
                    </a:lnTo>
                    <a:lnTo>
                      <a:pt x="83" y="750"/>
                    </a:lnTo>
                    <a:lnTo>
                      <a:pt x="83" y="748"/>
                    </a:lnTo>
                    <a:lnTo>
                      <a:pt x="83" y="746"/>
                    </a:lnTo>
                    <a:lnTo>
                      <a:pt x="81" y="744"/>
                    </a:lnTo>
                    <a:lnTo>
                      <a:pt x="81" y="742"/>
                    </a:lnTo>
                    <a:lnTo>
                      <a:pt x="81" y="740"/>
                    </a:lnTo>
                    <a:lnTo>
                      <a:pt x="79" y="740"/>
                    </a:lnTo>
                    <a:lnTo>
                      <a:pt x="79" y="738"/>
                    </a:lnTo>
                    <a:lnTo>
                      <a:pt x="79" y="736"/>
                    </a:lnTo>
                    <a:lnTo>
                      <a:pt x="77" y="736"/>
                    </a:lnTo>
                    <a:lnTo>
                      <a:pt x="77" y="735"/>
                    </a:lnTo>
                    <a:lnTo>
                      <a:pt x="75" y="735"/>
                    </a:lnTo>
                    <a:lnTo>
                      <a:pt x="75" y="733"/>
                    </a:lnTo>
                    <a:lnTo>
                      <a:pt x="73" y="731"/>
                    </a:lnTo>
                    <a:lnTo>
                      <a:pt x="73" y="729"/>
                    </a:lnTo>
                    <a:lnTo>
                      <a:pt x="75" y="727"/>
                    </a:lnTo>
                    <a:lnTo>
                      <a:pt x="75" y="725"/>
                    </a:lnTo>
                    <a:lnTo>
                      <a:pt x="75" y="723"/>
                    </a:lnTo>
                    <a:lnTo>
                      <a:pt x="75" y="721"/>
                    </a:lnTo>
                    <a:lnTo>
                      <a:pt x="77" y="721"/>
                    </a:lnTo>
                    <a:lnTo>
                      <a:pt x="79" y="721"/>
                    </a:lnTo>
                    <a:lnTo>
                      <a:pt x="79" y="719"/>
                    </a:lnTo>
                    <a:lnTo>
                      <a:pt x="81" y="719"/>
                    </a:lnTo>
                    <a:lnTo>
                      <a:pt x="81" y="717"/>
                    </a:lnTo>
                    <a:lnTo>
                      <a:pt x="81" y="715"/>
                    </a:lnTo>
                    <a:lnTo>
                      <a:pt x="79" y="715"/>
                    </a:lnTo>
                    <a:lnTo>
                      <a:pt x="79" y="713"/>
                    </a:lnTo>
                    <a:lnTo>
                      <a:pt x="81" y="713"/>
                    </a:lnTo>
                    <a:lnTo>
                      <a:pt x="79" y="712"/>
                    </a:lnTo>
                    <a:lnTo>
                      <a:pt x="79" y="710"/>
                    </a:lnTo>
                    <a:lnTo>
                      <a:pt x="79" y="708"/>
                    </a:lnTo>
                    <a:lnTo>
                      <a:pt x="77" y="706"/>
                    </a:lnTo>
                    <a:lnTo>
                      <a:pt x="75" y="706"/>
                    </a:lnTo>
                    <a:lnTo>
                      <a:pt x="77" y="704"/>
                    </a:lnTo>
                    <a:lnTo>
                      <a:pt x="75" y="704"/>
                    </a:lnTo>
                    <a:lnTo>
                      <a:pt x="66" y="690"/>
                    </a:lnTo>
                    <a:lnTo>
                      <a:pt x="62" y="688"/>
                    </a:lnTo>
                    <a:lnTo>
                      <a:pt x="58" y="683"/>
                    </a:lnTo>
                    <a:lnTo>
                      <a:pt x="58" y="681"/>
                    </a:lnTo>
                    <a:lnTo>
                      <a:pt x="56" y="681"/>
                    </a:lnTo>
                    <a:lnTo>
                      <a:pt x="56" y="679"/>
                    </a:lnTo>
                    <a:lnTo>
                      <a:pt x="58" y="679"/>
                    </a:lnTo>
                    <a:lnTo>
                      <a:pt x="58" y="677"/>
                    </a:lnTo>
                    <a:lnTo>
                      <a:pt x="60" y="677"/>
                    </a:lnTo>
                    <a:lnTo>
                      <a:pt x="58" y="677"/>
                    </a:lnTo>
                    <a:lnTo>
                      <a:pt x="58" y="675"/>
                    </a:lnTo>
                    <a:lnTo>
                      <a:pt x="60" y="677"/>
                    </a:lnTo>
                    <a:lnTo>
                      <a:pt x="60" y="675"/>
                    </a:lnTo>
                    <a:lnTo>
                      <a:pt x="62" y="675"/>
                    </a:lnTo>
                    <a:lnTo>
                      <a:pt x="62" y="673"/>
                    </a:lnTo>
                    <a:lnTo>
                      <a:pt x="62" y="675"/>
                    </a:lnTo>
                    <a:lnTo>
                      <a:pt x="62" y="673"/>
                    </a:lnTo>
                    <a:lnTo>
                      <a:pt x="60" y="673"/>
                    </a:lnTo>
                    <a:lnTo>
                      <a:pt x="62" y="673"/>
                    </a:lnTo>
                    <a:lnTo>
                      <a:pt x="60" y="673"/>
                    </a:lnTo>
                    <a:lnTo>
                      <a:pt x="62" y="673"/>
                    </a:lnTo>
                    <a:lnTo>
                      <a:pt x="62" y="671"/>
                    </a:lnTo>
                    <a:lnTo>
                      <a:pt x="60" y="671"/>
                    </a:lnTo>
                    <a:lnTo>
                      <a:pt x="62" y="671"/>
                    </a:lnTo>
                    <a:lnTo>
                      <a:pt x="60" y="671"/>
                    </a:lnTo>
                    <a:lnTo>
                      <a:pt x="60" y="669"/>
                    </a:lnTo>
                    <a:lnTo>
                      <a:pt x="62" y="669"/>
                    </a:lnTo>
                    <a:lnTo>
                      <a:pt x="62" y="667"/>
                    </a:lnTo>
                    <a:lnTo>
                      <a:pt x="60" y="667"/>
                    </a:lnTo>
                    <a:lnTo>
                      <a:pt x="62" y="667"/>
                    </a:lnTo>
                    <a:lnTo>
                      <a:pt x="64" y="667"/>
                    </a:lnTo>
                    <a:lnTo>
                      <a:pt x="64" y="665"/>
                    </a:lnTo>
                    <a:lnTo>
                      <a:pt x="64" y="667"/>
                    </a:lnTo>
                    <a:lnTo>
                      <a:pt x="64" y="665"/>
                    </a:lnTo>
                    <a:lnTo>
                      <a:pt x="64" y="663"/>
                    </a:lnTo>
                    <a:lnTo>
                      <a:pt x="66" y="663"/>
                    </a:lnTo>
                    <a:lnTo>
                      <a:pt x="64" y="663"/>
                    </a:lnTo>
                    <a:lnTo>
                      <a:pt x="66" y="663"/>
                    </a:lnTo>
                    <a:lnTo>
                      <a:pt x="64" y="663"/>
                    </a:lnTo>
                    <a:lnTo>
                      <a:pt x="64" y="662"/>
                    </a:lnTo>
                    <a:lnTo>
                      <a:pt x="66" y="662"/>
                    </a:lnTo>
                    <a:lnTo>
                      <a:pt x="64" y="662"/>
                    </a:lnTo>
                    <a:lnTo>
                      <a:pt x="62" y="662"/>
                    </a:lnTo>
                    <a:lnTo>
                      <a:pt x="62" y="660"/>
                    </a:lnTo>
                    <a:lnTo>
                      <a:pt x="60" y="660"/>
                    </a:lnTo>
                    <a:lnTo>
                      <a:pt x="60" y="658"/>
                    </a:lnTo>
                    <a:lnTo>
                      <a:pt x="60" y="660"/>
                    </a:lnTo>
                    <a:lnTo>
                      <a:pt x="60" y="658"/>
                    </a:lnTo>
                    <a:lnTo>
                      <a:pt x="58" y="658"/>
                    </a:lnTo>
                    <a:lnTo>
                      <a:pt x="58" y="656"/>
                    </a:lnTo>
                    <a:lnTo>
                      <a:pt x="58" y="654"/>
                    </a:lnTo>
                    <a:lnTo>
                      <a:pt x="56" y="654"/>
                    </a:lnTo>
                    <a:lnTo>
                      <a:pt x="58" y="654"/>
                    </a:lnTo>
                    <a:lnTo>
                      <a:pt x="58" y="652"/>
                    </a:lnTo>
                    <a:lnTo>
                      <a:pt x="58" y="654"/>
                    </a:lnTo>
                    <a:lnTo>
                      <a:pt x="58" y="652"/>
                    </a:lnTo>
                    <a:lnTo>
                      <a:pt x="60" y="652"/>
                    </a:lnTo>
                    <a:lnTo>
                      <a:pt x="58" y="652"/>
                    </a:lnTo>
                    <a:lnTo>
                      <a:pt x="58" y="650"/>
                    </a:lnTo>
                    <a:lnTo>
                      <a:pt x="60" y="650"/>
                    </a:lnTo>
                    <a:lnTo>
                      <a:pt x="58" y="650"/>
                    </a:lnTo>
                    <a:lnTo>
                      <a:pt x="58" y="648"/>
                    </a:lnTo>
                    <a:lnTo>
                      <a:pt x="58" y="650"/>
                    </a:lnTo>
                    <a:lnTo>
                      <a:pt x="58" y="648"/>
                    </a:lnTo>
                    <a:lnTo>
                      <a:pt x="56" y="648"/>
                    </a:lnTo>
                    <a:lnTo>
                      <a:pt x="56" y="646"/>
                    </a:lnTo>
                    <a:lnTo>
                      <a:pt x="54" y="646"/>
                    </a:lnTo>
                    <a:lnTo>
                      <a:pt x="54" y="644"/>
                    </a:lnTo>
                    <a:lnTo>
                      <a:pt x="54" y="642"/>
                    </a:lnTo>
                    <a:lnTo>
                      <a:pt x="52" y="642"/>
                    </a:lnTo>
                    <a:lnTo>
                      <a:pt x="52" y="640"/>
                    </a:lnTo>
                    <a:lnTo>
                      <a:pt x="52" y="638"/>
                    </a:lnTo>
                    <a:lnTo>
                      <a:pt x="50" y="638"/>
                    </a:lnTo>
                    <a:lnTo>
                      <a:pt x="52" y="637"/>
                    </a:lnTo>
                    <a:lnTo>
                      <a:pt x="52" y="635"/>
                    </a:lnTo>
                    <a:lnTo>
                      <a:pt x="52" y="637"/>
                    </a:lnTo>
                    <a:lnTo>
                      <a:pt x="54" y="637"/>
                    </a:lnTo>
                    <a:lnTo>
                      <a:pt x="56" y="637"/>
                    </a:lnTo>
                    <a:lnTo>
                      <a:pt x="58" y="635"/>
                    </a:lnTo>
                    <a:lnTo>
                      <a:pt x="60" y="637"/>
                    </a:lnTo>
                    <a:lnTo>
                      <a:pt x="62" y="637"/>
                    </a:lnTo>
                    <a:lnTo>
                      <a:pt x="64" y="637"/>
                    </a:lnTo>
                    <a:lnTo>
                      <a:pt x="64" y="638"/>
                    </a:lnTo>
                    <a:lnTo>
                      <a:pt x="66" y="638"/>
                    </a:lnTo>
                    <a:lnTo>
                      <a:pt x="68" y="638"/>
                    </a:lnTo>
                    <a:lnTo>
                      <a:pt x="68" y="637"/>
                    </a:lnTo>
                    <a:lnTo>
                      <a:pt x="68" y="635"/>
                    </a:lnTo>
                    <a:lnTo>
                      <a:pt x="68" y="631"/>
                    </a:lnTo>
                    <a:lnTo>
                      <a:pt x="69" y="631"/>
                    </a:lnTo>
                    <a:lnTo>
                      <a:pt x="68" y="629"/>
                    </a:lnTo>
                    <a:lnTo>
                      <a:pt x="68" y="627"/>
                    </a:lnTo>
                    <a:lnTo>
                      <a:pt x="69" y="627"/>
                    </a:lnTo>
                    <a:lnTo>
                      <a:pt x="71" y="625"/>
                    </a:lnTo>
                    <a:lnTo>
                      <a:pt x="73" y="625"/>
                    </a:lnTo>
                    <a:lnTo>
                      <a:pt x="73" y="623"/>
                    </a:lnTo>
                    <a:lnTo>
                      <a:pt x="73" y="621"/>
                    </a:lnTo>
                    <a:lnTo>
                      <a:pt x="75" y="619"/>
                    </a:lnTo>
                    <a:lnTo>
                      <a:pt x="77" y="619"/>
                    </a:lnTo>
                    <a:lnTo>
                      <a:pt x="79" y="617"/>
                    </a:lnTo>
                    <a:lnTo>
                      <a:pt x="79" y="615"/>
                    </a:lnTo>
                    <a:lnTo>
                      <a:pt x="79" y="612"/>
                    </a:lnTo>
                    <a:lnTo>
                      <a:pt x="79" y="610"/>
                    </a:lnTo>
                    <a:lnTo>
                      <a:pt x="79" y="606"/>
                    </a:lnTo>
                    <a:lnTo>
                      <a:pt x="79" y="604"/>
                    </a:lnTo>
                    <a:lnTo>
                      <a:pt x="79" y="602"/>
                    </a:lnTo>
                    <a:lnTo>
                      <a:pt x="79" y="600"/>
                    </a:lnTo>
                    <a:lnTo>
                      <a:pt x="79" y="598"/>
                    </a:lnTo>
                    <a:lnTo>
                      <a:pt x="83" y="598"/>
                    </a:lnTo>
                    <a:lnTo>
                      <a:pt x="85" y="596"/>
                    </a:lnTo>
                    <a:lnTo>
                      <a:pt x="85" y="594"/>
                    </a:lnTo>
                    <a:lnTo>
                      <a:pt x="85" y="592"/>
                    </a:lnTo>
                    <a:lnTo>
                      <a:pt x="85" y="590"/>
                    </a:lnTo>
                    <a:lnTo>
                      <a:pt x="83" y="588"/>
                    </a:lnTo>
                    <a:lnTo>
                      <a:pt x="81" y="588"/>
                    </a:lnTo>
                    <a:lnTo>
                      <a:pt x="79" y="587"/>
                    </a:lnTo>
                    <a:lnTo>
                      <a:pt x="79" y="583"/>
                    </a:lnTo>
                    <a:lnTo>
                      <a:pt x="79" y="581"/>
                    </a:lnTo>
                    <a:lnTo>
                      <a:pt x="79" y="579"/>
                    </a:lnTo>
                    <a:lnTo>
                      <a:pt x="79" y="577"/>
                    </a:lnTo>
                    <a:lnTo>
                      <a:pt x="77" y="577"/>
                    </a:lnTo>
                    <a:lnTo>
                      <a:pt x="77" y="575"/>
                    </a:lnTo>
                    <a:lnTo>
                      <a:pt x="77" y="573"/>
                    </a:lnTo>
                    <a:lnTo>
                      <a:pt x="75" y="573"/>
                    </a:lnTo>
                    <a:lnTo>
                      <a:pt x="75" y="571"/>
                    </a:lnTo>
                    <a:lnTo>
                      <a:pt x="77" y="571"/>
                    </a:lnTo>
                    <a:lnTo>
                      <a:pt x="79" y="571"/>
                    </a:lnTo>
                    <a:lnTo>
                      <a:pt x="79" y="569"/>
                    </a:lnTo>
                    <a:lnTo>
                      <a:pt x="79" y="567"/>
                    </a:lnTo>
                    <a:lnTo>
                      <a:pt x="79" y="565"/>
                    </a:lnTo>
                    <a:lnTo>
                      <a:pt x="77" y="565"/>
                    </a:lnTo>
                    <a:lnTo>
                      <a:pt x="75" y="565"/>
                    </a:lnTo>
                    <a:lnTo>
                      <a:pt x="73" y="565"/>
                    </a:lnTo>
                    <a:lnTo>
                      <a:pt x="71" y="565"/>
                    </a:lnTo>
                    <a:lnTo>
                      <a:pt x="71" y="563"/>
                    </a:lnTo>
                    <a:lnTo>
                      <a:pt x="69" y="563"/>
                    </a:lnTo>
                    <a:lnTo>
                      <a:pt x="68" y="562"/>
                    </a:lnTo>
                    <a:lnTo>
                      <a:pt x="66" y="562"/>
                    </a:lnTo>
                    <a:lnTo>
                      <a:pt x="64" y="562"/>
                    </a:lnTo>
                    <a:lnTo>
                      <a:pt x="64" y="560"/>
                    </a:lnTo>
                    <a:lnTo>
                      <a:pt x="66" y="558"/>
                    </a:lnTo>
                    <a:lnTo>
                      <a:pt x="66" y="556"/>
                    </a:lnTo>
                    <a:lnTo>
                      <a:pt x="68" y="554"/>
                    </a:lnTo>
                    <a:lnTo>
                      <a:pt x="68" y="552"/>
                    </a:lnTo>
                    <a:lnTo>
                      <a:pt x="68" y="550"/>
                    </a:lnTo>
                    <a:lnTo>
                      <a:pt x="66" y="548"/>
                    </a:lnTo>
                    <a:lnTo>
                      <a:pt x="64" y="548"/>
                    </a:lnTo>
                    <a:lnTo>
                      <a:pt x="64" y="546"/>
                    </a:lnTo>
                    <a:lnTo>
                      <a:pt x="62" y="548"/>
                    </a:lnTo>
                    <a:lnTo>
                      <a:pt x="60" y="552"/>
                    </a:lnTo>
                    <a:lnTo>
                      <a:pt x="60" y="554"/>
                    </a:lnTo>
                    <a:lnTo>
                      <a:pt x="62" y="554"/>
                    </a:lnTo>
                    <a:lnTo>
                      <a:pt x="60" y="556"/>
                    </a:lnTo>
                    <a:lnTo>
                      <a:pt x="58" y="556"/>
                    </a:lnTo>
                    <a:lnTo>
                      <a:pt x="58" y="558"/>
                    </a:lnTo>
                    <a:lnTo>
                      <a:pt x="56" y="558"/>
                    </a:lnTo>
                    <a:lnTo>
                      <a:pt x="54" y="558"/>
                    </a:lnTo>
                    <a:lnTo>
                      <a:pt x="54" y="556"/>
                    </a:lnTo>
                    <a:lnTo>
                      <a:pt x="52" y="556"/>
                    </a:lnTo>
                    <a:lnTo>
                      <a:pt x="50" y="556"/>
                    </a:lnTo>
                    <a:lnTo>
                      <a:pt x="50" y="558"/>
                    </a:lnTo>
                    <a:lnTo>
                      <a:pt x="48" y="558"/>
                    </a:lnTo>
                    <a:lnTo>
                      <a:pt x="46" y="558"/>
                    </a:lnTo>
                    <a:lnTo>
                      <a:pt x="44" y="558"/>
                    </a:lnTo>
                    <a:lnTo>
                      <a:pt x="43" y="558"/>
                    </a:lnTo>
                    <a:lnTo>
                      <a:pt x="43" y="556"/>
                    </a:lnTo>
                    <a:lnTo>
                      <a:pt x="41" y="556"/>
                    </a:lnTo>
                    <a:lnTo>
                      <a:pt x="43" y="556"/>
                    </a:lnTo>
                    <a:lnTo>
                      <a:pt x="41" y="556"/>
                    </a:lnTo>
                    <a:lnTo>
                      <a:pt x="41" y="554"/>
                    </a:lnTo>
                    <a:lnTo>
                      <a:pt x="39" y="554"/>
                    </a:lnTo>
                    <a:lnTo>
                      <a:pt x="39" y="552"/>
                    </a:lnTo>
                    <a:lnTo>
                      <a:pt x="41" y="552"/>
                    </a:lnTo>
                    <a:lnTo>
                      <a:pt x="39" y="552"/>
                    </a:lnTo>
                    <a:lnTo>
                      <a:pt x="39" y="550"/>
                    </a:lnTo>
                    <a:lnTo>
                      <a:pt x="37" y="550"/>
                    </a:lnTo>
                    <a:lnTo>
                      <a:pt x="37" y="552"/>
                    </a:lnTo>
                    <a:lnTo>
                      <a:pt x="37" y="550"/>
                    </a:lnTo>
                    <a:lnTo>
                      <a:pt x="35" y="550"/>
                    </a:lnTo>
                    <a:lnTo>
                      <a:pt x="33" y="550"/>
                    </a:lnTo>
                    <a:lnTo>
                      <a:pt x="31" y="550"/>
                    </a:lnTo>
                    <a:lnTo>
                      <a:pt x="31" y="548"/>
                    </a:lnTo>
                    <a:lnTo>
                      <a:pt x="31" y="550"/>
                    </a:lnTo>
                    <a:lnTo>
                      <a:pt x="31" y="548"/>
                    </a:lnTo>
                    <a:lnTo>
                      <a:pt x="31" y="550"/>
                    </a:lnTo>
                    <a:lnTo>
                      <a:pt x="29" y="550"/>
                    </a:lnTo>
                    <a:lnTo>
                      <a:pt x="29" y="548"/>
                    </a:lnTo>
                    <a:lnTo>
                      <a:pt x="27" y="548"/>
                    </a:lnTo>
                    <a:lnTo>
                      <a:pt x="27" y="546"/>
                    </a:lnTo>
                    <a:lnTo>
                      <a:pt x="25" y="546"/>
                    </a:lnTo>
                    <a:lnTo>
                      <a:pt x="23" y="546"/>
                    </a:lnTo>
                    <a:lnTo>
                      <a:pt x="21" y="546"/>
                    </a:lnTo>
                    <a:lnTo>
                      <a:pt x="19" y="546"/>
                    </a:lnTo>
                    <a:lnTo>
                      <a:pt x="18" y="546"/>
                    </a:lnTo>
                    <a:lnTo>
                      <a:pt x="18" y="544"/>
                    </a:lnTo>
                    <a:lnTo>
                      <a:pt x="19" y="544"/>
                    </a:lnTo>
                    <a:lnTo>
                      <a:pt x="18" y="544"/>
                    </a:lnTo>
                    <a:lnTo>
                      <a:pt x="18" y="542"/>
                    </a:lnTo>
                    <a:lnTo>
                      <a:pt x="16" y="542"/>
                    </a:lnTo>
                    <a:lnTo>
                      <a:pt x="18" y="542"/>
                    </a:lnTo>
                    <a:lnTo>
                      <a:pt x="18" y="540"/>
                    </a:lnTo>
                    <a:lnTo>
                      <a:pt x="16" y="540"/>
                    </a:lnTo>
                    <a:lnTo>
                      <a:pt x="16" y="542"/>
                    </a:lnTo>
                    <a:lnTo>
                      <a:pt x="16" y="540"/>
                    </a:lnTo>
                    <a:lnTo>
                      <a:pt x="14" y="540"/>
                    </a:lnTo>
                    <a:lnTo>
                      <a:pt x="16" y="540"/>
                    </a:lnTo>
                    <a:lnTo>
                      <a:pt x="14" y="538"/>
                    </a:lnTo>
                    <a:lnTo>
                      <a:pt x="14" y="537"/>
                    </a:lnTo>
                    <a:lnTo>
                      <a:pt x="14" y="535"/>
                    </a:lnTo>
                    <a:lnTo>
                      <a:pt x="14" y="533"/>
                    </a:lnTo>
                    <a:lnTo>
                      <a:pt x="14" y="531"/>
                    </a:lnTo>
                    <a:lnTo>
                      <a:pt x="12" y="531"/>
                    </a:lnTo>
                    <a:lnTo>
                      <a:pt x="12" y="529"/>
                    </a:lnTo>
                    <a:lnTo>
                      <a:pt x="12" y="527"/>
                    </a:lnTo>
                    <a:lnTo>
                      <a:pt x="12" y="529"/>
                    </a:lnTo>
                    <a:lnTo>
                      <a:pt x="12" y="527"/>
                    </a:lnTo>
                    <a:lnTo>
                      <a:pt x="10" y="527"/>
                    </a:lnTo>
                    <a:lnTo>
                      <a:pt x="10" y="525"/>
                    </a:lnTo>
                    <a:lnTo>
                      <a:pt x="10" y="527"/>
                    </a:lnTo>
                    <a:lnTo>
                      <a:pt x="8" y="527"/>
                    </a:lnTo>
                    <a:lnTo>
                      <a:pt x="8" y="525"/>
                    </a:lnTo>
                    <a:lnTo>
                      <a:pt x="6" y="525"/>
                    </a:lnTo>
                    <a:lnTo>
                      <a:pt x="6" y="523"/>
                    </a:lnTo>
                    <a:lnTo>
                      <a:pt x="4" y="523"/>
                    </a:lnTo>
                    <a:lnTo>
                      <a:pt x="2" y="523"/>
                    </a:lnTo>
                    <a:lnTo>
                      <a:pt x="2" y="521"/>
                    </a:lnTo>
                    <a:lnTo>
                      <a:pt x="4" y="521"/>
                    </a:lnTo>
                    <a:lnTo>
                      <a:pt x="6" y="521"/>
                    </a:lnTo>
                    <a:lnTo>
                      <a:pt x="6" y="519"/>
                    </a:lnTo>
                    <a:lnTo>
                      <a:pt x="4" y="519"/>
                    </a:lnTo>
                    <a:lnTo>
                      <a:pt x="4" y="517"/>
                    </a:lnTo>
                    <a:lnTo>
                      <a:pt x="2" y="517"/>
                    </a:lnTo>
                    <a:lnTo>
                      <a:pt x="2" y="515"/>
                    </a:lnTo>
                    <a:lnTo>
                      <a:pt x="4" y="515"/>
                    </a:lnTo>
                    <a:lnTo>
                      <a:pt x="2" y="513"/>
                    </a:lnTo>
                    <a:lnTo>
                      <a:pt x="0" y="513"/>
                    </a:lnTo>
                    <a:lnTo>
                      <a:pt x="0" y="512"/>
                    </a:lnTo>
                    <a:lnTo>
                      <a:pt x="2" y="512"/>
                    </a:lnTo>
                    <a:lnTo>
                      <a:pt x="4" y="512"/>
                    </a:lnTo>
                    <a:lnTo>
                      <a:pt x="4" y="510"/>
                    </a:lnTo>
                    <a:lnTo>
                      <a:pt x="6" y="510"/>
                    </a:lnTo>
                    <a:lnTo>
                      <a:pt x="8" y="508"/>
                    </a:lnTo>
                    <a:lnTo>
                      <a:pt x="6" y="508"/>
                    </a:lnTo>
                    <a:lnTo>
                      <a:pt x="8" y="508"/>
                    </a:lnTo>
                    <a:lnTo>
                      <a:pt x="8" y="506"/>
                    </a:lnTo>
                    <a:lnTo>
                      <a:pt x="6" y="506"/>
                    </a:lnTo>
                    <a:lnTo>
                      <a:pt x="8" y="506"/>
                    </a:lnTo>
                    <a:lnTo>
                      <a:pt x="8" y="504"/>
                    </a:lnTo>
                    <a:lnTo>
                      <a:pt x="10" y="506"/>
                    </a:lnTo>
                    <a:lnTo>
                      <a:pt x="10" y="504"/>
                    </a:lnTo>
                    <a:lnTo>
                      <a:pt x="10" y="502"/>
                    </a:lnTo>
                    <a:lnTo>
                      <a:pt x="12" y="504"/>
                    </a:lnTo>
                    <a:lnTo>
                      <a:pt x="12" y="502"/>
                    </a:lnTo>
                    <a:lnTo>
                      <a:pt x="12" y="504"/>
                    </a:lnTo>
                    <a:lnTo>
                      <a:pt x="14" y="504"/>
                    </a:lnTo>
                    <a:lnTo>
                      <a:pt x="14" y="502"/>
                    </a:lnTo>
                    <a:lnTo>
                      <a:pt x="12" y="502"/>
                    </a:lnTo>
                    <a:lnTo>
                      <a:pt x="14" y="500"/>
                    </a:lnTo>
                    <a:lnTo>
                      <a:pt x="14" y="498"/>
                    </a:lnTo>
                    <a:lnTo>
                      <a:pt x="16" y="498"/>
                    </a:lnTo>
                    <a:lnTo>
                      <a:pt x="14" y="500"/>
                    </a:lnTo>
                    <a:lnTo>
                      <a:pt x="16" y="500"/>
                    </a:lnTo>
                    <a:lnTo>
                      <a:pt x="18" y="500"/>
                    </a:lnTo>
                    <a:lnTo>
                      <a:pt x="19" y="498"/>
                    </a:lnTo>
                    <a:lnTo>
                      <a:pt x="21" y="498"/>
                    </a:lnTo>
                    <a:lnTo>
                      <a:pt x="21" y="496"/>
                    </a:lnTo>
                    <a:lnTo>
                      <a:pt x="21" y="494"/>
                    </a:lnTo>
                    <a:lnTo>
                      <a:pt x="23" y="494"/>
                    </a:lnTo>
                    <a:lnTo>
                      <a:pt x="25" y="494"/>
                    </a:lnTo>
                    <a:lnTo>
                      <a:pt x="23" y="494"/>
                    </a:lnTo>
                    <a:lnTo>
                      <a:pt x="23" y="492"/>
                    </a:lnTo>
                    <a:lnTo>
                      <a:pt x="25" y="492"/>
                    </a:lnTo>
                    <a:lnTo>
                      <a:pt x="27" y="492"/>
                    </a:lnTo>
                    <a:lnTo>
                      <a:pt x="29" y="492"/>
                    </a:lnTo>
                    <a:lnTo>
                      <a:pt x="29" y="490"/>
                    </a:lnTo>
                    <a:lnTo>
                      <a:pt x="31" y="490"/>
                    </a:lnTo>
                    <a:lnTo>
                      <a:pt x="33" y="490"/>
                    </a:lnTo>
                    <a:lnTo>
                      <a:pt x="35" y="488"/>
                    </a:lnTo>
                    <a:lnTo>
                      <a:pt x="33" y="488"/>
                    </a:lnTo>
                    <a:lnTo>
                      <a:pt x="33" y="487"/>
                    </a:lnTo>
                    <a:lnTo>
                      <a:pt x="35" y="487"/>
                    </a:lnTo>
                    <a:lnTo>
                      <a:pt x="35" y="488"/>
                    </a:lnTo>
                    <a:lnTo>
                      <a:pt x="37" y="487"/>
                    </a:lnTo>
                    <a:lnTo>
                      <a:pt x="37" y="485"/>
                    </a:lnTo>
                    <a:lnTo>
                      <a:pt x="39" y="487"/>
                    </a:lnTo>
                    <a:lnTo>
                      <a:pt x="41" y="485"/>
                    </a:lnTo>
                    <a:lnTo>
                      <a:pt x="43" y="485"/>
                    </a:lnTo>
                    <a:lnTo>
                      <a:pt x="44" y="485"/>
                    </a:lnTo>
                    <a:lnTo>
                      <a:pt x="46" y="485"/>
                    </a:lnTo>
                    <a:lnTo>
                      <a:pt x="46" y="487"/>
                    </a:lnTo>
                    <a:lnTo>
                      <a:pt x="46" y="488"/>
                    </a:lnTo>
                    <a:lnTo>
                      <a:pt x="46" y="487"/>
                    </a:lnTo>
                    <a:lnTo>
                      <a:pt x="46" y="488"/>
                    </a:lnTo>
                    <a:lnTo>
                      <a:pt x="48" y="488"/>
                    </a:lnTo>
                    <a:lnTo>
                      <a:pt x="48" y="490"/>
                    </a:lnTo>
                    <a:lnTo>
                      <a:pt x="46" y="490"/>
                    </a:lnTo>
                    <a:lnTo>
                      <a:pt x="48" y="490"/>
                    </a:lnTo>
                    <a:lnTo>
                      <a:pt x="48" y="492"/>
                    </a:lnTo>
                    <a:lnTo>
                      <a:pt x="46" y="492"/>
                    </a:lnTo>
                    <a:lnTo>
                      <a:pt x="48" y="492"/>
                    </a:lnTo>
                    <a:lnTo>
                      <a:pt x="50" y="494"/>
                    </a:lnTo>
                    <a:lnTo>
                      <a:pt x="50" y="492"/>
                    </a:lnTo>
                    <a:lnTo>
                      <a:pt x="52" y="492"/>
                    </a:lnTo>
                    <a:lnTo>
                      <a:pt x="52" y="494"/>
                    </a:lnTo>
                    <a:lnTo>
                      <a:pt x="54" y="492"/>
                    </a:lnTo>
                    <a:lnTo>
                      <a:pt x="54" y="494"/>
                    </a:lnTo>
                    <a:lnTo>
                      <a:pt x="56" y="494"/>
                    </a:lnTo>
                    <a:lnTo>
                      <a:pt x="54" y="494"/>
                    </a:lnTo>
                    <a:lnTo>
                      <a:pt x="56" y="494"/>
                    </a:lnTo>
                    <a:lnTo>
                      <a:pt x="58" y="494"/>
                    </a:lnTo>
                    <a:lnTo>
                      <a:pt x="58" y="496"/>
                    </a:lnTo>
                    <a:lnTo>
                      <a:pt x="58" y="494"/>
                    </a:lnTo>
                    <a:lnTo>
                      <a:pt x="58" y="496"/>
                    </a:lnTo>
                    <a:lnTo>
                      <a:pt x="60" y="496"/>
                    </a:lnTo>
                    <a:lnTo>
                      <a:pt x="62" y="496"/>
                    </a:lnTo>
                    <a:lnTo>
                      <a:pt x="62" y="498"/>
                    </a:lnTo>
                    <a:lnTo>
                      <a:pt x="62" y="500"/>
                    </a:lnTo>
                    <a:lnTo>
                      <a:pt x="64" y="500"/>
                    </a:lnTo>
                    <a:lnTo>
                      <a:pt x="66" y="500"/>
                    </a:lnTo>
                    <a:lnTo>
                      <a:pt x="66" y="502"/>
                    </a:lnTo>
                    <a:lnTo>
                      <a:pt x="64" y="502"/>
                    </a:lnTo>
                    <a:lnTo>
                      <a:pt x="66" y="502"/>
                    </a:lnTo>
                    <a:lnTo>
                      <a:pt x="68" y="502"/>
                    </a:lnTo>
                    <a:lnTo>
                      <a:pt x="69" y="504"/>
                    </a:lnTo>
                    <a:lnTo>
                      <a:pt x="66" y="504"/>
                    </a:lnTo>
                    <a:lnTo>
                      <a:pt x="64" y="504"/>
                    </a:lnTo>
                    <a:lnTo>
                      <a:pt x="64" y="502"/>
                    </a:lnTo>
                    <a:lnTo>
                      <a:pt x="66" y="502"/>
                    </a:lnTo>
                    <a:lnTo>
                      <a:pt x="64" y="502"/>
                    </a:lnTo>
                    <a:lnTo>
                      <a:pt x="64" y="504"/>
                    </a:lnTo>
                    <a:lnTo>
                      <a:pt x="64" y="502"/>
                    </a:lnTo>
                    <a:lnTo>
                      <a:pt x="62" y="502"/>
                    </a:lnTo>
                    <a:lnTo>
                      <a:pt x="60" y="502"/>
                    </a:lnTo>
                    <a:lnTo>
                      <a:pt x="60" y="504"/>
                    </a:lnTo>
                    <a:lnTo>
                      <a:pt x="60" y="502"/>
                    </a:lnTo>
                    <a:lnTo>
                      <a:pt x="62" y="502"/>
                    </a:lnTo>
                    <a:lnTo>
                      <a:pt x="62" y="504"/>
                    </a:lnTo>
                    <a:lnTo>
                      <a:pt x="62" y="502"/>
                    </a:lnTo>
                    <a:lnTo>
                      <a:pt x="62" y="504"/>
                    </a:lnTo>
                    <a:lnTo>
                      <a:pt x="64" y="504"/>
                    </a:lnTo>
                    <a:lnTo>
                      <a:pt x="64" y="502"/>
                    </a:lnTo>
                    <a:lnTo>
                      <a:pt x="64" y="504"/>
                    </a:lnTo>
                    <a:lnTo>
                      <a:pt x="64" y="502"/>
                    </a:lnTo>
                    <a:lnTo>
                      <a:pt x="64" y="504"/>
                    </a:lnTo>
                    <a:lnTo>
                      <a:pt x="64" y="502"/>
                    </a:lnTo>
                    <a:lnTo>
                      <a:pt x="64" y="504"/>
                    </a:lnTo>
                    <a:lnTo>
                      <a:pt x="64" y="506"/>
                    </a:lnTo>
                    <a:lnTo>
                      <a:pt x="62" y="504"/>
                    </a:lnTo>
                    <a:lnTo>
                      <a:pt x="60" y="504"/>
                    </a:lnTo>
                    <a:lnTo>
                      <a:pt x="58" y="504"/>
                    </a:lnTo>
                    <a:lnTo>
                      <a:pt x="58" y="502"/>
                    </a:lnTo>
                    <a:lnTo>
                      <a:pt x="58" y="504"/>
                    </a:lnTo>
                    <a:lnTo>
                      <a:pt x="58" y="502"/>
                    </a:lnTo>
                    <a:lnTo>
                      <a:pt x="58" y="504"/>
                    </a:lnTo>
                    <a:lnTo>
                      <a:pt x="60" y="504"/>
                    </a:lnTo>
                    <a:lnTo>
                      <a:pt x="60" y="506"/>
                    </a:lnTo>
                    <a:lnTo>
                      <a:pt x="58" y="506"/>
                    </a:lnTo>
                    <a:lnTo>
                      <a:pt x="58" y="504"/>
                    </a:lnTo>
                    <a:lnTo>
                      <a:pt x="56" y="504"/>
                    </a:lnTo>
                    <a:lnTo>
                      <a:pt x="56" y="506"/>
                    </a:lnTo>
                    <a:lnTo>
                      <a:pt x="54" y="504"/>
                    </a:lnTo>
                    <a:lnTo>
                      <a:pt x="54" y="506"/>
                    </a:lnTo>
                    <a:lnTo>
                      <a:pt x="56" y="506"/>
                    </a:lnTo>
                    <a:lnTo>
                      <a:pt x="54" y="506"/>
                    </a:lnTo>
                    <a:lnTo>
                      <a:pt x="56" y="508"/>
                    </a:lnTo>
                    <a:lnTo>
                      <a:pt x="54" y="508"/>
                    </a:lnTo>
                    <a:lnTo>
                      <a:pt x="54" y="510"/>
                    </a:lnTo>
                    <a:lnTo>
                      <a:pt x="54" y="508"/>
                    </a:lnTo>
                    <a:lnTo>
                      <a:pt x="56" y="508"/>
                    </a:lnTo>
                    <a:lnTo>
                      <a:pt x="54" y="506"/>
                    </a:lnTo>
                    <a:lnTo>
                      <a:pt x="56" y="506"/>
                    </a:lnTo>
                    <a:lnTo>
                      <a:pt x="54" y="506"/>
                    </a:lnTo>
                    <a:lnTo>
                      <a:pt x="54" y="504"/>
                    </a:lnTo>
                    <a:lnTo>
                      <a:pt x="56" y="506"/>
                    </a:lnTo>
                    <a:lnTo>
                      <a:pt x="56" y="504"/>
                    </a:lnTo>
                    <a:lnTo>
                      <a:pt x="58" y="506"/>
                    </a:lnTo>
                    <a:lnTo>
                      <a:pt x="56" y="506"/>
                    </a:lnTo>
                    <a:lnTo>
                      <a:pt x="58" y="506"/>
                    </a:lnTo>
                    <a:lnTo>
                      <a:pt x="60" y="506"/>
                    </a:lnTo>
                    <a:lnTo>
                      <a:pt x="60" y="504"/>
                    </a:lnTo>
                    <a:lnTo>
                      <a:pt x="62" y="506"/>
                    </a:lnTo>
                    <a:lnTo>
                      <a:pt x="64" y="506"/>
                    </a:lnTo>
                    <a:lnTo>
                      <a:pt x="64" y="504"/>
                    </a:lnTo>
                    <a:lnTo>
                      <a:pt x="66" y="504"/>
                    </a:lnTo>
                    <a:lnTo>
                      <a:pt x="68" y="504"/>
                    </a:lnTo>
                    <a:lnTo>
                      <a:pt x="69" y="504"/>
                    </a:lnTo>
                    <a:lnTo>
                      <a:pt x="71" y="504"/>
                    </a:lnTo>
                    <a:lnTo>
                      <a:pt x="73" y="502"/>
                    </a:lnTo>
                    <a:lnTo>
                      <a:pt x="71" y="504"/>
                    </a:lnTo>
                    <a:lnTo>
                      <a:pt x="73" y="504"/>
                    </a:lnTo>
                    <a:lnTo>
                      <a:pt x="73" y="502"/>
                    </a:lnTo>
                    <a:lnTo>
                      <a:pt x="75" y="502"/>
                    </a:lnTo>
                    <a:lnTo>
                      <a:pt x="75" y="500"/>
                    </a:lnTo>
                    <a:lnTo>
                      <a:pt x="77" y="500"/>
                    </a:lnTo>
                    <a:lnTo>
                      <a:pt x="79" y="500"/>
                    </a:lnTo>
                    <a:lnTo>
                      <a:pt x="81" y="500"/>
                    </a:lnTo>
                    <a:lnTo>
                      <a:pt x="81" y="502"/>
                    </a:lnTo>
                    <a:lnTo>
                      <a:pt x="83" y="502"/>
                    </a:lnTo>
                    <a:lnTo>
                      <a:pt x="83" y="504"/>
                    </a:lnTo>
                    <a:lnTo>
                      <a:pt x="83" y="506"/>
                    </a:lnTo>
                    <a:lnTo>
                      <a:pt x="85" y="508"/>
                    </a:lnTo>
                    <a:lnTo>
                      <a:pt x="83" y="508"/>
                    </a:lnTo>
                    <a:lnTo>
                      <a:pt x="81" y="508"/>
                    </a:lnTo>
                    <a:lnTo>
                      <a:pt x="81" y="510"/>
                    </a:lnTo>
                    <a:lnTo>
                      <a:pt x="79" y="510"/>
                    </a:lnTo>
                    <a:lnTo>
                      <a:pt x="79" y="512"/>
                    </a:lnTo>
                    <a:lnTo>
                      <a:pt x="79" y="513"/>
                    </a:lnTo>
                    <a:lnTo>
                      <a:pt x="77" y="513"/>
                    </a:lnTo>
                    <a:lnTo>
                      <a:pt x="75" y="513"/>
                    </a:lnTo>
                    <a:lnTo>
                      <a:pt x="73" y="513"/>
                    </a:lnTo>
                    <a:lnTo>
                      <a:pt x="71" y="513"/>
                    </a:lnTo>
                    <a:lnTo>
                      <a:pt x="71" y="515"/>
                    </a:lnTo>
                    <a:lnTo>
                      <a:pt x="69" y="515"/>
                    </a:lnTo>
                    <a:lnTo>
                      <a:pt x="69" y="517"/>
                    </a:lnTo>
                    <a:lnTo>
                      <a:pt x="68" y="517"/>
                    </a:lnTo>
                    <a:lnTo>
                      <a:pt x="69" y="517"/>
                    </a:lnTo>
                    <a:lnTo>
                      <a:pt x="69" y="515"/>
                    </a:lnTo>
                    <a:lnTo>
                      <a:pt x="71" y="515"/>
                    </a:lnTo>
                    <a:lnTo>
                      <a:pt x="71" y="513"/>
                    </a:lnTo>
                    <a:lnTo>
                      <a:pt x="73" y="513"/>
                    </a:lnTo>
                    <a:lnTo>
                      <a:pt x="75" y="513"/>
                    </a:lnTo>
                    <a:lnTo>
                      <a:pt x="77" y="513"/>
                    </a:lnTo>
                    <a:lnTo>
                      <a:pt x="77" y="515"/>
                    </a:lnTo>
                    <a:lnTo>
                      <a:pt x="77" y="513"/>
                    </a:lnTo>
                    <a:lnTo>
                      <a:pt x="79" y="513"/>
                    </a:lnTo>
                    <a:lnTo>
                      <a:pt x="81" y="513"/>
                    </a:lnTo>
                    <a:lnTo>
                      <a:pt x="81" y="515"/>
                    </a:lnTo>
                    <a:lnTo>
                      <a:pt x="81" y="517"/>
                    </a:lnTo>
                    <a:lnTo>
                      <a:pt x="81" y="519"/>
                    </a:lnTo>
                    <a:lnTo>
                      <a:pt x="83" y="519"/>
                    </a:lnTo>
                    <a:lnTo>
                      <a:pt x="85" y="519"/>
                    </a:lnTo>
                    <a:lnTo>
                      <a:pt x="85" y="521"/>
                    </a:lnTo>
                    <a:lnTo>
                      <a:pt x="87" y="521"/>
                    </a:lnTo>
                    <a:lnTo>
                      <a:pt x="87" y="523"/>
                    </a:lnTo>
                    <a:lnTo>
                      <a:pt x="89" y="523"/>
                    </a:lnTo>
                    <a:lnTo>
                      <a:pt x="91" y="523"/>
                    </a:lnTo>
                    <a:lnTo>
                      <a:pt x="91" y="525"/>
                    </a:lnTo>
                    <a:lnTo>
                      <a:pt x="92" y="525"/>
                    </a:lnTo>
                    <a:lnTo>
                      <a:pt x="94" y="525"/>
                    </a:lnTo>
                    <a:lnTo>
                      <a:pt x="94" y="527"/>
                    </a:lnTo>
                    <a:lnTo>
                      <a:pt x="96" y="527"/>
                    </a:lnTo>
                    <a:lnTo>
                      <a:pt x="98" y="527"/>
                    </a:lnTo>
                    <a:lnTo>
                      <a:pt x="100" y="529"/>
                    </a:lnTo>
                    <a:lnTo>
                      <a:pt x="100" y="527"/>
                    </a:lnTo>
                    <a:lnTo>
                      <a:pt x="102" y="527"/>
                    </a:lnTo>
                    <a:lnTo>
                      <a:pt x="100" y="529"/>
                    </a:lnTo>
                    <a:lnTo>
                      <a:pt x="102" y="529"/>
                    </a:lnTo>
                    <a:lnTo>
                      <a:pt x="104" y="531"/>
                    </a:lnTo>
                    <a:lnTo>
                      <a:pt x="106" y="531"/>
                    </a:lnTo>
                    <a:lnTo>
                      <a:pt x="106" y="533"/>
                    </a:lnTo>
                    <a:lnTo>
                      <a:pt x="108" y="533"/>
                    </a:lnTo>
                    <a:lnTo>
                      <a:pt x="108" y="535"/>
                    </a:lnTo>
                    <a:lnTo>
                      <a:pt x="108" y="537"/>
                    </a:lnTo>
                    <a:lnTo>
                      <a:pt x="108" y="538"/>
                    </a:lnTo>
                    <a:lnTo>
                      <a:pt x="110" y="540"/>
                    </a:lnTo>
                    <a:lnTo>
                      <a:pt x="112" y="540"/>
                    </a:lnTo>
                    <a:lnTo>
                      <a:pt x="112" y="542"/>
                    </a:lnTo>
                    <a:lnTo>
                      <a:pt x="114" y="542"/>
                    </a:lnTo>
                    <a:lnTo>
                      <a:pt x="116" y="544"/>
                    </a:lnTo>
                    <a:lnTo>
                      <a:pt x="117" y="548"/>
                    </a:lnTo>
                    <a:lnTo>
                      <a:pt x="117" y="550"/>
                    </a:lnTo>
                    <a:lnTo>
                      <a:pt x="119" y="550"/>
                    </a:lnTo>
                    <a:lnTo>
                      <a:pt x="121" y="550"/>
                    </a:lnTo>
                    <a:lnTo>
                      <a:pt x="121" y="552"/>
                    </a:lnTo>
                    <a:lnTo>
                      <a:pt x="119" y="552"/>
                    </a:lnTo>
                    <a:lnTo>
                      <a:pt x="119" y="554"/>
                    </a:lnTo>
                    <a:lnTo>
                      <a:pt x="117" y="554"/>
                    </a:lnTo>
                    <a:lnTo>
                      <a:pt x="119" y="554"/>
                    </a:lnTo>
                    <a:lnTo>
                      <a:pt x="119" y="552"/>
                    </a:lnTo>
                    <a:lnTo>
                      <a:pt x="121" y="552"/>
                    </a:lnTo>
                    <a:lnTo>
                      <a:pt x="123" y="552"/>
                    </a:lnTo>
                    <a:lnTo>
                      <a:pt x="121" y="550"/>
                    </a:lnTo>
                    <a:lnTo>
                      <a:pt x="123" y="550"/>
                    </a:lnTo>
                    <a:lnTo>
                      <a:pt x="123" y="548"/>
                    </a:lnTo>
                    <a:lnTo>
                      <a:pt x="125" y="548"/>
                    </a:lnTo>
                    <a:lnTo>
                      <a:pt x="125" y="550"/>
                    </a:lnTo>
                    <a:lnTo>
                      <a:pt x="125" y="552"/>
                    </a:lnTo>
                    <a:lnTo>
                      <a:pt x="125" y="554"/>
                    </a:lnTo>
                    <a:lnTo>
                      <a:pt x="125" y="556"/>
                    </a:lnTo>
                    <a:lnTo>
                      <a:pt x="127" y="556"/>
                    </a:lnTo>
                    <a:lnTo>
                      <a:pt x="127" y="558"/>
                    </a:lnTo>
                    <a:lnTo>
                      <a:pt x="129" y="558"/>
                    </a:lnTo>
                    <a:lnTo>
                      <a:pt x="127" y="558"/>
                    </a:lnTo>
                    <a:lnTo>
                      <a:pt x="125" y="558"/>
                    </a:lnTo>
                    <a:lnTo>
                      <a:pt x="125" y="560"/>
                    </a:lnTo>
                    <a:lnTo>
                      <a:pt x="127" y="560"/>
                    </a:lnTo>
                    <a:lnTo>
                      <a:pt x="127" y="562"/>
                    </a:lnTo>
                    <a:lnTo>
                      <a:pt x="125" y="563"/>
                    </a:lnTo>
                    <a:lnTo>
                      <a:pt x="123" y="563"/>
                    </a:lnTo>
                    <a:lnTo>
                      <a:pt x="121" y="563"/>
                    </a:lnTo>
                    <a:lnTo>
                      <a:pt x="121" y="565"/>
                    </a:lnTo>
                    <a:lnTo>
                      <a:pt x="119" y="565"/>
                    </a:lnTo>
                    <a:lnTo>
                      <a:pt x="119" y="567"/>
                    </a:lnTo>
                    <a:lnTo>
                      <a:pt x="119" y="569"/>
                    </a:lnTo>
                    <a:lnTo>
                      <a:pt x="117" y="569"/>
                    </a:lnTo>
                    <a:lnTo>
                      <a:pt x="117" y="571"/>
                    </a:lnTo>
                    <a:lnTo>
                      <a:pt x="116" y="571"/>
                    </a:lnTo>
                    <a:lnTo>
                      <a:pt x="114" y="571"/>
                    </a:lnTo>
                    <a:lnTo>
                      <a:pt x="112" y="571"/>
                    </a:lnTo>
                    <a:lnTo>
                      <a:pt x="112" y="573"/>
                    </a:lnTo>
                    <a:lnTo>
                      <a:pt x="112" y="575"/>
                    </a:lnTo>
                    <a:lnTo>
                      <a:pt x="110" y="575"/>
                    </a:lnTo>
                    <a:lnTo>
                      <a:pt x="110" y="577"/>
                    </a:lnTo>
                    <a:lnTo>
                      <a:pt x="110" y="579"/>
                    </a:lnTo>
                    <a:lnTo>
                      <a:pt x="110" y="581"/>
                    </a:lnTo>
                    <a:lnTo>
                      <a:pt x="110" y="583"/>
                    </a:lnTo>
                    <a:lnTo>
                      <a:pt x="112" y="583"/>
                    </a:lnTo>
                    <a:lnTo>
                      <a:pt x="112" y="585"/>
                    </a:lnTo>
                    <a:lnTo>
                      <a:pt x="110" y="585"/>
                    </a:lnTo>
                    <a:lnTo>
                      <a:pt x="110" y="587"/>
                    </a:lnTo>
                    <a:lnTo>
                      <a:pt x="112" y="587"/>
                    </a:lnTo>
                    <a:lnTo>
                      <a:pt x="112" y="588"/>
                    </a:lnTo>
                    <a:lnTo>
                      <a:pt x="112" y="587"/>
                    </a:lnTo>
                    <a:lnTo>
                      <a:pt x="112" y="588"/>
                    </a:lnTo>
                    <a:lnTo>
                      <a:pt x="114" y="588"/>
                    </a:lnTo>
                    <a:lnTo>
                      <a:pt x="114" y="590"/>
                    </a:lnTo>
                    <a:lnTo>
                      <a:pt x="112" y="590"/>
                    </a:lnTo>
                    <a:lnTo>
                      <a:pt x="110" y="592"/>
                    </a:lnTo>
                    <a:lnTo>
                      <a:pt x="112" y="592"/>
                    </a:lnTo>
                    <a:lnTo>
                      <a:pt x="112" y="594"/>
                    </a:lnTo>
                    <a:lnTo>
                      <a:pt x="110" y="594"/>
                    </a:lnTo>
                    <a:lnTo>
                      <a:pt x="110" y="596"/>
                    </a:lnTo>
                    <a:lnTo>
                      <a:pt x="110" y="598"/>
                    </a:lnTo>
                    <a:lnTo>
                      <a:pt x="110" y="600"/>
                    </a:lnTo>
                    <a:lnTo>
                      <a:pt x="110" y="602"/>
                    </a:lnTo>
                    <a:lnTo>
                      <a:pt x="108" y="602"/>
                    </a:lnTo>
                    <a:lnTo>
                      <a:pt x="106" y="602"/>
                    </a:lnTo>
                    <a:lnTo>
                      <a:pt x="106" y="604"/>
                    </a:lnTo>
                    <a:lnTo>
                      <a:pt x="106" y="606"/>
                    </a:lnTo>
                    <a:lnTo>
                      <a:pt x="108" y="608"/>
                    </a:lnTo>
                    <a:lnTo>
                      <a:pt x="108" y="606"/>
                    </a:lnTo>
                    <a:lnTo>
                      <a:pt x="110" y="606"/>
                    </a:lnTo>
                    <a:lnTo>
                      <a:pt x="110" y="608"/>
                    </a:lnTo>
                    <a:lnTo>
                      <a:pt x="108" y="610"/>
                    </a:lnTo>
                    <a:lnTo>
                      <a:pt x="106" y="610"/>
                    </a:lnTo>
                    <a:lnTo>
                      <a:pt x="104" y="610"/>
                    </a:lnTo>
                    <a:lnTo>
                      <a:pt x="102" y="610"/>
                    </a:lnTo>
                    <a:lnTo>
                      <a:pt x="100" y="610"/>
                    </a:lnTo>
                    <a:lnTo>
                      <a:pt x="100" y="608"/>
                    </a:lnTo>
                    <a:lnTo>
                      <a:pt x="100" y="606"/>
                    </a:lnTo>
                    <a:lnTo>
                      <a:pt x="100" y="608"/>
                    </a:lnTo>
                    <a:lnTo>
                      <a:pt x="98" y="606"/>
                    </a:lnTo>
                    <a:lnTo>
                      <a:pt x="96" y="606"/>
                    </a:lnTo>
                    <a:lnTo>
                      <a:pt x="96" y="604"/>
                    </a:lnTo>
                    <a:lnTo>
                      <a:pt x="94" y="604"/>
                    </a:lnTo>
                    <a:lnTo>
                      <a:pt x="92" y="606"/>
                    </a:lnTo>
                    <a:lnTo>
                      <a:pt x="92" y="604"/>
                    </a:lnTo>
                    <a:lnTo>
                      <a:pt x="91" y="604"/>
                    </a:lnTo>
                    <a:lnTo>
                      <a:pt x="91" y="606"/>
                    </a:lnTo>
                    <a:lnTo>
                      <a:pt x="91" y="604"/>
                    </a:lnTo>
                    <a:lnTo>
                      <a:pt x="89" y="604"/>
                    </a:lnTo>
                    <a:lnTo>
                      <a:pt x="87" y="604"/>
                    </a:lnTo>
                    <a:lnTo>
                      <a:pt x="87" y="606"/>
                    </a:lnTo>
                    <a:lnTo>
                      <a:pt x="89" y="606"/>
                    </a:lnTo>
                    <a:lnTo>
                      <a:pt x="89" y="608"/>
                    </a:lnTo>
                    <a:lnTo>
                      <a:pt x="91" y="610"/>
                    </a:lnTo>
                    <a:lnTo>
                      <a:pt x="89" y="610"/>
                    </a:lnTo>
                    <a:lnTo>
                      <a:pt x="89" y="612"/>
                    </a:lnTo>
                    <a:lnTo>
                      <a:pt x="91" y="612"/>
                    </a:lnTo>
                    <a:lnTo>
                      <a:pt x="91" y="613"/>
                    </a:lnTo>
                    <a:lnTo>
                      <a:pt x="89" y="613"/>
                    </a:lnTo>
                    <a:lnTo>
                      <a:pt x="89" y="615"/>
                    </a:lnTo>
                    <a:lnTo>
                      <a:pt x="89" y="617"/>
                    </a:lnTo>
                    <a:lnTo>
                      <a:pt x="89" y="619"/>
                    </a:lnTo>
                    <a:lnTo>
                      <a:pt x="89" y="621"/>
                    </a:lnTo>
                    <a:lnTo>
                      <a:pt x="91" y="623"/>
                    </a:lnTo>
                    <a:lnTo>
                      <a:pt x="89" y="623"/>
                    </a:lnTo>
                    <a:lnTo>
                      <a:pt x="89" y="625"/>
                    </a:lnTo>
                    <a:lnTo>
                      <a:pt x="91" y="625"/>
                    </a:lnTo>
                    <a:lnTo>
                      <a:pt x="91" y="627"/>
                    </a:lnTo>
                    <a:lnTo>
                      <a:pt x="92" y="627"/>
                    </a:lnTo>
                    <a:lnTo>
                      <a:pt x="92" y="629"/>
                    </a:lnTo>
                    <a:lnTo>
                      <a:pt x="92" y="631"/>
                    </a:lnTo>
                    <a:lnTo>
                      <a:pt x="94" y="631"/>
                    </a:lnTo>
                    <a:lnTo>
                      <a:pt x="94" y="629"/>
                    </a:lnTo>
                    <a:lnTo>
                      <a:pt x="94" y="631"/>
                    </a:lnTo>
                    <a:lnTo>
                      <a:pt x="92" y="629"/>
                    </a:lnTo>
                    <a:lnTo>
                      <a:pt x="92" y="627"/>
                    </a:lnTo>
                    <a:lnTo>
                      <a:pt x="91" y="625"/>
                    </a:lnTo>
                    <a:lnTo>
                      <a:pt x="89" y="625"/>
                    </a:lnTo>
                    <a:lnTo>
                      <a:pt x="89" y="623"/>
                    </a:lnTo>
                    <a:lnTo>
                      <a:pt x="89" y="625"/>
                    </a:lnTo>
                    <a:lnTo>
                      <a:pt x="89" y="623"/>
                    </a:lnTo>
                    <a:lnTo>
                      <a:pt x="91" y="623"/>
                    </a:lnTo>
                    <a:lnTo>
                      <a:pt x="89" y="621"/>
                    </a:lnTo>
                    <a:lnTo>
                      <a:pt x="91" y="621"/>
                    </a:lnTo>
                    <a:lnTo>
                      <a:pt x="89" y="621"/>
                    </a:lnTo>
                    <a:lnTo>
                      <a:pt x="89" y="619"/>
                    </a:lnTo>
                    <a:lnTo>
                      <a:pt x="91" y="619"/>
                    </a:lnTo>
                    <a:lnTo>
                      <a:pt x="91" y="617"/>
                    </a:lnTo>
                    <a:lnTo>
                      <a:pt x="89" y="617"/>
                    </a:lnTo>
                    <a:lnTo>
                      <a:pt x="89" y="615"/>
                    </a:lnTo>
                    <a:lnTo>
                      <a:pt x="89" y="613"/>
                    </a:lnTo>
                    <a:lnTo>
                      <a:pt x="91" y="613"/>
                    </a:lnTo>
                    <a:lnTo>
                      <a:pt x="91" y="612"/>
                    </a:lnTo>
                    <a:lnTo>
                      <a:pt x="89" y="610"/>
                    </a:lnTo>
                    <a:lnTo>
                      <a:pt x="91" y="610"/>
                    </a:lnTo>
                    <a:lnTo>
                      <a:pt x="91" y="608"/>
                    </a:lnTo>
                    <a:lnTo>
                      <a:pt x="89" y="608"/>
                    </a:lnTo>
                    <a:lnTo>
                      <a:pt x="89" y="606"/>
                    </a:lnTo>
                    <a:lnTo>
                      <a:pt x="87" y="606"/>
                    </a:lnTo>
                    <a:lnTo>
                      <a:pt x="89" y="604"/>
                    </a:lnTo>
                    <a:lnTo>
                      <a:pt x="91" y="604"/>
                    </a:lnTo>
                    <a:lnTo>
                      <a:pt x="91" y="606"/>
                    </a:lnTo>
                    <a:lnTo>
                      <a:pt x="91" y="604"/>
                    </a:lnTo>
                    <a:lnTo>
                      <a:pt x="92" y="604"/>
                    </a:lnTo>
                    <a:lnTo>
                      <a:pt x="92" y="606"/>
                    </a:lnTo>
                    <a:lnTo>
                      <a:pt x="91" y="606"/>
                    </a:lnTo>
                    <a:lnTo>
                      <a:pt x="92" y="606"/>
                    </a:lnTo>
                    <a:lnTo>
                      <a:pt x="94" y="604"/>
                    </a:lnTo>
                    <a:lnTo>
                      <a:pt x="96" y="604"/>
                    </a:lnTo>
                    <a:lnTo>
                      <a:pt x="94" y="604"/>
                    </a:lnTo>
                    <a:lnTo>
                      <a:pt x="96" y="604"/>
                    </a:lnTo>
                    <a:lnTo>
                      <a:pt x="96" y="606"/>
                    </a:lnTo>
                    <a:lnTo>
                      <a:pt x="98" y="606"/>
                    </a:lnTo>
                    <a:lnTo>
                      <a:pt x="100" y="608"/>
                    </a:lnTo>
                    <a:lnTo>
                      <a:pt x="100" y="610"/>
                    </a:lnTo>
                    <a:lnTo>
                      <a:pt x="102" y="610"/>
                    </a:lnTo>
                    <a:lnTo>
                      <a:pt x="104" y="610"/>
                    </a:lnTo>
                    <a:lnTo>
                      <a:pt x="106" y="610"/>
                    </a:lnTo>
                    <a:lnTo>
                      <a:pt x="108" y="610"/>
                    </a:lnTo>
                    <a:lnTo>
                      <a:pt x="110" y="608"/>
                    </a:lnTo>
                    <a:lnTo>
                      <a:pt x="110" y="606"/>
                    </a:lnTo>
                    <a:lnTo>
                      <a:pt x="108" y="606"/>
                    </a:lnTo>
                    <a:lnTo>
                      <a:pt x="108" y="608"/>
                    </a:lnTo>
                    <a:lnTo>
                      <a:pt x="106" y="606"/>
                    </a:lnTo>
                    <a:lnTo>
                      <a:pt x="106" y="604"/>
                    </a:lnTo>
                    <a:lnTo>
                      <a:pt x="106" y="602"/>
                    </a:lnTo>
                    <a:lnTo>
                      <a:pt x="106" y="604"/>
                    </a:lnTo>
                    <a:lnTo>
                      <a:pt x="106" y="602"/>
                    </a:lnTo>
                    <a:lnTo>
                      <a:pt x="108" y="602"/>
                    </a:lnTo>
                    <a:lnTo>
                      <a:pt x="110" y="602"/>
                    </a:lnTo>
                    <a:lnTo>
                      <a:pt x="110" y="600"/>
                    </a:lnTo>
                    <a:lnTo>
                      <a:pt x="110" y="598"/>
                    </a:lnTo>
                    <a:lnTo>
                      <a:pt x="110" y="596"/>
                    </a:lnTo>
                    <a:lnTo>
                      <a:pt x="110" y="594"/>
                    </a:lnTo>
                    <a:lnTo>
                      <a:pt x="112" y="594"/>
                    </a:lnTo>
                    <a:lnTo>
                      <a:pt x="112" y="592"/>
                    </a:lnTo>
                    <a:lnTo>
                      <a:pt x="110" y="592"/>
                    </a:lnTo>
                    <a:lnTo>
                      <a:pt x="112" y="592"/>
                    </a:lnTo>
                    <a:lnTo>
                      <a:pt x="112" y="590"/>
                    </a:lnTo>
                    <a:lnTo>
                      <a:pt x="114" y="590"/>
                    </a:lnTo>
                    <a:lnTo>
                      <a:pt x="114" y="588"/>
                    </a:lnTo>
                    <a:lnTo>
                      <a:pt x="112" y="588"/>
                    </a:lnTo>
                    <a:lnTo>
                      <a:pt x="112" y="587"/>
                    </a:lnTo>
                    <a:lnTo>
                      <a:pt x="110" y="587"/>
                    </a:lnTo>
                    <a:lnTo>
                      <a:pt x="110" y="585"/>
                    </a:lnTo>
                    <a:lnTo>
                      <a:pt x="112" y="585"/>
                    </a:lnTo>
                    <a:lnTo>
                      <a:pt x="112" y="583"/>
                    </a:lnTo>
                    <a:lnTo>
                      <a:pt x="110" y="583"/>
                    </a:lnTo>
                    <a:lnTo>
                      <a:pt x="110" y="581"/>
                    </a:lnTo>
                    <a:lnTo>
                      <a:pt x="110" y="579"/>
                    </a:lnTo>
                    <a:lnTo>
                      <a:pt x="110" y="577"/>
                    </a:lnTo>
                    <a:lnTo>
                      <a:pt x="110" y="575"/>
                    </a:lnTo>
                    <a:lnTo>
                      <a:pt x="112" y="575"/>
                    </a:lnTo>
                    <a:lnTo>
                      <a:pt x="112" y="573"/>
                    </a:lnTo>
                    <a:lnTo>
                      <a:pt x="112" y="571"/>
                    </a:lnTo>
                    <a:lnTo>
                      <a:pt x="114" y="571"/>
                    </a:lnTo>
                    <a:lnTo>
                      <a:pt x="116" y="571"/>
                    </a:lnTo>
                    <a:lnTo>
                      <a:pt x="117" y="571"/>
                    </a:lnTo>
                    <a:lnTo>
                      <a:pt x="117" y="569"/>
                    </a:lnTo>
                    <a:lnTo>
                      <a:pt x="119" y="569"/>
                    </a:lnTo>
                    <a:lnTo>
                      <a:pt x="119" y="567"/>
                    </a:lnTo>
                    <a:lnTo>
                      <a:pt x="119" y="565"/>
                    </a:lnTo>
                    <a:lnTo>
                      <a:pt x="121" y="565"/>
                    </a:lnTo>
                    <a:lnTo>
                      <a:pt x="123" y="563"/>
                    </a:lnTo>
                    <a:lnTo>
                      <a:pt x="125" y="563"/>
                    </a:lnTo>
                    <a:lnTo>
                      <a:pt x="127" y="563"/>
                    </a:lnTo>
                    <a:lnTo>
                      <a:pt x="127" y="562"/>
                    </a:lnTo>
                    <a:lnTo>
                      <a:pt x="127" y="560"/>
                    </a:lnTo>
                    <a:lnTo>
                      <a:pt x="125" y="560"/>
                    </a:lnTo>
                    <a:lnTo>
                      <a:pt x="125" y="558"/>
                    </a:lnTo>
                    <a:lnTo>
                      <a:pt x="127" y="558"/>
                    </a:lnTo>
                    <a:lnTo>
                      <a:pt x="129" y="558"/>
                    </a:lnTo>
                    <a:lnTo>
                      <a:pt x="127" y="556"/>
                    </a:lnTo>
                    <a:lnTo>
                      <a:pt x="125" y="556"/>
                    </a:lnTo>
                    <a:lnTo>
                      <a:pt x="125" y="554"/>
                    </a:lnTo>
                    <a:lnTo>
                      <a:pt x="125" y="552"/>
                    </a:lnTo>
                    <a:lnTo>
                      <a:pt x="125" y="550"/>
                    </a:lnTo>
                    <a:lnTo>
                      <a:pt x="125" y="548"/>
                    </a:lnTo>
                    <a:lnTo>
                      <a:pt x="127" y="548"/>
                    </a:lnTo>
                    <a:lnTo>
                      <a:pt x="129" y="548"/>
                    </a:lnTo>
                    <a:lnTo>
                      <a:pt x="131" y="546"/>
                    </a:lnTo>
                    <a:lnTo>
                      <a:pt x="131" y="548"/>
                    </a:lnTo>
                    <a:lnTo>
                      <a:pt x="129" y="548"/>
                    </a:lnTo>
                    <a:lnTo>
                      <a:pt x="131" y="548"/>
                    </a:lnTo>
                    <a:lnTo>
                      <a:pt x="133" y="550"/>
                    </a:lnTo>
                    <a:lnTo>
                      <a:pt x="135" y="550"/>
                    </a:lnTo>
                    <a:lnTo>
                      <a:pt x="135" y="552"/>
                    </a:lnTo>
                    <a:lnTo>
                      <a:pt x="133" y="552"/>
                    </a:lnTo>
                    <a:lnTo>
                      <a:pt x="133" y="554"/>
                    </a:lnTo>
                    <a:lnTo>
                      <a:pt x="135" y="554"/>
                    </a:lnTo>
                    <a:lnTo>
                      <a:pt x="135" y="556"/>
                    </a:lnTo>
                    <a:lnTo>
                      <a:pt x="135" y="558"/>
                    </a:lnTo>
                    <a:lnTo>
                      <a:pt x="135" y="556"/>
                    </a:lnTo>
                    <a:lnTo>
                      <a:pt x="137" y="556"/>
                    </a:lnTo>
                    <a:lnTo>
                      <a:pt x="137" y="558"/>
                    </a:lnTo>
                    <a:lnTo>
                      <a:pt x="137" y="560"/>
                    </a:lnTo>
                    <a:lnTo>
                      <a:pt x="137" y="562"/>
                    </a:lnTo>
                    <a:lnTo>
                      <a:pt x="135" y="562"/>
                    </a:lnTo>
                    <a:lnTo>
                      <a:pt x="135" y="563"/>
                    </a:lnTo>
                    <a:lnTo>
                      <a:pt x="135" y="562"/>
                    </a:lnTo>
                    <a:lnTo>
                      <a:pt x="133" y="562"/>
                    </a:lnTo>
                    <a:lnTo>
                      <a:pt x="133" y="563"/>
                    </a:lnTo>
                    <a:lnTo>
                      <a:pt x="131" y="563"/>
                    </a:lnTo>
                    <a:lnTo>
                      <a:pt x="131" y="562"/>
                    </a:lnTo>
                    <a:lnTo>
                      <a:pt x="131" y="563"/>
                    </a:lnTo>
                    <a:lnTo>
                      <a:pt x="129" y="563"/>
                    </a:lnTo>
                    <a:lnTo>
                      <a:pt x="131" y="563"/>
                    </a:lnTo>
                    <a:lnTo>
                      <a:pt x="133" y="565"/>
                    </a:lnTo>
                    <a:lnTo>
                      <a:pt x="131" y="565"/>
                    </a:lnTo>
                    <a:lnTo>
                      <a:pt x="131" y="567"/>
                    </a:lnTo>
                    <a:lnTo>
                      <a:pt x="129" y="567"/>
                    </a:lnTo>
                    <a:lnTo>
                      <a:pt x="131" y="567"/>
                    </a:lnTo>
                    <a:lnTo>
                      <a:pt x="131" y="565"/>
                    </a:lnTo>
                    <a:lnTo>
                      <a:pt x="133" y="565"/>
                    </a:lnTo>
                    <a:lnTo>
                      <a:pt x="131" y="563"/>
                    </a:lnTo>
                    <a:lnTo>
                      <a:pt x="133" y="563"/>
                    </a:lnTo>
                    <a:lnTo>
                      <a:pt x="135" y="562"/>
                    </a:lnTo>
                    <a:lnTo>
                      <a:pt x="135" y="563"/>
                    </a:lnTo>
                    <a:lnTo>
                      <a:pt x="137" y="562"/>
                    </a:lnTo>
                    <a:lnTo>
                      <a:pt x="137" y="560"/>
                    </a:lnTo>
                    <a:lnTo>
                      <a:pt x="137" y="558"/>
                    </a:lnTo>
                    <a:lnTo>
                      <a:pt x="137" y="556"/>
                    </a:lnTo>
                    <a:lnTo>
                      <a:pt x="135" y="556"/>
                    </a:lnTo>
                    <a:lnTo>
                      <a:pt x="135" y="558"/>
                    </a:lnTo>
                    <a:lnTo>
                      <a:pt x="135" y="556"/>
                    </a:lnTo>
                    <a:lnTo>
                      <a:pt x="135" y="554"/>
                    </a:lnTo>
                    <a:lnTo>
                      <a:pt x="133" y="554"/>
                    </a:lnTo>
                    <a:lnTo>
                      <a:pt x="133" y="552"/>
                    </a:lnTo>
                    <a:lnTo>
                      <a:pt x="135" y="552"/>
                    </a:lnTo>
                    <a:lnTo>
                      <a:pt x="135" y="550"/>
                    </a:lnTo>
                    <a:lnTo>
                      <a:pt x="133" y="550"/>
                    </a:lnTo>
                    <a:lnTo>
                      <a:pt x="133" y="548"/>
                    </a:lnTo>
                    <a:lnTo>
                      <a:pt x="131" y="548"/>
                    </a:lnTo>
                    <a:lnTo>
                      <a:pt x="129" y="548"/>
                    </a:lnTo>
                    <a:lnTo>
                      <a:pt x="131" y="548"/>
                    </a:lnTo>
                    <a:lnTo>
                      <a:pt x="131" y="546"/>
                    </a:lnTo>
                    <a:lnTo>
                      <a:pt x="133" y="546"/>
                    </a:lnTo>
                    <a:lnTo>
                      <a:pt x="135" y="544"/>
                    </a:lnTo>
                    <a:lnTo>
                      <a:pt x="137" y="542"/>
                    </a:lnTo>
                    <a:lnTo>
                      <a:pt x="135" y="542"/>
                    </a:lnTo>
                    <a:lnTo>
                      <a:pt x="135" y="544"/>
                    </a:lnTo>
                    <a:lnTo>
                      <a:pt x="133" y="544"/>
                    </a:lnTo>
                    <a:lnTo>
                      <a:pt x="133" y="546"/>
                    </a:lnTo>
                    <a:lnTo>
                      <a:pt x="131" y="544"/>
                    </a:lnTo>
                    <a:lnTo>
                      <a:pt x="133" y="544"/>
                    </a:lnTo>
                    <a:lnTo>
                      <a:pt x="133" y="542"/>
                    </a:lnTo>
                    <a:lnTo>
                      <a:pt x="135" y="542"/>
                    </a:lnTo>
                    <a:lnTo>
                      <a:pt x="137" y="542"/>
                    </a:lnTo>
                    <a:lnTo>
                      <a:pt x="137" y="540"/>
                    </a:lnTo>
                    <a:lnTo>
                      <a:pt x="139" y="540"/>
                    </a:lnTo>
                    <a:lnTo>
                      <a:pt x="141" y="540"/>
                    </a:lnTo>
                    <a:lnTo>
                      <a:pt x="142" y="538"/>
                    </a:lnTo>
                    <a:lnTo>
                      <a:pt x="144" y="538"/>
                    </a:lnTo>
                    <a:lnTo>
                      <a:pt x="146" y="538"/>
                    </a:lnTo>
                    <a:lnTo>
                      <a:pt x="150" y="538"/>
                    </a:lnTo>
                    <a:lnTo>
                      <a:pt x="150" y="540"/>
                    </a:lnTo>
                    <a:lnTo>
                      <a:pt x="152" y="540"/>
                    </a:lnTo>
                    <a:lnTo>
                      <a:pt x="152" y="542"/>
                    </a:lnTo>
                    <a:lnTo>
                      <a:pt x="152" y="544"/>
                    </a:lnTo>
                    <a:lnTo>
                      <a:pt x="154" y="546"/>
                    </a:lnTo>
                    <a:lnTo>
                      <a:pt x="156" y="546"/>
                    </a:lnTo>
                    <a:lnTo>
                      <a:pt x="156" y="548"/>
                    </a:lnTo>
                    <a:lnTo>
                      <a:pt x="158" y="548"/>
                    </a:lnTo>
                    <a:lnTo>
                      <a:pt x="158" y="550"/>
                    </a:lnTo>
                    <a:lnTo>
                      <a:pt x="162" y="554"/>
                    </a:lnTo>
                    <a:lnTo>
                      <a:pt x="164" y="554"/>
                    </a:lnTo>
                    <a:lnTo>
                      <a:pt x="165" y="558"/>
                    </a:lnTo>
                    <a:lnTo>
                      <a:pt x="167" y="558"/>
                    </a:lnTo>
                    <a:lnTo>
                      <a:pt x="167" y="560"/>
                    </a:lnTo>
                    <a:lnTo>
                      <a:pt x="165" y="560"/>
                    </a:lnTo>
                    <a:lnTo>
                      <a:pt x="165" y="562"/>
                    </a:lnTo>
                    <a:lnTo>
                      <a:pt x="165" y="563"/>
                    </a:lnTo>
                    <a:lnTo>
                      <a:pt x="164" y="563"/>
                    </a:lnTo>
                    <a:lnTo>
                      <a:pt x="164" y="565"/>
                    </a:lnTo>
                    <a:lnTo>
                      <a:pt x="162" y="565"/>
                    </a:lnTo>
                    <a:lnTo>
                      <a:pt x="160" y="565"/>
                    </a:lnTo>
                    <a:lnTo>
                      <a:pt x="160" y="567"/>
                    </a:lnTo>
                    <a:lnTo>
                      <a:pt x="158" y="567"/>
                    </a:lnTo>
                    <a:lnTo>
                      <a:pt x="158" y="569"/>
                    </a:lnTo>
                    <a:lnTo>
                      <a:pt x="158" y="571"/>
                    </a:lnTo>
                    <a:lnTo>
                      <a:pt x="158" y="573"/>
                    </a:lnTo>
                    <a:lnTo>
                      <a:pt x="160" y="575"/>
                    </a:lnTo>
                    <a:lnTo>
                      <a:pt x="162" y="575"/>
                    </a:lnTo>
                    <a:lnTo>
                      <a:pt x="164" y="577"/>
                    </a:lnTo>
                    <a:lnTo>
                      <a:pt x="165" y="577"/>
                    </a:lnTo>
                    <a:lnTo>
                      <a:pt x="165" y="579"/>
                    </a:lnTo>
                    <a:lnTo>
                      <a:pt x="165" y="581"/>
                    </a:lnTo>
                    <a:lnTo>
                      <a:pt x="165" y="583"/>
                    </a:lnTo>
                    <a:lnTo>
                      <a:pt x="164" y="583"/>
                    </a:lnTo>
                    <a:lnTo>
                      <a:pt x="164" y="585"/>
                    </a:lnTo>
                    <a:lnTo>
                      <a:pt x="162" y="585"/>
                    </a:lnTo>
                    <a:lnTo>
                      <a:pt x="162" y="587"/>
                    </a:lnTo>
                    <a:lnTo>
                      <a:pt x="160" y="588"/>
                    </a:lnTo>
                    <a:lnTo>
                      <a:pt x="158" y="590"/>
                    </a:lnTo>
                    <a:lnTo>
                      <a:pt x="158" y="594"/>
                    </a:lnTo>
                    <a:lnTo>
                      <a:pt x="160" y="596"/>
                    </a:lnTo>
                    <a:lnTo>
                      <a:pt x="160" y="598"/>
                    </a:lnTo>
                    <a:lnTo>
                      <a:pt x="160" y="600"/>
                    </a:lnTo>
                    <a:lnTo>
                      <a:pt x="162" y="600"/>
                    </a:lnTo>
                    <a:lnTo>
                      <a:pt x="162" y="602"/>
                    </a:lnTo>
                    <a:lnTo>
                      <a:pt x="164" y="602"/>
                    </a:lnTo>
                    <a:lnTo>
                      <a:pt x="165" y="604"/>
                    </a:lnTo>
                    <a:lnTo>
                      <a:pt x="167" y="606"/>
                    </a:lnTo>
                    <a:lnTo>
                      <a:pt x="167" y="608"/>
                    </a:lnTo>
                    <a:lnTo>
                      <a:pt x="167" y="610"/>
                    </a:lnTo>
                    <a:lnTo>
                      <a:pt x="169" y="610"/>
                    </a:lnTo>
                    <a:lnTo>
                      <a:pt x="167" y="612"/>
                    </a:lnTo>
                    <a:lnTo>
                      <a:pt x="167" y="613"/>
                    </a:lnTo>
                    <a:lnTo>
                      <a:pt x="167" y="615"/>
                    </a:lnTo>
                    <a:lnTo>
                      <a:pt x="167" y="617"/>
                    </a:lnTo>
                    <a:lnTo>
                      <a:pt x="165" y="619"/>
                    </a:lnTo>
                    <a:lnTo>
                      <a:pt x="165" y="621"/>
                    </a:lnTo>
                    <a:lnTo>
                      <a:pt x="167" y="623"/>
                    </a:lnTo>
                    <a:lnTo>
                      <a:pt x="167" y="625"/>
                    </a:lnTo>
                    <a:lnTo>
                      <a:pt x="169" y="625"/>
                    </a:lnTo>
                    <a:lnTo>
                      <a:pt x="171" y="627"/>
                    </a:lnTo>
                    <a:lnTo>
                      <a:pt x="171" y="629"/>
                    </a:lnTo>
                    <a:lnTo>
                      <a:pt x="173" y="629"/>
                    </a:lnTo>
                    <a:lnTo>
                      <a:pt x="173" y="631"/>
                    </a:lnTo>
                    <a:lnTo>
                      <a:pt x="173" y="633"/>
                    </a:lnTo>
                    <a:lnTo>
                      <a:pt x="169" y="637"/>
                    </a:lnTo>
                    <a:lnTo>
                      <a:pt x="169" y="638"/>
                    </a:lnTo>
                    <a:lnTo>
                      <a:pt x="171" y="638"/>
                    </a:lnTo>
                    <a:lnTo>
                      <a:pt x="173" y="640"/>
                    </a:lnTo>
                    <a:lnTo>
                      <a:pt x="173" y="638"/>
                    </a:lnTo>
                    <a:lnTo>
                      <a:pt x="175" y="640"/>
                    </a:lnTo>
                    <a:lnTo>
                      <a:pt x="177" y="640"/>
                    </a:lnTo>
                    <a:lnTo>
                      <a:pt x="179" y="640"/>
                    </a:lnTo>
                    <a:lnTo>
                      <a:pt x="179" y="642"/>
                    </a:lnTo>
                    <a:lnTo>
                      <a:pt x="179" y="640"/>
                    </a:lnTo>
                    <a:lnTo>
                      <a:pt x="181" y="640"/>
                    </a:lnTo>
                    <a:lnTo>
                      <a:pt x="181" y="642"/>
                    </a:lnTo>
                    <a:lnTo>
                      <a:pt x="183" y="642"/>
                    </a:lnTo>
                    <a:lnTo>
                      <a:pt x="185" y="642"/>
                    </a:lnTo>
                    <a:lnTo>
                      <a:pt x="187" y="642"/>
                    </a:lnTo>
                    <a:lnTo>
                      <a:pt x="189" y="644"/>
                    </a:lnTo>
                    <a:lnTo>
                      <a:pt x="190" y="644"/>
                    </a:lnTo>
                    <a:lnTo>
                      <a:pt x="192" y="644"/>
                    </a:lnTo>
                    <a:lnTo>
                      <a:pt x="194" y="644"/>
                    </a:lnTo>
                    <a:lnTo>
                      <a:pt x="196" y="644"/>
                    </a:lnTo>
                    <a:lnTo>
                      <a:pt x="198" y="644"/>
                    </a:lnTo>
                    <a:lnTo>
                      <a:pt x="198" y="642"/>
                    </a:lnTo>
                    <a:lnTo>
                      <a:pt x="200" y="642"/>
                    </a:lnTo>
                    <a:lnTo>
                      <a:pt x="202" y="642"/>
                    </a:lnTo>
                    <a:lnTo>
                      <a:pt x="200" y="642"/>
                    </a:lnTo>
                    <a:lnTo>
                      <a:pt x="198" y="642"/>
                    </a:lnTo>
                    <a:lnTo>
                      <a:pt x="198" y="644"/>
                    </a:lnTo>
                    <a:lnTo>
                      <a:pt x="196" y="644"/>
                    </a:lnTo>
                    <a:lnTo>
                      <a:pt x="194" y="644"/>
                    </a:lnTo>
                    <a:lnTo>
                      <a:pt x="192" y="644"/>
                    </a:lnTo>
                    <a:lnTo>
                      <a:pt x="190" y="644"/>
                    </a:lnTo>
                    <a:lnTo>
                      <a:pt x="189" y="644"/>
                    </a:lnTo>
                    <a:lnTo>
                      <a:pt x="189" y="642"/>
                    </a:lnTo>
                    <a:lnTo>
                      <a:pt x="187" y="642"/>
                    </a:lnTo>
                    <a:lnTo>
                      <a:pt x="185" y="642"/>
                    </a:lnTo>
                    <a:lnTo>
                      <a:pt x="185" y="640"/>
                    </a:lnTo>
                    <a:lnTo>
                      <a:pt x="183" y="640"/>
                    </a:lnTo>
                    <a:lnTo>
                      <a:pt x="183" y="642"/>
                    </a:lnTo>
                    <a:lnTo>
                      <a:pt x="181" y="642"/>
                    </a:lnTo>
                    <a:lnTo>
                      <a:pt x="181" y="640"/>
                    </a:lnTo>
                    <a:lnTo>
                      <a:pt x="179" y="640"/>
                    </a:lnTo>
                    <a:lnTo>
                      <a:pt x="177" y="640"/>
                    </a:lnTo>
                    <a:lnTo>
                      <a:pt x="175" y="640"/>
                    </a:lnTo>
                    <a:lnTo>
                      <a:pt x="175" y="638"/>
                    </a:lnTo>
                    <a:lnTo>
                      <a:pt x="173" y="638"/>
                    </a:lnTo>
                    <a:lnTo>
                      <a:pt x="173" y="640"/>
                    </a:lnTo>
                    <a:lnTo>
                      <a:pt x="173" y="638"/>
                    </a:lnTo>
                    <a:lnTo>
                      <a:pt x="171" y="638"/>
                    </a:lnTo>
                    <a:lnTo>
                      <a:pt x="173" y="637"/>
                    </a:lnTo>
                    <a:lnTo>
                      <a:pt x="173" y="635"/>
                    </a:lnTo>
                    <a:lnTo>
                      <a:pt x="175" y="635"/>
                    </a:lnTo>
                    <a:lnTo>
                      <a:pt x="175" y="633"/>
                    </a:lnTo>
                    <a:lnTo>
                      <a:pt x="175" y="631"/>
                    </a:lnTo>
                    <a:lnTo>
                      <a:pt x="175" y="629"/>
                    </a:lnTo>
                    <a:lnTo>
                      <a:pt x="173" y="629"/>
                    </a:lnTo>
                    <a:lnTo>
                      <a:pt x="173" y="627"/>
                    </a:lnTo>
                    <a:lnTo>
                      <a:pt x="171" y="627"/>
                    </a:lnTo>
                    <a:lnTo>
                      <a:pt x="171" y="625"/>
                    </a:lnTo>
                    <a:lnTo>
                      <a:pt x="169" y="625"/>
                    </a:lnTo>
                    <a:lnTo>
                      <a:pt x="169" y="621"/>
                    </a:lnTo>
                    <a:lnTo>
                      <a:pt x="169" y="619"/>
                    </a:lnTo>
                    <a:lnTo>
                      <a:pt x="169" y="617"/>
                    </a:lnTo>
                    <a:lnTo>
                      <a:pt x="171" y="615"/>
                    </a:lnTo>
                    <a:lnTo>
                      <a:pt x="169" y="613"/>
                    </a:lnTo>
                    <a:lnTo>
                      <a:pt x="171" y="612"/>
                    </a:lnTo>
                    <a:lnTo>
                      <a:pt x="171" y="610"/>
                    </a:lnTo>
                    <a:lnTo>
                      <a:pt x="169" y="608"/>
                    </a:lnTo>
                    <a:lnTo>
                      <a:pt x="169" y="606"/>
                    </a:lnTo>
                    <a:lnTo>
                      <a:pt x="167" y="604"/>
                    </a:lnTo>
                    <a:lnTo>
                      <a:pt x="165" y="602"/>
                    </a:lnTo>
                    <a:lnTo>
                      <a:pt x="164" y="602"/>
                    </a:lnTo>
                    <a:lnTo>
                      <a:pt x="164" y="600"/>
                    </a:lnTo>
                    <a:lnTo>
                      <a:pt x="164" y="598"/>
                    </a:lnTo>
                    <a:lnTo>
                      <a:pt x="162" y="598"/>
                    </a:lnTo>
                    <a:lnTo>
                      <a:pt x="162" y="596"/>
                    </a:lnTo>
                    <a:lnTo>
                      <a:pt x="160" y="594"/>
                    </a:lnTo>
                    <a:lnTo>
                      <a:pt x="162" y="594"/>
                    </a:lnTo>
                    <a:lnTo>
                      <a:pt x="162" y="590"/>
                    </a:lnTo>
                    <a:lnTo>
                      <a:pt x="162" y="588"/>
                    </a:lnTo>
                    <a:lnTo>
                      <a:pt x="164" y="588"/>
                    </a:lnTo>
                    <a:lnTo>
                      <a:pt x="164" y="587"/>
                    </a:lnTo>
                    <a:lnTo>
                      <a:pt x="165" y="587"/>
                    </a:lnTo>
                    <a:lnTo>
                      <a:pt x="165" y="585"/>
                    </a:lnTo>
                    <a:lnTo>
                      <a:pt x="165" y="583"/>
                    </a:lnTo>
                    <a:lnTo>
                      <a:pt x="167" y="583"/>
                    </a:lnTo>
                    <a:lnTo>
                      <a:pt x="167" y="581"/>
                    </a:lnTo>
                    <a:lnTo>
                      <a:pt x="167" y="579"/>
                    </a:lnTo>
                    <a:lnTo>
                      <a:pt x="165" y="577"/>
                    </a:lnTo>
                    <a:lnTo>
                      <a:pt x="164" y="575"/>
                    </a:lnTo>
                    <a:lnTo>
                      <a:pt x="162" y="575"/>
                    </a:lnTo>
                    <a:lnTo>
                      <a:pt x="162" y="573"/>
                    </a:lnTo>
                    <a:lnTo>
                      <a:pt x="162" y="571"/>
                    </a:lnTo>
                    <a:lnTo>
                      <a:pt x="164" y="571"/>
                    </a:lnTo>
                    <a:lnTo>
                      <a:pt x="164" y="569"/>
                    </a:lnTo>
                    <a:lnTo>
                      <a:pt x="165" y="567"/>
                    </a:lnTo>
                    <a:lnTo>
                      <a:pt x="165" y="565"/>
                    </a:lnTo>
                    <a:lnTo>
                      <a:pt x="167" y="565"/>
                    </a:lnTo>
                    <a:lnTo>
                      <a:pt x="167" y="563"/>
                    </a:lnTo>
                    <a:lnTo>
                      <a:pt x="169" y="563"/>
                    </a:lnTo>
                    <a:lnTo>
                      <a:pt x="169" y="562"/>
                    </a:lnTo>
                    <a:lnTo>
                      <a:pt x="169" y="563"/>
                    </a:lnTo>
                    <a:lnTo>
                      <a:pt x="171" y="563"/>
                    </a:lnTo>
                    <a:lnTo>
                      <a:pt x="171" y="562"/>
                    </a:lnTo>
                    <a:lnTo>
                      <a:pt x="171" y="563"/>
                    </a:lnTo>
                    <a:lnTo>
                      <a:pt x="173" y="563"/>
                    </a:lnTo>
                    <a:lnTo>
                      <a:pt x="175" y="563"/>
                    </a:lnTo>
                    <a:lnTo>
                      <a:pt x="175" y="565"/>
                    </a:lnTo>
                    <a:lnTo>
                      <a:pt x="177" y="565"/>
                    </a:lnTo>
                    <a:lnTo>
                      <a:pt x="177" y="567"/>
                    </a:lnTo>
                    <a:lnTo>
                      <a:pt x="177" y="569"/>
                    </a:lnTo>
                    <a:lnTo>
                      <a:pt x="177" y="571"/>
                    </a:lnTo>
                    <a:lnTo>
                      <a:pt x="179" y="571"/>
                    </a:lnTo>
                    <a:lnTo>
                      <a:pt x="181" y="571"/>
                    </a:lnTo>
                    <a:lnTo>
                      <a:pt x="181" y="573"/>
                    </a:lnTo>
                    <a:lnTo>
                      <a:pt x="183" y="573"/>
                    </a:lnTo>
                    <a:lnTo>
                      <a:pt x="185" y="573"/>
                    </a:lnTo>
                    <a:lnTo>
                      <a:pt x="183" y="573"/>
                    </a:lnTo>
                    <a:lnTo>
                      <a:pt x="181" y="573"/>
                    </a:lnTo>
                    <a:lnTo>
                      <a:pt x="181" y="571"/>
                    </a:lnTo>
                    <a:lnTo>
                      <a:pt x="179" y="571"/>
                    </a:lnTo>
                    <a:lnTo>
                      <a:pt x="177" y="571"/>
                    </a:lnTo>
                    <a:lnTo>
                      <a:pt x="177" y="569"/>
                    </a:lnTo>
                    <a:lnTo>
                      <a:pt x="177" y="567"/>
                    </a:lnTo>
                    <a:lnTo>
                      <a:pt x="177" y="565"/>
                    </a:lnTo>
                    <a:lnTo>
                      <a:pt x="175" y="565"/>
                    </a:lnTo>
                    <a:lnTo>
                      <a:pt x="175" y="563"/>
                    </a:lnTo>
                    <a:lnTo>
                      <a:pt x="173" y="563"/>
                    </a:lnTo>
                    <a:lnTo>
                      <a:pt x="171" y="563"/>
                    </a:lnTo>
                    <a:lnTo>
                      <a:pt x="171" y="562"/>
                    </a:lnTo>
                    <a:lnTo>
                      <a:pt x="171" y="563"/>
                    </a:lnTo>
                    <a:lnTo>
                      <a:pt x="169" y="563"/>
                    </a:lnTo>
                    <a:lnTo>
                      <a:pt x="169" y="562"/>
                    </a:lnTo>
                    <a:lnTo>
                      <a:pt x="169" y="560"/>
                    </a:lnTo>
                    <a:lnTo>
                      <a:pt x="167" y="558"/>
                    </a:lnTo>
                    <a:lnTo>
                      <a:pt x="167" y="556"/>
                    </a:lnTo>
                    <a:lnTo>
                      <a:pt x="165" y="556"/>
                    </a:lnTo>
                    <a:lnTo>
                      <a:pt x="165" y="554"/>
                    </a:lnTo>
                    <a:lnTo>
                      <a:pt x="164" y="554"/>
                    </a:lnTo>
                    <a:lnTo>
                      <a:pt x="164" y="552"/>
                    </a:lnTo>
                    <a:lnTo>
                      <a:pt x="162" y="550"/>
                    </a:lnTo>
                    <a:lnTo>
                      <a:pt x="162" y="548"/>
                    </a:lnTo>
                    <a:lnTo>
                      <a:pt x="162" y="546"/>
                    </a:lnTo>
                    <a:lnTo>
                      <a:pt x="160" y="546"/>
                    </a:lnTo>
                    <a:lnTo>
                      <a:pt x="160" y="544"/>
                    </a:lnTo>
                    <a:lnTo>
                      <a:pt x="160" y="542"/>
                    </a:lnTo>
                    <a:lnTo>
                      <a:pt x="158" y="540"/>
                    </a:lnTo>
                    <a:lnTo>
                      <a:pt x="156" y="540"/>
                    </a:lnTo>
                    <a:lnTo>
                      <a:pt x="156" y="538"/>
                    </a:lnTo>
                    <a:lnTo>
                      <a:pt x="154" y="538"/>
                    </a:lnTo>
                    <a:lnTo>
                      <a:pt x="154" y="537"/>
                    </a:lnTo>
                    <a:lnTo>
                      <a:pt x="152" y="537"/>
                    </a:lnTo>
                    <a:lnTo>
                      <a:pt x="150" y="537"/>
                    </a:lnTo>
                    <a:lnTo>
                      <a:pt x="148" y="537"/>
                    </a:lnTo>
                    <a:lnTo>
                      <a:pt x="148" y="535"/>
                    </a:lnTo>
                    <a:lnTo>
                      <a:pt x="148" y="537"/>
                    </a:lnTo>
                    <a:lnTo>
                      <a:pt x="148" y="535"/>
                    </a:lnTo>
                    <a:lnTo>
                      <a:pt x="148" y="537"/>
                    </a:lnTo>
                    <a:lnTo>
                      <a:pt x="146" y="537"/>
                    </a:lnTo>
                    <a:lnTo>
                      <a:pt x="144" y="537"/>
                    </a:lnTo>
                    <a:lnTo>
                      <a:pt x="142" y="537"/>
                    </a:lnTo>
                    <a:lnTo>
                      <a:pt x="141" y="537"/>
                    </a:lnTo>
                    <a:lnTo>
                      <a:pt x="139" y="537"/>
                    </a:lnTo>
                    <a:lnTo>
                      <a:pt x="137" y="537"/>
                    </a:lnTo>
                    <a:lnTo>
                      <a:pt x="137" y="538"/>
                    </a:lnTo>
                    <a:lnTo>
                      <a:pt x="135" y="538"/>
                    </a:lnTo>
                    <a:lnTo>
                      <a:pt x="135" y="540"/>
                    </a:lnTo>
                    <a:lnTo>
                      <a:pt x="133" y="540"/>
                    </a:lnTo>
                    <a:lnTo>
                      <a:pt x="133" y="542"/>
                    </a:lnTo>
                    <a:lnTo>
                      <a:pt x="131" y="544"/>
                    </a:lnTo>
                    <a:lnTo>
                      <a:pt x="129" y="544"/>
                    </a:lnTo>
                    <a:lnTo>
                      <a:pt x="129" y="542"/>
                    </a:lnTo>
                    <a:lnTo>
                      <a:pt x="129" y="540"/>
                    </a:lnTo>
                    <a:lnTo>
                      <a:pt x="127" y="540"/>
                    </a:lnTo>
                    <a:lnTo>
                      <a:pt x="125" y="538"/>
                    </a:lnTo>
                    <a:lnTo>
                      <a:pt x="123" y="538"/>
                    </a:lnTo>
                    <a:lnTo>
                      <a:pt x="121" y="538"/>
                    </a:lnTo>
                    <a:lnTo>
                      <a:pt x="121" y="537"/>
                    </a:lnTo>
                    <a:lnTo>
                      <a:pt x="119" y="537"/>
                    </a:lnTo>
                    <a:lnTo>
                      <a:pt x="121" y="537"/>
                    </a:lnTo>
                    <a:lnTo>
                      <a:pt x="121" y="535"/>
                    </a:lnTo>
                    <a:lnTo>
                      <a:pt x="119" y="535"/>
                    </a:lnTo>
                    <a:lnTo>
                      <a:pt x="119" y="533"/>
                    </a:lnTo>
                    <a:lnTo>
                      <a:pt x="117" y="533"/>
                    </a:lnTo>
                    <a:lnTo>
                      <a:pt x="117" y="531"/>
                    </a:lnTo>
                    <a:lnTo>
                      <a:pt x="116" y="531"/>
                    </a:lnTo>
                    <a:lnTo>
                      <a:pt x="116" y="529"/>
                    </a:lnTo>
                    <a:lnTo>
                      <a:pt x="114" y="529"/>
                    </a:lnTo>
                    <a:lnTo>
                      <a:pt x="114" y="527"/>
                    </a:lnTo>
                    <a:lnTo>
                      <a:pt x="114" y="525"/>
                    </a:lnTo>
                    <a:lnTo>
                      <a:pt x="114" y="527"/>
                    </a:lnTo>
                    <a:lnTo>
                      <a:pt x="114" y="525"/>
                    </a:lnTo>
                    <a:lnTo>
                      <a:pt x="112" y="525"/>
                    </a:lnTo>
                    <a:lnTo>
                      <a:pt x="112" y="523"/>
                    </a:lnTo>
                    <a:lnTo>
                      <a:pt x="110" y="523"/>
                    </a:lnTo>
                    <a:lnTo>
                      <a:pt x="112" y="523"/>
                    </a:lnTo>
                    <a:lnTo>
                      <a:pt x="112" y="521"/>
                    </a:lnTo>
                    <a:lnTo>
                      <a:pt x="110" y="521"/>
                    </a:lnTo>
                    <a:lnTo>
                      <a:pt x="110" y="519"/>
                    </a:lnTo>
                    <a:lnTo>
                      <a:pt x="110" y="517"/>
                    </a:lnTo>
                    <a:lnTo>
                      <a:pt x="108" y="517"/>
                    </a:lnTo>
                    <a:lnTo>
                      <a:pt x="106" y="515"/>
                    </a:lnTo>
                    <a:lnTo>
                      <a:pt x="104" y="515"/>
                    </a:lnTo>
                    <a:lnTo>
                      <a:pt x="102" y="515"/>
                    </a:lnTo>
                    <a:lnTo>
                      <a:pt x="102" y="513"/>
                    </a:lnTo>
                    <a:lnTo>
                      <a:pt x="102" y="512"/>
                    </a:lnTo>
                    <a:lnTo>
                      <a:pt x="104" y="512"/>
                    </a:lnTo>
                    <a:lnTo>
                      <a:pt x="102" y="512"/>
                    </a:lnTo>
                    <a:lnTo>
                      <a:pt x="104" y="512"/>
                    </a:lnTo>
                    <a:lnTo>
                      <a:pt x="102" y="510"/>
                    </a:lnTo>
                    <a:lnTo>
                      <a:pt x="102" y="508"/>
                    </a:lnTo>
                    <a:lnTo>
                      <a:pt x="100" y="508"/>
                    </a:lnTo>
                    <a:lnTo>
                      <a:pt x="100" y="506"/>
                    </a:lnTo>
                    <a:lnTo>
                      <a:pt x="100" y="504"/>
                    </a:lnTo>
                    <a:lnTo>
                      <a:pt x="100" y="502"/>
                    </a:lnTo>
                    <a:lnTo>
                      <a:pt x="100" y="500"/>
                    </a:lnTo>
                    <a:lnTo>
                      <a:pt x="102" y="500"/>
                    </a:lnTo>
                    <a:lnTo>
                      <a:pt x="102" y="502"/>
                    </a:lnTo>
                    <a:lnTo>
                      <a:pt x="106" y="502"/>
                    </a:lnTo>
                    <a:lnTo>
                      <a:pt x="108" y="502"/>
                    </a:lnTo>
                    <a:lnTo>
                      <a:pt x="110" y="502"/>
                    </a:lnTo>
                    <a:lnTo>
                      <a:pt x="112" y="502"/>
                    </a:lnTo>
                    <a:lnTo>
                      <a:pt x="114" y="502"/>
                    </a:lnTo>
                    <a:lnTo>
                      <a:pt x="114" y="500"/>
                    </a:lnTo>
                    <a:lnTo>
                      <a:pt x="114" y="502"/>
                    </a:lnTo>
                    <a:lnTo>
                      <a:pt x="116" y="502"/>
                    </a:lnTo>
                    <a:lnTo>
                      <a:pt x="117" y="502"/>
                    </a:lnTo>
                    <a:lnTo>
                      <a:pt x="117" y="504"/>
                    </a:lnTo>
                    <a:lnTo>
                      <a:pt x="116" y="504"/>
                    </a:lnTo>
                    <a:lnTo>
                      <a:pt x="116" y="506"/>
                    </a:lnTo>
                    <a:lnTo>
                      <a:pt x="117" y="504"/>
                    </a:lnTo>
                    <a:lnTo>
                      <a:pt x="117" y="506"/>
                    </a:lnTo>
                    <a:lnTo>
                      <a:pt x="117" y="504"/>
                    </a:lnTo>
                    <a:lnTo>
                      <a:pt x="117" y="506"/>
                    </a:lnTo>
                    <a:lnTo>
                      <a:pt x="116" y="506"/>
                    </a:lnTo>
                    <a:lnTo>
                      <a:pt x="116" y="508"/>
                    </a:lnTo>
                    <a:lnTo>
                      <a:pt x="116" y="506"/>
                    </a:lnTo>
                    <a:lnTo>
                      <a:pt x="117" y="506"/>
                    </a:lnTo>
                    <a:lnTo>
                      <a:pt x="117" y="504"/>
                    </a:lnTo>
                    <a:lnTo>
                      <a:pt x="116" y="506"/>
                    </a:lnTo>
                    <a:lnTo>
                      <a:pt x="116" y="504"/>
                    </a:lnTo>
                    <a:lnTo>
                      <a:pt x="117" y="504"/>
                    </a:lnTo>
                    <a:lnTo>
                      <a:pt x="119" y="504"/>
                    </a:lnTo>
                    <a:lnTo>
                      <a:pt x="117" y="502"/>
                    </a:lnTo>
                    <a:lnTo>
                      <a:pt x="116" y="502"/>
                    </a:lnTo>
                    <a:lnTo>
                      <a:pt x="114" y="502"/>
                    </a:lnTo>
                    <a:lnTo>
                      <a:pt x="114" y="500"/>
                    </a:lnTo>
                    <a:lnTo>
                      <a:pt x="116" y="500"/>
                    </a:lnTo>
                    <a:lnTo>
                      <a:pt x="116" y="498"/>
                    </a:lnTo>
                    <a:lnTo>
                      <a:pt x="117" y="498"/>
                    </a:lnTo>
                    <a:lnTo>
                      <a:pt x="117" y="496"/>
                    </a:lnTo>
                    <a:lnTo>
                      <a:pt x="119" y="496"/>
                    </a:lnTo>
                    <a:lnTo>
                      <a:pt x="119" y="494"/>
                    </a:lnTo>
                    <a:lnTo>
                      <a:pt x="119" y="492"/>
                    </a:lnTo>
                    <a:lnTo>
                      <a:pt x="119" y="490"/>
                    </a:lnTo>
                    <a:lnTo>
                      <a:pt x="119" y="492"/>
                    </a:lnTo>
                    <a:lnTo>
                      <a:pt x="119" y="490"/>
                    </a:lnTo>
                    <a:lnTo>
                      <a:pt x="119" y="488"/>
                    </a:lnTo>
                    <a:lnTo>
                      <a:pt x="119" y="487"/>
                    </a:lnTo>
                    <a:lnTo>
                      <a:pt x="117" y="487"/>
                    </a:lnTo>
                    <a:lnTo>
                      <a:pt x="119" y="485"/>
                    </a:lnTo>
                    <a:lnTo>
                      <a:pt x="117" y="485"/>
                    </a:lnTo>
                    <a:lnTo>
                      <a:pt x="117" y="483"/>
                    </a:lnTo>
                    <a:lnTo>
                      <a:pt x="117" y="481"/>
                    </a:lnTo>
                    <a:lnTo>
                      <a:pt x="117" y="479"/>
                    </a:lnTo>
                    <a:lnTo>
                      <a:pt x="117" y="477"/>
                    </a:lnTo>
                    <a:lnTo>
                      <a:pt x="116" y="477"/>
                    </a:lnTo>
                    <a:lnTo>
                      <a:pt x="117" y="477"/>
                    </a:lnTo>
                    <a:lnTo>
                      <a:pt x="117" y="475"/>
                    </a:lnTo>
                    <a:lnTo>
                      <a:pt x="116" y="475"/>
                    </a:lnTo>
                    <a:lnTo>
                      <a:pt x="116" y="473"/>
                    </a:lnTo>
                    <a:lnTo>
                      <a:pt x="116" y="471"/>
                    </a:lnTo>
                    <a:lnTo>
                      <a:pt x="116" y="469"/>
                    </a:lnTo>
                    <a:lnTo>
                      <a:pt x="116" y="467"/>
                    </a:lnTo>
                    <a:lnTo>
                      <a:pt x="116" y="465"/>
                    </a:lnTo>
                    <a:lnTo>
                      <a:pt x="116" y="464"/>
                    </a:lnTo>
                    <a:lnTo>
                      <a:pt x="114" y="462"/>
                    </a:lnTo>
                    <a:lnTo>
                      <a:pt x="112" y="460"/>
                    </a:lnTo>
                    <a:lnTo>
                      <a:pt x="110" y="460"/>
                    </a:lnTo>
                    <a:lnTo>
                      <a:pt x="112" y="458"/>
                    </a:lnTo>
                    <a:lnTo>
                      <a:pt x="112" y="460"/>
                    </a:lnTo>
                    <a:lnTo>
                      <a:pt x="112" y="458"/>
                    </a:lnTo>
                    <a:lnTo>
                      <a:pt x="110" y="460"/>
                    </a:lnTo>
                    <a:lnTo>
                      <a:pt x="110" y="458"/>
                    </a:lnTo>
                    <a:lnTo>
                      <a:pt x="110" y="456"/>
                    </a:lnTo>
                    <a:lnTo>
                      <a:pt x="110" y="458"/>
                    </a:lnTo>
                    <a:lnTo>
                      <a:pt x="110" y="456"/>
                    </a:lnTo>
                    <a:lnTo>
                      <a:pt x="110" y="458"/>
                    </a:lnTo>
                    <a:lnTo>
                      <a:pt x="112" y="458"/>
                    </a:lnTo>
                    <a:lnTo>
                      <a:pt x="110" y="458"/>
                    </a:lnTo>
                    <a:lnTo>
                      <a:pt x="112" y="458"/>
                    </a:lnTo>
                    <a:lnTo>
                      <a:pt x="112" y="456"/>
                    </a:lnTo>
                    <a:lnTo>
                      <a:pt x="112" y="454"/>
                    </a:lnTo>
                    <a:lnTo>
                      <a:pt x="112" y="452"/>
                    </a:lnTo>
                    <a:lnTo>
                      <a:pt x="110" y="450"/>
                    </a:lnTo>
                    <a:lnTo>
                      <a:pt x="110" y="448"/>
                    </a:lnTo>
                    <a:lnTo>
                      <a:pt x="112" y="448"/>
                    </a:lnTo>
                    <a:lnTo>
                      <a:pt x="114" y="446"/>
                    </a:lnTo>
                    <a:lnTo>
                      <a:pt x="116" y="444"/>
                    </a:lnTo>
                    <a:lnTo>
                      <a:pt x="116" y="442"/>
                    </a:lnTo>
                    <a:lnTo>
                      <a:pt x="116" y="440"/>
                    </a:lnTo>
                    <a:lnTo>
                      <a:pt x="117" y="440"/>
                    </a:lnTo>
                    <a:lnTo>
                      <a:pt x="117" y="439"/>
                    </a:lnTo>
                    <a:lnTo>
                      <a:pt x="117" y="437"/>
                    </a:lnTo>
                    <a:lnTo>
                      <a:pt x="117" y="439"/>
                    </a:lnTo>
                    <a:lnTo>
                      <a:pt x="117" y="437"/>
                    </a:lnTo>
                    <a:lnTo>
                      <a:pt x="121" y="437"/>
                    </a:lnTo>
                    <a:lnTo>
                      <a:pt x="121" y="435"/>
                    </a:lnTo>
                    <a:lnTo>
                      <a:pt x="123" y="435"/>
                    </a:lnTo>
                    <a:lnTo>
                      <a:pt x="123" y="433"/>
                    </a:lnTo>
                    <a:lnTo>
                      <a:pt x="123" y="431"/>
                    </a:lnTo>
                    <a:lnTo>
                      <a:pt x="125" y="431"/>
                    </a:lnTo>
                    <a:lnTo>
                      <a:pt x="125" y="429"/>
                    </a:lnTo>
                    <a:lnTo>
                      <a:pt x="123" y="427"/>
                    </a:lnTo>
                    <a:lnTo>
                      <a:pt x="123" y="425"/>
                    </a:lnTo>
                    <a:lnTo>
                      <a:pt x="121" y="425"/>
                    </a:lnTo>
                    <a:lnTo>
                      <a:pt x="121" y="423"/>
                    </a:lnTo>
                    <a:lnTo>
                      <a:pt x="119" y="423"/>
                    </a:lnTo>
                    <a:lnTo>
                      <a:pt x="121" y="423"/>
                    </a:lnTo>
                    <a:lnTo>
                      <a:pt x="121" y="421"/>
                    </a:lnTo>
                    <a:lnTo>
                      <a:pt x="123" y="421"/>
                    </a:lnTo>
                    <a:lnTo>
                      <a:pt x="121" y="421"/>
                    </a:lnTo>
                    <a:lnTo>
                      <a:pt x="123" y="421"/>
                    </a:lnTo>
                    <a:lnTo>
                      <a:pt x="125" y="419"/>
                    </a:lnTo>
                    <a:lnTo>
                      <a:pt x="123" y="421"/>
                    </a:lnTo>
                    <a:lnTo>
                      <a:pt x="121" y="421"/>
                    </a:lnTo>
                    <a:lnTo>
                      <a:pt x="119" y="421"/>
                    </a:lnTo>
                    <a:lnTo>
                      <a:pt x="121" y="423"/>
                    </a:lnTo>
                    <a:lnTo>
                      <a:pt x="119" y="423"/>
                    </a:lnTo>
                    <a:lnTo>
                      <a:pt x="119" y="421"/>
                    </a:lnTo>
                    <a:lnTo>
                      <a:pt x="119" y="423"/>
                    </a:lnTo>
                    <a:lnTo>
                      <a:pt x="119" y="421"/>
                    </a:lnTo>
                    <a:lnTo>
                      <a:pt x="121" y="419"/>
                    </a:lnTo>
                    <a:lnTo>
                      <a:pt x="119" y="417"/>
                    </a:lnTo>
                    <a:lnTo>
                      <a:pt x="119" y="415"/>
                    </a:lnTo>
                    <a:lnTo>
                      <a:pt x="117" y="415"/>
                    </a:lnTo>
                    <a:lnTo>
                      <a:pt x="116" y="415"/>
                    </a:lnTo>
                    <a:lnTo>
                      <a:pt x="116" y="414"/>
                    </a:lnTo>
                    <a:lnTo>
                      <a:pt x="116" y="415"/>
                    </a:lnTo>
                    <a:lnTo>
                      <a:pt x="116" y="414"/>
                    </a:lnTo>
                    <a:lnTo>
                      <a:pt x="114" y="414"/>
                    </a:lnTo>
                    <a:lnTo>
                      <a:pt x="112" y="414"/>
                    </a:lnTo>
                    <a:lnTo>
                      <a:pt x="110" y="414"/>
                    </a:lnTo>
                    <a:lnTo>
                      <a:pt x="110" y="412"/>
                    </a:lnTo>
                    <a:lnTo>
                      <a:pt x="108" y="412"/>
                    </a:lnTo>
                    <a:lnTo>
                      <a:pt x="106" y="412"/>
                    </a:lnTo>
                    <a:lnTo>
                      <a:pt x="104" y="412"/>
                    </a:lnTo>
                    <a:lnTo>
                      <a:pt x="104" y="414"/>
                    </a:lnTo>
                    <a:lnTo>
                      <a:pt x="104" y="412"/>
                    </a:lnTo>
                    <a:lnTo>
                      <a:pt x="104" y="410"/>
                    </a:lnTo>
                    <a:lnTo>
                      <a:pt x="102" y="408"/>
                    </a:lnTo>
                    <a:lnTo>
                      <a:pt x="102" y="406"/>
                    </a:lnTo>
                    <a:lnTo>
                      <a:pt x="102" y="404"/>
                    </a:lnTo>
                    <a:lnTo>
                      <a:pt x="100" y="402"/>
                    </a:lnTo>
                    <a:lnTo>
                      <a:pt x="98" y="402"/>
                    </a:lnTo>
                    <a:lnTo>
                      <a:pt x="98" y="400"/>
                    </a:lnTo>
                    <a:lnTo>
                      <a:pt x="100" y="400"/>
                    </a:lnTo>
                    <a:lnTo>
                      <a:pt x="102" y="400"/>
                    </a:lnTo>
                    <a:lnTo>
                      <a:pt x="100" y="400"/>
                    </a:lnTo>
                    <a:lnTo>
                      <a:pt x="98" y="400"/>
                    </a:lnTo>
                    <a:lnTo>
                      <a:pt x="98" y="402"/>
                    </a:lnTo>
                    <a:lnTo>
                      <a:pt x="100" y="402"/>
                    </a:lnTo>
                    <a:lnTo>
                      <a:pt x="98" y="402"/>
                    </a:lnTo>
                    <a:lnTo>
                      <a:pt x="98" y="400"/>
                    </a:lnTo>
                    <a:lnTo>
                      <a:pt x="96" y="400"/>
                    </a:lnTo>
                    <a:lnTo>
                      <a:pt x="96" y="398"/>
                    </a:lnTo>
                    <a:lnTo>
                      <a:pt x="98" y="398"/>
                    </a:lnTo>
                    <a:lnTo>
                      <a:pt x="98" y="396"/>
                    </a:lnTo>
                    <a:lnTo>
                      <a:pt x="98" y="394"/>
                    </a:lnTo>
                    <a:lnTo>
                      <a:pt x="98" y="392"/>
                    </a:lnTo>
                    <a:lnTo>
                      <a:pt x="96" y="390"/>
                    </a:lnTo>
                    <a:lnTo>
                      <a:pt x="96" y="389"/>
                    </a:lnTo>
                    <a:lnTo>
                      <a:pt x="98" y="389"/>
                    </a:lnTo>
                    <a:lnTo>
                      <a:pt x="100" y="389"/>
                    </a:lnTo>
                    <a:lnTo>
                      <a:pt x="100" y="387"/>
                    </a:lnTo>
                    <a:lnTo>
                      <a:pt x="100" y="385"/>
                    </a:lnTo>
                    <a:lnTo>
                      <a:pt x="102" y="385"/>
                    </a:lnTo>
                    <a:lnTo>
                      <a:pt x="104" y="385"/>
                    </a:lnTo>
                    <a:lnTo>
                      <a:pt x="106" y="385"/>
                    </a:lnTo>
                    <a:lnTo>
                      <a:pt x="106" y="383"/>
                    </a:lnTo>
                    <a:lnTo>
                      <a:pt x="108" y="383"/>
                    </a:lnTo>
                    <a:lnTo>
                      <a:pt x="106" y="383"/>
                    </a:lnTo>
                    <a:lnTo>
                      <a:pt x="106" y="385"/>
                    </a:lnTo>
                    <a:lnTo>
                      <a:pt x="104" y="385"/>
                    </a:lnTo>
                    <a:lnTo>
                      <a:pt x="102" y="385"/>
                    </a:lnTo>
                    <a:lnTo>
                      <a:pt x="100" y="385"/>
                    </a:lnTo>
                    <a:lnTo>
                      <a:pt x="100" y="387"/>
                    </a:lnTo>
                    <a:lnTo>
                      <a:pt x="100" y="389"/>
                    </a:lnTo>
                    <a:lnTo>
                      <a:pt x="98" y="389"/>
                    </a:lnTo>
                    <a:lnTo>
                      <a:pt x="98" y="387"/>
                    </a:lnTo>
                    <a:lnTo>
                      <a:pt x="98" y="389"/>
                    </a:lnTo>
                    <a:lnTo>
                      <a:pt x="96" y="389"/>
                    </a:lnTo>
                    <a:lnTo>
                      <a:pt x="94" y="389"/>
                    </a:lnTo>
                    <a:lnTo>
                      <a:pt x="96" y="390"/>
                    </a:lnTo>
                    <a:lnTo>
                      <a:pt x="94" y="389"/>
                    </a:lnTo>
                    <a:lnTo>
                      <a:pt x="92" y="389"/>
                    </a:lnTo>
                    <a:lnTo>
                      <a:pt x="91" y="387"/>
                    </a:lnTo>
                    <a:lnTo>
                      <a:pt x="89" y="387"/>
                    </a:lnTo>
                    <a:lnTo>
                      <a:pt x="91" y="387"/>
                    </a:lnTo>
                    <a:lnTo>
                      <a:pt x="91" y="385"/>
                    </a:lnTo>
                    <a:lnTo>
                      <a:pt x="92" y="385"/>
                    </a:lnTo>
                    <a:lnTo>
                      <a:pt x="91" y="385"/>
                    </a:lnTo>
                    <a:lnTo>
                      <a:pt x="89" y="387"/>
                    </a:lnTo>
                    <a:lnTo>
                      <a:pt x="89" y="385"/>
                    </a:lnTo>
                    <a:lnTo>
                      <a:pt x="87" y="385"/>
                    </a:lnTo>
                    <a:lnTo>
                      <a:pt x="85" y="385"/>
                    </a:lnTo>
                    <a:lnTo>
                      <a:pt x="83" y="383"/>
                    </a:lnTo>
                    <a:lnTo>
                      <a:pt x="83" y="385"/>
                    </a:lnTo>
                    <a:lnTo>
                      <a:pt x="85" y="385"/>
                    </a:lnTo>
                    <a:lnTo>
                      <a:pt x="83" y="385"/>
                    </a:lnTo>
                    <a:lnTo>
                      <a:pt x="81" y="383"/>
                    </a:lnTo>
                    <a:lnTo>
                      <a:pt x="83" y="383"/>
                    </a:lnTo>
                    <a:lnTo>
                      <a:pt x="85" y="383"/>
                    </a:lnTo>
                    <a:lnTo>
                      <a:pt x="83" y="383"/>
                    </a:lnTo>
                    <a:lnTo>
                      <a:pt x="81" y="383"/>
                    </a:lnTo>
                    <a:lnTo>
                      <a:pt x="81" y="385"/>
                    </a:lnTo>
                    <a:lnTo>
                      <a:pt x="81" y="383"/>
                    </a:lnTo>
                    <a:lnTo>
                      <a:pt x="79" y="383"/>
                    </a:lnTo>
                    <a:lnTo>
                      <a:pt x="77" y="383"/>
                    </a:lnTo>
                    <a:lnTo>
                      <a:pt x="75" y="383"/>
                    </a:lnTo>
                    <a:lnTo>
                      <a:pt x="73" y="381"/>
                    </a:lnTo>
                    <a:lnTo>
                      <a:pt x="75" y="381"/>
                    </a:lnTo>
                    <a:lnTo>
                      <a:pt x="73" y="381"/>
                    </a:lnTo>
                    <a:lnTo>
                      <a:pt x="71" y="381"/>
                    </a:lnTo>
                    <a:lnTo>
                      <a:pt x="71" y="379"/>
                    </a:lnTo>
                    <a:lnTo>
                      <a:pt x="69" y="377"/>
                    </a:lnTo>
                    <a:lnTo>
                      <a:pt x="68" y="377"/>
                    </a:lnTo>
                    <a:lnTo>
                      <a:pt x="68" y="375"/>
                    </a:lnTo>
                    <a:lnTo>
                      <a:pt x="68" y="373"/>
                    </a:lnTo>
                    <a:lnTo>
                      <a:pt x="66" y="373"/>
                    </a:lnTo>
                    <a:lnTo>
                      <a:pt x="66" y="371"/>
                    </a:lnTo>
                    <a:lnTo>
                      <a:pt x="68" y="371"/>
                    </a:lnTo>
                    <a:lnTo>
                      <a:pt x="68" y="369"/>
                    </a:lnTo>
                    <a:lnTo>
                      <a:pt x="69" y="369"/>
                    </a:lnTo>
                    <a:lnTo>
                      <a:pt x="69" y="367"/>
                    </a:lnTo>
                    <a:lnTo>
                      <a:pt x="68" y="365"/>
                    </a:lnTo>
                    <a:lnTo>
                      <a:pt x="68" y="367"/>
                    </a:lnTo>
                    <a:lnTo>
                      <a:pt x="69" y="367"/>
                    </a:lnTo>
                    <a:lnTo>
                      <a:pt x="68" y="367"/>
                    </a:lnTo>
                    <a:lnTo>
                      <a:pt x="66" y="367"/>
                    </a:lnTo>
                    <a:lnTo>
                      <a:pt x="66" y="365"/>
                    </a:lnTo>
                    <a:lnTo>
                      <a:pt x="66" y="364"/>
                    </a:lnTo>
                    <a:lnTo>
                      <a:pt x="66" y="362"/>
                    </a:lnTo>
                    <a:lnTo>
                      <a:pt x="66" y="360"/>
                    </a:lnTo>
                    <a:lnTo>
                      <a:pt x="68" y="360"/>
                    </a:lnTo>
                    <a:lnTo>
                      <a:pt x="68" y="358"/>
                    </a:lnTo>
                    <a:lnTo>
                      <a:pt x="69" y="358"/>
                    </a:lnTo>
                    <a:lnTo>
                      <a:pt x="71" y="358"/>
                    </a:lnTo>
                    <a:lnTo>
                      <a:pt x="71" y="356"/>
                    </a:lnTo>
                    <a:lnTo>
                      <a:pt x="71" y="358"/>
                    </a:lnTo>
                    <a:lnTo>
                      <a:pt x="69" y="358"/>
                    </a:lnTo>
                    <a:lnTo>
                      <a:pt x="69" y="356"/>
                    </a:lnTo>
                    <a:lnTo>
                      <a:pt x="69" y="354"/>
                    </a:lnTo>
                    <a:lnTo>
                      <a:pt x="71" y="354"/>
                    </a:lnTo>
                    <a:lnTo>
                      <a:pt x="71" y="352"/>
                    </a:lnTo>
                    <a:lnTo>
                      <a:pt x="71" y="350"/>
                    </a:lnTo>
                    <a:lnTo>
                      <a:pt x="71" y="348"/>
                    </a:lnTo>
                    <a:lnTo>
                      <a:pt x="71" y="346"/>
                    </a:lnTo>
                    <a:lnTo>
                      <a:pt x="69" y="346"/>
                    </a:lnTo>
                    <a:lnTo>
                      <a:pt x="71" y="346"/>
                    </a:lnTo>
                    <a:lnTo>
                      <a:pt x="71" y="344"/>
                    </a:lnTo>
                    <a:lnTo>
                      <a:pt x="69" y="344"/>
                    </a:lnTo>
                    <a:lnTo>
                      <a:pt x="69" y="342"/>
                    </a:lnTo>
                    <a:lnTo>
                      <a:pt x="68" y="342"/>
                    </a:lnTo>
                    <a:lnTo>
                      <a:pt x="66" y="342"/>
                    </a:lnTo>
                    <a:lnTo>
                      <a:pt x="66" y="340"/>
                    </a:lnTo>
                    <a:lnTo>
                      <a:pt x="68" y="340"/>
                    </a:lnTo>
                    <a:lnTo>
                      <a:pt x="68" y="339"/>
                    </a:lnTo>
                    <a:lnTo>
                      <a:pt x="66" y="339"/>
                    </a:lnTo>
                    <a:lnTo>
                      <a:pt x="64" y="339"/>
                    </a:lnTo>
                    <a:lnTo>
                      <a:pt x="64" y="337"/>
                    </a:lnTo>
                    <a:lnTo>
                      <a:pt x="62" y="337"/>
                    </a:lnTo>
                    <a:lnTo>
                      <a:pt x="64" y="337"/>
                    </a:lnTo>
                    <a:lnTo>
                      <a:pt x="64" y="335"/>
                    </a:lnTo>
                    <a:lnTo>
                      <a:pt x="62" y="335"/>
                    </a:lnTo>
                    <a:lnTo>
                      <a:pt x="62" y="337"/>
                    </a:lnTo>
                    <a:lnTo>
                      <a:pt x="62" y="335"/>
                    </a:lnTo>
                    <a:lnTo>
                      <a:pt x="64" y="335"/>
                    </a:lnTo>
                    <a:lnTo>
                      <a:pt x="62" y="335"/>
                    </a:lnTo>
                    <a:lnTo>
                      <a:pt x="64" y="335"/>
                    </a:lnTo>
                    <a:lnTo>
                      <a:pt x="64" y="337"/>
                    </a:lnTo>
                    <a:lnTo>
                      <a:pt x="66" y="337"/>
                    </a:lnTo>
                    <a:lnTo>
                      <a:pt x="66" y="335"/>
                    </a:lnTo>
                    <a:lnTo>
                      <a:pt x="66" y="337"/>
                    </a:lnTo>
                    <a:lnTo>
                      <a:pt x="68" y="337"/>
                    </a:lnTo>
                    <a:lnTo>
                      <a:pt x="68" y="335"/>
                    </a:lnTo>
                    <a:lnTo>
                      <a:pt x="68" y="337"/>
                    </a:lnTo>
                    <a:lnTo>
                      <a:pt x="69" y="337"/>
                    </a:lnTo>
                    <a:lnTo>
                      <a:pt x="69" y="335"/>
                    </a:lnTo>
                    <a:lnTo>
                      <a:pt x="71" y="335"/>
                    </a:lnTo>
                    <a:lnTo>
                      <a:pt x="71" y="337"/>
                    </a:lnTo>
                    <a:lnTo>
                      <a:pt x="73" y="337"/>
                    </a:lnTo>
                    <a:lnTo>
                      <a:pt x="71" y="337"/>
                    </a:lnTo>
                    <a:lnTo>
                      <a:pt x="73" y="337"/>
                    </a:lnTo>
                    <a:lnTo>
                      <a:pt x="75" y="337"/>
                    </a:lnTo>
                    <a:lnTo>
                      <a:pt x="75" y="339"/>
                    </a:lnTo>
                    <a:lnTo>
                      <a:pt x="77" y="339"/>
                    </a:lnTo>
                    <a:lnTo>
                      <a:pt x="75" y="339"/>
                    </a:lnTo>
                    <a:lnTo>
                      <a:pt x="77" y="339"/>
                    </a:lnTo>
                    <a:lnTo>
                      <a:pt x="75" y="339"/>
                    </a:lnTo>
                    <a:lnTo>
                      <a:pt x="75" y="337"/>
                    </a:lnTo>
                    <a:lnTo>
                      <a:pt x="73" y="337"/>
                    </a:lnTo>
                    <a:lnTo>
                      <a:pt x="71" y="337"/>
                    </a:lnTo>
                    <a:lnTo>
                      <a:pt x="71" y="335"/>
                    </a:lnTo>
                    <a:lnTo>
                      <a:pt x="71" y="337"/>
                    </a:lnTo>
                    <a:lnTo>
                      <a:pt x="71" y="335"/>
                    </a:lnTo>
                    <a:lnTo>
                      <a:pt x="69" y="335"/>
                    </a:lnTo>
                    <a:lnTo>
                      <a:pt x="71" y="335"/>
                    </a:lnTo>
                    <a:lnTo>
                      <a:pt x="69" y="335"/>
                    </a:lnTo>
                    <a:lnTo>
                      <a:pt x="69" y="333"/>
                    </a:lnTo>
                    <a:lnTo>
                      <a:pt x="68" y="333"/>
                    </a:lnTo>
                    <a:lnTo>
                      <a:pt x="68" y="331"/>
                    </a:lnTo>
                    <a:lnTo>
                      <a:pt x="66" y="331"/>
                    </a:lnTo>
                    <a:lnTo>
                      <a:pt x="64" y="331"/>
                    </a:lnTo>
                    <a:lnTo>
                      <a:pt x="64" y="329"/>
                    </a:lnTo>
                    <a:lnTo>
                      <a:pt x="64" y="327"/>
                    </a:lnTo>
                    <a:lnTo>
                      <a:pt x="66" y="327"/>
                    </a:lnTo>
                    <a:lnTo>
                      <a:pt x="68" y="327"/>
                    </a:lnTo>
                    <a:lnTo>
                      <a:pt x="66" y="327"/>
                    </a:lnTo>
                    <a:lnTo>
                      <a:pt x="68" y="327"/>
                    </a:lnTo>
                    <a:lnTo>
                      <a:pt x="68" y="325"/>
                    </a:lnTo>
                    <a:lnTo>
                      <a:pt x="68" y="327"/>
                    </a:lnTo>
                    <a:lnTo>
                      <a:pt x="68" y="325"/>
                    </a:lnTo>
                    <a:lnTo>
                      <a:pt x="69" y="325"/>
                    </a:lnTo>
                    <a:lnTo>
                      <a:pt x="71" y="325"/>
                    </a:lnTo>
                    <a:lnTo>
                      <a:pt x="69" y="325"/>
                    </a:lnTo>
                    <a:lnTo>
                      <a:pt x="71" y="325"/>
                    </a:lnTo>
                    <a:lnTo>
                      <a:pt x="71" y="323"/>
                    </a:lnTo>
                    <a:lnTo>
                      <a:pt x="71" y="325"/>
                    </a:lnTo>
                    <a:lnTo>
                      <a:pt x="71" y="323"/>
                    </a:lnTo>
                    <a:lnTo>
                      <a:pt x="73" y="323"/>
                    </a:lnTo>
                    <a:lnTo>
                      <a:pt x="71" y="323"/>
                    </a:lnTo>
                    <a:lnTo>
                      <a:pt x="69" y="323"/>
                    </a:lnTo>
                    <a:lnTo>
                      <a:pt x="69" y="321"/>
                    </a:lnTo>
                    <a:lnTo>
                      <a:pt x="71" y="321"/>
                    </a:lnTo>
                    <a:lnTo>
                      <a:pt x="71" y="319"/>
                    </a:lnTo>
                    <a:lnTo>
                      <a:pt x="69" y="319"/>
                    </a:lnTo>
                    <a:lnTo>
                      <a:pt x="69" y="321"/>
                    </a:lnTo>
                    <a:lnTo>
                      <a:pt x="68" y="321"/>
                    </a:lnTo>
                    <a:lnTo>
                      <a:pt x="68" y="319"/>
                    </a:lnTo>
                    <a:lnTo>
                      <a:pt x="69" y="319"/>
                    </a:lnTo>
                    <a:lnTo>
                      <a:pt x="68" y="319"/>
                    </a:lnTo>
                    <a:lnTo>
                      <a:pt x="68" y="317"/>
                    </a:lnTo>
                    <a:lnTo>
                      <a:pt x="69" y="319"/>
                    </a:lnTo>
                    <a:lnTo>
                      <a:pt x="69" y="317"/>
                    </a:lnTo>
                    <a:lnTo>
                      <a:pt x="68" y="317"/>
                    </a:lnTo>
                    <a:lnTo>
                      <a:pt x="69" y="317"/>
                    </a:lnTo>
                    <a:lnTo>
                      <a:pt x="68" y="315"/>
                    </a:lnTo>
                    <a:lnTo>
                      <a:pt x="69" y="315"/>
                    </a:lnTo>
                    <a:lnTo>
                      <a:pt x="69" y="317"/>
                    </a:lnTo>
                    <a:lnTo>
                      <a:pt x="69" y="315"/>
                    </a:lnTo>
                    <a:lnTo>
                      <a:pt x="69" y="317"/>
                    </a:lnTo>
                    <a:lnTo>
                      <a:pt x="69" y="315"/>
                    </a:lnTo>
                    <a:lnTo>
                      <a:pt x="71" y="315"/>
                    </a:lnTo>
                    <a:lnTo>
                      <a:pt x="71" y="317"/>
                    </a:lnTo>
                    <a:lnTo>
                      <a:pt x="71" y="315"/>
                    </a:lnTo>
                    <a:lnTo>
                      <a:pt x="71" y="317"/>
                    </a:lnTo>
                    <a:lnTo>
                      <a:pt x="73" y="317"/>
                    </a:lnTo>
                    <a:lnTo>
                      <a:pt x="73" y="315"/>
                    </a:lnTo>
                    <a:lnTo>
                      <a:pt x="73" y="317"/>
                    </a:lnTo>
                    <a:lnTo>
                      <a:pt x="75" y="317"/>
                    </a:lnTo>
                    <a:lnTo>
                      <a:pt x="75" y="319"/>
                    </a:lnTo>
                    <a:lnTo>
                      <a:pt x="75" y="317"/>
                    </a:lnTo>
                    <a:lnTo>
                      <a:pt x="77" y="317"/>
                    </a:lnTo>
                    <a:lnTo>
                      <a:pt x="79" y="317"/>
                    </a:lnTo>
                    <a:lnTo>
                      <a:pt x="81" y="317"/>
                    </a:lnTo>
                    <a:lnTo>
                      <a:pt x="83" y="317"/>
                    </a:lnTo>
                    <a:lnTo>
                      <a:pt x="85" y="317"/>
                    </a:lnTo>
                    <a:lnTo>
                      <a:pt x="87" y="317"/>
                    </a:lnTo>
                    <a:lnTo>
                      <a:pt x="89" y="317"/>
                    </a:lnTo>
                    <a:lnTo>
                      <a:pt x="87" y="317"/>
                    </a:lnTo>
                    <a:lnTo>
                      <a:pt x="89" y="317"/>
                    </a:lnTo>
                    <a:lnTo>
                      <a:pt x="91" y="317"/>
                    </a:lnTo>
                    <a:lnTo>
                      <a:pt x="91" y="315"/>
                    </a:lnTo>
                    <a:lnTo>
                      <a:pt x="92" y="315"/>
                    </a:lnTo>
                    <a:lnTo>
                      <a:pt x="92" y="317"/>
                    </a:lnTo>
                    <a:lnTo>
                      <a:pt x="92" y="315"/>
                    </a:lnTo>
                    <a:lnTo>
                      <a:pt x="92" y="317"/>
                    </a:lnTo>
                    <a:lnTo>
                      <a:pt x="92" y="315"/>
                    </a:lnTo>
                    <a:lnTo>
                      <a:pt x="94" y="315"/>
                    </a:lnTo>
                    <a:lnTo>
                      <a:pt x="94" y="317"/>
                    </a:lnTo>
                    <a:lnTo>
                      <a:pt x="96" y="317"/>
                    </a:lnTo>
                    <a:lnTo>
                      <a:pt x="96" y="315"/>
                    </a:lnTo>
                    <a:lnTo>
                      <a:pt x="98" y="317"/>
                    </a:lnTo>
                    <a:lnTo>
                      <a:pt x="98" y="315"/>
                    </a:lnTo>
                    <a:lnTo>
                      <a:pt x="98" y="317"/>
                    </a:lnTo>
                    <a:lnTo>
                      <a:pt x="100" y="317"/>
                    </a:lnTo>
                    <a:lnTo>
                      <a:pt x="102" y="317"/>
                    </a:lnTo>
                    <a:lnTo>
                      <a:pt x="104" y="317"/>
                    </a:lnTo>
                    <a:lnTo>
                      <a:pt x="106" y="317"/>
                    </a:lnTo>
                    <a:lnTo>
                      <a:pt x="108" y="317"/>
                    </a:lnTo>
                    <a:lnTo>
                      <a:pt x="110" y="317"/>
                    </a:lnTo>
                    <a:lnTo>
                      <a:pt x="110" y="319"/>
                    </a:lnTo>
                    <a:lnTo>
                      <a:pt x="110" y="321"/>
                    </a:lnTo>
                    <a:lnTo>
                      <a:pt x="108" y="319"/>
                    </a:lnTo>
                    <a:lnTo>
                      <a:pt x="108" y="321"/>
                    </a:lnTo>
                    <a:lnTo>
                      <a:pt x="108" y="323"/>
                    </a:lnTo>
                    <a:lnTo>
                      <a:pt x="108" y="321"/>
                    </a:lnTo>
                    <a:lnTo>
                      <a:pt x="108" y="319"/>
                    </a:lnTo>
                    <a:lnTo>
                      <a:pt x="108" y="321"/>
                    </a:lnTo>
                    <a:lnTo>
                      <a:pt x="110" y="321"/>
                    </a:lnTo>
                    <a:lnTo>
                      <a:pt x="110" y="319"/>
                    </a:lnTo>
                    <a:lnTo>
                      <a:pt x="110" y="317"/>
                    </a:lnTo>
                    <a:lnTo>
                      <a:pt x="112" y="317"/>
                    </a:lnTo>
                    <a:lnTo>
                      <a:pt x="114" y="317"/>
                    </a:lnTo>
                    <a:lnTo>
                      <a:pt x="116" y="317"/>
                    </a:lnTo>
                    <a:lnTo>
                      <a:pt x="114" y="317"/>
                    </a:lnTo>
                    <a:lnTo>
                      <a:pt x="114" y="319"/>
                    </a:lnTo>
                    <a:lnTo>
                      <a:pt x="116" y="317"/>
                    </a:lnTo>
                    <a:lnTo>
                      <a:pt x="117" y="319"/>
                    </a:lnTo>
                    <a:lnTo>
                      <a:pt x="119" y="319"/>
                    </a:lnTo>
                    <a:lnTo>
                      <a:pt x="121" y="319"/>
                    </a:lnTo>
                    <a:lnTo>
                      <a:pt x="123" y="319"/>
                    </a:lnTo>
                    <a:lnTo>
                      <a:pt x="125" y="319"/>
                    </a:lnTo>
                    <a:lnTo>
                      <a:pt x="125" y="321"/>
                    </a:lnTo>
                    <a:lnTo>
                      <a:pt x="125" y="319"/>
                    </a:lnTo>
                    <a:lnTo>
                      <a:pt x="127" y="319"/>
                    </a:lnTo>
                    <a:lnTo>
                      <a:pt x="129" y="319"/>
                    </a:lnTo>
                    <a:lnTo>
                      <a:pt x="131" y="319"/>
                    </a:lnTo>
                    <a:lnTo>
                      <a:pt x="131" y="321"/>
                    </a:lnTo>
                    <a:lnTo>
                      <a:pt x="131" y="319"/>
                    </a:lnTo>
                    <a:lnTo>
                      <a:pt x="133" y="319"/>
                    </a:lnTo>
                    <a:lnTo>
                      <a:pt x="135" y="319"/>
                    </a:lnTo>
                    <a:lnTo>
                      <a:pt x="137" y="319"/>
                    </a:lnTo>
                    <a:lnTo>
                      <a:pt x="139" y="319"/>
                    </a:lnTo>
                    <a:lnTo>
                      <a:pt x="141" y="319"/>
                    </a:lnTo>
                    <a:lnTo>
                      <a:pt x="141" y="321"/>
                    </a:lnTo>
                    <a:lnTo>
                      <a:pt x="142" y="321"/>
                    </a:lnTo>
                    <a:lnTo>
                      <a:pt x="141" y="321"/>
                    </a:lnTo>
                    <a:lnTo>
                      <a:pt x="141" y="319"/>
                    </a:lnTo>
                    <a:lnTo>
                      <a:pt x="142" y="319"/>
                    </a:lnTo>
                    <a:lnTo>
                      <a:pt x="144" y="319"/>
                    </a:lnTo>
                    <a:lnTo>
                      <a:pt x="146" y="319"/>
                    </a:lnTo>
                    <a:lnTo>
                      <a:pt x="148" y="319"/>
                    </a:lnTo>
                    <a:lnTo>
                      <a:pt x="150" y="319"/>
                    </a:lnTo>
                    <a:lnTo>
                      <a:pt x="152" y="319"/>
                    </a:lnTo>
                    <a:lnTo>
                      <a:pt x="154" y="319"/>
                    </a:lnTo>
                    <a:lnTo>
                      <a:pt x="156" y="319"/>
                    </a:lnTo>
                    <a:lnTo>
                      <a:pt x="160" y="317"/>
                    </a:lnTo>
                    <a:lnTo>
                      <a:pt x="162" y="317"/>
                    </a:lnTo>
                    <a:lnTo>
                      <a:pt x="162" y="319"/>
                    </a:lnTo>
                    <a:lnTo>
                      <a:pt x="160" y="319"/>
                    </a:lnTo>
                    <a:lnTo>
                      <a:pt x="162" y="319"/>
                    </a:lnTo>
                    <a:lnTo>
                      <a:pt x="164" y="319"/>
                    </a:lnTo>
                    <a:lnTo>
                      <a:pt x="165" y="319"/>
                    </a:lnTo>
                    <a:lnTo>
                      <a:pt x="165" y="321"/>
                    </a:lnTo>
                    <a:lnTo>
                      <a:pt x="167" y="321"/>
                    </a:lnTo>
                    <a:lnTo>
                      <a:pt x="169" y="321"/>
                    </a:lnTo>
                    <a:lnTo>
                      <a:pt x="171" y="321"/>
                    </a:lnTo>
                    <a:lnTo>
                      <a:pt x="173" y="321"/>
                    </a:lnTo>
                    <a:lnTo>
                      <a:pt x="171" y="321"/>
                    </a:lnTo>
                    <a:lnTo>
                      <a:pt x="171" y="323"/>
                    </a:lnTo>
                    <a:lnTo>
                      <a:pt x="171" y="321"/>
                    </a:lnTo>
                    <a:lnTo>
                      <a:pt x="173" y="321"/>
                    </a:lnTo>
                    <a:lnTo>
                      <a:pt x="175" y="321"/>
                    </a:lnTo>
                    <a:lnTo>
                      <a:pt x="177" y="321"/>
                    </a:lnTo>
                    <a:lnTo>
                      <a:pt x="177" y="319"/>
                    </a:lnTo>
                    <a:lnTo>
                      <a:pt x="177" y="317"/>
                    </a:lnTo>
                    <a:lnTo>
                      <a:pt x="177" y="319"/>
                    </a:lnTo>
                    <a:lnTo>
                      <a:pt x="179" y="319"/>
                    </a:lnTo>
                    <a:lnTo>
                      <a:pt x="177" y="319"/>
                    </a:lnTo>
                    <a:lnTo>
                      <a:pt x="179" y="319"/>
                    </a:lnTo>
                    <a:lnTo>
                      <a:pt x="177" y="319"/>
                    </a:lnTo>
                    <a:lnTo>
                      <a:pt x="179" y="319"/>
                    </a:lnTo>
                    <a:lnTo>
                      <a:pt x="177" y="319"/>
                    </a:lnTo>
                    <a:lnTo>
                      <a:pt x="177" y="317"/>
                    </a:lnTo>
                    <a:lnTo>
                      <a:pt x="179" y="317"/>
                    </a:lnTo>
                    <a:lnTo>
                      <a:pt x="181" y="315"/>
                    </a:lnTo>
                    <a:lnTo>
                      <a:pt x="183" y="315"/>
                    </a:lnTo>
                    <a:lnTo>
                      <a:pt x="185" y="315"/>
                    </a:lnTo>
                    <a:lnTo>
                      <a:pt x="183" y="315"/>
                    </a:lnTo>
                    <a:lnTo>
                      <a:pt x="183" y="317"/>
                    </a:lnTo>
                    <a:lnTo>
                      <a:pt x="185" y="315"/>
                    </a:lnTo>
                    <a:lnTo>
                      <a:pt x="185" y="317"/>
                    </a:lnTo>
                    <a:lnTo>
                      <a:pt x="187" y="317"/>
                    </a:lnTo>
                    <a:lnTo>
                      <a:pt x="187" y="315"/>
                    </a:lnTo>
                    <a:lnTo>
                      <a:pt x="189" y="315"/>
                    </a:lnTo>
                    <a:lnTo>
                      <a:pt x="190" y="315"/>
                    </a:lnTo>
                    <a:lnTo>
                      <a:pt x="192" y="315"/>
                    </a:lnTo>
                    <a:lnTo>
                      <a:pt x="194" y="315"/>
                    </a:lnTo>
                    <a:lnTo>
                      <a:pt x="196" y="315"/>
                    </a:lnTo>
                    <a:lnTo>
                      <a:pt x="196" y="314"/>
                    </a:lnTo>
                    <a:lnTo>
                      <a:pt x="196" y="315"/>
                    </a:lnTo>
                    <a:lnTo>
                      <a:pt x="198" y="314"/>
                    </a:lnTo>
                    <a:lnTo>
                      <a:pt x="200" y="314"/>
                    </a:lnTo>
                    <a:lnTo>
                      <a:pt x="200" y="315"/>
                    </a:lnTo>
                    <a:lnTo>
                      <a:pt x="202" y="315"/>
                    </a:lnTo>
                    <a:lnTo>
                      <a:pt x="204" y="315"/>
                    </a:lnTo>
                    <a:lnTo>
                      <a:pt x="204" y="314"/>
                    </a:lnTo>
                    <a:lnTo>
                      <a:pt x="206" y="314"/>
                    </a:lnTo>
                    <a:lnTo>
                      <a:pt x="206" y="315"/>
                    </a:lnTo>
                    <a:lnTo>
                      <a:pt x="208" y="315"/>
                    </a:lnTo>
                    <a:lnTo>
                      <a:pt x="210" y="315"/>
                    </a:lnTo>
                    <a:lnTo>
                      <a:pt x="212" y="317"/>
                    </a:lnTo>
                    <a:lnTo>
                      <a:pt x="212" y="315"/>
                    </a:lnTo>
                    <a:lnTo>
                      <a:pt x="212" y="317"/>
                    </a:lnTo>
                    <a:lnTo>
                      <a:pt x="212" y="319"/>
                    </a:lnTo>
                    <a:lnTo>
                      <a:pt x="210" y="319"/>
                    </a:lnTo>
                    <a:lnTo>
                      <a:pt x="208" y="321"/>
                    </a:lnTo>
                    <a:lnTo>
                      <a:pt x="206" y="321"/>
                    </a:lnTo>
                    <a:lnTo>
                      <a:pt x="206" y="323"/>
                    </a:lnTo>
                    <a:lnTo>
                      <a:pt x="204" y="323"/>
                    </a:lnTo>
                    <a:lnTo>
                      <a:pt x="202" y="325"/>
                    </a:lnTo>
                    <a:lnTo>
                      <a:pt x="200" y="325"/>
                    </a:lnTo>
                    <a:lnTo>
                      <a:pt x="198" y="325"/>
                    </a:lnTo>
                    <a:lnTo>
                      <a:pt x="196" y="327"/>
                    </a:lnTo>
                    <a:lnTo>
                      <a:pt x="194" y="327"/>
                    </a:lnTo>
                    <a:lnTo>
                      <a:pt x="194" y="329"/>
                    </a:lnTo>
                    <a:lnTo>
                      <a:pt x="196" y="329"/>
                    </a:lnTo>
                    <a:lnTo>
                      <a:pt x="194" y="329"/>
                    </a:lnTo>
                    <a:lnTo>
                      <a:pt x="192" y="329"/>
                    </a:lnTo>
                    <a:lnTo>
                      <a:pt x="190" y="329"/>
                    </a:lnTo>
                    <a:lnTo>
                      <a:pt x="189" y="331"/>
                    </a:lnTo>
                    <a:lnTo>
                      <a:pt x="187" y="331"/>
                    </a:lnTo>
                    <a:lnTo>
                      <a:pt x="187" y="333"/>
                    </a:lnTo>
                    <a:lnTo>
                      <a:pt x="187" y="331"/>
                    </a:lnTo>
                    <a:lnTo>
                      <a:pt x="185" y="331"/>
                    </a:lnTo>
                    <a:lnTo>
                      <a:pt x="187" y="331"/>
                    </a:lnTo>
                    <a:lnTo>
                      <a:pt x="187" y="333"/>
                    </a:lnTo>
                    <a:lnTo>
                      <a:pt x="185" y="333"/>
                    </a:lnTo>
                    <a:lnTo>
                      <a:pt x="187" y="333"/>
                    </a:lnTo>
                    <a:lnTo>
                      <a:pt x="185" y="333"/>
                    </a:lnTo>
                    <a:lnTo>
                      <a:pt x="187" y="333"/>
                    </a:lnTo>
                    <a:lnTo>
                      <a:pt x="185" y="333"/>
                    </a:lnTo>
                    <a:lnTo>
                      <a:pt x="183" y="333"/>
                    </a:lnTo>
                    <a:lnTo>
                      <a:pt x="183" y="335"/>
                    </a:lnTo>
                    <a:lnTo>
                      <a:pt x="181" y="333"/>
                    </a:lnTo>
                    <a:lnTo>
                      <a:pt x="181" y="335"/>
                    </a:lnTo>
                    <a:lnTo>
                      <a:pt x="179" y="335"/>
                    </a:lnTo>
                    <a:lnTo>
                      <a:pt x="181" y="335"/>
                    </a:lnTo>
                    <a:lnTo>
                      <a:pt x="183" y="335"/>
                    </a:lnTo>
                    <a:lnTo>
                      <a:pt x="183" y="337"/>
                    </a:lnTo>
                    <a:lnTo>
                      <a:pt x="181" y="339"/>
                    </a:lnTo>
                    <a:lnTo>
                      <a:pt x="183" y="339"/>
                    </a:lnTo>
                    <a:lnTo>
                      <a:pt x="181" y="339"/>
                    </a:lnTo>
                    <a:lnTo>
                      <a:pt x="181" y="337"/>
                    </a:lnTo>
                    <a:lnTo>
                      <a:pt x="179" y="337"/>
                    </a:lnTo>
                    <a:lnTo>
                      <a:pt x="179" y="339"/>
                    </a:lnTo>
                    <a:lnTo>
                      <a:pt x="181" y="340"/>
                    </a:lnTo>
                    <a:lnTo>
                      <a:pt x="183" y="342"/>
                    </a:lnTo>
                    <a:lnTo>
                      <a:pt x="183" y="344"/>
                    </a:lnTo>
                    <a:lnTo>
                      <a:pt x="185" y="344"/>
                    </a:lnTo>
                    <a:lnTo>
                      <a:pt x="187" y="344"/>
                    </a:lnTo>
                    <a:lnTo>
                      <a:pt x="187" y="346"/>
                    </a:lnTo>
                    <a:lnTo>
                      <a:pt x="187" y="344"/>
                    </a:lnTo>
                    <a:lnTo>
                      <a:pt x="189" y="346"/>
                    </a:lnTo>
                    <a:lnTo>
                      <a:pt x="190" y="346"/>
                    </a:lnTo>
                    <a:lnTo>
                      <a:pt x="192" y="346"/>
                    </a:lnTo>
                    <a:lnTo>
                      <a:pt x="192" y="348"/>
                    </a:lnTo>
                    <a:lnTo>
                      <a:pt x="190" y="348"/>
                    </a:lnTo>
                    <a:lnTo>
                      <a:pt x="190" y="350"/>
                    </a:lnTo>
                    <a:lnTo>
                      <a:pt x="192" y="350"/>
                    </a:lnTo>
                    <a:lnTo>
                      <a:pt x="194" y="350"/>
                    </a:lnTo>
                    <a:lnTo>
                      <a:pt x="196" y="352"/>
                    </a:lnTo>
                    <a:lnTo>
                      <a:pt x="198" y="352"/>
                    </a:lnTo>
                    <a:lnTo>
                      <a:pt x="198" y="354"/>
                    </a:lnTo>
                    <a:lnTo>
                      <a:pt x="200" y="354"/>
                    </a:lnTo>
                    <a:lnTo>
                      <a:pt x="200" y="356"/>
                    </a:lnTo>
                    <a:lnTo>
                      <a:pt x="200" y="358"/>
                    </a:lnTo>
                    <a:lnTo>
                      <a:pt x="200" y="360"/>
                    </a:lnTo>
                    <a:lnTo>
                      <a:pt x="200" y="362"/>
                    </a:lnTo>
                    <a:lnTo>
                      <a:pt x="198" y="364"/>
                    </a:lnTo>
                    <a:lnTo>
                      <a:pt x="196" y="365"/>
                    </a:lnTo>
                    <a:lnTo>
                      <a:pt x="194" y="365"/>
                    </a:lnTo>
                    <a:lnTo>
                      <a:pt x="192" y="364"/>
                    </a:lnTo>
                    <a:lnTo>
                      <a:pt x="190" y="364"/>
                    </a:lnTo>
                    <a:lnTo>
                      <a:pt x="190" y="362"/>
                    </a:lnTo>
                    <a:lnTo>
                      <a:pt x="189" y="362"/>
                    </a:lnTo>
                    <a:lnTo>
                      <a:pt x="187" y="362"/>
                    </a:lnTo>
                    <a:lnTo>
                      <a:pt x="187" y="360"/>
                    </a:lnTo>
                    <a:lnTo>
                      <a:pt x="185" y="360"/>
                    </a:lnTo>
                    <a:lnTo>
                      <a:pt x="185" y="362"/>
                    </a:lnTo>
                    <a:lnTo>
                      <a:pt x="183" y="362"/>
                    </a:lnTo>
                    <a:lnTo>
                      <a:pt x="181" y="360"/>
                    </a:lnTo>
                    <a:lnTo>
                      <a:pt x="179" y="360"/>
                    </a:lnTo>
                    <a:lnTo>
                      <a:pt x="177" y="362"/>
                    </a:lnTo>
                    <a:lnTo>
                      <a:pt x="177" y="364"/>
                    </a:lnTo>
                    <a:lnTo>
                      <a:pt x="175" y="364"/>
                    </a:lnTo>
                    <a:lnTo>
                      <a:pt x="173" y="365"/>
                    </a:lnTo>
                    <a:lnTo>
                      <a:pt x="171" y="365"/>
                    </a:lnTo>
                    <a:lnTo>
                      <a:pt x="171" y="367"/>
                    </a:lnTo>
                    <a:lnTo>
                      <a:pt x="169" y="367"/>
                    </a:lnTo>
                    <a:lnTo>
                      <a:pt x="169" y="369"/>
                    </a:lnTo>
                    <a:lnTo>
                      <a:pt x="171" y="369"/>
                    </a:lnTo>
                    <a:lnTo>
                      <a:pt x="171" y="371"/>
                    </a:lnTo>
                    <a:lnTo>
                      <a:pt x="171" y="373"/>
                    </a:lnTo>
                    <a:lnTo>
                      <a:pt x="171" y="375"/>
                    </a:lnTo>
                    <a:lnTo>
                      <a:pt x="171" y="377"/>
                    </a:lnTo>
                    <a:lnTo>
                      <a:pt x="171" y="379"/>
                    </a:lnTo>
                    <a:lnTo>
                      <a:pt x="171" y="381"/>
                    </a:lnTo>
                    <a:lnTo>
                      <a:pt x="173" y="383"/>
                    </a:lnTo>
                    <a:lnTo>
                      <a:pt x="173" y="385"/>
                    </a:lnTo>
                    <a:lnTo>
                      <a:pt x="175" y="385"/>
                    </a:lnTo>
                    <a:lnTo>
                      <a:pt x="175" y="387"/>
                    </a:lnTo>
                    <a:lnTo>
                      <a:pt x="177" y="387"/>
                    </a:lnTo>
                    <a:lnTo>
                      <a:pt x="175" y="387"/>
                    </a:lnTo>
                    <a:lnTo>
                      <a:pt x="177" y="389"/>
                    </a:lnTo>
                    <a:lnTo>
                      <a:pt x="175" y="390"/>
                    </a:lnTo>
                    <a:lnTo>
                      <a:pt x="177" y="392"/>
                    </a:lnTo>
                    <a:lnTo>
                      <a:pt x="177" y="394"/>
                    </a:lnTo>
                    <a:lnTo>
                      <a:pt x="177" y="396"/>
                    </a:lnTo>
                    <a:lnTo>
                      <a:pt x="175" y="396"/>
                    </a:lnTo>
                    <a:lnTo>
                      <a:pt x="173" y="396"/>
                    </a:lnTo>
                    <a:lnTo>
                      <a:pt x="173" y="398"/>
                    </a:lnTo>
                    <a:lnTo>
                      <a:pt x="171" y="398"/>
                    </a:lnTo>
                    <a:lnTo>
                      <a:pt x="171" y="400"/>
                    </a:lnTo>
                    <a:lnTo>
                      <a:pt x="169" y="400"/>
                    </a:lnTo>
                    <a:lnTo>
                      <a:pt x="169" y="398"/>
                    </a:lnTo>
                    <a:lnTo>
                      <a:pt x="167" y="398"/>
                    </a:lnTo>
                    <a:lnTo>
                      <a:pt x="165" y="398"/>
                    </a:lnTo>
                    <a:lnTo>
                      <a:pt x="165" y="396"/>
                    </a:lnTo>
                    <a:lnTo>
                      <a:pt x="164" y="396"/>
                    </a:lnTo>
                    <a:lnTo>
                      <a:pt x="162" y="396"/>
                    </a:lnTo>
                    <a:lnTo>
                      <a:pt x="162" y="394"/>
                    </a:lnTo>
                    <a:lnTo>
                      <a:pt x="160" y="394"/>
                    </a:lnTo>
                    <a:lnTo>
                      <a:pt x="160" y="392"/>
                    </a:lnTo>
                    <a:lnTo>
                      <a:pt x="158" y="392"/>
                    </a:lnTo>
                    <a:lnTo>
                      <a:pt x="158" y="390"/>
                    </a:lnTo>
                    <a:lnTo>
                      <a:pt x="156" y="390"/>
                    </a:lnTo>
                    <a:lnTo>
                      <a:pt x="158" y="390"/>
                    </a:lnTo>
                    <a:lnTo>
                      <a:pt x="156" y="389"/>
                    </a:lnTo>
                    <a:lnTo>
                      <a:pt x="154" y="387"/>
                    </a:lnTo>
                    <a:lnTo>
                      <a:pt x="152" y="387"/>
                    </a:lnTo>
                    <a:lnTo>
                      <a:pt x="154" y="387"/>
                    </a:lnTo>
                    <a:lnTo>
                      <a:pt x="152" y="387"/>
                    </a:lnTo>
                    <a:lnTo>
                      <a:pt x="152" y="385"/>
                    </a:lnTo>
                    <a:lnTo>
                      <a:pt x="150" y="385"/>
                    </a:lnTo>
                    <a:lnTo>
                      <a:pt x="150" y="387"/>
                    </a:lnTo>
                    <a:lnTo>
                      <a:pt x="150" y="389"/>
                    </a:lnTo>
                    <a:lnTo>
                      <a:pt x="148" y="390"/>
                    </a:lnTo>
                    <a:lnTo>
                      <a:pt x="148" y="392"/>
                    </a:lnTo>
                    <a:lnTo>
                      <a:pt x="146" y="390"/>
                    </a:lnTo>
                    <a:lnTo>
                      <a:pt x="146" y="392"/>
                    </a:lnTo>
                    <a:lnTo>
                      <a:pt x="146" y="390"/>
                    </a:lnTo>
                    <a:lnTo>
                      <a:pt x="146" y="392"/>
                    </a:lnTo>
                    <a:lnTo>
                      <a:pt x="144" y="392"/>
                    </a:lnTo>
                    <a:lnTo>
                      <a:pt x="142" y="392"/>
                    </a:lnTo>
                    <a:lnTo>
                      <a:pt x="142" y="390"/>
                    </a:lnTo>
                    <a:lnTo>
                      <a:pt x="141" y="390"/>
                    </a:lnTo>
                    <a:lnTo>
                      <a:pt x="141" y="392"/>
                    </a:lnTo>
                    <a:lnTo>
                      <a:pt x="139" y="392"/>
                    </a:lnTo>
                    <a:lnTo>
                      <a:pt x="139" y="390"/>
                    </a:lnTo>
                    <a:lnTo>
                      <a:pt x="139" y="389"/>
                    </a:lnTo>
                    <a:lnTo>
                      <a:pt x="137" y="389"/>
                    </a:lnTo>
                    <a:lnTo>
                      <a:pt x="137" y="387"/>
                    </a:lnTo>
                    <a:lnTo>
                      <a:pt x="139" y="387"/>
                    </a:lnTo>
                    <a:lnTo>
                      <a:pt x="137" y="387"/>
                    </a:lnTo>
                    <a:lnTo>
                      <a:pt x="137" y="385"/>
                    </a:lnTo>
                    <a:lnTo>
                      <a:pt x="135" y="385"/>
                    </a:lnTo>
                    <a:lnTo>
                      <a:pt x="137" y="385"/>
                    </a:lnTo>
                    <a:lnTo>
                      <a:pt x="137" y="383"/>
                    </a:lnTo>
                    <a:lnTo>
                      <a:pt x="137" y="385"/>
                    </a:lnTo>
                    <a:lnTo>
                      <a:pt x="135" y="385"/>
                    </a:lnTo>
                    <a:lnTo>
                      <a:pt x="137" y="385"/>
                    </a:lnTo>
                    <a:lnTo>
                      <a:pt x="137" y="387"/>
                    </a:lnTo>
                    <a:lnTo>
                      <a:pt x="139" y="387"/>
                    </a:lnTo>
                    <a:lnTo>
                      <a:pt x="137" y="387"/>
                    </a:lnTo>
                    <a:lnTo>
                      <a:pt x="137" y="389"/>
                    </a:lnTo>
                    <a:lnTo>
                      <a:pt x="139" y="389"/>
                    </a:lnTo>
                    <a:lnTo>
                      <a:pt x="139" y="390"/>
                    </a:lnTo>
                    <a:lnTo>
                      <a:pt x="139" y="392"/>
                    </a:lnTo>
                    <a:lnTo>
                      <a:pt x="141" y="392"/>
                    </a:lnTo>
                    <a:lnTo>
                      <a:pt x="141" y="390"/>
                    </a:lnTo>
                    <a:lnTo>
                      <a:pt x="142" y="390"/>
                    </a:lnTo>
                    <a:lnTo>
                      <a:pt x="142" y="392"/>
                    </a:lnTo>
                    <a:lnTo>
                      <a:pt x="144" y="392"/>
                    </a:lnTo>
                    <a:lnTo>
                      <a:pt x="146" y="392"/>
                    </a:lnTo>
                    <a:lnTo>
                      <a:pt x="146" y="390"/>
                    </a:lnTo>
                    <a:lnTo>
                      <a:pt x="148" y="392"/>
                    </a:lnTo>
                    <a:lnTo>
                      <a:pt x="148" y="390"/>
                    </a:lnTo>
                    <a:lnTo>
                      <a:pt x="150" y="390"/>
                    </a:lnTo>
                    <a:lnTo>
                      <a:pt x="150" y="389"/>
                    </a:lnTo>
                    <a:lnTo>
                      <a:pt x="150" y="387"/>
                    </a:lnTo>
                    <a:lnTo>
                      <a:pt x="152" y="385"/>
                    </a:lnTo>
                    <a:lnTo>
                      <a:pt x="150" y="385"/>
                    </a:lnTo>
                    <a:lnTo>
                      <a:pt x="152" y="385"/>
                    </a:lnTo>
                    <a:lnTo>
                      <a:pt x="152" y="387"/>
                    </a:lnTo>
                    <a:lnTo>
                      <a:pt x="154" y="387"/>
                    </a:lnTo>
                    <a:lnTo>
                      <a:pt x="154" y="389"/>
                    </a:lnTo>
                    <a:lnTo>
                      <a:pt x="156" y="389"/>
                    </a:lnTo>
                    <a:lnTo>
                      <a:pt x="158" y="390"/>
                    </a:lnTo>
                    <a:lnTo>
                      <a:pt x="156" y="390"/>
                    </a:lnTo>
                    <a:lnTo>
                      <a:pt x="158" y="390"/>
                    </a:lnTo>
                    <a:lnTo>
                      <a:pt x="158" y="392"/>
                    </a:lnTo>
                    <a:lnTo>
                      <a:pt x="160" y="392"/>
                    </a:lnTo>
                    <a:lnTo>
                      <a:pt x="160" y="394"/>
                    </a:lnTo>
                    <a:lnTo>
                      <a:pt x="162" y="394"/>
                    </a:lnTo>
                    <a:lnTo>
                      <a:pt x="162" y="396"/>
                    </a:lnTo>
                    <a:lnTo>
                      <a:pt x="164" y="396"/>
                    </a:lnTo>
                    <a:lnTo>
                      <a:pt x="165" y="396"/>
                    </a:lnTo>
                    <a:lnTo>
                      <a:pt x="165" y="398"/>
                    </a:lnTo>
                    <a:lnTo>
                      <a:pt x="167" y="398"/>
                    </a:lnTo>
                    <a:lnTo>
                      <a:pt x="169" y="398"/>
                    </a:lnTo>
                    <a:lnTo>
                      <a:pt x="169" y="400"/>
                    </a:lnTo>
                    <a:lnTo>
                      <a:pt x="169" y="402"/>
                    </a:lnTo>
                    <a:lnTo>
                      <a:pt x="169" y="400"/>
                    </a:lnTo>
                    <a:lnTo>
                      <a:pt x="169" y="402"/>
                    </a:lnTo>
                    <a:lnTo>
                      <a:pt x="167" y="402"/>
                    </a:lnTo>
                    <a:lnTo>
                      <a:pt x="167" y="404"/>
                    </a:lnTo>
                    <a:lnTo>
                      <a:pt x="167" y="402"/>
                    </a:lnTo>
                    <a:lnTo>
                      <a:pt x="169" y="402"/>
                    </a:lnTo>
                    <a:lnTo>
                      <a:pt x="167" y="404"/>
                    </a:lnTo>
                    <a:lnTo>
                      <a:pt x="167" y="406"/>
                    </a:lnTo>
                    <a:lnTo>
                      <a:pt x="169" y="406"/>
                    </a:lnTo>
                    <a:lnTo>
                      <a:pt x="169" y="408"/>
                    </a:lnTo>
                    <a:lnTo>
                      <a:pt x="167" y="408"/>
                    </a:lnTo>
                    <a:lnTo>
                      <a:pt x="169" y="408"/>
                    </a:lnTo>
                    <a:lnTo>
                      <a:pt x="167" y="408"/>
                    </a:lnTo>
                    <a:lnTo>
                      <a:pt x="169" y="408"/>
                    </a:lnTo>
                    <a:lnTo>
                      <a:pt x="169" y="406"/>
                    </a:lnTo>
                    <a:lnTo>
                      <a:pt x="167" y="406"/>
                    </a:lnTo>
                    <a:lnTo>
                      <a:pt x="167" y="404"/>
                    </a:lnTo>
                    <a:lnTo>
                      <a:pt x="169" y="402"/>
                    </a:lnTo>
                    <a:lnTo>
                      <a:pt x="169" y="400"/>
                    </a:lnTo>
                    <a:lnTo>
                      <a:pt x="171" y="400"/>
                    </a:lnTo>
                    <a:lnTo>
                      <a:pt x="171" y="398"/>
                    </a:lnTo>
                    <a:lnTo>
                      <a:pt x="173" y="398"/>
                    </a:lnTo>
                    <a:lnTo>
                      <a:pt x="175" y="398"/>
                    </a:lnTo>
                    <a:lnTo>
                      <a:pt x="175" y="396"/>
                    </a:lnTo>
                    <a:lnTo>
                      <a:pt x="177" y="396"/>
                    </a:lnTo>
                    <a:lnTo>
                      <a:pt x="177" y="394"/>
                    </a:lnTo>
                    <a:lnTo>
                      <a:pt x="177" y="392"/>
                    </a:lnTo>
                    <a:lnTo>
                      <a:pt x="179" y="392"/>
                    </a:lnTo>
                    <a:lnTo>
                      <a:pt x="177" y="392"/>
                    </a:lnTo>
                    <a:lnTo>
                      <a:pt x="175" y="390"/>
                    </a:lnTo>
                    <a:lnTo>
                      <a:pt x="177" y="390"/>
                    </a:lnTo>
                    <a:lnTo>
                      <a:pt x="177" y="389"/>
                    </a:lnTo>
                    <a:lnTo>
                      <a:pt x="177" y="387"/>
                    </a:lnTo>
                    <a:lnTo>
                      <a:pt x="175" y="387"/>
                    </a:lnTo>
                    <a:lnTo>
                      <a:pt x="175" y="385"/>
                    </a:lnTo>
                    <a:lnTo>
                      <a:pt x="173" y="383"/>
                    </a:lnTo>
                    <a:lnTo>
                      <a:pt x="173" y="381"/>
                    </a:lnTo>
                    <a:lnTo>
                      <a:pt x="171" y="381"/>
                    </a:lnTo>
                    <a:lnTo>
                      <a:pt x="171" y="379"/>
                    </a:lnTo>
                    <a:lnTo>
                      <a:pt x="173" y="379"/>
                    </a:lnTo>
                    <a:lnTo>
                      <a:pt x="171" y="379"/>
                    </a:lnTo>
                    <a:lnTo>
                      <a:pt x="173" y="379"/>
                    </a:lnTo>
                    <a:lnTo>
                      <a:pt x="171" y="379"/>
                    </a:lnTo>
                    <a:lnTo>
                      <a:pt x="171" y="377"/>
                    </a:lnTo>
                    <a:lnTo>
                      <a:pt x="171" y="375"/>
                    </a:lnTo>
                    <a:lnTo>
                      <a:pt x="171" y="373"/>
                    </a:lnTo>
                    <a:lnTo>
                      <a:pt x="171" y="371"/>
                    </a:lnTo>
                    <a:lnTo>
                      <a:pt x="171" y="369"/>
                    </a:lnTo>
                    <a:lnTo>
                      <a:pt x="169" y="369"/>
                    </a:lnTo>
                    <a:lnTo>
                      <a:pt x="171" y="369"/>
                    </a:lnTo>
                    <a:lnTo>
                      <a:pt x="169" y="369"/>
                    </a:lnTo>
                    <a:lnTo>
                      <a:pt x="169" y="367"/>
                    </a:lnTo>
                    <a:lnTo>
                      <a:pt x="171" y="367"/>
                    </a:lnTo>
                    <a:lnTo>
                      <a:pt x="171" y="365"/>
                    </a:lnTo>
                    <a:lnTo>
                      <a:pt x="173" y="365"/>
                    </a:lnTo>
                    <a:lnTo>
                      <a:pt x="175" y="364"/>
                    </a:lnTo>
                    <a:lnTo>
                      <a:pt x="177" y="364"/>
                    </a:lnTo>
                    <a:lnTo>
                      <a:pt x="177" y="362"/>
                    </a:lnTo>
                    <a:lnTo>
                      <a:pt x="179" y="360"/>
                    </a:lnTo>
                    <a:lnTo>
                      <a:pt x="181" y="360"/>
                    </a:lnTo>
                    <a:lnTo>
                      <a:pt x="181" y="362"/>
                    </a:lnTo>
                    <a:lnTo>
                      <a:pt x="183" y="362"/>
                    </a:lnTo>
                    <a:lnTo>
                      <a:pt x="185" y="362"/>
                    </a:lnTo>
                    <a:lnTo>
                      <a:pt x="187" y="362"/>
                    </a:lnTo>
                    <a:lnTo>
                      <a:pt x="187" y="360"/>
                    </a:lnTo>
                    <a:lnTo>
                      <a:pt x="187" y="362"/>
                    </a:lnTo>
                    <a:lnTo>
                      <a:pt x="189" y="362"/>
                    </a:lnTo>
                    <a:lnTo>
                      <a:pt x="187" y="362"/>
                    </a:lnTo>
                    <a:lnTo>
                      <a:pt x="189" y="362"/>
                    </a:lnTo>
                    <a:lnTo>
                      <a:pt x="190" y="362"/>
                    </a:lnTo>
                    <a:lnTo>
                      <a:pt x="190" y="364"/>
                    </a:lnTo>
                    <a:lnTo>
                      <a:pt x="192" y="364"/>
                    </a:lnTo>
                    <a:lnTo>
                      <a:pt x="192" y="365"/>
                    </a:lnTo>
                    <a:lnTo>
                      <a:pt x="192" y="364"/>
                    </a:lnTo>
                    <a:lnTo>
                      <a:pt x="192" y="365"/>
                    </a:lnTo>
                    <a:lnTo>
                      <a:pt x="194" y="365"/>
                    </a:lnTo>
                    <a:lnTo>
                      <a:pt x="196" y="365"/>
                    </a:lnTo>
                    <a:lnTo>
                      <a:pt x="198" y="365"/>
                    </a:lnTo>
                    <a:lnTo>
                      <a:pt x="200" y="364"/>
                    </a:lnTo>
                    <a:lnTo>
                      <a:pt x="202" y="364"/>
                    </a:lnTo>
                    <a:lnTo>
                      <a:pt x="202" y="365"/>
                    </a:lnTo>
                    <a:lnTo>
                      <a:pt x="204" y="365"/>
                    </a:lnTo>
                    <a:lnTo>
                      <a:pt x="206" y="365"/>
                    </a:lnTo>
                    <a:lnTo>
                      <a:pt x="208" y="365"/>
                    </a:lnTo>
                    <a:lnTo>
                      <a:pt x="210" y="365"/>
                    </a:lnTo>
                    <a:lnTo>
                      <a:pt x="212" y="365"/>
                    </a:lnTo>
                    <a:lnTo>
                      <a:pt x="214" y="364"/>
                    </a:lnTo>
                    <a:lnTo>
                      <a:pt x="214" y="365"/>
                    </a:lnTo>
                    <a:lnTo>
                      <a:pt x="215" y="365"/>
                    </a:lnTo>
                    <a:lnTo>
                      <a:pt x="219" y="364"/>
                    </a:lnTo>
                    <a:lnTo>
                      <a:pt x="221" y="364"/>
                    </a:lnTo>
                    <a:lnTo>
                      <a:pt x="223" y="364"/>
                    </a:lnTo>
                    <a:lnTo>
                      <a:pt x="225" y="364"/>
                    </a:lnTo>
                    <a:lnTo>
                      <a:pt x="225" y="362"/>
                    </a:lnTo>
                    <a:lnTo>
                      <a:pt x="225" y="364"/>
                    </a:lnTo>
                    <a:lnTo>
                      <a:pt x="225" y="362"/>
                    </a:lnTo>
                    <a:lnTo>
                      <a:pt x="227" y="364"/>
                    </a:lnTo>
                    <a:lnTo>
                      <a:pt x="229" y="364"/>
                    </a:lnTo>
                    <a:lnTo>
                      <a:pt x="231" y="364"/>
                    </a:lnTo>
                    <a:lnTo>
                      <a:pt x="233" y="364"/>
                    </a:lnTo>
                    <a:lnTo>
                      <a:pt x="235" y="364"/>
                    </a:lnTo>
                    <a:lnTo>
                      <a:pt x="235" y="362"/>
                    </a:lnTo>
                    <a:lnTo>
                      <a:pt x="235" y="364"/>
                    </a:lnTo>
                    <a:lnTo>
                      <a:pt x="235" y="365"/>
                    </a:lnTo>
                    <a:lnTo>
                      <a:pt x="237" y="367"/>
                    </a:lnTo>
                    <a:lnTo>
                      <a:pt x="237" y="369"/>
                    </a:lnTo>
                    <a:lnTo>
                      <a:pt x="238" y="369"/>
                    </a:lnTo>
                    <a:lnTo>
                      <a:pt x="240" y="369"/>
                    </a:lnTo>
                    <a:lnTo>
                      <a:pt x="240" y="371"/>
                    </a:lnTo>
                    <a:lnTo>
                      <a:pt x="242" y="371"/>
                    </a:lnTo>
                    <a:lnTo>
                      <a:pt x="240" y="371"/>
                    </a:lnTo>
                    <a:lnTo>
                      <a:pt x="242" y="373"/>
                    </a:lnTo>
                    <a:lnTo>
                      <a:pt x="244" y="373"/>
                    </a:lnTo>
                    <a:lnTo>
                      <a:pt x="246" y="373"/>
                    </a:lnTo>
                    <a:lnTo>
                      <a:pt x="246" y="375"/>
                    </a:lnTo>
                    <a:lnTo>
                      <a:pt x="246" y="377"/>
                    </a:lnTo>
                    <a:lnTo>
                      <a:pt x="248" y="377"/>
                    </a:lnTo>
                    <a:lnTo>
                      <a:pt x="248" y="379"/>
                    </a:lnTo>
                    <a:lnTo>
                      <a:pt x="250" y="379"/>
                    </a:lnTo>
                    <a:lnTo>
                      <a:pt x="250" y="381"/>
                    </a:lnTo>
                    <a:lnTo>
                      <a:pt x="252" y="381"/>
                    </a:lnTo>
                    <a:lnTo>
                      <a:pt x="252" y="383"/>
                    </a:lnTo>
                    <a:lnTo>
                      <a:pt x="252" y="385"/>
                    </a:lnTo>
                    <a:lnTo>
                      <a:pt x="254" y="385"/>
                    </a:lnTo>
                    <a:lnTo>
                      <a:pt x="256" y="385"/>
                    </a:lnTo>
                    <a:lnTo>
                      <a:pt x="258" y="385"/>
                    </a:lnTo>
                    <a:lnTo>
                      <a:pt x="258" y="383"/>
                    </a:lnTo>
                    <a:lnTo>
                      <a:pt x="258" y="385"/>
                    </a:lnTo>
                    <a:lnTo>
                      <a:pt x="256" y="385"/>
                    </a:lnTo>
                    <a:lnTo>
                      <a:pt x="254" y="385"/>
                    </a:lnTo>
                    <a:lnTo>
                      <a:pt x="254" y="383"/>
                    </a:lnTo>
                    <a:lnTo>
                      <a:pt x="252" y="385"/>
                    </a:lnTo>
                    <a:lnTo>
                      <a:pt x="252" y="383"/>
                    </a:lnTo>
                    <a:lnTo>
                      <a:pt x="252" y="381"/>
                    </a:lnTo>
                    <a:lnTo>
                      <a:pt x="250" y="381"/>
                    </a:lnTo>
                    <a:lnTo>
                      <a:pt x="250" y="379"/>
                    </a:lnTo>
                    <a:lnTo>
                      <a:pt x="248" y="379"/>
                    </a:lnTo>
                    <a:lnTo>
                      <a:pt x="248" y="377"/>
                    </a:lnTo>
                    <a:lnTo>
                      <a:pt x="246" y="377"/>
                    </a:lnTo>
                    <a:lnTo>
                      <a:pt x="246" y="375"/>
                    </a:lnTo>
                    <a:lnTo>
                      <a:pt x="246" y="373"/>
                    </a:lnTo>
                    <a:lnTo>
                      <a:pt x="244" y="373"/>
                    </a:lnTo>
                    <a:lnTo>
                      <a:pt x="242" y="373"/>
                    </a:lnTo>
                    <a:lnTo>
                      <a:pt x="242" y="371"/>
                    </a:lnTo>
                    <a:lnTo>
                      <a:pt x="240" y="371"/>
                    </a:lnTo>
                    <a:lnTo>
                      <a:pt x="240" y="369"/>
                    </a:lnTo>
                    <a:lnTo>
                      <a:pt x="238" y="369"/>
                    </a:lnTo>
                    <a:lnTo>
                      <a:pt x="237" y="369"/>
                    </a:lnTo>
                    <a:lnTo>
                      <a:pt x="238" y="367"/>
                    </a:lnTo>
                    <a:lnTo>
                      <a:pt x="237" y="367"/>
                    </a:lnTo>
                    <a:lnTo>
                      <a:pt x="235" y="365"/>
                    </a:lnTo>
                    <a:lnTo>
                      <a:pt x="235" y="364"/>
                    </a:lnTo>
                    <a:lnTo>
                      <a:pt x="235" y="362"/>
                    </a:lnTo>
                    <a:lnTo>
                      <a:pt x="235" y="364"/>
                    </a:lnTo>
                    <a:lnTo>
                      <a:pt x="233" y="364"/>
                    </a:lnTo>
                    <a:lnTo>
                      <a:pt x="233" y="362"/>
                    </a:lnTo>
                    <a:lnTo>
                      <a:pt x="235" y="362"/>
                    </a:lnTo>
                    <a:lnTo>
                      <a:pt x="235" y="360"/>
                    </a:lnTo>
                    <a:lnTo>
                      <a:pt x="235" y="358"/>
                    </a:lnTo>
                    <a:lnTo>
                      <a:pt x="237" y="356"/>
                    </a:lnTo>
                    <a:lnTo>
                      <a:pt x="237" y="354"/>
                    </a:lnTo>
                    <a:lnTo>
                      <a:pt x="238" y="354"/>
                    </a:lnTo>
                    <a:lnTo>
                      <a:pt x="240" y="354"/>
                    </a:lnTo>
                    <a:lnTo>
                      <a:pt x="242" y="354"/>
                    </a:lnTo>
                    <a:lnTo>
                      <a:pt x="244" y="354"/>
                    </a:lnTo>
                    <a:lnTo>
                      <a:pt x="246" y="354"/>
                    </a:lnTo>
                    <a:lnTo>
                      <a:pt x="246" y="356"/>
                    </a:lnTo>
                    <a:lnTo>
                      <a:pt x="248" y="356"/>
                    </a:lnTo>
                    <a:lnTo>
                      <a:pt x="250" y="356"/>
                    </a:lnTo>
                    <a:lnTo>
                      <a:pt x="250" y="354"/>
                    </a:lnTo>
                    <a:lnTo>
                      <a:pt x="252" y="354"/>
                    </a:lnTo>
                    <a:lnTo>
                      <a:pt x="254" y="354"/>
                    </a:lnTo>
                    <a:lnTo>
                      <a:pt x="256" y="354"/>
                    </a:lnTo>
                    <a:lnTo>
                      <a:pt x="258" y="354"/>
                    </a:lnTo>
                    <a:lnTo>
                      <a:pt x="260" y="354"/>
                    </a:lnTo>
                    <a:lnTo>
                      <a:pt x="262" y="354"/>
                    </a:lnTo>
                    <a:lnTo>
                      <a:pt x="263" y="354"/>
                    </a:lnTo>
                    <a:lnTo>
                      <a:pt x="265" y="354"/>
                    </a:lnTo>
                    <a:lnTo>
                      <a:pt x="265" y="356"/>
                    </a:lnTo>
                    <a:lnTo>
                      <a:pt x="267" y="356"/>
                    </a:lnTo>
                    <a:lnTo>
                      <a:pt x="269" y="356"/>
                    </a:lnTo>
                    <a:lnTo>
                      <a:pt x="271" y="356"/>
                    </a:lnTo>
                    <a:lnTo>
                      <a:pt x="271" y="358"/>
                    </a:lnTo>
                    <a:lnTo>
                      <a:pt x="271" y="356"/>
                    </a:lnTo>
                    <a:lnTo>
                      <a:pt x="271" y="358"/>
                    </a:lnTo>
                    <a:lnTo>
                      <a:pt x="273" y="358"/>
                    </a:lnTo>
                    <a:lnTo>
                      <a:pt x="275" y="358"/>
                    </a:lnTo>
                    <a:lnTo>
                      <a:pt x="277" y="358"/>
                    </a:lnTo>
                    <a:lnTo>
                      <a:pt x="277" y="356"/>
                    </a:lnTo>
                    <a:lnTo>
                      <a:pt x="279" y="356"/>
                    </a:lnTo>
                    <a:lnTo>
                      <a:pt x="281" y="356"/>
                    </a:lnTo>
                    <a:lnTo>
                      <a:pt x="283" y="354"/>
                    </a:lnTo>
                    <a:lnTo>
                      <a:pt x="285" y="354"/>
                    </a:lnTo>
                    <a:lnTo>
                      <a:pt x="287" y="354"/>
                    </a:lnTo>
                    <a:lnTo>
                      <a:pt x="288" y="352"/>
                    </a:lnTo>
                    <a:lnTo>
                      <a:pt x="288" y="354"/>
                    </a:lnTo>
                    <a:lnTo>
                      <a:pt x="290" y="354"/>
                    </a:lnTo>
                    <a:lnTo>
                      <a:pt x="292" y="354"/>
                    </a:lnTo>
                    <a:lnTo>
                      <a:pt x="292" y="356"/>
                    </a:lnTo>
                    <a:lnTo>
                      <a:pt x="294" y="356"/>
                    </a:lnTo>
                    <a:lnTo>
                      <a:pt x="294" y="358"/>
                    </a:lnTo>
                    <a:lnTo>
                      <a:pt x="296" y="358"/>
                    </a:lnTo>
                    <a:lnTo>
                      <a:pt x="294" y="358"/>
                    </a:lnTo>
                    <a:lnTo>
                      <a:pt x="294" y="360"/>
                    </a:lnTo>
                    <a:lnTo>
                      <a:pt x="294" y="362"/>
                    </a:lnTo>
                    <a:lnTo>
                      <a:pt x="296" y="362"/>
                    </a:lnTo>
                    <a:lnTo>
                      <a:pt x="296" y="364"/>
                    </a:lnTo>
                    <a:lnTo>
                      <a:pt x="296" y="367"/>
                    </a:lnTo>
                    <a:lnTo>
                      <a:pt x="296" y="369"/>
                    </a:lnTo>
                    <a:lnTo>
                      <a:pt x="296" y="371"/>
                    </a:lnTo>
                    <a:lnTo>
                      <a:pt x="296" y="373"/>
                    </a:lnTo>
                    <a:lnTo>
                      <a:pt x="296" y="375"/>
                    </a:lnTo>
                    <a:lnTo>
                      <a:pt x="294" y="375"/>
                    </a:lnTo>
                    <a:lnTo>
                      <a:pt x="296" y="377"/>
                    </a:lnTo>
                    <a:lnTo>
                      <a:pt x="298" y="377"/>
                    </a:lnTo>
                    <a:lnTo>
                      <a:pt x="296" y="377"/>
                    </a:lnTo>
                    <a:lnTo>
                      <a:pt x="298" y="377"/>
                    </a:lnTo>
                    <a:lnTo>
                      <a:pt x="298" y="379"/>
                    </a:lnTo>
                    <a:lnTo>
                      <a:pt x="298" y="381"/>
                    </a:lnTo>
                    <a:lnTo>
                      <a:pt x="298" y="383"/>
                    </a:lnTo>
                    <a:lnTo>
                      <a:pt x="298" y="385"/>
                    </a:lnTo>
                    <a:lnTo>
                      <a:pt x="296" y="385"/>
                    </a:lnTo>
                    <a:lnTo>
                      <a:pt x="296" y="387"/>
                    </a:lnTo>
                    <a:lnTo>
                      <a:pt x="298" y="389"/>
                    </a:lnTo>
                    <a:lnTo>
                      <a:pt x="300" y="389"/>
                    </a:lnTo>
                    <a:lnTo>
                      <a:pt x="300" y="390"/>
                    </a:lnTo>
                    <a:lnTo>
                      <a:pt x="302" y="390"/>
                    </a:lnTo>
                    <a:lnTo>
                      <a:pt x="302" y="392"/>
                    </a:lnTo>
                    <a:lnTo>
                      <a:pt x="300" y="392"/>
                    </a:lnTo>
                    <a:lnTo>
                      <a:pt x="298" y="392"/>
                    </a:lnTo>
                    <a:lnTo>
                      <a:pt x="296" y="392"/>
                    </a:lnTo>
                    <a:lnTo>
                      <a:pt x="296" y="390"/>
                    </a:lnTo>
                    <a:lnTo>
                      <a:pt x="294" y="390"/>
                    </a:lnTo>
                    <a:lnTo>
                      <a:pt x="292" y="390"/>
                    </a:lnTo>
                    <a:lnTo>
                      <a:pt x="290" y="392"/>
                    </a:lnTo>
                    <a:lnTo>
                      <a:pt x="290" y="394"/>
                    </a:lnTo>
                    <a:lnTo>
                      <a:pt x="292" y="394"/>
                    </a:lnTo>
                    <a:lnTo>
                      <a:pt x="292" y="396"/>
                    </a:lnTo>
                    <a:lnTo>
                      <a:pt x="294" y="396"/>
                    </a:lnTo>
                    <a:lnTo>
                      <a:pt x="294" y="398"/>
                    </a:lnTo>
                    <a:lnTo>
                      <a:pt x="292" y="398"/>
                    </a:lnTo>
                    <a:lnTo>
                      <a:pt x="290" y="398"/>
                    </a:lnTo>
                    <a:lnTo>
                      <a:pt x="290" y="400"/>
                    </a:lnTo>
                    <a:lnTo>
                      <a:pt x="290" y="398"/>
                    </a:lnTo>
                    <a:lnTo>
                      <a:pt x="290" y="400"/>
                    </a:lnTo>
                    <a:lnTo>
                      <a:pt x="288" y="400"/>
                    </a:lnTo>
                    <a:lnTo>
                      <a:pt x="287" y="402"/>
                    </a:lnTo>
                    <a:lnTo>
                      <a:pt x="285" y="402"/>
                    </a:lnTo>
                    <a:lnTo>
                      <a:pt x="283" y="402"/>
                    </a:lnTo>
                    <a:lnTo>
                      <a:pt x="281" y="402"/>
                    </a:lnTo>
                    <a:lnTo>
                      <a:pt x="283" y="404"/>
                    </a:lnTo>
                    <a:lnTo>
                      <a:pt x="283" y="406"/>
                    </a:lnTo>
                    <a:lnTo>
                      <a:pt x="281" y="406"/>
                    </a:lnTo>
                    <a:lnTo>
                      <a:pt x="281" y="408"/>
                    </a:lnTo>
                    <a:lnTo>
                      <a:pt x="281" y="410"/>
                    </a:lnTo>
                    <a:lnTo>
                      <a:pt x="279" y="412"/>
                    </a:lnTo>
                    <a:lnTo>
                      <a:pt x="277" y="414"/>
                    </a:lnTo>
                    <a:lnTo>
                      <a:pt x="275" y="414"/>
                    </a:lnTo>
                    <a:lnTo>
                      <a:pt x="275" y="415"/>
                    </a:lnTo>
                    <a:lnTo>
                      <a:pt x="273" y="415"/>
                    </a:lnTo>
                    <a:lnTo>
                      <a:pt x="275" y="415"/>
                    </a:lnTo>
                    <a:lnTo>
                      <a:pt x="275" y="417"/>
                    </a:lnTo>
                    <a:lnTo>
                      <a:pt x="273" y="417"/>
                    </a:lnTo>
                    <a:lnTo>
                      <a:pt x="271" y="419"/>
                    </a:lnTo>
                    <a:lnTo>
                      <a:pt x="271" y="421"/>
                    </a:lnTo>
                    <a:lnTo>
                      <a:pt x="269" y="421"/>
                    </a:lnTo>
                    <a:lnTo>
                      <a:pt x="271" y="421"/>
                    </a:lnTo>
                    <a:lnTo>
                      <a:pt x="271" y="423"/>
                    </a:lnTo>
                    <a:lnTo>
                      <a:pt x="269" y="423"/>
                    </a:lnTo>
                    <a:lnTo>
                      <a:pt x="269" y="421"/>
                    </a:lnTo>
                    <a:lnTo>
                      <a:pt x="269" y="423"/>
                    </a:lnTo>
                    <a:lnTo>
                      <a:pt x="267" y="423"/>
                    </a:lnTo>
                    <a:lnTo>
                      <a:pt x="267" y="425"/>
                    </a:lnTo>
                    <a:lnTo>
                      <a:pt x="267" y="427"/>
                    </a:lnTo>
                    <a:lnTo>
                      <a:pt x="267" y="429"/>
                    </a:lnTo>
                    <a:lnTo>
                      <a:pt x="267" y="431"/>
                    </a:lnTo>
                    <a:lnTo>
                      <a:pt x="267" y="433"/>
                    </a:lnTo>
                    <a:lnTo>
                      <a:pt x="267" y="435"/>
                    </a:lnTo>
                    <a:lnTo>
                      <a:pt x="267" y="437"/>
                    </a:lnTo>
                    <a:lnTo>
                      <a:pt x="267" y="435"/>
                    </a:lnTo>
                    <a:lnTo>
                      <a:pt x="269" y="435"/>
                    </a:lnTo>
                    <a:lnTo>
                      <a:pt x="267" y="433"/>
                    </a:lnTo>
                    <a:lnTo>
                      <a:pt x="267" y="431"/>
                    </a:lnTo>
                    <a:lnTo>
                      <a:pt x="267" y="429"/>
                    </a:lnTo>
                    <a:lnTo>
                      <a:pt x="267" y="427"/>
                    </a:lnTo>
                    <a:lnTo>
                      <a:pt x="269" y="427"/>
                    </a:lnTo>
                    <a:lnTo>
                      <a:pt x="269" y="425"/>
                    </a:lnTo>
                    <a:lnTo>
                      <a:pt x="269" y="427"/>
                    </a:lnTo>
                    <a:lnTo>
                      <a:pt x="269" y="425"/>
                    </a:lnTo>
                    <a:lnTo>
                      <a:pt x="271" y="425"/>
                    </a:lnTo>
                    <a:lnTo>
                      <a:pt x="271" y="423"/>
                    </a:lnTo>
                    <a:lnTo>
                      <a:pt x="271" y="425"/>
                    </a:lnTo>
                    <a:lnTo>
                      <a:pt x="271" y="423"/>
                    </a:lnTo>
                    <a:lnTo>
                      <a:pt x="273" y="423"/>
                    </a:lnTo>
                    <a:lnTo>
                      <a:pt x="271" y="421"/>
                    </a:lnTo>
                    <a:lnTo>
                      <a:pt x="273" y="421"/>
                    </a:lnTo>
                    <a:lnTo>
                      <a:pt x="271" y="421"/>
                    </a:lnTo>
                    <a:lnTo>
                      <a:pt x="273" y="421"/>
                    </a:lnTo>
                    <a:lnTo>
                      <a:pt x="271" y="421"/>
                    </a:lnTo>
                    <a:lnTo>
                      <a:pt x="273" y="421"/>
                    </a:lnTo>
                    <a:lnTo>
                      <a:pt x="273" y="419"/>
                    </a:lnTo>
                    <a:lnTo>
                      <a:pt x="273" y="417"/>
                    </a:lnTo>
                    <a:lnTo>
                      <a:pt x="275" y="417"/>
                    </a:lnTo>
                    <a:lnTo>
                      <a:pt x="275" y="415"/>
                    </a:lnTo>
                    <a:lnTo>
                      <a:pt x="277" y="414"/>
                    </a:lnTo>
                    <a:lnTo>
                      <a:pt x="279" y="412"/>
                    </a:lnTo>
                    <a:lnTo>
                      <a:pt x="281" y="412"/>
                    </a:lnTo>
                    <a:lnTo>
                      <a:pt x="281" y="410"/>
                    </a:lnTo>
                    <a:lnTo>
                      <a:pt x="281" y="408"/>
                    </a:lnTo>
                    <a:lnTo>
                      <a:pt x="283" y="406"/>
                    </a:lnTo>
                    <a:lnTo>
                      <a:pt x="281" y="408"/>
                    </a:lnTo>
                    <a:lnTo>
                      <a:pt x="283" y="406"/>
                    </a:lnTo>
                    <a:lnTo>
                      <a:pt x="283" y="404"/>
                    </a:lnTo>
                    <a:lnTo>
                      <a:pt x="283" y="402"/>
                    </a:lnTo>
                    <a:lnTo>
                      <a:pt x="285" y="402"/>
                    </a:lnTo>
                    <a:lnTo>
                      <a:pt x="287" y="402"/>
                    </a:lnTo>
                    <a:lnTo>
                      <a:pt x="288" y="402"/>
                    </a:lnTo>
                    <a:lnTo>
                      <a:pt x="288" y="400"/>
                    </a:lnTo>
                    <a:lnTo>
                      <a:pt x="290" y="400"/>
                    </a:lnTo>
                    <a:lnTo>
                      <a:pt x="292" y="400"/>
                    </a:lnTo>
                    <a:lnTo>
                      <a:pt x="292" y="398"/>
                    </a:lnTo>
                    <a:lnTo>
                      <a:pt x="294" y="398"/>
                    </a:lnTo>
                    <a:lnTo>
                      <a:pt x="294" y="396"/>
                    </a:lnTo>
                    <a:lnTo>
                      <a:pt x="294" y="394"/>
                    </a:lnTo>
                    <a:lnTo>
                      <a:pt x="292" y="394"/>
                    </a:lnTo>
                    <a:lnTo>
                      <a:pt x="290" y="394"/>
                    </a:lnTo>
                    <a:lnTo>
                      <a:pt x="290" y="392"/>
                    </a:lnTo>
                    <a:lnTo>
                      <a:pt x="292" y="392"/>
                    </a:lnTo>
                    <a:lnTo>
                      <a:pt x="294" y="390"/>
                    </a:lnTo>
                    <a:lnTo>
                      <a:pt x="296" y="392"/>
                    </a:lnTo>
                    <a:lnTo>
                      <a:pt x="298" y="392"/>
                    </a:lnTo>
                    <a:lnTo>
                      <a:pt x="298" y="394"/>
                    </a:lnTo>
                    <a:lnTo>
                      <a:pt x="300" y="394"/>
                    </a:lnTo>
                    <a:lnTo>
                      <a:pt x="302" y="394"/>
                    </a:lnTo>
                    <a:lnTo>
                      <a:pt x="304" y="394"/>
                    </a:lnTo>
                    <a:lnTo>
                      <a:pt x="306" y="392"/>
                    </a:lnTo>
                    <a:lnTo>
                      <a:pt x="308" y="392"/>
                    </a:lnTo>
                    <a:lnTo>
                      <a:pt x="308" y="390"/>
                    </a:lnTo>
                    <a:lnTo>
                      <a:pt x="306" y="389"/>
                    </a:lnTo>
                    <a:lnTo>
                      <a:pt x="304" y="387"/>
                    </a:lnTo>
                    <a:lnTo>
                      <a:pt x="306" y="387"/>
                    </a:lnTo>
                    <a:lnTo>
                      <a:pt x="306" y="389"/>
                    </a:lnTo>
                    <a:lnTo>
                      <a:pt x="306" y="387"/>
                    </a:lnTo>
                    <a:lnTo>
                      <a:pt x="304" y="387"/>
                    </a:lnTo>
                    <a:lnTo>
                      <a:pt x="302" y="387"/>
                    </a:lnTo>
                    <a:lnTo>
                      <a:pt x="300" y="385"/>
                    </a:lnTo>
                    <a:lnTo>
                      <a:pt x="300" y="383"/>
                    </a:lnTo>
                    <a:lnTo>
                      <a:pt x="302" y="383"/>
                    </a:lnTo>
                    <a:lnTo>
                      <a:pt x="302" y="381"/>
                    </a:lnTo>
                    <a:lnTo>
                      <a:pt x="304" y="383"/>
                    </a:lnTo>
                    <a:lnTo>
                      <a:pt x="302" y="381"/>
                    </a:lnTo>
                    <a:lnTo>
                      <a:pt x="300" y="381"/>
                    </a:lnTo>
                    <a:lnTo>
                      <a:pt x="300" y="379"/>
                    </a:lnTo>
                    <a:lnTo>
                      <a:pt x="302" y="379"/>
                    </a:lnTo>
                    <a:lnTo>
                      <a:pt x="300" y="379"/>
                    </a:lnTo>
                    <a:lnTo>
                      <a:pt x="300" y="377"/>
                    </a:lnTo>
                    <a:lnTo>
                      <a:pt x="302" y="377"/>
                    </a:lnTo>
                    <a:lnTo>
                      <a:pt x="302" y="379"/>
                    </a:lnTo>
                    <a:lnTo>
                      <a:pt x="304" y="379"/>
                    </a:lnTo>
                    <a:lnTo>
                      <a:pt x="304" y="381"/>
                    </a:lnTo>
                    <a:lnTo>
                      <a:pt x="306" y="381"/>
                    </a:lnTo>
                    <a:lnTo>
                      <a:pt x="304" y="381"/>
                    </a:lnTo>
                    <a:lnTo>
                      <a:pt x="304" y="383"/>
                    </a:lnTo>
                    <a:lnTo>
                      <a:pt x="306" y="383"/>
                    </a:lnTo>
                    <a:lnTo>
                      <a:pt x="308" y="383"/>
                    </a:lnTo>
                    <a:lnTo>
                      <a:pt x="308" y="385"/>
                    </a:lnTo>
                    <a:lnTo>
                      <a:pt x="310" y="385"/>
                    </a:lnTo>
                    <a:lnTo>
                      <a:pt x="310" y="387"/>
                    </a:lnTo>
                    <a:lnTo>
                      <a:pt x="308" y="387"/>
                    </a:lnTo>
                    <a:lnTo>
                      <a:pt x="310" y="387"/>
                    </a:lnTo>
                    <a:lnTo>
                      <a:pt x="310" y="389"/>
                    </a:lnTo>
                    <a:lnTo>
                      <a:pt x="311" y="389"/>
                    </a:lnTo>
                    <a:lnTo>
                      <a:pt x="311" y="390"/>
                    </a:lnTo>
                    <a:lnTo>
                      <a:pt x="313" y="392"/>
                    </a:lnTo>
                    <a:lnTo>
                      <a:pt x="313" y="394"/>
                    </a:lnTo>
                    <a:lnTo>
                      <a:pt x="315" y="394"/>
                    </a:lnTo>
                    <a:lnTo>
                      <a:pt x="313" y="394"/>
                    </a:lnTo>
                    <a:lnTo>
                      <a:pt x="313" y="392"/>
                    </a:lnTo>
                    <a:lnTo>
                      <a:pt x="311" y="392"/>
                    </a:lnTo>
                    <a:lnTo>
                      <a:pt x="311" y="390"/>
                    </a:lnTo>
                    <a:lnTo>
                      <a:pt x="311" y="389"/>
                    </a:lnTo>
                    <a:lnTo>
                      <a:pt x="310" y="389"/>
                    </a:lnTo>
                    <a:lnTo>
                      <a:pt x="310" y="387"/>
                    </a:lnTo>
                    <a:lnTo>
                      <a:pt x="308" y="387"/>
                    </a:lnTo>
                    <a:lnTo>
                      <a:pt x="310" y="387"/>
                    </a:lnTo>
                    <a:lnTo>
                      <a:pt x="310" y="385"/>
                    </a:lnTo>
                    <a:lnTo>
                      <a:pt x="308" y="385"/>
                    </a:lnTo>
                    <a:lnTo>
                      <a:pt x="308" y="383"/>
                    </a:lnTo>
                    <a:lnTo>
                      <a:pt x="306" y="383"/>
                    </a:lnTo>
                    <a:lnTo>
                      <a:pt x="304" y="383"/>
                    </a:lnTo>
                    <a:lnTo>
                      <a:pt x="304" y="381"/>
                    </a:lnTo>
                    <a:lnTo>
                      <a:pt x="306" y="381"/>
                    </a:lnTo>
                    <a:lnTo>
                      <a:pt x="304" y="381"/>
                    </a:lnTo>
                    <a:lnTo>
                      <a:pt x="304" y="379"/>
                    </a:lnTo>
                    <a:lnTo>
                      <a:pt x="302" y="379"/>
                    </a:lnTo>
                    <a:lnTo>
                      <a:pt x="302" y="377"/>
                    </a:lnTo>
                    <a:lnTo>
                      <a:pt x="300" y="377"/>
                    </a:lnTo>
                    <a:lnTo>
                      <a:pt x="300" y="375"/>
                    </a:lnTo>
                    <a:lnTo>
                      <a:pt x="298" y="375"/>
                    </a:lnTo>
                    <a:lnTo>
                      <a:pt x="298" y="373"/>
                    </a:lnTo>
                    <a:lnTo>
                      <a:pt x="298" y="371"/>
                    </a:lnTo>
                    <a:lnTo>
                      <a:pt x="296" y="371"/>
                    </a:lnTo>
                    <a:lnTo>
                      <a:pt x="298" y="369"/>
                    </a:lnTo>
                    <a:lnTo>
                      <a:pt x="298" y="367"/>
                    </a:lnTo>
                    <a:lnTo>
                      <a:pt x="296" y="365"/>
                    </a:lnTo>
                    <a:lnTo>
                      <a:pt x="296" y="364"/>
                    </a:lnTo>
                    <a:lnTo>
                      <a:pt x="296" y="362"/>
                    </a:lnTo>
                    <a:lnTo>
                      <a:pt x="296" y="360"/>
                    </a:lnTo>
                    <a:lnTo>
                      <a:pt x="296" y="358"/>
                    </a:lnTo>
                    <a:lnTo>
                      <a:pt x="294" y="358"/>
                    </a:lnTo>
                    <a:lnTo>
                      <a:pt x="294" y="356"/>
                    </a:lnTo>
                    <a:lnTo>
                      <a:pt x="292" y="356"/>
                    </a:lnTo>
                    <a:lnTo>
                      <a:pt x="292" y="354"/>
                    </a:lnTo>
                    <a:lnTo>
                      <a:pt x="290" y="354"/>
                    </a:lnTo>
                    <a:lnTo>
                      <a:pt x="292" y="352"/>
                    </a:lnTo>
                    <a:lnTo>
                      <a:pt x="294" y="352"/>
                    </a:lnTo>
                    <a:lnTo>
                      <a:pt x="296" y="352"/>
                    </a:lnTo>
                    <a:lnTo>
                      <a:pt x="296" y="350"/>
                    </a:lnTo>
                    <a:lnTo>
                      <a:pt x="298" y="350"/>
                    </a:lnTo>
                    <a:lnTo>
                      <a:pt x="300" y="348"/>
                    </a:lnTo>
                    <a:lnTo>
                      <a:pt x="302" y="348"/>
                    </a:lnTo>
                    <a:lnTo>
                      <a:pt x="300" y="348"/>
                    </a:lnTo>
                    <a:lnTo>
                      <a:pt x="300" y="346"/>
                    </a:lnTo>
                    <a:lnTo>
                      <a:pt x="298" y="346"/>
                    </a:lnTo>
                    <a:lnTo>
                      <a:pt x="300" y="346"/>
                    </a:lnTo>
                    <a:lnTo>
                      <a:pt x="300" y="344"/>
                    </a:lnTo>
                    <a:lnTo>
                      <a:pt x="298" y="344"/>
                    </a:lnTo>
                    <a:lnTo>
                      <a:pt x="298" y="342"/>
                    </a:lnTo>
                    <a:lnTo>
                      <a:pt x="300" y="342"/>
                    </a:lnTo>
                    <a:lnTo>
                      <a:pt x="302" y="342"/>
                    </a:lnTo>
                    <a:lnTo>
                      <a:pt x="302" y="340"/>
                    </a:lnTo>
                    <a:lnTo>
                      <a:pt x="302" y="339"/>
                    </a:lnTo>
                    <a:lnTo>
                      <a:pt x="300" y="339"/>
                    </a:lnTo>
                    <a:lnTo>
                      <a:pt x="298" y="339"/>
                    </a:lnTo>
                    <a:lnTo>
                      <a:pt x="296" y="339"/>
                    </a:lnTo>
                    <a:lnTo>
                      <a:pt x="294" y="339"/>
                    </a:lnTo>
                    <a:lnTo>
                      <a:pt x="296" y="339"/>
                    </a:lnTo>
                    <a:lnTo>
                      <a:pt x="296" y="337"/>
                    </a:lnTo>
                    <a:lnTo>
                      <a:pt x="298" y="337"/>
                    </a:lnTo>
                    <a:lnTo>
                      <a:pt x="296" y="337"/>
                    </a:lnTo>
                    <a:lnTo>
                      <a:pt x="298" y="337"/>
                    </a:lnTo>
                    <a:lnTo>
                      <a:pt x="298" y="335"/>
                    </a:lnTo>
                    <a:lnTo>
                      <a:pt x="300" y="335"/>
                    </a:lnTo>
                    <a:lnTo>
                      <a:pt x="300" y="333"/>
                    </a:lnTo>
                    <a:lnTo>
                      <a:pt x="302" y="333"/>
                    </a:lnTo>
                    <a:lnTo>
                      <a:pt x="300" y="333"/>
                    </a:lnTo>
                    <a:lnTo>
                      <a:pt x="298" y="333"/>
                    </a:lnTo>
                    <a:lnTo>
                      <a:pt x="298" y="331"/>
                    </a:lnTo>
                    <a:lnTo>
                      <a:pt x="300" y="331"/>
                    </a:lnTo>
                    <a:lnTo>
                      <a:pt x="300" y="329"/>
                    </a:lnTo>
                    <a:lnTo>
                      <a:pt x="300" y="327"/>
                    </a:lnTo>
                    <a:lnTo>
                      <a:pt x="298" y="327"/>
                    </a:lnTo>
                    <a:lnTo>
                      <a:pt x="296" y="327"/>
                    </a:lnTo>
                    <a:lnTo>
                      <a:pt x="294" y="327"/>
                    </a:lnTo>
                    <a:lnTo>
                      <a:pt x="294" y="325"/>
                    </a:lnTo>
                    <a:lnTo>
                      <a:pt x="292" y="325"/>
                    </a:lnTo>
                    <a:lnTo>
                      <a:pt x="292" y="323"/>
                    </a:lnTo>
                    <a:lnTo>
                      <a:pt x="294" y="323"/>
                    </a:lnTo>
                    <a:lnTo>
                      <a:pt x="294" y="325"/>
                    </a:lnTo>
                    <a:lnTo>
                      <a:pt x="296" y="325"/>
                    </a:lnTo>
                    <a:lnTo>
                      <a:pt x="296" y="323"/>
                    </a:lnTo>
                    <a:lnTo>
                      <a:pt x="298" y="323"/>
                    </a:lnTo>
                    <a:lnTo>
                      <a:pt x="300" y="323"/>
                    </a:lnTo>
                    <a:lnTo>
                      <a:pt x="302" y="323"/>
                    </a:lnTo>
                    <a:lnTo>
                      <a:pt x="302" y="321"/>
                    </a:lnTo>
                    <a:lnTo>
                      <a:pt x="304" y="321"/>
                    </a:lnTo>
                    <a:lnTo>
                      <a:pt x="306" y="319"/>
                    </a:lnTo>
                    <a:lnTo>
                      <a:pt x="308" y="319"/>
                    </a:lnTo>
                    <a:lnTo>
                      <a:pt x="308" y="317"/>
                    </a:lnTo>
                    <a:lnTo>
                      <a:pt x="310" y="319"/>
                    </a:lnTo>
                    <a:lnTo>
                      <a:pt x="310" y="317"/>
                    </a:lnTo>
                    <a:lnTo>
                      <a:pt x="311" y="317"/>
                    </a:lnTo>
                    <a:lnTo>
                      <a:pt x="313" y="317"/>
                    </a:lnTo>
                    <a:lnTo>
                      <a:pt x="311" y="317"/>
                    </a:lnTo>
                    <a:lnTo>
                      <a:pt x="310" y="317"/>
                    </a:lnTo>
                    <a:lnTo>
                      <a:pt x="310" y="319"/>
                    </a:lnTo>
                    <a:lnTo>
                      <a:pt x="310" y="317"/>
                    </a:lnTo>
                    <a:lnTo>
                      <a:pt x="308" y="317"/>
                    </a:lnTo>
                    <a:lnTo>
                      <a:pt x="308" y="319"/>
                    </a:lnTo>
                    <a:lnTo>
                      <a:pt x="306" y="319"/>
                    </a:lnTo>
                    <a:lnTo>
                      <a:pt x="304" y="321"/>
                    </a:lnTo>
                    <a:lnTo>
                      <a:pt x="302" y="321"/>
                    </a:lnTo>
                    <a:lnTo>
                      <a:pt x="302" y="323"/>
                    </a:lnTo>
                    <a:lnTo>
                      <a:pt x="300" y="323"/>
                    </a:lnTo>
                    <a:lnTo>
                      <a:pt x="298" y="323"/>
                    </a:lnTo>
                    <a:lnTo>
                      <a:pt x="296" y="323"/>
                    </a:lnTo>
                    <a:lnTo>
                      <a:pt x="294" y="323"/>
                    </a:lnTo>
                    <a:lnTo>
                      <a:pt x="292" y="323"/>
                    </a:lnTo>
                    <a:lnTo>
                      <a:pt x="292" y="325"/>
                    </a:lnTo>
                    <a:lnTo>
                      <a:pt x="290" y="325"/>
                    </a:lnTo>
                    <a:lnTo>
                      <a:pt x="290" y="327"/>
                    </a:lnTo>
                    <a:lnTo>
                      <a:pt x="288" y="325"/>
                    </a:lnTo>
                    <a:lnTo>
                      <a:pt x="290" y="325"/>
                    </a:lnTo>
                    <a:lnTo>
                      <a:pt x="288" y="325"/>
                    </a:lnTo>
                    <a:lnTo>
                      <a:pt x="290" y="325"/>
                    </a:lnTo>
                    <a:lnTo>
                      <a:pt x="288" y="325"/>
                    </a:lnTo>
                    <a:lnTo>
                      <a:pt x="290" y="325"/>
                    </a:lnTo>
                    <a:lnTo>
                      <a:pt x="288" y="325"/>
                    </a:lnTo>
                    <a:lnTo>
                      <a:pt x="290" y="325"/>
                    </a:lnTo>
                    <a:lnTo>
                      <a:pt x="288" y="325"/>
                    </a:lnTo>
                    <a:lnTo>
                      <a:pt x="290" y="327"/>
                    </a:lnTo>
                    <a:lnTo>
                      <a:pt x="290" y="325"/>
                    </a:lnTo>
                    <a:lnTo>
                      <a:pt x="292" y="325"/>
                    </a:lnTo>
                    <a:lnTo>
                      <a:pt x="294" y="325"/>
                    </a:lnTo>
                    <a:lnTo>
                      <a:pt x="292" y="325"/>
                    </a:lnTo>
                    <a:lnTo>
                      <a:pt x="294" y="325"/>
                    </a:lnTo>
                    <a:lnTo>
                      <a:pt x="294" y="327"/>
                    </a:lnTo>
                    <a:lnTo>
                      <a:pt x="296" y="327"/>
                    </a:lnTo>
                    <a:lnTo>
                      <a:pt x="298" y="327"/>
                    </a:lnTo>
                    <a:lnTo>
                      <a:pt x="300" y="329"/>
                    </a:lnTo>
                    <a:lnTo>
                      <a:pt x="300" y="331"/>
                    </a:lnTo>
                    <a:lnTo>
                      <a:pt x="298" y="331"/>
                    </a:lnTo>
                    <a:lnTo>
                      <a:pt x="298" y="333"/>
                    </a:lnTo>
                    <a:lnTo>
                      <a:pt x="300" y="333"/>
                    </a:lnTo>
                    <a:lnTo>
                      <a:pt x="302" y="333"/>
                    </a:lnTo>
                    <a:lnTo>
                      <a:pt x="300" y="333"/>
                    </a:lnTo>
                    <a:lnTo>
                      <a:pt x="300" y="335"/>
                    </a:lnTo>
                    <a:lnTo>
                      <a:pt x="298" y="335"/>
                    </a:lnTo>
                    <a:lnTo>
                      <a:pt x="300" y="335"/>
                    </a:lnTo>
                    <a:lnTo>
                      <a:pt x="298" y="335"/>
                    </a:lnTo>
                    <a:lnTo>
                      <a:pt x="298" y="337"/>
                    </a:lnTo>
                    <a:lnTo>
                      <a:pt x="296" y="337"/>
                    </a:lnTo>
                    <a:lnTo>
                      <a:pt x="298" y="337"/>
                    </a:lnTo>
                    <a:lnTo>
                      <a:pt x="296" y="337"/>
                    </a:lnTo>
                    <a:lnTo>
                      <a:pt x="296" y="339"/>
                    </a:lnTo>
                    <a:lnTo>
                      <a:pt x="294" y="339"/>
                    </a:lnTo>
                    <a:lnTo>
                      <a:pt x="296" y="339"/>
                    </a:lnTo>
                    <a:lnTo>
                      <a:pt x="298" y="339"/>
                    </a:lnTo>
                    <a:lnTo>
                      <a:pt x="296" y="339"/>
                    </a:lnTo>
                    <a:lnTo>
                      <a:pt x="298" y="339"/>
                    </a:lnTo>
                    <a:lnTo>
                      <a:pt x="300" y="339"/>
                    </a:lnTo>
                    <a:lnTo>
                      <a:pt x="302" y="339"/>
                    </a:lnTo>
                    <a:lnTo>
                      <a:pt x="302" y="340"/>
                    </a:lnTo>
                    <a:lnTo>
                      <a:pt x="302" y="342"/>
                    </a:lnTo>
                    <a:lnTo>
                      <a:pt x="300" y="342"/>
                    </a:lnTo>
                    <a:lnTo>
                      <a:pt x="298" y="342"/>
                    </a:lnTo>
                    <a:lnTo>
                      <a:pt x="298" y="344"/>
                    </a:lnTo>
                    <a:lnTo>
                      <a:pt x="300" y="344"/>
                    </a:lnTo>
                    <a:lnTo>
                      <a:pt x="300" y="346"/>
                    </a:lnTo>
                    <a:lnTo>
                      <a:pt x="298" y="346"/>
                    </a:lnTo>
                    <a:lnTo>
                      <a:pt x="300" y="346"/>
                    </a:lnTo>
                    <a:lnTo>
                      <a:pt x="300" y="348"/>
                    </a:lnTo>
                    <a:lnTo>
                      <a:pt x="298" y="348"/>
                    </a:lnTo>
                    <a:lnTo>
                      <a:pt x="296" y="350"/>
                    </a:lnTo>
                    <a:lnTo>
                      <a:pt x="294" y="350"/>
                    </a:lnTo>
                    <a:lnTo>
                      <a:pt x="296" y="352"/>
                    </a:lnTo>
                    <a:lnTo>
                      <a:pt x="294" y="352"/>
                    </a:lnTo>
                    <a:lnTo>
                      <a:pt x="292" y="352"/>
                    </a:lnTo>
                    <a:lnTo>
                      <a:pt x="290" y="352"/>
                    </a:lnTo>
                    <a:lnTo>
                      <a:pt x="288" y="352"/>
                    </a:lnTo>
                    <a:lnTo>
                      <a:pt x="287" y="352"/>
                    </a:lnTo>
                    <a:lnTo>
                      <a:pt x="285" y="352"/>
                    </a:lnTo>
                    <a:lnTo>
                      <a:pt x="287" y="352"/>
                    </a:lnTo>
                    <a:lnTo>
                      <a:pt x="285" y="354"/>
                    </a:lnTo>
                    <a:lnTo>
                      <a:pt x="283" y="354"/>
                    </a:lnTo>
                    <a:lnTo>
                      <a:pt x="281" y="354"/>
                    </a:lnTo>
                    <a:lnTo>
                      <a:pt x="279" y="356"/>
                    </a:lnTo>
                    <a:lnTo>
                      <a:pt x="277" y="356"/>
                    </a:lnTo>
                    <a:lnTo>
                      <a:pt x="275" y="356"/>
                    </a:lnTo>
                    <a:lnTo>
                      <a:pt x="273" y="356"/>
                    </a:lnTo>
                    <a:lnTo>
                      <a:pt x="271" y="356"/>
                    </a:lnTo>
                    <a:lnTo>
                      <a:pt x="269" y="356"/>
                    </a:lnTo>
                    <a:lnTo>
                      <a:pt x="269" y="354"/>
                    </a:lnTo>
                    <a:lnTo>
                      <a:pt x="267" y="354"/>
                    </a:lnTo>
                    <a:lnTo>
                      <a:pt x="265" y="354"/>
                    </a:lnTo>
                    <a:lnTo>
                      <a:pt x="263" y="354"/>
                    </a:lnTo>
                    <a:lnTo>
                      <a:pt x="263" y="352"/>
                    </a:lnTo>
                    <a:lnTo>
                      <a:pt x="265" y="352"/>
                    </a:lnTo>
                    <a:lnTo>
                      <a:pt x="265" y="350"/>
                    </a:lnTo>
                    <a:lnTo>
                      <a:pt x="265" y="352"/>
                    </a:lnTo>
                    <a:lnTo>
                      <a:pt x="263" y="352"/>
                    </a:lnTo>
                    <a:lnTo>
                      <a:pt x="262" y="352"/>
                    </a:lnTo>
                    <a:lnTo>
                      <a:pt x="262" y="354"/>
                    </a:lnTo>
                    <a:lnTo>
                      <a:pt x="260" y="354"/>
                    </a:lnTo>
                    <a:lnTo>
                      <a:pt x="258" y="352"/>
                    </a:lnTo>
                    <a:lnTo>
                      <a:pt x="256" y="352"/>
                    </a:lnTo>
                    <a:lnTo>
                      <a:pt x="258" y="352"/>
                    </a:lnTo>
                    <a:lnTo>
                      <a:pt x="256" y="354"/>
                    </a:lnTo>
                    <a:lnTo>
                      <a:pt x="256" y="352"/>
                    </a:lnTo>
                    <a:lnTo>
                      <a:pt x="256" y="354"/>
                    </a:lnTo>
                    <a:lnTo>
                      <a:pt x="256" y="352"/>
                    </a:lnTo>
                    <a:lnTo>
                      <a:pt x="254" y="354"/>
                    </a:lnTo>
                    <a:lnTo>
                      <a:pt x="252" y="354"/>
                    </a:lnTo>
                    <a:lnTo>
                      <a:pt x="250" y="354"/>
                    </a:lnTo>
                    <a:lnTo>
                      <a:pt x="248" y="354"/>
                    </a:lnTo>
                    <a:lnTo>
                      <a:pt x="246" y="354"/>
                    </a:lnTo>
                    <a:lnTo>
                      <a:pt x="244" y="354"/>
                    </a:lnTo>
                    <a:lnTo>
                      <a:pt x="242" y="354"/>
                    </a:lnTo>
                    <a:lnTo>
                      <a:pt x="240" y="354"/>
                    </a:lnTo>
                    <a:lnTo>
                      <a:pt x="238" y="354"/>
                    </a:lnTo>
                    <a:lnTo>
                      <a:pt x="237" y="354"/>
                    </a:lnTo>
                    <a:lnTo>
                      <a:pt x="237" y="356"/>
                    </a:lnTo>
                    <a:lnTo>
                      <a:pt x="235" y="356"/>
                    </a:lnTo>
                    <a:lnTo>
                      <a:pt x="235" y="358"/>
                    </a:lnTo>
                    <a:lnTo>
                      <a:pt x="233" y="360"/>
                    </a:lnTo>
                    <a:lnTo>
                      <a:pt x="231" y="360"/>
                    </a:lnTo>
                    <a:lnTo>
                      <a:pt x="235" y="358"/>
                    </a:lnTo>
                    <a:lnTo>
                      <a:pt x="231" y="358"/>
                    </a:lnTo>
                    <a:lnTo>
                      <a:pt x="231" y="360"/>
                    </a:lnTo>
                    <a:lnTo>
                      <a:pt x="229" y="360"/>
                    </a:lnTo>
                    <a:lnTo>
                      <a:pt x="227" y="360"/>
                    </a:lnTo>
                    <a:lnTo>
                      <a:pt x="225" y="360"/>
                    </a:lnTo>
                    <a:lnTo>
                      <a:pt x="223" y="360"/>
                    </a:lnTo>
                    <a:lnTo>
                      <a:pt x="223" y="362"/>
                    </a:lnTo>
                    <a:lnTo>
                      <a:pt x="221" y="362"/>
                    </a:lnTo>
                    <a:lnTo>
                      <a:pt x="219" y="362"/>
                    </a:lnTo>
                    <a:lnTo>
                      <a:pt x="217" y="362"/>
                    </a:lnTo>
                    <a:lnTo>
                      <a:pt x="215" y="362"/>
                    </a:lnTo>
                    <a:lnTo>
                      <a:pt x="215" y="360"/>
                    </a:lnTo>
                    <a:lnTo>
                      <a:pt x="214" y="362"/>
                    </a:lnTo>
                    <a:lnTo>
                      <a:pt x="215" y="362"/>
                    </a:lnTo>
                    <a:lnTo>
                      <a:pt x="214" y="362"/>
                    </a:lnTo>
                    <a:lnTo>
                      <a:pt x="212" y="364"/>
                    </a:lnTo>
                    <a:lnTo>
                      <a:pt x="210" y="364"/>
                    </a:lnTo>
                    <a:lnTo>
                      <a:pt x="208" y="365"/>
                    </a:lnTo>
                    <a:lnTo>
                      <a:pt x="206" y="365"/>
                    </a:lnTo>
                    <a:lnTo>
                      <a:pt x="204" y="365"/>
                    </a:lnTo>
                    <a:lnTo>
                      <a:pt x="202" y="365"/>
                    </a:lnTo>
                    <a:lnTo>
                      <a:pt x="202" y="364"/>
                    </a:lnTo>
                    <a:lnTo>
                      <a:pt x="202" y="362"/>
                    </a:lnTo>
                    <a:lnTo>
                      <a:pt x="202" y="364"/>
                    </a:lnTo>
                    <a:lnTo>
                      <a:pt x="202" y="362"/>
                    </a:lnTo>
                    <a:lnTo>
                      <a:pt x="202" y="360"/>
                    </a:lnTo>
                    <a:lnTo>
                      <a:pt x="200" y="358"/>
                    </a:lnTo>
                    <a:lnTo>
                      <a:pt x="202" y="358"/>
                    </a:lnTo>
                    <a:lnTo>
                      <a:pt x="204" y="358"/>
                    </a:lnTo>
                    <a:lnTo>
                      <a:pt x="202" y="358"/>
                    </a:lnTo>
                    <a:lnTo>
                      <a:pt x="200" y="358"/>
                    </a:lnTo>
                    <a:lnTo>
                      <a:pt x="200" y="356"/>
                    </a:lnTo>
                    <a:lnTo>
                      <a:pt x="202" y="356"/>
                    </a:lnTo>
                    <a:lnTo>
                      <a:pt x="202" y="358"/>
                    </a:lnTo>
                    <a:lnTo>
                      <a:pt x="202" y="356"/>
                    </a:lnTo>
                    <a:lnTo>
                      <a:pt x="200" y="356"/>
                    </a:lnTo>
                    <a:lnTo>
                      <a:pt x="200" y="354"/>
                    </a:lnTo>
                    <a:lnTo>
                      <a:pt x="198" y="352"/>
                    </a:lnTo>
                    <a:lnTo>
                      <a:pt x="196" y="352"/>
                    </a:lnTo>
                    <a:lnTo>
                      <a:pt x="194" y="350"/>
                    </a:lnTo>
                    <a:lnTo>
                      <a:pt x="194" y="348"/>
                    </a:lnTo>
                    <a:lnTo>
                      <a:pt x="194" y="346"/>
                    </a:lnTo>
                    <a:lnTo>
                      <a:pt x="192" y="346"/>
                    </a:lnTo>
                    <a:lnTo>
                      <a:pt x="190" y="346"/>
                    </a:lnTo>
                    <a:lnTo>
                      <a:pt x="189" y="344"/>
                    </a:lnTo>
                    <a:lnTo>
                      <a:pt x="187" y="344"/>
                    </a:lnTo>
                    <a:lnTo>
                      <a:pt x="185" y="342"/>
                    </a:lnTo>
                    <a:lnTo>
                      <a:pt x="183" y="340"/>
                    </a:lnTo>
                    <a:lnTo>
                      <a:pt x="183" y="339"/>
                    </a:lnTo>
                    <a:lnTo>
                      <a:pt x="185" y="339"/>
                    </a:lnTo>
                    <a:lnTo>
                      <a:pt x="185" y="337"/>
                    </a:lnTo>
                    <a:lnTo>
                      <a:pt x="183" y="337"/>
                    </a:lnTo>
                    <a:lnTo>
                      <a:pt x="183" y="335"/>
                    </a:lnTo>
                    <a:lnTo>
                      <a:pt x="185" y="335"/>
                    </a:lnTo>
                    <a:lnTo>
                      <a:pt x="187" y="333"/>
                    </a:lnTo>
                    <a:lnTo>
                      <a:pt x="189" y="333"/>
                    </a:lnTo>
                    <a:lnTo>
                      <a:pt x="190" y="333"/>
                    </a:lnTo>
                    <a:lnTo>
                      <a:pt x="190" y="331"/>
                    </a:lnTo>
                    <a:lnTo>
                      <a:pt x="190" y="333"/>
                    </a:lnTo>
                    <a:lnTo>
                      <a:pt x="190" y="331"/>
                    </a:lnTo>
                    <a:lnTo>
                      <a:pt x="190" y="333"/>
                    </a:lnTo>
                    <a:lnTo>
                      <a:pt x="192" y="333"/>
                    </a:lnTo>
                    <a:lnTo>
                      <a:pt x="190" y="333"/>
                    </a:lnTo>
                    <a:lnTo>
                      <a:pt x="192" y="333"/>
                    </a:lnTo>
                    <a:lnTo>
                      <a:pt x="190" y="333"/>
                    </a:lnTo>
                    <a:lnTo>
                      <a:pt x="190" y="331"/>
                    </a:lnTo>
                    <a:lnTo>
                      <a:pt x="192" y="331"/>
                    </a:lnTo>
                    <a:lnTo>
                      <a:pt x="194" y="331"/>
                    </a:lnTo>
                    <a:lnTo>
                      <a:pt x="196" y="331"/>
                    </a:lnTo>
                    <a:lnTo>
                      <a:pt x="198" y="331"/>
                    </a:lnTo>
                    <a:lnTo>
                      <a:pt x="200" y="331"/>
                    </a:lnTo>
                    <a:lnTo>
                      <a:pt x="202" y="331"/>
                    </a:lnTo>
                    <a:lnTo>
                      <a:pt x="204" y="331"/>
                    </a:lnTo>
                    <a:lnTo>
                      <a:pt x="206" y="331"/>
                    </a:lnTo>
                    <a:lnTo>
                      <a:pt x="206" y="329"/>
                    </a:lnTo>
                    <a:lnTo>
                      <a:pt x="208" y="329"/>
                    </a:lnTo>
                    <a:lnTo>
                      <a:pt x="210" y="329"/>
                    </a:lnTo>
                    <a:lnTo>
                      <a:pt x="208" y="331"/>
                    </a:lnTo>
                    <a:lnTo>
                      <a:pt x="210" y="331"/>
                    </a:lnTo>
                    <a:lnTo>
                      <a:pt x="208" y="331"/>
                    </a:lnTo>
                    <a:lnTo>
                      <a:pt x="210" y="329"/>
                    </a:lnTo>
                    <a:lnTo>
                      <a:pt x="212" y="329"/>
                    </a:lnTo>
                    <a:lnTo>
                      <a:pt x="214" y="329"/>
                    </a:lnTo>
                    <a:lnTo>
                      <a:pt x="214" y="327"/>
                    </a:lnTo>
                    <a:lnTo>
                      <a:pt x="215" y="327"/>
                    </a:lnTo>
                    <a:lnTo>
                      <a:pt x="215" y="329"/>
                    </a:lnTo>
                    <a:lnTo>
                      <a:pt x="215" y="327"/>
                    </a:lnTo>
                    <a:lnTo>
                      <a:pt x="214" y="327"/>
                    </a:lnTo>
                    <a:lnTo>
                      <a:pt x="215" y="327"/>
                    </a:lnTo>
                    <a:lnTo>
                      <a:pt x="215" y="325"/>
                    </a:lnTo>
                    <a:lnTo>
                      <a:pt x="217" y="325"/>
                    </a:lnTo>
                    <a:lnTo>
                      <a:pt x="219" y="325"/>
                    </a:lnTo>
                    <a:lnTo>
                      <a:pt x="219" y="323"/>
                    </a:lnTo>
                    <a:lnTo>
                      <a:pt x="221" y="323"/>
                    </a:lnTo>
                    <a:lnTo>
                      <a:pt x="221" y="325"/>
                    </a:lnTo>
                    <a:lnTo>
                      <a:pt x="221" y="323"/>
                    </a:lnTo>
                    <a:lnTo>
                      <a:pt x="223" y="323"/>
                    </a:lnTo>
                    <a:lnTo>
                      <a:pt x="225" y="323"/>
                    </a:lnTo>
                    <a:lnTo>
                      <a:pt x="225" y="325"/>
                    </a:lnTo>
                    <a:lnTo>
                      <a:pt x="225" y="327"/>
                    </a:lnTo>
                    <a:lnTo>
                      <a:pt x="223" y="327"/>
                    </a:lnTo>
                    <a:lnTo>
                      <a:pt x="225" y="327"/>
                    </a:lnTo>
                    <a:lnTo>
                      <a:pt x="227" y="329"/>
                    </a:lnTo>
                    <a:lnTo>
                      <a:pt x="227" y="331"/>
                    </a:lnTo>
                    <a:lnTo>
                      <a:pt x="227" y="333"/>
                    </a:lnTo>
                    <a:lnTo>
                      <a:pt x="229" y="333"/>
                    </a:lnTo>
                    <a:lnTo>
                      <a:pt x="229" y="331"/>
                    </a:lnTo>
                    <a:lnTo>
                      <a:pt x="229" y="333"/>
                    </a:lnTo>
                    <a:lnTo>
                      <a:pt x="231" y="333"/>
                    </a:lnTo>
                    <a:lnTo>
                      <a:pt x="229" y="333"/>
                    </a:lnTo>
                    <a:lnTo>
                      <a:pt x="229" y="331"/>
                    </a:lnTo>
                    <a:lnTo>
                      <a:pt x="229" y="333"/>
                    </a:lnTo>
                    <a:lnTo>
                      <a:pt x="227" y="333"/>
                    </a:lnTo>
                    <a:lnTo>
                      <a:pt x="229" y="331"/>
                    </a:lnTo>
                    <a:lnTo>
                      <a:pt x="227" y="331"/>
                    </a:lnTo>
                    <a:lnTo>
                      <a:pt x="227" y="329"/>
                    </a:lnTo>
                    <a:lnTo>
                      <a:pt x="225" y="327"/>
                    </a:lnTo>
                    <a:lnTo>
                      <a:pt x="225" y="325"/>
                    </a:lnTo>
                    <a:lnTo>
                      <a:pt x="225" y="323"/>
                    </a:lnTo>
                    <a:lnTo>
                      <a:pt x="225" y="321"/>
                    </a:lnTo>
                    <a:lnTo>
                      <a:pt x="227" y="321"/>
                    </a:lnTo>
                    <a:lnTo>
                      <a:pt x="227" y="319"/>
                    </a:lnTo>
                    <a:lnTo>
                      <a:pt x="225" y="317"/>
                    </a:lnTo>
                    <a:lnTo>
                      <a:pt x="225" y="315"/>
                    </a:lnTo>
                    <a:lnTo>
                      <a:pt x="225" y="314"/>
                    </a:lnTo>
                    <a:lnTo>
                      <a:pt x="223" y="314"/>
                    </a:lnTo>
                    <a:lnTo>
                      <a:pt x="223" y="312"/>
                    </a:lnTo>
                    <a:lnTo>
                      <a:pt x="225" y="312"/>
                    </a:lnTo>
                    <a:lnTo>
                      <a:pt x="227" y="312"/>
                    </a:lnTo>
                    <a:lnTo>
                      <a:pt x="227" y="314"/>
                    </a:lnTo>
                    <a:lnTo>
                      <a:pt x="227" y="312"/>
                    </a:lnTo>
                    <a:lnTo>
                      <a:pt x="225" y="312"/>
                    </a:lnTo>
                    <a:lnTo>
                      <a:pt x="223" y="312"/>
                    </a:lnTo>
                    <a:lnTo>
                      <a:pt x="223" y="310"/>
                    </a:lnTo>
                    <a:lnTo>
                      <a:pt x="223" y="312"/>
                    </a:lnTo>
                    <a:lnTo>
                      <a:pt x="221" y="312"/>
                    </a:lnTo>
                    <a:lnTo>
                      <a:pt x="221" y="310"/>
                    </a:lnTo>
                    <a:lnTo>
                      <a:pt x="219" y="310"/>
                    </a:lnTo>
                    <a:lnTo>
                      <a:pt x="219" y="308"/>
                    </a:lnTo>
                    <a:lnTo>
                      <a:pt x="217" y="308"/>
                    </a:lnTo>
                    <a:lnTo>
                      <a:pt x="219" y="308"/>
                    </a:lnTo>
                    <a:lnTo>
                      <a:pt x="221" y="308"/>
                    </a:lnTo>
                    <a:lnTo>
                      <a:pt x="223" y="308"/>
                    </a:lnTo>
                    <a:lnTo>
                      <a:pt x="223" y="310"/>
                    </a:lnTo>
                    <a:lnTo>
                      <a:pt x="223" y="308"/>
                    </a:lnTo>
                    <a:lnTo>
                      <a:pt x="221" y="308"/>
                    </a:lnTo>
                    <a:lnTo>
                      <a:pt x="223" y="308"/>
                    </a:lnTo>
                    <a:lnTo>
                      <a:pt x="225" y="308"/>
                    </a:lnTo>
                    <a:lnTo>
                      <a:pt x="225" y="306"/>
                    </a:lnTo>
                    <a:lnTo>
                      <a:pt x="225" y="308"/>
                    </a:lnTo>
                    <a:lnTo>
                      <a:pt x="225" y="306"/>
                    </a:lnTo>
                    <a:lnTo>
                      <a:pt x="225" y="308"/>
                    </a:lnTo>
                    <a:lnTo>
                      <a:pt x="223" y="308"/>
                    </a:lnTo>
                    <a:lnTo>
                      <a:pt x="221" y="308"/>
                    </a:lnTo>
                    <a:lnTo>
                      <a:pt x="219" y="308"/>
                    </a:lnTo>
                    <a:lnTo>
                      <a:pt x="217" y="308"/>
                    </a:lnTo>
                    <a:lnTo>
                      <a:pt x="217" y="306"/>
                    </a:lnTo>
                    <a:lnTo>
                      <a:pt x="219" y="306"/>
                    </a:lnTo>
                    <a:lnTo>
                      <a:pt x="221" y="306"/>
                    </a:lnTo>
                    <a:lnTo>
                      <a:pt x="221" y="304"/>
                    </a:lnTo>
                    <a:lnTo>
                      <a:pt x="223" y="304"/>
                    </a:lnTo>
                    <a:lnTo>
                      <a:pt x="221" y="304"/>
                    </a:lnTo>
                    <a:lnTo>
                      <a:pt x="223" y="304"/>
                    </a:lnTo>
                    <a:lnTo>
                      <a:pt x="223" y="302"/>
                    </a:lnTo>
                    <a:lnTo>
                      <a:pt x="221" y="302"/>
                    </a:lnTo>
                    <a:lnTo>
                      <a:pt x="223" y="302"/>
                    </a:lnTo>
                    <a:lnTo>
                      <a:pt x="223" y="304"/>
                    </a:lnTo>
                    <a:lnTo>
                      <a:pt x="221" y="304"/>
                    </a:lnTo>
                    <a:lnTo>
                      <a:pt x="221" y="306"/>
                    </a:lnTo>
                    <a:lnTo>
                      <a:pt x="219" y="306"/>
                    </a:lnTo>
                    <a:lnTo>
                      <a:pt x="217" y="306"/>
                    </a:lnTo>
                    <a:lnTo>
                      <a:pt x="215" y="306"/>
                    </a:lnTo>
                    <a:lnTo>
                      <a:pt x="214" y="306"/>
                    </a:lnTo>
                    <a:lnTo>
                      <a:pt x="212" y="306"/>
                    </a:lnTo>
                    <a:lnTo>
                      <a:pt x="210" y="306"/>
                    </a:lnTo>
                    <a:lnTo>
                      <a:pt x="208" y="306"/>
                    </a:lnTo>
                    <a:lnTo>
                      <a:pt x="206" y="304"/>
                    </a:lnTo>
                    <a:lnTo>
                      <a:pt x="208" y="304"/>
                    </a:lnTo>
                    <a:lnTo>
                      <a:pt x="208" y="302"/>
                    </a:lnTo>
                    <a:lnTo>
                      <a:pt x="206" y="302"/>
                    </a:lnTo>
                    <a:lnTo>
                      <a:pt x="204" y="302"/>
                    </a:lnTo>
                    <a:lnTo>
                      <a:pt x="206" y="302"/>
                    </a:lnTo>
                    <a:lnTo>
                      <a:pt x="206" y="300"/>
                    </a:lnTo>
                    <a:lnTo>
                      <a:pt x="206" y="298"/>
                    </a:lnTo>
                    <a:lnTo>
                      <a:pt x="206" y="296"/>
                    </a:lnTo>
                    <a:lnTo>
                      <a:pt x="204" y="296"/>
                    </a:lnTo>
                    <a:lnTo>
                      <a:pt x="202" y="296"/>
                    </a:lnTo>
                    <a:lnTo>
                      <a:pt x="202" y="294"/>
                    </a:lnTo>
                    <a:lnTo>
                      <a:pt x="202" y="296"/>
                    </a:lnTo>
                    <a:lnTo>
                      <a:pt x="200" y="294"/>
                    </a:lnTo>
                    <a:lnTo>
                      <a:pt x="200" y="296"/>
                    </a:lnTo>
                    <a:lnTo>
                      <a:pt x="200" y="294"/>
                    </a:lnTo>
                    <a:lnTo>
                      <a:pt x="198" y="294"/>
                    </a:lnTo>
                    <a:lnTo>
                      <a:pt x="196" y="294"/>
                    </a:lnTo>
                    <a:lnTo>
                      <a:pt x="196" y="292"/>
                    </a:lnTo>
                    <a:lnTo>
                      <a:pt x="194" y="292"/>
                    </a:lnTo>
                    <a:lnTo>
                      <a:pt x="194" y="294"/>
                    </a:lnTo>
                    <a:lnTo>
                      <a:pt x="194" y="292"/>
                    </a:lnTo>
                    <a:lnTo>
                      <a:pt x="192" y="292"/>
                    </a:lnTo>
                    <a:lnTo>
                      <a:pt x="190" y="292"/>
                    </a:lnTo>
                    <a:lnTo>
                      <a:pt x="189" y="292"/>
                    </a:lnTo>
                    <a:lnTo>
                      <a:pt x="189" y="290"/>
                    </a:lnTo>
                    <a:lnTo>
                      <a:pt x="189" y="289"/>
                    </a:lnTo>
                    <a:lnTo>
                      <a:pt x="189" y="287"/>
                    </a:lnTo>
                    <a:lnTo>
                      <a:pt x="190" y="287"/>
                    </a:lnTo>
                    <a:lnTo>
                      <a:pt x="192" y="287"/>
                    </a:lnTo>
                    <a:lnTo>
                      <a:pt x="192" y="289"/>
                    </a:lnTo>
                    <a:lnTo>
                      <a:pt x="194" y="289"/>
                    </a:lnTo>
                    <a:lnTo>
                      <a:pt x="194" y="287"/>
                    </a:lnTo>
                    <a:lnTo>
                      <a:pt x="194" y="289"/>
                    </a:lnTo>
                    <a:lnTo>
                      <a:pt x="196" y="289"/>
                    </a:lnTo>
                    <a:lnTo>
                      <a:pt x="196" y="290"/>
                    </a:lnTo>
                    <a:lnTo>
                      <a:pt x="198" y="290"/>
                    </a:lnTo>
                    <a:lnTo>
                      <a:pt x="198" y="289"/>
                    </a:lnTo>
                    <a:lnTo>
                      <a:pt x="196" y="289"/>
                    </a:lnTo>
                    <a:lnTo>
                      <a:pt x="196" y="287"/>
                    </a:lnTo>
                    <a:lnTo>
                      <a:pt x="194" y="287"/>
                    </a:lnTo>
                    <a:lnTo>
                      <a:pt x="192" y="287"/>
                    </a:lnTo>
                    <a:lnTo>
                      <a:pt x="192" y="285"/>
                    </a:lnTo>
                    <a:lnTo>
                      <a:pt x="194" y="285"/>
                    </a:lnTo>
                    <a:lnTo>
                      <a:pt x="196" y="285"/>
                    </a:lnTo>
                    <a:lnTo>
                      <a:pt x="196" y="287"/>
                    </a:lnTo>
                    <a:lnTo>
                      <a:pt x="198" y="287"/>
                    </a:lnTo>
                    <a:lnTo>
                      <a:pt x="198" y="285"/>
                    </a:lnTo>
                    <a:lnTo>
                      <a:pt x="196" y="285"/>
                    </a:lnTo>
                    <a:lnTo>
                      <a:pt x="198" y="285"/>
                    </a:lnTo>
                    <a:lnTo>
                      <a:pt x="196" y="285"/>
                    </a:lnTo>
                    <a:lnTo>
                      <a:pt x="198" y="285"/>
                    </a:lnTo>
                    <a:lnTo>
                      <a:pt x="200" y="285"/>
                    </a:lnTo>
                    <a:lnTo>
                      <a:pt x="198" y="285"/>
                    </a:lnTo>
                    <a:lnTo>
                      <a:pt x="200" y="285"/>
                    </a:lnTo>
                    <a:lnTo>
                      <a:pt x="200" y="283"/>
                    </a:lnTo>
                    <a:lnTo>
                      <a:pt x="200" y="285"/>
                    </a:lnTo>
                    <a:lnTo>
                      <a:pt x="202" y="285"/>
                    </a:lnTo>
                    <a:lnTo>
                      <a:pt x="204" y="285"/>
                    </a:lnTo>
                    <a:lnTo>
                      <a:pt x="204" y="287"/>
                    </a:lnTo>
                    <a:lnTo>
                      <a:pt x="206" y="287"/>
                    </a:lnTo>
                    <a:lnTo>
                      <a:pt x="204" y="287"/>
                    </a:lnTo>
                    <a:lnTo>
                      <a:pt x="206" y="287"/>
                    </a:lnTo>
                    <a:lnTo>
                      <a:pt x="204" y="287"/>
                    </a:lnTo>
                    <a:lnTo>
                      <a:pt x="204" y="289"/>
                    </a:lnTo>
                    <a:lnTo>
                      <a:pt x="206" y="289"/>
                    </a:lnTo>
                    <a:lnTo>
                      <a:pt x="206" y="287"/>
                    </a:lnTo>
                    <a:lnTo>
                      <a:pt x="206" y="289"/>
                    </a:lnTo>
                    <a:lnTo>
                      <a:pt x="208" y="289"/>
                    </a:lnTo>
                    <a:lnTo>
                      <a:pt x="210" y="289"/>
                    </a:lnTo>
                    <a:lnTo>
                      <a:pt x="212" y="289"/>
                    </a:lnTo>
                    <a:lnTo>
                      <a:pt x="212" y="290"/>
                    </a:lnTo>
                    <a:lnTo>
                      <a:pt x="210" y="290"/>
                    </a:lnTo>
                    <a:lnTo>
                      <a:pt x="208" y="290"/>
                    </a:lnTo>
                    <a:lnTo>
                      <a:pt x="208" y="292"/>
                    </a:lnTo>
                    <a:lnTo>
                      <a:pt x="206" y="292"/>
                    </a:lnTo>
                    <a:lnTo>
                      <a:pt x="204" y="292"/>
                    </a:lnTo>
                    <a:lnTo>
                      <a:pt x="206" y="292"/>
                    </a:lnTo>
                    <a:lnTo>
                      <a:pt x="208" y="292"/>
                    </a:lnTo>
                    <a:lnTo>
                      <a:pt x="210" y="292"/>
                    </a:lnTo>
                    <a:lnTo>
                      <a:pt x="210" y="290"/>
                    </a:lnTo>
                    <a:lnTo>
                      <a:pt x="210" y="292"/>
                    </a:lnTo>
                    <a:lnTo>
                      <a:pt x="210" y="290"/>
                    </a:lnTo>
                    <a:lnTo>
                      <a:pt x="212" y="290"/>
                    </a:lnTo>
                    <a:lnTo>
                      <a:pt x="210" y="290"/>
                    </a:lnTo>
                    <a:lnTo>
                      <a:pt x="212" y="290"/>
                    </a:lnTo>
                    <a:lnTo>
                      <a:pt x="212" y="292"/>
                    </a:lnTo>
                    <a:lnTo>
                      <a:pt x="212" y="294"/>
                    </a:lnTo>
                    <a:lnTo>
                      <a:pt x="210" y="294"/>
                    </a:lnTo>
                    <a:lnTo>
                      <a:pt x="212" y="294"/>
                    </a:lnTo>
                    <a:lnTo>
                      <a:pt x="214" y="294"/>
                    </a:lnTo>
                    <a:lnTo>
                      <a:pt x="214" y="292"/>
                    </a:lnTo>
                    <a:lnTo>
                      <a:pt x="212" y="292"/>
                    </a:lnTo>
                    <a:lnTo>
                      <a:pt x="214" y="290"/>
                    </a:lnTo>
                    <a:lnTo>
                      <a:pt x="212" y="290"/>
                    </a:lnTo>
                    <a:lnTo>
                      <a:pt x="212" y="289"/>
                    </a:lnTo>
                    <a:lnTo>
                      <a:pt x="214" y="289"/>
                    </a:lnTo>
                    <a:lnTo>
                      <a:pt x="214" y="290"/>
                    </a:lnTo>
                    <a:lnTo>
                      <a:pt x="215" y="290"/>
                    </a:lnTo>
                    <a:lnTo>
                      <a:pt x="217" y="290"/>
                    </a:lnTo>
                    <a:lnTo>
                      <a:pt x="217" y="292"/>
                    </a:lnTo>
                    <a:lnTo>
                      <a:pt x="217" y="290"/>
                    </a:lnTo>
                    <a:lnTo>
                      <a:pt x="219" y="290"/>
                    </a:lnTo>
                    <a:lnTo>
                      <a:pt x="217" y="289"/>
                    </a:lnTo>
                    <a:lnTo>
                      <a:pt x="219" y="289"/>
                    </a:lnTo>
                    <a:lnTo>
                      <a:pt x="217" y="289"/>
                    </a:lnTo>
                    <a:lnTo>
                      <a:pt x="217" y="287"/>
                    </a:lnTo>
                    <a:lnTo>
                      <a:pt x="219" y="287"/>
                    </a:lnTo>
                    <a:lnTo>
                      <a:pt x="221" y="287"/>
                    </a:lnTo>
                    <a:lnTo>
                      <a:pt x="223" y="287"/>
                    </a:lnTo>
                    <a:lnTo>
                      <a:pt x="225" y="287"/>
                    </a:lnTo>
                    <a:lnTo>
                      <a:pt x="223" y="287"/>
                    </a:lnTo>
                    <a:lnTo>
                      <a:pt x="221" y="287"/>
                    </a:lnTo>
                    <a:lnTo>
                      <a:pt x="219" y="287"/>
                    </a:lnTo>
                    <a:lnTo>
                      <a:pt x="217" y="287"/>
                    </a:lnTo>
                    <a:lnTo>
                      <a:pt x="217" y="289"/>
                    </a:lnTo>
                    <a:lnTo>
                      <a:pt x="217" y="290"/>
                    </a:lnTo>
                    <a:lnTo>
                      <a:pt x="219" y="290"/>
                    </a:lnTo>
                    <a:lnTo>
                      <a:pt x="217" y="290"/>
                    </a:lnTo>
                    <a:lnTo>
                      <a:pt x="215" y="290"/>
                    </a:lnTo>
                    <a:lnTo>
                      <a:pt x="214" y="289"/>
                    </a:lnTo>
                    <a:lnTo>
                      <a:pt x="212" y="289"/>
                    </a:lnTo>
                    <a:lnTo>
                      <a:pt x="214" y="289"/>
                    </a:lnTo>
                    <a:lnTo>
                      <a:pt x="214" y="287"/>
                    </a:lnTo>
                    <a:lnTo>
                      <a:pt x="215" y="285"/>
                    </a:lnTo>
                    <a:lnTo>
                      <a:pt x="214" y="285"/>
                    </a:lnTo>
                    <a:lnTo>
                      <a:pt x="214" y="287"/>
                    </a:lnTo>
                    <a:lnTo>
                      <a:pt x="212" y="287"/>
                    </a:lnTo>
                    <a:lnTo>
                      <a:pt x="210" y="287"/>
                    </a:lnTo>
                    <a:lnTo>
                      <a:pt x="208" y="287"/>
                    </a:lnTo>
                    <a:lnTo>
                      <a:pt x="206" y="287"/>
                    </a:lnTo>
                    <a:lnTo>
                      <a:pt x="208" y="287"/>
                    </a:lnTo>
                    <a:lnTo>
                      <a:pt x="208" y="285"/>
                    </a:lnTo>
                    <a:lnTo>
                      <a:pt x="206" y="285"/>
                    </a:lnTo>
                    <a:lnTo>
                      <a:pt x="206" y="283"/>
                    </a:lnTo>
                    <a:lnTo>
                      <a:pt x="206" y="285"/>
                    </a:lnTo>
                    <a:lnTo>
                      <a:pt x="206" y="283"/>
                    </a:lnTo>
                    <a:lnTo>
                      <a:pt x="204" y="283"/>
                    </a:lnTo>
                    <a:lnTo>
                      <a:pt x="206" y="283"/>
                    </a:lnTo>
                    <a:lnTo>
                      <a:pt x="204" y="283"/>
                    </a:lnTo>
                    <a:lnTo>
                      <a:pt x="204" y="281"/>
                    </a:lnTo>
                    <a:lnTo>
                      <a:pt x="206" y="281"/>
                    </a:lnTo>
                    <a:lnTo>
                      <a:pt x="208" y="281"/>
                    </a:lnTo>
                    <a:lnTo>
                      <a:pt x="206" y="281"/>
                    </a:lnTo>
                    <a:lnTo>
                      <a:pt x="206" y="279"/>
                    </a:lnTo>
                    <a:lnTo>
                      <a:pt x="206" y="281"/>
                    </a:lnTo>
                    <a:lnTo>
                      <a:pt x="204" y="279"/>
                    </a:lnTo>
                    <a:lnTo>
                      <a:pt x="204" y="281"/>
                    </a:lnTo>
                    <a:lnTo>
                      <a:pt x="204" y="279"/>
                    </a:lnTo>
                    <a:lnTo>
                      <a:pt x="204" y="281"/>
                    </a:lnTo>
                    <a:lnTo>
                      <a:pt x="202" y="281"/>
                    </a:lnTo>
                    <a:lnTo>
                      <a:pt x="202" y="279"/>
                    </a:lnTo>
                    <a:lnTo>
                      <a:pt x="200" y="279"/>
                    </a:lnTo>
                    <a:lnTo>
                      <a:pt x="198" y="277"/>
                    </a:lnTo>
                    <a:lnTo>
                      <a:pt x="200" y="277"/>
                    </a:lnTo>
                    <a:lnTo>
                      <a:pt x="198" y="277"/>
                    </a:lnTo>
                    <a:lnTo>
                      <a:pt x="196" y="277"/>
                    </a:lnTo>
                    <a:lnTo>
                      <a:pt x="196" y="275"/>
                    </a:lnTo>
                    <a:lnTo>
                      <a:pt x="194" y="275"/>
                    </a:lnTo>
                    <a:lnTo>
                      <a:pt x="192" y="275"/>
                    </a:lnTo>
                    <a:lnTo>
                      <a:pt x="190" y="275"/>
                    </a:lnTo>
                    <a:lnTo>
                      <a:pt x="189" y="275"/>
                    </a:lnTo>
                    <a:lnTo>
                      <a:pt x="190" y="275"/>
                    </a:lnTo>
                    <a:lnTo>
                      <a:pt x="189" y="275"/>
                    </a:lnTo>
                    <a:lnTo>
                      <a:pt x="187" y="275"/>
                    </a:lnTo>
                    <a:lnTo>
                      <a:pt x="187" y="273"/>
                    </a:lnTo>
                    <a:lnTo>
                      <a:pt x="189" y="273"/>
                    </a:lnTo>
                    <a:lnTo>
                      <a:pt x="189" y="271"/>
                    </a:lnTo>
                    <a:lnTo>
                      <a:pt x="190" y="271"/>
                    </a:lnTo>
                    <a:lnTo>
                      <a:pt x="189" y="271"/>
                    </a:lnTo>
                    <a:lnTo>
                      <a:pt x="190" y="269"/>
                    </a:lnTo>
                    <a:lnTo>
                      <a:pt x="192" y="269"/>
                    </a:lnTo>
                    <a:lnTo>
                      <a:pt x="192" y="271"/>
                    </a:lnTo>
                    <a:lnTo>
                      <a:pt x="192" y="269"/>
                    </a:lnTo>
                    <a:lnTo>
                      <a:pt x="192" y="271"/>
                    </a:lnTo>
                    <a:lnTo>
                      <a:pt x="192" y="269"/>
                    </a:lnTo>
                    <a:lnTo>
                      <a:pt x="194" y="269"/>
                    </a:lnTo>
                    <a:lnTo>
                      <a:pt x="196" y="269"/>
                    </a:lnTo>
                    <a:lnTo>
                      <a:pt x="196" y="267"/>
                    </a:lnTo>
                    <a:lnTo>
                      <a:pt x="194" y="267"/>
                    </a:lnTo>
                    <a:lnTo>
                      <a:pt x="192" y="267"/>
                    </a:lnTo>
                    <a:lnTo>
                      <a:pt x="192" y="265"/>
                    </a:lnTo>
                    <a:lnTo>
                      <a:pt x="190" y="265"/>
                    </a:lnTo>
                    <a:lnTo>
                      <a:pt x="190" y="264"/>
                    </a:lnTo>
                    <a:lnTo>
                      <a:pt x="190" y="265"/>
                    </a:lnTo>
                    <a:lnTo>
                      <a:pt x="192" y="265"/>
                    </a:lnTo>
                    <a:lnTo>
                      <a:pt x="194" y="265"/>
                    </a:lnTo>
                    <a:lnTo>
                      <a:pt x="194" y="267"/>
                    </a:lnTo>
                    <a:lnTo>
                      <a:pt x="196" y="267"/>
                    </a:lnTo>
                    <a:lnTo>
                      <a:pt x="196" y="265"/>
                    </a:lnTo>
                    <a:lnTo>
                      <a:pt x="198" y="265"/>
                    </a:lnTo>
                    <a:lnTo>
                      <a:pt x="198" y="267"/>
                    </a:lnTo>
                    <a:lnTo>
                      <a:pt x="200" y="267"/>
                    </a:lnTo>
                    <a:lnTo>
                      <a:pt x="200" y="269"/>
                    </a:lnTo>
                    <a:lnTo>
                      <a:pt x="198" y="269"/>
                    </a:lnTo>
                    <a:lnTo>
                      <a:pt x="198" y="271"/>
                    </a:lnTo>
                    <a:lnTo>
                      <a:pt x="198" y="273"/>
                    </a:lnTo>
                    <a:lnTo>
                      <a:pt x="200" y="273"/>
                    </a:lnTo>
                    <a:lnTo>
                      <a:pt x="200" y="271"/>
                    </a:lnTo>
                    <a:lnTo>
                      <a:pt x="202" y="271"/>
                    </a:lnTo>
                    <a:lnTo>
                      <a:pt x="204" y="271"/>
                    </a:lnTo>
                    <a:lnTo>
                      <a:pt x="204" y="273"/>
                    </a:lnTo>
                    <a:lnTo>
                      <a:pt x="206" y="273"/>
                    </a:lnTo>
                    <a:lnTo>
                      <a:pt x="206" y="271"/>
                    </a:lnTo>
                    <a:lnTo>
                      <a:pt x="206" y="273"/>
                    </a:lnTo>
                    <a:lnTo>
                      <a:pt x="206" y="275"/>
                    </a:lnTo>
                    <a:lnTo>
                      <a:pt x="204" y="275"/>
                    </a:lnTo>
                    <a:lnTo>
                      <a:pt x="206" y="275"/>
                    </a:lnTo>
                    <a:lnTo>
                      <a:pt x="208" y="275"/>
                    </a:lnTo>
                    <a:lnTo>
                      <a:pt x="206" y="275"/>
                    </a:lnTo>
                    <a:lnTo>
                      <a:pt x="206" y="277"/>
                    </a:lnTo>
                    <a:lnTo>
                      <a:pt x="208" y="277"/>
                    </a:lnTo>
                    <a:lnTo>
                      <a:pt x="210" y="277"/>
                    </a:lnTo>
                    <a:lnTo>
                      <a:pt x="212" y="277"/>
                    </a:lnTo>
                    <a:lnTo>
                      <a:pt x="212" y="279"/>
                    </a:lnTo>
                    <a:lnTo>
                      <a:pt x="212" y="277"/>
                    </a:lnTo>
                    <a:lnTo>
                      <a:pt x="210" y="277"/>
                    </a:lnTo>
                    <a:lnTo>
                      <a:pt x="210" y="275"/>
                    </a:lnTo>
                    <a:lnTo>
                      <a:pt x="212" y="275"/>
                    </a:lnTo>
                    <a:lnTo>
                      <a:pt x="210" y="275"/>
                    </a:lnTo>
                    <a:lnTo>
                      <a:pt x="208" y="275"/>
                    </a:lnTo>
                    <a:lnTo>
                      <a:pt x="210" y="273"/>
                    </a:lnTo>
                    <a:lnTo>
                      <a:pt x="208" y="273"/>
                    </a:lnTo>
                    <a:lnTo>
                      <a:pt x="210" y="273"/>
                    </a:lnTo>
                    <a:lnTo>
                      <a:pt x="210" y="271"/>
                    </a:lnTo>
                    <a:lnTo>
                      <a:pt x="208" y="271"/>
                    </a:lnTo>
                    <a:lnTo>
                      <a:pt x="210" y="271"/>
                    </a:lnTo>
                    <a:lnTo>
                      <a:pt x="212" y="271"/>
                    </a:lnTo>
                    <a:lnTo>
                      <a:pt x="214" y="271"/>
                    </a:lnTo>
                    <a:lnTo>
                      <a:pt x="214" y="273"/>
                    </a:lnTo>
                    <a:lnTo>
                      <a:pt x="214" y="271"/>
                    </a:lnTo>
                    <a:lnTo>
                      <a:pt x="215" y="271"/>
                    </a:lnTo>
                    <a:lnTo>
                      <a:pt x="215" y="269"/>
                    </a:lnTo>
                    <a:lnTo>
                      <a:pt x="214" y="269"/>
                    </a:lnTo>
                    <a:lnTo>
                      <a:pt x="215" y="269"/>
                    </a:lnTo>
                    <a:lnTo>
                      <a:pt x="214" y="269"/>
                    </a:lnTo>
                    <a:lnTo>
                      <a:pt x="214" y="271"/>
                    </a:lnTo>
                    <a:lnTo>
                      <a:pt x="214" y="269"/>
                    </a:lnTo>
                    <a:lnTo>
                      <a:pt x="215" y="267"/>
                    </a:lnTo>
                    <a:lnTo>
                      <a:pt x="214" y="267"/>
                    </a:lnTo>
                    <a:lnTo>
                      <a:pt x="215" y="267"/>
                    </a:lnTo>
                    <a:lnTo>
                      <a:pt x="214" y="267"/>
                    </a:lnTo>
                    <a:lnTo>
                      <a:pt x="215" y="267"/>
                    </a:lnTo>
                    <a:lnTo>
                      <a:pt x="215" y="265"/>
                    </a:lnTo>
                    <a:lnTo>
                      <a:pt x="217" y="265"/>
                    </a:lnTo>
                    <a:lnTo>
                      <a:pt x="215" y="265"/>
                    </a:lnTo>
                    <a:lnTo>
                      <a:pt x="217" y="265"/>
                    </a:lnTo>
                    <a:lnTo>
                      <a:pt x="217" y="264"/>
                    </a:lnTo>
                    <a:lnTo>
                      <a:pt x="219" y="264"/>
                    </a:lnTo>
                    <a:lnTo>
                      <a:pt x="221" y="264"/>
                    </a:lnTo>
                    <a:lnTo>
                      <a:pt x="221" y="262"/>
                    </a:lnTo>
                    <a:lnTo>
                      <a:pt x="219" y="262"/>
                    </a:lnTo>
                    <a:lnTo>
                      <a:pt x="219" y="260"/>
                    </a:lnTo>
                    <a:lnTo>
                      <a:pt x="217" y="260"/>
                    </a:lnTo>
                    <a:lnTo>
                      <a:pt x="219" y="260"/>
                    </a:lnTo>
                    <a:lnTo>
                      <a:pt x="221" y="260"/>
                    </a:lnTo>
                    <a:lnTo>
                      <a:pt x="223" y="260"/>
                    </a:lnTo>
                    <a:lnTo>
                      <a:pt x="223" y="262"/>
                    </a:lnTo>
                    <a:lnTo>
                      <a:pt x="221" y="262"/>
                    </a:lnTo>
                    <a:lnTo>
                      <a:pt x="223" y="262"/>
                    </a:lnTo>
                    <a:lnTo>
                      <a:pt x="225" y="262"/>
                    </a:lnTo>
                    <a:lnTo>
                      <a:pt x="225" y="264"/>
                    </a:lnTo>
                    <a:lnTo>
                      <a:pt x="227" y="264"/>
                    </a:lnTo>
                    <a:lnTo>
                      <a:pt x="227" y="265"/>
                    </a:lnTo>
                    <a:lnTo>
                      <a:pt x="227" y="264"/>
                    </a:lnTo>
                    <a:lnTo>
                      <a:pt x="227" y="262"/>
                    </a:lnTo>
                    <a:lnTo>
                      <a:pt x="225" y="262"/>
                    </a:lnTo>
                    <a:lnTo>
                      <a:pt x="227" y="262"/>
                    </a:lnTo>
                    <a:lnTo>
                      <a:pt x="229" y="262"/>
                    </a:lnTo>
                    <a:lnTo>
                      <a:pt x="229" y="260"/>
                    </a:lnTo>
                    <a:lnTo>
                      <a:pt x="231" y="260"/>
                    </a:lnTo>
                    <a:lnTo>
                      <a:pt x="229" y="260"/>
                    </a:lnTo>
                    <a:lnTo>
                      <a:pt x="229" y="258"/>
                    </a:lnTo>
                    <a:lnTo>
                      <a:pt x="227" y="258"/>
                    </a:lnTo>
                    <a:lnTo>
                      <a:pt x="229" y="258"/>
                    </a:lnTo>
                    <a:lnTo>
                      <a:pt x="227" y="258"/>
                    </a:lnTo>
                    <a:lnTo>
                      <a:pt x="225" y="258"/>
                    </a:lnTo>
                    <a:lnTo>
                      <a:pt x="223" y="258"/>
                    </a:lnTo>
                    <a:lnTo>
                      <a:pt x="221" y="258"/>
                    </a:lnTo>
                    <a:lnTo>
                      <a:pt x="223" y="258"/>
                    </a:lnTo>
                    <a:lnTo>
                      <a:pt x="221" y="258"/>
                    </a:lnTo>
                    <a:lnTo>
                      <a:pt x="219" y="256"/>
                    </a:lnTo>
                    <a:lnTo>
                      <a:pt x="217" y="256"/>
                    </a:lnTo>
                    <a:lnTo>
                      <a:pt x="219" y="256"/>
                    </a:lnTo>
                    <a:lnTo>
                      <a:pt x="217" y="256"/>
                    </a:lnTo>
                    <a:lnTo>
                      <a:pt x="215" y="254"/>
                    </a:lnTo>
                    <a:lnTo>
                      <a:pt x="214" y="254"/>
                    </a:lnTo>
                    <a:lnTo>
                      <a:pt x="212" y="254"/>
                    </a:lnTo>
                    <a:lnTo>
                      <a:pt x="214" y="254"/>
                    </a:lnTo>
                    <a:lnTo>
                      <a:pt x="212" y="254"/>
                    </a:lnTo>
                    <a:lnTo>
                      <a:pt x="214" y="254"/>
                    </a:lnTo>
                    <a:lnTo>
                      <a:pt x="214" y="256"/>
                    </a:lnTo>
                    <a:lnTo>
                      <a:pt x="212" y="254"/>
                    </a:lnTo>
                    <a:lnTo>
                      <a:pt x="214" y="252"/>
                    </a:lnTo>
                    <a:lnTo>
                      <a:pt x="215" y="252"/>
                    </a:lnTo>
                    <a:lnTo>
                      <a:pt x="217" y="252"/>
                    </a:lnTo>
                    <a:lnTo>
                      <a:pt x="219" y="252"/>
                    </a:lnTo>
                    <a:lnTo>
                      <a:pt x="221" y="252"/>
                    </a:lnTo>
                    <a:lnTo>
                      <a:pt x="223" y="252"/>
                    </a:lnTo>
                    <a:lnTo>
                      <a:pt x="227" y="254"/>
                    </a:lnTo>
                    <a:lnTo>
                      <a:pt x="229" y="254"/>
                    </a:lnTo>
                    <a:lnTo>
                      <a:pt x="233" y="254"/>
                    </a:lnTo>
                    <a:lnTo>
                      <a:pt x="233" y="256"/>
                    </a:lnTo>
                    <a:lnTo>
                      <a:pt x="233" y="254"/>
                    </a:lnTo>
                    <a:lnTo>
                      <a:pt x="233" y="256"/>
                    </a:lnTo>
                    <a:lnTo>
                      <a:pt x="235" y="256"/>
                    </a:lnTo>
                    <a:lnTo>
                      <a:pt x="237" y="256"/>
                    </a:lnTo>
                    <a:lnTo>
                      <a:pt x="235" y="256"/>
                    </a:lnTo>
                    <a:lnTo>
                      <a:pt x="233" y="254"/>
                    </a:lnTo>
                    <a:lnTo>
                      <a:pt x="235" y="254"/>
                    </a:lnTo>
                    <a:lnTo>
                      <a:pt x="237" y="254"/>
                    </a:lnTo>
                    <a:lnTo>
                      <a:pt x="238" y="254"/>
                    </a:lnTo>
                    <a:lnTo>
                      <a:pt x="238" y="256"/>
                    </a:lnTo>
                    <a:lnTo>
                      <a:pt x="240" y="256"/>
                    </a:lnTo>
                    <a:lnTo>
                      <a:pt x="240" y="258"/>
                    </a:lnTo>
                    <a:lnTo>
                      <a:pt x="238" y="258"/>
                    </a:lnTo>
                    <a:lnTo>
                      <a:pt x="240" y="258"/>
                    </a:lnTo>
                    <a:lnTo>
                      <a:pt x="240" y="256"/>
                    </a:lnTo>
                    <a:lnTo>
                      <a:pt x="238" y="256"/>
                    </a:lnTo>
                    <a:lnTo>
                      <a:pt x="240" y="256"/>
                    </a:lnTo>
                    <a:lnTo>
                      <a:pt x="238" y="256"/>
                    </a:lnTo>
                    <a:lnTo>
                      <a:pt x="238" y="254"/>
                    </a:lnTo>
                    <a:lnTo>
                      <a:pt x="240" y="254"/>
                    </a:lnTo>
                    <a:lnTo>
                      <a:pt x="242" y="254"/>
                    </a:lnTo>
                    <a:lnTo>
                      <a:pt x="242" y="252"/>
                    </a:lnTo>
                    <a:lnTo>
                      <a:pt x="240" y="252"/>
                    </a:lnTo>
                    <a:lnTo>
                      <a:pt x="242" y="252"/>
                    </a:lnTo>
                    <a:lnTo>
                      <a:pt x="242" y="250"/>
                    </a:lnTo>
                    <a:lnTo>
                      <a:pt x="240" y="250"/>
                    </a:lnTo>
                    <a:lnTo>
                      <a:pt x="242" y="250"/>
                    </a:lnTo>
                    <a:lnTo>
                      <a:pt x="244" y="250"/>
                    </a:lnTo>
                    <a:lnTo>
                      <a:pt x="244" y="248"/>
                    </a:lnTo>
                    <a:lnTo>
                      <a:pt x="246" y="248"/>
                    </a:lnTo>
                    <a:lnTo>
                      <a:pt x="246" y="246"/>
                    </a:lnTo>
                    <a:lnTo>
                      <a:pt x="246" y="248"/>
                    </a:lnTo>
                    <a:lnTo>
                      <a:pt x="248" y="248"/>
                    </a:lnTo>
                    <a:lnTo>
                      <a:pt x="248" y="250"/>
                    </a:lnTo>
                    <a:lnTo>
                      <a:pt x="250" y="250"/>
                    </a:lnTo>
                    <a:lnTo>
                      <a:pt x="248" y="248"/>
                    </a:lnTo>
                    <a:lnTo>
                      <a:pt x="250" y="248"/>
                    </a:lnTo>
                    <a:lnTo>
                      <a:pt x="248" y="248"/>
                    </a:lnTo>
                    <a:lnTo>
                      <a:pt x="248" y="246"/>
                    </a:lnTo>
                    <a:lnTo>
                      <a:pt x="248" y="244"/>
                    </a:lnTo>
                    <a:lnTo>
                      <a:pt x="250" y="244"/>
                    </a:lnTo>
                    <a:lnTo>
                      <a:pt x="252" y="244"/>
                    </a:lnTo>
                    <a:lnTo>
                      <a:pt x="254" y="244"/>
                    </a:lnTo>
                    <a:lnTo>
                      <a:pt x="252" y="244"/>
                    </a:lnTo>
                    <a:lnTo>
                      <a:pt x="254" y="242"/>
                    </a:lnTo>
                    <a:lnTo>
                      <a:pt x="256" y="242"/>
                    </a:lnTo>
                    <a:lnTo>
                      <a:pt x="254" y="242"/>
                    </a:lnTo>
                    <a:lnTo>
                      <a:pt x="256" y="242"/>
                    </a:lnTo>
                    <a:lnTo>
                      <a:pt x="258" y="242"/>
                    </a:lnTo>
                    <a:lnTo>
                      <a:pt x="256" y="242"/>
                    </a:lnTo>
                    <a:lnTo>
                      <a:pt x="254" y="242"/>
                    </a:lnTo>
                    <a:lnTo>
                      <a:pt x="256" y="242"/>
                    </a:lnTo>
                    <a:lnTo>
                      <a:pt x="258" y="242"/>
                    </a:lnTo>
                    <a:lnTo>
                      <a:pt x="260" y="242"/>
                    </a:lnTo>
                    <a:lnTo>
                      <a:pt x="260" y="244"/>
                    </a:lnTo>
                    <a:lnTo>
                      <a:pt x="258" y="244"/>
                    </a:lnTo>
                    <a:lnTo>
                      <a:pt x="260" y="244"/>
                    </a:lnTo>
                    <a:lnTo>
                      <a:pt x="262" y="244"/>
                    </a:lnTo>
                    <a:lnTo>
                      <a:pt x="262" y="246"/>
                    </a:lnTo>
                    <a:lnTo>
                      <a:pt x="263" y="246"/>
                    </a:lnTo>
                    <a:lnTo>
                      <a:pt x="265" y="246"/>
                    </a:lnTo>
                    <a:lnTo>
                      <a:pt x="263" y="246"/>
                    </a:lnTo>
                    <a:lnTo>
                      <a:pt x="262" y="246"/>
                    </a:lnTo>
                    <a:lnTo>
                      <a:pt x="262" y="244"/>
                    </a:lnTo>
                    <a:lnTo>
                      <a:pt x="260" y="244"/>
                    </a:lnTo>
                    <a:lnTo>
                      <a:pt x="260" y="242"/>
                    </a:lnTo>
                    <a:lnTo>
                      <a:pt x="258" y="242"/>
                    </a:lnTo>
                    <a:lnTo>
                      <a:pt x="258" y="240"/>
                    </a:lnTo>
                    <a:lnTo>
                      <a:pt x="256" y="240"/>
                    </a:lnTo>
                    <a:lnTo>
                      <a:pt x="256" y="242"/>
                    </a:lnTo>
                    <a:lnTo>
                      <a:pt x="254" y="242"/>
                    </a:lnTo>
                    <a:lnTo>
                      <a:pt x="252" y="242"/>
                    </a:lnTo>
                    <a:lnTo>
                      <a:pt x="250" y="242"/>
                    </a:lnTo>
                    <a:lnTo>
                      <a:pt x="252" y="242"/>
                    </a:lnTo>
                    <a:lnTo>
                      <a:pt x="252" y="240"/>
                    </a:lnTo>
                    <a:lnTo>
                      <a:pt x="254" y="240"/>
                    </a:lnTo>
                    <a:lnTo>
                      <a:pt x="254" y="242"/>
                    </a:lnTo>
                    <a:lnTo>
                      <a:pt x="254" y="240"/>
                    </a:lnTo>
                    <a:lnTo>
                      <a:pt x="256" y="240"/>
                    </a:lnTo>
                    <a:lnTo>
                      <a:pt x="258" y="240"/>
                    </a:lnTo>
                    <a:lnTo>
                      <a:pt x="260" y="240"/>
                    </a:lnTo>
                    <a:lnTo>
                      <a:pt x="262" y="240"/>
                    </a:lnTo>
                    <a:lnTo>
                      <a:pt x="260" y="240"/>
                    </a:lnTo>
                    <a:lnTo>
                      <a:pt x="262" y="240"/>
                    </a:lnTo>
                    <a:lnTo>
                      <a:pt x="262" y="239"/>
                    </a:lnTo>
                    <a:lnTo>
                      <a:pt x="263" y="239"/>
                    </a:lnTo>
                    <a:lnTo>
                      <a:pt x="263" y="240"/>
                    </a:lnTo>
                    <a:lnTo>
                      <a:pt x="265" y="240"/>
                    </a:lnTo>
                    <a:lnTo>
                      <a:pt x="267" y="240"/>
                    </a:lnTo>
                    <a:lnTo>
                      <a:pt x="265" y="240"/>
                    </a:lnTo>
                    <a:lnTo>
                      <a:pt x="267" y="240"/>
                    </a:lnTo>
                    <a:lnTo>
                      <a:pt x="269" y="240"/>
                    </a:lnTo>
                    <a:lnTo>
                      <a:pt x="271" y="240"/>
                    </a:lnTo>
                    <a:lnTo>
                      <a:pt x="269" y="240"/>
                    </a:lnTo>
                    <a:lnTo>
                      <a:pt x="271" y="240"/>
                    </a:lnTo>
                    <a:lnTo>
                      <a:pt x="273" y="240"/>
                    </a:lnTo>
                    <a:lnTo>
                      <a:pt x="271" y="240"/>
                    </a:lnTo>
                    <a:lnTo>
                      <a:pt x="273" y="240"/>
                    </a:lnTo>
                    <a:lnTo>
                      <a:pt x="271" y="240"/>
                    </a:lnTo>
                    <a:lnTo>
                      <a:pt x="271" y="239"/>
                    </a:lnTo>
                    <a:lnTo>
                      <a:pt x="273" y="239"/>
                    </a:lnTo>
                    <a:lnTo>
                      <a:pt x="275" y="239"/>
                    </a:lnTo>
                    <a:lnTo>
                      <a:pt x="277" y="239"/>
                    </a:lnTo>
                    <a:lnTo>
                      <a:pt x="279" y="239"/>
                    </a:lnTo>
                    <a:lnTo>
                      <a:pt x="279" y="237"/>
                    </a:lnTo>
                    <a:lnTo>
                      <a:pt x="279" y="239"/>
                    </a:lnTo>
                    <a:lnTo>
                      <a:pt x="281" y="239"/>
                    </a:lnTo>
                    <a:lnTo>
                      <a:pt x="281" y="240"/>
                    </a:lnTo>
                    <a:lnTo>
                      <a:pt x="283" y="240"/>
                    </a:lnTo>
                    <a:lnTo>
                      <a:pt x="281" y="239"/>
                    </a:lnTo>
                    <a:lnTo>
                      <a:pt x="279" y="239"/>
                    </a:lnTo>
                    <a:lnTo>
                      <a:pt x="281" y="239"/>
                    </a:lnTo>
                    <a:lnTo>
                      <a:pt x="279" y="239"/>
                    </a:lnTo>
                    <a:lnTo>
                      <a:pt x="279" y="237"/>
                    </a:lnTo>
                    <a:lnTo>
                      <a:pt x="277" y="237"/>
                    </a:lnTo>
                    <a:lnTo>
                      <a:pt x="277" y="235"/>
                    </a:lnTo>
                    <a:lnTo>
                      <a:pt x="279" y="235"/>
                    </a:lnTo>
                    <a:lnTo>
                      <a:pt x="277" y="235"/>
                    </a:lnTo>
                    <a:lnTo>
                      <a:pt x="279" y="235"/>
                    </a:lnTo>
                    <a:lnTo>
                      <a:pt x="281" y="235"/>
                    </a:lnTo>
                    <a:lnTo>
                      <a:pt x="283" y="235"/>
                    </a:lnTo>
                    <a:lnTo>
                      <a:pt x="283" y="233"/>
                    </a:lnTo>
                    <a:lnTo>
                      <a:pt x="283" y="235"/>
                    </a:lnTo>
                    <a:lnTo>
                      <a:pt x="285" y="235"/>
                    </a:lnTo>
                    <a:lnTo>
                      <a:pt x="287" y="235"/>
                    </a:lnTo>
                    <a:lnTo>
                      <a:pt x="288" y="235"/>
                    </a:lnTo>
                    <a:lnTo>
                      <a:pt x="290" y="235"/>
                    </a:lnTo>
                    <a:lnTo>
                      <a:pt x="292" y="235"/>
                    </a:lnTo>
                    <a:lnTo>
                      <a:pt x="292" y="233"/>
                    </a:lnTo>
                    <a:lnTo>
                      <a:pt x="294" y="233"/>
                    </a:lnTo>
                    <a:lnTo>
                      <a:pt x="296" y="233"/>
                    </a:lnTo>
                    <a:lnTo>
                      <a:pt x="296" y="231"/>
                    </a:lnTo>
                    <a:lnTo>
                      <a:pt x="298" y="231"/>
                    </a:lnTo>
                    <a:lnTo>
                      <a:pt x="298" y="233"/>
                    </a:lnTo>
                    <a:lnTo>
                      <a:pt x="296" y="233"/>
                    </a:lnTo>
                    <a:lnTo>
                      <a:pt x="298" y="233"/>
                    </a:lnTo>
                    <a:lnTo>
                      <a:pt x="298" y="235"/>
                    </a:lnTo>
                    <a:lnTo>
                      <a:pt x="298" y="237"/>
                    </a:lnTo>
                    <a:lnTo>
                      <a:pt x="298" y="235"/>
                    </a:lnTo>
                    <a:lnTo>
                      <a:pt x="300" y="235"/>
                    </a:lnTo>
                    <a:lnTo>
                      <a:pt x="300" y="233"/>
                    </a:lnTo>
                    <a:lnTo>
                      <a:pt x="302" y="233"/>
                    </a:lnTo>
                    <a:lnTo>
                      <a:pt x="302" y="231"/>
                    </a:lnTo>
                    <a:lnTo>
                      <a:pt x="304" y="231"/>
                    </a:lnTo>
                    <a:lnTo>
                      <a:pt x="304" y="233"/>
                    </a:lnTo>
                    <a:lnTo>
                      <a:pt x="306" y="233"/>
                    </a:lnTo>
                    <a:lnTo>
                      <a:pt x="308" y="233"/>
                    </a:lnTo>
                    <a:lnTo>
                      <a:pt x="310" y="233"/>
                    </a:lnTo>
                    <a:lnTo>
                      <a:pt x="308" y="233"/>
                    </a:lnTo>
                    <a:lnTo>
                      <a:pt x="310" y="233"/>
                    </a:lnTo>
                    <a:lnTo>
                      <a:pt x="311" y="233"/>
                    </a:lnTo>
                    <a:lnTo>
                      <a:pt x="313" y="233"/>
                    </a:lnTo>
                    <a:lnTo>
                      <a:pt x="313" y="235"/>
                    </a:lnTo>
                    <a:lnTo>
                      <a:pt x="313" y="233"/>
                    </a:lnTo>
                    <a:lnTo>
                      <a:pt x="311" y="233"/>
                    </a:lnTo>
                    <a:lnTo>
                      <a:pt x="313" y="233"/>
                    </a:lnTo>
                    <a:lnTo>
                      <a:pt x="313" y="231"/>
                    </a:lnTo>
                    <a:lnTo>
                      <a:pt x="311" y="231"/>
                    </a:lnTo>
                    <a:lnTo>
                      <a:pt x="313" y="231"/>
                    </a:lnTo>
                    <a:lnTo>
                      <a:pt x="313" y="229"/>
                    </a:lnTo>
                    <a:lnTo>
                      <a:pt x="315" y="229"/>
                    </a:lnTo>
                    <a:lnTo>
                      <a:pt x="315" y="231"/>
                    </a:lnTo>
                    <a:lnTo>
                      <a:pt x="315" y="229"/>
                    </a:lnTo>
                    <a:lnTo>
                      <a:pt x="317" y="229"/>
                    </a:lnTo>
                    <a:lnTo>
                      <a:pt x="315" y="229"/>
                    </a:lnTo>
                    <a:lnTo>
                      <a:pt x="317" y="229"/>
                    </a:lnTo>
                    <a:lnTo>
                      <a:pt x="319" y="229"/>
                    </a:lnTo>
                    <a:lnTo>
                      <a:pt x="321" y="229"/>
                    </a:lnTo>
                    <a:lnTo>
                      <a:pt x="319" y="229"/>
                    </a:lnTo>
                    <a:lnTo>
                      <a:pt x="319" y="231"/>
                    </a:lnTo>
                    <a:lnTo>
                      <a:pt x="321" y="231"/>
                    </a:lnTo>
                    <a:lnTo>
                      <a:pt x="321" y="229"/>
                    </a:lnTo>
                    <a:lnTo>
                      <a:pt x="323" y="229"/>
                    </a:lnTo>
                    <a:lnTo>
                      <a:pt x="325" y="229"/>
                    </a:lnTo>
                    <a:lnTo>
                      <a:pt x="327" y="229"/>
                    </a:lnTo>
                    <a:lnTo>
                      <a:pt x="329" y="229"/>
                    </a:lnTo>
                    <a:lnTo>
                      <a:pt x="331" y="229"/>
                    </a:lnTo>
                    <a:lnTo>
                      <a:pt x="329" y="229"/>
                    </a:lnTo>
                    <a:lnTo>
                      <a:pt x="329" y="227"/>
                    </a:lnTo>
                    <a:lnTo>
                      <a:pt x="329" y="229"/>
                    </a:lnTo>
                    <a:lnTo>
                      <a:pt x="331" y="227"/>
                    </a:lnTo>
                    <a:lnTo>
                      <a:pt x="329" y="227"/>
                    </a:lnTo>
                    <a:lnTo>
                      <a:pt x="331" y="227"/>
                    </a:lnTo>
                    <a:lnTo>
                      <a:pt x="333" y="227"/>
                    </a:lnTo>
                    <a:lnTo>
                      <a:pt x="335" y="227"/>
                    </a:lnTo>
                    <a:lnTo>
                      <a:pt x="336" y="227"/>
                    </a:lnTo>
                    <a:lnTo>
                      <a:pt x="338" y="227"/>
                    </a:lnTo>
                    <a:lnTo>
                      <a:pt x="340" y="227"/>
                    </a:lnTo>
                    <a:lnTo>
                      <a:pt x="340" y="225"/>
                    </a:lnTo>
                    <a:lnTo>
                      <a:pt x="342" y="225"/>
                    </a:lnTo>
                    <a:lnTo>
                      <a:pt x="344" y="225"/>
                    </a:lnTo>
                    <a:lnTo>
                      <a:pt x="346" y="225"/>
                    </a:lnTo>
                    <a:lnTo>
                      <a:pt x="348" y="225"/>
                    </a:lnTo>
                    <a:lnTo>
                      <a:pt x="350" y="225"/>
                    </a:lnTo>
                    <a:lnTo>
                      <a:pt x="350" y="223"/>
                    </a:lnTo>
                    <a:lnTo>
                      <a:pt x="352" y="223"/>
                    </a:lnTo>
                    <a:lnTo>
                      <a:pt x="354" y="223"/>
                    </a:lnTo>
                    <a:lnTo>
                      <a:pt x="356" y="223"/>
                    </a:lnTo>
                    <a:lnTo>
                      <a:pt x="358" y="223"/>
                    </a:lnTo>
                    <a:lnTo>
                      <a:pt x="358" y="221"/>
                    </a:lnTo>
                    <a:lnTo>
                      <a:pt x="360" y="221"/>
                    </a:lnTo>
                    <a:lnTo>
                      <a:pt x="361" y="221"/>
                    </a:lnTo>
                    <a:lnTo>
                      <a:pt x="363" y="221"/>
                    </a:lnTo>
                    <a:lnTo>
                      <a:pt x="361" y="221"/>
                    </a:lnTo>
                    <a:lnTo>
                      <a:pt x="363" y="221"/>
                    </a:lnTo>
                    <a:lnTo>
                      <a:pt x="363" y="219"/>
                    </a:lnTo>
                    <a:lnTo>
                      <a:pt x="363" y="221"/>
                    </a:lnTo>
                    <a:lnTo>
                      <a:pt x="365" y="221"/>
                    </a:lnTo>
                    <a:lnTo>
                      <a:pt x="363" y="221"/>
                    </a:lnTo>
                    <a:lnTo>
                      <a:pt x="363" y="219"/>
                    </a:lnTo>
                    <a:lnTo>
                      <a:pt x="365" y="219"/>
                    </a:lnTo>
                    <a:lnTo>
                      <a:pt x="363" y="219"/>
                    </a:lnTo>
                    <a:lnTo>
                      <a:pt x="363" y="221"/>
                    </a:lnTo>
                    <a:lnTo>
                      <a:pt x="361" y="219"/>
                    </a:lnTo>
                    <a:lnTo>
                      <a:pt x="361" y="221"/>
                    </a:lnTo>
                    <a:lnTo>
                      <a:pt x="360" y="221"/>
                    </a:lnTo>
                    <a:lnTo>
                      <a:pt x="358" y="221"/>
                    </a:lnTo>
                    <a:lnTo>
                      <a:pt x="356" y="221"/>
                    </a:lnTo>
                    <a:lnTo>
                      <a:pt x="358" y="221"/>
                    </a:lnTo>
                    <a:lnTo>
                      <a:pt x="356" y="221"/>
                    </a:lnTo>
                    <a:lnTo>
                      <a:pt x="354" y="221"/>
                    </a:lnTo>
                    <a:lnTo>
                      <a:pt x="352" y="221"/>
                    </a:lnTo>
                    <a:lnTo>
                      <a:pt x="354" y="221"/>
                    </a:lnTo>
                    <a:lnTo>
                      <a:pt x="354" y="219"/>
                    </a:lnTo>
                    <a:lnTo>
                      <a:pt x="352" y="219"/>
                    </a:lnTo>
                    <a:lnTo>
                      <a:pt x="352" y="221"/>
                    </a:lnTo>
                    <a:lnTo>
                      <a:pt x="350" y="221"/>
                    </a:lnTo>
                    <a:lnTo>
                      <a:pt x="352" y="221"/>
                    </a:lnTo>
                    <a:lnTo>
                      <a:pt x="352" y="223"/>
                    </a:lnTo>
                    <a:lnTo>
                      <a:pt x="350" y="223"/>
                    </a:lnTo>
                    <a:lnTo>
                      <a:pt x="350" y="221"/>
                    </a:lnTo>
                    <a:lnTo>
                      <a:pt x="348" y="221"/>
                    </a:lnTo>
                    <a:lnTo>
                      <a:pt x="348" y="219"/>
                    </a:lnTo>
                    <a:lnTo>
                      <a:pt x="346" y="219"/>
                    </a:lnTo>
                    <a:lnTo>
                      <a:pt x="346" y="217"/>
                    </a:lnTo>
                    <a:lnTo>
                      <a:pt x="348" y="217"/>
                    </a:lnTo>
                    <a:lnTo>
                      <a:pt x="346" y="217"/>
                    </a:lnTo>
                    <a:lnTo>
                      <a:pt x="344" y="217"/>
                    </a:lnTo>
                    <a:lnTo>
                      <a:pt x="344" y="219"/>
                    </a:lnTo>
                    <a:lnTo>
                      <a:pt x="342" y="219"/>
                    </a:lnTo>
                    <a:lnTo>
                      <a:pt x="340" y="219"/>
                    </a:lnTo>
                    <a:lnTo>
                      <a:pt x="338" y="219"/>
                    </a:lnTo>
                    <a:lnTo>
                      <a:pt x="338" y="221"/>
                    </a:lnTo>
                    <a:lnTo>
                      <a:pt x="340" y="219"/>
                    </a:lnTo>
                    <a:lnTo>
                      <a:pt x="340" y="221"/>
                    </a:lnTo>
                    <a:lnTo>
                      <a:pt x="342" y="221"/>
                    </a:lnTo>
                    <a:lnTo>
                      <a:pt x="342" y="219"/>
                    </a:lnTo>
                    <a:lnTo>
                      <a:pt x="342" y="221"/>
                    </a:lnTo>
                    <a:lnTo>
                      <a:pt x="344" y="221"/>
                    </a:lnTo>
                    <a:lnTo>
                      <a:pt x="342" y="221"/>
                    </a:lnTo>
                    <a:lnTo>
                      <a:pt x="340" y="221"/>
                    </a:lnTo>
                    <a:lnTo>
                      <a:pt x="338" y="221"/>
                    </a:lnTo>
                    <a:lnTo>
                      <a:pt x="338" y="219"/>
                    </a:lnTo>
                    <a:lnTo>
                      <a:pt x="338" y="217"/>
                    </a:lnTo>
                    <a:lnTo>
                      <a:pt x="336" y="217"/>
                    </a:lnTo>
                    <a:lnTo>
                      <a:pt x="338" y="217"/>
                    </a:lnTo>
                    <a:lnTo>
                      <a:pt x="340" y="217"/>
                    </a:lnTo>
                    <a:lnTo>
                      <a:pt x="340" y="216"/>
                    </a:lnTo>
                    <a:lnTo>
                      <a:pt x="340" y="214"/>
                    </a:lnTo>
                    <a:lnTo>
                      <a:pt x="338" y="214"/>
                    </a:lnTo>
                    <a:lnTo>
                      <a:pt x="340" y="214"/>
                    </a:lnTo>
                    <a:lnTo>
                      <a:pt x="342" y="214"/>
                    </a:lnTo>
                    <a:lnTo>
                      <a:pt x="342" y="216"/>
                    </a:lnTo>
                    <a:lnTo>
                      <a:pt x="340" y="216"/>
                    </a:lnTo>
                    <a:lnTo>
                      <a:pt x="342" y="216"/>
                    </a:lnTo>
                    <a:lnTo>
                      <a:pt x="344" y="216"/>
                    </a:lnTo>
                    <a:lnTo>
                      <a:pt x="346" y="216"/>
                    </a:lnTo>
                    <a:lnTo>
                      <a:pt x="346" y="214"/>
                    </a:lnTo>
                    <a:lnTo>
                      <a:pt x="348" y="214"/>
                    </a:lnTo>
                    <a:lnTo>
                      <a:pt x="348" y="212"/>
                    </a:lnTo>
                    <a:lnTo>
                      <a:pt x="346" y="214"/>
                    </a:lnTo>
                    <a:lnTo>
                      <a:pt x="346" y="212"/>
                    </a:lnTo>
                    <a:lnTo>
                      <a:pt x="344" y="212"/>
                    </a:lnTo>
                    <a:lnTo>
                      <a:pt x="346" y="212"/>
                    </a:lnTo>
                    <a:lnTo>
                      <a:pt x="348" y="212"/>
                    </a:lnTo>
                    <a:lnTo>
                      <a:pt x="350" y="212"/>
                    </a:lnTo>
                    <a:lnTo>
                      <a:pt x="350" y="214"/>
                    </a:lnTo>
                    <a:lnTo>
                      <a:pt x="348" y="214"/>
                    </a:lnTo>
                    <a:lnTo>
                      <a:pt x="350" y="214"/>
                    </a:lnTo>
                    <a:lnTo>
                      <a:pt x="350" y="216"/>
                    </a:lnTo>
                    <a:lnTo>
                      <a:pt x="348" y="216"/>
                    </a:lnTo>
                    <a:lnTo>
                      <a:pt x="350" y="216"/>
                    </a:lnTo>
                    <a:lnTo>
                      <a:pt x="352" y="216"/>
                    </a:lnTo>
                    <a:lnTo>
                      <a:pt x="352" y="214"/>
                    </a:lnTo>
                    <a:lnTo>
                      <a:pt x="352" y="216"/>
                    </a:lnTo>
                    <a:lnTo>
                      <a:pt x="354" y="216"/>
                    </a:lnTo>
                    <a:lnTo>
                      <a:pt x="354" y="214"/>
                    </a:lnTo>
                    <a:lnTo>
                      <a:pt x="356" y="214"/>
                    </a:lnTo>
                    <a:lnTo>
                      <a:pt x="358" y="214"/>
                    </a:lnTo>
                    <a:lnTo>
                      <a:pt x="356" y="214"/>
                    </a:lnTo>
                    <a:lnTo>
                      <a:pt x="358" y="214"/>
                    </a:lnTo>
                    <a:lnTo>
                      <a:pt x="360" y="214"/>
                    </a:lnTo>
                    <a:lnTo>
                      <a:pt x="361" y="214"/>
                    </a:lnTo>
                    <a:lnTo>
                      <a:pt x="361" y="216"/>
                    </a:lnTo>
                    <a:lnTo>
                      <a:pt x="361" y="214"/>
                    </a:lnTo>
                    <a:lnTo>
                      <a:pt x="360" y="214"/>
                    </a:lnTo>
                    <a:lnTo>
                      <a:pt x="361" y="214"/>
                    </a:lnTo>
                    <a:lnTo>
                      <a:pt x="360" y="214"/>
                    </a:lnTo>
                    <a:lnTo>
                      <a:pt x="358" y="214"/>
                    </a:lnTo>
                    <a:lnTo>
                      <a:pt x="360" y="214"/>
                    </a:lnTo>
                    <a:lnTo>
                      <a:pt x="358" y="212"/>
                    </a:lnTo>
                    <a:lnTo>
                      <a:pt x="358" y="214"/>
                    </a:lnTo>
                    <a:lnTo>
                      <a:pt x="358" y="212"/>
                    </a:lnTo>
                    <a:lnTo>
                      <a:pt x="356" y="212"/>
                    </a:lnTo>
                    <a:lnTo>
                      <a:pt x="354" y="212"/>
                    </a:lnTo>
                    <a:lnTo>
                      <a:pt x="356" y="212"/>
                    </a:lnTo>
                    <a:lnTo>
                      <a:pt x="358" y="212"/>
                    </a:lnTo>
                    <a:lnTo>
                      <a:pt x="360" y="212"/>
                    </a:lnTo>
                    <a:lnTo>
                      <a:pt x="361" y="212"/>
                    </a:lnTo>
                    <a:lnTo>
                      <a:pt x="363" y="212"/>
                    </a:lnTo>
                    <a:lnTo>
                      <a:pt x="363" y="210"/>
                    </a:lnTo>
                    <a:lnTo>
                      <a:pt x="363" y="212"/>
                    </a:lnTo>
                    <a:lnTo>
                      <a:pt x="365" y="212"/>
                    </a:lnTo>
                    <a:lnTo>
                      <a:pt x="367" y="212"/>
                    </a:lnTo>
                    <a:lnTo>
                      <a:pt x="369" y="212"/>
                    </a:lnTo>
                    <a:lnTo>
                      <a:pt x="369" y="210"/>
                    </a:lnTo>
                    <a:lnTo>
                      <a:pt x="369" y="212"/>
                    </a:lnTo>
                    <a:lnTo>
                      <a:pt x="371" y="212"/>
                    </a:lnTo>
                    <a:lnTo>
                      <a:pt x="371" y="214"/>
                    </a:lnTo>
                    <a:lnTo>
                      <a:pt x="373" y="214"/>
                    </a:lnTo>
                    <a:lnTo>
                      <a:pt x="375" y="214"/>
                    </a:lnTo>
                    <a:lnTo>
                      <a:pt x="375" y="212"/>
                    </a:lnTo>
                    <a:lnTo>
                      <a:pt x="373" y="212"/>
                    </a:lnTo>
                    <a:lnTo>
                      <a:pt x="375" y="212"/>
                    </a:lnTo>
                    <a:lnTo>
                      <a:pt x="377" y="212"/>
                    </a:lnTo>
                    <a:lnTo>
                      <a:pt x="377" y="210"/>
                    </a:lnTo>
                    <a:lnTo>
                      <a:pt x="375" y="210"/>
                    </a:lnTo>
                    <a:lnTo>
                      <a:pt x="373" y="210"/>
                    </a:lnTo>
                    <a:lnTo>
                      <a:pt x="371" y="210"/>
                    </a:lnTo>
                    <a:lnTo>
                      <a:pt x="373" y="210"/>
                    </a:lnTo>
                    <a:lnTo>
                      <a:pt x="375" y="210"/>
                    </a:lnTo>
                    <a:lnTo>
                      <a:pt x="377" y="210"/>
                    </a:lnTo>
                    <a:lnTo>
                      <a:pt x="379" y="210"/>
                    </a:lnTo>
                    <a:lnTo>
                      <a:pt x="381" y="210"/>
                    </a:lnTo>
                    <a:lnTo>
                      <a:pt x="381" y="212"/>
                    </a:lnTo>
                    <a:lnTo>
                      <a:pt x="383" y="212"/>
                    </a:lnTo>
                    <a:lnTo>
                      <a:pt x="384" y="212"/>
                    </a:lnTo>
                    <a:lnTo>
                      <a:pt x="386" y="212"/>
                    </a:lnTo>
                    <a:lnTo>
                      <a:pt x="388" y="212"/>
                    </a:lnTo>
                    <a:lnTo>
                      <a:pt x="388" y="210"/>
                    </a:lnTo>
                    <a:lnTo>
                      <a:pt x="390" y="210"/>
                    </a:lnTo>
                    <a:lnTo>
                      <a:pt x="392" y="210"/>
                    </a:lnTo>
                    <a:lnTo>
                      <a:pt x="394" y="210"/>
                    </a:lnTo>
                    <a:lnTo>
                      <a:pt x="396" y="210"/>
                    </a:lnTo>
                    <a:lnTo>
                      <a:pt x="398" y="210"/>
                    </a:lnTo>
                    <a:lnTo>
                      <a:pt x="400" y="210"/>
                    </a:lnTo>
                    <a:lnTo>
                      <a:pt x="400" y="212"/>
                    </a:lnTo>
                    <a:lnTo>
                      <a:pt x="402" y="212"/>
                    </a:lnTo>
                    <a:lnTo>
                      <a:pt x="400" y="212"/>
                    </a:lnTo>
                    <a:lnTo>
                      <a:pt x="402" y="212"/>
                    </a:lnTo>
                    <a:lnTo>
                      <a:pt x="404" y="212"/>
                    </a:lnTo>
                    <a:lnTo>
                      <a:pt x="406" y="212"/>
                    </a:lnTo>
                    <a:lnTo>
                      <a:pt x="404" y="212"/>
                    </a:lnTo>
                    <a:lnTo>
                      <a:pt x="406" y="212"/>
                    </a:lnTo>
                    <a:lnTo>
                      <a:pt x="408" y="212"/>
                    </a:lnTo>
                    <a:lnTo>
                      <a:pt x="408" y="214"/>
                    </a:lnTo>
                    <a:lnTo>
                      <a:pt x="406" y="214"/>
                    </a:lnTo>
                    <a:lnTo>
                      <a:pt x="406" y="212"/>
                    </a:lnTo>
                    <a:lnTo>
                      <a:pt x="404" y="212"/>
                    </a:lnTo>
                    <a:lnTo>
                      <a:pt x="404" y="214"/>
                    </a:lnTo>
                    <a:lnTo>
                      <a:pt x="402" y="214"/>
                    </a:lnTo>
                    <a:lnTo>
                      <a:pt x="404" y="214"/>
                    </a:lnTo>
                    <a:lnTo>
                      <a:pt x="402" y="214"/>
                    </a:lnTo>
                    <a:lnTo>
                      <a:pt x="404" y="216"/>
                    </a:lnTo>
                    <a:lnTo>
                      <a:pt x="404" y="214"/>
                    </a:lnTo>
                    <a:lnTo>
                      <a:pt x="406" y="214"/>
                    </a:lnTo>
                    <a:lnTo>
                      <a:pt x="404" y="216"/>
                    </a:lnTo>
                    <a:lnTo>
                      <a:pt x="402" y="216"/>
                    </a:lnTo>
                    <a:lnTo>
                      <a:pt x="402" y="217"/>
                    </a:lnTo>
                    <a:lnTo>
                      <a:pt x="400" y="217"/>
                    </a:lnTo>
                    <a:lnTo>
                      <a:pt x="400" y="219"/>
                    </a:lnTo>
                    <a:lnTo>
                      <a:pt x="398" y="219"/>
                    </a:lnTo>
                    <a:lnTo>
                      <a:pt x="396" y="219"/>
                    </a:lnTo>
                    <a:lnTo>
                      <a:pt x="398" y="219"/>
                    </a:lnTo>
                    <a:lnTo>
                      <a:pt x="398" y="221"/>
                    </a:lnTo>
                    <a:lnTo>
                      <a:pt x="396" y="219"/>
                    </a:lnTo>
                    <a:lnTo>
                      <a:pt x="396" y="221"/>
                    </a:lnTo>
                    <a:lnTo>
                      <a:pt x="396" y="223"/>
                    </a:lnTo>
                    <a:lnTo>
                      <a:pt x="394" y="223"/>
                    </a:lnTo>
                    <a:lnTo>
                      <a:pt x="396" y="223"/>
                    </a:lnTo>
                    <a:lnTo>
                      <a:pt x="394" y="223"/>
                    </a:lnTo>
                    <a:lnTo>
                      <a:pt x="396" y="223"/>
                    </a:lnTo>
                    <a:lnTo>
                      <a:pt x="396" y="225"/>
                    </a:lnTo>
                    <a:lnTo>
                      <a:pt x="398" y="225"/>
                    </a:lnTo>
                    <a:lnTo>
                      <a:pt x="398" y="223"/>
                    </a:lnTo>
                    <a:lnTo>
                      <a:pt x="398" y="225"/>
                    </a:lnTo>
                    <a:lnTo>
                      <a:pt x="398" y="227"/>
                    </a:lnTo>
                    <a:lnTo>
                      <a:pt x="396" y="227"/>
                    </a:lnTo>
                    <a:lnTo>
                      <a:pt x="396" y="229"/>
                    </a:lnTo>
                    <a:lnTo>
                      <a:pt x="398" y="227"/>
                    </a:lnTo>
                    <a:lnTo>
                      <a:pt x="400" y="225"/>
                    </a:lnTo>
                    <a:lnTo>
                      <a:pt x="398" y="225"/>
                    </a:lnTo>
                    <a:lnTo>
                      <a:pt x="398" y="223"/>
                    </a:lnTo>
                    <a:lnTo>
                      <a:pt x="400" y="221"/>
                    </a:lnTo>
                    <a:lnTo>
                      <a:pt x="402" y="221"/>
                    </a:lnTo>
                    <a:lnTo>
                      <a:pt x="402" y="219"/>
                    </a:lnTo>
                    <a:lnTo>
                      <a:pt x="404" y="219"/>
                    </a:lnTo>
                    <a:lnTo>
                      <a:pt x="406" y="219"/>
                    </a:lnTo>
                    <a:lnTo>
                      <a:pt x="408" y="219"/>
                    </a:lnTo>
                    <a:lnTo>
                      <a:pt x="406" y="219"/>
                    </a:lnTo>
                    <a:lnTo>
                      <a:pt x="408" y="219"/>
                    </a:lnTo>
                    <a:lnTo>
                      <a:pt x="409" y="219"/>
                    </a:lnTo>
                    <a:lnTo>
                      <a:pt x="408" y="219"/>
                    </a:lnTo>
                    <a:lnTo>
                      <a:pt x="408" y="217"/>
                    </a:lnTo>
                    <a:lnTo>
                      <a:pt x="409" y="217"/>
                    </a:lnTo>
                    <a:lnTo>
                      <a:pt x="408" y="217"/>
                    </a:lnTo>
                    <a:lnTo>
                      <a:pt x="409" y="217"/>
                    </a:lnTo>
                    <a:lnTo>
                      <a:pt x="409" y="216"/>
                    </a:lnTo>
                    <a:lnTo>
                      <a:pt x="411" y="217"/>
                    </a:lnTo>
                    <a:lnTo>
                      <a:pt x="413" y="216"/>
                    </a:lnTo>
                    <a:lnTo>
                      <a:pt x="413" y="217"/>
                    </a:lnTo>
                    <a:lnTo>
                      <a:pt x="411" y="217"/>
                    </a:lnTo>
                    <a:lnTo>
                      <a:pt x="413" y="217"/>
                    </a:lnTo>
                    <a:lnTo>
                      <a:pt x="415" y="217"/>
                    </a:lnTo>
                    <a:lnTo>
                      <a:pt x="415" y="219"/>
                    </a:lnTo>
                    <a:lnTo>
                      <a:pt x="413" y="221"/>
                    </a:lnTo>
                    <a:lnTo>
                      <a:pt x="411" y="221"/>
                    </a:lnTo>
                    <a:lnTo>
                      <a:pt x="411" y="223"/>
                    </a:lnTo>
                    <a:lnTo>
                      <a:pt x="409" y="223"/>
                    </a:lnTo>
                    <a:lnTo>
                      <a:pt x="411" y="223"/>
                    </a:lnTo>
                    <a:lnTo>
                      <a:pt x="413" y="223"/>
                    </a:lnTo>
                    <a:lnTo>
                      <a:pt x="415" y="223"/>
                    </a:lnTo>
                    <a:lnTo>
                      <a:pt x="415" y="221"/>
                    </a:lnTo>
                    <a:lnTo>
                      <a:pt x="417" y="221"/>
                    </a:lnTo>
                    <a:lnTo>
                      <a:pt x="419" y="221"/>
                    </a:lnTo>
                    <a:lnTo>
                      <a:pt x="419" y="223"/>
                    </a:lnTo>
                    <a:lnTo>
                      <a:pt x="419" y="221"/>
                    </a:lnTo>
                    <a:lnTo>
                      <a:pt x="421" y="221"/>
                    </a:lnTo>
                    <a:lnTo>
                      <a:pt x="421" y="219"/>
                    </a:lnTo>
                    <a:lnTo>
                      <a:pt x="421" y="217"/>
                    </a:lnTo>
                    <a:lnTo>
                      <a:pt x="423" y="217"/>
                    </a:lnTo>
                    <a:lnTo>
                      <a:pt x="425" y="217"/>
                    </a:lnTo>
                    <a:lnTo>
                      <a:pt x="427" y="217"/>
                    </a:lnTo>
                    <a:lnTo>
                      <a:pt x="427" y="216"/>
                    </a:lnTo>
                    <a:lnTo>
                      <a:pt x="429" y="216"/>
                    </a:lnTo>
                    <a:lnTo>
                      <a:pt x="431" y="216"/>
                    </a:lnTo>
                    <a:lnTo>
                      <a:pt x="429" y="216"/>
                    </a:lnTo>
                    <a:lnTo>
                      <a:pt x="427" y="216"/>
                    </a:lnTo>
                    <a:lnTo>
                      <a:pt x="427" y="217"/>
                    </a:lnTo>
                    <a:lnTo>
                      <a:pt x="427" y="216"/>
                    </a:lnTo>
                    <a:lnTo>
                      <a:pt x="427" y="217"/>
                    </a:lnTo>
                    <a:lnTo>
                      <a:pt x="425" y="217"/>
                    </a:lnTo>
                    <a:lnTo>
                      <a:pt x="427" y="217"/>
                    </a:lnTo>
                    <a:lnTo>
                      <a:pt x="427" y="219"/>
                    </a:lnTo>
                    <a:lnTo>
                      <a:pt x="425" y="219"/>
                    </a:lnTo>
                    <a:lnTo>
                      <a:pt x="427" y="219"/>
                    </a:lnTo>
                    <a:lnTo>
                      <a:pt x="429" y="219"/>
                    </a:lnTo>
                    <a:lnTo>
                      <a:pt x="429" y="217"/>
                    </a:lnTo>
                    <a:lnTo>
                      <a:pt x="431" y="217"/>
                    </a:lnTo>
                    <a:lnTo>
                      <a:pt x="433" y="217"/>
                    </a:lnTo>
                    <a:lnTo>
                      <a:pt x="433" y="216"/>
                    </a:lnTo>
                    <a:lnTo>
                      <a:pt x="433" y="217"/>
                    </a:lnTo>
                    <a:lnTo>
                      <a:pt x="434" y="217"/>
                    </a:lnTo>
                    <a:lnTo>
                      <a:pt x="436" y="217"/>
                    </a:lnTo>
                    <a:lnTo>
                      <a:pt x="434" y="217"/>
                    </a:lnTo>
                    <a:lnTo>
                      <a:pt x="436" y="217"/>
                    </a:lnTo>
                    <a:lnTo>
                      <a:pt x="438" y="217"/>
                    </a:lnTo>
                    <a:lnTo>
                      <a:pt x="440" y="217"/>
                    </a:lnTo>
                    <a:lnTo>
                      <a:pt x="438" y="217"/>
                    </a:lnTo>
                    <a:lnTo>
                      <a:pt x="438" y="216"/>
                    </a:lnTo>
                    <a:lnTo>
                      <a:pt x="438" y="214"/>
                    </a:lnTo>
                    <a:lnTo>
                      <a:pt x="436" y="216"/>
                    </a:lnTo>
                    <a:lnTo>
                      <a:pt x="434" y="216"/>
                    </a:lnTo>
                    <a:lnTo>
                      <a:pt x="434" y="214"/>
                    </a:lnTo>
                    <a:lnTo>
                      <a:pt x="433" y="214"/>
                    </a:lnTo>
                    <a:lnTo>
                      <a:pt x="434" y="214"/>
                    </a:lnTo>
                    <a:lnTo>
                      <a:pt x="436" y="214"/>
                    </a:lnTo>
                    <a:lnTo>
                      <a:pt x="438" y="212"/>
                    </a:lnTo>
                    <a:lnTo>
                      <a:pt x="440" y="212"/>
                    </a:lnTo>
                    <a:lnTo>
                      <a:pt x="438" y="212"/>
                    </a:lnTo>
                    <a:lnTo>
                      <a:pt x="440" y="214"/>
                    </a:lnTo>
                    <a:lnTo>
                      <a:pt x="440" y="212"/>
                    </a:lnTo>
                    <a:lnTo>
                      <a:pt x="440" y="214"/>
                    </a:lnTo>
                    <a:lnTo>
                      <a:pt x="442" y="214"/>
                    </a:lnTo>
                    <a:lnTo>
                      <a:pt x="444" y="214"/>
                    </a:lnTo>
                    <a:lnTo>
                      <a:pt x="444" y="212"/>
                    </a:lnTo>
                    <a:lnTo>
                      <a:pt x="446" y="212"/>
                    </a:lnTo>
                    <a:lnTo>
                      <a:pt x="448" y="212"/>
                    </a:lnTo>
                    <a:lnTo>
                      <a:pt x="446" y="212"/>
                    </a:lnTo>
                    <a:lnTo>
                      <a:pt x="448" y="212"/>
                    </a:lnTo>
                    <a:lnTo>
                      <a:pt x="446" y="212"/>
                    </a:lnTo>
                    <a:lnTo>
                      <a:pt x="444" y="212"/>
                    </a:lnTo>
                    <a:lnTo>
                      <a:pt x="444" y="210"/>
                    </a:lnTo>
                    <a:lnTo>
                      <a:pt x="444" y="212"/>
                    </a:lnTo>
                    <a:lnTo>
                      <a:pt x="442" y="212"/>
                    </a:lnTo>
                    <a:lnTo>
                      <a:pt x="444" y="212"/>
                    </a:lnTo>
                    <a:lnTo>
                      <a:pt x="442" y="212"/>
                    </a:lnTo>
                    <a:lnTo>
                      <a:pt x="442" y="210"/>
                    </a:lnTo>
                    <a:lnTo>
                      <a:pt x="444" y="210"/>
                    </a:lnTo>
                    <a:lnTo>
                      <a:pt x="446" y="210"/>
                    </a:lnTo>
                    <a:lnTo>
                      <a:pt x="444" y="210"/>
                    </a:lnTo>
                    <a:lnTo>
                      <a:pt x="444" y="208"/>
                    </a:lnTo>
                    <a:lnTo>
                      <a:pt x="446" y="208"/>
                    </a:lnTo>
                    <a:lnTo>
                      <a:pt x="448" y="208"/>
                    </a:lnTo>
                    <a:lnTo>
                      <a:pt x="450" y="208"/>
                    </a:lnTo>
                    <a:lnTo>
                      <a:pt x="452" y="208"/>
                    </a:lnTo>
                    <a:lnTo>
                      <a:pt x="452" y="206"/>
                    </a:lnTo>
                    <a:lnTo>
                      <a:pt x="454" y="206"/>
                    </a:lnTo>
                    <a:lnTo>
                      <a:pt x="456" y="206"/>
                    </a:lnTo>
                    <a:lnTo>
                      <a:pt x="456" y="204"/>
                    </a:lnTo>
                    <a:lnTo>
                      <a:pt x="458" y="204"/>
                    </a:lnTo>
                    <a:lnTo>
                      <a:pt x="459" y="204"/>
                    </a:lnTo>
                    <a:lnTo>
                      <a:pt x="459" y="206"/>
                    </a:lnTo>
                    <a:lnTo>
                      <a:pt x="458" y="206"/>
                    </a:lnTo>
                    <a:lnTo>
                      <a:pt x="459" y="206"/>
                    </a:lnTo>
                    <a:lnTo>
                      <a:pt x="461" y="206"/>
                    </a:lnTo>
                    <a:lnTo>
                      <a:pt x="459" y="206"/>
                    </a:lnTo>
                    <a:lnTo>
                      <a:pt x="461" y="206"/>
                    </a:lnTo>
                    <a:lnTo>
                      <a:pt x="461" y="204"/>
                    </a:lnTo>
                    <a:lnTo>
                      <a:pt x="463" y="204"/>
                    </a:lnTo>
                    <a:lnTo>
                      <a:pt x="463" y="206"/>
                    </a:lnTo>
                    <a:lnTo>
                      <a:pt x="463" y="204"/>
                    </a:lnTo>
                    <a:lnTo>
                      <a:pt x="463" y="206"/>
                    </a:lnTo>
                    <a:lnTo>
                      <a:pt x="465" y="206"/>
                    </a:lnTo>
                    <a:lnTo>
                      <a:pt x="467" y="206"/>
                    </a:lnTo>
                    <a:lnTo>
                      <a:pt x="469" y="206"/>
                    </a:lnTo>
                    <a:lnTo>
                      <a:pt x="471" y="206"/>
                    </a:lnTo>
                    <a:lnTo>
                      <a:pt x="469" y="206"/>
                    </a:lnTo>
                    <a:lnTo>
                      <a:pt x="467" y="206"/>
                    </a:lnTo>
                    <a:lnTo>
                      <a:pt x="467" y="208"/>
                    </a:lnTo>
                    <a:lnTo>
                      <a:pt x="469" y="208"/>
                    </a:lnTo>
                    <a:lnTo>
                      <a:pt x="467" y="208"/>
                    </a:lnTo>
                    <a:lnTo>
                      <a:pt x="467" y="210"/>
                    </a:lnTo>
                    <a:lnTo>
                      <a:pt x="469" y="210"/>
                    </a:lnTo>
                    <a:lnTo>
                      <a:pt x="471" y="210"/>
                    </a:lnTo>
                    <a:lnTo>
                      <a:pt x="471" y="208"/>
                    </a:lnTo>
                    <a:lnTo>
                      <a:pt x="471" y="210"/>
                    </a:lnTo>
                    <a:lnTo>
                      <a:pt x="473" y="208"/>
                    </a:lnTo>
                    <a:lnTo>
                      <a:pt x="475" y="208"/>
                    </a:lnTo>
                    <a:lnTo>
                      <a:pt x="475" y="210"/>
                    </a:lnTo>
                    <a:lnTo>
                      <a:pt x="473" y="210"/>
                    </a:lnTo>
                    <a:lnTo>
                      <a:pt x="471" y="210"/>
                    </a:lnTo>
                    <a:lnTo>
                      <a:pt x="473" y="210"/>
                    </a:lnTo>
                    <a:lnTo>
                      <a:pt x="473" y="212"/>
                    </a:lnTo>
                    <a:lnTo>
                      <a:pt x="475" y="212"/>
                    </a:lnTo>
                    <a:lnTo>
                      <a:pt x="473" y="212"/>
                    </a:lnTo>
                    <a:lnTo>
                      <a:pt x="471" y="212"/>
                    </a:lnTo>
                    <a:lnTo>
                      <a:pt x="473" y="212"/>
                    </a:lnTo>
                    <a:lnTo>
                      <a:pt x="475" y="212"/>
                    </a:lnTo>
                    <a:lnTo>
                      <a:pt x="477" y="214"/>
                    </a:lnTo>
                    <a:lnTo>
                      <a:pt x="479" y="214"/>
                    </a:lnTo>
                    <a:lnTo>
                      <a:pt x="481" y="214"/>
                    </a:lnTo>
                    <a:lnTo>
                      <a:pt x="479" y="214"/>
                    </a:lnTo>
                    <a:lnTo>
                      <a:pt x="479" y="216"/>
                    </a:lnTo>
                    <a:lnTo>
                      <a:pt x="477" y="216"/>
                    </a:lnTo>
                    <a:lnTo>
                      <a:pt x="477" y="217"/>
                    </a:lnTo>
                    <a:lnTo>
                      <a:pt x="477" y="219"/>
                    </a:lnTo>
                    <a:lnTo>
                      <a:pt x="477" y="221"/>
                    </a:lnTo>
                    <a:lnTo>
                      <a:pt x="475" y="221"/>
                    </a:lnTo>
                    <a:lnTo>
                      <a:pt x="475" y="223"/>
                    </a:lnTo>
                    <a:lnTo>
                      <a:pt x="475" y="225"/>
                    </a:lnTo>
                    <a:lnTo>
                      <a:pt x="473" y="225"/>
                    </a:lnTo>
                    <a:lnTo>
                      <a:pt x="471" y="225"/>
                    </a:lnTo>
                    <a:lnTo>
                      <a:pt x="473" y="225"/>
                    </a:lnTo>
                    <a:lnTo>
                      <a:pt x="471" y="225"/>
                    </a:lnTo>
                    <a:lnTo>
                      <a:pt x="469" y="225"/>
                    </a:lnTo>
                    <a:lnTo>
                      <a:pt x="469" y="227"/>
                    </a:lnTo>
                    <a:lnTo>
                      <a:pt x="467" y="227"/>
                    </a:lnTo>
                    <a:lnTo>
                      <a:pt x="469" y="227"/>
                    </a:lnTo>
                    <a:lnTo>
                      <a:pt x="467" y="227"/>
                    </a:lnTo>
                    <a:lnTo>
                      <a:pt x="465" y="227"/>
                    </a:lnTo>
                    <a:lnTo>
                      <a:pt x="467" y="227"/>
                    </a:lnTo>
                    <a:lnTo>
                      <a:pt x="469" y="227"/>
                    </a:lnTo>
                    <a:lnTo>
                      <a:pt x="469" y="229"/>
                    </a:lnTo>
                    <a:lnTo>
                      <a:pt x="471" y="229"/>
                    </a:lnTo>
                    <a:lnTo>
                      <a:pt x="469" y="229"/>
                    </a:lnTo>
                    <a:lnTo>
                      <a:pt x="469" y="231"/>
                    </a:lnTo>
                    <a:lnTo>
                      <a:pt x="467" y="231"/>
                    </a:lnTo>
                    <a:lnTo>
                      <a:pt x="469" y="231"/>
                    </a:lnTo>
                    <a:lnTo>
                      <a:pt x="469" y="233"/>
                    </a:lnTo>
                    <a:lnTo>
                      <a:pt x="467" y="235"/>
                    </a:lnTo>
                    <a:lnTo>
                      <a:pt x="467" y="237"/>
                    </a:lnTo>
                    <a:lnTo>
                      <a:pt x="467" y="239"/>
                    </a:lnTo>
                    <a:lnTo>
                      <a:pt x="469" y="239"/>
                    </a:lnTo>
                    <a:lnTo>
                      <a:pt x="469" y="240"/>
                    </a:lnTo>
                    <a:lnTo>
                      <a:pt x="469" y="242"/>
                    </a:lnTo>
                    <a:lnTo>
                      <a:pt x="467" y="242"/>
                    </a:lnTo>
                    <a:lnTo>
                      <a:pt x="467" y="244"/>
                    </a:lnTo>
                    <a:lnTo>
                      <a:pt x="465" y="244"/>
                    </a:lnTo>
                    <a:lnTo>
                      <a:pt x="463" y="244"/>
                    </a:lnTo>
                    <a:lnTo>
                      <a:pt x="461" y="244"/>
                    </a:lnTo>
                    <a:lnTo>
                      <a:pt x="461" y="246"/>
                    </a:lnTo>
                    <a:lnTo>
                      <a:pt x="459" y="244"/>
                    </a:lnTo>
                    <a:lnTo>
                      <a:pt x="458" y="246"/>
                    </a:lnTo>
                    <a:lnTo>
                      <a:pt x="456" y="246"/>
                    </a:lnTo>
                    <a:lnTo>
                      <a:pt x="456" y="248"/>
                    </a:lnTo>
                    <a:lnTo>
                      <a:pt x="454" y="246"/>
                    </a:lnTo>
                    <a:lnTo>
                      <a:pt x="452" y="246"/>
                    </a:lnTo>
                    <a:lnTo>
                      <a:pt x="450" y="246"/>
                    </a:lnTo>
                    <a:lnTo>
                      <a:pt x="450" y="244"/>
                    </a:lnTo>
                    <a:lnTo>
                      <a:pt x="448" y="244"/>
                    </a:lnTo>
                    <a:lnTo>
                      <a:pt x="446" y="244"/>
                    </a:lnTo>
                    <a:lnTo>
                      <a:pt x="446" y="246"/>
                    </a:lnTo>
                    <a:lnTo>
                      <a:pt x="446" y="248"/>
                    </a:lnTo>
                    <a:lnTo>
                      <a:pt x="444" y="248"/>
                    </a:lnTo>
                    <a:lnTo>
                      <a:pt x="442" y="248"/>
                    </a:lnTo>
                    <a:lnTo>
                      <a:pt x="442" y="250"/>
                    </a:lnTo>
                    <a:lnTo>
                      <a:pt x="440" y="250"/>
                    </a:lnTo>
                    <a:lnTo>
                      <a:pt x="438" y="250"/>
                    </a:lnTo>
                    <a:lnTo>
                      <a:pt x="436" y="250"/>
                    </a:lnTo>
                    <a:lnTo>
                      <a:pt x="438" y="250"/>
                    </a:lnTo>
                    <a:lnTo>
                      <a:pt x="436" y="250"/>
                    </a:lnTo>
                    <a:lnTo>
                      <a:pt x="436" y="248"/>
                    </a:lnTo>
                    <a:lnTo>
                      <a:pt x="434" y="248"/>
                    </a:lnTo>
                    <a:lnTo>
                      <a:pt x="433" y="248"/>
                    </a:lnTo>
                    <a:lnTo>
                      <a:pt x="431" y="248"/>
                    </a:lnTo>
                    <a:lnTo>
                      <a:pt x="429" y="248"/>
                    </a:lnTo>
                    <a:lnTo>
                      <a:pt x="429" y="246"/>
                    </a:lnTo>
                    <a:lnTo>
                      <a:pt x="427" y="246"/>
                    </a:lnTo>
                    <a:lnTo>
                      <a:pt x="425" y="246"/>
                    </a:lnTo>
                    <a:lnTo>
                      <a:pt x="425" y="248"/>
                    </a:lnTo>
                    <a:lnTo>
                      <a:pt x="423" y="246"/>
                    </a:lnTo>
                    <a:lnTo>
                      <a:pt x="423" y="248"/>
                    </a:lnTo>
                    <a:lnTo>
                      <a:pt x="421" y="248"/>
                    </a:lnTo>
                    <a:lnTo>
                      <a:pt x="419" y="248"/>
                    </a:lnTo>
                    <a:lnTo>
                      <a:pt x="417" y="248"/>
                    </a:lnTo>
                    <a:lnTo>
                      <a:pt x="419" y="248"/>
                    </a:lnTo>
                    <a:lnTo>
                      <a:pt x="421" y="248"/>
                    </a:lnTo>
                    <a:lnTo>
                      <a:pt x="423" y="248"/>
                    </a:lnTo>
                    <a:lnTo>
                      <a:pt x="423" y="246"/>
                    </a:lnTo>
                    <a:lnTo>
                      <a:pt x="425" y="248"/>
                    </a:lnTo>
                    <a:lnTo>
                      <a:pt x="425" y="246"/>
                    </a:lnTo>
                    <a:lnTo>
                      <a:pt x="427" y="246"/>
                    </a:lnTo>
                    <a:lnTo>
                      <a:pt x="427" y="248"/>
                    </a:lnTo>
                    <a:lnTo>
                      <a:pt x="425" y="248"/>
                    </a:lnTo>
                    <a:lnTo>
                      <a:pt x="427" y="248"/>
                    </a:lnTo>
                    <a:lnTo>
                      <a:pt x="429" y="248"/>
                    </a:lnTo>
                    <a:lnTo>
                      <a:pt x="427" y="248"/>
                    </a:lnTo>
                    <a:lnTo>
                      <a:pt x="425" y="248"/>
                    </a:lnTo>
                    <a:lnTo>
                      <a:pt x="427" y="248"/>
                    </a:lnTo>
                    <a:lnTo>
                      <a:pt x="427" y="246"/>
                    </a:lnTo>
                    <a:lnTo>
                      <a:pt x="429" y="246"/>
                    </a:lnTo>
                    <a:lnTo>
                      <a:pt x="429" y="248"/>
                    </a:lnTo>
                    <a:lnTo>
                      <a:pt x="431" y="248"/>
                    </a:lnTo>
                    <a:lnTo>
                      <a:pt x="433" y="248"/>
                    </a:lnTo>
                    <a:lnTo>
                      <a:pt x="434" y="248"/>
                    </a:lnTo>
                    <a:lnTo>
                      <a:pt x="436" y="248"/>
                    </a:lnTo>
                    <a:lnTo>
                      <a:pt x="436" y="250"/>
                    </a:lnTo>
                    <a:lnTo>
                      <a:pt x="438" y="250"/>
                    </a:lnTo>
                    <a:lnTo>
                      <a:pt x="440" y="250"/>
                    </a:lnTo>
                    <a:lnTo>
                      <a:pt x="442" y="250"/>
                    </a:lnTo>
                    <a:lnTo>
                      <a:pt x="442" y="248"/>
                    </a:lnTo>
                    <a:lnTo>
                      <a:pt x="444" y="248"/>
                    </a:lnTo>
                    <a:lnTo>
                      <a:pt x="446" y="246"/>
                    </a:lnTo>
                    <a:lnTo>
                      <a:pt x="446" y="244"/>
                    </a:lnTo>
                    <a:lnTo>
                      <a:pt x="448" y="244"/>
                    </a:lnTo>
                    <a:lnTo>
                      <a:pt x="450" y="244"/>
                    </a:lnTo>
                    <a:lnTo>
                      <a:pt x="450" y="246"/>
                    </a:lnTo>
                    <a:lnTo>
                      <a:pt x="452" y="246"/>
                    </a:lnTo>
                    <a:lnTo>
                      <a:pt x="454" y="246"/>
                    </a:lnTo>
                    <a:lnTo>
                      <a:pt x="454" y="248"/>
                    </a:lnTo>
                    <a:lnTo>
                      <a:pt x="456" y="248"/>
                    </a:lnTo>
                    <a:lnTo>
                      <a:pt x="456" y="246"/>
                    </a:lnTo>
                    <a:lnTo>
                      <a:pt x="458" y="246"/>
                    </a:lnTo>
                    <a:lnTo>
                      <a:pt x="459" y="244"/>
                    </a:lnTo>
                    <a:lnTo>
                      <a:pt x="461" y="246"/>
                    </a:lnTo>
                    <a:lnTo>
                      <a:pt x="461" y="244"/>
                    </a:lnTo>
                    <a:lnTo>
                      <a:pt x="463" y="244"/>
                    </a:lnTo>
                    <a:lnTo>
                      <a:pt x="465" y="244"/>
                    </a:lnTo>
                    <a:lnTo>
                      <a:pt x="467" y="244"/>
                    </a:lnTo>
                    <a:lnTo>
                      <a:pt x="467" y="242"/>
                    </a:lnTo>
                    <a:lnTo>
                      <a:pt x="469" y="242"/>
                    </a:lnTo>
                    <a:lnTo>
                      <a:pt x="469" y="240"/>
                    </a:lnTo>
                    <a:lnTo>
                      <a:pt x="469" y="239"/>
                    </a:lnTo>
                    <a:lnTo>
                      <a:pt x="471" y="239"/>
                    </a:lnTo>
                    <a:lnTo>
                      <a:pt x="473" y="239"/>
                    </a:lnTo>
                    <a:lnTo>
                      <a:pt x="475" y="239"/>
                    </a:lnTo>
                    <a:lnTo>
                      <a:pt x="475" y="240"/>
                    </a:lnTo>
                    <a:lnTo>
                      <a:pt x="477" y="240"/>
                    </a:lnTo>
                    <a:lnTo>
                      <a:pt x="479" y="240"/>
                    </a:lnTo>
                    <a:lnTo>
                      <a:pt x="481" y="242"/>
                    </a:lnTo>
                    <a:lnTo>
                      <a:pt x="481" y="240"/>
                    </a:lnTo>
                    <a:lnTo>
                      <a:pt x="479" y="240"/>
                    </a:lnTo>
                    <a:lnTo>
                      <a:pt x="481" y="240"/>
                    </a:lnTo>
                    <a:lnTo>
                      <a:pt x="481" y="242"/>
                    </a:lnTo>
                    <a:lnTo>
                      <a:pt x="479" y="242"/>
                    </a:lnTo>
                    <a:lnTo>
                      <a:pt x="481" y="242"/>
                    </a:lnTo>
                    <a:lnTo>
                      <a:pt x="481" y="244"/>
                    </a:lnTo>
                    <a:lnTo>
                      <a:pt x="479" y="244"/>
                    </a:lnTo>
                    <a:lnTo>
                      <a:pt x="479" y="246"/>
                    </a:lnTo>
                    <a:lnTo>
                      <a:pt x="481" y="246"/>
                    </a:lnTo>
                    <a:lnTo>
                      <a:pt x="482" y="246"/>
                    </a:lnTo>
                    <a:lnTo>
                      <a:pt x="484" y="248"/>
                    </a:lnTo>
                    <a:lnTo>
                      <a:pt x="486" y="248"/>
                    </a:lnTo>
                    <a:lnTo>
                      <a:pt x="486" y="250"/>
                    </a:lnTo>
                    <a:lnTo>
                      <a:pt x="488" y="250"/>
                    </a:lnTo>
                    <a:lnTo>
                      <a:pt x="488" y="252"/>
                    </a:lnTo>
                    <a:lnTo>
                      <a:pt x="486" y="252"/>
                    </a:lnTo>
                    <a:lnTo>
                      <a:pt x="486" y="254"/>
                    </a:lnTo>
                    <a:lnTo>
                      <a:pt x="488" y="254"/>
                    </a:lnTo>
                    <a:lnTo>
                      <a:pt x="490" y="254"/>
                    </a:lnTo>
                    <a:lnTo>
                      <a:pt x="488" y="254"/>
                    </a:lnTo>
                    <a:lnTo>
                      <a:pt x="490" y="254"/>
                    </a:lnTo>
                    <a:lnTo>
                      <a:pt x="490" y="256"/>
                    </a:lnTo>
                    <a:lnTo>
                      <a:pt x="488" y="256"/>
                    </a:lnTo>
                    <a:lnTo>
                      <a:pt x="486" y="256"/>
                    </a:lnTo>
                    <a:lnTo>
                      <a:pt x="486" y="258"/>
                    </a:lnTo>
                    <a:lnTo>
                      <a:pt x="488" y="258"/>
                    </a:lnTo>
                    <a:lnTo>
                      <a:pt x="488" y="260"/>
                    </a:lnTo>
                    <a:lnTo>
                      <a:pt x="486" y="260"/>
                    </a:lnTo>
                    <a:lnTo>
                      <a:pt x="488" y="260"/>
                    </a:lnTo>
                    <a:lnTo>
                      <a:pt x="490" y="260"/>
                    </a:lnTo>
                    <a:lnTo>
                      <a:pt x="492" y="260"/>
                    </a:lnTo>
                    <a:lnTo>
                      <a:pt x="494" y="260"/>
                    </a:lnTo>
                    <a:lnTo>
                      <a:pt x="496" y="260"/>
                    </a:lnTo>
                    <a:lnTo>
                      <a:pt x="498" y="260"/>
                    </a:lnTo>
                    <a:lnTo>
                      <a:pt x="498" y="262"/>
                    </a:lnTo>
                    <a:lnTo>
                      <a:pt x="498" y="264"/>
                    </a:lnTo>
                    <a:lnTo>
                      <a:pt x="498" y="265"/>
                    </a:lnTo>
                    <a:lnTo>
                      <a:pt x="496" y="265"/>
                    </a:lnTo>
                    <a:lnTo>
                      <a:pt x="496" y="267"/>
                    </a:lnTo>
                    <a:lnTo>
                      <a:pt x="496" y="265"/>
                    </a:lnTo>
                    <a:lnTo>
                      <a:pt x="496" y="267"/>
                    </a:lnTo>
                    <a:lnTo>
                      <a:pt x="494" y="267"/>
                    </a:lnTo>
                    <a:lnTo>
                      <a:pt x="494" y="265"/>
                    </a:lnTo>
                    <a:lnTo>
                      <a:pt x="492" y="265"/>
                    </a:lnTo>
                    <a:lnTo>
                      <a:pt x="494" y="265"/>
                    </a:lnTo>
                    <a:lnTo>
                      <a:pt x="494" y="267"/>
                    </a:lnTo>
                    <a:lnTo>
                      <a:pt x="492" y="267"/>
                    </a:lnTo>
                    <a:lnTo>
                      <a:pt x="490" y="267"/>
                    </a:lnTo>
                    <a:lnTo>
                      <a:pt x="490" y="269"/>
                    </a:lnTo>
                    <a:lnTo>
                      <a:pt x="490" y="271"/>
                    </a:lnTo>
                    <a:lnTo>
                      <a:pt x="492" y="271"/>
                    </a:lnTo>
                    <a:lnTo>
                      <a:pt x="494" y="271"/>
                    </a:lnTo>
                    <a:lnTo>
                      <a:pt x="496" y="271"/>
                    </a:lnTo>
                    <a:lnTo>
                      <a:pt x="496" y="273"/>
                    </a:lnTo>
                    <a:lnTo>
                      <a:pt x="496" y="275"/>
                    </a:lnTo>
                    <a:lnTo>
                      <a:pt x="494" y="275"/>
                    </a:lnTo>
                    <a:lnTo>
                      <a:pt x="494" y="277"/>
                    </a:lnTo>
                    <a:lnTo>
                      <a:pt x="496" y="277"/>
                    </a:lnTo>
                    <a:lnTo>
                      <a:pt x="496" y="279"/>
                    </a:lnTo>
                    <a:lnTo>
                      <a:pt x="498" y="279"/>
                    </a:lnTo>
                    <a:lnTo>
                      <a:pt x="498" y="281"/>
                    </a:lnTo>
                    <a:lnTo>
                      <a:pt x="500" y="281"/>
                    </a:lnTo>
                    <a:lnTo>
                      <a:pt x="500" y="283"/>
                    </a:lnTo>
                    <a:lnTo>
                      <a:pt x="498" y="283"/>
                    </a:lnTo>
                    <a:lnTo>
                      <a:pt x="498" y="285"/>
                    </a:lnTo>
                    <a:lnTo>
                      <a:pt x="498" y="287"/>
                    </a:lnTo>
                    <a:lnTo>
                      <a:pt x="498" y="285"/>
                    </a:lnTo>
                    <a:lnTo>
                      <a:pt x="496" y="285"/>
                    </a:lnTo>
                    <a:lnTo>
                      <a:pt x="496" y="287"/>
                    </a:lnTo>
                    <a:lnTo>
                      <a:pt x="494" y="287"/>
                    </a:lnTo>
                    <a:lnTo>
                      <a:pt x="494" y="289"/>
                    </a:lnTo>
                    <a:lnTo>
                      <a:pt x="494" y="287"/>
                    </a:lnTo>
                    <a:lnTo>
                      <a:pt x="494" y="289"/>
                    </a:lnTo>
                    <a:lnTo>
                      <a:pt x="492" y="289"/>
                    </a:lnTo>
                    <a:lnTo>
                      <a:pt x="494" y="289"/>
                    </a:lnTo>
                    <a:lnTo>
                      <a:pt x="492" y="289"/>
                    </a:lnTo>
                    <a:lnTo>
                      <a:pt x="494" y="289"/>
                    </a:lnTo>
                    <a:lnTo>
                      <a:pt x="492" y="289"/>
                    </a:lnTo>
                    <a:lnTo>
                      <a:pt x="492" y="290"/>
                    </a:lnTo>
                    <a:lnTo>
                      <a:pt x="492" y="292"/>
                    </a:lnTo>
                    <a:lnTo>
                      <a:pt x="490" y="292"/>
                    </a:lnTo>
                    <a:lnTo>
                      <a:pt x="490" y="294"/>
                    </a:lnTo>
                    <a:lnTo>
                      <a:pt x="488" y="294"/>
                    </a:lnTo>
                    <a:lnTo>
                      <a:pt x="486" y="294"/>
                    </a:lnTo>
                    <a:lnTo>
                      <a:pt x="484" y="294"/>
                    </a:lnTo>
                    <a:lnTo>
                      <a:pt x="484" y="292"/>
                    </a:lnTo>
                    <a:lnTo>
                      <a:pt x="482" y="292"/>
                    </a:lnTo>
                    <a:lnTo>
                      <a:pt x="481" y="290"/>
                    </a:lnTo>
                    <a:lnTo>
                      <a:pt x="481" y="292"/>
                    </a:lnTo>
                    <a:lnTo>
                      <a:pt x="481" y="290"/>
                    </a:lnTo>
                    <a:lnTo>
                      <a:pt x="479" y="290"/>
                    </a:lnTo>
                    <a:lnTo>
                      <a:pt x="479" y="292"/>
                    </a:lnTo>
                    <a:lnTo>
                      <a:pt x="479" y="290"/>
                    </a:lnTo>
                    <a:lnTo>
                      <a:pt x="479" y="292"/>
                    </a:lnTo>
                    <a:lnTo>
                      <a:pt x="477" y="292"/>
                    </a:lnTo>
                    <a:lnTo>
                      <a:pt x="475" y="292"/>
                    </a:lnTo>
                    <a:lnTo>
                      <a:pt x="477" y="292"/>
                    </a:lnTo>
                    <a:lnTo>
                      <a:pt x="475" y="292"/>
                    </a:lnTo>
                    <a:lnTo>
                      <a:pt x="473" y="292"/>
                    </a:lnTo>
                    <a:lnTo>
                      <a:pt x="471" y="292"/>
                    </a:lnTo>
                    <a:lnTo>
                      <a:pt x="469" y="292"/>
                    </a:lnTo>
                    <a:lnTo>
                      <a:pt x="471" y="292"/>
                    </a:lnTo>
                    <a:lnTo>
                      <a:pt x="471" y="294"/>
                    </a:lnTo>
                    <a:lnTo>
                      <a:pt x="471" y="292"/>
                    </a:lnTo>
                    <a:lnTo>
                      <a:pt x="471" y="294"/>
                    </a:lnTo>
                    <a:lnTo>
                      <a:pt x="473" y="294"/>
                    </a:lnTo>
                    <a:lnTo>
                      <a:pt x="475" y="294"/>
                    </a:lnTo>
                    <a:lnTo>
                      <a:pt x="477" y="294"/>
                    </a:lnTo>
                    <a:lnTo>
                      <a:pt x="479" y="294"/>
                    </a:lnTo>
                    <a:lnTo>
                      <a:pt x="481" y="294"/>
                    </a:lnTo>
                    <a:lnTo>
                      <a:pt x="482" y="294"/>
                    </a:lnTo>
                    <a:lnTo>
                      <a:pt x="481" y="294"/>
                    </a:lnTo>
                    <a:lnTo>
                      <a:pt x="481" y="296"/>
                    </a:lnTo>
                    <a:lnTo>
                      <a:pt x="481" y="294"/>
                    </a:lnTo>
                    <a:lnTo>
                      <a:pt x="482" y="294"/>
                    </a:lnTo>
                    <a:lnTo>
                      <a:pt x="484" y="294"/>
                    </a:lnTo>
                    <a:lnTo>
                      <a:pt x="486" y="294"/>
                    </a:lnTo>
                    <a:lnTo>
                      <a:pt x="486" y="296"/>
                    </a:lnTo>
                    <a:lnTo>
                      <a:pt x="484" y="296"/>
                    </a:lnTo>
                    <a:lnTo>
                      <a:pt x="484" y="298"/>
                    </a:lnTo>
                    <a:lnTo>
                      <a:pt x="482" y="298"/>
                    </a:lnTo>
                    <a:lnTo>
                      <a:pt x="481" y="298"/>
                    </a:lnTo>
                    <a:lnTo>
                      <a:pt x="481" y="296"/>
                    </a:lnTo>
                    <a:lnTo>
                      <a:pt x="481" y="298"/>
                    </a:lnTo>
                    <a:lnTo>
                      <a:pt x="481" y="300"/>
                    </a:lnTo>
                    <a:lnTo>
                      <a:pt x="479" y="302"/>
                    </a:lnTo>
                    <a:lnTo>
                      <a:pt x="477" y="302"/>
                    </a:lnTo>
                    <a:lnTo>
                      <a:pt x="477" y="304"/>
                    </a:lnTo>
                    <a:lnTo>
                      <a:pt x="475" y="306"/>
                    </a:lnTo>
                    <a:lnTo>
                      <a:pt x="473" y="306"/>
                    </a:lnTo>
                    <a:lnTo>
                      <a:pt x="471" y="306"/>
                    </a:lnTo>
                    <a:lnTo>
                      <a:pt x="469" y="306"/>
                    </a:lnTo>
                    <a:lnTo>
                      <a:pt x="469" y="308"/>
                    </a:lnTo>
                    <a:lnTo>
                      <a:pt x="467" y="308"/>
                    </a:lnTo>
                    <a:lnTo>
                      <a:pt x="467" y="306"/>
                    </a:lnTo>
                    <a:lnTo>
                      <a:pt x="465" y="306"/>
                    </a:lnTo>
                    <a:lnTo>
                      <a:pt x="465" y="308"/>
                    </a:lnTo>
                    <a:lnTo>
                      <a:pt x="463" y="308"/>
                    </a:lnTo>
                    <a:lnTo>
                      <a:pt x="463" y="310"/>
                    </a:lnTo>
                    <a:lnTo>
                      <a:pt x="461" y="310"/>
                    </a:lnTo>
                    <a:lnTo>
                      <a:pt x="459" y="310"/>
                    </a:lnTo>
                    <a:lnTo>
                      <a:pt x="459" y="308"/>
                    </a:lnTo>
                    <a:lnTo>
                      <a:pt x="458" y="308"/>
                    </a:lnTo>
                    <a:lnTo>
                      <a:pt x="456" y="308"/>
                    </a:lnTo>
                    <a:lnTo>
                      <a:pt x="456" y="306"/>
                    </a:lnTo>
                    <a:lnTo>
                      <a:pt x="454" y="306"/>
                    </a:lnTo>
                    <a:lnTo>
                      <a:pt x="452" y="306"/>
                    </a:lnTo>
                    <a:lnTo>
                      <a:pt x="450" y="308"/>
                    </a:lnTo>
                    <a:lnTo>
                      <a:pt x="448" y="308"/>
                    </a:lnTo>
                    <a:lnTo>
                      <a:pt x="450" y="308"/>
                    </a:lnTo>
                    <a:lnTo>
                      <a:pt x="452" y="308"/>
                    </a:lnTo>
                    <a:lnTo>
                      <a:pt x="452" y="306"/>
                    </a:lnTo>
                    <a:lnTo>
                      <a:pt x="452" y="308"/>
                    </a:lnTo>
                    <a:lnTo>
                      <a:pt x="454" y="308"/>
                    </a:lnTo>
                    <a:lnTo>
                      <a:pt x="454" y="306"/>
                    </a:lnTo>
                    <a:lnTo>
                      <a:pt x="456" y="308"/>
                    </a:lnTo>
                    <a:lnTo>
                      <a:pt x="458" y="308"/>
                    </a:lnTo>
                    <a:lnTo>
                      <a:pt x="458" y="310"/>
                    </a:lnTo>
                    <a:lnTo>
                      <a:pt x="459" y="310"/>
                    </a:lnTo>
                    <a:lnTo>
                      <a:pt x="461" y="310"/>
                    </a:lnTo>
                    <a:lnTo>
                      <a:pt x="463" y="310"/>
                    </a:lnTo>
                    <a:lnTo>
                      <a:pt x="463" y="308"/>
                    </a:lnTo>
                    <a:lnTo>
                      <a:pt x="465" y="308"/>
                    </a:lnTo>
                    <a:lnTo>
                      <a:pt x="465" y="306"/>
                    </a:lnTo>
                    <a:lnTo>
                      <a:pt x="465" y="308"/>
                    </a:lnTo>
                    <a:lnTo>
                      <a:pt x="467" y="308"/>
                    </a:lnTo>
                    <a:lnTo>
                      <a:pt x="469" y="308"/>
                    </a:lnTo>
                    <a:lnTo>
                      <a:pt x="471" y="306"/>
                    </a:lnTo>
                    <a:lnTo>
                      <a:pt x="473" y="308"/>
                    </a:lnTo>
                    <a:lnTo>
                      <a:pt x="475" y="308"/>
                    </a:lnTo>
                    <a:lnTo>
                      <a:pt x="475" y="306"/>
                    </a:lnTo>
                    <a:lnTo>
                      <a:pt x="477" y="306"/>
                    </a:lnTo>
                    <a:lnTo>
                      <a:pt x="479" y="306"/>
                    </a:lnTo>
                    <a:lnTo>
                      <a:pt x="481" y="306"/>
                    </a:lnTo>
                    <a:lnTo>
                      <a:pt x="482" y="306"/>
                    </a:lnTo>
                    <a:lnTo>
                      <a:pt x="482" y="308"/>
                    </a:lnTo>
                    <a:lnTo>
                      <a:pt x="482" y="306"/>
                    </a:lnTo>
                    <a:lnTo>
                      <a:pt x="481" y="306"/>
                    </a:lnTo>
                    <a:lnTo>
                      <a:pt x="479" y="306"/>
                    </a:lnTo>
                    <a:lnTo>
                      <a:pt x="477" y="306"/>
                    </a:lnTo>
                    <a:lnTo>
                      <a:pt x="477" y="304"/>
                    </a:lnTo>
                    <a:lnTo>
                      <a:pt x="479" y="304"/>
                    </a:lnTo>
                    <a:lnTo>
                      <a:pt x="481" y="304"/>
                    </a:lnTo>
                    <a:lnTo>
                      <a:pt x="481" y="302"/>
                    </a:lnTo>
                    <a:lnTo>
                      <a:pt x="482" y="302"/>
                    </a:lnTo>
                    <a:lnTo>
                      <a:pt x="484" y="302"/>
                    </a:lnTo>
                    <a:lnTo>
                      <a:pt x="482" y="302"/>
                    </a:lnTo>
                    <a:lnTo>
                      <a:pt x="482" y="300"/>
                    </a:lnTo>
                    <a:lnTo>
                      <a:pt x="484" y="300"/>
                    </a:lnTo>
                    <a:lnTo>
                      <a:pt x="484" y="302"/>
                    </a:lnTo>
                    <a:lnTo>
                      <a:pt x="486" y="302"/>
                    </a:lnTo>
                    <a:lnTo>
                      <a:pt x="484" y="302"/>
                    </a:lnTo>
                    <a:lnTo>
                      <a:pt x="486" y="302"/>
                    </a:lnTo>
                    <a:lnTo>
                      <a:pt x="484" y="302"/>
                    </a:lnTo>
                    <a:lnTo>
                      <a:pt x="484" y="300"/>
                    </a:lnTo>
                    <a:lnTo>
                      <a:pt x="482" y="300"/>
                    </a:lnTo>
                    <a:lnTo>
                      <a:pt x="484" y="300"/>
                    </a:lnTo>
                    <a:lnTo>
                      <a:pt x="484" y="298"/>
                    </a:lnTo>
                    <a:lnTo>
                      <a:pt x="484" y="296"/>
                    </a:lnTo>
                    <a:lnTo>
                      <a:pt x="486" y="296"/>
                    </a:lnTo>
                    <a:lnTo>
                      <a:pt x="488" y="296"/>
                    </a:lnTo>
                    <a:lnTo>
                      <a:pt x="490" y="296"/>
                    </a:lnTo>
                    <a:lnTo>
                      <a:pt x="492" y="296"/>
                    </a:lnTo>
                    <a:lnTo>
                      <a:pt x="494" y="296"/>
                    </a:lnTo>
                    <a:lnTo>
                      <a:pt x="496" y="296"/>
                    </a:lnTo>
                    <a:lnTo>
                      <a:pt x="498" y="296"/>
                    </a:lnTo>
                    <a:lnTo>
                      <a:pt x="500" y="298"/>
                    </a:lnTo>
                    <a:lnTo>
                      <a:pt x="502" y="298"/>
                    </a:lnTo>
                    <a:lnTo>
                      <a:pt x="504" y="298"/>
                    </a:lnTo>
                    <a:lnTo>
                      <a:pt x="504" y="296"/>
                    </a:lnTo>
                    <a:lnTo>
                      <a:pt x="506" y="296"/>
                    </a:lnTo>
                    <a:lnTo>
                      <a:pt x="506" y="298"/>
                    </a:lnTo>
                    <a:lnTo>
                      <a:pt x="507" y="298"/>
                    </a:lnTo>
                    <a:lnTo>
                      <a:pt x="507" y="300"/>
                    </a:lnTo>
                    <a:lnTo>
                      <a:pt x="509" y="302"/>
                    </a:lnTo>
                    <a:lnTo>
                      <a:pt x="509" y="304"/>
                    </a:lnTo>
                    <a:lnTo>
                      <a:pt x="511" y="304"/>
                    </a:lnTo>
                    <a:lnTo>
                      <a:pt x="509" y="304"/>
                    </a:lnTo>
                    <a:lnTo>
                      <a:pt x="511" y="306"/>
                    </a:lnTo>
                    <a:lnTo>
                      <a:pt x="509" y="306"/>
                    </a:lnTo>
                    <a:lnTo>
                      <a:pt x="511" y="306"/>
                    </a:lnTo>
                    <a:lnTo>
                      <a:pt x="509" y="306"/>
                    </a:lnTo>
                    <a:lnTo>
                      <a:pt x="511" y="306"/>
                    </a:lnTo>
                    <a:lnTo>
                      <a:pt x="509" y="306"/>
                    </a:lnTo>
                    <a:lnTo>
                      <a:pt x="511" y="306"/>
                    </a:lnTo>
                    <a:lnTo>
                      <a:pt x="511" y="308"/>
                    </a:lnTo>
                    <a:lnTo>
                      <a:pt x="513" y="308"/>
                    </a:lnTo>
                    <a:lnTo>
                      <a:pt x="513" y="310"/>
                    </a:lnTo>
                    <a:lnTo>
                      <a:pt x="515" y="310"/>
                    </a:lnTo>
                    <a:lnTo>
                      <a:pt x="515" y="312"/>
                    </a:lnTo>
                    <a:lnTo>
                      <a:pt x="513" y="312"/>
                    </a:lnTo>
                    <a:lnTo>
                      <a:pt x="513" y="314"/>
                    </a:lnTo>
                    <a:lnTo>
                      <a:pt x="513" y="315"/>
                    </a:lnTo>
                    <a:lnTo>
                      <a:pt x="511" y="315"/>
                    </a:lnTo>
                    <a:lnTo>
                      <a:pt x="513" y="315"/>
                    </a:lnTo>
                    <a:lnTo>
                      <a:pt x="511" y="315"/>
                    </a:lnTo>
                    <a:lnTo>
                      <a:pt x="511" y="317"/>
                    </a:lnTo>
                    <a:lnTo>
                      <a:pt x="509" y="317"/>
                    </a:lnTo>
                    <a:lnTo>
                      <a:pt x="509" y="319"/>
                    </a:lnTo>
                    <a:lnTo>
                      <a:pt x="511" y="319"/>
                    </a:lnTo>
                    <a:lnTo>
                      <a:pt x="513" y="319"/>
                    </a:lnTo>
                    <a:lnTo>
                      <a:pt x="515" y="319"/>
                    </a:lnTo>
                    <a:lnTo>
                      <a:pt x="517" y="319"/>
                    </a:lnTo>
                    <a:lnTo>
                      <a:pt x="519" y="319"/>
                    </a:lnTo>
                    <a:lnTo>
                      <a:pt x="519" y="321"/>
                    </a:lnTo>
                    <a:lnTo>
                      <a:pt x="521" y="321"/>
                    </a:lnTo>
                    <a:lnTo>
                      <a:pt x="521" y="319"/>
                    </a:lnTo>
                    <a:lnTo>
                      <a:pt x="521" y="321"/>
                    </a:lnTo>
                    <a:lnTo>
                      <a:pt x="523" y="321"/>
                    </a:lnTo>
                    <a:lnTo>
                      <a:pt x="523" y="319"/>
                    </a:lnTo>
                    <a:lnTo>
                      <a:pt x="523" y="317"/>
                    </a:lnTo>
                    <a:lnTo>
                      <a:pt x="521" y="317"/>
                    </a:lnTo>
                    <a:lnTo>
                      <a:pt x="521" y="315"/>
                    </a:lnTo>
                    <a:lnTo>
                      <a:pt x="521" y="314"/>
                    </a:lnTo>
                    <a:lnTo>
                      <a:pt x="523" y="314"/>
                    </a:lnTo>
                    <a:lnTo>
                      <a:pt x="523" y="312"/>
                    </a:lnTo>
                    <a:lnTo>
                      <a:pt x="521" y="314"/>
                    </a:lnTo>
                    <a:lnTo>
                      <a:pt x="523" y="314"/>
                    </a:lnTo>
                    <a:lnTo>
                      <a:pt x="521" y="314"/>
                    </a:lnTo>
                    <a:lnTo>
                      <a:pt x="521" y="312"/>
                    </a:lnTo>
                    <a:lnTo>
                      <a:pt x="519" y="310"/>
                    </a:lnTo>
                    <a:lnTo>
                      <a:pt x="517" y="308"/>
                    </a:lnTo>
                    <a:lnTo>
                      <a:pt x="517" y="306"/>
                    </a:lnTo>
                    <a:lnTo>
                      <a:pt x="515" y="306"/>
                    </a:lnTo>
                    <a:lnTo>
                      <a:pt x="515" y="304"/>
                    </a:lnTo>
                    <a:lnTo>
                      <a:pt x="515" y="302"/>
                    </a:lnTo>
                    <a:lnTo>
                      <a:pt x="513" y="302"/>
                    </a:lnTo>
                    <a:lnTo>
                      <a:pt x="515" y="302"/>
                    </a:lnTo>
                    <a:lnTo>
                      <a:pt x="513" y="302"/>
                    </a:lnTo>
                    <a:lnTo>
                      <a:pt x="515" y="302"/>
                    </a:lnTo>
                    <a:lnTo>
                      <a:pt x="513" y="302"/>
                    </a:lnTo>
                    <a:lnTo>
                      <a:pt x="515" y="302"/>
                    </a:lnTo>
                    <a:lnTo>
                      <a:pt x="513" y="300"/>
                    </a:lnTo>
                    <a:lnTo>
                      <a:pt x="513" y="298"/>
                    </a:lnTo>
                    <a:lnTo>
                      <a:pt x="511" y="298"/>
                    </a:lnTo>
                    <a:lnTo>
                      <a:pt x="511" y="296"/>
                    </a:lnTo>
                    <a:lnTo>
                      <a:pt x="511" y="294"/>
                    </a:lnTo>
                    <a:lnTo>
                      <a:pt x="513" y="294"/>
                    </a:lnTo>
                    <a:lnTo>
                      <a:pt x="513" y="292"/>
                    </a:lnTo>
                    <a:lnTo>
                      <a:pt x="511" y="292"/>
                    </a:lnTo>
                    <a:lnTo>
                      <a:pt x="511" y="290"/>
                    </a:lnTo>
                    <a:lnTo>
                      <a:pt x="509" y="290"/>
                    </a:lnTo>
                    <a:lnTo>
                      <a:pt x="511" y="290"/>
                    </a:lnTo>
                    <a:lnTo>
                      <a:pt x="509" y="290"/>
                    </a:lnTo>
                    <a:lnTo>
                      <a:pt x="507" y="290"/>
                    </a:lnTo>
                    <a:lnTo>
                      <a:pt x="506" y="290"/>
                    </a:lnTo>
                    <a:lnTo>
                      <a:pt x="506" y="292"/>
                    </a:lnTo>
                    <a:lnTo>
                      <a:pt x="504" y="292"/>
                    </a:lnTo>
                    <a:lnTo>
                      <a:pt x="502" y="292"/>
                    </a:lnTo>
                    <a:lnTo>
                      <a:pt x="500" y="292"/>
                    </a:lnTo>
                    <a:lnTo>
                      <a:pt x="500" y="290"/>
                    </a:lnTo>
                    <a:lnTo>
                      <a:pt x="502" y="290"/>
                    </a:lnTo>
                    <a:lnTo>
                      <a:pt x="504" y="290"/>
                    </a:lnTo>
                    <a:lnTo>
                      <a:pt x="504" y="289"/>
                    </a:lnTo>
                    <a:lnTo>
                      <a:pt x="506" y="289"/>
                    </a:lnTo>
                    <a:lnTo>
                      <a:pt x="507" y="289"/>
                    </a:lnTo>
                    <a:lnTo>
                      <a:pt x="509" y="289"/>
                    </a:lnTo>
                    <a:lnTo>
                      <a:pt x="511" y="289"/>
                    </a:lnTo>
                    <a:lnTo>
                      <a:pt x="511" y="287"/>
                    </a:lnTo>
                    <a:lnTo>
                      <a:pt x="513" y="287"/>
                    </a:lnTo>
                    <a:lnTo>
                      <a:pt x="515" y="287"/>
                    </a:lnTo>
                    <a:lnTo>
                      <a:pt x="517" y="287"/>
                    </a:lnTo>
                    <a:lnTo>
                      <a:pt x="517" y="289"/>
                    </a:lnTo>
                    <a:lnTo>
                      <a:pt x="515" y="289"/>
                    </a:lnTo>
                    <a:lnTo>
                      <a:pt x="515" y="290"/>
                    </a:lnTo>
                    <a:lnTo>
                      <a:pt x="515" y="292"/>
                    </a:lnTo>
                    <a:lnTo>
                      <a:pt x="517" y="294"/>
                    </a:lnTo>
                    <a:lnTo>
                      <a:pt x="519" y="294"/>
                    </a:lnTo>
                    <a:lnTo>
                      <a:pt x="521" y="294"/>
                    </a:lnTo>
                    <a:lnTo>
                      <a:pt x="523" y="296"/>
                    </a:lnTo>
                    <a:lnTo>
                      <a:pt x="525" y="298"/>
                    </a:lnTo>
                    <a:lnTo>
                      <a:pt x="527" y="298"/>
                    </a:lnTo>
                    <a:lnTo>
                      <a:pt x="529" y="298"/>
                    </a:lnTo>
                    <a:lnTo>
                      <a:pt x="531" y="298"/>
                    </a:lnTo>
                    <a:lnTo>
                      <a:pt x="532" y="300"/>
                    </a:lnTo>
                    <a:lnTo>
                      <a:pt x="531" y="300"/>
                    </a:lnTo>
                    <a:lnTo>
                      <a:pt x="532" y="300"/>
                    </a:lnTo>
                    <a:lnTo>
                      <a:pt x="532" y="298"/>
                    </a:lnTo>
                    <a:lnTo>
                      <a:pt x="534" y="298"/>
                    </a:lnTo>
                    <a:lnTo>
                      <a:pt x="534" y="300"/>
                    </a:lnTo>
                    <a:lnTo>
                      <a:pt x="536" y="300"/>
                    </a:lnTo>
                    <a:lnTo>
                      <a:pt x="536" y="298"/>
                    </a:lnTo>
                    <a:lnTo>
                      <a:pt x="534" y="298"/>
                    </a:lnTo>
                    <a:lnTo>
                      <a:pt x="536" y="298"/>
                    </a:lnTo>
                    <a:lnTo>
                      <a:pt x="534" y="298"/>
                    </a:lnTo>
                    <a:lnTo>
                      <a:pt x="534" y="296"/>
                    </a:lnTo>
                    <a:lnTo>
                      <a:pt x="532" y="298"/>
                    </a:lnTo>
                    <a:lnTo>
                      <a:pt x="532" y="296"/>
                    </a:lnTo>
                    <a:lnTo>
                      <a:pt x="534" y="296"/>
                    </a:lnTo>
                    <a:lnTo>
                      <a:pt x="534" y="294"/>
                    </a:lnTo>
                    <a:lnTo>
                      <a:pt x="532" y="294"/>
                    </a:lnTo>
                    <a:lnTo>
                      <a:pt x="532" y="296"/>
                    </a:lnTo>
                    <a:lnTo>
                      <a:pt x="532" y="294"/>
                    </a:lnTo>
                    <a:lnTo>
                      <a:pt x="532" y="292"/>
                    </a:lnTo>
                    <a:lnTo>
                      <a:pt x="531" y="292"/>
                    </a:lnTo>
                    <a:lnTo>
                      <a:pt x="531" y="290"/>
                    </a:lnTo>
                    <a:lnTo>
                      <a:pt x="531" y="289"/>
                    </a:lnTo>
                    <a:lnTo>
                      <a:pt x="529" y="289"/>
                    </a:lnTo>
                    <a:lnTo>
                      <a:pt x="529" y="287"/>
                    </a:lnTo>
                    <a:lnTo>
                      <a:pt x="529" y="285"/>
                    </a:lnTo>
                    <a:lnTo>
                      <a:pt x="531" y="285"/>
                    </a:lnTo>
                    <a:lnTo>
                      <a:pt x="531" y="283"/>
                    </a:lnTo>
                    <a:lnTo>
                      <a:pt x="532" y="283"/>
                    </a:lnTo>
                    <a:lnTo>
                      <a:pt x="532" y="285"/>
                    </a:lnTo>
                    <a:lnTo>
                      <a:pt x="532" y="283"/>
                    </a:lnTo>
                    <a:lnTo>
                      <a:pt x="532" y="285"/>
                    </a:lnTo>
                    <a:lnTo>
                      <a:pt x="532" y="283"/>
                    </a:lnTo>
                    <a:lnTo>
                      <a:pt x="534" y="283"/>
                    </a:lnTo>
                    <a:lnTo>
                      <a:pt x="536" y="283"/>
                    </a:lnTo>
                    <a:lnTo>
                      <a:pt x="538" y="283"/>
                    </a:lnTo>
                    <a:lnTo>
                      <a:pt x="540" y="283"/>
                    </a:lnTo>
                    <a:lnTo>
                      <a:pt x="542" y="283"/>
                    </a:lnTo>
                    <a:lnTo>
                      <a:pt x="542" y="285"/>
                    </a:lnTo>
                    <a:lnTo>
                      <a:pt x="544" y="285"/>
                    </a:lnTo>
                    <a:lnTo>
                      <a:pt x="542" y="285"/>
                    </a:lnTo>
                    <a:lnTo>
                      <a:pt x="544" y="285"/>
                    </a:lnTo>
                    <a:lnTo>
                      <a:pt x="546" y="285"/>
                    </a:lnTo>
                    <a:lnTo>
                      <a:pt x="546" y="287"/>
                    </a:lnTo>
                    <a:lnTo>
                      <a:pt x="546" y="285"/>
                    </a:lnTo>
                    <a:lnTo>
                      <a:pt x="548" y="285"/>
                    </a:lnTo>
                    <a:lnTo>
                      <a:pt x="548" y="287"/>
                    </a:lnTo>
                    <a:lnTo>
                      <a:pt x="546" y="287"/>
                    </a:lnTo>
                    <a:lnTo>
                      <a:pt x="548" y="287"/>
                    </a:lnTo>
                    <a:lnTo>
                      <a:pt x="548" y="285"/>
                    </a:lnTo>
                    <a:lnTo>
                      <a:pt x="548" y="287"/>
                    </a:lnTo>
                    <a:lnTo>
                      <a:pt x="548" y="289"/>
                    </a:lnTo>
                    <a:lnTo>
                      <a:pt x="550" y="289"/>
                    </a:lnTo>
                    <a:lnTo>
                      <a:pt x="552" y="289"/>
                    </a:lnTo>
                    <a:lnTo>
                      <a:pt x="554" y="289"/>
                    </a:lnTo>
                    <a:lnTo>
                      <a:pt x="552" y="289"/>
                    </a:lnTo>
                    <a:lnTo>
                      <a:pt x="552" y="290"/>
                    </a:lnTo>
                    <a:lnTo>
                      <a:pt x="554" y="290"/>
                    </a:lnTo>
                    <a:lnTo>
                      <a:pt x="555" y="290"/>
                    </a:lnTo>
                    <a:lnTo>
                      <a:pt x="555" y="292"/>
                    </a:lnTo>
                    <a:lnTo>
                      <a:pt x="557" y="292"/>
                    </a:lnTo>
                    <a:lnTo>
                      <a:pt x="557" y="290"/>
                    </a:lnTo>
                    <a:lnTo>
                      <a:pt x="557" y="292"/>
                    </a:lnTo>
                    <a:lnTo>
                      <a:pt x="559" y="292"/>
                    </a:lnTo>
                    <a:lnTo>
                      <a:pt x="561" y="292"/>
                    </a:lnTo>
                    <a:lnTo>
                      <a:pt x="563" y="292"/>
                    </a:lnTo>
                    <a:lnTo>
                      <a:pt x="563" y="294"/>
                    </a:lnTo>
                    <a:lnTo>
                      <a:pt x="565" y="294"/>
                    </a:lnTo>
                    <a:lnTo>
                      <a:pt x="565" y="296"/>
                    </a:lnTo>
                    <a:lnTo>
                      <a:pt x="567" y="296"/>
                    </a:lnTo>
                    <a:lnTo>
                      <a:pt x="567" y="294"/>
                    </a:lnTo>
                    <a:lnTo>
                      <a:pt x="567" y="296"/>
                    </a:lnTo>
                    <a:lnTo>
                      <a:pt x="569" y="296"/>
                    </a:lnTo>
                    <a:lnTo>
                      <a:pt x="567" y="296"/>
                    </a:lnTo>
                    <a:lnTo>
                      <a:pt x="569" y="296"/>
                    </a:lnTo>
                    <a:lnTo>
                      <a:pt x="569" y="298"/>
                    </a:lnTo>
                    <a:lnTo>
                      <a:pt x="571" y="298"/>
                    </a:lnTo>
                    <a:lnTo>
                      <a:pt x="573" y="298"/>
                    </a:lnTo>
                    <a:lnTo>
                      <a:pt x="571" y="298"/>
                    </a:lnTo>
                    <a:lnTo>
                      <a:pt x="571" y="300"/>
                    </a:lnTo>
                    <a:lnTo>
                      <a:pt x="573" y="300"/>
                    </a:lnTo>
                    <a:lnTo>
                      <a:pt x="575" y="300"/>
                    </a:lnTo>
                    <a:lnTo>
                      <a:pt x="575" y="302"/>
                    </a:lnTo>
                    <a:lnTo>
                      <a:pt x="573" y="302"/>
                    </a:lnTo>
                    <a:lnTo>
                      <a:pt x="573" y="300"/>
                    </a:lnTo>
                    <a:lnTo>
                      <a:pt x="573" y="302"/>
                    </a:lnTo>
                    <a:lnTo>
                      <a:pt x="573" y="304"/>
                    </a:lnTo>
                    <a:lnTo>
                      <a:pt x="571" y="304"/>
                    </a:lnTo>
                    <a:lnTo>
                      <a:pt x="571" y="306"/>
                    </a:lnTo>
                    <a:lnTo>
                      <a:pt x="571" y="304"/>
                    </a:lnTo>
                    <a:lnTo>
                      <a:pt x="571" y="306"/>
                    </a:lnTo>
                    <a:lnTo>
                      <a:pt x="571" y="304"/>
                    </a:lnTo>
                    <a:lnTo>
                      <a:pt x="573" y="304"/>
                    </a:lnTo>
                    <a:lnTo>
                      <a:pt x="573" y="302"/>
                    </a:lnTo>
                    <a:lnTo>
                      <a:pt x="575" y="302"/>
                    </a:lnTo>
                    <a:lnTo>
                      <a:pt x="575" y="300"/>
                    </a:lnTo>
                    <a:lnTo>
                      <a:pt x="573" y="300"/>
                    </a:lnTo>
                    <a:lnTo>
                      <a:pt x="571" y="300"/>
                    </a:lnTo>
                    <a:lnTo>
                      <a:pt x="571" y="298"/>
                    </a:lnTo>
                    <a:lnTo>
                      <a:pt x="573" y="298"/>
                    </a:lnTo>
                    <a:lnTo>
                      <a:pt x="571" y="298"/>
                    </a:lnTo>
                    <a:lnTo>
                      <a:pt x="569" y="298"/>
                    </a:lnTo>
                    <a:lnTo>
                      <a:pt x="569" y="296"/>
                    </a:lnTo>
                    <a:lnTo>
                      <a:pt x="569" y="298"/>
                    </a:lnTo>
                    <a:lnTo>
                      <a:pt x="571" y="298"/>
                    </a:lnTo>
                    <a:lnTo>
                      <a:pt x="571" y="296"/>
                    </a:lnTo>
                    <a:lnTo>
                      <a:pt x="571" y="298"/>
                    </a:lnTo>
                    <a:lnTo>
                      <a:pt x="571" y="296"/>
                    </a:lnTo>
                    <a:lnTo>
                      <a:pt x="573" y="296"/>
                    </a:lnTo>
                    <a:lnTo>
                      <a:pt x="571" y="296"/>
                    </a:lnTo>
                    <a:lnTo>
                      <a:pt x="571" y="298"/>
                    </a:lnTo>
                    <a:lnTo>
                      <a:pt x="571" y="296"/>
                    </a:lnTo>
                    <a:lnTo>
                      <a:pt x="569" y="298"/>
                    </a:lnTo>
                    <a:lnTo>
                      <a:pt x="569" y="296"/>
                    </a:lnTo>
                    <a:lnTo>
                      <a:pt x="567" y="296"/>
                    </a:lnTo>
                    <a:lnTo>
                      <a:pt x="569" y="296"/>
                    </a:lnTo>
                    <a:lnTo>
                      <a:pt x="567" y="296"/>
                    </a:lnTo>
                    <a:lnTo>
                      <a:pt x="567" y="294"/>
                    </a:lnTo>
                    <a:lnTo>
                      <a:pt x="565" y="296"/>
                    </a:lnTo>
                    <a:lnTo>
                      <a:pt x="565" y="294"/>
                    </a:lnTo>
                    <a:lnTo>
                      <a:pt x="563" y="294"/>
                    </a:lnTo>
                    <a:lnTo>
                      <a:pt x="565" y="294"/>
                    </a:lnTo>
                    <a:lnTo>
                      <a:pt x="563" y="292"/>
                    </a:lnTo>
                    <a:lnTo>
                      <a:pt x="561" y="292"/>
                    </a:lnTo>
                    <a:lnTo>
                      <a:pt x="559" y="292"/>
                    </a:lnTo>
                    <a:lnTo>
                      <a:pt x="559" y="290"/>
                    </a:lnTo>
                    <a:lnTo>
                      <a:pt x="559" y="292"/>
                    </a:lnTo>
                    <a:lnTo>
                      <a:pt x="557" y="292"/>
                    </a:lnTo>
                    <a:lnTo>
                      <a:pt x="557" y="290"/>
                    </a:lnTo>
                    <a:lnTo>
                      <a:pt x="555" y="290"/>
                    </a:lnTo>
                    <a:lnTo>
                      <a:pt x="555" y="292"/>
                    </a:lnTo>
                    <a:lnTo>
                      <a:pt x="555" y="290"/>
                    </a:lnTo>
                    <a:lnTo>
                      <a:pt x="554" y="290"/>
                    </a:lnTo>
                    <a:lnTo>
                      <a:pt x="554" y="289"/>
                    </a:lnTo>
                    <a:lnTo>
                      <a:pt x="554" y="290"/>
                    </a:lnTo>
                    <a:lnTo>
                      <a:pt x="554" y="289"/>
                    </a:lnTo>
                    <a:lnTo>
                      <a:pt x="554" y="290"/>
                    </a:lnTo>
                    <a:lnTo>
                      <a:pt x="552" y="290"/>
                    </a:lnTo>
                    <a:lnTo>
                      <a:pt x="552" y="289"/>
                    </a:lnTo>
                    <a:lnTo>
                      <a:pt x="554" y="289"/>
                    </a:lnTo>
                    <a:lnTo>
                      <a:pt x="552" y="289"/>
                    </a:lnTo>
                    <a:lnTo>
                      <a:pt x="550" y="289"/>
                    </a:lnTo>
                    <a:lnTo>
                      <a:pt x="548" y="289"/>
                    </a:lnTo>
                    <a:lnTo>
                      <a:pt x="548" y="287"/>
                    </a:lnTo>
                    <a:lnTo>
                      <a:pt x="548" y="289"/>
                    </a:lnTo>
                    <a:lnTo>
                      <a:pt x="548" y="287"/>
                    </a:lnTo>
                    <a:lnTo>
                      <a:pt x="548" y="289"/>
                    </a:lnTo>
                    <a:lnTo>
                      <a:pt x="548" y="287"/>
                    </a:lnTo>
                    <a:lnTo>
                      <a:pt x="548" y="285"/>
                    </a:lnTo>
                    <a:lnTo>
                      <a:pt x="546" y="285"/>
                    </a:lnTo>
                    <a:lnTo>
                      <a:pt x="546" y="283"/>
                    </a:lnTo>
                    <a:lnTo>
                      <a:pt x="544" y="283"/>
                    </a:lnTo>
                    <a:lnTo>
                      <a:pt x="546" y="281"/>
                    </a:lnTo>
                    <a:lnTo>
                      <a:pt x="548" y="281"/>
                    </a:lnTo>
                    <a:lnTo>
                      <a:pt x="550" y="281"/>
                    </a:lnTo>
                    <a:lnTo>
                      <a:pt x="552" y="279"/>
                    </a:lnTo>
                    <a:lnTo>
                      <a:pt x="554" y="279"/>
                    </a:lnTo>
                    <a:lnTo>
                      <a:pt x="555" y="279"/>
                    </a:lnTo>
                    <a:lnTo>
                      <a:pt x="557" y="279"/>
                    </a:lnTo>
                    <a:lnTo>
                      <a:pt x="559" y="279"/>
                    </a:lnTo>
                    <a:lnTo>
                      <a:pt x="561" y="279"/>
                    </a:lnTo>
                    <a:lnTo>
                      <a:pt x="559" y="279"/>
                    </a:lnTo>
                    <a:lnTo>
                      <a:pt x="561" y="279"/>
                    </a:lnTo>
                    <a:lnTo>
                      <a:pt x="559" y="279"/>
                    </a:lnTo>
                    <a:lnTo>
                      <a:pt x="561" y="279"/>
                    </a:lnTo>
                    <a:lnTo>
                      <a:pt x="561" y="277"/>
                    </a:lnTo>
                    <a:lnTo>
                      <a:pt x="563" y="277"/>
                    </a:lnTo>
                    <a:lnTo>
                      <a:pt x="561" y="275"/>
                    </a:lnTo>
                    <a:lnTo>
                      <a:pt x="563" y="275"/>
                    </a:lnTo>
                    <a:lnTo>
                      <a:pt x="565" y="275"/>
                    </a:lnTo>
                    <a:lnTo>
                      <a:pt x="567" y="275"/>
                    </a:lnTo>
                    <a:lnTo>
                      <a:pt x="569" y="275"/>
                    </a:lnTo>
                    <a:lnTo>
                      <a:pt x="567" y="275"/>
                    </a:lnTo>
                    <a:lnTo>
                      <a:pt x="569" y="275"/>
                    </a:lnTo>
                    <a:lnTo>
                      <a:pt x="569" y="277"/>
                    </a:lnTo>
                    <a:lnTo>
                      <a:pt x="571" y="277"/>
                    </a:lnTo>
                    <a:lnTo>
                      <a:pt x="573" y="275"/>
                    </a:lnTo>
                    <a:lnTo>
                      <a:pt x="571" y="275"/>
                    </a:lnTo>
                    <a:lnTo>
                      <a:pt x="573" y="275"/>
                    </a:lnTo>
                    <a:lnTo>
                      <a:pt x="571" y="275"/>
                    </a:lnTo>
                    <a:lnTo>
                      <a:pt x="571" y="273"/>
                    </a:lnTo>
                    <a:lnTo>
                      <a:pt x="571" y="271"/>
                    </a:lnTo>
                    <a:lnTo>
                      <a:pt x="571" y="269"/>
                    </a:lnTo>
                    <a:lnTo>
                      <a:pt x="573" y="269"/>
                    </a:lnTo>
                    <a:lnTo>
                      <a:pt x="573" y="271"/>
                    </a:lnTo>
                    <a:lnTo>
                      <a:pt x="575" y="271"/>
                    </a:lnTo>
                    <a:lnTo>
                      <a:pt x="577" y="271"/>
                    </a:lnTo>
                    <a:lnTo>
                      <a:pt x="579" y="269"/>
                    </a:lnTo>
                    <a:lnTo>
                      <a:pt x="580" y="269"/>
                    </a:lnTo>
                    <a:lnTo>
                      <a:pt x="582" y="267"/>
                    </a:lnTo>
                    <a:lnTo>
                      <a:pt x="584" y="267"/>
                    </a:lnTo>
                    <a:lnTo>
                      <a:pt x="586" y="267"/>
                    </a:lnTo>
                    <a:lnTo>
                      <a:pt x="586" y="265"/>
                    </a:lnTo>
                    <a:lnTo>
                      <a:pt x="586" y="267"/>
                    </a:lnTo>
                    <a:lnTo>
                      <a:pt x="586" y="265"/>
                    </a:lnTo>
                    <a:lnTo>
                      <a:pt x="586" y="267"/>
                    </a:lnTo>
                    <a:lnTo>
                      <a:pt x="586" y="265"/>
                    </a:lnTo>
                    <a:lnTo>
                      <a:pt x="588" y="265"/>
                    </a:lnTo>
                    <a:lnTo>
                      <a:pt x="590" y="265"/>
                    </a:lnTo>
                    <a:lnTo>
                      <a:pt x="592" y="265"/>
                    </a:lnTo>
                    <a:lnTo>
                      <a:pt x="594" y="265"/>
                    </a:lnTo>
                    <a:lnTo>
                      <a:pt x="594" y="267"/>
                    </a:lnTo>
                    <a:lnTo>
                      <a:pt x="596" y="267"/>
                    </a:lnTo>
                    <a:lnTo>
                      <a:pt x="596" y="265"/>
                    </a:lnTo>
                    <a:lnTo>
                      <a:pt x="598" y="265"/>
                    </a:lnTo>
                    <a:lnTo>
                      <a:pt x="600" y="265"/>
                    </a:lnTo>
                    <a:lnTo>
                      <a:pt x="598" y="265"/>
                    </a:lnTo>
                    <a:lnTo>
                      <a:pt x="600" y="265"/>
                    </a:lnTo>
                    <a:lnTo>
                      <a:pt x="600" y="264"/>
                    </a:lnTo>
                    <a:lnTo>
                      <a:pt x="602" y="264"/>
                    </a:lnTo>
                    <a:lnTo>
                      <a:pt x="604" y="264"/>
                    </a:lnTo>
                    <a:lnTo>
                      <a:pt x="605" y="264"/>
                    </a:lnTo>
                    <a:lnTo>
                      <a:pt x="605" y="262"/>
                    </a:lnTo>
                    <a:lnTo>
                      <a:pt x="607" y="262"/>
                    </a:lnTo>
                    <a:lnTo>
                      <a:pt x="609" y="262"/>
                    </a:lnTo>
                    <a:lnTo>
                      <a:pt x="611" y="262"/>
                    </a:lnTo>
                    <a:lnTo>
                      <a:pt x="613" y="262"/>
                    </a:lnTo>
                    <a:lnTo>
                      <a:pt x="615" y="262"/>
                    </a:lnTo>
                    <a:lnTo>
                      <a:pt x="615" y="260"/>
                    </a:lnTo>
                    <a:lnTo>
                      <a:pt x="617" y="262"/>
                    </a:lnTo>
                    <a:lnTo>
                      <a:pt x="619" y="262"/>
                    </a:lnTo>
                    <a:lnTo>
                      <a:pt x="619" y="260"/>
                    </a:lnTo>
                    <a:lnTo>
                      <a:pt x="621" y="260"/>
                    </a:lnTo>
                    <a:lnTo>
                      <a:pt x="621" y="262"/>
                    </a:lnTo>
                    <a:lnTo>
                      <a:pt x="621" y="260"/>
                    </a:lnTo>
                    <a:lnTo>
                      <a:pt x="621" y="262"/>
                    </a:lnTo>
                    <a:lnTo>
                      <a:pt x="623" y="262"/>
                    </a:lnTo>
                    <a:lnTo>
                      <a:pt x="625" y="262"/>
                    </a:lnTo>
                    <a:lnTo>
                      <a:pt x="623" y="262"/>
                    </a:lnTo>
                    <a:lnTo>
                      <a:pt x="625" y="262"/>
                    </a:lnTo>
                    <a:lnTo>
                      <a:pt x="625" y="264"/>
                    </a:lnTo>
                    <a:lnTo>
                      <a:pt x="627" y="264"/>
                    </a:lnTo>
                    <a:lnTo>
                      <a:pt x="625" y="264"/>
                    </a:lnTo>
                    <a:lnTo>
                      <a:pt x="625" y="265"/>
                    </a:lnTo>
                    <a:lnTo>
                      <a:pt x="627" y="265"/>
                    </a:lnTo>
                    <a:lnTo>
                      <a:pt x="627" y="267"/>
                    </a:lnTo>
                    <a:lnTo>
                      <a:pt x="625" y="267"/>
                    </a:lnTo>
                    <a:lnTo>
                      <a:pt x="627" y="267"/>
                    </a:lnTo>
                    <a:lnTo>
                      <a:pt x="627" y="269"/>
                    </a:lnTo>
                    <a:lnTo>
                      <a:pt x="628" y="269"/>
                    </a:lnTo>
                    <a:lnTo>
                      <a:pt x="627" y="269"/>
                    </a:lnTo>
                    <a:lnTo>
                      <a:pt x="627" y="267"/>
                    </a:lnTo>
                    <a:lnTo>
                      <a:pt x="628" y="267"/>
                    </a:lnTo>
                    <a:lnTo>
                      <a:pt x="627" y="267"/>
                    </a:lnTo>
                    <a:lnTo>
                      <a:pt x="627" y="265"/>
                    </a:lnTo>
                    <a:lnTo>
                      <a:pt x="625" y="265"/>
                    </a:lnTo>
                    <a:lnTo>
                      <a:pt x="625" y="264"/>
                    </a:lnTo>
                    <a:lnTo>
                      <a:pt x="627" y="264"/>
                    </a:lnTo>
                    <a:lnTo>
                      <a:pt x="625" y="264"/>
                    </a:lnTo>
                    <a:lnTo>
                      <a:pt x="625" y="262"/>
                    </a:lnTo>
                    <a:lnTo>
                      <a:pt x="623" y="262"/>
                    </a:lnTo>
                    <a:lnTo>
                      <a:pt x="625" y="260"/>
                    </a:lnTo>
                    <a:lnTo>
                      <a:pt x="625" y="258"/>
                    </a:lnTo>
                    <a:lnTo>
                      <a:pt x="623" y="258"/>
                    </a:lnTo>
                    <a:lnTo>
                      <a:pt x="623" y="256"/>
                    </a:lnTo>
                    <a:lnTo>
                      <a:pt x="623" y="254"/>
                    </a:lnTo>
                    <a:lnTo>
                      <a:pt x="623" y="252"/>
                    </a:lnTo>
                    <a:lnTo>
                      <a:pt x="625" y="252"/>
                    </a:lnTo>
                    <a:lnTo>
                      <a:pt x="625" y="250"/>
                    </a:lnTo>
                    <a:lnTo>
                      <a:pt x="625" y="248"/>
                    </a:lnTo>
                    <a:lnTo>
                      <a:pt x="627" y="248"/>
                    </a:lnTo>
                    <a:lnTo>
                      <a:pt x="628" y="248"/>
                    </a:lnTo>
                    <a:lnTo>
                      <a:pt x="627" y="248"/>
                    </a:lnTo>
                    <a:lnTo>
                      <a:pt x="628" y="248"/>
                    </a:lnTo>
                    <a:lnTo>
                      <a:pt x="628" y="250"/>
                    </a:lnTo>
                    <a:lnTo>
                      <a:pt x="628" y="248"/>
                    </a:lnTo>
                    <a:lnTo>
                      <a:pt x="630" y="248"/>
                    </a:lnTo>
                    <a:lnTo>
                      <a:pt x="630" y="250"/>
                    </a:lnTo>
                    <a:lnTo>
                      <a:pt x="630" y="248"/>
                    </a:lnTo>
                    <a:lnTo>
                      <a:pt x="632" y="250"/>
                    </a:lnTo>
                    <a:lnTo>
                      <a:pt x="632" y="248"/>
                    </a:lnTo>
                    <a:lnTo>
                      <a:pt x="634" y="248"/>
                    </a:lnTo>
                    <a:lnTo>
                      <a:pt x="632" y="248"/>
                    </a:lnTo>
                    <a:lnTo>
                      <a:pt x="634" y="248"/>
                    </a:lnTo>
                    <a:lnTo>
                      <a:pt x="636" y="248"/>
                    </a:lnTo>
                    <a:lnTo>
                      <a:pt x="634" y="248"/>
                    </a:lnTo>
                    <a:lnTo>
                      <a:pt x="632" y="248"/>
                    </a:lnTo>
                    <a:lnTo>
                      <a:pt x="632" y="250"/>
                    </a:lnTo>
                    <a:lnTo>
                      <a:pt x="632" y="248"/>
                    </a:lnTo>
                    <a:lnTo>
                      <a:pt x="630" y="248"/>
                    </a:lnTo>
                    <a:lnTo>
                      <a:pt x="630" y="250"/>
                    </a:lnTo>
                    <a:lnTo>
                      <a:pt x="630" y="248"/>
                    </a:lnTo>
                    <a:lnTo>
                      <a:pt x="628" y="248"/>
                    </a:lnTo>
                    <a:lnTo>
                      <a:pt x="628" y="250"/>
                    </a:lnTo>
                    <a:lnTo>
                      <a:pt x="628" y="248"/>
                    </a:lnTo>
                    <a:lnTo>
                      <a:pt x="628" y="250"/>
                    </a:lnTo>
                    <a:lnTo>
                      <a:pt x="628" y="248"/>
                    </a:lnTo>
                    <a:lnTo>
                      <a:pt x="627" y="248"/>
                    </a:lnTo>
                    <a:lnTo>
                      <a:pt x="628" y="248"/>
                    </a:lnTo>
                    <a:lnTo>
                      <a:pt x="628" y="246"/>
                    </a:lnTo>
                    <a:lnTo>
                      <a:pt x="630" y="246"/>
                    </a:lnTo>
                    <a:lnTo>
                      <a:pt x="628" y="246"/>
                    </a:lnTo>
                    <a:lnTo>
                      <a:pt x="630" y="246"/>
                    </a:lnTo>
                    <a:lnTo>
                      <a:pt x="632" y="246"/>
                    </a:lnTo>
                    <a:lnTo>
                      <a:pt x="630" y="246"/>
                    </a:lnTo>
                    <a:lnTo>
                      <a:pt x="632" y="246"/>
                    </a:lnTo>
                    <a:lnTo>
                      <a:pt x="630" y="246"/>
                    </a:lnTo>
                    <a:lnTo>
                      <a:pt x="632" y="246"/>
                    </a:lnTo>
                    <a:lnTo>
                      <a:pt x="632" y="244"/>
                    </a:lnTo>
                    <a:lnTo>
                      <a:pt x="632" y="246"/>
                    </a:lnTo>
                    <a:lnTo>
                      <a:pt x="632" y="244"/>
                    </a:lnTo>
                    <a:lnTo>
                      <a:pt x="632" y="246"/>
                    </a:lnTo>
                    <a:lnTo>
                      <a:pt x="632" y="244"/>
                    </a:lnTo>
                    <a:lnTo>
                      <a:pt x="634" y="244"/>
                    </a:lnTo>
                    <a:lnTo>
                      <a:pt x="636" y="244"/>
                    </a:lnTo>
                    <a:lnTo>
                      <a:pt x="636" y="242"/>
                    </a:lnTo>
                    <a:lnTo>
                      <a:pt x="638" y="242"/>
                    </a:lnTo>
                    <a:lnTo>
                      <a:pt x="638" y="240"/>
                    </a:lnTo>
                    <a:lnTo>
                      <a:pt x="640" y="240"/>
                    </a:lnTo>
                    <a:lnTo>
                      <a:pt x="642" y="240"/>
                    </a:lnTo>
                    <a:lnTo>
                      <a:pt x="642" y="239"/>
                    </a:lnTo>
                    <a:lnTo>
                      <a:pt x="642" y="237"/>
                    </a:lnTo>
                    <a:lnTo>
                      <a:pt x="642" y="235"/>
                    </a:lnTo>
                    <a:lnTo>
                      <a:pt x="640" y="235"/>
                    </a:lnTo>
                    <a:lnTo>
                      <a:pt x="638" y="235"/>
                    </a:lnTo>
                    <a:lnTo>
                      <a:pt x="636" y="235"/>
                    </a:lnTo>
                    <a:lnTo>
                      <a:pt x="634" y="235"/>
                    </a:lnTo>
                    <a:lnTo>
                      <a:pt x="634" y="233"/>
                    </a:lnTo>
                    <a:lnTo>
                      <a:pt x="636" y="233"/>
                    </a:lnTo>
                    <a:lnTo>
                      <a:pt x="636" y="231"/>
                    </a:lnTo>
                    <a:lnTo>
                      <a:pt x="636" y="229"/>
                    </a:lnTo>
                    <a:lnTo>
                      <a:pt x="636" y="231"/>
                    </a:lnTo>
                    <a:lnTo>
                      <a:pt x="636" y="229"/>
                    </a:lnTo>
                    <a:lnTo>
                      <a:pt x="634" y="229"/>
                    </a:lnTo>
                    <a:lnTo>
                      <a:pt x="636" y="229"/>
                    </a:lnTo>
                    <a:lnTo>
                      <a:pt x="634" y="229"/>
                    </a:lnTo>
                    <a:lnTo>
                      <a:pt x="634" y="227"/>
                    </a:lnTo>
                    <a:lnTo>
                      <a:pt x="636" y="227"/>
                    </a:lnTo>
                    <a:lnTo>
                      <a:pt x="634" y="227"/>
                    </a:lnTo>
                    <a:lnTo>
                      <a:pt x="636" y="227"/>
                    </a:lnTo>
                    <a:lnTo>
                      <a:pt x="634" y="227"/>
                    </a:lnTo>
                    <a:lnTo>
                      <a:pt x="636" y="227"/>
                    </a:lnTo>
                    <a:lnTo>
                      <a:pt x="636" y="225"/>
                    </a:lnTo>
                    <a:lnTo>
                      <a:pt x="638" y="225"/>
                    </a:lnTo>
                    <a:lnTo>
                      <a:pt x="636" y="225"/>
                    </a:lnTo>
                    <a:lnTo>
                      <a:pt x="638" y="225"/>
                    </a:lnTo>
                    <a:lnTo>
                      <a:pt x="638" y="223"/>
                    </a:lnTo>
                    <a:lnTo>
                      <a:pt x="640" y="223"/>
                    </a:lnTo>
                    <a:lnTo>
                      <a:pt x="638" y="223"/>
                    </a:lnTo>
                    <a:lnTo>
                      <a:pt x="638" y="225"/>
                    </a:lnTo>
                    <a:lnTo>
                      <a:pt x="636" y="225"/>
                    </a:lnTo>
                    <a:lnTo>
                      <a:pt x="636" y="227"/>
                    </a:lnTo>
                    <a:lnTo>
                      <a:pt x="636" y="225"/>
                    </a:lnTo>
                    <a:lnTo>
                      <a:pt x="636" y="227"/>
                    </a:lnTo>
                    <a:lnTo>
                      <a:pt x="636" y="225"/>
                    </a:lnTo>
                    <a:lnTo>
                      <a:pt x="636" y="227"/>
                    </a:lnTo>
                    <a:lnTo>
                      <a:pt x="634" y="227"/>
                    </a:lnTo>
                    <a:lnTo>
                      <a:pt x="634" y="229"/>
                    </a:lnTo>
                    <a:lnTo>
                      <a:pt x="634" y="231"/>
                    </a:lnTo>
                    <a:lnTo>
                      <a:pt x="636" y="231"/>
                    </a:lnTo>
                    <a:lnTo>
                      <a:pt x="634" y="231"/>
                    </a:lnTo>
                    <a:lnTo>
                      <a:pt x="636" y="231"/>
                    </a:lnTo>
                    <a:lnTo>
                      <a:pt x="634" y="231"/>
                    </a:lnTo>
                    <a:lnTo>
                      <a:pt x="636" y="233"/>
                    </a:lnTo>
                    <a:lnTo>
                      <a:pt x="634" y="233"/>
                    </a:lnTo>
                    <a:lnTo>
                      <a:pt x="636" y="233"/>
                    </a:lnTo>
                    <a:lnTo>
                      <a:pt x="634" y="233"/>
                    </a:lnTo>
                    <a:lnTo>
                      <a:pt x="636" y="233"/>
                    </a:lnTo>
                    <a:lnTo>
                      <a:pt x="634" y="233"/>
                    </a:lnTo>
                    <a:lnTo>
                      <a:pt x="634" y="235"/>
                    </a:lnTo>
                    <a:lnTo>
                      <a:pt x="636" y="235"/>
                    </a:lnTo>
                    <a:lnTo>
                      <a:pt x="638" y="235"/>
                    </a:lnTo>
                    <a:lnTo>
                      <a:pt x="640" y="235"/>
                    </a:lnTo>
                    <a:lnTo>
                      <a:pt x="642" y="235"/>
                    </a:lnTo>
                    <a:lnTo>
                      <a:pt x="642" y="237"/>
                    </a:lnTo>
                    <a:lnTo>
                      <a:pt x="642" y="239"/>
                    </a:lnTo>
                    <a:lnTo>
                      <a:pt x="642" y="240"/>
                    </a:lnTo>
                    <a:lnTo>
                      <a:pt x="640" y="240"/>
                    </a:lnTo>
                    <a:lnTo>
                      <a:pt x="638" y="240"/>
                    </a:lnTo>
                    <a:lnTo>
                      <a:pt x="638" y="242"/>
                    </a:lnTo>
                    <a:lnTo>
                      <a:pt x="636" y="242"/>
                    </a:lnTo>
                    <a:lnTo>
                      <a:pt x="634" y="244"/>
                    </a:lnTo>
                    <a:lnTo>
                      <a:pt x="636" y="242"/>
                    </a:lnTo>
                    <a:lnTo>
                      <a:pt x="636" y="244"/>
                    </a:lnTo>
                    <a:lnTo>
                      <a:pt x="634" y="244"/>
                    </a:lnTo>
                    <a:lnTo>
                      <a:pt x="632" y="244"/>
                    </a:lnTo>
                    <a:lnTo>
                      <a:pt x="634" y="244"/>
                    </a:lnTo>
                    <a:lnTo>
                      <a:pt x="632" y="244"/>
                    </a:lnTo>
                    <a:lnTo>
                      <a:pt x="632" y="246"/>
                    </a:lnTo>
                    <a:lnTo>
                      <a:pt x="632" y="244"/>
                    </a:lnTo>
                    <a:lnTo>
                      <a:pt x="630" y="246"/>
                    </a:lnTo>
                    <a:lnTo>
                      <a:pt x="630" y="244"/>
                    </a:lnTo>
                    <a:lnTo>
                      <a:pt x="630" y="246"/>
                    </a:lnTo>
                    <a:lnTo>
                      <a:pt x="628" y="246"/>
                    </a:lnTo>
                    <a:lnTo>
                      <a:pt x="630" y="246"/>
                    </a:lnTo>
                    <a:lnTo>
                      <a:pt x="628" y="246"/>
                    </a:lnTo>
                    <a:lnTo>
                      <a:pt x="627" y="246"/>
                    </a:lnTo>
                    <a:lnTo>
                      <a:pt x="628" y="246"/>
                    </a:lnTo>
                    <a:lnTo>
                      <a:pt x="627" y="246"/>
                    </a:lnTo>
                    <a:lnTo>
                      <a:pt x="627" y="248"/>
                    </a:lnTo>
                    <a:lnTo>
                      <a:pt x="625" y="248"/>
                    </a:lnTo>
                    <a:lnTo>
                      <a:pt x="627" y="248"/>
                    </a:lnTo>
                    <a:lnTo>
                      <a:pt x="625" y="248"/>
                    </a:lnTo>
                    <a:lnTo>
                      <a:pt x="625" y="250"/>
                    </a:lnTo>
                    <a:lnTo>
                      <a:pt x="623" y="252"/>
                    </a:lnTo>
                    <a:lnTo>
                      <a:pt x="621" y="252"/>
                    </a:lnTo>
                    <a:lnTo>
                      <a:pt x="619" y="252"/>
                    </a:lnTo>
                    <a:lnTo>
                      <a:pt x="619" y="250"/>
                    </a:lnTo>
                    <a:lnTo>
                      <a:pt x="621" y="250"/>
                    </a:lnTo>
                    <a:lnTo>
                      <a:pt x="623" y="250"/>
                    </a:lnTo>
                    <a:lnTo>
                      <a:pt x="623" y="248"/>
                    </a:lnTo>
                    <a:lnTo>
                      <a:pt x="621" y="248"/>
                    </a:lnTo>
                    <a:lnTo>
                      <a:pt x="619" y="248"/>
                    </a:lnTo>
                    <a:lnTo>
                      <a:pt x="619" y="250"/>
                    </a:lnTo>
                    <a:lnTo>
                      <a:pt x="619" y="248"/>
                    </a:lnTo>
                    <a:lnTo>
                      <a:pt x="617" y="248"/>
                    </a:lnTo>
                    <a:lnTo>
                      <a:pt x="617" y="250"/>
                    </a:lnTo>
                    <a:lnTo>
                      <a:pt x="615" y="250"/>
                    </a:lnTo>
                    <a:lnTo>
                      <a:pt x="617" y="248"/>
                    </a:lnTo>
                    <a:lnTo>
                      <a:pt x="615" y="248"/>
                    </a:lnTo>
                    <a:lnTo>
                      <a:pt x="617" y="248"/>
                    </a:lnTo>
                    <a:lnTo>
                      <a:pt x="615" y="248"/>
                    </a:lnTo>
                    <a:lnTo>
                      <a:pt x="615" y="246"/>
                    </a:lnTo>
                    <a:lnTo>
                      <a:pt x="615" y="244"/>
                    </a:lnTo>
                    <a:lnTo>
                      <a:pt x="615" y="242"/>
                    </a:lnTo>
                    <a:lnTo>
                      <a:pt x="613" y="242"/>
                    </a:lnTo>
                    <a:lnTo>
                      <a:pt x="611" y="242"/>
                    </a:lnTo>
                    <a:lnTo>
                      <a:pt x="613" y="242"/>
                    </a:lnTo>
                    <a:lnTo>
                      <a:pt x="611" y="242"/>
                    </a:lnTo>
                    <a:lnTo>
                      <a:pt x="613" y="242"/>
                    </a:lnTo>
                    <a:lnTo>
                      <a:pt x="611" y="242"/>
                    </a:lnTo>
                    <a:lnTo>
                      <a:pt x="609" y="242"/>
                    </a:lnTo>
                    <a:lnTo>
                      <a:pt x="609" y="240"/>
                    </a:lnTo>
                    <a:lnTo>
                      <a:pt x="607" y="240"/>
                    </a:lnTo>
                    <a:lnTo>
                      <a:pt x="609" y="240"/>
                    </a:lnTo>
                    <a:lnTo>
                      <a:pt x="607" y="240"/>
                    </a:lnTo>
                    <a:lnTo>
                      <a:pt x="607" y="239"/>
                    </a:lnTo>
                    <a:lnTo>
                      <a:pt x="605" y="239"/>
                    </a:lnTo>
                    <a:lnTo>
                      <a:pt x="604" y="239"/>
                    </a:lnTo>
                    <a:lnTo>
                      <a:pt x="604" y="237"/>
                    </a:lnTo>
                    <a:lnTo>
                      <a:pt x="602" y="237"/>
                    </a:lnTo>
                    <a:lnTo>
                      <a:pt x="604" y="237"/>
                    </a:lnTo>
                    <a:lnTo>
                      <a:pt x="602" y="237"/>
                    </a:lnTo>
                    <a:lnTo>
                      <a:pt x="600" y="237"/>
                    </a:lnTo>
                    <a:lnTo>
                      <a:pt x="602" y="237"/>
                    </a:lnTo>
                    <a:lnTo>
                      <a:pt x="600" y="237"/>
                    </a:lnTo>
                    <a:lnTo>
                      <a:pt x="598" y="237"/>
                    </a:lnTo>
                    <a:lnTo>
                      <a:pt x="600" y="237"/>
                    </a:lnTo>
                    <a:lnTo>
                      <a:pt x="598" y="237"/>
                    </a:lnTo>
                    <a:lnTo>
                      <a:pt x="598" y="235"/>
                    </a:lnTo>
                    <a:lnTo>
                      <a:pt x="596" y="235"/>
                    </a:lnTo>
                    <a:lnTo>
                      <a:pt x="598" y="235"/>
                    </a:lnTo>
                    <a:lnTo>
                      <a:pt x="598" y="237"/>
                    </a:lnTo>
                    <a:lnTo>
                      <a:pt x="600" y="237"/>
                    </a:lnTo>
                    <a:lnTo>
                      <a:pt x="602" y="237"/>
                    </a:lnTo>
                    <a:lnTo>
                      <a:pt x="604" y="237"/>
                    </a:lnTo>
                    <a:lnTo>
                      <a:pt x="602" y="237"/>
                    </a:lnTo>
                    <a:lnTo>
                      <a:pt x="604" y="237"/>
                    </a:lnTo>
                    <a:lnTo>
                      <a:pt x="602" y="237"/>
                    </a:lnTo>
                    <a:lnTo>
                      <a:pt x="602" y="239"/>
                    </a:lnTo>
                    <a:lnTo>
                      <a:pt x="604" y="239"/>
                    </a:lnTo>
                    <a:lnTo>
                      <a:pt x="605" y="239"/>
                    </a:lnTo>
                    <a:lnTo>
                      <a:pt x="607" y="240"/>
                    </a:lnTo>
                    <a:lnTo>
                      <a:pt x="609" y="240"/>
                    </a:lnTo>
                    <a:lnTo>
                      <a:pt x="609" y="242"/>
                    </a:lnTo>
                    <a:lnTo>
                      <a:pt x="611" y="242"/>
                    </a:lnTo>
                    <a:lnTo>
                      <a:pt x="611" y="244"/>
                    </a:lnTo>
                    <a:lnTo>
                      <a:pt x="609" y="244"/>
                    </a:lnTo>
                    <a:lnTo>
                      <a:pt x="607" y="244"/>
                    </a:lnTo>
                    <a:lnTo>
                      <a:pt x="609" y="244"/>
                    </a:lnTo>
                    <a:lnTo>
                      <a:pt x="611" y="244"/>
                    </a:lnTo>
                    <a:lnTo>
                      <a:pt x="609" y="244"/>
                    </a:lnTo>
                    <a:lnTo>
                      <a:pt x="611" y="244"/>
                    </a:lnTo>
                    <a:lnTo>
                      <a:pt x="611" y="242"/>
                    </a:lnTo>
                    <a:lnTo>
                      <a:pt x="613" y="242"/>
                    </a:lnTo>
                    <a:lnTo>
                      <a:pt x="615" y="244"/>
                    </a:lnTo>
                    <a:lnTo>
                      <a:pt x="615" y="246"/>
                    </a:lnTo>
                    <a:lnTo>
                      <a:pt x="615" y="248"/>
                    </a:lnTo>
                    <a:lnTo>
                      <a:pt x="615" y="250"/>
                    </a:lnTo>
                    <a:lnTo>
                      <a:pt x="617" y="250"/>
                    </a:lnTo>
                    <a:lnTo>
                      <a:pt x="619" y="250"/>
                    </a:lnTo>
                    <a:lnTo>
                      <a:pt x="621" y="250"/>
                    </a:lnTo>
                    <a:lnTo>
                      <a:pt x="621" y="248"/>
                    </a:lnTo>
                    <a:lnTo>
                      <a:pt x="621" y="250"/>
                    </a:lnTo>
                    <a:lnTo>
                      <a:pt x="619" y="250"/>
                    </a:lnTo>
                    <a:lnTo>
                      <a:pt x="619" y="252"/>
                    </a:lnTo>
                    <a:lnTo>
                      <a:pt x="621" y="252"/>
                    </a:lnTo>
                    <a:lnTo>
                      <a:pt x="623" y="252"/>
                    </a:lnTo>
                    <a:lnTo>
                      <a:pt x="623" y="254"/>
                    </a:lnTo>
                    <a:lnTo>
                      <a:pt x="623" y="256"/>
                    </a:lnTo>
                    <a:lnTo>
                      <a:pt x="623" y="258"/>
                    </a:lnTo>
                    <a:lnTo>
                      <a:pt x="621" y="258"/>
                    </a:lnTo>
                    <a:lnTo>
                      <a:pt x="621" y="260"/>
                    </a:lnTo>
                    <a:lnTo>
                      <a:pt x="623" y="260"/>
                    </a:lnTo>
                    <a:lnTo>
                      <a:pt x="621" y="260"/>
                    </a:lnTo>
                    <a:lnTo>
                      <a:pt x="619" y="260"/>
                    </a:lnTo>
                    <a:lnTo>
                      <a:pt x="619" y="262"/>
                    </a:lnTo>
                    <a:lnTo>
                      <a:pt x="617" y="260"/>
                    </a:lnTo>
                    <a:lnTo>
                      <a:pt x="615" y="260"/>
                    </a:lnTo>
                    <a:lnTo>
                      <a:pt x="615" y="262"/>
                    </a:lnTo>
                    <a:lnTo>
                      <a:pt x="613" y="262"/>
                    </a:lnTo>
                    <a:lnTo>
                      <a:pt x="611" y="262"/>
                    </a:lnTo>
                    <a:lnTo>
                      <a:pt x="611" y="260"/>
                    </a:lnTo>
                    <a:lnTo>
                      <a:pt x="611" y="262"/>
                    </a:lnTo>
                    <a:lnTo>
                      <a:pt x="609" y="262"/>
                    </a:lnTo>
                    <a:lnTo>
                      <a:pt x="607" y="262"/>
                    </a:lnTo>
                    <a:lnTo>
                      <a:pt x="607" y="260"/>
                    </a:lnTo>
                    <a:lnTo>
                      <a:pt x="607" y="262"/>
                    </a:lnTo>
                    <a:lnTo>
                      <a:pt x="605" y="262"/>
                    </a:lnTo>
                    <a:lnTo>
                      <a:pt x="604" y="262"/>
                    </a:lnTo>
                    <a:lnTo>
                      <a:pt x="602" y="262"/>
                    </a:lnTo>
                    <a:lnTo>
                      <a:pt x="600" y="262"/>
                    </a:lnTo>
                    <a:lnTo>
                      <a:pt x="598" y="262"/>
                    </a:lnTo>
                    <a:lnTo>
                      <a:pt x="596" y="262"/>
                    </a:lnTo>
                    <a:lnTo>
                      <a:pt x="594" y="262"/>
                    </a:lnTo>
                    <a:lnTo>
                      <a:pt x="592" y="262"/>
                    </a:lnTo>
                    <a:lnTo>
                      <a:pt x="592" y="260"/>
                    </a:lnTo>
                    <a:lnTo>
                      <a:pt x="592" y="262"/>
                    </a:lnTo>
                    <a:lnTo>
                      <a:pt x="592" y="260"/>
                    </a:lnTo>
                    <a:lnTo>
                      <a:pt x="590" y="260"/>
                    </a:lnTo>
                    <a:lnTo>
                      <a:pt x="588" y="260"/>
                    </a:lnTo>
                    <a:lnTo>
                      <a:pt x="586" y="260"/>
                    </a:lnTo>
                    <a:lnTo>
                      <a:pt x="586" y="258"/>
                    </a:lnTo>
                    <a:lnTo>
                      <a:pt x="584" y="258"/>
                    </a:lnTo>
                    <a:lnTo>
                      <a:pt x="584" y="256"/>
                    </a:lnTo>
                    <a:lnTo>
                      <a:pt x="582" y="256"/>
                    </a:lnTo>
                    <a:lnTo>
                      <a:pt x="582" y="254"/>
                    </a:lnTo>
                    <a:lnTo>
                      <a:pt x="582" y="252"/>
                    </a:lnTo>
                    <a:lnTo>
                      <a:pt x="580" y="252"/>
                    </a:lnTo>
                    <a:lnTo>
                      <a:pt x="580" y="250"/>
                    </a:lnTo>
                    <a:lnTo>
                      <a:pt x="579" y="250"/>
                    </a:lnTo>
                    <a:lnTo>
                      <a:pt x="577" y="250"/>
                    </a:lnTo>
                    <a:lnTo>
                      <a:pt x="575" y="250"/>
                    </a:lnTo>
                    <a:lnTo>
                      <a:pt x="573" y="250"/>
                    </a:lnTo>
                    <a:lnTo>
                      <a:pt x="571" y="250"/>
                    </a:lnTo>
                    <a:lnTo>
                      <a:pt x="573" y="250"/>
                    </a:lnTo>
                    <a:lnTo>
                      <a:pt x="573" y="248"/>
                    </a:lnTo>
                    <a:lnTo>
                      <a:pt x="573" y="250"/>
                    </a:lnTo>
                    <a:lnTo>
                      <a:pt x="571" y="250"/>
                    </a:lnTo>
                    <a:lnTo>
                      <a:pt x="571" y="248"/>
                    </a:lnTo>
                    <a:lnTo>
                      <a:pt x="569" y="248"/>
                    </a:lnTo>
                    <a:lnTo>
                      <a:pt x="571" y="248"/>
                    </a:lnTo>
                    <a:lnTo>
                      <a:pt x="571" y="250"/>
                    </a:lnTo>
                    <a:lnTo>
                      <a:pt x="571" y="248"/>
                    </a:lnTo>
                    <a:lnTo>
                      <a:pt x="571" y="250"/>
                    </a:lnTo>
                    <a:lnTo>
                      <a:pt x="571" y="248"/>
                    </a:lnTo>
                    <a:lnTo>
                      <a:pt x="571" y="250"/>
                    </a:lnTo>
                    <a:lnTo>
                      <a:pt x="573" y="250"/>
                    </a:lnTo>
                    <a:lnTo>
                      <a:pt x="573" y="252"/>
                    </a:lnTo>
                    <a:lnTo>
                      <a:pt x="573" y="254"/>
                    </a:lnTo>
                    <a:lnTo>
                      <a:pt x="573" y="256"/>
                    </a:lnTo>
                    <a:lnTo>
                      <a:pt x="571" y="256"/>
                    </a:lnTo>
                    <a:lnTo>
                      <a:pt x="569" y="256"/>
                    </a:lnTo>
                    <a:lnTo>
                      <a:pt x="569" y="258"/>
                    </a:lnTo>
                    <a:lnTo>
                      <a:pt x="567" y="258"/>
                    </a:lnTo>
                    <a:lnTo>
                      <a:pt x="567" y="260"/>
                    </a:lnTo>
                    <a:lnTo>
                      <a:pt x="567" y="262"/>
                    </a:lnTo>
                    <a:lnTo>
                      <a:pt x="567" y="260"/>
                    </a:lnTo>
                    <a:lnTo>
                      <a:pt x="567" y="262"/>
                    </a:lnTo>
                    <a:lnTo>
                      <a:pt x="567" y="260"/>
                    </a:lnTo>
                    <a:lnTo>
                      <a:pt x="567" y="262"/>
                    </a:lnTo>
                    <a:lnTo>
                      <a:pt x="569" y="262"/>
                    </a:lnTo>
                    <a:lnTo>
                      <a:pt x="569" y="264"/>
                    </a:lnTo>
                    <a:lnTo>
                      <a:pt x="571" y="264"/>
                    </a:lnTo>
                    <a:lnTo>
                      <a:pt x="573" y="264"/>
                    </a:lnTo>
                    <a:lnTo>
                      <a:pt x="575" y="262"/>
                    </a:lnTo>
                    <a:lnTo>
                      <a:pt x="577" y="262"/>
                    </a:lnTo>
                    <a:lnTo>
                      <a:pt x="579" y="262"/>
                    </a:lnTo>
                    <a:lnTo>
                      <a:pt x="580" y="262"/>
                    </a:lnTo>
                    <a:lnTo>
                      <a:pt x="579" y="262"/>
                    </a:lnTo>
                    <a:lnTo>
                      <a:pt x="579" y="264"/>
                    </a:lnTo>
                    <a:lnTo>
                      <a:pt x="579" y="265"/>
                    </a:lnTo>
                    <a:lnTo>
                      <a:pt x="577" y="265"/>
                    </a:lnTo>
                    <a:lnTo>
                      <a:pt x="577" y="267"/>
                    </a:lnTo>
                    <a:lnTo>
                      <a:pt x="575" y="267"/>
                    </a:lnTo>
                    <a:lnTo>
                      <a:pt x="573" y="267"/>
                    </a:lnTo>
                    <a:lnTo>
                      <a:pt x="571" y="267"/>
                    </a:lnTo>
                    <a:lnTo>
                      <a:pt x="569" y="267"/>
                    </a:lnTo>
                    <a:lnTo>
                      <a:pt x="567" y="267"/>
                    </a:lnTo>
                    <a:lnTo>
                      <a:pt x="567" y="269"/>
                    </a:lnTo>
                    <a:lnTo>
                      <a:pt x="565" y="269"/>
                    </a:lnTo>
                    <a:lnTo>
                      <a:pt x="565" y="271"/>
                    </a:lnTo>
                    <a:lnTo>
                      <a:pt x="563" y="271"/>
                    </a:lnTo>
                    <a:lnTo>
                      <a:pt x="561" y="271"/>
                    </a:lnTo>
                    <a:lnTo>
                      <a:pt x="561" y="273"/>
                    </a:lnTo>
                    <a:lnTo>
                      <a:pt x="559" y="273"/>
                    </a:lnTo>
                    <a:lnTo>
                      <a:pt x="559" y="275"/>
                    </a:lnTo>
                    <a:lnTo>
                      <a:pt x="559" y="273"/>
                    </a:lnTo>
                    <a:lnTo>
                      <a:pt x="557" y="273"/>
                    </a:lnTo>
                    <a:lnTo>
                      <a:pt x="557" y="275"/>
                    </a:lnTo>
                    <a:lnTo>
                      <a:pt x="555" y="275"/>
                    </a:lnTo>
                    <a:lnTo>
                      <a:pt x="554" y="275"/>
                    </a:lnTo>
                    <a:lnTo>
                      <a:pt x="554" y="277"/>
                    </a:lnTo>
                    <a:lnTo>
                      <a:pt x="554" y="275"/>
                    </a:lnTo>
                    <a:lnTo>
                      <a:pt x="554" y="277"/>
                    </a:lnTo>
                    <a:lnTo>
                      <a:pt x="554" y="275"/>
                    </a:lnTo>
                    <a:lnTo>
                      <a:pt x="554" y="277"/>
                    </a:lnTo>
                    <a:lnTo>
                      <a:pt x="552" y="277"/>
                    </a:lnTo>
                    <a:lnTo>
                      <a:pt x="550" y="277"/>
                    </a:lnTo>
                    <a:lnTo>
                      <a:pt x="552" y="277"/>
                    </a:lnTo>
                    <a:lnTo>
                      <a:pt x="550" y="277"/>
                    </a:lnTo>
                    <a:lnTo>
                      <a:pt x="548" y="277"/>
                    </a:lnTo>
                    <a:lnTo>
                      <a:pt x="548" y="279"/>
                    </a:lnTo>
                    <a:lnTo>
                      <a:pt x="548" y="277"/>
                    </a:lnTo>
                    <a:lnTo>
                      <a:pt x="546" y="277"/>
                    </a:lnTo>
                    <a:lnTo>
                      <a:pt x="546" y="279"/>
                    </a:lnTo>
                    <a:lnTo>
                      <a:pt x="544" y="279"/>
                    </a:lnTo>
                    <a:lnTo>
                      <a:pt x="542" y="279"/>
                    </a:lnTo>
                    <a:lnTo>
                      <a:pt x="542" y="277"/>
                    </a:lnTo>
                    <a:lnTo>
                      <a:pt x="540" y="277"/>
                    </a:lnTo>
                    <a:lnTo>
                      <a:pt x="538" y="277"/>
                    </a:lnTo>
                    <a:lnTo>
                      <a:pt x="536" y="277"/>
                    </a:lnTo>
                    <a:lnTo>
                      <a:pt x="534" y="277"/>
                    </a:lnTo>
                    <a:lnTo>
                      <a:pt x="532" y="277"/>
                    </a:lnTo>
                    <a:lnTo>
                      <a:pt x="532" y="279"/>
                    </a:lnTo>
                    <a:lnTo>
                      <a:pt x="531" y="279"/>
                    </a:lnTo>
                    <a:lnTo>
                      <a:pt x="529" y="279"/>
                    </a:lnTo>
                    <a:lnTo>
                      <a:pt x="529" y="281"/>
                    </a:lnTo>
                    <a:lnTo>
                      <a:pt x="529" y="279"/>
                    </a:lnTo>
                    <a:lnTo>
                      <a:pt x="525" y="279"/>
                    </a:lnTo>
                    <a:lnTo>
                      <a:pt x="523" y="281"/>
                    </a:lnTo>
                    <a:lnTo>
                      <a:pt x="521" y="281"/>
                    </a:lnTo>
                    <a:lnTo>
                      <a:pt x="519" y="281"/>
                    </a:lnTo>
                    <a:lnTo>
                      <a:pt x="517" y="281"/>
                    </a:lnTo>
                    <a:lnTo>
                      <a:pt x="515" y="281"/>
                    </a:lnTo>
                    <a:lnTo>
                      <a:pt x="513" y="281"/>
                    </a:lnTo>
                    <a:lnTo>
                      <a:pt x="513" y="279"/>
                    </a:lnTo>
                    <a:lnTo>
                      <a:pt x="513" y="281"/>
                    </a:lnTo>
                    <a:lnTo>
                      <a:pt x="513" y="279"/>
                    </a:lnTo>
                    <a:lnTo>
                      <a:pt x="511" y="279"/>
                    </a:lnTo>
                    <a:lnTo>
                      <a:pt x="509" y="279"/>
                    </a:lnTo>
                    <a:lnTo>
                      <a:pt x="509" y="277"/>
                    </a:lnTo>
                    <a:lnTo>
                      <a:pt x="507" y="277"/>
                    </a:lnTo>
                    <a:lnTo>
                      <a:pt x="506" y="277"/>
                    </a:lnTo>
                    <a:lnTo>
                      <a:pt x="506" y="275"/>
                    </a:lnTo>
                    <a:lnTo>
                      <a:pt x="504" y="275"/>
                    </a:lnTo>
                    <a:lnTo>
                      <a:pt x="502" y="275"/>
                    </a:lnTo>
                    <a:lnTo>
                      <a:pt x="500" y="275"/>
                    </a:lnTo>
                    <a:lnTo>
                      <a:pt x="500" y="273"/>
                    </a:lnTo>
                    <a:lnTo>
                      <a:pt x="498" y="273"/>
                    </a:lnTo>
                    <a:lnTo>
                      <a:pt x="498" y="271"/>
                    </a:lnTo>
                    <a:lnTo>
                      <a:pt x="500" y="271"/>
                    </a:lnTo>
                    <a:lnTo>
                      <a:pt x="500" y="269"/>
                    </a:lnTo>
                    <a:lnTo>
                      <a:pt x="500" y="267"/>
                    </a:lnTo>
                    <a:lnTo>
                      <a:pt x="498" y="267"/>
                    </a:lnTo>
                    <a:lnTo>
                      <a:pt x="498" y="269"/>
                    </a:lnTo>
                    <a:lnTo>
                      <a:pt x="496" y="269"/>
                    </a:lnTo>
                    <a:lnTo>
                      <a:pt x="494" y="267"/>
                    </a:lnTo>
                    <a:lnTo>
                      <a:pt x="496" y="267"/>
                    </a:lnTo>
                    <a:lnTo>
                      <a:pt x="498" y="267"/>
                    </a:lnTo>
                    <a:lnTo>
                      <a:pt x="500" y="267"/>
                    </a:lnTo>
                    <a:lnTo>
                      <a:pt x="500" y="265"/>
                    </a:lnTo>
                    <a:lnTo>
                      <a:pt x="500" y="264"/>
                    </a:lnTo>
                    <a:lnTo>
                      <a:pt x="500" y="262"/>
                    </a:lnTo>
                    <a:lnTo>
                      <a:pt x="500" y="260"/>
                    </a:lnTo>
                    <a:lnTo>
                      <a:pt x="498" y="260"/>
                    </a:lnTo>
                    <a:lnTo>
                      <a:pt x="498" y="258"/>
                    </a:lnTo>
                    <a:lnTo>
                      <a:pt x="498" y="260"/>
                    </a:lnTo>
                    <a:lnTo>
                      <a:pt x="496" y="258"/>
                    </a:lnTo>
                    <a:lnTo>
                      <a:pt x="496" y="260"/>
                    </a:lnTo>
                    <a:lnTo>
                      <a:pt x="494" y="258"/>
                    </a:lnTo>
                    <a:lnTo>
                      <a:pt x="494" y="260"/>
                    </a:lnTo>
                    <a:lnTo>
                      <a:pt x="496" y="260"/>
                    </a:lnTo>
                    <a:lnTo>
                      <a:pt x="494" y="260"/>
                    </a:lnTo>
                    <a:lnTo>
                      <a:pt x="494" y="258"/>
                    </a:lnTo>
                    <a:lnTo>
                      <a:pt x="492" y="258"/>
                    </a:lnTo>
                    <a:lnTo>
                      <a:pt x="494" y="258"/>
                    </a:lnTo>
                    <a:lnTo>
                      <a:pt x="494" y="256"/>
                    </a:lnTo>
                    <a:lnTo>
                      <a:pt x="492" y="258"/>
                    </a:lnTo>
                    <a:lnTo>
                      <a:pt x="492" y="256"/>
                    </a:lnTo>
                    <a:lnTo>
                      <a:pt x="492" y="258"/>
                    </a:lnTo>
                    <a:lnTo>
                      <a:pt x="490" y="258"/>
                    </a:lnTo>
                    <a:lnTo>
                      <a:pt x="490" y="256"/>
                    </a:lnTo>
                    <a:lnTo>
                      <a:pt x="490" y="254"/>
                    </a:lnTo>
                    <a:lnTo>
                      <a:pt x="488" y="254"/>
                    </a:lnTo>
                    <a:lnTo>
                      <a:pt x="486" y="254"/>
                    </a:lnTo>
                    <a:lnTo>
                      <a:pt x="486" y="252"/>
                    </a:lnTo>
                    <a:lnTo>
                      <a:pt x="488" y="252"/>
                    </a:lnTo>
                    <a:lnTo>
                      <a:pt x="488" y="250"/>
                    </a:lnTo>
                    <a:lnTo>
                      <a:pt x="486" y="248"/>
                    </a:lnTo>
                    <a:lnTo>
                      <a:pt x="488" y="248"/>
                    </a:lnTo>
                    <a:lnTo>
                      <a:pt x="486" y="248"/>
                    </a:lnTo>
                    <a:lnTo>
                      <a:pt x="484" y="248"/>
                    </a:lnTo>
                    <a:lnTo>
                      <a:pt x="484" y="246"/>
                    </a:lnTo>
                    <a:lnTo>
                      <a:pt x="482" y="246"/>
                    </a:lnTo>
                    <a:lnTo>
                      <a:pt x="481" y="246"/>
                    </a:lnTo>
                    <a:lnTo>
                      <a:pt x="481" y="244"/>
                    </a:lnTo>
                    <a:lnTo>
                      <a:pt x="481" y="242"/>
                    </a:lnTo>
                    <a:lnTo>
                      <a:pt x="482" y="242"/>
                    </a:lnTo>
                    <a:lnTo>
                      <a:pt x="484" y="242"/>
                    </a:lnTo>
                    <a:lnTo>
                      <a:pt x="482" y="242"/>
                    </a:lnTo>
                    <a:lnTo>
                      <a:pt x="484" y="242"/>
                    </a:lnTo>
                    <a:lnTo>
                      <a:pt x="482" y="242"/>
                    </a:lnTo>
                    <a:lnTo>
                      <a:pt x="481" y="242"/>
                    </a:lnTo>
                    <a:lnTo>
                      <a:pt x="481" y="240"/>
                    </a:lnTo>
                    <a:lnTo>
                      <a:pt x="479" y="240"/>
                    </a:lnTo>
                    <a:lnTo>
                      <a:pt x="477" y="240"/>
                    </a:lnTo>
                    <a:lnTo>
                      <a:pt x="475" y="240"/>
                    </a:lnTo>
                    <a:lnTo>
                      <a:pt x="475" y="239"/>
                    </a:lnTo>
                    <a:lnTo>
                      <a:pt x="473" y="239"/>
                    </a:lnTo>
                    <a:lnTo>
                      <a:pt x="471" y="239"/>
                    </a:lnTo>
                    <a:lnTo>
                      <a:pt x="469" y="239"/>
                    </a:lnTo>
                    <a:lnTo>
                      <a:pt x="467" y="237"/>
                    </a:lnTo>
                    <a:lnTo>
                      <a:pt x="467" y="235"/>
                    </a:lnTo>
                    <a:lnTo>
                      <a:pt x="469" y="235"/>
                    </a:lnTo>
                    <a:lnTo>
                      <a:pt x="469" y="233"/>
                    </a:lnTo>
                    <a:lnTo>
                      <a:pt x="469" y="231"/>
                    </a:lnTo>
                    <a:lnTo>
                      <a:pt x="471" y="231"/>
                    </a:lnTo>
                    <a:lnTo>
                      <a:pt x="471" y="229"/>
                    </a:lnTo>
                    <a:lnTo>
                      <a:pt x="469" y="229"/>
                    </a:lnTo>
                    <a:lnTo>
                      <a:pt x="471" y="229"/>
                    </a:lnTo>
                    <a:lnTo>
                      <a:pt x="469" y="227"/>
                    </a:lnTo>
                    <a:lnTo>
                      <a:pt x="471" y="227"/>
                    </a:lnTo>
                    <a:lnTo>
                      <a:pt x="471" y="225"/>
                    </a:lnTo>
                    <a:lnTo>
                      <a:pt x="473" y="225"/>
                    </a:lnTo>
                    <a:lnTo>
                      <a:pt x="475" y="225"/>
                    </a:lnTo>
                    <a:lnTo>
                      <a:pt x="477" y="225"/>
                    </a:lnTo>
                    <a:lnTo>
                      <a:pt x="479" y="225"/>
                    </a:lnTo>
                    <a:lnTo>
                      <a:pt x="479" y="223"/>
                    </a:lnTo>
                    <a:lnTo>
                      <a:pt x="481" y="223"/>
                    </a:lnTo>
                    <a:lnTo>
                      <a:pt x="481" y="225"/>
                    </a:lnTo>
                    <a:lnTo>
                      <a:pt x="481" y="223"/>
                    </a:lnTo>
                    <a:lnTo>
                      <a:pt x="481" y="225"/>
                    </a:lnTo>
                    <a:lnTo>
                      <a:pt x="482" y="225"/>
                    </a:lnTo>
                    <a:lnTo>
                      <a:pt x="482" y="223"/>
                    </a:lnTo>
                    <a:lnTo>
                      <a:pt x="481" y="223"/>
                    </a:lnTo>
                    <a:lnTo>
                      <a:pt x="479" y="223"/>
                    </a:lnTo>
                    <a:lnTo>
                      <a:pt x="479" y="221"/>
                    </a:lnTo>
                    <a:lnTo>
                      <a:pt x="481" y="221"/>
                    </a:lnTo>
                    <a:lnTo>
                      <a:pt x="481" y="219"/>
                    </a:lnTo>
                    <a:lnTo>
                      <a:pt x="481" y="221"/>
                    </a:lnTo>
                    <a:lnTo>
                      <a:pt x="481" y="219"/>
                    </a:lnTo>
                    <a:lnTo>
                      <a:pt x="481" y="221"/>
                    </a:lnTo>
                    <a:lnTo>
                      <a:pt x="479" y="221"/>
                    </a:lnTo>
                    <a:lnTo>
                      <a:pt x="481" y="221"/>
                    </a:lnTo>
                    <a:lnTo>
                      <a:pt x="481" y="219"/>
                    </a:lnTo>
                    <a:lnTo>
                      <a:pt x="482" y="219"/>
                    </a:lnTo>
                    <a:lnTo>
                      <a:pt x="481" y="219"/>
                    </a:lnTo>
                    <a:lnTo>
                      <a:pt x="482" y="217"/>
                    </a:lnTo>
                    <a:lnTo>
                      <a:pt x="482" y="219"/>
                    </a:lnTo>
                    <a:lnTo>
                      <a:pt x="482" y="217"/>
                    </a:lnTo>
                    <a:lnTo>
                      <a:pt x="482" y="216"/>
                    </a:lnTo>
                    <a:lnTo>
                      <a:pt x="484" y="216"/>
                    </a:lnTo>
                    <a:lnTo>
                      <a:pt x="486" y="216"/>
                    </a:lnTo>
                    <a:lnTo>
                      <a:pt x="486" y="217"/>
                    </a:lnTo>
                    <a:lnTo>
                      <a:pt x="486" y="216"/>
                    </a:lnTo>
                    <a:lnTo>
                      <a:pt x="484" y="216"/>
                    </a:lnTo>
                    <a:lnTo>
                      <a:pt x="482" y="216"/>
                    </a:lnTo>
                    <a:lnTo>
                      <a:pt x="482" y="214"/>
                    </a:lnTo>
                    <a:lnTo>
                      <a:pt x="481" y="214"/>
                    </a:lnTo>
                    <a:lnTo>
                      <a:pt x="481" y="212"/>
                    </a:lnTo>
                    <a:lnTo>
                      <a:pt x="481" y="210"/>
                    </a:lnTo>
                    <a:lnTo>
                      <a:pt x="479" y="208"/>
                    </a:lnTo>
                    <a:lnTo>
                      <a:pt x="479" y="206"/>
                    </a:lnTo>
                    <a:lnTo>
                      <a:pt x="479" y="208"/>
                    </a:lnTo>
                    <a:lnTo>
                      <a:pt x="479" y="206"/>
                    </a:lnTo>
                    <a:lnTo>
                      <a:pt x="477" y="206"/>
                    </a:lnTo>
                    <a:lnTo>
                      <a:pt x="475" y="206"/>
                    </a:lnTo>
                    <a:lnTo>
                      <a:pt x="475" y="204"/>
                    </a:lnTo>
                    <a:lnTo>
                      <a:pt x="475" y="202"/>
                    </a:lnTo>
                    <a:lnTo>
                      <a:pt x="473" y="202"/>
                    </a:lnTo>
                    <a:lnTo>
                      <a:pt x="471" y="202"/>
                    </a:lnTo>
                    <a:lnTo>
                      <a:pt x="471" y="200"/>
                    </a:lnTo>
                    <a:lnTo>
                      <a:pt x="469" y="200"/>
                    </a:lnTo>
                    <a:lnTo>
                      <a:pt x="469" y="198"/>
                    </a:lnTo>
                    <a:lnTo>
                      <a:pt x="467" y="198"/>
                    </a:lnTo>
                    <a:lnTo>
                      <a:pt x="465" y="198"/>
                    </a:lnTo>
                    <a:lnTo>
                      <a:pt x="465" y="200"/>
                    </a:lnTo>
                    <a:lnTo>
                      <a:pt x="463" y="198"/>
                    </a:lnTo>
                    <a:lnTo>
                      <a:pt x="463" y="196"/>
                    </a:lnTo>
                    <a:lnTo>
                      <a:pt x="461" y="196"/>
                    </a:lnTo>
                    <a:lnTo>
                      <a:pt x="461" y="194"/>
                    </a:lnTo>
                    <a:lnTo>
                      <a:pt x="459" y="194"/>
                    </a:lnTo>
                    <a:lnTo>
                      <a:pt x="459" y="192"/>
                    </a:lnTo>
                    <a:lnTo>
                      <a:pt x="461" y="192"/>
                    </a:lnTo>
                    <a:lnTo>
                      <a:pt x="463" y="192"/>
                    </a:lnTo>
                    <a:lnTo>
                      <a:pt x="467" y="192"/>
                    </a:lnTo>
                    <a:lnTo>
                      <a:pt x="469" y="194"/>
                    </a:lnTo>
                    <a:lnTo>
                      <a:pt x="471" y="194"/>
                    </a:lnTo>
                    <a:lnTo>
                      <a:pt x="473" y="194"/>
                    </a:lnTo>
                    <a:lnTo>
                      <a:pt x="475" y="194"/>
                    </a:lnTo>
                    <a:lnTo>
                      <a:pt x="477" y="194"/>
                    </a:lnTo>
                    <a:lnTo>
                      <a:pt x="481" y="192"/>
                    </a:lnTo>
                    <a:lnTo>
                      <a:pt x="482" y="192"/>
                    </a:lnTo>
                    <a:lnTo>
                      <a:pt x="484" y="192"/>
                    </a:lnTo>
                    <a:lnTo>
                      <a:pt x="488" y="192"/>
                    </a:lnTo>
                    <a:lnTo>
                      <a:pt x="490" y="192"/>
                    </a:lnTo>
                    <a:lnTo>
                      <a:pt x="492" y="192"/>
                    </a:lnTo>
                    <a:lnTo>
                      <a:pt x="494" y="192"/>
                    </a:lnTo>
                    <a:lnTo>
                      <a:pt x="496" y="191"/>
                    </a:lnTo>
                    <a:lnTo>
                      <a:pt x="498" y="191"/>
                    </a:lnTo>
                    <a:lnTo>
                      <a:pt x="500" y="191"/>
                    </a:lnTo>
                    <a:lnTo>
                      <a:pt x="500" y="189"/>
                    </a:lnTo>
                    <a:lnTo>
                      <a:pt x="502" y="189"/>
                    </a:lnTo>
                    <a:lnTo>
                      <a:pt x="502" y="191"/>
                    </a:lnTo>
                    <a:lnTo>
                      <a:pt x="504" y="191"/>
                    </a:lnTo>
                    <a:lnTo>
                      <a:pt x="502" y="191"/>
                    </a:lnTo>
                    <a:lnTo>
                      <a:pt x="504" y="191"/>
                    </a:lnTo>
                    <a:lnTo>
                      <a:pt x="506" y="191"/>
                    </a:lnTo>
                    <a:lnTo>
                      <a:pt x="506" y="192"/>
                    </a:lnTo>
                    <a:lnTo>
                      <a:pt x="504" y="192"/>
                    </a:lnTo>
                    <a:lnTo>
                      <a:pt x="506" y="192"/>
                    </a:lnTo>
                    <a:lnTo>
                      <a:pt x="504" y="192"/>
                    </a:lnTo>
                    <a:lnTo>
                      <a:pt x="506" y="192"/>
                    </a:lnTo>
                    <a:lnTo>
                      <a:pt x="507" y="192"/>
                    </a:lnTo>
                    <a:lnTo>
                      <a:pt x="509" y="192"/>
                    </a:lnTo>
                    <a:lnTo>
                      <a:pt x="511" y="192"/>
                    </a:lnTo>
                    <a:lnTo>
                      <a:pt x="513" y="192"/>
                    </a:lnTo>
                    <a:lnTo>
                      <a:pt x="515" y="192"/>
                    </a:lnTo>
                    <a:lnTo>
                      <a:pt x="517" y="192"/>
                    </a:lnTo>
                    <a:lnTo>
                      <a:pt x="519" y="192"/>
                    </a:lnTo>
                    <a:lnTo>
                      <a:pt x="519" y="194"/>
                    </a:lnTo>
                    <a:lnTo>
                      <a:pt x="519" y="192"/>
                    </a:lnTo>
                    <a:lnTo>
                      <a:pt x="521" y="194"/>
                    </a:lnTo>
                    <a:lnTo>
                      <a:pt x="523" y="194"/>
                    </a:lnTo>
                    <a:lnTo>
                      <a:pt x="525" y="194"/>
                    </a:lnTo>
                    <a:lnTo>
                      <a:pt x="527" y="196"/>
                    </a:lnTo>
                    <a:lnTo>
                      <a:pt x="529" y="196"/>
                    </a:lnTo>
                    <a:lnTo>
                      <a:pt x="531" y="196"/>
                    </a:lnTo>
                    <a:lnTo>
                      <a:pt x="532" y="196"/>
                    </a:lnTo>
                    <a:lnTo>
                      <a:pt x="534" y="196"/>
                    </a:lnTo>
                    <a:lnTo>
                      <a:pt x="536" y="196"/>
                    </a:lnTo>
                    <a:lnTo>
                      <a:pt x="538" y="196"/>
                    </a:lnTo>
                    <a:lnTo>
                      <a:pt x="540" y="196"/>
                    </a:lnTo>
                    <a:lnTo>
                      <a:pt x="540" y="194"/>
                    </a:lnTo>
                    <a:lnTo>
                      <a:pt x="542" y="194"/>
                    </a:lnTo>
                    <a:lnTo>
                      <a:pt x="544" y="194"/>
                    </a:lnTo>
                    <a:lnTo>
                      <a:pt x="544" y="192"/>
                    </a:lnTo>
                    <a:lnTo>
                      <a:pt x="546" y="192"/>
                    </a:lnTo>
                    <a:lnTo>
                      <a:pt x="548" y="192"/>
                    </a:lnTo>
                    <a:lnTo>
                      <a:pt x="546" y="192"/>
                    </a:lnTo>
                    <a:lnTo>
                      <a:pt x="548" y="192"/>
                    </a:lnTo>
                    <a:lnTo>
                      <a:pt x="550" y="192"/>
                    </a:lnTo>
                    <a:lnTo>
                      <a:pt x="552" y="192"/>
                    </a:lnTo>
                    <a:lnTo>
                      <a:pt x="554" y="192"/>
                    </a:lnTo>
                    <a:lnTo>
                      <a:pt x="554" y="191"/>
                    </a:lnTo>
                    <a:lnTo>
                      <a:pt x="555" y="191"/>
                    </a:lnTo>
                    <a:lnTo>
                      <a:pt x="557" y="191"/>
                    </a:lnTo>
                    <a:lnTo>
                      <a:pt x="555" y="191"/>
                    </a:lnTo>
                    <a:lnTo>
                      <a:pt x="554" y="191"/>
                    </a:lnTo>
                    <a:lnTo>
                      <a:pt x="554" y="192"/>
                    </a:lnTo>
                    <a:lnTo>
                      <a:pt x="552" y="192"/>
                    </a:lnTo>
                    <a:lnTo>
                      <a:pt x="550" y="192"/>
                    </a:lnTo>
                    <a:lnTo>
                      <a:pt x="552" y="192"/>
                    </a:lnTo>
                    <a:lnTo>
                      <a:pt x="550" y="192"/>
                    </a:lnTo>
                    <a:lnTo>
                      <a:pt x="548" y="192"/>
                    </a:lnTo>
                    <a:lnTo>
                      <a:pt x="550" y="192"/>
                    </a:lnTo>
                    <a:lnTo>
                      <a:pt x="548" y="192"/>
                    </a:lnTo>
                    <a:lnTo>
                      <a:pt x="546" y="192"/>
                    </a:lnTo>
                    <a:lnTo>
                      <a:pt x="544" y="192"/>
                    </a:lnTo>
                    <a:lnTo>
                      <a:pt x="544" y="194"/>
                    </a:lnTo>
                    <a:lnTo>
                      <a:pt x="544" y="192"/>
                    </a:lnTo>
                    <a:lnTo>
                      <a:pt x="544" y="194"/>
                    </a:lnTo>
                    <a:lnTo>
                      <a:pt x="544" y="192"/>
                    </a:lnTo>
                    <a:lnTo>
                      <a:pt x="544" y="194"/>
                    </a:lnTo>
                    <a:lnTo>
                      <a:pt x="542" y="194"/>
                    </a:lnTo>
                    <a:lnTo>
                      <a:pt x="544" y="194"/>
                    </a:lnTo>
                    <a:lnTo>
                      <a:pt x="542" y="194"/>
                    </a:lnTo>
                    <a:lnTo>
                      <a:pt x="540" y="194"/>
                    </a:lnTo>
                    <a:lnTo>
                      <a:pt x="542" y="194"/>
                    </a:lnTo>
                    <a:lnTo>
                      <a:pt x="540" y="194"/>
                    </a:lnTo>
                    <a:lnTo>
                      <a:pt x="538" y="196"/>
                    </a:lnTo>
                    <a:lnTo>
                      <a:pt x="538" y="194"/>
                    </a:lnTo>
                    <a:lnTo>
                      <a:pt x="538" y="196"/>
                    </a:lnTo>
                    <a:lnTo>
                      <a:pt x="536" y="196"/>
                    </a:lnTo>
                    <a:lnTo>
                      <a:pt x="534" y="196"/>
                    </a:lnTo>
                    <a:lnTo>
                      <a:pt x="532" y="196"/>
                    </a:lnTo>
                    <a:lnTo>
                      <a:pt x="531" y="196"/>
                    </a:lnTo>
                    <a:lnTo>
                      <a:pt x="529" y="196"/>
                    </a:lnTo>
                    <a:lnTo>
                      <a:pt x="529" y="194"/>
                    </a:lnTo>
                    <a:lnTo>
                      <a:pt x="531" y="194"/>
                    </a:lnTo>
                    <a:lnTo>
                      <a:pt x="531" y="196"/>
                    </a:lnTo>
                    <a:lnTo>
                      <a:pt x="532" y="196"/>
                    </a:lnTo>
                    <a:lnTo>
                      <a:pt x="532" y="194"/>
                    </a:lnTo>
                    <a:lnTo>
                      <a:pt x="534" y="196"/>
                    </a:lnTo>
                    <a:lnTo>
                      <a:pt x="536" y="196"/>
                    </a:lnTo>
                    <a:lnTo>
                      <a:pt x="534" y="196"/>
                    </a:lnTo>
                    <a:lnTo>
                      <a:pt x="532" y="194"/>
                    </a:lnTo>
                    <a:lnTo>
                      <a:pt x="532" y="196"/>
                    </a:lnTo>
                    <a:lnTo>
                      <a:pt x="531" y="196"/>
                    </a:lnTo>
                    <a:lnTo>
                      <a:pt x="531" y="194"/>
                    </a:lnTo>
                    <a:lnTo>
                      <a:pt x="532" y="194"/>
                    </a:lnTo>
                    <a:lnTo>
                      <a:pt x="534" y="194"/>
                    </a:lnTo>
                    <a:lnTo>
                      <a:pt x="534" y="192"/>
                    </a:lnTo>
                    <a:lnTo>
                      <a:pt x="536" y="192"/>
                    </a:lnTo>
                    <a:lnTo>
                      <a:pt x="534" y="192"/>
                    </a:lnTo>
                    <a:lnTo>
                      <a:pt x="536" y="194"/>
                    </a:lnTo>
                    <a:lnTo>
                      <a:pt x="534" y="194"/>
                    </a:lnTo>
                    <a:lnTo>
                      <a:pt x="536" y="194"/>
                    </a:lnTo>
                    <a:lnTo>
                      <a:pt x="536" y="192"/>
                    </a:lnTo>
                    <a:lnTo>
                      <a:pt x="536" y="191"/>
                    </a:lnTo>
                    <a:lnTo>
                      <a:pt x="534" y="192"/>
                    </a:lnTo>
                    <a:lnTo>
                      <a:pt x="534" y="191"/>
                    </a:lnTo>
                    <a:lnTo>
                      <a:pt x="532" y="191"/>
                    </a:lnTo>
                    <a:lnTo>
                      <a:pt x="532" y="192"/>
                    </a:lnTo>
                    <a:lnTo>
                      <a:pt x="531" y="192"/>
                    </a:lnTo>
                    <a:lnTo>
                      <a:pt x="531" y="194"/>
                    </a:lnTo>
                    <a:lnTo>
                      <a:pt x="529" y="194"/>
                    </a:lnTo>
                    <a:lnTo>
                      <a:pt x="531" y="194"/>
                    </a:lnTo>
                    <a:lnTo>
                      <a:pt x="529" y="194"/>
                    </a:lnTo>
                    <a:lnTo>
                      <a:pt x="527" y="194"/>
                    </a:lnTo>
                    <a:lnTo>
                      <a:pt x="525" y="194"/>
                    </a:lnTo>
                    <a:lnTo>
                      <a:pt x="525" y="192"/>
                    </a:lnTo>
                    <a:lnTo>
                      <a:pt x="523" y="194"/>
                    </a:lnTo>
                    <a:lnTo>
                      <a:pt x="523" y="192"/>
                    </a:lnTo>
                    <a:lnTo>
                      <a:pt x="521" y="192"/>
                    </a:lnTo>
                    <a:lnTo>
                      <a:pt x="521" y="191"/>
                    </a:lnTo>
                    <a:lnTo>
                      <a:pt x="519" y="191"/>
                    </a:lnTo>
                    <a:lnTo>
                      <a:pt x="517" y="191"/>
                    </a:lnTo>
                    <a:lnTo>
                      <a:pt x="519" y="191"/>
                    </a:lnTo>
                    <a:lnTo>
                      <a:pt x="517" y="191"/>
                    </a:lnTo>
                    <a:lnTo>
                      <a:pt x="517" y="192"/>
                    </a:lnTo>
                    <a:lnTo>
                      <a:pt x="515" y="191"/>
                    </a:lnTo>
                    <a:lnTo>
                      <a:pt x="513" y="191"/>
                    </a:lnTo>
                    <a:lnTo>
                      <a:pt x="511" y="191"/>
                    </a:lnTo>
                    <a:lnTo>
                      <a:pt x="511" y="189"/>
                    </a:lnTo>
                    <a:lnTo>
                      <a:pt x="511" y="191"/>
                    </a:lnTo>
                    <a:lnTo>
                      <a:pt x="509" y="189"/>
                    </a:lnTo>
                    <a:lnTo>
                      <a:pt x="509" y="191"/>
                    </a:lnTo>
                    <a:lnTo>
                      <a:pt x="509" y="189"/>
                    </a:lnTo>
                    <a:lnTo>
                      <a:pt x="507" y="189"/>
                    </a:lnTo>
                    <a:lnTo>
                      <a:pt x="506" y="189"/>
                    </a:lnTo>
                    <a:lnTo>
                      <a:pt x="506" y="191"/>
                    </a:lnTo>
                    <a:lnTo>
                      <a:pt x="504" y="191"/>
                    </a:lnTo>
                    <a:lnTo>
                      <a:pt x="504" y="189"/>
                    </a:lnTo>
                    <a:lnTo>
                      <a:pt x="502" y="189"/>
                    </a:lnTo>
                    <a:lnTo>
                      <a:pt x="504" y="189"/>
                    </a:lnTo>
                    <a:lnTo>
                      <a:pt x="504" y="187"/>
                    </a:lnTo>
                    <a:lnTo>
                      <a:pt x="504" y="185"/>
                    </a:lnTo>
                    <a:lnTo>
                      <a:pt x="506" y="185"/>
                    </a:lnTo>
                    <a:lnTo>
                      <a:pt x="506" y="183"/>
                    </a:lnTo>
                    <a:lnTo>
                      <a:pt x="506" y="181"/>
                    </a:lnTo>
                    <a:lnTo>
                      <a:pt x="507" y="181"/>
                    </a:lnTo>
                    <a:lnTo>
                      <a:pt x="509" y="181"/>
                    </a:lnTo>
                    <a:lnTo>
                      <a:pt x="509" y="183"/>
                    </a:lnTo>
                    <a:lnTo>
                      <a:pt x="509" y="181"/>
                    </a:lnTo>
                    <a:lnTo>
                      <a:pt x="509" y="183"/>
                    </a:lnTo>
                    <a:lnTo>
                      <a:pt x="511" y="183"/>
                    </a:lnTo>
                    <a:lnTo>
                      <a:pt x="513" y="183"/>
                    </a:lnTo>
                    <a:lnTo>
                      <a:pt x="511" y="183"/>
                    </a:lnTo>
                    <a:lnTo>
                      <a:pt x="509" y="181"/>
                    </a:lnTo>
                    <a:lnTo>
                      <a:pt x="507" y="181"/>
                    </a:lnTo>
                    <a:lnTo>
                      <a:pt x="507" y="179"/>
                    </a:lnTo>
                    <a:lnTo>
                      <a:pt x="506" y="179"/>
                    </a:lnTo>
                    <a:lnTo>
                      <a:pt x="506" y="177"/>
                    </a:lnTo>
                    <a:lnTo>
                      <a:pt x="506" y="179"/>
                    </a:lnTo>
                    <a:lnTo>
                      <a:pt x="506" y="177"/>
                    </a:lnTo>
                    <a:lnTo>
                      <a:pt x="504" y="177"/>
                    </a:lnTo>
                    <a:lnTo>
                      <a:pt x="504" y="179"/>
                    </a:lnTo>
                    <a:lnTo>
                      <a:pt x="502" y="177"/>
                    </a:lnTo>
                    <a:lnTo>
                      <a:pt x="502" y="175"/>
                    </a:lnTo>
                    <a:lnTo>
                      <a:pt x="500" y="175"/>
                    </a:lnTo>
                    <a:lnTo>
                      <a:pt x="500" y="173"/>
                    </a:lnTo>
                    <a:lnTo>
                      <a:pt x="500" y="171"/>
                    </a:lnTo>
                    <a:lnTo>
                      <a:pt x="502" y="171"/>
                    </a:lnTo>
                    <a:lnTo>
                      <a:pt x="500" y="171"/>
                    </a:lnTo>
                    <a:lnTo>
                      <a:pt x="502" y="171"/>
                    </a:lnTo>
                    <a:lnTo>
                      <a:pt x="502" y="169"/>
                    </a:lnTo>
                    <a:lnTo>
                      <a:pt x="502" y="167"/>
                    </a:lnTo>
                    <a:lnTo>
                      <a:pt x="504" y="169"/>
                    </a:lnTo>
                    <a:lnTo>
                      <a:pt x="504" y="167"/>
                    </a:lnTo>
                    <a:lnTo>
                      <a:pt x="504" y="169"/>
                    </a:lnTo>
                    <a:lnTo>
                      <a:pt x="506" y="169"/>
                    </a:lnTo>
                    <a:lnTo>
                      <a:pt x="507" y="169"/>
                    </a:lnTo>
                    <a:lnTo>
                      <a:pt x="506" y="169"/>
                    </a:lnTo>
                    <a:lnTo>
                      <a:pt x="506" y="167"/>
                    </a:lnTo>
                    <a:lnTo>
                      <a:pt x="507" y="167"/>
                    </a:lnTo>
                    <a:lnTo>
                      <a:pt x="507" y="166"/>
                    </a:lnTo>
                    <a:lnTo>
                      <a:pt x="507" y="167"/>
                    </a:lnTo>
                    <a:lnTo>
                      <a:pt x="507" y="166"/>
                    </a:lnTo>
                    <a:lnTo>
                      <a:pt x="507" y="164"/>
                    </a:lnTo>
                    <a:lnTo>
                      <a:pt x="509" y="166"/>
                    </a:lnTo>
                    <a:lnTo>
                      <a:pt x="509" y="164"/>
                    </a:lnTo>
                    <a:lnTo>
                      <a:pt x="507" y="164"/>
                    </a:lnTo>
                    <a:lnTo>
                      <a:pt x="507" y="166"/>
                    </a:lnTo>
                    <a:lnTo>
                      <a:pt x="507" y="164"/>
                    </a:lnTo>
                    <a:lnTo>
                      <a:pt x="506" y="164"/>
                    </a:lnTo>
                    <a:lnTo>
                      <a:pt x="507" y="164"/>
                    </a:lnTo>
                    <a:lnTo>
                      <a:pt x="507" y="162"/>
                    </a:lnTo>
                    <a:lnTo>
                      <a:pt x="509" y="162"/>
                    </a:lnTo>
                    <a:lnTo>
                      <a:pt x="509" y="160"/>
                    </a:lnTo>
                    <a:lnTo>
                      <a:pt x="511" y="160"/>
                    </a:lnTo>
                    <a:lnTo>
                      <a:pt x="511" y="158"/>
                    </a:lnTo>
                    <a:lnTo>
                      <a:pt x="511" y="160"/>
                    </a:lnTo>
                    <a:lnTo>
                      <a:pt x="511" y="158"/>
                    </a:lnTo>
                    <a:lnTo>
                      <a:pt x="513" y="158"/>
                    </a:lnTo>
                    <a:lnTo>
                      <a:pt x="513" y="156"/>
                    </a:lnTo>
                    <a:lnTo>
                      <a:pt x="515" y="156"/>
                    </a:lnTo>
                    <a:lnTo>
                      <a:pt x="517" y="154"/>
                    </a:lnTo>
                    <a:lnTo>
                      <a:pt x="519" y="154"/>
                    </a:lnTo>
                    <a:lnTo>
                      <a:pt x="519" y="152"/>
                    </a:lnTo>
                    <a:lnTo>
                      <a:pt x="521" y="152"/>
                    </a:lnTo>
                    <a:lnTo>
                      <a:pt x="521" y="150"/>
                    </a:lnTo>
                    <a:lnTo>
                      <a:pt x="523" y="150"/>
                    </a:lnTo>
                    <a:lnTo>
                      <a:pt x="525" y="150"/>
                    </a:lnTo>
                    <a:lnTo>
                      <a:pt x="527" y="150"/>
                    </a:lnTo>
                    <a:lnTo>
                      <a:pt x="525" y="150"/>
                    </a:lnTo>
                    <a:lnTo>
                      <a:pt x="525" y="148"/>
                    </a:lnTo>
                    <a:lnTo>
                      <a:pt x="525" y="150"/>
                    </a:lnTo>
                    <a:lnTo>
                      <a:pt x="525" y="148"/>
                    </a:lnTo>
                    <a:lnTo>
                      <a:pt x="527" y="148"/>
                    </a:lnTo>
                    <a:lnTo>
                      <a:pt x="527" y="150"/>
                    </a:lnTo>
                    <a:lnTo>
                      <a:pt x="527" y="148"/>
                    </a:lnTo>
                    <a:lnTo>
                      <a:pt x="529" y="148"/>
                    </a:lnTo>
                    <a:lnTo>
                      <a:pt x="527" y="148"/>
                    </a:lnTo>
                    <a:lnTo>
                      <a:pt x="529" y="148"/>
                    </a:lnTo>
                    <a:lnTo>
                      <a:pt x="527" y="148"/>
                    </a:lnTo>
                    <a:lnTo>
                      <a:pt x="529" y="148"/>
                    </a:lnTo>
                    <a:lnTo>
                      <a:pt x="529" y="146"/>
                    </a:lnTo>
                    <a:lnTo>
                      <a:pt x="527" y="146"/>
                    </a:lnTo>
                    <a:lnTo>
                      <a:pt x="529" y="146"/>
                    </a:lnTo>
                    <a:lnTo>
                      <a:pt x="529" y="144"/>
                    </a:lnTo>
                    <a:lnTo>
                      <a:pt x="531" y="144"/>
                    </a:lnTo>
                    <a:lnTo>
                      <a:pt x="529" y="144"/>
                    </a:lnTo>
                    <a:lnTo>
                      <a:pt x="531" y="144"/>
                    </a:lnTo>
                    <a:lnTo>
                      <a:pt x="532" y="144"/>
                    </a:lnTo>
                    <a:lnTo>
                      <a:pt x="531" y="144"/>
                    </a:lnTo>
                    <a:lnTo>
                      <a:pt x="532" y="144"/>
                    </a:lnTo>
                    <a:lnTo>
                      <a:pt x="532" y="142"/>
                    </a:lnTo>
                    <a:lnTo>
                      <a:pt x="531" y="142"/>
                    </a:lnTo>
                    <a:lnTo>
                      <a:pt x="531" y="144"/>
                    </a:lnTo>
                    <a:lnTo>
                      <a:pt x="531" y="142"/>
                    </a:lnTo>
                    <a:lnTo>
                      <a:pt x="531" y="144"/>
                    </a:lnTo>
                    <a:lnTo>
                      <a:pt x="531" y="142"/>
                    </a:lnTo>
                    <a:lnTo>
                      <a:pt x="532" y="142"/>
                    </a:lnTo>
                    <a:lnTo>
                      <a:pt x="534" y="142"/>
                    </a:lnTo>
                    <a:lnTo>
                      <a:pt x="532" y="142"/>
                    </a:lnTo>
                    <a:lnTo>
                      <a:pt x="534" y="142"/>
                    </a:lnTo>
                    <a:lnTo>
                      <a:pt x="534" y="141"/>
                    </a:lnTo>
                    <a:lnTo>
                      <a:pt x="534" y="142"/>
                    </a:lnTo>
                    <a:lnTo>
                      <a:pt x="534" y="141"/>
                    </a:lnTo>
                    <a:lnTo>
                      <a:pt x="536" y="142"/>
                    </a:lnTo>
                    <a:lnTo>
                      <a:pt x="536" y="141"/>
                    </a:lnTo>
                    <a:lnTo>
                      <a:pt x="536" y="142"/>
                    </a:lnTo>
                    <a:lnTo>
                      <a:pt x="536" y="141"/>
                    </a:lnTo>
                    <a:lnTo>
                      <a:pt x="534" y="141"/>
                    </a:lnTo>
                    <a:lnTo>
                      <a:pt x="536" y="141"/>
                    </a:lnTo>
                    <a:lnTo>
                      <a:pt x="538" y="141"/>
                    </a:lnTo>
                    <a:lnTo>
                      <a:pt x="540" y="141"/>
                    </a:lnTo>
                    <a:lnTo>
                      <a:pt x="540" y="139"/>
                    </a:lnTo>
                    <a:lnTo>
                      <a:pt x="538" y="139"/>
                    </a:lnTo>
                    <a:lnTo>
                      <a:pt x="540" y="139"/>
                    </a:lnTo>
                    <a:lnTo>
                      <a:pt x="538" y="139"/>
                    </a:lnTo>
                    <a:lnTo>
                      <a:pt x="540" y="139"/>
                    </a:lnTo>
                    <a:lnTo>
                      <a:pt x="538" y="139"/>
                    </a:lnTo>
                    <a:lnTo>
                      <a:pt x="540" y="139"/>
                    </a:lnTo>
                    <a:lnTo>
                      <a:pt x="538" y="139"/>
                    </a:lnTo>
                    <a:lnTo>
                      <a:pt x="540" y="139"/>
                    </a:lnTo>
                    <a:lnTo>
                      <a:pt x="542" y="137"/>
                    </a:lnTo>
                    <a:lnTo>
                      <a:pt x="544" y="137"/>
                    </a:lnTo>
                    <a:lnTo>
                      <a:pt x="544" y="135"/>
                    </a:lnTo>
                    <a:lnTo>
                      <a:pt x="546" y="135"/>
                    </a:lnTo>
                    <a:lnTo>
                      <a:pt x="546" y="137"/>
                    </a:lnTo>
                    <a:lnTo>
                      <a:pt x="548" y="137"/>
                    </a:lnTo>
                    <a:lnTo>
                      <a:pt x="546" y="137"/>
                    </a:lnTo>
                    <a:lnTo>
                      <a:pt x="548" y="137"/>
                    </a:lnTo>
                    <a:lnTo>
                      <a:pt x="550" y="137"/>
                    </a:lnTo>
                    <a:lnTo>
                      <a:pt x="550" y="135"/>
                    </a:lnTo>
                    <a:lnTo>
                      <a:pt x="552" y="135"/>
                    </a:lnTo>
                    <a:lnTo>
                      <a:pt x="554" y="135"/>
                    </a:lnTo>
                    <a:lnTo>
                      <a:pt x="555" y="135"/>
                    </a:lnTo>
                    <a:lnTo>
                      <a:pt x="554" y="135"/>
                    </a:lnTo>
                    <a:lnTo>
                      <a:pt x="554" y="133"/>
                    </a:lnTo>
                    <a:lnTo>
                      <a:pt x="555" y="133"/>
                    </a:lnTo>
                    <a:lnTo>
                      <a:pt x="557" y="133"/>
                    </a:lnTo>
                    <a:lnTo>
                      <a:pt x="557" y="131"/>
                    </a:lnTo>
                    <a:lnTo>
                      <a:pt x="559" y="131"/>
                    </a:lnTo>
                    <a:lnTo>
                      <a:pt x="561" y="131"/>
                    </a:lnTo>
                    <a:lnTo>
                      <a:pt x="563" y="129"/>
                    </a:lnTo>
                    <a:lnTo>
                      <a:pt x="563" y="131"/>
                    </a:lnTo>
                    <a:lnTo>
                      <a:pt x="565" y="131"/>
                    </a:lnTo>
                    <a:lnTo>
                      <a:pt x="563" y="131"/>
                    </a:lnTo>
                    <a:lnTo>
                      <a:pt x="565" y="131"/>
                    </a:lnTo>
                    <a:lnTo>
                      <a:pt x="565" y="133"/>
                    </a:lnTo>
                    <a:lnTo>
                      <a:pt x="567" y="133"/>
                    </a:lnTo>
                    <a:lnTo>
                      <a:pt x="569" y="133"/>
                    </a:lnTo>
                    <a:lnTo>
                      <a:pt x="569" y="131"/>
                    </a:lnTo>
                    <a:lnTo>
                      <a:pt x="571" y="131"/>
                    </a:lnTo>
                    <a:lnTo>
                      <a:pt x="573" y="131"/>
                    </a:lnTo>
                    <a:lnTo>
                      <a:pt x="575" y="131"/>
                    </a:lnTo>
                    <a:lnTo>
                      <a:pt x="575" y="133"/>
                    </a:lnTo>
                    <a:lnTo>
                      <a:pt x="573" y="133"/>
                    </a:lnTo>
                    <a:lnTo>
                      <a:pt x="575" y="133"/>
                    </a:lnTo>
                    <a:lnTo>
                      <a:pt x="575" y="135"/>
                    </a:lnTo>
                    <a:lnTo>
                      <a:pt x="575" y="133"/>
                    </a:lnTo>
                    <a:close/>
                    <a:moveTo>
                      <a:pt x="227" y="312"/>
                    </a:moveTo>
                    <a:lnTo>
                      <a:pt x="229" y="312"/>
                    </a:lnTo>
                    <a:lnTo>
                      <a:pt x="227" y="312"/>
                    </a:lnTo>
                    <a:close/>
                    <a:moveTo>
                      <a:pt x="225" y="312"/>
                    </a:moveTo>
                    <a:lnTo>
                      <a:pt x="227" y="312"/>
                    </a:lnTo>
                    <a:lnTo>
                      <a:pt x="225" y="312"/>
                    </a:lnTo>
                    <a:close/>
                    <a:moveTo>
                      <a:pt x="142" y="321"/>
                    </a:moveTo>
                    <a:lnTo>
                      <a:pt x="142" y="323"/>
                    </a:lnTo>
                    <a:lnTo>
                      <a:pt x="141" y="321"/>
                    </a:lnTo>
                    <a:lnTo>
                      <a:pt x="142" y="321"/>
                    </a:lnTo>
                    <a:lnTo>
                      <a:pt x="141" y="321"/>
                    </a:lnTo>
                    <a:lnTo>
                      <a:pt x="141" y="323"/>
                    </a:lnTo>
                    <a:lnTo>
                      <a:pt x="142" y="321"/>
                    </a:lnTo>
                    <a:lnTo>
                      <a:pt x="142" y="323"/>
                    </a:lnTo>
                    <a:lnTo>
                      <a:pt x="142" y="321"/>
                    </a:lnTo>
                    <a:close/>
                    <a:moveTo>
                      <a:pt x="91" y="633"/>
                    </a:moveTo>
                    <a:lnTo>
                      <a:pt x="92" y="633"/>
                    </a:lnTo>
                    <a:lnTo>
                      <a:pt x="91" y="633"/>
                    </a:lnTo>
                    <a:close/>
                    <a:moveTo>
                      <a:pt x="675" y="367"/>
                    </a:moveTo>
                    <a:lnTo>
                      <a:pt x="677" y="367"/>
                    </a:lnTo>
                    <a:lnTo>
                      <a:pt x="675" y="367"/>
                    </a:lnTo>
                    <a:lnTo>
                      <a:pt x="677" y="367"/>
                    </a:lnTo>
                    <a:lnTo>
                      <a:pt x="678" y="367"/>
                    </a:lnTo>
                    <a:lnTo>
                      <a:pt x="680" y="365"/>
                    </a:lnTo>
                    <a:lnTo>
                      <a:pt x="682" y="365"/>
                    </a:lnTo>
                    <a:lnTo>
                      <a:pt x="684" y="365"/>
                    </a:lnTo>
                    <a:lnTo>
                      <a:pt x="684" y="367"/>
                    </a:lnTo>
                    <a:lnTo>
                      <a:pt x="684" y="369"/>
                    </a:lnTo>
                    <a:lnTo>
                      <a:pt x="686" y="369"/>
                    </a:lnTo>
                    <a:lnTo>
                      <a:pt x="688" y="369"/>
                    </a:lnTo>
                    <a:lnTo>
                      <a:pt x="688" y="371"/>
                    </a:lnTo>
                    <a:lnTo>
                      <a:pt x="688" y="373"/>
                    </a:lnTo>
                    <a:lnTo>
                      <a:pt x="686" y="373"/>
                    </a:lnTo>
                    <a:lnTo>
                      <a:pt x="688" y="373"/>
                    </a:lnTo>
                    <a:lnTo>
                      <a:pt x="688" y="371"/>
                    </a:lnTo>
                    <a:lnTo>
                      <a:pt x="690" y="373"/>
                    </a:lnTo>
                    <a:lnTo>
                      <a:pt x="688" y="373"/>
                    </a:lnTo>
                    <a:lnTo>
                      <a:pt x="690" y="373"/>
                    </a:lnTo>
                    <a:lnTo>
                      <a:pt x="692" y="373"/>
                    </a:lnTo>
                    <a:lnTo>
                      <a:pt x="692" y="371"/>
                    </a:lnTo>
                    <a:lnTo>
                      <a:pt x="692" y="369"/>
                    </a:lnTo>
                    <a:lnTo>
                      <a:pt x="694" y="369"/>
                    </a:lnTo>
                    <a:lnTo>
                      <a:pt x="696" y="369"/>
                    </a:lnTo>
                    <a:lnTo>
                      <a:pt x="696" y="371"/>
                    </a:lnTo>
                    <a:lnTo>
                      <a:pt x="698" y="371"/>
                    </a:lnTo>
                    <a:lnTo>
                      <a:pt x="700" y="371"/>
                    </a:lnTo>
                    <a:lnTo>
                      <a:pt x="698" y="371"/>
                    </a:lnTo>
                    <a:lnTo>
                      <a:pt x="700" y="371"/>
                    </a:lnTo>
                    <a:lnTo>
                      <a:pt x="700" y="369"/>
                    </a:lnTo>
                    <a:lnTo>
                      <a:pt x="701" y="369"/>
                    </a:lnTo>
                    <a:lnTo>
                      <a:pt x="703" y="369"/>
                    </a:lnTo>
                    <a:lnTo>
                      <a:pt x="705" y="369"/>
                    </a:lnTo>
                    <a:lnTo>
                      <a:pt x="707" y="369"/>
                    </a:lnTo>
                    <a:lnTo>
                      <a:pt x="709" y="369"/>
                    </a:lnTo>
                    <a:lnTo>
                      <a:pt x="709" y="371"/>
                    </a:lnTo>
                    <a:lnTo>
                      <a:pt x="707" y="371"/>
                    </a:lnTo>
                    <a:lnTo>
                      <a:pt x="707" y="373"/>
                    </a:lnTo>
                    <a:lnTo>
                      <a:pt x="709" y="373"/>
                    </a:lnTo>
                    <a:lnTo>
                      <a:pt x="711" y="375"/>
                    </a:lnTo>
                    <a:lnTo>
                      <a:pt x="713" y="375"/>
                    </a:lnTo>
                    <a:lnTo>
                      <a:pt x="715" y="375"/>
                    </a:lnTo>
                    <a:lnTo>
                      <a:pt x="717" y="375"/>
                    </a:lnTo>
                    <a:lnTo>
                      <a:pt x="717" y="377"/>
                    </a:lnTo>
                    <a:lnTo>
                      <a:pt x="717" y="379"/>
                    </a:lnTo>
                    <a:lnTo>
                      <a:pt x="719" y="379"/>
                    </a:lnTo>
                    <a:lnTo>
                      <a:pt x="721" y="379"/>
                    </a:lnTo>
                    <a:lnTo>
                      <a:pt x="723" y="379"/>
                    </a:lnTo>
                    <a:lnTo>
                      <a:pt x="723" y="381"/>
                    </a:lnTo>
                    <a:lnTo>
                      <a:pt x="725" y="381"/>
                    </a:lnTo>
                    <a:lnTo>
                      <a:pt x="726" y="381"/>
                    </a:lnTo>
                    <a:lnTo>
                      <a:pt x="728" y="381"/>
                    </a:lnTo>
                    <a:lnTo>
                      <a:pt x="730" y="381"/>
                    </a:lnTo>
                    <a:lnTo>
                      <a:pt x="730" y="383"/>
                    </a:lnTo>
                    <a:lnTo>
                      <a:pt x="730" y="381"/>
                    </a:lnTo>
                    <a:lnTo>
                      <a:pt x="728" y="381"/>
                    </a:lnTo>
                    <a:lnTo>
                      <a:pt x="726" y="381"/>
                    </a:lnTo>
                    <a:lnTo>
                      <a:pt x="725" y="381"/>
                    </a:lnTo>
                    <a:lnTo>
                      <a:pt x="726" y="381"/>
                    </a:lnTo>
                    <a:lnTo>
                      <a:pt x="725" y="381"/>
                    </a:lnTo>
                    <a:lnTo>
                      <a:pt x="723" y="381"/>
                    </a:lnTo>
                    <a:lnTo>
                      <a:pt x="723" y="379"/>
                    </a:lnTo>
                    <a:lnTo>
                      <a:pt x="725" y="381"/>
                    </a:lnTo>
                    <a:lnTo>
                      <a:pt x="723" y="379"/>
                    </a:lnTo>
                    <a:lnTo>
                      <a:pt x="721" y="379"/>
                    </a:lnTo>
                    <a:lnTo>
                      <a:pt x="723" y="379"/>
                    </a:lnTo>
                    <a:lnTo>
                      <a:pt x="721" y="379"/>
                    </a:lnTo>
                    <a:lnTo>
                      <a:pt x="719" y="379"/>
                    </a:lnTo>
                    <a:lnTo>
                      <a:pt x="717" y="379"/>
                    </a:lnTo>
                    <a:lnTo>
                      <a:pt x="717" y="377"/>
                    </a:lnTo>
                    <a:lnTo>
                      <a:pt x="717" y="375"/>
                    </a:lnTo>
                    <a:lnTo>
                      <a:pt x="717" y="377"/>
                    </a:lnTo>
                    <a:lnTo>
                      <a:pt x="717" y="375"/>
                    </a:lnTo>
                    <a:lnTo>
                      <a:pt x="715" y="375"/>
                    </a:lnTo>
                    <a:lnTo>
                      <a:pt x="713" y="375"/>
                    </a:lnTo>
                    <a:lnTo>
                      <a:pt x="711" y="375"/>
                    </a:lnTo>
                    <a:lnTo>
                      <a:pt x="711" y="373"/>
                    </a:lnTo>
                    <a:lnTo>
                      <a:pt x="709" y="373"/>
                    </a:lnTo>
                    <a:lnTo>
                      <a:pt x="707" y="371"/>
                    </a:lnTo>
                    <a:lnTo>
                      <a:pt x="709" y="371"/>
                    </a:lnTo>
                    <a:lnTo>
                      <a:pt x="707" y="371"/>
                    </a:lnTo>
                    <a:lnTo>
                      <a:pt x="709" y="371"/>
                    </a:lnTo>
                    <a:lnTo>
                      <a:pt x="707" y="371"/>
                    </a:lnTo>
                    <a:lnTo>
                      <a:pt x="709" y="371"/>
                    </a:lnTo>
                    <a:lnTo>
                      <a:pt x="711" y="369"/>
                    </a:lnTo>
                    <a:lnTo>
                      <a:pt x="709" y="369"/>
                    </a:lnTo>
                    <a:lnTo>
                      <a:pt x="707" y="369"/>
                    </a:lnTo>
                    <a:lnTo>
                      <a:pt x="705" y="369"/>
                    </a:lnTo>
                    <a:lnTo>
                      <a:pt x="707" y="369"/>
                    </a:lnTo>
                    <a:lnTo>
                      <a:pt x="705" y="369"/>
                    </a:lnTo>
                    <a:lnTo>
                      <a:pt x="703" y="369"/>
                    </a:lnTo>
                    <a:lnTo>
                      <a:pt x="701" y="369"/>
                    </a:lnTo>
                    <a:lnTo>
                      <a:pt x="700" y="369"/>
                    </a:lnTo>
                    <a:lnTo>
                      <a:pt x="700" y="371"/>
                    </a:lnTo>
                    <a:lnTo>
                      <a:pt x="700" y="369"/>
                    </a:lnTo>
                    <a:lnTo>
                      <a:pt x="700" y="371"/>
                    </a:lnTo>
                    <a:lnTo>
                      <a:pt x="698" y="371"/>
                    </a:lnTo>
                    <a:lnTo>
                      <a:pt x="698" y="369"/>
                    </a:lnTo>
                    <a:lnTo>
                      <a:pt x="698" y="371"/>
                    </a:lnTo>
                    <a:lnTo>
                      <a:pt x="696" y="371"/>
                    </a:lnTo>
                    <a:lnTo>
                      <a:pt x="696" y="369"/>
                    </a:lnTo>
                    <a:lnTo>
                      <a:pt x="694" y="369"/>
                    </a:lnTo>
                    <a:lnTo>
                      <a:pt x="692" y="369"/>
                    </a:lnTo>
                    <a:lnTo>
                      <a:pt x="692" y="371"/>
                    </a:lnTo>
                    <a:lnTo>
                      <a:pt x="692" y="373"/>
                    </a:lnTo>
                    <a:lnTo>
                      <a:pt x="690" y="373"/>
                    </a:lnTo>
                    <a:lnTo>
                      <a:pt x="690" y="371"/>
                    </a:lnTo>
                    <a:lnTo>
                      <a:pt x="688" y="371"/>
                    </a:lnTo>
                    <a:lnTo>
                      <a:pt x="688" y="369"/>
                    </a:lnTo>
                    <a:lnTo>
                      <a:pt x="686" y="369"/>
                    </a:lnTo>
                    <a:lnTo>
                      <a:pt x="684" y="369"/>
                    </a:lnTo>
                    <a:lnTo>
                      <a:pt x="684" y="367"/>
                    </a:lnTo>
                    <a:lnTo>
                      <a:pt x="686" y="367"/>
                    </a:lnTo>
                    <a:lnTo>
                      <a:pt x="684" y="367"/>
                    </a:lnTo>
                    <a:lnTo>
                      <a:pt x="684" y="365"/>
                    </a:lnTo>
                    <a:lnTo>
                      <a:pt x="682" y="365"/>
                    </a:lnTo>
                    <a:lnTo>
                      <a:pt x="680" y="365"/>
                    </a:lnTo>
                    <a:lnTo>
                      <a:pt x="678" y="367"/>
                    </a:lnTo>
                    <a:lnTo>
                      <a:pt x="677" y="367"/>
                    </a:lnTo>
                    <a:lnTo>
                      <a:pt x="675" y="367"/>
                    </a:lnTo>
                    <a:lnTo>
                      <a:pt x="677" y="367"/>
                    </a:lnTo>
                    <a:lnTo>
                      <a:pt x="675" y="367"/>
                    </a:lnTo>
                    <a:lnTo>
                      <a:pt x="675" y="365"/>
                    </a:lnTo>
                    <a:lnTo>
                      <a:pt x="675" y="367"/>
                    </a:lnTo>
                    <a:lnTo>
                      <a:pt x="675" y="365"/>
                    </a:lnTo>
                    <a:lnTo>
                      <a:pt x="675" y="367"/>
                    </a:lnTo>
                    <a:close/>
                    <a:moveTo>
                      <a:pt x="590" y="394"/>
                    </a:moveTo>
                    <a:lnTo>
                      <a:pt x="590" y="396"/>
                    </a:lnTo>
                    <a:lnTo>
                      <a:pt x="590" y="394"/>
                    </a:lnTo>
                    <a:close/>
                    <a:moveTo>
                      <a:pt x="459" y="477"/>
                    </a:moveTo>
                    <a:lnTo>
                      <a:pt x="459" y="475"/>
                    </a:lnTo>
                    <a:lnTo>
                      <a:pt x="461" y="475"/>
                    </a:lnTo>
                    <a:lnTo>
                      <a:pt x="459" y="475"/>
                    </a:lnTo>
                    <a:lnTo>
                      <a:pt x="459" y="473"/>
                    </a:lnTo>
                    <a:lnTo>
                      <a:pt x="459" y="475"/>
                    </a:lnTo>
                    <a:lnTo>
                      <a:pt x="459" y="473"/>
                    </a:lnTo>
                    <a:lnTo>
                      <a:pt x="458" y="473"/>
                    </a:lnTo>
                    <a:lnTo>
                      <a:pt x="459" y="473"/>
                    </a:lnTo>
                    <a:lnTo>
                      <a:pt x="459" y="475"/>
                    </a:lnTo>
                    <a:lnTo>
                      <a:pt x="459" y="473"/>
                    </a:lnTo>
                    <a:lnTo>
                      <a:pt x="459" y="475"/>
                    </a:lnTo>
                    <a:lnTo>
                      <a:pt x="461" y="475"/>
                    </a:lnTo>
                    <a:lnTo>
                      <a:pt x="459" y="475"/>
                    </a:lnTo>
                    <a:lnTo>
                      <a:pt x="459" y="477"/>
                    </a:lnTo>
                    <a:close/>
                    <a:moveTo>
                      <a:pt x="454" y="475"/>
                    </a:moveTo>
                    <a:lnTo>
                      <a:pt x="456" y="475"/>
                    </a:lnTo>
                    <a:lnTo>
                      <a:pt x="454" y="475"/>
                    </a:lnTo>
                    <a:close/>
                    <a:moveTo>
                      <a:pt x="429" y="39"/>
                    </a:moveTo>
                    <a:lnTo>
                      <a:pt x="431" y="39"/>
                    </a:lnTo>
                    <a:lnTo>
                      <a:pt x="431" y="41"/>
                    </a:lnTo>
                    <a:lnTo>
                      <a:pt x="433" y="41"/>
                    </a:lnTo>
                    <a:lnTo>
                      <a:pt x="434" y="41"/>
                    </a:lnTo>
                    <a:lnTo>
                      <a:pt x="436" y="41"/>
                    </a:lnTo>
                    <a:lnTo>
                      <a:pt x="436" y="42"/>
                    </a:lnTo>
                    <a:lnTo>
                      <a:pt x="438" y="42"/>
                    </a:lnTo>
                    <a:lnTo>
                      <a:pt x="438" y="44"/>
                    </a:lnTo>
                    <a:lnTo>
                      <a:pt x="436" y="44"/>
                    </a:lnTo>
                    <a:lnTo>
                      <a:pt x="436" y="46"/>
                    </a:lnTo>
                    <a:lnTo>
                      <a:pt x="434" y="46"/>
                    </a:lnTo>
                    <a:lnTo>
                      <a:pt x="436" y="46"/>
                    </a:lnTo>
                    <a:lnTo>
                      <a:pt x="436" y="48"/>
                    </a:lnTo>
                    <a:lnTo>
                      <a:pt x="436" y="46"/>
                    </a:lnTo>
                    <a:lnTo>
                      <a:pt x="436" y="48"/>
                    </a:lnTo>
                    <a:lnTo>
                      <a:pt x="436" y="50"/>
                    </a:lnTo>
                    <a:lnTo>
                      <a:pt x="438" y="48"/>
                    </a:lnTo>
                    <a:lnTo>
                      <a:pt x="438" y="50"/>
                    </a:lnTo>
                    <a:lnTo>
                      <a:pt x="438" y="48"/>
                    </a:lnTo>
                    <a:lnTo>
                      <a:pt x="440" y="48"/>
                    </a:lnTo>
                    <a:lnTo>
                      <a:pt x="440" y="50"/>
                    </a:lnTo>
                    <a:lnTo>
                      <a:pt x="438" y="50"/>
                    </a:lnTo>
                    <a:lnTo>
                      <a:pt x="440" y="50"/>
                    </a:lnTo>
                    <a:lnTo>
                      <a:pt x="440" y="48"/>
                    </a:lnTo>
                    <a:lnTo>
                      <a:pt x="440" y="50"/>
                    </a:lnTo>
                    <a:lnTo>
                      <a:pt x="442" y="50"/>
                    </a:lnTo>
                    <a:lnTo>
                      <a:pt x="444" y="50"/>
                    </a:lnTo>
                    <a:lnTo>
                      <a:pt x="446" y="50"/>
                    </a:lnTo>
                    <a:lnTo>
                      <a:pt x="446" y="48"/>
                    </a:lnTo>
                    <a:lnTo>
                      <a:pt x="448" y="48"/>
                    </a:lnTo>
                    <a:lnTo>
                      <a:pt x="448" y="46"/>
                    </a:lnTo>
                    <a:lnTo>
                      <a:pt x="446" y="46"/>
                    </a:lnTo>
                    <a:lnTo>
                      <a:pt x="448" y="46"/>
                    </a:lnTo>
                    <a:lnTo>
                      <a:pt x="446" y="44"/>
                    </a:lnTo>
                    <a:lnTo>
                      <a:pt x="448" y="44"/>
                    </a:lnTo>
                    <a:lnTo>
                      <a:pt x="446" y="44"/>
                    </a:lnTo>
                    <a:lnTo>
                      <a:pt x="448" y="44"/>
                    </a:lnTo>
                    <a:lnTo>
                      <a:pt x="448" y="42"/>
                    </a:lnTo>
                    <a:lnTo>
                      <a:pt x="450" y="42"/>
                    </a:lnTo>
                    <a:lnTo>
                      <a:pt x="452" y="42"/>
                    </a:lnTo>
                    <a:lnTo>
                      <a:pt x="452" y="44"/>
                    </a:lnTo>
                    <a:lnTo>
                      <a:pt x="454" y="44"/>
                    </a:lnTo>
                    <a:lnTo>
                      <a:pt x="456" y="44"/>
                    </a:lnTo>
                    <a:lnTo>
                      <a:pt x="454" y="42"/>
                    </a:lnTo>
                    <a:lnTo>
                      <a:pt x="456" y="42"/>
                    </a:lnTo>
                    <a:lnTo>
                      <a:pt x="456" y="44"/>
                    </a:lnTo>
                    <a:lnTo>
                      <a:pt x="458" y="42"/>
                    </a:lnTo>
                    <a:lnTo>
                      <a:pt x="456" y="42"/>
                    </a:lnTo>
                    <a:lnTo>
                      <a:pt x="458" y="42"/>
                    </a:lnTo>
                    <a:lnTo>
                      <a:pt x="459" y="42"/>
                    </a:lnTo>
                    <a:lnTo>
                      <a:pt x="461" y="42"/>
                    </a:lnTo>
                    <a:lnTo>
                      <a:pt x="461" y="44"/>
                    </a:lnTo>
                    <a:lnTo>
                      <a:pt x="459" y="44"/>
                    </a:lnTo>
                    <a:lnTo>
                      <a:pt x="458" y="44"/>
                    </a:lnTo>
                    <a:lnTo>
                      <a:pt x="459" y="44"/>
                    </a:lnTo>
                    <a:lnTo>
                      <a:pt x="461" y="44"/>
                    </a:lnTo>
                    <a:lnTo>
                      <a:pt x="463" y="44"/>
                    </a:lnTo>
                    <a:lnTo>
                      <a:pt x="463" y="42"/>
                    </a:lnTo>
                    <a:lnTo>
                      <a:pt x="463" y="44"/>
                    </a:lnTo>
                    <a:lnTo>
                      <a:pt x="465" y="44"/>
                    </a:lnTo>
                    <a:lnTo>
                      <a:pt x="463" y="44"/>
                    </a:lnTo>
                    <a:lnTo>
                      <a:pt x="461" y="44"/>
                    </a:lnTo>
                    <a:lnTo>
                      <a:pt x="463" y="44"/>
                    </a:lnTo>
                    <a:lnTo>
                      <a:pt x="465" y="44"/>
                    </a:lnTo>
                    <a:lnTo>
                      <a:pt x="467" y="44"/>
                    </a:lnTo>
                    <a:lnTo>
                      <a:pt x="465" y="44"/>
                    </a:lnTo>
                    <a:lnTo>
                      <a:pt x="467" y="44"/>
                    </a:lnTo>
                    <a:lnTo>
                      <a:pt x="467" y="46"/>
                    </a:lnTo>
                    <a:lnTo>
                      <a:pt x="465" y="46"/>
                    </a:lnTo>
                    <a:lnTo>
                      <a:pt x="467" y="46"/>
                    </a:lnTo>
                    <a:lnTo>
                      <a:pt x="469" y="46"/>
                    </a:lnTo>
                    <a:lnTo>
                      <a:pt x="471" y="46"/>
                    </a:lnTo>
                    <a:lnTo>
                      <a:pt x="471" y="48"/>
                    </a:lnTo>
                    <a:lnTo>
                      <a:pt x="473" y="48"/>
                    </a:lnTo>
                    <a:lnTo>
                      <a:pt x="473" y="50"/>
                    </a:lnTo>
                    <a:lnTo>
                      <a:pt x="475" y="50"/>
                    </a:lnTo>
                    <a:lnTo>
                      <a:pt x="477" y="50"/>
                    </a:lnTo>
                    <a:lnTo>
                      <a:pt x="475" y="52"/>
                    </a:lnTo>
                    <a:lnTo>
                      <a:pt x="477" y="52"/>
                    </a:lnTo>
                    <a:lnTo>
                      <a:pt x="475" y="54"/>
                    </a:lnTo>
                    <a:lnTo>
                      <a:pt x="473" y="54"/>
                    </a:lnTo>
                    <a:lnTo>
                      <a:pt x="475" y="54"/>
                    </a:lnTo>
                    <a:lnTo>
                      <a:pt x="473" y="56"/>
                    </a:lnTo>
                    <a:lnTo>
                      <a:pt x="475" y="56"/>
                    </a:lnTo>
                    <a:lnTo>
                      <a:pt x="473" y="58"/>
                    </a:lnTo>
                    <a:lnTo>
                      <a:pt x="471" y="60"/>
                    </a:lnTo>
                    <a:lnTo>
                      <a:pt x="471" y="62"/>
                    </a:lnTo>
                    <a:lnTo>
                      <a:pt x="473" y="62"/>
                    </a:lnTo>
                    <a:lnTo>
                      <a:pt x="473" y="64"/>
                    </a:lnTo>
                    <a:lnTo>
                      <a:pt x="471" y="64"/>
                    </a:lnTo>
                    <a:lnTo>
                      <a:pt x="473" y="66"/>
                    </a:lnTo>
                    <a:lnTo>
                      <a:pt x="471" y="66"/>
                    </a:lnTo>
                    <a:lnTo>
                      <a:pt x="473" y="66"/>
                    </a:lnTo>
                    <a:lnTo>
                      <a:pt x="473" y="67"/>
                    </a:lnTo>
                    <a:lnTo>
                      <a:pt x="471" y="67"/>
                    </a:lnTo>
                    <a:lnTo>
                      <a:pt x="473" y="67"/>
                    </a:lnTo>
                    <a:lnTo>
                      <a:pt x="473" y="69"/>
                    </a:lnTo>
                    <a:lnTo>
                      <a:pt x="471" y="69"/>
                    </a:lnTo>
                    <a:lnTo>
                      <a:pt x="473" y="69"/>
                    </a:lnTo>
                    <a:lnTo>
                      <a:pt x="471" y="69"/>
                    </a:lnTo>
                    <a:lnTo>
                      <a:pt x="473" y="71"/>
                    </a:lnTo>
                    <a:lnTo>
                      <a:pt x="471" y="71"/>
                    </a:lnTo>
                    <a:lnTo>
                      <a:pt x="473" y="71"/>
                    </a:lnTo>
                    <a:lnTo>
                      <a:pt x="471" y="71"/>
                    </a:lnTo>
                    <a:lnTo>
                      <a:pt x="469" y="71"/>
                    </a:lnTo>
                    <a:lnTo>
                      <a:pt x="471" y="71"/>
                    </a:lnTo>
                    <a:lnTo>
                      <a:pt x="471" y="73"/>
                    </a:lnTo>
                    <a:lnTo>
                      <a:pt x="469" y="73"/>
                    </a:lnTo>
                    <a:lnTo>
                      <a:pt x="467" y="73"/>
                    </a:lnTo>
                    <a:lnTo>
                      <a:pt x="469" y="73"/>
                    </a:lnTo>
                    <a:lnTo>
                      <a:pt x="467" y="73"/>
                    </a:lnTo>
                    <a:lnTo>
                      <a:pt x="465" y="71"/>
                    </a:lnTo>
                    <a:lnTo>
                      <a:pt x="461" y="71"/>
                    </a:lnTo>
                    <a:lnTo>
                      <a:pt x="459" y="71"/>
                    </a:lnTo>
                    <a:lnTo>
                      <a:pt x="461" y="73"/>
                    </a:lnTo>
                    <a:lnTo>
                      <a:pt x="463" y="73"/>
                    </a:lnTo>
                    <a:lnTo>
                      <a:pt x="463" y="75"/>
                    </a:lnTo>
                    <a:lnTo>
                      <a:pt x="465" y="75"/>
                    </a:lnTo>
                    <a:lnTo>
                      <a:pt x="467" y="75"/>
                    </a:lnTo>
                    <a:lnTo>
                      <a:pt x="467" y="77"/>
                    </a:lnTo>
                    <a:lnTo>
                      <a:pt x="469" y="77"/>
                    </a:lnTo>
                    <a:lnTo>
                      <a:pt x="471" y="77"/>
                    </a:lnTo>
                    <a:lnTo>
                      <a:pt x="469" y="77"/>
                    </a:lnTo>
                    <a:lnTo>
                      <a:pt x="467" y="77"/>
                    </a:lnTo>
                    <a:lnTo>
                      <a:pt x="469" y="79"/>
                    </a:lnTo>
                    <a:lnTo>
                      <a:pt x="471" y="79"/>
                    </a:lnTo>
                    <a:lnTo>
                      <a:pt x="473" y="79"/>
                    </a:lnTo>
                    <a:lnTo>
                      <a:pt x="475" y="79"/>
                    </a:lnTo>
                    <a:lnTo>
                      <a:pt x="475" y="81"/>
                    </a:lnTo>
                    <a:lnTo>
                      <a:pt x="475" y="83"/>
                    </a:lnTo>
                    <a:lnTo>
                      <a:pt x="475" y="85"/>
                    </a:lnTo>
                    <a:lnTo>
                      <a:pt x="477" y="85"/>
                    </a:lnTo>
                    <a:lnTo>
                      <a:pt x="475" y="87"/>
                    </a:lnTo>
                    <a:lnTo>
                      <a:pt x="473" y="87"/>
                    </a:lnTo>
                    <a:lnTo>
                      <a:pt x="471" y="87"/>
                    </a:lnTo>
                    <a:lnTo>
                      <a:pt x="471" y="89"/>
                    </a:lnTo>
                    <a:lnTo>
                      <a:pt x="469" y="89"/>
                    </a:lnTo>
                    <a:lnTo>
                      <a:pt x="467" y="89"/>
                    </a:lnTo>
                    <a:lnTo>
                      <a:pt x="467" y="91"/>
                    </a:lnTo>
                    <a:lnTo>
                      <a:pt x="465" y="91"/>
                    </a:lnTo>
                    <a:lnTo>
                      <a:pt x="463" y="91"/>
                    </a:lnTo>
                    <a:lnTo>
                      <a:pt x="461" y="91"/>
                    </a:lnTo>
                    <a:lnTo>
                      <a:pt x="459" y="91"/>
                    </a:lnTo>
                    <a:lnTo>
                      <a:pt x="458" y="91"/>
                    </a:lnTo>
                    <a:lnTo>
                      <a:pt x="456" y="91"/>
                    </a:lnTo>
                    <a:lnTo>
                      <a:pt x="454" y="91"/>
                    </a:lnTo>
                    <a:lnTo>
                      <a:pt x="454" y="92"/>
                    </a:lnTo>
                    <a:lnTo>
                      <a:pt x="450" y="91"/>
                    </a:lnTo>
                    <a:lnTo>
                      <a:pt x="450" y="92"/>
                    </a:lnTo>
                    <a:lnTo>
                      <a:pt x="448" y="92"/>
                    </a:lnTo>
                    <a:lnTo>
                      <a:pt x="446" y="92"/>
                    </a:lnTo>
                    <a:lnTo>
                      <a:pt x="444" y="92"/>
                    </a:lnTo>
                    <a:lnTo>
                      <a:pt x="442" y="92"/>
                    </a:lnTo>
                    <a:lnTo>
                      <a:pt x="442" y="91"/>
                    </a:lnTo>
                    <a:lnTo>
                      <a:pt x="440" y="91"/>
                    </a:lnTo>
                    <a:lnTo>
                      <a:pt x="442" y="92"/>
                    </a:lnTo>
                    <a:lnTo>
                      <a:pt x="440" y="92"/>
                    </a:lnTo>
                    <a:lnTo>
                      <a:pt x="438" y="92"/>
                    </a:lnTo>
                    <a:lnTo>
                      <a:pt x="436" y="92"/>
                    </a:lnTo>
                    <a:lnTo>
                      <a:pt x="436" y="91"/>
                    </a:lnTo>
                    <a:lnTo>
                      <a:pt x="434" y="91"/>
                    </a:lnTo>
                    <a:lnTo>
                      <a:pt x="434" y="92"/>
                    </a:lnTo>
                    <a:lnTo>
                      <a:pt x="433" y="92"/>
                    </a:lnTo>
                    <a:lnTo>
                      <a:pt x="431" y="92"/>
                    </a:lnTo>
                    <a:lnTo>
                      <a:pt x="431" y="91"/>
                    </a:lnTo>
                    <a:lnTo>
                      <a:pt x="429" y="91"/>
                    </a:lnTo>
                    <a:lnTo>
                      <a:pt x="427" y="91"/>
                    </a:lnTo>
                    <a:lnTo>
                      <a:pt x="427" y="89"/>
                    </a:lnTo>
                    <a:lnTo>
                      <a:pt x="425" y="89"/>
                    </a:lnTo>
                    <a:lnTo>
                      <a:pt x="427" y="91"/>
                    </a:lnTo>
                    <a:lnTo>
                      <a:pt x="425" y="91"/>
                    </a:lnTo>
                    <a:lnTo>
                      <a:pt x="425" y="89"/>
                    </a:lnTo>
                    <a:lnTo>
                      <a:pt x="423" y="89"/>
                    </a:lnTo>
                    <a:lnTo>
                      <a:pt x="421" y="89"/>
                    </a:lnTo>
                    <a:lnTo>
                      <a:pt x="421" y="87"/>
                    </a:lnTo>
                    <a:lnTo>
                      <a:pt x="419" y="87"/>
                    </a:lnTo>
                    <a:lnTo>
                      <a:pt x="419" y="85"/>
                    </a:lnTo>
                    <a:lnTo>
                      <a:pt x="417" y="85"/>
                    </a:lnTo>
                    <a:lnTo>
                      <a:pt x="415" y="85"/>
                    </a:lnTo>
                    <a:lnTo>
                      <a:pt x="417" y="85"/>
                    </a:lnTo>
                    <a:lnTo>
                      <a:pt x="415" y="85"/>
                    </a:lnTo>
                    <a:lnTo>
                      <a:pt x="413" y="85"/>
                    </a:lnTo>
                    <a:lnTo>
                      <a:pt x="415" y="85"/>
                    </a:lnTo>
                    <a:lnTo>
                      <a:pt x="413" y="85"/>
                    </a:lnTo>
                    <a:lnTo>
                      <a:pt x="415" y="85"/>
                    </a:lnTo>
                    <a:lnTo>
                      <a:pt x="413" y="85"/>
                    </a:lnTo>
                    <a:lnTo>
                      <a:pt x="411" y="85"/>
                    </a:lnTo>
                    <a:lnTo>
                      <a:pt x="409" y="85"/>
                    </a:lnTo>
                    <a:lnTo>
                      <a:pt x="411" y="85"/>
                    </a:lnTo>
                    <a:lnTo>
                      <a:pt x="409" y="85"/>
                    </a:lnTo>
                    <a:lnTo>
                      <a:pt x="408" y="85"/>
                    </a:lnTo>
                    <a:lnTo>
                      <a:pt x="409" y="85"/>
                    </a:lnTo>
                    <a:lnTo>
                      <a:pt x="408" y="85"/>
                    </a:lnTo>
                    <a:lnTo>
                      <a:pt x="406" y="85"/>
                    </a:lnTo>
                    <a:lnTo>
                      <a:pt x="408" y="85"/>
                    </a:lnTo>
                    <a:lnTo>
                      <a:pt x="409" y="85"/>
                    </a:lnTo>
                    <a:lnTo>
                      <a:pt x="408" y="85"/>
                    </a:lnTo>
                    <a:lnTo>
                      <a:pt x="406" y="85"/>
                    </a:lnTo>
                    <a:lnTo>
                      <a:pt x="404" y="85"/>
                    </a:lnTo>
                    <a:lnTo>
                      <a:pt x="406" y="85"/>
                    </a:lnTo>
                    <a:lnTo>
                      <a:pt x="404" y="85"/>
                    </a:lnTo>
                    <a:lnTo>
                      <a:pt x="402" y="85"/>
                    </a:lnTo>
                    <a:lnTo>
                      <a:pt x="400" y="85"/>
                    </a:lnTo>
                    <a:lnTo>
                      <a:pt x="398" y="85"/>
                    </a:lnTo>
                    <a:lnTo>
                      <a:pt x="396" y="85"/>
                    </a:lnTo>
                    <a:lnTo>
                      <a:pt x="394" y="85"/>
                    </a:lnTo>
                    <a:lnTo>
                      <a:pt x="396" y="83"/>
                    </a:lnTo>
                    <a:lnTo>
                      <a:pt x="396" y="85"/>
                    </a:lnTo>
                    <a:lnTo>
                      <a:pt x="396" y="83"/>
                    </a:lnTo>
                    <a:lnTo>
                      <a:pt x="394" y="83"/>
                    </a:lnTo>
                    <a:lnTo>
                      <a:pt x="394" y="81"/>
                    </a:lnTo>
                    <a:lnTo>
                      <a:pt x="392" y="81"/>
                    </a:lnTo>
                    <a:lnTo>
                      <a:pt x="390" y="81"/>
                    </a:lnTo>
                    <a:lnTo>
                      <a:pt x="388" y="81"/>
                    </a:lnTo>
                    <a:lnTo>
                      <a:pt x="388" y="83"/>
                    </a:lnTo>
                    <a:lnTo>
                      <a:pt x="386" y="83"/>
                    </a:lnTo>
                    <a:lnTo>
                      <a:pt x="384" y="83"/>
                    </a:lnTo>
                    <a:lnTo>
                      <a:pt x="386" y="83"/>
                    </a:lnTo>
                    <a:lnTo>
                      <a:pt x="384" y="83"/>
                    </a:lnTo>
                    <a:lnTo>
                      <a:pt x="384" y="85"/>
                    </a:lnTo>
                    <a:lnTo>
                      <a:pt x="383" y="85"/>
                    </a:lnTo>
                    <a:lnTo>
                      <a:pt x="383" y="83"/>
                    </a:lnTo>
                    <a:lnTo>
                      <a:pt x="381" y="83"/>
                    </a:lnTo>
                    <a:lnTo>
                      <a:pt x="383" y="83"/>
                    </a:lnTo>
                    <a:lnTo>
                      <a:pt x="381" y="83"/>
                    </a:lnTo>
                    <a:lnTo>
                      <a:pt x="379" y="83"/>
                    </a:lnTo>
                    <a:lnTo>
                      <a:pt x="377" y="81"/>
                    </a:lnTo>
                    <a:lnTo>
                      <a:pt x="375" y="81"/>
                    </a:lnTo>
                    <a:lnTo>
                      <a:pt x="375" y="79"/>
                    </a:lnTo>
                    <a:lnTo>
                      <a:pt x="377" y="77"/>
                    </a:lnTo>
                    <a:lnTo>
                      <a:pt x="377" y="79"/>
                    </a:lnTo>
                    <a:lnTo>
                      <a:pt x="375" y="79"/>
                    </a:lnTo>
                    <a:lnTo>
                      <a:pt x="377" y="79"/>
                    </a:lnTo>
                    <a:lnTo>
                      <a:pt x="375" y="79"/>
                    </a:lnTo>
                    <a:lnTo>
                      <a:pt x="377" y="79"/>
                    </a:lnTo>
                    <a:lnTo>
                      <a:pt x="377" y="77"/>
                    </a:lnTo>
                    <a:lnTo>
                      <a:pt x="375" y="77"/>
                    </a:lnTo>
                    <a:lnTo>
                      <a:pt x="371" y="75"/>
                    </a:lnTo>
                    <a:lnTo>
                      <a:pt x="369" y="75"/>
                    </a:lnTo>
                    <a:lnTo>
                      <a:pt x="371" y="75"/>
                    </a:lnTo>
                    <a:lnTo>
                      <a:pt x="369" y="75"/>
                    </a:lnTo>
                    <a:lnTo>
                      <a:pt x="371" y="75"/>
                    </a:lnTo>
                    <a:lnTo>
                      <a:pt x="371" y="73"/>
                    </a:lnTo>
                    <a:lnTo>
                      <a:pt x="369" y="73"/>
                    </a:lnTo>
                    <a:lnTo>
                      <a:pt x="369" y="71"/>
                    </a:lnTo>
                    <a:lnTo>
                      <a:pt x="371" y="71"/>
                    </a:lnTo>
                    <a:lnTo>
                      <a:pt x="369" y="71"/>
                    </a:lnTo>
                    <a:lnTo>
                      <a:pt x="371" y="71"/>
                    </a:lnTo>
                    <a:lnTo>
                      <a:pt x="369" y="71"/>
                    </a:lnTo>
                    <a:lnTo>
                      <a:pt x="371" y="71"/>
                    </a:lnTo>
                    <a:lnTo>
                      <a:pt x="369" y="71"/>
                    </a:lnTo>
                    <a:lnTo>
                      <a:pt x="369" y="69"/>
                    </a:lnTo>
                    <a:lnTo>
                      <a:pt x="369" y="67"/>
                    </a:lnTo>
                    <a:lnTo>
                      <a:pt x="371" y="67"/>
                    </a:lnTo>
                    <a:lnTo>
                      <a:pt x="369" y="66"/>
                    </a:lnTo>
                    <a:lnTo>
                      <a:pt x="371" y="66"/>
                    </a:lnTo>
                    <a:lnTo>
                      <a:pt x="369" y="66"/>
                    </a:lnTo>
                    <a:lnTo>
                      <a:pt x="367" y="66"/>
                    </a:lnTo>
                    <a:lnTo>
                      <a:pt x="365" y="66"/>
                    </a:lnTo>
                    <a:lnTo>
                      <a:pt x="367" y="66"/>
                    </a:lnTo>
                    <a:lnTo>
                      <a:pt x="365" y="66"/>
                    </a:lnTo>
                    <a:lnTo>
                      <a:pt x="363" y="66"/>
                    </a:lnTo>
                    <a:lnTo>
                      <a:pt x="361" y="66"/>
                    </a:lnTo>
                    <a:lnTo>
                      <a:pt x="363" y="66"/>
                    </a:lnTo>
                    <a:lnTo>
                      <a:pt x="361" y="66"/>
                    </a:lnTo>
                    <a:lnTo>
                      <a:pt x="363" y="66"/>
                    </a:lnTo>
                    <a:lnTo>
                      <a:pt x="363" y="67"/>
                    </a:lnTo>
                    <a:lnTo>
                      <a:pt x="361" y="67"/>
                    </a:lnTo>
                    <a:lnTo>
                      <a:pt x="360" y="67"/>
                    </a:lnTo>
                    <a:lnTo>
                      <a:pt x="358" y="66"/>
                    </a:lnTo>
                    <a:lnTo>
                      <a:pt x="360" y="66"/>
                    </a:lnTo>
                    <a:lnTo>
                      <a:pt x="358" y="66"/>
                    </a:lnTo>
                    <a:lnTo>
                      <a:pt x="360" y="66"/>
                    </a:lnTo>
                    <a:lnTo>
                      <a:pt x="361" y="66"/>
                    </a:lnTo>
                    <a:lnTo>
                      <a:pt x="363" y="66"/>
                    </a:lnTo>
                    <a:lnTo>
                      <a:pt x="361" y="64"/>
                    </a:lnTo>
                    <a:lnTo>
                      <a:pt x="360" y="64"/>
                    </a:lnTo>
                    <a:lnTo>
                      <a:pt x="361" y="64"/>
                    </a:lnTo>
                    <a:lnTo>
                      <a:pt x="360" y="64"/>
                    </a:lnTo>
                    <a:lnTo>
                      <a:pt x="358" y="64"/>
                    </a:lnTo>
                    <a:lnTo>
                      <a:pt x="358" y="62"/>
                    </a:lnTo>
                    <a:lnTo>
                      <a:pt x="358" y="64"/>
                    </a:lnTo>
                    <a:lnTo>
                      <a:pt x="356" y="64"/>
                    </a:lnTo>
                    <a:lnTo>
                      <a:pt x="358" y="62"/>
                    </a:lnTo>
                    <a:lnTo>
                      <a:pt x="356" y="62"/>
                    </a:lnTo>
                    <a:lnTo>
                      <a:pt x="358" y="62"/>
                    </a:lnTo>
                    <a:lnTo>
                      <a:pt x="360" y="62"/>
                    </a:lnTo>
                    <a:lnTo>
                      <a:pt x="358" y="62"/>
                    </a:lnTo>
                    <a:lnTo>
                      <a:pt x="360" y="62"/>
                    </a:lnTo>
                    <a:lnTo>
                      <a:pt x="361" y="62"/>
                    </a:lnTo>
                    <a:lnTo>
                      <a:pt x="360" y="62"/>
                    </a:lnTo>
                    <a:lnTo>
                      <a:pt x="360" y="60"/>
                    </a:lnTo>
                    <a:lnTo>
                      <a:pt x="361" y="60"/>
                    </a:lnTo>
                    <a:lnTo>
                      <a:pt x="360" y="60"/>
                    </a:lnTo>
                    <a:lnTo>
                      <a:pt x="358" y="60"/>
                    </a:lnTo>
                    <a:lnTo>
                      <a:pt x="358" y="62"/>
                    </a:lnTo>
                    <a:lnTo>
                      <a:pt x="356" y="62"/>
                    </a:lnTo>
                    <a:lnTo>
                      <a:pt x="354" y="62"/>
                    </a:lnTo>
                    <a:lnTo>
                      <a:pt x="356" y="62"/>
                    </a:lnTo>
                    <a:lnTo>
                      <a:pt x="356" y="64"/>
                    </a:lnTo>
                    <a:lnTo>
                      <a:pt x="354" y="64"/>
                    </a:lnTo>
                    <a:lnTo>
                      <a:pt x="352" y="64"/>
                    </a:lnTo>
                    <a:lnTo>
                      <a:pt x="352" y="66"/>
                    </a:lnTo>
                    <a:lnTo>
                      <a:pt x="354" y="66"/>
                    </a:lnTo>
                    <a:lnTo>
                      <a:pt x="352" y="66"/>
                    </a:lnTo>
                    <a:lnTo>
                      <a:pt x="350" y="66"/>
                    </a:lnTo>
                    <a:lnTo>
                      <a:pt x="352" y="66"/>
                    </a:lnTo>
                    <a:lnTo>
                      <a:pt x="352" y="67"/>
                    </a:lnTo>
                    <a:lnTo>
                      <a:pt x="352" y="66"/>
                    </a:lnTo>
                    <a:lnTo>
                      <a:pt x="350" y="67"/>
                    </a:lnTo>
                    <a:lnTo>
                      <a:pt x="348" y="67"/>
                    </a:lnTo>
                    <a:lnTo>
                      <a:pt x="346" y="66"/>
                    </a:lnTo>
                    <a:lnTo>
                      <a:pt x="348" y="66"/>
                    </a:lnTo>
                    <a:lnTo>
                      <a:pt x="350" y="66"/>
                    </a:lnTo>
                    <a:lnTo>
                      <a:pt x="348" y="66"/>
                    </a:lnTo>
                    <a:lnTo>
                      <a:pt x="350" y="66"/>
                    </a:lnTo>
                    <a:lnTo>
                      <a:pt x="350" y="64"/>
                    </a:lnTo>
                    <a:lnTo>
                      <a:pt x="348" y="64"/>
                    </a:lnTo>
                    <a:lnTo>
                      <a:pt x="346" y="64"/>
                    </a:lnTo>
                    <a:lnTo>
                      <a:pt x="344" y="64"/>
                    </a:lnTo>
                    <a:lnTo>
                      <a:pt x="346" y="64"/>
                    </a:lnTo>
                    <a:lnTo>
                      <a:pt x="346" y="62"/>
                    </a:lnTo>
                    <a:lnTo>
                      <a:pt x="344" y="62"/>
                    </a:lnTo>
                    <a:lnTo>
                      <a:pt x="342" y="62"/>
                    </a:lnTo>
                    <a:lnTo>
                      <a:pt x="344" y="62"/>
                    </a:lnTo>
                    <a:lnTo>
                      <a:pt x="342" y="62"/>
                    </a:lnTo>
                    <a:lnTo>
                      <a:pt x="344" y="62"/>
                    </a:lnTo>
                    <a:lnTo>
                      <a:pt x="346" y="62"/>
                    </a:lnTo>
                    <a:lnTo>
                      <a:pt x="348" y="62"/>
                    </a:lnTo>
                    <a:lnTo>
                      <a:pt x="348" y="64"/>
                    </a:lnTo>
                    <a:lnTo>
                      <a:pt x="350" y="64"/>
                    </a:lnTo>
                    <a:lnTo>
                      <a:pt x="350" y="62"/>
                    </a:lnTo>
                    <a:lnTo>
                      <a:pt x="354" y="62"/>
                    </a:lnTo>
                    <a:lnTo>
                      <a:pt x="354" y="60"/>
                    </a:lnTo>
                    <a:lnTo>
                      <a:pt x="356" y="60"/>
                    </a:lnTo>
                    <a:lnTo>
                      <a:pt x="358" y="60"/>
                    </a:lnTo>
                    <a:lnTo>
                      <a:pt x="356" y="60"/>
                    </a:lnTo>
                    <a:lnTo>
                      <a:pt x="358" y="60"/>
                    </a:lnTo>
                    <a:lnTo>
                      <a:pt x="360" y="58"/>
                    </a:lnTo>
                    <a:lnTo>
                      <a:pt x="361" y="56"/>
                    </a:lnTo>
                    <a:lnTo>
                      <a:pt x="363" y="56"/>
                    </a:lnTo>
                    <a:lnTo>
                      <a:pt x="363" y="54"/>
                    </a:lnTo>
                    <a:lnTo>
                      <a:pt x="365" y="54"/>
                    </a:lnTo>
                    <a:lnTo>
                      <a:pt x="367" y="54"/>
                    </a:lnTo>
                    <a:lnTo>
                      <a:pt x="371" y="54"/>
                    </a:lnTo>
                    <a:lnTo>
                      <a:pt x="373" y="54"/>
                    </a:lnTo>
                    <a:lnTo>
                      <a:pt x="375" y="54"/>
                    </a:lnTo>
                    <a:lnTo>
                      <a:pt x="373" y="54"/>
                    </a:lnTo>
                    <a:lnTo>
                      <a:pt x="375" y="54"/>
                    </a:lnTo>
                    <a:lnTo>
                      <a:pt x="373" y="54"/>
                    </a:lnTo>
                    <a:lnTo>
                      <a:pt x="375" y="54"/>
                    </a:lnTo>
                    <a:lnTo>
                      <a:pt x="377" y="54"/>
                    </a:lnTo>
                    <a:lnTo>
                      <a:pt x="375" y="54"/>
                    </a:lnTo>
                    <a:lnTo>
                      <a:pt x="377" y="54"/>
                    </a:lnTo>
                    <a:lnTo>
                      <a:pt x="375" y="54"/>
                    </a:lnTo>
                    <a:lnTo>
                      <a:pt x="377" y="52"/>
                    </a:lnTo>
                    <a:lnTo>
                      <a:pt x="375" y="52"/>
                    </a:lnTo>
                    <a:lnTo>
                      <a:pt x="373" y="52"/>
                    </a:lnTo>
                    <a:lnTo>
                      <a:pt x="371" y="52"/>
                    </a:lnTo>
                    <a:lnTo>
                      <a:pt x="371" y="50"/>
                    </a:lnTo>
                    <a:lnTo>
                      <a:pt x="369" y="50"/>
                    </a:lnTo>
                    <a:lnTo>
                      <a:pt x="369" y="48"/>
                    </a:lnTo>
                    <a:lnTo>
                      <a:pt x="371" y="48"/>
                    </a:lnTo>
                    <a:lnTo>
                      <a:pt x="369" y="48"/>
                    </a:lnTo>
                    <a:lnTo>
                      <a:pt x="371" y="48"/>
                    </a:lnTo>
                    <a:lnTo>
                      <a:pt x="369" y="48"/>
                    </a:lnTo>
                    <a:lnTo>
                      <a:pt x="369" y="46"/>
                    </a:lnTo>
                    <a:lnTo>
                      <a:pt x="371" y="46"/>
                    </a:lnTo>
                    <a:lnTo>
                      <a:pt x="371" y="48"/>
                    </a:lnTo>
                    <a:lnTo>
                      <a:pt x="373" y="48"/>
                    </a:lnTo>
                    <a:lnTo>
                      <a:pt x="373" y="46"/>
                    </a:lnTo>
                    <a:lnTo>
                      <a:pt x="375" y="46"/>
                    </a:lnTo>
                    <a:lnTo>
                      <a:pt x="377" y="46"/>
                    </a:lnTo>
                    <a:lnTo>
                      <a:pt x="375" y="46"/>
                    </a:lnTo>
                    <a:lnTo>
                      <a:pt x="377" y="46"/>
                    </a:lnTo>
                    <a:lnTo>
                      <a:pt x="377" y="44"/>
                    </a:lnTo>
                    <a:lnTo>
                      <a:pt x="379" y="44"/>
                    </a:lnTo>
                    <a:lnTo>
                      <a:pt x="381" y="44"/>
                    </a:lnTo>
                    <a:lnTo>
                      <a:pt x="381" y="42"/>
                    </a:lnTo>
                    <a:lnTo>
                      <a:pt x="383" y="42"/>
                    </a:lnTo>
                    <a:lnTo>
                      <a:pt x="383" y="44"/>
                    </a:lnTo>
                    <a:lnTo>
                      <a:pt x="384" y="44"/>
                    </a:lnTo>
                    <a:lnTo>
                      <a:pt x="386" y="44"/>
                    </a:lnTo>
                    <a:lnTo>
                      <a:pt x="388" y="44"/>
                    </a:lnTo>
                    <a:lnTo>
                      <a:pt x="388" y="42"/>
                    </a:lnTo>
                    <a:lnTo>
                      <a:pt x="390" y="42"/>
                    </a:lnTo>
                    <a:lnTo>
                      <a:pt x="392" y="42"/>
                    </a:lnTo>
                    <a:lnTo>
                      <a:pt x="394" y="42"/>
                    </a:lnTo>
                    <a:lnTo>
                      <a:pt x="396" y="42"/>
                    </a:lnTo>
                    <a:lnTo>
                      <a:pt x="398" y="42"/>
                    </a:lnTo>
                    <a:lnTo>
                      <a:pt x="396" y="42"/>
                    </a:lnTo>
                    <a:lnTo>
                      <a:pt x="398" y="42"/>
                    </a:lnTo>
                    <a:lnTo>
                      <a:pt x="400" y="42"/>
                    </a:lnTo>
                    <a:lnTo>
                      <a:pt x="402" y="42"/>
                    </a:lnTo>
                    <a:lnTo>
                      <a:pt x="404" y="42"/>
                    </a:lnTo>
                    <a:lnTo>
                      <a:pt x="406" y="42"/>
                    </a:lnTo>
                    <a:lnTo>
                      <a:pt x="408" y="42"/>
                    </a:lnTo>
                    <a:lnTo>
                      <a:pt x="409" y="42"/>
                    </a:lnTo>
                    <a:lnTo>
                      <a:pt x="411" y="42"/>
                    </a:lnTo>
                    <a:lnTo>
                      <a:pt x="411" y="41"/>
                    </a:lnTo>
                    <a:lnTo>
                      <a:pt x="413" y="41"/>
                    </a:lnTo>
                    <a:lnTo>
                      <a:pt x="411" y="41"/>
                    </a:lnTo>
                    <a:lnTo>
                      <a:pt x="411" y="42"/>
                    </a:lnTo>
                    <a:lnTo>
                      <a:pt x="413" y="42"/>
                    </a:lnTo>
                    <a:lnTo>
                      <a:pt x="413" y="41"/>
                    </a:lnTo>
                    <a:lnTo>
                      <a:pt x="415" y="41"/>
                    </a:lnTo>
                    <a:lnTo>
                      <a:pt x="415" y="42"/>
                    </a:lnTo>
                    <a:lnTo>
                      <a:pt x="417" y="42"/>
                    </a:lnTo>
                    <a:lnTo>
                      <a:pt x="417" y="41"/>
                    </a:lnTo>
                    <a:lnTo>
                      <a:pt x="419" y="41"/>
                    </a:lnTo>
                    <a:lnTo>
                      <a:pt x="421" y="41"/>
                    </a:lnTo>
                    <a:lnTo>
                      <a:pt x="421" y="39"/>
                    </a:lnTo>
                    <a:lnTo>
                      <a:pt x="423" y="39"/>
                    </a:lnTo>
                    <a:lnTo>
                      <a:pt x="425" y="39"/>
                    </a:lnTo>
                    <a:lnTo>
                      <a:pt x="427" y="39"/>
                    </a:lnTo>
                    <a:lnTo>
                      <a:pt x="429" y="39"/>
                    </a:lnTo>
                    <a:close/>
                    <a:moveTo>
                      <a:pt x="396" y="0"/>
                    </a:moveTo>
                    <a:lnTo>
                      <a:pt x="396" y="2"/>
                    </a:lnTo>
                    <a:lnTo>
                      <a:pt x="398" y="2"/>
                    </a:lnTo>
                    <a:lnTo>
                      <a:pt x="400" y="2"/>
                    </a:lnTo>
                    <a:lnTo>
                      <a:pt x="400" y="4"/>
                    </a:lnTo>
                    <a:lnTo>
                      <a:pt x="398" y="4"/>
                    </a:lnTo>
                    <a:lnTo>
                      <a:pt x="400" y="4"/>
                    </a:lnTo>
                    <a:lnTo>
                      <a:pt x="398" y="4"/>
                    </a:lnTo>
                    <a:lnTo>
                      <a:pt x="400" y="4"/>
                    </a:lnTo>
                    <a:lnTo>
                      <a:pt x="402" y="4"/>
                    </a:lnTo>
                    <a:lnTo>
                      <a:pt x="400" y="4"/>
                    </a:lnTo>
                    <a:lnTo>
                      <a:pt x="402" y="4"/>
                    </a:lnTo>
                    <a:lnTo>
                      <a:pt x="404" y="4"/>
                    </a:lnTo>
                    <a:lnTo>
                      <a:pt x="402" y="4"/>
                    </a:lnTo>
                    <a:lnTo>
                      <a:pt x="404" y="4"/>
                    </a:lnTo>
                    <a:lnTo>
                      <a:pt x="404" y="6"/>
                    </a:lnTo>
                    <a:lnTo>
                      <a:pt x="406" y="6"/>
                    </a:lnTo>
                    <a:lnTo>
                      <a:pt x="408" y="8"/>
                    </a:lnTo>
                    <a:lnTo>
                      <a:pt x="409" y="8"/>
                    </a:lnTo>
                    <a:lnTo>
                      <a:pt x="409" y="10"/>
                    </a:lnTo>
                    <a:lnTo>
                      <a:pt x="411" y="10"/>
                    </a:lnTo>
                    <a:lnTo>
                      <a:pt x="413" y="10"/>
                    </a:lnTo>
                    <a:lnTo>
                      <a:pt x="413" y="12"/>
                    </a:lnTo>
                    <a:lnTo>
                      <a:pt x="413" y="14"/>
                    </a:lnTo>
                    <a:lnTo>
                      <a:pt x="415" y="14"/>
                    </a:lnTo>
                    <a:lnTo>
                      <a:pt x="417" y="14"/>
                    </a:lnTo>
                    <a:lnTo>
                      <a:pt x="419" y="14"/>
                    </a:lnTo>
                    <a:lnTo>
                      <a:pt x="421" y="14"/>
                    </a:lnTo>
                    <a:lnTo>
                      <a:pt x="419" y="14"/>
                    </a:lnTo>
                    <a:lnTo>
                      <a:pt x="421" y="14"/>
                    </a:lnTo>
                    <a:lnTo>
                      <a:pt x="421" y="16"/>
                    </a:lnTo>
                    <a:lnTo>
                      <a:pt x="423" y="16"/>
                    </a:lnTo>
                    <a:lnTo>
                      <a:pt x="425" y="16"/>
                    </a:lnTo>
                    <a:lnTo>
                      <a:pt x="427" y="16"/>
                    </a:lnTo>
                    <a:lnTo>
                      <a:pt x="425" y="16"/>
                    </a:lnTo>
                    <a:lnTo>
                      <a:pt x="427" y="16"/>
                    </a:lnTo>
                    <a:lnTo>
                      <a:pt x="429" y="16"/>
                    </a:lnTo>
                    <a:lnTo>
                      <a:pt x="427" y="16"/>
                    </a:lnTo>
                    <a:lnTo>
                      <a:pt x="429" y="16"/>
                    </a:lnTo>
                    <a:lnTo>
                      <a:pt x="429" y="17"/>
                    </a:lnTo>
                    <a:lnTo>
                      <a:pt x="429" y="16"/>
                    </a:lnTo>
                    <a:lnTo>
                      <a:pt x="431" y="16"/>
                    </a:lnTo>
                    <a:lnTo>
                      <a:pt x="431" y="17"/>
                    </a:lnTo>
                    <a:lnTo>
                      <a:pt x="433" y="17"/>
                    </a:lnTo>
                    <a:lnTo>
                      <a:pt x="434" y="17"/>
                    </a:lnTo>
                    <a:lnTo>
                      <a:pt x="433" y="17"/>
                    </a:lnTo>
                    <a:lnTo>
                      <a:pt x="434" y="17"/>
                    </a:lnTo>
                    <a:lnTo>
                      <a:pt x="433" y="17"/>
                    </a:lnTo>
                    <a:lnTo>
                      <a:pt x="434" y="17"/>
                    </a:lnTo>
                    <a:lnTo>
                      <a:pt x="433" y="17"/>
                    </a:lnTo>
                    <a:lnTo>
                      <a:pt x="434" y="17"/>
                    </a:lnTo>
                    <a:lnTo>
                      <a:pt x="434" y="19"/>
                    </a:lnTo>
                    <a:lnTo>
                      <a:pt x="436" y="19"/>
                    </a:lnTo>
                    <a:lnTo>
                      <a:pt x="434" y="19"/>
                    </a:lnTo>
                    <a:lnTo>
                      <a:pt x="433" y="19"/>
                    </a:lnTo>
                    <a:lnTo>
                      <a:pt x="434" y="19"/>
                    </a:lnTo>
                    <a:lnTo>
                      <a:pt x="433" y="19"/>
                    </a:lnTo>
                    <a:lnTo>
                      <a:pt x="434" y="19"/>
                    </a:lnTo>
                    <a:lnTo>
                      <a:pt x="433" y="19"/>
                    </a:lnTo>
                    <a:lnTo>
                      <a:pt x="434" y="19"/>
                    </a:lnTo>
                    <a:lnTo>
                      <a:pt x="436" y="19"/>
                    </a:lnTo>
                    <a:lnTo>
                      <a:pt x="434" y="19"/>
                    </a:lnTo>
                    <a:lnTo>
                      <a:pt x="436" y="19"/>
                    </a:lnTo>
                    <a:lnTo>
                      <a:pt x="436" y="21"/>
                    </a:lnTo>
                    <a:lnTo>
                      <a:pt x="434" y="21"/>
                    </a:lnTo>
                    <a:lnTo>
                      <a:pt x="436" y="21"/>
                    </a:lnTo>
                    <a:lnTo>
                      <a:pt x="434" y="21"/>
                    </a:lnTo>
                    <a:lnTo>
                      <a:pt x="433" y="21"/>
                    </a:lnTo>
                    <a:lnTo>
                      <a:pt x="433" y="23"/>
                    </a:lnTo>
                    <a:lnTo>
                      <a:pt x="433" y="21"/>
                    </a:lnTo>
                    <a:lnTo>
                      <a:pt x="431" y="21"/>
                    </a:lnTo>
                    <a:lnTo>
                      <a:pt x="433" y="21"/>
                    </a:lnTo>
                    <a:lnTo>
                      <a:pt x="431" y="21"/>
                    </a:lnTo>
                    <a:lnTo>
                      <a:pt x="433" y="21"/>
                    </a:lnTo>
                    <a:lnTo>
                      <a:pt x="431" y="21"/>
                    </a:lnTo>
                    <a:lnTo>
                      <a:pt x="429" y="21"/>
                    </a:lnTo>
                    <a:lnTo>
                      <a:pt x="429" y="23"/>
                    </a:lnTo>
                    <a:lnTo>
                      <a:pt x="427" y="23"/>
                    </a:lnTo>
                    <a:lnTo>
                      <a:pt x="429" y="23"/>
                    </a:lnTo>
                    <a:lnTo>
                      <a:pt x="427" y="23"/>
                    </a:lnTo>
                    <a:lnTo>
                      <a:pt x="425" y="23"/>
                    </a:lnTo>
                    <a:lnTo>
                      <a:pt x="427" y="23"/>
                    </a:lnTo>
                    <a:lnTo>
                      <a:pt x="425" y="23"/>
                    </a:lnTo>
                    <a:lnTo>
                      <a:pt x="425" y="21"/>
                    </a:lnTo>
                    <a:lnTo>
                      <a:pt x="423" y="21"/>
                    </a:lnTo>
                    <a:lnTo>
                      <a:pt x="425" y="21"/>
                    </a:lnTo>
                    <a:lnTo>
                      <a:pt x="425" y="23"/>
                    </a:lnTo>
                    <a:lnTo>
                      <a:pt x="423" y="23"/>
                    </a:lnTo>
                    <a:lnTo>
                      <a:pt x="421" y="23"/>
                    </a:lnTo>
                    <a:lnTo>
                      <a:pt x="421" y="21"/>
                    </a:lnTo>
                    <a:lnTo>
                      <a:pt x="421" y="23"/>
                    </a:lnTo>
                    <a:lnTo>
                      <a:pt x="423" y="23"/>
                    </a:lnTo>
                    <a:lnTo>
                      <a:pt x="421" y="25"/>
                    </a:lnTo>
                    <a:lnTo>
                      <a:pt x="421" y="27"/>
                    </a:lnTo>
                    <a:lnTo>
                      <a:pt x="419" y="27"/>
                    </a:lnTo>
                    <a:lnTo>
                      <a:pt x="421" y="27"/>
                    </a:lnTo>
                    <a:lnTo>
                      <a:pt x="423" y="27"/>
                    </a:lnTo>
                    <a:lnTo>
                      <a:pt x="421" y="29"/>
                    </a:lnTo>
                    <a:lnTo>
                      <a:pt x="423" y="29"/>
                    </a:lnTo>
                    <a:lnTo>
                      <a:pt x="421" y="29"/>
                    </a:lnTo>
                    <a:lnTo>
                      <a:pt x="423" y="29"/>
                    </a:lnTo>
                    <a:lnTo>
                      <a:pt x="423" y="31"/>
                    </a:lnTo>
                    <a:lnTo>
                      <a:pt x="423" y="33"/>
                    </a:lnTo>
                    <a:lnTo>
                      <a:pt x="425" y="33"/>
                    </a:lnTo>
                    <a:lnTo>
                      <a:pt x="427" y="33"/>
                    </a:lnTo>
                    <a:lnTo>
                      <a:pt x="427" y="35"/>
                    </a:lnTo>
                    <a:lnTo>
                      <a:pt x="429" y="35"/>
                    </a:lnTo>
                    <a:lnTo>
                      <a:pt x="427" y="35"/>
                    </a:lnTo>
                    <a:lnTo>
                      <a:pt x="425" y="35"/>
                    </a:lnTo>
                    <a:lnTo>
                      <a:pt x="425" y="37"/>
                    </a:lnTo>
                    <a:lnTo>
                      <a:pt x="423" y="37"/>
                    </a:lnTo>
                    <a:lnTo>
                      <a:pt x="425" y="37"/>
                    </a:lnTo>
                    <a:lnTo>
                      <a:pt x="423" y="37"/>
                    </a:lnTo>
                    <a:lnTo>
                      <a:pt x="421" y="37"/>
                    </a:lnTo>
                    <a:lnTo>
                      <a:pt x="419" y="37"/>
                    </a:lnTo>
                    <a:lnTo>
                      <a:pt x="417" y="39"/>
                    </a:lnTo>
                    <a:lnTo>
                      <a:pt x="417" y="37"/>
                    </a:lnTo>
                    <a:lnTo>
                      <a:pt x="415" y="37"/>
                    </a:lnTo>
                    <a:lnTo>
                      <a:pt x="411" y="39"/>
                    </a:lnTo>
                    <a:lnTo>
                      <a:pt x="409" y="39"/>
                    </a:lnTo>
                    <a:lnTo>
                      <a:pt x="408" y="39"/>
                    </a:lnTo>
                    <a:lnTo>
                      <a:pt x="406" y="39"/>
                    </a:lnTo>
                    <a:lnTo>
                      <a:pt x="404" y="39"/>
                    </a:lnTo>
                    <a:lnTo>
                      <a:pt x="402" y="39"/>
                    </a:lnTo>
                    <a:lnTo>
                      <a:pt x="400" y="39"/>
                    </a:lnTo>
                    <a:lnTo>
                      <a:pt x="398" y="39"/>
                    </a:lnTo>
                    <a:lnTo>
                      <a:pt x="396" y="39"/>
                    </a:lnTo>
                    <a:lnTo>
                      <a:pt x="394" y="39"/>
                    </a:lnTo>
                    <a:lnTo>
                      <a:pt x="392" y="39"/>
                    </a:lnTo>
                    <a:lnTo>
                      <a:pt x="390" y="39"/>
                    </a:lnTo>
                    <a:lnTo>
                      <a:pt x="388" y="41"/>
                    </a:lnTo>
                    <a:lnTo>
                      <a:pt x="386" y="41"/>
                    </a:lnTo>
                    <a:lnTo>
                      <a:pt x="384" y="41"/>
                    </a:lnTo>
                    <a:lnTo>
                      <a:pt x="383" y="41"/>
                    </a:lnTo>
                    <a:lnTo>
                      <a:pt x="381" y="41"/>
                    </a:lnTo>
                    <a:lnTo>
                      <a:pt x="379" y="41"/>
                    </a:lnTo>
                    <a:lnTo>
                      <a:pt x="379" y="42"/>
                    </a:lnTo>
                    <a:lnTo>
                      <a:pt x="377" y="42"/>
                    </a:lnTo>
                    <a:lnTo>
                      <a:pt x="375" y="42"/>
                    </a:lnTo>
                    <a:lnTo>
                      <a:pt x="375" y="41"/>
                    </a:lnTo>
                    <a:lnTo>
                      <a:pt x="375" y="42"/>
                    </a:lnTo>
                    <a:lnTo>
                      <a:pt x="375" y="41"/>
                    </a:lnTo>
                    <a:lnTo>
                      <a:pt x="373" y="41"/>
                    </a:lnTo>
                    <a:lnTo>
                      <a:pt x="375" y="41"/>
                    </a:lnTo>
                    <a:lnTo>
                      <a:pt x="375" y="42"/>
                    </a:lnTo>
                    <a:lnTo>
                      <a:pt x="373" y="42"/>
                    </a:lnTo>
                    <a:lnTo>
                      <a:pt x="371" y="42"/>
                    </a:lnTo>
                    <a:lnTo>
                      <a:pt x="367" y="44"/>
                    </a:lnTo>
                    <a:lnTo>
                      <a:pt x="365" y="44"/>
                    </a:lnTo>
                    <a:lnTo>
                      <a:pt x="363" y="44"/>
                    </a:lnTo>
                    <a:lnTo>
                      <a:pt x="361" y="44"/>
                    </a:lnTo>
                    <a:lnTo>
                      <a:pt x="361" y="46"/>
                    </a:lnTo>
                    <a:lnTo>
                      <a:pt x="360" y="46"/>
                    </a:lnTo>
                    <a:lnTo>
                      <a:pt x="358" y="46"/>
                    </a:lnTo>
                    <a:lnTo>
                      <a:pt x="356" y="46"/>
                    </a:lnTo>
                    <a:lnTo>
                      <a:pt x="354" y="44"/>
                    </a:lnTo>
                    <a:lnTo>
                      <a:pt x="352" y="44"/>
                    </a:lnTo>
                    <a:lnTo>
                      <a:pt x="354" y="44"/>
                    </a:lnTo>
                    <a:lnTo>
                      <a:pt x="352" y="44"/>
                    </a:lnTo>
                    <a:lnTo>
                      <a:pt x="348" y="42"/>
                    </a:lnTo>
                    <a:lnTo>
                      <a:pt x="346" y="42"/>
                    </a:lnTo>
                    <a:lnTo>
                      <a:pt x="344" y="41"/>
                    </a:lnTo>
                    <a:lnTo>
                      <a:pt x="342" y="41"/>
                    </a:lnTo>
                    <a:lnTo>
                      <a:pt x="338" y="41"/>
                    </a:lnTo>
                    <a:lnTo>
                      <a:pt x="336" y="41"/>
                    </a:lnTo>
                    <a:lnTo>
                      <a:pt x="335" y="41"/>
                    </a:lnTo>
                    <a:lnTo>
                      <a:pt x="331" y="41"/>
                    </a:lnTo>
                    <a:lnTo>
                      <a:pt x="331" y="39"/>
                    </a:lnTo>
                    <a:lnTo>
                      <a:pt x="329" y="39"/>
                    </a:lnTo>
                    <a:lnTo>
                      <a:pt x="331" y="39"/>
                    </a:lnTo>
                    <a:lnTo>
                      <a:pt x="333" y="39"/>
                    </a:lnTo>
                    <a:lnTo>
                      <a:pt x="331" y="39"/>
                    </a:lnTo>
                    <a:lnTo>
                      <a:pt x="333" y="39"/>
                    </a:lnTo>
                    <a:lnTo>
                      <a:pt x="336" y="39"/>
                    </a:lnTo>
                    <a:lnTo>
                      <a:pt x="338" y="39"/>
                    </a:lnTo>
                    <a:lnTo>
                      <a:pt x="340" y="39"/>
                    </a:lnTo>
                    <a:lnTo>
                      <a:pt x="342" y="41"/>
                    </a:lnTo>
                    <a:lnTo>
                      <a:pt x="344" y="41"/>
                    </a:lnTo>
                    <a:lnTo>
                      <a:pt x="342" y="41"/>
                    </a:lnTo>
                    <a:lnTo>
                      <a:pt x="344" y="41"/>
                    </a:lnTo>
                    <a:lnTo>
                      <a:pt x="342" y="41"/>
                    </a:lnTo>
                    <a:lnTo>
                      <a:pt x="344" y="41"/>
                    </a:lnTo>
                    <a:lnTo>
                      <a:pt x="344" y="39"/>
                    </a:lnTo>
                    <a:lnTo>
                      <a:pt x="342" y="39"/>
                    </a:lnTo>
                    <a:lnTo>
                      <a:pt x="340" y="39"/>
                    </a:lnTo>
                    <a:lnTo>
                      <a:pt x="338" y="39"/>
                    </a:lnTo>
                    <a:lnTo>
                      <a:pt x="336" y="39"/>
                    </a:lnTo>
                    <a:lnTo>
                      <a:pt x="335" y="39"/>
                    </a:lnTo>
                    <a:lnTo>
                      <a:pt x="335" y="37"/>
                    </a:lnTo>
                    <a:lnTo>
                      <a:pt x="333" y="37"/>
                    </a:lnTo>
                    <a:lnTo>
                      <a:pt x="331" y="37"/>
                    </a:lnTo>
                    <a:lnTo>
                      <a:pt x="329" y="37"/>
                    </a:lnTo>
                    <a:lnTo>
                      <a:pt x="329" y="35"/>
                    </a:lnTo>
                    <a:lnTo>
                      <a:pt x="331" y="35"/>
                    </a:lnTo>
                    <a:lnTo>
                      <a:pt x="333" y="35"/>
                    </a:lnTo>
                    <a:lnTo>
                      <a:pt x="335" y="35"/>
                    </a:lnTo>
                    <a:lnTo>
                      <a:pt x="336" y="35"/>
                    </a:lnTo>
                    <a:lnTo>
                      <a:pt x="338" y="35"/>
                    </a:lnTo>
                    <a:lnTo>
                      <a:pt x="340" y="35"/>
                    </a:lnTo>
                    <a:lnTo>
                      <a:pt x="342" y="35"/>
                    </a:lnTo>
                    <a:lnTo>
                      <a:pt x="344" y="35"/>
                    </a:lnTo>
                    <a:lnTo>
                      <a:pt x="346" y="35"/>
                    </a:lnTo>
                    <a:lnTo>
                      <a:pt x="348" y="37"/>
                    </a:lnTo>
                    <a:lnTo>
                      <a:pt x="350" y="37"/>
                    </a:lnTo>
                    <a:lnTo>
                      <a:pt x="352" y="37"/>
                    </a:lnTo>
                    <a:lnTo>
                      <a:pt x="350" y="35"/>
                    </a:lnTo>
                    <a:lnTo>
                      <a:pt x="352" y="35"/>
                    </a:lnTo>
                    <a:lnTo>
                      <a:pt x="350" y="35"/>
                    </a:lnTo>
                    <a:lnTo>
                      <a:pt x="348" y="35"/>
                    </a:lnTo>
                    <a:lnTo>
                      <a:pt x="344" y="35"/>
                    </a:lnTo>
                    <a:lnTo>
                      <a:pt x="342" y="35"/>
                    </a:lnTo>
                    <a:lnTo>
                      <a:pt x="340" y="35"/>
                    </a:lnTo>
                    <a:lnTo>
                      <a:pt x="338" y="35"/>
                    </a:lnTo>
                    <a:lnTo>
                      <a:pt x="336" y="35"/>
                    </a:lnTo>
                    <a:lnTo>
                      <a:pt x="335" y="35"/>
                    </a:lnTo>
                    <a:lnTo>
                      <a:pt x="333" y="35"/>
                    </a:lnTo>
                    <a:lnTo>
                      <a:pt x="331" y="35"/>
                    </a:lnTo>
                    <a:lnTo>
                      <a:pt x="329" y="35"/>
                    </a:lnTo>
                    <a:lnTo>
                      <a:pt x="327" y="35"/>
                    </a:lnTo>
                    <a:lnTo>
                      <a:pt x="325" y="35"/>
                    </a:lnTo>
                    <a:lnTo>
                      <a:pt x="323" y="35"/>
                    </a:lnTo>
                    <a:lnTo>
                      <a:pt x="321" y="35"/>
                    </a:lnTo>
                    <a:lnTo>
                      <a:pt x="319" y="35"/>
                    </a:lnTo>
                    <a:lnTo>
                      <a:pt x="317" y="35"/>
                    </a:lnTo>
                    <a:lnTo>
                      <a:pt x="315" y="35"/>
                    </a:lnTo>
                    <a:lnTo>
                      <a:pt x="317" y="35"/>
                    </a:lnTo>
                    <a:lnTo>
                      <a:pt x="319" y="33"/>
                    </a:lnTo>
                    <a:lnTo>
                      <a:pt x="321" y="33"/>
                    </a:lnTo>
                    <a:lnTo>
                      <a:pt x="319" y="33"/>
                    </a:lnTo>
                    <a:lnTo>
                      <a:pt x="321" y="33"/>
                    </a:lnTo>
                    <a:lnTo>
                      <a:pt x="323" y="33"/>
                    </a:lnTo>
                    <a:lnTo>
                      <a:pt x="325" y="33"/>
                    </a:lnTo>
                    <a:lnTo>
                      <a:pt x="323" y="33"/>
                    </a:lnTo>
                    <a:lnTo>
                      <a:pt x="325" y="33"/>
                    </a:lnTo>
                    <a:lnTo>
                      <a:pt x="325" y="31"/>
                    </a:lnTo>
                    <a:lnTo>
                      <a:pt x="327" y="31"/>
                    </a:lnTo>
                    <a:lnTo>
                      <a:pt x="325" y="33"/>
                    </a:lnTo>
                    <a:lnTo>
                      <a:pt x="327" y="33"/>
                    </a:lnTo>
                    <a:lnTo>
                      <a:pt x="329" y="33"/>
                    </a:lnTo>
                    <a:lnTo>
                      <a:pt x="331" y="33"/>
                    </a:lnTo>
                    <a:lnTo>
                      <a:pt x="329" y="33"/>
                    </a:lnTo>
                    <a:lnTo>
                      <a:pt x="327" y="31"/>
                    </a:lnTo>
                    <a:lnTo>
                      <a:pt x="329" y="31"/>
                    </a:lnTo>
                    <a:lnTo>
                      <a:pt x="331" y="33"/>
                    </a:lnTo>
                    <a:lnTo>
                      <a:pt x="333" y="33"/>
                    </a:lnTo>
                    <a:lnTo>
                      <a:pt x="333" y="31"/>
                    </a:lnTo>
                    <a:lnTo>
                      <a:pt x="335" y="33"/>
                    </a:lnTo>
                    <a:lnTo>
                      <a:pt x="336" y="33"/>
                    </a:lnTo>
                    <a:lnTo>
                      <a:pt x="338" y="33"/>
                    </a:lnTo>
                    <a:lnTo>
                      <a:pt x="335" y="31"/>
                    </a:lnTo>
                    <a:lnTo>
                      <a:pt x="331" y="31"/>
                    </a:lnTo>
                    <a:lnTo>
                      <a:pt x="329" y="31"/>
                    </a:lnTo>
                    <a:lnTo>
                      <a:pt x="327" y="31"/>
                    </a:lnTo>
                    <a:lnTo>
                      <a:pt x="325" y="29"/>
                    </a:lnTo>
                    <a:lnTo>
                      <a:pt x="327" y="29"/>
                    </a:lnTo>
                    <a:lnTo>
                      <a:pt x="329" y="29"/>
                    </a:lnTo>
                    <a:lnTo>
                      <a:pt x="331" y="29"/>
                    </a:lnTo>
                    <a:lnTo>
                      <a:pt x="333" y="29"/>
                    </a:lnTo>
                    <a:lnTo>
                      <a:pt x="335" y="29"/>
                    </a:lnTo>
                    <a:lnTo>
                      <a:pt x="336" y="29"/>
                    </a:lnTo>
                    <a:lnTo>
                      <a:pt x="340" y="29"/>
                    </a:lnTo>
                    <a:lnTo>
                      <a:pt x="342" y="29"/>
                    </a:lnTo>
                    <a:lnTo>
                      <a:pt x="342" y="27"/>
                    </a:lnTo>
                    <a:lnTo>
                      <a:pt x="342" y="25"/>
                    </a:lnTo>
                    <a:lnTo>
                      <a:pt x="342" y="23"/>
                    </a:lnTo>
                    <a:lnTo>
                      <a:pt x="344" y="23"/>
                    </a:lnTo>
                    <a:lnTo>
                      <a:pt x="344" y="21"/>
                    </a:lnTo>
                    <a:lnTo>
                      <a:pt x="346" y="21"/>
                    </a:lnTo>
                    <a:lnTo>
                      <a:pt x="348" y="21"/>
                    </a:lnTo>
                    <a:lnTo>
                      <a:pt x="350" y="19"/>
                    </a:lnTo>
                    <a:lnTo>
                      <a:pt x="352" y="19"/>
                    </a:lnTo>
                    <a:lnTo>
                      <a:pt x="350" y="19"/>
                    </a:lnTo>
                    <a:lnTo>
                      <a:pt x="352" y="19"/>
                    </a:lnTo>
                    <a:lnTo>
                      <a:pt x="352" y="17"/>
                    </a:lnTo>
                    <a:lnTo>
                      <a:pt x="350" y="17"/>
                    </a:lnTo>
                    <a:lnTo>
                      <a:pt x="348" y="19"/>
                    </a:lnTo>
                    <a:lnTo>
                      <a:pt x="350" y="19"/>
                    </a:lnTo>
                    <a:lnTo>
                      <a:pt x="348" y="19"/>
                    </a:lnTo>
                    <a:lnTo>
                      <a:pt x="346" y="19"/>
                    </a:lnTo>
                    <a:lnTo>
                      <a:pt x="344" y="19"/>
                    </a:lnTo>
                    <a:lnTo>
                      <a:pt x="342" y="19"/>
                    </a:lnTo>
                    <a:lnTo>
                      <a:pt x="340" y="19"/>
                    </a:lnTo>
                    <a:lnTo>
                      <a:pt x="338" y="19"/>
                    </a:lnTo>
                    <a:lnTo>
                      <a:pt x="336" y="19"/>
                    </a:lnTo>
                    <a:lnTo>
                      <a:pt x="338" y="19"/>
                    </a:lnTo>
                    <a:lnTo>
                      <a:pt x="336" y="19"/>
                    </a:lnTo>
                    <a:lnTo>
                      <a:pt x="338" y="19"/>
                    </a:lnTo>
                    <a:lnTo>
                      <a:pt x="336" y="19"/>
                    </a:lnTo>
                    <a:lnTo>
                      <a:pt x="338" y="17"/>
                    </a:lnTo>
                    <a:lnTo>
                      <a:pt x="340" y="17"/>
                    </a:lnTo>
                    <a:lnTo>
                      <a:pt x="338" y="17"/>
                    </a:lnTo>
                    <a:lnTo>
                      <a:pt x="340" y="17"/>
                    </a:lnTo>
                    <a:lnTo>
                      <a:pt x="342" y="17"/>
                    </a:lnTo>
                    <a:lnTo>
                      <a:pt x="342" y="16"/>
                    </a:lnTo>
                    <a:lnTo>
                      <a:pt x="344" y="16"/>
                    </a:lnTo>
                    <a:lnTo>
                      <a:pt x="344" y="14"/>
                    </a:lnTo>
                    <a:lnTo>
                      <a:pt x="344" y="16"/>
                    </a:lnTo>
                    <a:lnTo>
                      <a:pt x="344" y="14"/>
                    </a:lnTo>
                    <a:lnTo>
                      <a:pt x="346" y="14"/>
                    </a:lnTo>
                    <a:lnTo>
                      <a:pt x="348" y="14"/>
                    </a:lnTo>
                    <a:lnTo>
                      <a:pt x="350" y="14"/>
                    </a:lnTo>
                    <a:lnTo>
                      <a:pt x="348" y="14"/>
                    </a:lnTo>
                    <a:lnTo>
                      <a:pt x="350" y="14"/>
                    </a:lnTo>
                    <a:lnTo>
                      <a:pt x="348" y="14"/>
                    </a:lnTo>
                    <a:lnTo>
                      <a:pt x="350" y="12"/>
                    </a:lnTo>
                    <a:lnTo>
                      <a:pt x="348" y="12"/>
                    </a:lnTo>
                    <a:lnTo>
                      <a:pt x="350" y="12"/>
                    </a:lnTo>
                    <a:lnTo>
                      <a:pt x="352" y="12"/>
                    </a:lnTo>
                    <a:lnTo>
                      <a:pt x="352" y="10"/>
                    </a:lnTo>
                    <a:lnTo>
                      <a:pt x="354" y="10"/>
                    </a:lnTo>
                    <a:lnTo>
                      <a:pt x="352" y="12"/>
                    </a:lnTo>
                    <a:lnTo>
                      <a:pt x="354" y="12"/>
                    </a:lnTo>
                    <a:lnTo>
                      <a:pt x="354" y="10"/>
                    </a:lnTo>
                    <a:lnTo>
                      <a:pt x="356" y="10"/>
                    </a:lnTo>
                    <a:lnTo>
                      <a:pt x="358" y="10"/>
                    </a:lnTo>
                    <a:lnTo>
                      <a:pt x="360" y="10"/>
                    </a:lnTo>
                    <a:lnTo>
                      <a:pt x="358" y="10"/>
                    </a:lnTo>
                    <a:lnTo>
                      <a:pt x="360" y="10"/>
                    </a:lnTo>
                    <a:lnTo>
                      <a:pt x="361" y="10"/>
                    </a:lnTo>
                    <a:lnTo>
                      <a:pt x="363" y="10"/>
                    </a:lnTo>
                    <a:lnTo>
                      <a:pt x="365" y="10"/>
                    </a:lnTo>
                    <a:lnTo>
                      <a:pt x="367" y="10"/>
                    </a:lnTo>
                    <a:lnTo>
                      <a:pt x="369" y="8"/>
                    </a:lnTo>
                    <a:lnTo>
                      <a:pt x="371" y="8"/>
                    </a:lnTo>
                    <a:lnTo>
                      <a:pt x="373" y="8"/>
                    </a:lnTo>
                    <a:lnTo>
                      <a:pt x="375" y="8"/>
                    </a:lnTo>
                    <a:lnTo>
                      <a:pt x="373" y="8"/>
                    </a:lnTo>
                    <a:lnTo>
                      <a:pt x="375" y="8"/>
                    </a:lnTo>
                    <a:lnTo>
                      <a:pt x="377" y="8"/>
                    </a:lnTo>
                    <a:lnTo>
                      <a:pt x="379" y="8"/>
                    </a:lnTo>
                    <a:lnTo>
                      <a:pt x="379" y="6"/>
                    </a:lnTo>
                    <a:lnTo>
                      <a:pt x="381" y="6"/>
                    </a:lnTo>
                    <a:lnTo>
                      <a:pt x="383" y="6"/>
                    </a:lnTo>
                    <a:lnTo>
                      <a:pt x="384" y="4"/>
                    </a:lnTo>
                    <a:lnTo>
                      <a:pt x="386" y="4"/>
                    </a:lnTo>
                    <a:lnTo>
                      <a:pt x="388" y="4"/>
                    </a:lnTo>
                    <a:lnTo>
                      <a:pt x="390" y="4"/>
                    </a:lnTo>
                    <a:lnTo>
                      <a:pt x="392" y="4"/>
                    </a:lnTo>
                    <a:lnTo>
                      <a:pt x="394" y="4"/>
                    </a:lnTo>
                    <a:lnTo>
                      <a:pt x="392" y="4"/>
                    </a:lnTo>
                    <a:lnTo>
                      <a:pt x="390" y="4"/>
                    </a:lnTo>
                    <a:lnTo>
                      <a:pt x="388" y="4"/>
                    </a:lnTo>
                    <a:lnTo>
                      <a:pt x="386" y="4"/>
                    </a:lnTo>
                    <a:lnTo>
                      <a:pt x="384" y="4"/>
                    </a:lnTo>
                    <a:lnTo>
                      <a:pt x="384" y="2"/>
                    </a:lnTo>
                    <a:lnTo>
                      <a:pt x="383" y="2"/>
                    </a:lnTo>
                    <a:lnTo>
                      <a:pt x="384" y="2"/>
                    </a:lnTo>
                    <a:lnTo>
                      <a:pt x="386" y="2"/>
                    </a:lnTo>
                    <a:lnTo>
                      <a:pt x="388" y="2"/>
                    </a:lnTo>
                    <a:lnTo>
                      <a:pt x="390" y="0"/>
                    </a:lnTo>
                    <a:lnTo>
                      <a:pt x="392" y="0"/>
                    </a:lnTo>
                    <a:lnTo>
                      <a:pt x="394" y="0"/>
                    </a:lnTo>
                    <a:lnTo>
                      <a:pt x="396" y="0"/>
                    </a:lnTo>
                    <a:close/>
                    <a:moveTo>
                      <a:pt x="292" y="325"/>
                    </a:moveTo>
                    <a:lnTo>
                      <a:pt x="292" y="323"/>
                    </a:lnTo>
                    <a:lnTo>
                      <a:pt x="292" y="3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7" name="Freeform 53"/>
              <p:cNvSpPr>
                <a:spLocks noEditPoints="1"/>
              </p:cNvSpPr>
              <p:nvPr/>
            </p:nvSpPr>
            <p:spPr bwMode="auto">
              <a:xfrm>
                <a:off x="3328693" y="907414"/>
                <a:ext cx="1302514" cy="1097759"/>
              </a:xfrm>
              <a:custGeom>
                <a:avLst/>
                <a:gdLst>
                  <a:gd name="T0" fmla="*/ 109 w 757"/>
                  <a:gd name="T1" fmla="*/ 546 h 638"/>
                  <a:gd name="T2" fmla="*/ 100 w 757"/>
                  <a:gd name="T3" fmla="*/ 533 h 638"/>
                  <a:gd name="T4" fmla="*/ 90 w 757"/>
                  <a:gd name="T5" fmla="*/ 513 h 638"/>
                  <a:gd name="T6" fmla="*/ 73 w 757"/>
                  <a:gd name="T7" fmla="*/ 508 h 638"/>
                  <a:gd name="T8" fmla="*/ 81 w 757"/>
                  <a:gd name="T9" fmla="*/ 504 h 638"/>
                  <a:gd name="T10" fmla="*/ 73 w 757"/>
                  <a:gd name="T11" fmla="*/ 496 h 638"/>
                  <a:gd name="T12" fmla="*/ 84 w 757"/>
                  <a:gd name="T13" fmla="*/ 490 h 638"/>
                  <a:gd name="T14" fmla="*/ 102 w 757"/>
                  <a:gd name="T15" fmla="*/ 488 h 638"/>
                  <a:gd name="T16" fmla="*/ 90 w 757"/>
                  <a:gd name="T17" fmla="*/ 479 h 638"/>
                  <a:gd name="T18" fmla="*/ 90 w 757"/>
                  <a:gd name="T19" fmla="*/ 477 h 638"/>
                  <a:gd name="T20" fmla="*/ 100 w 757"/>
                  <a:gd name="T21" fmla="*/ 477 h 638"/>
                  <a:gd name="T22" fmla="*/ 405 w 757"/>
                  <a:gd name="T23" fmla="*/ 483 h 638"/>
                  <a:gd name="T24" fmla="*/ 94 w 757"/>
                  <a:gd name="T25" fmla="*/ 463 h 638"/>
                  <a:gd name="T26" fmla="*/ 359 w 757"/>
                  <a:gd name="T27" fmla="*/ 477 h 638"/>
                  <a:gd name="T28" fmla="*/ 86 w 757"/>
                  <a:gd name="T29" fmla="*/ 458 h 638"/>
                  <a:gd name="T30" fmla="*/ 472 w 757"/>
                  <a:gd name="T31" fmla="*/ 444 h 638"/>
                  <a:gd name="T32" fmla="*/ 519 w 757"/>
                  <a:gd name="T33" fmla="*/ 427 h 638"/>
                  <a:gd name="T34" fmla="*/ 532 w 757"/>
                  <a:gd name="T35" fmla="*/ 419 h 638"/>
                  <a:gd name="T36" fmla="*/ 553 w 757"/>
                  <a:gd name="T37" fmla="*/ 392 h 638"/>
                  <a:gd name="T38" fmla="*/ 559 w 757"/>
                  <a:gd name="T39" fmla="*/ 386 h 638"/>
                  <a:gd name="T40" fmla="*/ 582 w 757"/>
                  <a:gd name="T41" fmla="*/ 381 h 638"/>
                  <a:gd name="T42" fmla="*/ 603 w 757"/>
                  <a:gd name="T43" fmla="*/ 361 h 638"/>
                  <a:gd name="T44" fmla="*/ 611 w 757"/>
                  <a:gd name="T45" fmla="*/ 356 h 638"/>
                  <a:gd name="T46" fmla="*/ 211 w 757"/>
                  <a:gd name="T47" fmla="*/ 358 h 638"/>
                  <a:gd name="T48" fmla="*/ 275 w 757"/>
                  <a:gd name="T49" fmla="*/ 350 h 638"/>
                  <a:gd name="T50" fmla="*/ 184 w 757"/>
                  <a:gd name="T51" fmla="*/ 325 h 638"/>
                  <a:gd name="T52" fmla="*/ 184 w 757"/>
                  <a:gd name="T53" fmla="*/ 323 h 638"/>
                  <a:gd name="T54" fmla="*/ 196 w 757"/>
                  <a:gd name="T55" fmla="*/ 323 h 638"/>
                  <a:gd name="T56" fmla="*/ 663 w 757"/>
                  <a:gd name="T57" fmla="*/ 304 h 638"/>
                  <a:gd name="T58" fmla="*/ 215 w 757"/>
                  <a:gd name="T59" fmla="*/ 311 h 638"/>
                  <a:gd name="T60" fmla="*/ 144 w 757"/>
                  <a:gd name="T61" fmla="*/ 298 h 638"/>
                  <a:gd name="T62" fmla="*/ 190 w 757"/>
                  <a:gd name="T63" fmla="*/ 302 h 638"/>
                  <a:gd name="T64" fmla="*/ 107 w 757"/>
                  <a:gd name="T65" fmla="*/ 288 h 638"/>
                  <a:gd name="T66" fmla="*/ 163 w 757"/>
                  <a:gd name="T67" fmla="*/ 286 h 638"/>
                  <a:gd name="T68" fmla="*/ 482 w 757"/>
                  <a:gd name="T69" fmla="*/ 288 h 638"/>
                  <a:gd name="T70" fmla="*/ 536 w 757"/>
                  <a:gd name="T71" fmla="*/ 281 h 638"/>
                  <a:gd name="T72" fmla="*/ 682 w 757"/>
                  <a:gd name="T73" fmla="*/ 260 h 638"/>
                  <a:gd name="T74" fmla="*/ 177 w 757"/>
                  <a:gd name="T75" fmla="*/ 271 h 638"/>
                  <a:gd name="T76" fmla="*/ 165 w 757"/>
                  <a:gd name="T77" fmla="*/ 263 h 638"/>
                  <a:gd name="T78" fmla="*/ 486 w 757"/>
                  <a:gd name="T79" fmla="*/ 265 h 638"/>
                  <a:gd name="T80" fmla="*/ 228 w 757"/>
                  <a:gd name="T81" fmla="*/ 252 h 638"/>
                  <a:gd name="T82" fmla="*/ 257 w 757"/>
                  <a:gd name="T83" fmla="*/ 233 h 638"/>
                  <a:gd name="T84" fmla="*/ 469 w 757"/>
                  <a:gd name="T85" fmla="*/ 215 h 638"/>
                  <a:gd name="T86" fmla="*/ 129 w 757"/>
                  <a:gd name="T87" fmla="*/ 200 h 638"/>
                  <a:gd name="T88" fmla="*/ 469 w 757"/>
                  <a:gd name="T89" fmla="*/ 210 h 638"/>
                  <a:gd name="T90" fmla="*/ 367 w 757"/>
                  <a:gd name="T91" fmla="*/ 202 h 638"/>
                  <a:gd name="T92" fmla="*/ 409 w 757"/>
                  <a:gd name="T93" fmla="*/ 196 h 638"/>
                  <a:gd name="T94" fmla="*/ 373 w 757"/>
                  <a:gd name="T95" fmla="*/ 194 h 638"/>
                  <a:gd name="T96" fmla="*/ 351 w 757"/>
                  <a:gd name="T97" fmla="*/ 183 h 638"/>
                  <a:gd name="T98" fmla="*/ 359 w 757"/>
                  <a:gd name="T99" fmla="*/ 181 h 638"/>
                  <a:gd name="T100" fmla="*/ 392 w 757"/>
                  <a:gd name="T101" fmla="*/ 179 h 638"/>
                  <a:gd name="T102" fmla="*/ 423 w 757"/>
                  <a:gd name="T103" fmla="*/ 177 h 638"/>
                  <a:gd name="T104" fmla="*/ 396 w 757"/>
                  <a:gd name="T105" fmla="*/ 169 h 638"/>
                  <a:gd name="T106" fmla="*/ 269 w 757"/>
                  <a:gd name="T107" fmla="*/ 158 h 638"/>
                  <a:gd name="T108" fmla="*/ 586 w 757"/>
                  <a:gd name="T109" fmla="*/ 142 h 638"/>
                  <a:gd name="T110" fmla="*/ 515 w 757"/>
                  <a:gd name="T111" fmla="*/ 146 h 638"/>
                  <a:gd name="T112" fmla="*/ 311 w 757"/>
                  <a:gd name="T113" fmla="*/ 137 h 638"/>
                  <a:gd name="T114" fmla="*/ 595 w 757"/>
                  <a:gd name="T115" fmla="*/ 98 h 638"/>
                  <a:gd name="T116" fmla="*/ 561 w 757"/>
                  <a:gd name="T117" fmla="*/ 77 h 638"/>
                  <a:gd name="T118" fmla="*/ 328 w 757"/>
                  <a:gd name="T119" fmla="*/ 65 h 638"/>
                  <a:gd name="T120" fmla="*/ 332 w 757"/>
                  <a:gd name="T121" fmla="*/ 60 h 638"/>
                  <a:gd name="T122" fmla="*/ 430 w 757"/>
                  <a:gd name="T123" fmla="*/ 44 h 638"/>
                  <a:gd name="T124" fmla="*/ 398 w 757"/>
                  <a:gd name="T125" fmla="*/ 35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7" h="638">
                    <a:moveTo>
                      <a:pt x="171" y="638"/>
                    </a:moveTo>
                    <a:lnTo>
                      <a:pt x="173" y="638"/>
                    </a:lnTo>
                    <a:lnTo>
                      <a:pt x="171" y="638"/>
                    </a:lnTo>
                    <a:close/>
                    <a:moveTo>
                      <a:pt x="81" y="617"/>
                    </a:moveTo>
                    <a:lnTo>
                      <a:pt x="79" y="617"/>
                    </a:lnTo>
                    <a:lnTo>
                      <a:pt x="81" y="617"/>
                    </a:lnTo>
                    <a:close/>
                    <a:moveTo>
                      <a:pt x="81" y="608"/>
                    </a:moveTo>
                    <a:lnTo>
                      <a:pt x="79" y="608"/>
                    </a:lnTo>
                    <a:lnTo>
                      <a:pt x="79" y="606"/>
                    </a:lnTo>
                    <a:lnTo>
                      <a:pt x="81" y="608"/>
                    </a:lnTo>
                    <a:close/>
                    <a:moveTo>
                      <a:pt x="157" y="619"/>
                    </a:moveTo>
                    <a:lnTo>
                      <a:pt x="157" y="617"/>
                    </a:lnTo>
                    <a:lnTo>
                      <a:pt x="157" y="615"/>
                    </a:lnTo>
                    <a:lnTo>
                      <a:pt x="157" y="617"/>
                    </a:lnTo>
                    <a:lnTo>
                      <a:pt x="157" y="619"/>
                    </a:lnTo>
                    <a:close/>
                    <a:moveTo>
                      <a:pt x="90" y="606"/>
                    </a:moveTo>
                    <a:lnTo>
                      <a:pt x="90" y="604"/>
                    </a:lnTo>
                    <a:lnTo>
                      <a:pt x="90" y="606"/>
                    </a:lnTo>
                    <a:close/>
                    <a:moveTo>
                      <a:pt x="152" y="594"/>
                    </a:moveTo>
                    <a:lnTo>
                      <a:pt x="150" y="592"/>
                    </a:lnTo>
                    <a:lnTo>
                      <a:pt x="152" y="594"/>
                    </a:lnTo>
                    <a:close/>
                    <a:moveTo>
                      <a:pt x="150" y="588"/>
                    </a:moveTo>
                    <a:lnTo>
                      <a:pt x="150" y="586"/>
                    </a:lnTo>
                    <a:lnTo>
                      <a:pt x="150" y="584"/>
                    </a:lnTo>
                    <a:lnTo>
                      <a:pt x="152" y="584"/>
                    </a:lnTo>
                    <a:lnTo>
                      <a:pt x="152" y="586"/>
                    </a:lnTo>
                    <a:lnTo>
                      <a:pt x="150" y="586"/>
                    </a:lnTo>
                    <a:lnTo>
                      <a:pt x="152" y="586"/>
                    </a:lnTo>
                    <a:lnTo>
                      <a:pt x="150" y="586"/>
                    </a:lnTo>
                    <a:lnTo>
                      <a:pt x="150" y="588"/>
                    </a:lnTo>
                    <a:close/>
                    <a:moveTo>
                      <a:pt x="100" y="577"/>
                    </a:moveTo>
                    <a:lnTo>
                      <a:pt x="100" y="579"/>
                    </a:lnTo>
                    <a:lnTo>
                      <a:pt x="100" y="577"/>
                    </a:lnTo>
                    <a:close/>
                    <a:moveTo>
                      <a:pt x="152" y="583"/>
                    </a:moveTo>
                    <a:lnTo>
                      <a:pt x="152" y="581"/>
                    </a:lnTo>
                    <a:lnTo>
                      <a:pt x="154" y="581"/>
                    </a:lnTo>
                    <a:lnTo>
                      <a:pt x="154" y="583"/>
                    </a:lnTo>
                    <a:lnTo>
                      <a:pt x="152" y="583"/>
                    </a:lnTo>
                    <a:close/>
                    <a:moveTo>
                      <a:pt x="150" y="563"/>
                    </a:moveTo>
                    <a:lnTo>
                      <a:pt x="150" y="565"/>
                    </a:lnTo>
                    <a:lnTo>
                      <a:pt x="152" y="565"/>
                    </a:lnTo>
                    <a:lnTo>
                      <a:pt x="150" y="567"/>
                    </a:lnTo>
                    <a:lnTo>
                      <a:pt x="150" y="569"/>
                    </a:lnTo>
                    <a:lnTo>
                      <a:pt x="150" y="567"/>
                    </a:lnTo>
                    <a:lnTo>
                      <a:pt x="148" y="567"/>
                    </a:lnTo>
                    <a:lnTo>
                      <a:pt x="148" y="565"/>
                    </a:lnTo>
                    <a:lnTo>
                      <a:pt x="150" y="565"/>
                    </a:lnTo>
                    <a:lnTo>
                      <a:pt x="150" y="567"/>
                    </a:lnTo>
                    <a:lnTo>
                      <a:pt x="150" y="565"/>
                    </a:lnTo>
                    <a:lnTo>
                      <a:pt x="150" y="563"/>
                    </a:lnTo>
                    <a:close/>
                    <a:moveTo>
                      <a:pt x="152" y="565"/>
                    </a:moveTo>
                    <a:lnTo>
                      <a:pt x="152" y="567"/>
                    </a:lnTo>
                    <a:lnTo>
                      <a:pt x="152" y="565"/>
                    </a:lnTo>
                    <a:lnTo>
                      <a:pt x="154" y="565"/>
                    </a:lnTo>
                    <a:lnTo>
                      <a:pt x="154" y="567"/>
                    </a:lnTo>
                    <a:lnTo>
                      <a:pt x="152" y="567"/>
                    </a:lnTo>
                    <a:lnTo>
                      <a:pt x="152" y="565"/>
                    </a:lnTo>
                    <a:lnTo>
                      <a:pt x="152" y="563"/>
                    </a:lnTo>
                    <a:lnTo>
                      <a:pt x="152" y="561"/>
                    </a:lnTo>
                    <a:lnTo>
                      <a:pt x="154" y="561"/>
                    </a:lnTo>
                    <a:lnTo>
                      <a:pt x="154" y="563"/>
                    </a:lnTo>
                    <a:lnTo>
                      <a:pt x="152" y="565"/>
                    </a:lnTo>
                    <a:close/>
                    <a:moveTo>
                      <a:pt x="117" y="558"/>
                    </a:moveTo>
                    <a:lnTo>
                      <a:pt x="117" y="556"/>
                    </a:lnTo>
                    <a:lnTo>
                      <a:pt x="117" y="558"/>
                    </a:lnTo>
                    <a:close/>
                    <a:moveTo>
                      <a:pt x="155" y="559"/>
                    </a:moveTo>
                    <a:lnTo>
                      <a:pt x="155" y="558"/>
                    </a:lnTo>
                    <a:lnTo>
                      <a:pt x="157" y="558"/>
                    </a:lnTo>
                    <a:lnTo>
                      <a:pt x="157" y="556"/>
                    </a:lnTo>
                    <a:lnTo>
                      <a:pt x="157" y="558"/>
                    </a:lnTo>
                    <a:lnTo>
                      <a:pt x="157" y="559"/>
                    </a:lnTo>
                    <a:lnTo>
                      <a:pt x="155" y="559"/>
                    </a:lnTo>
                    <a:close/>
                    <a:moveTo>
                      <a:pt x="113" y="548"/>
                    </a:moveTo>
                    <a:lnTo>
                      <a:pt x="111" y="548"/>
                    </a:lnTo>
                    <a:lnTo>
                      <a:pt x="109" y="548"/>
                    </a:lnTo>
                    <a:lnTo>
                      <a:pt x="111" y="548"/>
                    </a:lnTo>
                    <a:lnTo>
                      <a:pt x="111" y="546"/>
                    </a:lnTo>
                    <a:lnTo>
                      <a:pt x="109" y="546"/>
                    </a:lnTo>
                    <a:lnTo>
                      <a:pt x="111" y="546"/>
                    </a:lnTo>
                    <a:lnTo>
                      <a:pt x="113" y="548"/>
                    </a:lnTo>
                    <a:close/>
                    <a:moveTo>
                      <a:pt x="150" y="546"/>
                    </a:moveTo>
                    <a:lnTo>
                      <a:pt x="152" y="546"/>
                    </a:lnTo>
                    <a:lnTo>
                      <a:pt x="150" y="546"/>
                    </a:lnTo>
                    <a:lnTo>
                      <a:pt x="150" y="544"/>
                    </a:lnTo>
                    <a:lnTo>
                      <a:pt x="150" y="546"/>
                    </a:lnTo>
                    <a:close/>
                    <a:moveTo>
                      <a:pt x="113" y="542"/>
                    </a:moveTo>
                    <a:lnTo>
                      <a:pt x="113" y="540"/>
                    </a:lnTo>
                    <a:lnTo>
                      <a:pt x="113" y="542"/>
                    </a:lnTo>
                    <a:close/>
                    <a:moveTo>
                      <a:pt x="117" y="542"/>
                    </a:moveTo>
                    <a:lnTo>
                      <a:pt x="115" y="542"/>
                    </a:lnTo>
                    <a:lnTo>
                      <a:pt x="113" y="542"/>
                    </a:lnTo>
                    <a:lnTo>
                      <a:pt x="115" y="542"/>
                    </a:lnTo>
                    <a:lnTo>
                      <a:pt x="113" y="540"/>
                    </a:lnTo>
                    <a:lnTo>
                      <a:pt x="113" y="538"/>
                    </a:lnTo>
                    <a:lnTo>
                      <a:pt x="117" y="542"/>
                    </a:lnTo>
                    <a:close/>
                    <a:moveTo>
                      <a:pt x="115" y="538"/>
                    </a:moveTo>
                    <a:lnTo>
                      <a:pt x="113" y="538"/>
                    </a:lnTo>
                    <a:lnTo>
                      <a:pt x="115" y="538"/>
                    </a:lnTo>
                    <a:close/>
                    <a:moveTo>
                      <a:pt x="117" y="538"/>
                    </a:moveTo>
                    <a:lnTo>
                      <a:pt x="115" y="536"/>
                    </a:lnTo>
                    <a:lnTo>
                      <a:pt x="117" y="536"/>
                    </a:lnTo>
                    <a:lnTo>
                      <a:pt x="117" y="538"/>
                    </a:lnTo>
                    <a:close/>
                    <a:moveTo>
                      <a:pt x="107" y="540"/>
                    </a:moveTo>
                    <a:lnTo>
                      <a:pt x="106" y="540"/>
                    </a:lnTo>
                    <a:lnTo>
                      <a:pt x="106" y="538"/>
                    </a:lnTo>
                    <a:lnTo>
                      <a:pt x="106" y="536"/>
                    </a:lnTo>
                    <a:lnTo>
                      <a:pt x="106" y="534"/>
                    </a:lnTo>
                    <a:lnTo>
                      <a:pt x="107" y="534"/>
                    </a:lnTo>
                    <a:lnTo>
                      <a:pt x="107" y="536"/>
                    </a:lnTo>
                    <a:lnTo>
                      <a:pt x="107" y="538"/>
                    </a:lnTo>
                    <a:lnTo>
                      <a:pt x="107" y="540"/>
                    </a:lnTo>
                    <a:close/>
                    <a:moveTo>
                      <a:pt x="100" y="533"/>
                    </a:moveTo>
                    <a:lnTo>
                      <a:pt x="102" y="533"/>
                    </a:lnTo>
                    <a:lnTo>
                      <a:pt x="104" y="533"/>
                    </a:lnTo>
                    <a:lnTo>
                      <a:pt x="106" y="533"/>
                    </a:lnTo>
                    <a:lnTo>
                      <a:pt x="107" y="533"/>
                    </a:lnTo>
                    <a:lnTo>
                      <a:pt x="106" y="534"/>
                    </a:lnTo>
                    <a:lnTo>
                      <a:pt x="106" y="536"/>
                    </a:lnTo>
                    <a:lnTo>
                      <a:pt x="106" y="538"/>
                    </a:lnTo>
                    <a:lnTo>
                      <a:pt x="106" y="540"/>
                    </a:lnTo>
                    <a:lnTo>
                      <a:pt x="104" y="540"/>
                    </a:lnTo>
                    <a:lnTo>
                      <a:pt x="104" y="538"/>
                    </a:lnTo>
                    <a:lnTo>
                      <a:pt x="102" y="538"/>
                    </a:lnTo>
                    <a:lnTo>
                      <a:pt x="102" y="536"/>
                    </a:lnTo>
                    <a:lnTo>
                      <a:pt x="100" y="536"/>
                    </a:lnTo>
                    <a:lnTo>
                      <a:pt x="98" y="534"/>
                    </a:lnTo>
                    <a:lnTo>
                      <a:pt x="98" y="533"/>
                    </a:lnTo>
                    <a:lnTo>
                      <a:pt x="100" y="533"/>
                    </a:lnTo>
                    <a:close/>
                    <a:moveTo>
                      <a:pt x="109" y="533"/>
                    </a:moveTo>
                    <a:lnTo>
                      <a:pt x="109" y="534"/>
                    </a:lnTo>
                    <a:lnTo>
                      <a:pt x="111" y="536"/>
                    </a:lnTo>
                    <a:lnTo>
                      <a:pt x="111" y="538"/>
                    </a:lnTo>
                    <a:lnTo>
                      <a:pt x="111" y="540"/>
                    </a:lnTo>
                    <a:lnTo>
                      <a:pt x="113" y="542"/>
                    </a:lnTo>
                    <a:lnTo>
                      <a:pt x="115" y="544"/>
                    </a:lnTo>
                    <a:lnTo>
                      <a:pt x="113" y="544"/>
                    </a:lnTo>
                    <a:lnTo>
                      <a:pt x="113" y="546"/>
                    </a:lnTo>
                    <a:lnTo>
                      <a:pt x="111" y="546"/>
                    </a:lnTo>
                    <a:lnTo>
                      <a:pt x="109" y="546"/>
                    </a:lnTo>
                    <a:lnTo>
                      <a:pt x="107" y="546"/>
                    </a:lnTo>
                    <a:lnTo>
                      <a:pt x="107" y="544"/>
                    </a:lnTo>
                    <a:lnTo>
                      <a:pt x="107" y="542"/>
                    </a:lnTo>
                    <a:lnTo>
                      <a:pt x="106" y="540"/>
                    </a:lnTo>
                    <a:lnTo>
                      <a:pt x="107" y="540"/>
                    </a:lnTo>
                    <a:lnTo>
                      <a:pt x="107" y="538"/>
                    </a:lnTo>
                    <a:lnTo>
                      <a:pt x="107" y="536"/>
                    </a:lnTo>
                    <a:lnTo>
                      <a:pt x="107" y="534"/>
                    </a:lnTo>
                    <a:lnTo>
                      <a:pt x="107" y="533"/>
                    </a:lnTo>
                    <a:lnTo>
                      <a:pt x="106" y="533"/>
                    </a:lnTo>
                    <a:lnTo>
                      <a:pt x="107" y="533"/>
                    </a:lnTo>
                    <a:lnTo>
                      <a:pt x="109" y="533"/>
                    </a:lnTo>
                    <a:close/>
                    <a:moveTo>
                      <a:pt x="100" y="533"/>
                    </a:moveTo>
                    <a:lnTo>
                      <a:pt x="102" y="533"/>
                    </a:lnTo>
                    <a:lnTo>
                      <a:pt x="100" y="533"/>
                    </a:lnTo>
                    <a:lnTo>
                      <a:pt x="102" y="533"/>
                    </a:lnTo>
                    <a:lnTo>
                      <a:pt x="100" y="533"/>
                    </a:lnTo>
                    <a:close/>
                    <a:moveTo>
                      <a:pt x="100" y="531"/>
                    </a:moveTo>
                    <a:lnTo>
                      <a:pt x="102" y="533"/>
                    </a:lnTo>
                    <a:lnTo>
                      <a:pt x="100" y="533"/>
                    </a:lnTo>
                    <a:lnTo>
                      <a:pt x="100" y="531"/>
                    </a:lnTo>
                    <a:lnTo>
                      <a:pt x="100" y="533"/>
                    </a:lnTo>
                    <a:lnTo>
                      <a:pt x="100" y="531"/>
                    </a:lnTo>
                    <a:close/>
                    <a:moveTo>
                      <a:pt x="131" y="533"/>
                    </a:moveTo>
                    <a:lnTo>
                      <a:pt x="131" y="534"/>
                    </a:lnTo>
                    <a:lnTo>
                      <a:pt x="129" y="534"/>
                    </a:lnTo>
                    <a:lnTo>
                      <a:pt x="129" y="533"/>
                    </a:lnTo>
                    <a:lnTo>
                      <a:pt x="131" y="533"/>
                    </a:lnTo>
                    <a:close/>
                    <a:moveTo>
                      <a:pt x="142" y="534"/>
                    </a:moveTo>
                    <a:lnTo>
                      <a:pt x="140" y="534"/>
                    </a:lnTo>
                    <a:lnTo>
                      <a:pt x="142" y="534"/>
                    </a:lnTo>
                    <a:close/>
                    <a:moveTo>
                      <a:pt x="109" y="529"/>
                    </a:moveTo>
                    <a:lnTo>
                      <a:pt x="109" y="531"/>
                    </a:lnTo>
                    <a:lnTo>
                      <a:pt x="111" y="531"/>
                    </a:lnTo>
                    <a:lnTo>
                      <a:pt x="111" y="533"/>
                    </a:lnTo>
                    <a:lnTo>
                      <a:pt x="109" y="533"/>
                    </a:lnTo>
                    <a:lnTo>
                      <a:pt x="109" y="531"/>
                    </a:lnTo>
                    <a:lnTo>
                      <a:pt x="107" y="531"/>
                    </a:lnTo>
                    <a:lnTo>
                      <a:pt x="107" y="529"/>
                    </a:lnTo>
                    <a:lnTo>
                      <a:pt x="109" y="531"/>
                    </a:lnTo>
                    <a:lnTo>
                      <a:pt x="109" y="529"/>
                    </a:lnTo>
                    <a:lnTo>
                      <a:pt x="107" y="529"/>
                    </a:lnTo>
                    <a:lnTo>
                      <a:pt x="109" y="529"/>
                    </a:lnTo>
                    <a:close/>
                    <a:moveTo>
                      <a:pt x="357" y="542"/>
                    </a:moveTo>
                    <a:lnTo>
                      <a:pt x="355" y="542"/>
                    </a:lnTo>
                    <a:lnTo>
                      <a:pt x="357" y="542"/>
                    </a:lnTo>
                    <a:close/>
                    <a:moveTo>
                      <a:pt x="96" y="523"/>
                    </a:moveTo>
                    <a:lnTo>
                      <a:pt x="94" y="523"/>
                    </a:lnTo>
                    <a:lnTo>
                      <a:pt x="92" y="521"/>
                    </a:lnTo>
                    <a:lnTo>
                      <a:pt x="92" y="519"/>
                    </a:lnTo>
                    <a:lnTo>
                      <a:pt x="92" y="521"/>
                    </a:lnTo>
                    <a:lnTo>
                      <a:pt x="94" y="521"/>
                    </a:lnTo>
                    <a:lnTo>
                      <a:pt x="96" y="523"/>
                    </a:lnTo>
                    <a:close/>
                    <a:moveTo>
                      <a:pt x="94" y="521"/>
                    </a:moveTo>
                    <a:lnTo>
                      <a:pt x="92" y="521"/>
                    </a:lnTo>
                    <a:lnTo>
                      <a:pt x="92" y="519"/>
                    </a:lnTo>
                    <a:lnTo>
                      <a:pt x="94" y="521"/>
                    </a:lnTo>
                    <a:close/>
                    <a:moveTo>
                      <a:pt x="100" y="519"/>
                    </a:moveTo>
                    <a:lnTo>
                      <a:pt x="100" y="521"/>
                    </a:lnTo>
                    <a:lnTo>
                      <a:pt x="100" y="519"/>
                    </a:lnTo>
                    <a:close/>
                    <a:moveTo>
                      <a:pt x="373" y="534"/>
                    </a:moveTo>
                    <a:lnTo>
                      <a:pt x="371" y="534"/>
                    </a:lnTo>
                    <a:lnTo>
                      <a:pt x="373" y="534"/>
                    </a:lnTo>
                    <a:close/>
                    <a:moveTo>
                      <a:pt x="399" y="533"/>
                    </a:moveTo>
                    <a:lnTo>
                      <a:pt x="399" y="534"/>
                    </a:lnTo>
                    <a:lnTo>
                      <a:pt x="399" y="533"/>
                    </a:lnTo>
                    <a:close/>
                    <a:moveTo>
                      <a:pt x="77" y="513"/>
                    </a:moveTo>
                    <a:lnTo>
                      <a:pt x="75" y="513"/>
                    </a:lnTo>
                    <a:lnTo>
                      <a:pt x="75" y="511"/>
                    </a:lnTo>
                    <a:lnTo>
                      <a:pt x="77" y="511"/>
                    </a:lnTo>
                    <a:lnTo>
                      <a:pt x="77" y="513"/>
                    </a:lnTo>
                    <a:close/>
                    <a:moveTo>
                      <a:pt x="398" y="531"/>
                    </a:moveTo>
                    <a:lnTo>
                      <a:pt x="399" y="531"/>
                    </a:lnTo>
                    <a:lnTo>
                      <a:pt x="398" y="531"/>
                    </a:lnTo>
                    <a:lnTo>
                      <a:pt x="399" y="531"/>
                    </a:lnTo>
                    <a:lnTo>
                      <a:pt x="399" y="533"/>
                    </a:lnTo>
                    <a:lnTo>
                      <a:pt x="398" y="533"/>
                    </a:lnTo>
                    <a:lnTo>
                      <a:pt x="399" y="533"/>
                    </a:lnTo>
                    <a:lnTo>
                      <a:pt x="398" y="531"/>
                    </a:lnTo>
                    <a:close/>
                    <a:moveTo>
                      <a:pt x="90" y="511"/>
                    </a:moveTo>
                    <a:lnTo>
                      <a:pt x="92" y="511"/>
                    </a:lnTo>
                    <a:lnTo>
                      <a:pt x="92" y="513"/>
                    </a:lnTo>
                    <a:lnTo>
                      <a:pt x="94" y="513"/>
                    </a:lnTo>
                    <a:lnTo>
                      <a:pt x="96" y="513"/>
                    </a:lnTo>
                    <a:lnTo>
                      <a:pt x="96" y="515"/>
                    </a:lnTo>
                    <a:lnTo>
                      <a:pt x="96" y="517"/>
                    </a:lnTo>
                    <a:lnTo>
                      <a:pt x="96" y="519"/>
                    </a:lnTo>
                    <a:lnTo>
                      <a:pt x="98" y="521"/>
                    </a:lnTo>
                    <a:lnTo>
                      <a:pt x="96" y="521"/>
                    </a:lnTo>
                    <a:lnTo>
                      <a:pt x="96" y="519"/>
                    </a:lnTo>
                    <a:lnTo>
                      <a:pt x="96" y="517"/>
                    </a:lnTo>
                    <a:lnTo>
                      <a:pt x="94" y="515"/>
                    </a:lnTo>
                    <a:lnTo>
                      <a:pt x="92" y="515"/>
                    </a:lnTo>
                    <a:lnTo>
                      <a:pt x="92" y="513"/>
                    </a:lnTo>
                    <a:lnTo>
                      <a:pt x="90" y="513"/>
                    </a:lnTo>
                    <a:lnTo>
                      <a:pt x="90" y="511"/>
                    </a:lnTo>
                    <a:close/>
                    <a:moveTo>
                      <a:pt x="84" y="509"/>
                    </a:moveTo>
                    <a:lnTo>
                      <a:pt x="86" y="511"/>
                    </a:lnTo>
                    <a:lnTo>
                      <a:pt x="88" y="511"/>
                    </a:lnTo>
                    <a:lnTo>
                      <a:pt x="88" y="513"/>
                    </a:lnTo>
                    <a:lnTo>
                      <a:pt x="86" y="513"/>
                    </a:lnTo>
                    <a:lnTo>
                      <a:pt x="86" y="515"/>
                    </a:lnTo>
                    <a:lnTo>
                      <a:pt x="84" y="515"/>
                    </a:lnTo>
                    <a:lnTo>
                      <a:pt x="82" y="515"/>
                    </a:lnTo>
                    <a:lnTo>
                      <a:pt x="81" y="515"/>
                    </a:lnTo>
                    <a:lnTo>
                      <a:pt x="81" y="513"/>
                    </a:lnTo>
                    <a:lnTo>
                      <a:pt x="82" y="513"/>
                    </a:lnTo>
                    <a:lnTo>
                      <a:pt x="82" y="511"/>
                    </a:lnTo>
                    <a:lnTo>
                      <a:pt x="82" y="509"/>
                    </a:lnTo>
                    <a:lnTo>
                      <a:pt x="84" y="509"/>
                    </a:lnTo>
                    <a:close/>
                    <a:moveTo>
                      <a:pt x="396" y="527"/>
                    </a:moveTo>
                    <a:lnTo>
                      <a:pt x="396" y="529"/>
                    </a:lnTo>
                    <a:lnTo>
                      <a:pt x="398" y="529"/>
                    </a:lnTo>
                    <a:lnTo>
                      <a:pt x="396" y="529"/>
                    </a:lnTo>
                    <a:lnTo>
                      <a:pt x="396" y="527"/>
                    </a:lnTo>
                    <a:close/>
                    <a:moveTo>
                      <a:pt x="88" y="511"/>
                    </a:moveTo>
                    <a:lnTo>
                      <a:pt x="90" y="511"/>
                    </a:lnTo>
                    <a:lnTo>
                      <a:pt x="90" y="513"/>
                    </a:lnTo>
                    <a:lnTo>
                      <a:pt x="92" y="513"/>
                    </a:lnTo>
                    <a:lnTo>
                      <a:pt x="92" y="515"/>
                    </a:lnTo>
                    <a:lnTo>
                      <a:pt x="92" y="517"/>
                    </a:lnTo>
                    <a:lnTo>
                      <a:pt x="94" y="515"/>
                    </a:lnTo>
                    <a:lnTo>
                      <a:pt x="94" y="517"/>
                    </a:lnTo>
                    <a:lnTo>
                      <a:pt x="96" y="517"/>
                    </a:lnTo>
                    <a:lnTo>
                      <a:pt x="96" y="519"/>
                    </a:lnTo>
                    <a:lnTo>
                      <a:pt x="94" y="521"/>
                    </a:lnTo>
                    <a:lnTo>
                      <a:pt x="94" y="519"/>
                    </a:lnTo>
                    <a:lnTo>
                      <a:pt x="92" y="519"/>
                    </a:lnTo>
                    <a:lnTo>
                      <a:pt x="90" y="517"/>
                    </a:lnTo>
                    <a:lnTo>
                      <a:pt x="88" y="517"/>
                    </a:lnTo>
                    <a:lnTo>
                      <a:pt x="86" y="515"/>
                    </a:lnTo>
                    <a:lnTo>
                      <a:pt x="88" y="515"/>
                    </a:lnTo>
                    <a:lnTo>
                      <a:pt x="88" y="513"/>
                    </a:lnTo>
                    <a:lnTo>
                      <a:pt x="88" y="511"/>
                    </a:lnTo>
                    <a:lnTo>
                      <a:pt x="86" y="511"/>
                    </a:lnTo>
                    <a:lnTo>
                      <a:pt x="86" y="509"/>
                    </a:lnTo>
                    <a:lnTo>
                      <a:pt x="86" y="511"/>
                    </a:lnTo>
                    <a:lnTo>
                      <a:pt x="88" y="511"/>
                    </a:lnTo>
                    <a:close/>
                    <a:moveTo>
                      <a:pt x="81" y="513"/>
                    </a:moveTo>
                    <a:lnTo>
                      <a:pt x="81" y="511"/>
                    </a:lnTo>
                    <a:lnTo>
                      <a:pt x="81" y="509"/>
                    </a:lnTo>
                    <a:lnTo>
                      <a:pt x="79" y="509"/>
                    </a:lnTo>
                    <a:lnTo>
                      <a:pt x="81" y="509"/>
                    </a:lnTo>
                    <a:lnTo>
                      <a:pt x="82" y="509"/>
                    </a:lnTo>
                    <a:lnTo>
                      <a:pt x="82" y="511"/>
                    </a:lnTo>
                    <a:lnTo>
                      <a:pt x="82" y="513"/>
                    </a:lnTo>
                    <a:lnTo>
                      <a:pt x="81" y="513"/>
                    </a:lnTo>
                    <a:close/>
                    <a:moveTo>
                      <a:pt x="69" y="508"/>
                    </a:moveTo>
                    <a:lnTo>
                      <a:pt x="71" y="508"/>
                    </a:lnTo>
                    <a:lnTo>
                      <a:pt x="69" y="508"/>
                    </a:lnTo>
                    <a:close/>
                    <a:moveTo>
                      <a:pt x="81" y="509"/>
                    </a:moveTo>
                    <a:lnTo>
                      <a:pt x="79" y="508"/>
                    </a:lnTo>
                    <a:lnTo>
                      <a:pt x="81" y="508"/>
                    </a:lnTo>
                    <a:lnTo>
                      <a:pt x="81" y="509"/>
                    </a:lnTo>
                    <a:close/>
                    <a:moveTo>
                      <a:pt x="386" y="525"/>
                    </a:moveTo>
                    <a:lnTo>
                      <a:pt x="388" y="525"/>
                    </a:lnTo>
                    <a:lnTo>
                      <a:pt x="386" y="525"/>
                    </a:lnTo>
                    <a:close/>
                    <a:moveTo>
                      <a:pt x="90" y="509"/>
                    </a:moveTo>
                    <a:lnTo>
                      <a:pt x="90" y="508"/>
                    </a:lnTo>
                    <a:lnTo>
                      <a:pt x="92" y="508"/>
                    </a:lnTo>
                    <a:lnTo>
                      <a:pt x="90" y="508"/>
                    </a:lnTo>
                    <a:lnTo>
                      <a:pt x="90" y="509"/>
                    </a:lnTo>
                    <a:close/>
                    <a:moveTo>
                      <a:pt x="92" y="509"/>
                    </a:moveTo>
                    <a:lnTo>
                      <a:pt x="92" y="508"/>
                    </a:lnTo>
                    <a:lnTo>
                      <a:pt x="92" y="509"/>
                    </a:lnTo>
                    <a:close/>
                    <a:moveTo>
                      <a:pt x="81" y="513"/>
                    </a:moveTo>
                    <a:lnTo>
                      <a:pt x="79" y="513"/>
                    </a:lnTo>
                    <a:lnTo>
                      <a:pt x="77" y="513"/>
                    </a:lnTo>
                    <a:lnTo>
                      <a:pt x="77" y="511"/>
                    </a:lnTo>
                    <a:lnTo>
                      <a:pt x="75" y="511"/>
                    </a:lnTo>
                    <a:lnTo>
                      <a:pt x="73" y="511"/>
                    </a:lnTo>
                    <a:lnTo>
                      <a:pt x="73" y="509"/>
                    </a:lnTo>
                    <a:lnTo>
                      <a:pt x="73" y="508"/>
                    </a:lnTo>
                    <a:lnTo>
                      <a:pt x="71" y="508"/>
                    </a:lnTo>
                    <a:lnTo>
                      <a:pt x="71" y="506"/>
                    </a:lnTo>
                    <a:lnTo>
                      <a:pt x="73" y="506"/>
                    </a:lnTo>
                    <a:lnTo>
                      <a:pt x="73" y="504"/>
                    </a:lnTo>
                    <a:lnTo>
                      <a:pt x="75" y="504"/>
                    </a:lnTo>
                    <a:lnTo>
                      <a:pt x="75" y="506"/>
                    </a:lnTo>
                    <a:lnTo>
                      <a:pt x="77" y="506"/>
                    </a:lnTo>
                    <a:lnTo>
                      <a:pt x="77" y="508"/>
                    </a:lnTo>
                    <a:lnTo>
                      <a:pt x="79" y="508"/>
                    </a:lnTo>
                    <a:lnTo>
                      <a:pt x="81" y="509"/>
                    </a:lnTo>
                    <a:lnTo>
                      <a:pt x="79" y="509"/>
                    </a:lnTo>
                    <a:lnTo>
                      <a:pt x="81" y="509"/>
                    </a:lnTo>
                    <a:lnTo>
                      <a:pt x="81" y="511"/>
                    </a:lnTo>
                    <a:lnTo>
                      <a:pt x="81" y="513"/>
                    </a:lnTo>
                    <a:close/>
                    <a:moveTo>
                      <a:pt x="79" y="504"/>
                    </a:moveTo>
                    <a:lnTo>
                      <a:pt x="81" y="506"/>
                    </a:lnTo>
                    <a:lnTo>
                      <a:pt x="82" y="506"/>
                    </a:lnTo>
                    <a:lnTo>
                      <a:pt x="82" y="508"/>
                    </a:lnTo>
                    <a:lnTo>
                      <a:pt x="84" y="508"/>
                    </a:lnTo>
                    <a:lnTo>
                      <a:pt x="84" y="509"/>
                    </a:lnTo>
                    <a:lnTo>
                      <a:pt x="82" y="509"/>
                    </a:lnTo>
                    <a:lnTo>
                      <a:pt x="81" y="509"/>
                    </a:lnTo>
                    <a:lnTo>
                      <a:pt x="81" y="508"/>
                    </a:lnTo>
                    <a:lnTo>
                      <a:pt x="79" y="508"/>
                    </a:lnTo>
                    <a:lnTo>
                      <a:pt x="79" y="506"/>
                    </a:lnTo>
                    <a:lnTo>
                      <a:pt x="79" y="504"/>
                    </a:lnTo>
                    <a:close/>
                    <a:moveTo>
                      <a:pt x="79" y="508"/>
                    </a:moveTo>
                    <a:lnTo>
                      <a:pt x="77" y="508"/>
                    </a:lnTo>
                    <a:lnTo>
                      <a:pt x="77" y="506"/>
                    </a:lnTo>
                    <a:lnTo>
                      <a:pt x="75" y="506"/>
                    </a:lnTo>
                    <a:lnTo>
                      <a:pt x="75" y="504"/>
                    </a:lnTo>
                    <a:lnTo>
                      <a:pt x="77" y="504"/>
                    </a:lnTo>
                    <a:lnTo>
                      <a:pt x="79" y="504"/>
                    </a:lnTo>
                    <a:lnTo>
                      <a:pt x="79" y="506"/>
                    </a:lnTo>
                    <a:lnTo>
                      <a:pt x="79" y="508"/>
                    </a:lnTo>
                    <a:close/>
                    <a:moveTo>
                      <a:pt x="88" y="504"/>
                    </a:moveTo>
                    <a:lnTo>
                      <a:pt x="88" y="506"/>
                    </a:lnTo>
                    <a:lnTo>
                      <a:pt x="88" y="508"/>
                    </a:lnTo>
                    <a:lnTo>
                      <a:pt x="88" y="509"/>
                    </a:lnTo>
                    <a:lnTo>
                      <a:pt x="88" y="508"/>
                    </a:lnTo>
                    <a:lnTo>
                      <a:pt x="86" y="508"/>
                    </a:lnTo>
                    <a:lnTo>
                      <a:pt x="88" y="508"/>
                    </a:lnTo>
                    <a:lnTo>
                      <a:pt x="88" y="506"/>
                    </a:lnTo>
                    <a:lnTo>
                      <a:pt x="86" y="506"/>
                    </a:lnTo>
                    <a:lnTo>
                      <a:pt x="88" y="504"/>
                    </a:lnTo>
                    <a:close/>
                    <a:moveTo>
                      <a:pt x="86" y="502"/>
                    </a:moveTo>
                    <a:lnTo>
                      <a:pt x="84" y="504"/>
                    </a:lnTo>
                    <a:lnTo>
                      <a:pt x="84" y="506"/>
                    </a:lnTo>
                    <a:lnTo>
                      <a:pt x="84" y="504"/>
                    </a:lnTo>
                    <a:lnTo>
                      <a:pt x="84" y="502"/>
                    </a:lnTo>
                    <a:lnTo>
                      <a:pt x="86" y="502"/>
                    </a:lnTo>
                    <a:close/>
                    <a:moveTo>
                      <a:pt x="86" y="508"/>
                    </a:moveTo>
                    <a:lnTo>
                      <a:pt x="86" y="506"/>
                    </a:lnTo>
                    <a:lnTo>
                      <a:pt x="84" y="504"/>
                    </a:lnTo>
                    <a:lnTo>
                      <a:pt x="86" y="504"/>
                    </a:lnTo>
                    <a:lnTo>
                      <a:pt x="86" y="502"/>
                    </a:lnTo>
                    <a:lnTo>
                      <a:pt x="86" y="504"/>
                    </a:lnTo>
                    <a:lnTo>
                      <a:pt x="86" y="506"/>
                    </a:lnTo>
                    <a:lnTo>
                      <a:pt x="86" y="508"/>
                    </a:lnTo>
                    <a:close/>
                    <a:moveTo>
                      <a:pt x="75" y="504"/>
                    </a:moveTo>
                    <a:lnTo>
                      <a:pt x="75" y="502"/>
                    </a:lnTo>
                    <a:lnTo>
                      <a:pt x="75" y="500"/>
                    </a:lnTo>
                    <a:lnTo>
                      <a:pt x="73" y="500"/>
                    </a:lnTo>
                    <a:lnTo>
                      <a:pt x="75" y="500"/>
                    </a:lnTo>
                    <a:lnTo>
                      <a:pt x="75" y="502"/>
                    </a:lnTo>
                    <a:lnTo>
                      <a:pt x="75" y="504"/>
                    </a:lnTo>
                    <a:close/>
                    <a:moveTo>
                      <a:pt x="75" y="502"/>
                    </a:moveTo>
                    <a:lnTo>
                      <a:pt x="73" y="502"/>
                    </a:lnTo>
                    <a:lnTo>
                      <a:pt x="73" y="500"/>
                    </a:lnTo>
                    <a:lnTo>
                      <a:pt x="73" y="498"/>
                    </a:lnTo>
                    <a:lnTo>
                      <a:pt x="73" y="500"/>
                    </a:lnTo>
                    <a:lnTo>
                      <a:pt x="75" y="502"/>
                    </a:lnTo>
                    <a:close/>
                    <a:moveTo>
                      <a:pt x="86" y="502"/>
                    </a:moveTo>
                    <a:lnTo>
                      <a:pt x="86" y="500"/>
                    </a:lnTo>
                    <a:lnTo>
                      <a:pt x="88" y="500"/>
                    </a:lnTo>
                    <a:lnTo>
                      <a:pt x="86" y="500"/>
                    </a:lnTo>
                    <a:lnTo>
                      <a:pt x="86" y="502"/>
                    </a:lnTo>
                    <a:close/>
                    <a:moveTo>
                      <a:pt x="81" y="504"/>
                    </a:moveTo>
                    <a:lnTo>
                      <a:pt x="79" y="504"/>
                    </a:lnTo>
                    <a:lnTo>
                      <a:pt x="79" y="502"/>
                    </a:lnTo>
                    <a:lnTo>
                      <a:pt x="81" y="502"/>
                    </a:lnTo>
                    <a:lnTo>
                      <a:pt x="81" y="500"/>
                    </a:lnTo>
                    <a:lnTo>
                      <a:pt x="81" y="502"/>
                    </a:lnTo>
                    <a:lnTo>
                      <a:pt x="81" y="504"/>
                    </a:lnTo>
                    <a:close/>
                    <a:moveTo>
                      <a:pt x="90" y="502"/>
                    </a:moveTo>
                    <a:lnTo>
                      <a:pt x="88" y="502"/>
                    </a:lnTo>
                    <a:lnTo>
                      <a:pt x="88" y="500"/>
                    </a:lnTo>
                    <a:lnTo>
                      <a:pt x="90" y="500"/>
                    </a:lnTo>
                    <a:lnTo>
                      <a:pt x="88" y="500"/>
                    </a:lnTo>
                    <a:lnTo>
                      <a:pt x="90" y="502"/>
                    </a:lnTo>
                    <a:close/>
                    <a:moveTo>
                      <a:pt x="392" y="515"/>
                    </a:moveTo>
                    <a:lnTo>
                      <a:pt x="392" y="517"/>
                    </a:lnTo>
                    <a:lnTo>
                      <a:pt x="392" y="515"/>
                    </a:lnTo>
                    <a:close/>
                    <a:moveTo>
                      <a:pt x="65" y="494"/>
                    </a:moveTo>
                    <a:lnTo>
                      <a:pt x="63" y="496"/>
                    </a:lnTo>
                    <a:lnTo>
                      <a:pt x="65" y="494"/>
                    </a:lnTo>
                    <a:close/>
                    <a:moveTo>
                      <a:pt x="394" y="515"/>
                    </a:moveTo>
                    <a:lnTo>
                      <a:pt x="392" y="515"/>
                    </a:lnTo>
                    <a:lnTo>
                      <a:pt x="394" y="515"/>
                    </a:lnTo>
                    <a:close/>
                    <a:moveTo>
                      <a:pt x="73" y="496"/>
                    </a:moveTo>
                    <a:lnTo>
                      <a:pt x="71" y="496"/>
                    </a:lnTo>
                    <a:lnTo>
                      <a:pt x="73" y="496"/>
                    </a:lnTo>
                    <a:close/>
                    <a:moveTo>
                      <a:pt x="65" y="498"/>
                    </a:moveTo>
                    <a:lnTo>
                      <a:pt x="63" y="498"/>
                    </a:lnTo>
                    <a:lnTo>
                      <a:pt x="63" y="496"/>
                    </a:lnTo>
                    <a:lnTo>
                      <a:pt x="65" y="496"/>
                    </a:lnTo>
                    <a:lnTo>
                      <a:pt x="65" y="494"/>
                    </a:lnTo>
                    <a:lnTo>
                      <a:pt x="65" y="496"/>
                    </a:lnTo>
                    <a:lnTo>
                      <a:pt x="65" y="498"/>
                    </a:lnTo>
                    <a:close/>
                    <a:moveTo>
                      <a:pt x="100" y="498"/>
                    </a:moveTo>
                    <a:lnTo>
                      <a:pt x="102" y="498"/>
                    </a:lnTo>
                    <a:lnTo>
                      <a:pt x="100" y="498"/>
                    </a:lnTo>
                    <a:close/>
                    <a:moveTo>
                      <a:pt x="65" y="492"/>
                    </a:moveTo>
                    <a:lnTo>
                      <a:pt x="65" y="494"/>
                    </a:lnTo>
                    <a:lnTo>
                      <a:pt x="63" y="494"/>
                    </a:lnTo>
                    <a:lnTo>
                      <a:pt x="63" y="496"/>
                    </a:lnTo>
                    <a:lnTo>
                      <a:pt x="63" y="498"/>
                    </a:lnTo>
                    <a:lnTo>
                      <a:pt x="61" y="498"/>
                    </a:lnTo>
                    <a:lnTo>
                      <a:pt x="59" y="500"/>
                    </a:lnTo>
                    <a:lnTo>
                      <a:pt x="59" y="498"/>
                    </a:lnTo>
                    <a:lnTo>
                      <a:pt x="58" y="498"/>
                    </a:lnTo>
                    <a:lnTo>
                      <a:pt x="56" y="498"/>
                    </a:lnTo>
                    <a:lnTo>
                      <a:pt x="56" y="496"/>
                    </a:lnTo>
                    <a:lnTo>
                      <a:pt x="54" y="496"/>
                    </a:lnTo>
                    <a:lnTo>
                      <a:pt x="56" y="496"/>
                    </a:lnTo>
                    <a:lnTo>
                      <a:pt x="56" y="494"/>
                    </a:lnTo>
                    <a:lnTo>
                      <a:pt x="56" y="496"/>
                    </a:lnTo>
                    <a:lnTo>
                      <a:pt x="58" y="496"/>
                    </a:lnTo>
                    <a:lnTo>
                      <a:pt x="58" y="494"/>
                    </a:lnTo>
                    <a:lnTo>
                      <a:pt x="59" y="494"/>
                    </a:lnTo>
                    <a:lnTo>
                      <a:pt x="59" y="492"/>
                    </a:lnTo>
                    <a:lnTo>
                      <a:pt x="61" y="492"/>
                    </a:lnTo>
                    <a:lnTo>
                      <a:pt x="63" y="492"/>
                    </a:lnTo>
                    <a:lnTo>
                      <a:pt x="65" y="492"/>
                    </a:lnTo>
                    <a:close/>
                    <a:moveTo>
                      <a:pt x="96" y="496"/>
                    </a:moveTo>
                    <a:lnTo>
                      <a:pt x="96" y="494"/>
                    </a:lnTo>
                    <a:lnTo>
                      <a:pt x="96" y="496"/>
                    </a:lnTo>
                    <a:close/>
                    <a:moveTo>
                      <a:pt x="392" y="511"/>
                    </a:moveTo>
                    <a:lnTo>
                      <a:pt x="394" y="513"/>
                    </a:lnTo>
                    <a:lnTo>
                      <a:pt x="392" y="513"/>
                    </a:lnTo>
                    <a:lnTo>
                      <a:pt x="392" y="511"/>
                    </a:lnTo>
                    <a:lnTo>
                      <a:pt x="390" y="511"/>
                    </a:lnTo>
                    <a:lnTo>
                      <a:pt x="392" y="511"/>
                    </a:lnTo>
                    <a:close/>
                    <a:moveTo>
                      <a:pt x="104" y="496"/>
                    </a:moveTo>
                    <a:lnTo>
                      <a:pt x="102" y="496"/>
                    </a:lnTo>
                    <a:lnTo>
                      <a:pt x="104" y="496"/>
                    </a:lnTo>
                    <a:close/>
                    <a:moveTo>
                      <a:pt x="88" y="494"/>
                    </a:moveTo>
                    <a:lnTo>
                      <a:pt x="88" y="492"/>
                    </a:lnTo>
                    <a:lnTo>
                      <a:pt x="88" y="494"/>
                    </a:lnTo>
                    <a:close/>
                    <a:moveTo>
                      <a:pt x="96" y="494"/>
                    </a:moveTo>
                    <a:lnTo>
                      <a:pt x="98" y="494"/>
                    </a:lnTo>
                    <a:lnTo>
                      <a:pt x="96" y="494"/>
                    </a:lnTo>
                    <a:close/>
                    <a:moveTo>
                      <a:pt x="392" y="511"/>
                    </a:moveTo>
                    <a:lnTo>
                      <a:pt x="392" y="509"/>
                    </a:lnTo>
                    <a:lnTo>
                      <a:pt x="392" y="511"/>
                    </a:lnTo>
                    <a:close/>
                    <a:moveTo>
                      <a:pt x="73" y="496"/>
                    </a:moveTo>
                    <a:lnTo>
                      <a:pt x="71" y="494"/>
                    </a:lnTo>
                    <a:lnTo>
                      <a:pt x="71" y="492"/>
                    </a:lnTo>
                    <a:lnTo>
                      <a:pt x="71" y="490"/>
                    </a:lnTo>
                    <a:lnTo>
                      <a:pt x="71" y="492"/>
                    </a:lnTo>
                    <a:lnTo>
                      <a:pt x="73" y="494"/>
                    </a:lnTo>
                    <a:lnTo>
                      <a:pt x="73" y="496"/>
                    </a:lnTo>
                    <a:close/>
                    <a:moveTo>
                      <a:pt x="77" y="492"/>
                    </a:moveTo>
                    <a:lnTo>
                      <a:pt x="75" y="490"/>
                    </a:lnTo>
                    <a:lnTo>
                      <a:pt x="77" y="490"/>
                    </a:lnTo>
                    <a:lnTo>
                      <a:pt x="77" y="492"/>
                    </a:lnTo>
                    <a:close/>
                    <a:moveTo>
                      <a:pt x="84" y="494"/>
                    </a:moveTo>
                    <a:lnTo>
                      <a:pt x="86" y="494"/>
                    </a:lnTo>
                    <a:lnTo>
                      <a:pt x="86" y="496"/>
                    </a:lnTo>
                    <a:lnTo>
                      <a:pt x="84" y="496"/>
                    </a:lnTo>
                    <a:lnTo>
                      <a:pt x="86" y="496"/>
                    </a:lnTo>
                    <a:lnTo>
                      <a:pt x="86" y="494"/>
                    </a:lnTo>
                    <a:lnTo>
                      <a:pt x="84" y="494"/>
                    </a:lnTo>
                    <a:lnTo>
                      <a:pt x="84" y="492"/>
                    </a:lnTo>
                    <a:lnTo>
                      <a:pt x="84" y="490"/>
                    </a:lnTo>
                    <a:lnTo>
                      <a:pt x="84" y="492"/>
                    </a:lnTo>
                    <a:lnTo>
                      <a:pt x="84" y="494"/>
                    </a:lnTo>
                    <a:close/>
                    <a:moveTo>
                      <a:pt x="98" y="492"/>
                    </a:moveTo>
                    <a:lnTo>
                      <a:pt x="98" y="494"/>
                    </a:lnTo>
                    <a:lnTo>
                      <a:pt x="96" y="494"/>
                    </a:lnTo>
                    <a:lnTo>
                      <a:pt x="98" y="492"/>
                    </a:lnTo>
                    <a:close/>
                    <a:moveTo>
                      <a:pt x="88" y="490"/>
                    </a:moveTo>
                    <a:lnTo>
                      <a:pt x="88" y="492"/>
                    </a:lnTo>
                    <a:lnTo>
                      <a:pt x="86" y="492"/>
                    </a:lnTo>
                    <a:lnTo>
                      <a:pt x="86" y="490"/>
                    </a:lnTo>
                    <a:lnTo>
                      <a:pt x="88" y="490"/>
                    </a:lnTo>
                    <a:close/>
                    <a:moveTo>
                      <a:pt x="75" y="494"/>
                    </a:moveTo>
                    <a:lnTo>
                      <a:pt x="73" y="494"/>
                    </a:lnTo>
                    <a:lnTo>
                      <a:pt x="73" y="492"/>
                    </a:lnTo>
                    <a:lnTo>
                      <a:pt x="73" y="490"/>
                    </a:lnTo>
                    <a:lnTo>
                      <a:pt x="71" y="490"/>
                    </a:lnTo>
                    <a:lnTo>
                      <a:pt x="71" y="488"/>
                    </a:lnTo>
                    <a:lnTo>
                      <a:pt x="73" y="488"/>
                    </a:lnTo>
                    <a:lnTo>
                      <a:pt x="73" y="490"/>
                    </a:lnTo>
                    <a:lnTo>
                      <a:pt x="75" y="490"/>
                    </a:lnTo>
                    <a:lnTo>
                      <a:pt x="75" y="492"/>
                    </a:lnTo>
                    <a:lnTo>
                      <a:pt x="75" y="494"/>
                    </a:lnTo>
                    <a:close/>
                    <a:moveTo>
                      <a:pt x="86" y="492"/>
                    </a:moveTo>
                    <a:lnTo>
                      <a:pt x="88" y="492"/>
                    </a:lnTo>
                    <a:lnTo>
                      <a:pt x="88" y="494"/>
                    </a:lnTo>
                    <a:lnTo>
                      <a:pt x="86" y="494"/>
                    </a:lnTo>
                    <a:lnTo>
                      <a:pt x="84" y="494"/>
                    </a:lnTo>
                    <a:lnTo>
                      <a:pt x="84" y="492"/>
                    </a:lnTo>
                    <a:lnTo>
                      <a:pt x="84" y="490"/>
                    </a:lnTo>
                    <a:lnTo>
                      <a:pt x="82" y="490"/>
                    </a:lnTo>
                    <a:lnTo>
                      <a:pt x="84" y="490"/>
                    </a:lnTo>
                    <a:lnTo>
                      <a:pt x="86" y="490"/>
                    </a:lnTo>
                    <a:lnTo>
                      <a:pt x="86" y="492"/>
                    </a:lnTo>
                    <a:close/>
                    <a:moveTo>
                      <a:pt x="392" y="508"/>
                    </a:moveTo>
                    <a:lnTo>
                      <a:pt x="390" y="508"/>
                    </a:lnTo>
                    <a:lnTo>
                      <a:pt x="392" y="508"/>
                    </a:lnTo>
                    <a:close/>
                    <a:moveTo>
                      <a:pt x="106" y="492"/>
                    </a:moveTo>
                    <a:lnTo>
                      <a:pt x="106" y="494"/>
                    </a:lnTo>
                    <a:lnTo>
                      <a:pt x="104" y="494"/>
                    </a:lnTo>
                    <a:lnTo>
                      <a:pt x="106" y="494"/>
                    </a:lnTo>
                    <a:lnTo>
                      <a:pt x="104" y="494"/>
                    </a:lnTo>
                    <a:lnTo>
                      <a:pt x="104" y="496"/>
                    </a:lnTo>
                    <a:lnTo>
                      <a:pt x="102" y="496"/>
                    </a:lnTo>
                    <a:lnTo>
                      <a:pt x="100" y="496"/>
                    </a:lnTo>
                    <a:lnTo>
                      <a:pt x="100" y="494"/>
                    </a:lnTo>
                    <a:lnTo>
                      <a:pt x="102" y="494"/>
                    </a:lnTo>
                    <a:lnTo>
                      <a:pt x="104" y="492"/>
                    </a:lnTo>
                    <a:lnTo>
                      <a:pt x="106" y="492"/>
                    </a:lnTo>
                    <a:close/>
                    <a:moveTo>
                      <a:pt x="69" y="490"/>
                    </a:moveTo>
                    <a:lnTo>
                      <a:pt x="69" y="488"/>
                    </a:lnTo>
                    <a:lnTo>
                      <a:pt x="71" y="488"/>
                    </a:lnTo>
                    <a:lnTo>
                      <a:pt x="71" y="486"/>
                    </a:lnTo>
                    <a:lnTo>
                      <a:pt x="71" y="488"/>
                    </a:lnTo>
                    <a:lnTo>
                      <a:pt x="71" y="490"/>
                    </a:lnTo>
                    <a:lnTo>
                      <a:pt x="69" y="490"/>
                    </a:lnTo>
                    <a:close/>
                    <a:moveTo>
                      <a:pt x="86" y="490"/>
                    </a:moveTo>
                    <a:lnTo>
                      <a:pt x="84" y="490"/>
                    </a:lnTo>
                    <a:lnTo>
                      <a:pt x="84" y="488"/>
                    </a:lnTo>
                    <a:lnTo>
                      <a:pt x="84" y="490"/>
                    </a:lnTo>
                    <a:lnTo>
                      <a:pt x="86" y="490"/>
                    </a:lnTo>
                    <a:close/>
                    <a:moveTo>
                      <a:pt x="71" y="488"/>
                    </a:moveTo>
                    <a:lnTo>
                      <a:pt x="71" y="486"/>
                    </a:lnTo>
                    <a:lnTo>
                      <a:pt x="71" y="488"/>
                    </a:lnTo>
                    <a:close/>
                    <a:moveTo>
                      <a:pt x="98" y="490"/>
                    </a:moveTo>
                    <a:lnTo>
                      <a:pt x="100" y="490"/>
                    </a:lnTo>
                    <a:lnTo>
                      <a:pt x="98" y="490"/>
                    </a:lnTo>
                    <a:close/>
                    <a:moveTo>
                      <a:pt x="92" y="490"/>
                    </a:moveTo>
                    <a:lnTo>
                      <a:pt x="92" y="488"/>
                    </a:lnTo>
                    <a:lnTo>
                      <a:pt x="92" y="490"/>
                    </a:lnTo>
                    <a:close/>
                    <a:moveTo>
                      <a:pt x="73" y="488"/>
                    </a:moveTo>
                    <a:lnTo>
                      <a:pt x="71" y="488"/>
                    </a:lnTo>
                    <a:lnTo>
                      <a:pt x="71" y="486"/>
                    </a:lnTo>
                    <a:lnTo>
                      <a:pt x="73" y="486"/>
                    </a:lnTo>
                    <a:lnTo>
                      <a:pt x="73" y="488"/>
                    </a:lnTo>
                    <a:close/>
                    <a:moveTo>
                      <a:pt x="106" y="490"/>
                    </a:moveTo>
                    <a:lnTo>
                      <a:pt x="107" y="490"/>
                    </a:lnTo>
                    <a:lnTo>
                      <a:pt x="106" y="490"/>
                    </a:lnTo>
                    <a:close/>
                    <a:moveTo>
                      <a:pt x="109" y="490"/>
                    </a:moveTo>
                    <a:lnTo>
                      <a:pt x="107" y="490"/>
                    </a:lnTo>
                    <a:lnTo>
                      <a:pt x="107" y="488"/>
                    </a:lnTo>
                    <a:lnTo>
                      <a:pt x="107" y="490"/>
                    </a:lnTo>
                    <a:lnTo>
                      <a:pt x="109" y="490"/>
                    </a:lnTo>
                    <a:close/>
                    <a:moveTo>
                      <a:pt x="84" y="486"/>
                    </a:moveTo>
                    <a:lnTo>
                      <a:pt x="84" y="488"/>
                    </a:lnTo>
                    <a:lnTo>
                      <a:pt x="82" y="488"/>
                    </a:lnTo>
                    <a:lnTo>
                      <a:pt x="82" y="486"/>
                    </a:lnTo>
                    <a:lnTo>
                      <a:pt x="84" y="486"/>
                    </a:lnTo>
                    <a:close/>
                    <a:moveTo>
                      <a:pt x="109" y="486"/>
                    </a:moveTo>
                    <a:lnTo>
                      <a:pt x="109" y="488"/>
                    </a:lnTo>
                    <a:lnTo>
                      <a:pt x="107" y="488"/>
                    </a:lnTo>
                    <a:lnTo>
                      <a:pt x="109" y="486"/>
                    </a:lnTo>
                    <a:close/>
                    <a:moveTo>
                      <a:pt x="96" y="486"/>
                    </a:moveTo>
                    <a:lnTo>
                      <a:pt x="98" y="486"/>
                    </a:lnTo>
                    <a:lnTo>
                      <a:pt x="96" y="486"/>
                    </a:lnTo>
                    <a:lnTo>
                      <a:pt x="98" y="486"/>
                    </a:lnTo>
                    <a:lnTo>
                      <a:pt x="96" y="486"/>
                    </a:lnTo>
                    <a:lnTo>
                      <a:pt x="98" y="486"/>
                    </a:lnTo>
                    <a:lnTo>
                      <a:pt x="98" y="488"/>
                    </a:lnTo>
                    <a:lnTo>
                      <a:pt x="98" y="490"/>
                    </a:lnTo>
                    <a:lnTo>
                      <a:pt x="96" y="492"/>
                    </a:lnTo>
                    <a:lnTo>
                      <a:pt x="94" y="492"/>
                    </a:lnTo>
                    <a:lnTo>
                      <a:pt x="96" y="492"/>
                    </a:lnTo>
                    <a:lnTo>
                      <a:pt x="94" y="494"/>
                    </a:lnTo>
                    <a:lnTo>
                      <a:pt x="92" y="494"/>
                    </a:lnTo>
                    <a:lnTo>
                      <a:pt x="92" y="492"/>
                    </a:lnTo>
                    <a:lnTo>
                      <a:pt x="94" y="490"/>
                    </a:lnTo>
                    <a:lnTo>
                      <a:pt x="94" y="488"/>
                    </a:lnTo>
                    <a:lnTo>
                      <a:pt x="94" y="486"/>
                    </a:lnTo>
                    <a:lnTo>
                      <a:pt x="94" y="484"/>
                    </a:lnTo>
                    <a:lnTo>
                      <a:pt x="96" y="486"/>
                    </a:lnTo>
                    <a:close/>
                    <a:moveTo>
                      <a:pt x="107" y="486"/>
                    </a:moveTo>
                    <a:lnTo>
                      <a:pt x="109" y="486"/>
                    </a:lnTo>
                    <a:lnTo>
                      <a:pt x="107" y="486"/>
                    </a:lnTo>
                    <a:lnTo>
                      <a:pt x="107" y="488"/>
                    </a:lnTo>
                    <a:lnTo>
                      <a:pt x="107" y="486"/>
                    </a:lnTo>
                    <a:close/>
                    <a:moveTo>
                      <a:pt x="69" y="488"/>
                    </a:moveTo>
                    <a:lnTo>
                      <a:pt x="69" y="486"/>
                    </a:lnTo>
                    <a:lnTo>
                      <a:pt x="69" y="484"/>
                    </a:lnTo>
                    <a:lnTo>
                      <a:pt x="69" y="483"/>
                    </a:lnTo>
                    <a:lnTo>
                      <a:pt x="71" y="483"/>
                    </a:lnTo>
                    <a:lnTo>
                      <a:pt x="71" y="481"/>
                    </a:lnTo>
                    <a:lnTo>
                      <a:pt x="71" y="483"/>
                    </a:lnTo>
                    <a:lnTo>
                      <a:pt x="71" y="484"/>
                    </a:lnTo>
                    <a:lnTo>
                      <a:pt x="71" y="486"/>
                    </a:lnTo>
                    <a:lnTo>
                      <a:pt x="69" y="488"/>
                    </a:lnTo>
                    <a:close/>
                    <a:moveTo>
                      <a:pt x="102" y="484"/>
                    </a:moveTo>
                    <a:lnTo>
                      <a:pt x="100" y="486"/>
                    </a:lnTo>
                    <a:lnTo>
                      <a:pt x="100" y="484"/>
                    </a:lnTo>
                    <a:lnTo>
                      <a:pt x="102" y="484"/>
                    </a:lnTo>
                    <a:close/>
                    <a:moveTo>
                      <a:pt x="104" y="484"/>
                    </a:moveTo>
                    <a:lnTo>
                      <a:pt x="106" y="484"/>
                    </a:lnTo>
                    <a:lnTo>
                      <a:pt x="106" y="486"/>
                    </a:lnTo>
                    <a:lnTo>
                      <a:pt x="104" y="486"/>
                    </a:lnTo>
                    <a:lnTo>
                      <a:pt x="104" y="488"/>
                    </a:lnTo>
                    <a:lnTo>
                      <a:pt x="104" y="490"/>
                    </a:lnTo>
                    <a:lnTo>
                      <a:pt x="102" y="490"/>
                    </a:lnTo>
                    <a:lnTo>
                      <a:pt x="102" y="488"/>
                    </a:lnTo>
                    <a:lnTo>
                      <a:pt x="102" y="486"/>
                    </a:lnTo>
                    <a:lnTo>
                      <a:pt x="100" y="486"/>
                    </a:lnTo>
                    <a:lnTo>
                      <a:pt x="102" y="486"/>
                    </a:lnTo>
                    <a:lnTo>
                      <a:pt x="102" y="484"/>
                    </a:lnTo>
                    <a:lnTo>
                      <a:pt x="102" y="486"/>
                    </a:lnTo>
                    <a:lnTo>
                      <a:pt x="104" y="486"/>
                    </a:lnTo>
                    <a:lnTo>
                      <a:pt x="104" y="484"/>
                    </a:lnTo>
                    <a:close/>
                    <a:moveTo>
                      <a:pt x="67" y="481"/>
                    </a:moveTo>
                    <a:lnTo>
                      <a:pt x="65" y="481"/>
                    </a:lnTo>
                    <a:lnTo>
                      <a:pt x="67" y="481"/>
                    </a:lnTo>
                    <a:close/>
                    <a:moveTo>
                      <a:pt x="92" y="484"/>
                    </a:moveTo>
                    <a:lnTo>
                      <a:pt x="92" y="483"/>
                    </a:lnTo>
                    <a:lnTo>
                      <a:pt x="94" y="483"/>
                    </a:lnTo>
                    <a:lnTo>
                      <a:pt x="92" y="484"/>
                    </a:lnTo>
                    <a:close/>
                    <a:moveTo>
                      <a:pt x="67" y="481"/>
                    </a:moveTo>
                    <a:lnTo>
                      <a:pt x="69" y="481"/>
                    </a:lnTo>
                    <a:lnTo>
                      <a:pt x="71" y="481"/>
                    </a:lnTo>
                    <a:lnTo>
                      <a:pt x="69" y="483"/>
                    </a:lnTo>
                    <a:lnTo>
                      <a:pt x="69" y="484"/>
                    </a:lnTo>
                    <a:lnTo>
                      <a:pt x="69" y="486"/>
                    </a:lnTo>
                    <a:lnTo>
                      <a:pt x="69" y="488"/>
                    </a:lnTo>
                    <a:lnTo>
                      <a:pt x="67" y="488"/>
                    </a:lnTo>
                    <a:lnTo>
                      <a:pt x="65" y="488"/>
                    </a:lnTo>
                    <a:lnTo>
                      <a:pt x="65" y="490"/>
                    </a:lnTo>
                    <a:lnTo>
                      <a:pt x="65" y="488"/>
                    </a:lnTo>
                    <a:lnTo>
                      <a:pt x="67" y="488"/>
                    </a:lnTo>
                    <a:lnTo>
                      <a:pt x="67" y="486"/>
                    </a:lnTo>
                    <a:lnTo>
                      <a:pt x="65" y="486"/>
                    </a:lnTo>
                    <a:lnTo>
                      <a:pt x="65" y="484"/>
                    </a:lnTo>
                    <a:lnTo>
                      <a:pt x="67" y="484"/>
                    </a:lnTo>
                    <a:lnTo>
                      <a:pt x="67" y="483"/>
                    </a:lnTo>
                    <a:lnTo>
                      <a:pt x="65" y="483"/>
                    </a:lnTo>
                    <a:lnTo>
                      <a:pt x="65" y="481"/>
                    </a:lnTo>
                    <a:lnTo>
                      <a:pt x="67" y="481"/>
                    </a:lnTo>
                    <a:close/>
                    <a:moveTo>
                      <a:pt x="104" y="484"/>
                    </a:moveTo>
                    <a:lnTo>
                      <a:pt x="104" y="483"/>
                    </a:lnTo>
                    <a:lnTo>
                      <a:pt x="104" y="484"/>
                    </a:lnTo>
                    <a:close/>
                    <a:moveTo>
                      <a:pt x="75" y="481"/>
                    </a:moveTo>
                    <a:lnTo>
                      <a:pt x="73" y="481"/>
                    </a:lnTo>
                    <a:lnTo>
                      <a:pt x="73" y="483"/>
                    </a:lnTo>
                    <a:lnTo>
                      <a:pt x="75" y="483"/>
                    </a:lnTo>
                    <a:lnTo>
                      <a:pt x="73" y="483"/>
                    </a:lnTo>
                    <a:lnTo>
                      <a:pt x="71" y="483"/>
                    </a:lnTo>
                    <a:lnTo>
                      <a:pt x="71" y="481"/>
                    </a:lnTo>
                    <a:lnTo>
                      <a:pt x="73" y="481"/>
                    </a:lnTo>
                    <a:lnTo>
                      <a:pt x="73" y="479"/>
                    </a:lnTo>
                    <a:lnTo>
                      <a:pt x="75" y="479"/>
                    </a:lnTo>
                    <a:lnTo>
                      <a:pt x="73" y="481"/>
                    </a:lnTo>
                    <a:lnTo>
                      <a:pt x="75" y="481"/>
                    </a:lnTo>
                    <a:lnTo>
                      <a:pt x="75" y="479"/>
                    </a:lnTo>
                    <a:lnTo>
                      <a:pt x="75" y="481"/>
                    </a:lnTo>
                    <a:close/>
                    <a:moveTo>
                      <a:pt x="75" y="483"/>
                    </a:moveTo>
                    <a:lnTo>
                      <a:pt x="73" y="483"/>
                    </a:lnTo>
                    <a:lnTo>
                      <a:pt x="73" y="481"/>
                    </a:lnTo>
                    <a:lnTo>
                      <a:pt x="75" y="481"/>
                    </a:lnTo>
                    <a:lnTo>
                      <a:pt x="77" y="479"/>
                    </a:lnTo>
                    <a:lnTo>
                      <a:pt x="77" y="481"/>
                    </a:lnTo>
                    <a:lnTo>
                      <a:pt x="77" y="483"/>
                    </a:lnTo>
                    <a:lnTo>
                      <a:pt x="75" y="483"/>
                    </a:lnTo>
                    <a:close/>
                    <a:moveTo>
                      <a:pt x="94" y="481"/>
                    </a:moveTo>
                    <a:lnTo>
                      <a:pt x="94" y="479"/>
                    </a:lnTo>
                    <a:lnTo>
                      <a:pt x="94" y="481"/>
                    </a:lnTo>
                    <a:close/>
                    <a:moveTo>
                      <a:pt x="367" y="496"/>
                    </a:moveTo>
                    <a:lnTo>
                      <a:pt x="365" y="496"/>
                    </a:lnTo>
                    <a:lnTo>
                      <a:pt x="367" y="496"/>
                    </a:lnTo>
                    <a:close/>
                    <a:moveTo>
                      <a:pt x="77" y="479"/>
                    </a:moveTo>
                    <a:lnTo>
                      <a:pt x="79" y="477"/>
                    </a:lnTo>
                    <a:lnTo>
                      <a:pt x="79" y="479"/>
                    </a:lnTo>
                    <a:lnTo>
                      <a:pt x="77" y="479"/>
                    </a:lnTo>
                    <a:close/>
                    <a:moveTo>
                      <a:pt x="90" y="479"/>
                    </a:moveTo>
                    <a:lnTo>
                      <a:pt x="92" y="479"/>
                    </a:lnTo>
                    <a:lnTo>
                      <a:pt x="92" y="481"/>
                    </a:lnTo>
                    <a:lnTo>
                      <a:pt x="92" y="483"/>
                    </a:lnTo>
                    <a:lnTo>
                      <a:pt x="90" y="483"/>
                    </a:lnTo>
                    <a:lnTo>
                      <a:pt x="88" y="483"/>
                    </a:lnTo>
                    <a:lnTo>
                      <a:pt x="88" y="481"/>
                    </a:lnTo>
                    <a:lnTo>
                      <a:pt x="90" y="481"/>
                    </a:lnTo>
                    <a:lnTo>
                      <a:pt x="90" y="479"/>
                    </a:lnTo>
                    <a:close/>
                    <a:moveTo>
                      <a:pt x="365" y="496"/>
                    </a:moveTo>
                    <a:lnTo>
                      <a:pt x="363" y="496"/>
                    </a:lnTo>
                    <a:lnTo>
                      <a:pt x="363" y="494"/>
                    </a:lnTo>
                    <a:lnTo>
                      <a:pt x="365" y="494"/>
                    </a:lnTo>
                    <a:lnTo>
                      <a:pt x="365" y="496"/>
                    </a:lnTo>
                    <a:close/>
                    <a:moveTo>
                      <a:pt x="361" y="496"/>
                    </a:moveTo>
                    <a:lnTo>
                      <a:pt x="361" y="494"/>
                    </a:lnTo>
                    <a:lnTo>
                      <a:pt x="361" y="496"/>
                    </a:lnTo>
                    <a:close/>
                    <a:moveTo>
                      <a:pt x="102" y="479"/>
                    </a:moveTo>
                    <a:lnTo>
                      <a:pt x="102" y="481"/>
                    </a:lnTo>
                    <a:lnTo>
                      <a:pt x="102" y="483"/>
                    </a:lnTo>
                    <a:lnTo>
                      <a:pt x="100" y="483"/>
                    </a:lnTo>
                    <a:lnTo>
                      <a:pt x="100" y="481"/>
                    </a:lnTo>
                    <a:lnTo>
                      <a:pt x="102" y="479"/>
                    </a:lnTo>
                    <a:close/>
                    <a:moveTo>
                      <a:pt x="106" y="479"/>
                    </a:moveTo>
                    <a:lnTo>
                      <a:pt x="106" y="481"/>
                    </a:lnTo>
                    <a:lnTo>
                      <a:pt x="104" y="481"/>
                    </a:lnTo>
                    <a:lnTo>
                      <a:pt x="106" y="479"/>
                    </a:lnTo>
                    <a:close/>
                    <a:moveTo>
                      <a:pt x="75" y="477"/>
                    </a:moveTo>
                    <a:lnTo>
                      <a:pt x="75" y="475"/>
                    </a:lnTo>
                    <a:lnTo>
                      <a:pt x="77" y="475"/>
                    </a:lnTo>
                    <a:lnTo>
                      <a:pt x="75" y="475"/>
                    </a:lnTo>
                    <a:lnTo>
                      <a:pt x="75" y="477"/>
                    </a:lnTo>
                    <a:close/>
                    <a:moveTo>
                      <a:pt x="77" y="475"/>
                    </a:moveTo>
                    <a:lnTo>
                      <a:pt x="79" y="475"/>
                    </a:lnTo>
                    <a:lnTo>
                      <a:pt x="79" y="477"/>
                    </a:lnTo>
                    <a:lnTo>
                      <a:pt x="77" y="477"/>
                    </a:lnTo>
                    <a:lnTo>
                      <a:pt x="77" y="479"/>
                    </a:lnTo>
                    <a:lnTo>
                      <a:pt x="75" y="479"/>
                    </a:lnTo>
                    <a:lnTo>
                      <a:pt x="75" y="477"/>
                    </a:lnTo>
                    <a:lnTo>
                      <a:pt x="75" y="475"/>
                    </a:lnTo>
                    <a:lnTo>
                      <a:pt x="77" y="475"/>
                    </a:lnTo>
                    <a:close/>
                    <a:moveTo>
                      <a:pt x="359" y="494"/>
                    </a:moveTo>
                    <a:lnTo>
                      <a:pt x="359" y="492"/>
                    </a:lnTo>
                    <a:lnTo>
                      <a:pt x="359" y="494"/>
                    </a:lnTo>
                    <a:close/>
                    <a:moveTo>
                      <a:pt x="359" y="492"/>
                    </a:moveTo>
                    <a:lnTo>
                      <a:pt x="359" y="494"/>
                    </a:lnTo>
                    <a:lnTo>
                      <a:pt x="357" y="492"/>
                    </a:lnTo>
                    <a:lnTo>
                      <a:pt x="359" y="492"/>
                    </a:lnTo>
                    <a:lnTo>
                      <a:pt x="357" y="492"/>
                    </a:lnTo>
                    <a:lnTo>
                      <a:pt x="359" y="492"/>
                    </a:lnTo>
                    <a:close/>
                    <a:moveTo>
                      <a:pt x="88" y="475"/>
                    </a:moveTo>
                    <a:lnTo>
                      <a:pt x="88" y="477"/>
                    </a:lnTo>
                    <a:lnTo>
                      <a:pt x="90" y="475"/>
                    </a:lnTo>
                    <a:lnTo>
                      <a:pt x="90" y="477"/>
                    </a:lnTo>
                    <a:lnTo>
                      <a:pt x="90" y="479"/>
                    </a:lnTo>
                    <a:lnTo>
                      <a:pt x="88" y="477"/>
                    </a:lnTo>
                    <a:lnTo>
                      <a:pt x="88" y="475"/>
                    </a:lnTo>
                    <a:close/>
                    <a:moveTo>
                      <a:pt x="98" y="483"/>
                    </a:moveTo>
                    <a:lnTo>
                      <a:pt x="98" y="481"/>
                    </a:lnTo>
                    <a:lnTo>
                      <a:pt x="98" y="479"/>
                    </a:lnTo>
                    <a:lnTo>
                      <a:pt x="98" y="477"/>
                    </a:lnTo>
                    <a:lnTo>
                      <a:pt x="100" y="479"/>
                    </a:lnTo>
                    <a:lnTo>
                      <a:pt x="100" y="481"/>
                    </a:lnTo>
                    <a:lnTo>
                      <a:pt x="98" y="481"/>
                    </a:lnTo>
                    <a:lnTo>
                      <a:pt x="98" y="483"/>
                    </a:lnTo>
                    <a:lnTo>
                      <a:pt x="98" y="484"/>
                    </a:lnTo>
                    <a:lnTo>
                      <a:pt x="98" y="486"/>
                    </a:lnTo>
                    <a:lnTo>
                      <a:pt x="96" y="486"/>
                    </a:lnTo>
                    <a:lnTo>
                      <a:pt x="94" y="484"/>
                    </a:lnTo>
                    <a:lnTo>
                      <a:pt x="94" y="483"/>
                    </a:lnTo>
                    <a:lnTo>
                      <a:pt x="96" y="483"/>
                    </a:lnTo>
                    <a:lnTo>
                      <a:pt x="96" y="481"/>
                    </a:lnTo>
                    <a:lnTo>
                      <a:pt x="96" y="483"/>
                    </a:lnTo>
                    <a:lnTo>
                      <a:pt x="96" y="481"/>
                    </a:lnTo>
                    <a:lnTo>
                      <a:pt x="96" y="479"/>
                    </a:lnTo>
                    <a:lnTo>
                      <a:pt x="96" y="477"/>
                    </a:lnTo>
                    <a:lnTo>
                      <a:pt x="98" y="475"/>
                    </a:lnTo>
                    <a:lnTo>
                      <a:pt x="98" y="477"/>
                    </a:lnTo>
                    <a:lnTo>
                      <a:pt x="98" y="479"/>
                    </a:lnTo>
                    <a:lnTo>
                      <a:pt x="98" y="481"/>
                    </a:lnTo>
                    <a:lnTo>
                      <a:pt x="96" y="481"/>
                    </a:lnTo>
                    <a:lnTo>
                      <a:pt x="98" y="481"/>
                    </a:lnTo>
                    <a:lnTo>
                      <a:pt x="98" y="483"/>
                    </a:lnTo>
                    <a:close/>
                    <a:moveTo>
                      <a:pt x="92" y="483"/>
                    </a:moveTo>
                    <a:lnTo>
                      <a:pt x="92" y="481"/>
                    </a:lnTo>
                    <a:lnTo>
                      <a:pt x="92" y="479"/>
                    </a:lnTo>
                    <a:lnTo>
                      <a:pt x="90" y="477"/>
                    </a:lnTo>
                    <a:lnTo>
                      <a:pt x="90" y="475"/>
                    </a:lnTo>
                    <a:lnTo>
                      <a:pt x="92" y="475"/>
                    </a:lnTo>
                    <a:lnTo>
                      <a:pt x="92" y="477"/>
                    </a:lnTo>
                    <a:lnTo>
                      <a:pt x="94" y="477"/>
                    </a:lnTo>
                    <a:lnTo>
                      <a:pt x="94" y="479"/>
                    </a:lnTo>
                    <a:lnTo>
                      <a:pt x="94" y="481"/>
                    </a:lnTo>
                    <a:lnTo>
                      <a:pt x="92" y="483"/>
                    </a:lnTo>
                    <a:close/>
                    <a:moveTo>
                      <a:pt x="357" y="492"/>
                    </a:moveTo>
                    <a:lnTo>
                      <a:pt x="357" y="490"/>
                    </a:lnTo>
                    <a:lnTo>
                      <a:pt x="357" y="492"/>
                    </a:lnTo>
                    <a:close/>
                    <a:moveTo>
                      <a:pt x="355" y="490"/>
                    </a:moveTo>
                    <a:lnTo>
                      <a:pt x="353" y="490"/>
                    </a:lnTo>
                    <a:lnTo>
                      <a:pt x="355" y="490"/>
                    </a:lnTo>
                    <a:close/>
                    <a:moveTo>
                      <a:pt x="353" y="490"/>
                    </a:moveTo>
                    <a:lnTo>
                      <a:pt x="351" y="490"/>
                    </a:lnTo>
                    <a:lnTo>
                      <a:pt x="353" y="490"/>
                    </a:lnTo>
                    <a:close/>
                    <a:moveTo>
                      <a:pt x="86" y="473"/>
                    </a:moveTo>
                    <a:lnTo>
                      <a:pt x="84" y="471"/>
                    </a:lnTo>
                    <a:lnTo>
                      <a:pt x="86" y="471"/>
                    </a:lnTo>
                    <a:lnTo>
                      <a:pt x="86" y="473"/>
                    </a:lnTo>
                    <a:close/>
                    <a:moveTo>
                      <a:pt x="104" y="473"/>
                    </a:moveTo>
                    <a:lnTo>
                      <a:pt x="104" y="477"/>
                    </a:lnTo>
                    <a:lnTo>
                      <a:pt x="102" y="477"/>
                    </a:lnTo>
                    <a:lnTo>
                      <a:pt x="102" y="475"/>
                    </a:lnTo>
                    <a:lnTo>
                      <a:pt x="104" y="475"/>
                    </a:lnTo>
                    <a:lnTo>
                      <a:pt x="104" y="473"/>
                    </a:lnTo>
                    <a:close/>
                    <a:moveTo>
                      <a:pt x="96" y="473"/>
                    </a:moveTo>
                    <a:lnTo>
                      <a:pt x="94" y="477"/>
                    </a:lnTo>
                    <a:lnTo>
                      <a:pt x="94" y="479"/>
                    </a:lnTo>
                    <a:lnTo>
                      <a:pt x="94" y="477"/>
                    </a:lnTo>
                    <a:lnTo>
                      <a:pt x="92" y="477"/>
                    </a:lnTo>
                    <a:lnTo>
                      <a:pt x="92" y="475"/>
                    </a:lnTo>
                    <a:lnTo>
                      <a:pt x="94" y="475"/>
                    </a:lnTo>
                    <a:lnTo>
                      <a:pt x="96" y="473"/>
                    </a:lnTo>
                    <a:lnTo>
                      <a:pt x="96" y="471"/>
                    </a:lnTo>
                    <a:lnTo>
                      <a:pt x="96" y="473"/>
                    </a:lnTo>
                    <a:close/>
                    <a:moveTo>
                      <a:pt x="86" y="475"/>
                    </a:moveTo>
                    <a:lnTo>
                      <a:pt x="86" y="473"/>
                    </a:lnTo>
                    <a:lnTo>
                      <a:pt x="86" y="475"/>
                    </a:lnTo>
                    <a:lnTo>
                      <a:pt x="88" y="475"/>
                    </a:lnTo>
                    <a:lnTo>
                      <a:pt x="88" y="477"/>
                    </a:lnTo>
                    <a:lnTo>
                      <a:pt x="86" y="477"/>
                    </a:lnTo>
                    <a:lnTo>
                      <a:pt x="86" y="479"/>
                    </a:lnTo>
                    <a:lnTo>
                      <a:pt x="86" y="477"/>
                    </a:lnTo>
                    <a:lnTo>
                      <a:pt x="84" y="477"/>
                    </a:lnTo>
                    <a:lnTo>
                      <a:pt x="84" y="475"/>
                    </a:lnTo>
                    <a:lnTo>
                      <a:pt x="82" y="475"/>
                    </a:lnTo>
                    <a:lnTo>
                      <a:pt x="82" y="473"/>
                    </a:lnTo>
                    <a:lnTo>
                      <a:pt x="82" y="471"/>
                    </a:lnTo>
                    <a:lnTo>
                      <a:pt x="84" y="471"/>
                    </a:lnTo>
                    <a:lnTo>
                      <a:pt x="84" y="473"/>
                    </a:lnTo>
                    <a:lnTo>
                      <a:pt x="86" y="473"/>
                    </a:lnTo>
                    <a:lnTo>
                      <a:pt x="86" y="475"/>
                    </a:lnTo>
                    <a:close/>
                    <a:moveTo>
                      <a:pt x="100" y="471"/>
                    </a:moveTo>
                    <a:lnTo>
                      <a:pt x="100" y="473"/>
                    </a:lnTo>
                    <a:lnTo>
                      <a:pt x="100" y="475"/>
                    </a:lnTo>
                    <a:lnTo>
                      <a:pt x="98" y="477"/>
                    </a:lnTo>
                    <a:lnTo>
                      <a:pt x="98" y="475"/>
                    </a:lnTo>
                    <a:lnTo>
                      <a:pt x="98" y="473"/>
                    </a:lnTo>
                    <a:lnTo>
                      <a:pt x="100" y="473"/>
                    </a:lnTo>
                    <a:lnTo>
                      <a:pt x="100" y="471"/>
                    </a:lnTo>
                    <a:close/>
                    <a:moveTo>
                      <a:pt x="350" y="486"/>
                    </a:moveTo>
                    <a:lnTo>
                      <a:pt x="350" y="488"/>
                    </a:lnTo>
                    <a:lnTo>
                      <a:pt x="350" y="486"/>
                    </a:lnTo>
                    <a:close/>
                    <a:moveTo>
                      <a:pt x="102" y="473"/>
                    </a:moveTo>
                    <a:lnTo>
                      <a:pt x="100" y="473"/>
                    </a:lnTo>
                    <a:lnTo>
                      <a:pt x="100" y="471"/>
                    </a:lnTo>
                    <a:lnTo>
                      <a:pt x="102" y="471"/>
                    </a:lnTo>
                    <a:lnTo>
                      <a:pt x="102" y="473"/>
                    </a:lnTo>
                    <a:close/>
                    <a:moveTo>
                      <a:pt x="102" y="471"/>
                    </a:moveTo>
                    <a:lnTo>
                      <a:pt x="104" y="473"/>
                    </a:lnTo>
                    <a:lnTo>
                      <a:pt x="104" y="475"/>
                    </a:lnTo>
                    <a:lnTo>
                      <a:pt x="102" y="477"/>
                    </a:lnTo>
                    <a:lnTo>
                      <a:pt x="102" y="479"/>
                    </a:lnTo>
                    <a:lnTo>
                      <a:pt x="100" y="479"/>
                    </a:lnTo>
                    <a:lnTo>
                      <a:pt x="98" y="477"/>
                    </a:lnTo>
                    <a:lnTo>
                      <a:pt x="100" y="475"/>
                    </a:lnTo>
                    <a:lnTo>
                      <a:pt x="100" y="477"/>
                    </a:lnTo>
                    <a:lnTo>
                      <a:pt x="100" y="475"/>
                    </a:lnTo>
                    <a:lnTo>
                      <a:pt x="100" y="473"/>
                    </a:lnTo>
                    <a:lnTo>
                      <a:pt x="102" y="473"/>
                    </a:lnTo>
                    <a:lnTo>
                      <a:pt x="102" y="471"/>
                    </a:lnTo>
                    <a:close/>
                    <a:moveTo>
                      <a:pt x="430" y="484"/>
                    </a:moveTo>
                    <a:lnTo>
                      <a:pt x="430" y="486"/>
                    </a:lnTo>
                    <a:lnTo>
                      <a:pt x="430" y="484"/>
                    </a:lnTo>
                    <a:lnTo>
                      <a:pt x="428" y="484"/>
                    </a:lnTo>
                    <a:lnTo>
                      <a:pt x="430" y="484"/>
                    </a:lnTo>
                    <a:close/>
                    <a:moveTo>
                      <a:pt x="102" y="469"/>
                    </a:moveTo>
                    <a:lnTo>
                      <a:pt x="100" y="471"/>
                    </a:lnTo>
                    <a:lnTo>
                      <a:pt x="100" y="469"/>
                    </a:lnTo>
                    <a:lnTo>
                      <a:pt x="102" y="469"/>
                    </a:lnTo>
                    <a:close/>
                    <a:moveTo>
                      <a:pt x="426" y="484"/>
                    </a:moveTo>
                    <a:lnTo>
                      <a:pt x="428" y="484"/>
                    </a:lnTo>
                    <a:lnTo>
                      <a:pt x="430" y="486"/>
                    </a:lnTo>
                    <a:lnTo>
                      <a:pt x="428" y="486"/>
                    </a:lnTo>
                    <a:lnTo>
                      <a:pt x="428" y="484"/>
                    </a:lnTo>
                    <a:lnTo>
                      <a:pt x="426" y="484"/>
                    </a:lnTo>
                    <a:close/>
                    <a:moveTo>
                      <a:pt x="96" y="471"/>
                    </a:moveTo>
                    <a:lnTo>
                      <a:pt x="96" y="473"/>
                    </a:lnTo>
                    <a:lnTo>
                      <a:pt x="94" y="473"/>
                    </a:lnTo>
                    <a:lnTo>
                      <a:pt x="94" y="471"/>
                    </a:lnTo>
                    <a:lnTo>
                      <a:pt x="92" y="471"/>
                    </a:lnTo>
                    <a:lnTo>
                      <a:pt x="92" y="469"/>
                    </a:lnTo>
                    <a:lnTo>
                      <a:pt x="94" y="469"/>
                    </a:lnTo>
                    <a:lnTo>
                      <a:pt x="96" y="471"/>
                    </a:lnTo>
                    <a:close/>
                    <a:moveTo>
                      <a:pt x="399" y="484"/>
                    </a:moveTo>
                    <a:lnTo>
                      <a:pt x="398" y="484"/>
                    </a:lnTo>
                    <a:lnTo>
                      <a:pt x="399" y="484"/>
                    </a:lnTo>
                    <a:lnTo>
                      <a:pt x="398" y="484"/>
                    </a:lnTo>
                    <a:lnTo>
                      <a:pt x="399" y="484"/>
                    </a:lnTo>
                    <a:lnTo>
                      <a:pt x="401" y="484"/>
                    </a:lnTo>
                    <a:lnTo>
                      <a:pt x="399" y="484"/>
                    </a:lnTo>
                    <a:close/>
                    <a:moveTo>
                      <a:pt x="398" y="484"/>
                    </a:moveTo>
                    <a:lnTo>
                      <a:pt x="396" y="484"/>
                    </a:lnTo>
                    <a:lnTo>
                      <a:pt x="398" y="484"/>
                    </a:lnTo>
                    <a:close/>
                    <a:moveTo>
                      <a:pt x="100" y="469"/>
                    </a:moveTo>
                    <a:lnTo>
                      <a:pt x="100" y="471"/>
                    </a:lnTo>
                    <a:lnTo>
                      <a:pt x="98" y="473"/>
                    </a:lnTo>
                    <a:lnTo>
                      <a:pt x="98" y="471"/>
                    </a:lnTo>
                    <a:lnTo>
                      <a:pt x="98" y="469"/>
                    </a:lnTo>
                    <a:lnTo>
                      <a:pt x="100" y="469"/>
                    </a:lnTo>
                    <a:lnTo>
                      <a:pt x="100" y="467"/>
                    </a:lnTo>
                    <a:lnTo>
                      <a:pt x="100" y="469"/>
                    </a:lnTo>
                    <a:close/>
                    <a:moveTo>
                      <a:pt x="396" y="484"/>
                    </a:moveTo>
                    <a:lnTo>
                      <a:pt x="394" y="484"/>
                    </a:lnTo>
                    <a:lnTo>
                      <a:pt x="396" y="484"/>
                    </a:lnTo>
                    <a:close/>
                    <a:moveTo>
                      <a:pt x="424" y="483"/>
                    </a:moveTo>
                    <a:lnTo>
                      <a:pt x="423" y="483"/>
                    </a:lnTo>
                    <a:lnTo>
                      <a:pt x="424" y="483"/>
                    </a:lnTo>
                    <a:close/>
                    <a:moveTo>
                      <a:pt x="424" y="483"/>
                    </a:moveTo>
                    <a:lnTo>
                      <a:pt x="424" y="484"/>
                    </a:lnTo>
                    <a:lnTo>
                      <a:pt x="424" y="483"/>
                    </a:lnTo>
                    <a:lnTo>
                      <a:pt x="424" y="484"/>
                    </a:lnTo>
                    <a:lnTo>
                      <a:pt x="424" y="483"/>
                    </a:lnTo>
                    <a:lnTo>
                      <a:pt x="423" y="483"/>
                    </a:lnTo>
                    <a:lnTo>
                      <a:pt x="424" y="483"/>
                    </a:lnTo>
                    <a:close/>
                    <a:moveTo>
                      <a:pt x="88" y="467"/>
                    </a:moveTo>
                    <a:lnTo>
                      <a:pt x="86" y="467"/>
                    </a:lnTo>
                    <a:lnTo>
                      <a:pt x="88" y="465"/>
                    </a:lnTo>
                    <a:lnTo>
                      <a:pt x="88" y="467"/>
                    </a:lnTo>
                    <a:close/>
                    <a:moveTo>
                      <a:pt x="351" y="484"/>
                    </a:moveTo>
                    <a:lnTo>
                      <a:pt x="353" y="483"/>
                    </a:lnTo>
                    <a:lnTo>
                      <a:pt x="351" y="483"/>
                    </a:lnTo>
                    <a:lnTo>
                      <a:pt x="351" y="484"/>
                    </a:lnTo>
                    <a:close/>
                    <a:moveTo>
                      <a:pt x="86" y="465"/>
                    </a:moveTo>
                    <a:lnTo>
                      <a:pt x="86" y="467"/>
                    </a:lnTo>
                    <a:lnTo>
                      <a:pt x="86" y="469"/>
                    </a:lnTo>
                    <a:lnTo>
                      <a:pt x="84" y="469"/>
                    </a:lnTo>
                    <a:lnTo>
                      <a:pt x="84" y="467"/>
                    </a:lnTo>
                    <a:lnTo>
                      <a:pt x="86" y="467"/>
                    </a:lnTo>
                    <a:lnTo>
                      <a:pt x="86" y="465"/>
                    </a:lnTo>
                    <a:close/>
                    <a:moveTo>
                      <a:pt x="423" y="483"/>
                    </a:moveTo>
                    <a:lnTo>
                      <a:pt x="421" y="483"/>
                    </a:lnTo>
                    <a:lnTo>
                      <a:pt x="423" y="483"/>
                    </a:lnTo>
                    <a:close/>
                    <a:moveTo>
                      <a:pt x="407" y="483"/>
                    </a:moveTo>
                    <a:lnTo>
                      <a:pt x="405" y="483"/>
                    </a:lnTo>
                    <a:lnTo>
                      <a:pt x="403" y="483"/>
                    </a:lnTo>
                    <a:lnTo>
                      <a:pt x="405" y="483"/>
                    </a:lnTo>
                    <a:lnTo>
                      <a:pt x="407" y="483"/>
                    </a:lnTo>
                    <a:close/>
                    <a:moveTo>
                      <a:pt x="388" y="484"/>
                    </a:moveTo>
                    <a:lnTo>
                      <a:pt x="386" y="483"/>
                    </a:lnTo>
                    <a:lnTo>
                      <a:pt x="388" y="484"/>
                    </a:lnTo>
                    <a:close/>
                    <a:moveTo>
                      <a:pt x="353" y="483"/>
                    </a:moveTo>
                    <a:lnTo>
                      <a:pt x="353" y="484"/>
                    </a:lnTo>
                    <a:lnTo>
                      <a:pt x="353" y="483"/>
                    </a:lnTo>
                    <a:close/>
                    <a:moveTo>
                      <a:pt x="81" y="467"/>
                    </a:moveTo>
                    <a:lnTo>
                      <a:pt x="81" y="465"/>
                    </a:lnTo>
                    <a:lnTo>
                      <a:pt x="81" y="467"/>
                    </a:lnTo>
                    <a:close/>
                    <a:moveTo>
                      <a:pt x="411" y="483"/>
                    </a:moveTo>
                    <a:lnTo>
                      <a:pt x="409" y="483"/>
                    </a:lnTo>
                    <a:lnTo>
                      <a:pt x="407" y="483"/>
                    </a:lnTo>
                    <a:lnTo>
                      <a:pt x="409" y="483"/>
                    </a:lnTo>
                    <a:lnTo>
                      <a:pt x="411" y="483"/>
                    </a:lnTo>
                    <a:close/>
                    <a:moveTo>
                      <a:pt x="407" y="483"/>
                    </a:moveTo>
                    <a:lnTo>
                      <a:pt x="409" y="483"/>
                    </a:lnTo>
                    <a:lnTo>
                      <a:pt x="407" y="483"/>
                    </a:lnTo>
                    <a:close/>
                    <a:moveTo>
                      <a:pt x="419" y="483"/>
                    </a:moveTo>
                    <a:lnTo>
                      <a:pt x="421" y="483"/>
                    </a:lnTo>
                    <a:lnTo>
                      <a:pt x="419" y="483"/>
                    </a:lnTo>
                    <a:close/>
                    <a:moveTo>
                      <a:pt x="82" y="463"/>
                    </a:moveTo>
                    <a:lnTo>
                      <a:pt x="82" y="465"/>
                    </a:lnTo>
                    <a:lnTo>
                      <a:pt x="81" y="465"/>
                    </a:lnTo>
                    <a:lnTo>
                      <a:pt x="81" y="463"/>
                    </a:lnTo>
                    <a:lnTo>
                      <a:pt x="82" y="463"/>
                    </a:lnTo>
                    <a:close/>
                    <a:moveTo>
                      <a:pt x="417" y="483"/>
                    </a:moveTo>
                    <a:lnTo>
                      <a:pt x="419" y="483"/>
                    </a:lnTo>
                    <a:lnTo>
                      <a:pt x="417" y="483"/>
                    </a:lnTo>
                    <a:lnTo>
                      <a:pt x="415" y="483"/>
                    </a:lnTo>
                    <a:lnTo>
                      <a:pt x="417" y="483"/>
                    </a:lnTo>
                    <a:close/>
                    <a:moveTo>
                      <a:pt x="413" y="483"/>
                    </a:moveTo>
                    <a:lnTo>
                      <a:pt x="411" y="483"/>
                    </a:lnTo>
                    <a:lnTo>
                      <a:pt x="413" y="483"/>
                    </a:lnTo>
                    <a:close/>
                    <a:moveTo>
                      <a:pt x="417" y="483"/>
                    </a:moveTo>
                    <a:lnTo>
                      <a:pt x="415" y="483"/>
                    </a:lnTo>
                    <a:lnTo>
                      <a:pt x="417" y="483"/>
                    </a:lnTo>
                    <a:close/>
                    <a:moveTo>
                      <a:pt x="382" y="483"/>
                    </a:moveTo>
                    <a:lnTo>
                      <a:pt x="384" y="483"/>
                    </a:lnTo>
                    <a:lnTo>
                      <a:pt x="382" y="483"/>
                    </a:lnTo>
                    <a:close/>
                    <a:moveTo>
                      <a:pt x="355" y="483"/>
                    </a:moveTo>
                    <a:lnTo>
                      <a:pt x="355" y="481"/>
                    </a:lnTo>
                    <a:lnTo>
                      <a:pt x="355" y="483"/>
                    </a:lnTo>
                    <a:close/>
                    <a:moveTo>
                      <a:pt x="96" y="467"/>
                    </a:moveTo>
                    <a:lnTo>
                      <a:pt x="96" y="465"/>
                    </a:lnTo>
                    <a:lnTo>
                      <a:pt x="94" y="465"/>
                    </a:lnTo>
                    <a:lnTo>
                      <a:pt x="96" y="465"/>
                    </a:lnTo>
                    <a:lnTo>
                      <a:pt x="96" y="467"/>
                    </a:lnTo>
                    <a:close/>
                    <a:moveTo>
                      <a:pt x="380" y="481"/>
                    </a:moveTo>
                    <a:lnTo>
                      <a:pt x="380" y="483"/>
                    </a:lnTo>
                    <a:lnTo>
                      <a:pt x="378" y="483"/>
                    </a:lnTo>
                    <a:lnTo>
                      <a:pt x="380" y="483"/>
                    </a:lnTo>
                    <a:lnTo>
                      <a:pt x="378" y="483"/>
                    </a:lnTo>
                    <a:lnTo>
                      <a:pt x="378" y="481"/>
                    </a:lnTo>
                    <a:lnTo>
                      <a:pt x="380" y="481"/>
                    </a:lnTo>
                    <a:close/>
                    <a:moveTo>
                      <a:pt x="94" y="463"/>
                    </a:moveTo>
                    <a:lnTo>
                      <a:pt x="94" y="465"/>
                    </a:lnTo>
                    <a:lnTo>
                      <a:pt x="94" y="463"/>
                    </a:lnTo>
                    <a:lnTo>
                      <a:pt x="94" y="465"/>
                    </a:lnTo>
                    <a:lnTo>
                      <a:pt x="96" y="465"/>
                    </a:lnTo>
                    <a:lnTo>
                      <a:pt x="96" y="467"/>
                    </a:lnTo>
                    <a:lnTo>
                      <a:pt x="96" y="469"/>
                    </a:lnTo>
                    <a:lnTo>
                      <a:pt x="96" y="467"/>
                    </a:lnTo>
                    <a:lnTo>
                      <a:pt x="96" y="465"/>
                    </a:lnTo>
                    <a:lnTo>
                      <a:pt x="96" y="467"/>
                    </a:lnTo>
                    <a:lnTo>
                      <a:pt x="96" y="469"/>
                    </a:lnTo>
                    <a:lnTo>
                      <a:pt x="96" y="471"/>
                    </a:lnTo>
                    <a:lnTo>
                      <a:pt x="94" y="469"/>
                    </a:lnTo>
                    <a:lnTo>
                      <a:pt x="94" y="467"/>
                    </a:lnTo>
                    <a:lnTo>
                      <a:pt x="94" y="465"/>
                    </a:lnTo>
                    <a:lnTo>
                      <a:pt x="92" y="465"/>
                    </a:lnTo>
                    <a:lnTo>
                      <a:pt x="94" y="465"/>
                    </a:lnTo>
                    <a:lnTo>
                      <a:pt x="94" y="467"/>
                    </a:lnTo>
                    <a:lnTo>
                      <a:pt x="94" y="465"/>
                    </a:lnTo>
                    <a:lnTo>
                      <a:pt x="92" y="463"/>
                    </a:lnTo>
                    <a:lnTo>
                      <a:pt x="94" y="463"/>
                    </a:lnTo>
                    <a:lnTo>
                      <a:pt x="92" y="463"/>
                    </a:lnTo>
                    <a:lnTo>
                      <a:pt x="94" y="463"/>
                    </a:lnTo>
                    <a:close/>
                    <a:moveTo>
                      <a:pt x="438" y="481"/>
                    </a:moveTo>
                    <a:lnTo>
                      <a:pt x="438" y="483"/>
                    </a:lnTo>
                    <a:lnTo>
                      <a:pt x="438" y="481"/>
                    </a:lnTo>
                    <a:lnTo>
                      <a:pt x="438" y="479"/>
                    </a:lnTo>
                    <a:lnTo>
                      <a:pt x="440" y="479"/>
                    </a:lnTo>
                    <a:lnTo>
                      <a:pt x="438" y="479"/>
                    </a:lnTo>
                    <a:lnTo>
                      <a:pt x="438" y="481"/>
                    </a:lnTo>
                    <a:close/>
                    <a:moveTo>
                      <a:pt x="442" y="479"/>
                    </a:moveTo>
                    <a:lnTo>
                      <a:pt x="440" y="479"/>
                    </a:lnTo>
                    <a:lnTo>
                      <a:pt x="442" y="479"/>
                    </a:lnTo>
                    <a:close/>
                    <a:moveTo>
                      <a:pt x="357" y="481"/>
                    </a:moveTo>
                    <a:lnTo>
                      <a:pt x="357" y="479"/>
                    </a:lnTo>
                    <a:lnTo>
                      <a:pt x="359" y="479"/>
                    </a:lnTo>
                    <a:lnTo>
                      <a:pt x="357" y="481"/>
                    </a:lnTo>
                    <a:close/>
                    <a:moveTo>
                      <a:pt x="374" y="479"/>
                    </a:moveTo>
                    <a:lnTo>
                      <a:pt x="374" y="481"/>
                    </a:lnTo>
                    <a:lnTo>
                      <a:pt x="374" y="479"/>
                    </a:lnTo>
                    <a:close/>
                    <a:moveTo>
                      <a:pt x="92" y="461"/>
                    </a:moveTo>
                    <a:lnTo>
                      <a:pt x="92" y="463"/>
                    </a:lnTo>
                    <a:lnTo>
                      <a:pt x="92" y="465"/>
                    </a:lnTo>
                    <a:lnTo>
                      <a:pt x="92" y="467"/>
                    </a:lnTo>
                    <a:lnTo>
                      <a:pt x="94" y="467"/>
                    </a:lnTo>
                    <a:lnTo>
                      <a:pt x="94" y="469"/>
                    </a:lnTo>
                    <a:lnTo>
                      <a:pt x="92" y="469"/>
                    </a:lnTo>
                    <a:lnTo>
                      <a:pt x="92" y="467"/>
                    </a:lnTo>
                    <a:lnTo>
                      <a:pt x="92" y="465"/>
                    </a:lnTo>
                    <a:lnTo>
                      <a:pt x="90" y="465"/>
                    </a:lnTo>
                    <a:lnTo>
                      <a:pt x="90" y="463"/>
                    </a:lnTo>
                    <a:lnTo>
                      <a:pt x="90" y="461"/>
                    </a:lnTo>
                    <a:lnTo>
                      <a:pt x="92" y="461"/>
                    </a:lnTo>
                    <a:close/>
                    <a:moveTo>
                      <a:pt x="88" y="461"/>
                    </a:moveTo>
                    <a:lnTo>
                      <a:pt x="88" y="463"/>
                    </a:lnTo>
                    <a:lnTo>
                      <a:pt x="86" y="465"/>
                    </a:lnTo>
                    <a:lnTo>
                      <a:pt x="86" y="463"/>
                    </a:lnTo>
                    <a:lnTo>
                      <a:pt x="86" y="461"/>
                    </a:lnTo>
                    <a:lnTo>
                      <a:pt x="88" y="461"/>
                    </a:lnTo>
                    <a:close/>
                    <a:moveTo>
                      <a:pt x="81" y="460"/>
                    </a:moveTo>
                    <a:lnTo>
                      <a:pt x="81" y="461"/>
                    </a:lnTo>
                    <a:lnTo>
                      <a:pt x="82" y="461"/>
                    </a:lnTo>
                    <a:lnTo>
                      <a:pt x="81" y="461"/>
                    </a:lnTo>
                    <a:lnTo>
                      <a:pt x="81" y="460"/>
                    </a:lnTo>
                    <a:close/>
                    <a:moveTo>
                      <a:pt x="371" y="479"/>
                    </a:moveTo>
                    <a:lnTo>
                      <a:pt x="373" y="479"/>
                    </a:lnTo>
                    <a:lnTo>
                      <a:pt x="371" y="479"/>
                    </a:lnTo>
                    <a:lnTo>
                      <a:pt x="369" y="479"/>
                    </a:lnTo>
                    <a:lnTo>
                      <a:pt x="371" y="479"/>
                    </a:lnTo>
                    <a:close/>
                    <a:moveTo>
                      <a:pt x="88" y="460"/>
                    </a:moveTo>
                    <a:lnTo>
                      <a:pt x="88" y="461"/>
                    </a:lnTo>
                    <a:lnTo>
                      <a:pt x="88" y="460"/>
                    </a:lnTo>
                    <a:close/>
                    <a:moveTo>
                      <a:pt x="86" y="461"/>
                    </a:moveTo>
                    <a:lnTo>
                      <a:pt x="84" y="463"/>
                    </a:lnTo>
                    <a:lnTo>
                      <a:pt x="86" y="463"/>
                    </a:lnTo>
                    <a:lnTo>
                      <a:pt x="86" y="465"/>
                    </a:lnTo>
                    <a:lnTo>
                      <a:pt x="84" y="465"/>
                    </a:lnTo>
                    <a:lnTo>
                      <a:pt x="84" y="467"/>
                    </a:lnTo>
                    <a:lnTo>
                      <a:pt x="84" y="469"/>
                    </a:lnTo>
                    <a:lnTo>
                      <a:pt x="82" y="469"/>
                    </a:lnTo>
                    <a:lnTo>
                      <a:pt x="82" y="471"/>
                    </a:lnTo>
                    <a:lnTo>
                      <a:pt x="82" y="469"/>
                    </a:lnTo>
                    <a:lnTo>
                      <a:pt x="82" y="467"/>
                    </a:lnTo>
                    <a:lnTo>
                      <a:pt x="84" y="467"/>
                    </a:lnTo>
                    <a:lnTo>
                      <a:pt x="84" y="465"/>
                    </a:lnTo>
                    <a:lnTo>
                      <a:pt x="84" y="463"/>
                    </a:lnTo>
                    <a:lnTo>
                      <a:pt x="84" y="461"/>
                    </a:lnTo>
                    <a:lnTo>
                      <a:pt x="86" y="461"/>
                    </a:lnTo>
                    <a:lnTo>
                      <a:pt x="86" y="460"/>
                    </a:lnTo>
                    <a:lnTo>
                      <a:pt x="88" y="460"/>
                    </a:lnTo>
                    <a:lnTo>
                      <a:pt x="88" y="461"/>
                    </a:lnTo>
                    <a:lnTo>
                      <a:pt x="86" y="461"/>
                    </a:lnTo>
                    <a:close/>
                    <a:moveTo>
                      <a:pt x="359" y="477"/>
                    </a:moveTo>
                    <a:lnTo>
                      <a:pt x="359" y="479"/>
                    </a:lnTo>
                    <a:lnTo>
                      <a:pt x="359" y="477"/>
                    </a:lnTo>
                    <a:lnTo>
                      <a:pt x="359" y="479"/>
                    </a:lnTo>
                    <a:lnTo>
                      <a:pt x="357" y="479"/>
                    </a:lnTo>
                    <a:lnTo>
                      <a:pt x="357" y="477"/>
                    </a:lnTo>
                    <a:lnTo>
                      <a:pt x="359" y="477"/>
                    </a:lnTo>
                    <a:close/>
                    <a:moveTo>
                      <a:pt x="81" y="460"/>
                    </a:moveTo>
                    <a:lnTo>
                      <a:pt x="81" y="458"/>
                    </a:lnTo>
                    <a:lnTo>
                      <a:pt x="82" y="458"/>
                    </a:lnTo>
                    <a:lnTo>
                      <a:pt x="82" y="460"/>
                    </a:lnTo>
                    <a:lnTo>
                      <a:pt x="81" y="460"/>
                    </a:lnTo>
                    <a:close/>
                    <a:moveTo>
                      <a:pt x="82" y="460"/>
                    </a:moveTo>
                    <a:lnTo>
                      <a:pt x="82" y="461"/>
                    </a:lnTo>
                    <a:lnTo>
                      <a:pt x="82" y="463"/>
                    </a:lnTo>
                    <a:lnTo>
                      <a:pt x="81" y="463"/>
                    </a:lnTo>
                    <a:lnTo>
                      <a:pt x="79" y="463"/>
                    </a:lnTo>
                    <a:lnTo>
                      <a:pt x="81" y="463"/>
                    </a:lnTo>
                    <a:lnTo>
                      <a:pt x="81" y="461"/>
                    </a:lnTo>
                    <a:lnTo>
                      <a:pt x="81" y="463"/>
                    </a:lnTo>
                    <a:lnTo>
                      <a:pt x="79" y="463"/>
                    </a:lnTo>
                    <a:lnTo>
                      <a:pt x="79" y="461"/>
                    </a:lnTo>
                    <a:lnTo>
                      <a:pt x="81" y="461"/>
                    </a:lnTo>
                    <a:lnTo>
                      <a:pt x="81" y="460"/>
                    </a:lnTo>
                    <a:lnTo>
                      <a:pt x="81" y="461"/>
                    </a:lnTo>
                    <a:lnTo>
                      <a:pt x="81" y="463"/>
                    </a:lnTo>
                    <a:lnTo>
                      <a:pt x="81" y="461"/>
                    </a:lnTo>
                    <a:lnTo>
                      <a:pt x="82" y="461"/>
                    </a:lnTo>
                    <a:lnTo>
                      <a:pt x="81" y="460"/>
                    </a:lnTo>
                    <a:lnTo>
                      <a:pt x="82" y="460"/>
                    </a:lnTo>
                    <a:lnTo>
                      <a:pt x="81" y="460"/>
                    </a:lnTo>
                    <a:lnTo>
                      <a:pt x="82" y="460"/>
                    </a:lnTo>
                    <a:lnTo>
                      <a:pt x="82" y="458"/>
                    </a:lnTo>
                    <a:lnTo>
                      <a:pt x="82" y="460"/>
                    </a:lnTo>
                    <a:close/>
                    <a:moveTo>
                      <a:pt x="96" y="461"/>
                    </a:moveTo>
                    <a:lnTo>
                      <a:pt x="98" y="461"/>
                    </a:lnTo>
                    <a:lnTo>
                      <a:pt x="100" y="461"/>
                    </a:lnTo>
                    <a:lnTo>
                      <a:pt x="100" y="463"/>
                    </a:lnTo>
                    <a:lnTo>
                      <a:pt x="100" y="465"/>
                    </a:lnTo>
                    <a:lnTo>
                      <a:pt x="100" y="467"/>
                    </a:lnTo>
                    <a:lnTo>
                      <a:pt x="98" y="467"/>
                    </a:lnTo>
                    <a:lnTo>
                      <a:pt x="98" y="465"/>
                    </a:lnTo>
                    <a:lnTo>
                      <a:pt x="96" y="463"/>
                    </a:lnTo>
                    <a:lnTo>
                      <a:pt x="96" y="461"/>
                    </a:lnTo>
                    <a:lnTo>
                      <a:pt x="96" y="460"/>
                    </a:lnTo>
                    <a:lnTo>
                      <a:pt x="96" y="461"/>
                    </a:lnTo>
                    <a:close/>
                    <a:moveTo>
                      <a:pt x="79" y="460"/>
                    </a:moveTo>
                    <a:lnTo>
                      <a:pt x="77" y="458"/>
                    </a:lnTo>
                    <a:lnTo>
                      <a:pt x="79" y="458"/>
                    </a:lnTo>
                    <a:lnTo>
                      <a:pt x="79" y="460"/>
                    </a:lnTo>
                    <a:close/>
                    <a:moveTo>
                      <a:pt x="81" y="458"/>
                    </a:moveTo>
                    <a:lnTo>
                      <a:pt x="81" y="460"/>
                    </a:lnTo>
                    <a:lnTo>
                      <a:pt x="81" y="458"/>
                    </a:lnTo>
                    <a:lnTo>
                      <a:pt x="81" y="460"/>
                    </a:lnTo>
                    <a:lnTo>
                      <a:pt x="81" y="461"/>
                    </a:lnTo>
                    <a:lnTo>
                      <a:pt x="79" y="461"/>
                    </a:lnTo>
                    <a:lnTo>
                      <a:pt x="79" y="460"/>
                    </a:lnTo>
                    <a:lnTo>
                      <a:pt x="81" y="460"/>
                    </a:lnTo>
                    <a:lnTo>
                      <a:pt x="81" y="458"/>
                    </a:lnTo>
                    <a:close/>
                    <a:moveTo>
                      <a:pt x="82" y="458"/>
                    </a:moveTo>
                    <a:lnTo>
                      <a:pt x="81" y="458"/>
                    </a:lnTo>
                    <a:lnTo>
                      <a:pt x="82" y="458"/>
                    </a:lnTo>
                    <a:close/>
                    <a:moveTo>
                      <a:pt x="92" y="460"/>
                    </a:moveTo>
                    <a:lnTo>
                      <a:pt x="92" y="461"/>
                    </a:lnTo>
                    <a:lnTo>
                      <a:pt x="94" y="463"/>
                    </a:lnTo>
                    <a:lnTo>
                      <a:pt x="92" y="463"/>
                    </a:lnTo>
                    <a:lnTo>
                      <a:pt x="92" y="461"/>
                    </a:lnTo>
                    <a:lnTo>
                      <a:pt x="92" y="460"/>
                    </a:lnTo>
                    <a:lnTo>
                      <a:pt x="92" y="461"/>
                    </a:lnTo>
                    <a:lnTo>
                      <a:pt x="92" y="460"/>
                    </a:lnTo>
                    <a:lnTo>
                      <a:pt x="90" y="460"/>
                    </a:lnTo>
                    <a:lnTo>
                      <a:pt x="92" y="460"/>
                    </a:lnTo>
                    <a:lnTo>
                      <a:pt x="92" y="458"/>
                    </a:lnTo>
                    <a:lnTo>
                      <a:pt x="92" y="460"/>
                    </a:lnTo>
                    <a:close/>
                    <a:moveTo>
                      <a:pt x="81" y="458"/>
                    </a:moveTo>
                    <a:lnTo>
                      <a:pt x="79" y="458"/>
                    </a:lnTo>
                    <a:lnTo>
                      <a:pt x="81" y="458"/>
                    </a:lnTo>
                    <a:close/>
                    <a:moveTo>
                      <a:pt x="77" y="460"/>
                    </a:moveTo>
                    <a:lnTo>
                      <a:pt x="77" y="458"/>
                    </a:lnTo>
                    <a:lnTo>
                      <a:pt x="77" y="456"/>
                    </a:lnTo>
                    <a:lnTo>
                      <a:pt x="77" y="458"/>
                    </a:lnTo>
                    <a:lnTo>
                      <a:pt x="79" y="458"/>
                    </a:lnTo>
                    <a:lnTo>
                      <a:pt x="77" y="460"/>
                    </a:lnTo>
                    <a:close/>
                    <a:moveTo>
                      <a:pt x="84" y="458"/>
                    </a:moveTo>
                    <a:lnTo>
                      <a:pt x="86" y="458"/>
                    </a:lnTo>
                    <a:lnTo>
                      <a:pt x="86" y="460"/>
                    </a:lnTo>
                    <a:lnTo>
                      <a:pt x="84" y="458"/>
                    </a:lnTo>
                    <a:lnTo>
                      <a:pt x="84" y="460"/>
                    </a:lnTo>
                    <a:lnTo>
                      <a:pt x="86" y="460"/>
                    </a:lnTo>
                    <a:lnTo>
                      <a:pt x="84" y="460"/>
                    </a:lnTo>
                    <a:lnTo>
                      <a:pt x="84" y="461"/>
                    </a:lnTo>
                    <a:lnTo>
                      <a:pt x="84" y="460"/>
                    </a:lnTo>
                    <a:lnTo>
                      <a:pt x="84" y="458"/>
                    </a:lnTo>
                    <a:close/>
                    <a:moveTo>
                      <a:pt x="444" y="473"/>
                    </a:moveTo>
                    <a:lnTo>
                      <a:pt x="444" y="475"/>
                    </a:lnTo>
                    <a:lnTo>
                      <a:pt x="444" y="473"/>
                    </a:lnTo>
                    <a:lnTo>
                      <a:pt x="444" y="475"/>
                    </a:lnTo>
                    <a:lnTo>
                      <a:pt x="442" y="475"/>
                    </a:lnTo>
                    <a:lnTo>
                      <a:pt x="442" y="473"/>
                    </a:lnTo>
                    <a:lnTo>
                      <a:pt x="444" y="473"/>
                    </a:lnTo>
                    <a:close/>
                    <a:moveTo>
                      <a:pt x="542" y="467"/>
                    </a:moveTo>
                    <a:lnTo>
                      <a:pt x="542" y="465"/>
                    </a:lnTo>
                    <a:lnTo>
                      <a:pt x="542" y="467"/>
                    </a:lnTo>
                    <a:close/>
                    <a:moveTo>
                      <a:pt x="442" y="469"/>
                    </a:moveTo>
                    <a:lnTo>
                      <a:pt x="440" y="469"/>
                    </a:lnTo>
                    <a:lnTo>
                      <a:pt x="440" y="467"/>
                    </a:lnTo>
                    <a:lnTo>
                      <a:pt x="442" y="467"/>
                    </a:lnTo>
                    <a:lnTo>
                      <a:pt x="442" y="469"/>
                    </a:lnTo>
                    <a:lnTo>
                      <a:pt x="440" y="469"/>
                    </a:lnTo>
                    <a:lnTo>
                      <a:pt x="442" y="467"/>
                    </a:lnTo>
                    <a:lnTo>
                      <a:pt x="442" y="469"/>
                    </a:lnTo>
                    <a:close/>
                    <a:moveTo>
                      <a:pt x="459" y="463"/>
                    </a:moveTo>
                    <a:lnTo>
                      <a:pt x="459" y="465"/>
                    </a:lnTo>
                    <a:lnTo>
                      <a:pt x="459" y="463"/>
                    </a:lnTo>
                    <a:lnTo>
                      <a:pt x="457" y="463"/>
                    </a:lnTo>
                    <a:lnTo>
                      <a:pt x="459" y="463"/>
                    </a:lnTo>
                    <a:close/>
                    <a:moveTo>
                      <a:pt x="449" y="463"/>
                    </a:moveTo>
                    <a:lnTo>
                      <a:pt x="448" y="463"/>
                    </a:lnTo>
                    <a:lnTo>
                      <a:pt x="449" y="463"/>
                    </a:lnTo>
                    <a:close/>
                    <a:moveTo>
                      <a:pt x="461" y="465"/>
                    </a:moveTo>
                    <a:lnTo>
                      <a:pt x="459" y="465"/>
                    </a:lnTo>
                    <a:lnTo>
                      <a:pt x="461" y="465"/>
                    </a:lnTo>
                    <a:lnTo>
                      <a:pt x="461" y="463"/>
                    </a:lnTo>
                    <a:lnTo>
                      <a:pt x="463" y="463"/>
                    </a:lnTo>
                    <a:lnTo>
                      <a:pt x="461" y="465"/>
                    </a:lnTo>
                    <a:close/>
                    <a:moveTo>
                      <a:pt x="442" y="465"/>
                    </a:moveTo>
                    <a:lnTo>
                      <a:pt x="440" y="463"/>
                    </a:lnTo>
                    <a:lnTo>
                      <a:pt x="442" y="463"/>
                    </a:lnTo>
                    <a:lnTo>
                      <a:pt x="442" y="465"/>
                    </a:lnTo>
                    <a:close/>
                    <a:moveTo>
                      <a:pt x="484" y="460"/>
                    </a:moveTo>
                    <a:lnTo>
                      <a:pt x="484" y="461"/>
                    </a:lnTo>
                    <a:lnTo>
                      <a:pt x="486" y="461"/>
                    </a:lnTo>
                    <a:lnTo>
                      <a:pt x="484" y="461"/>
                    </a:lnTo>
                    <a:lnTo>
                      <a:pt x="486" y="461"/>
                    </a:lnTo>
                    <a:lnTo>
                      <a:pt x="484" y="461"/>
                    </a:lnTo>
                    <a:lnTo>
                      <a:pt x="484" y="460"/>
                    </a:lnTo>
                    <a:close/>
                    <a:moveTo>
                      <a:pt x="469" y="460"/>
                    </a:moveTo>
                    <a:lnTo>
                      <a:pt x="471" y="460"/>
                    </a:lnTo>
                    <a:lnTo>
                      <a:pt x="469" y="460"/>
                    </a:lnTo>
                    <a:lnTo>
                      <a:pt x="471" y="460"/>
                    </a:lnTo>
                    <a:lnTo>
                      <a:pt x="469" y="460"/>
                    </a:lnTo>
                    <a:close/>
                    <a:moveTo>
                      <a:pt x="484" y="460"/>
                    </a:moveTo>
                    <a:lnTo>
                      <a:pt x="482" y="458"/>
                    </a:lnTo>
                    <a:lnTo>
                      <a:pt x="484" y="460"/>
                    </a:lnTo>
                    <a:close/>
                    <a:moveTo>
                      <a:pt x="471" y="458"/>
                    </a:moveTo>
                    <a:lnTo>
                      <a:pt x="471" y="460"/>
                    </a:lnTo>
                    <a:lnTo>
                      <a:pt x="471" y="458"/>
                    </a:lnTo>
                    <a:close/>
                    <a:moveTo>
                      <a:pt x="472" y="456"/>
                    </a:moveTo>
                    <a:lnTo>
                      <a:pt x="472" y="454"/>
                    </a:lnTo>
                    <a:lnTo>
                      <a:pt x="474" y="454"/>
                    </a:lnTo>
                    <a:lnTo>
                      <a:pt x="474" y="456"/>
                    </a:lnTo>
                    <a:lnTo>
                      <a:pt x="472" y="456"/>
                    </a:lnTo>
                    <a:close/>
                    <a:moveTo>
                      <a:pt x="474" y="448"/>
                    </a:moveTo>
                    <a:lnTo>
                      <a:pt x="474" y="450"/>
                    </a:lnTo>
                    <a:lnTo>
                      <a:pt x="474" y="448"/>
                    </a:lnTo>
                    <a:close/>
                    <a:moveTo>
                      <a:pt x="474" y="446"/>
                    </a:moveTo>
                    <a:lnTo>
                      <a:pt x="474" y="448"/>
                    </a:lnTo>
                    <a:lnTo>
                      <a:pt x="474" y="446"/>
                    </a:lnTo>
                    <a:close/>
                    <a:moveTo>
                      <a:pt x="474" y="448"/>
                    </a:moveTo>
                    <a:lnTo>
                      <a:pt x="474" y="446"/>
                    </a:lnTo>
                    <a:lnTo>
                      <a:pt x="476" y="446"/>
                    </a:lnTo>
                    <a:lnTo>
                      <a:pt x="474" y="448"/>
                    </a:lnTo>
                    <a:close/>
                    <a:moveTo>
                      <a:pt x="472" y="444"/>
                    </a:moveTo>
                    <a:lnTo>
                      <a:pt x="472" y="442"/>
                    </a:lnTo>
                    <a:lnTo>
                      <a:pt x="472" y="444"/>
                    </a:lnTo>
                    <a:close/>
                    <a:moveTo>
                      <a:pt x="480" y="438"/>
                    </a:moveTo>
                    <a:lnTo>
                      <a:pt x="480" y="436"/>
                    </a:lnTo>
                    <a:lnTo>
                      <a:pt x="482" y="436"/>
                    </a:lnTo>
                    <a:lnTo>
                      <a:pt x="480" y="438"/>
                    </a:lnTo>
                    <a:close/>
                    <a:moveTo>
                      <a:pt x="544" y="435"/>
                    </a:moveTo>
                    <a:lnTo>
                      <a:pt x="542" y="433"/>
                    </a:lnTo>
                    <a:lnTo>
                      <a:pt x="544" y="433"/>
                    </a:lnTo>
                    <a:lnTo>
                      <a:pt x="544" y="435"/>
                    </a:lnTo>
                    <a:close/>
                    <a:moveTo>
                      <a:pt x="486" y="435"/>
                    </a:moveTo>
                    <a:lnTo>
                      <a:pt x="484" y="435"/>
                    </a:lnTo>
                    <a:lnTo>
                      <a:pt x="484" y="436"/>
                    </a:lnTo>
                    <a:lnTo>
                      <a:pt x="484" y="435"/>
                    </a:lnTo>
                    <a:lnTo>
                      <a:pt x="486" y="435"/>
                    </a:lnTo>
                    <a:close/>
                    <a:moveTo>
                      <a:pt x="542" y="433"/>
                    </a:moveTo>
                    <a:lnTo>
                      <a:pt x="542" y="431"/>
                    </a:lnTo>
                    <a:lnTo>
                      <a:pt x="542" y="433"/>
                    </a:lnTo>
                    <a:close/>
                    <a:moveTo>
                      <a:pt x="542" y="433"/>
                    </a:moveTo>
                    <a:lnTo>
                      <a:pt x="540" y="431"/>
                    </a:lnTo>
                    <a:lnTo>
                      <a:pt x="542" y="433"/>
                    </a:lnTo>
                    <a:lnTo>
                      <a:pt x="540" y="431"/>
                    </a:lnTo>
                    <a:lnTo>
                      <a:pt x="542" y="431"/>
                    </a:lnTo>
                    <a:lnTo>
                      <a:pt x="542" y="433"/>
                    </a:lnTo>
                    <a:close/>
                    <a:moveTo>
                      <a:pt x="488" y="433"/>
                    </a:moveTo>
                    <a:lnTo>
                      <a:pt x="486" y="435"/>
                    </a:lnTo>
                    <a:lnTo>
                      <a:pt x="486" y="433"/>
                    </a:lnTo>
                    <a:lnTo>
                      <a:pt x="488" y="433"/>
                    </a:lnTo>
                    <a:close/>
                    <a:moveTo>
                      <a:pt x="494" y="433"/>
                    </a:moveTo>
                    <a:lnTo>
                      <a:pt x="496" y="433"/>
                    </a:lnTo>
                    <a:lnTo>
                      <a:pt x="494" y="433"/>
                    </a:lnTo>
                    <a:close/>
                    <a:moveTo>
                      <a:pt x="542" y="431"/>
                    </a:moveTo>
                    <a:lnTo>
                      <a:pt x="540" y="429"/>
                    </a:lnTo>
                    <a:lnTo>
                      <a:pt x="542" y="429"/>
                    </a:lnTo>
                    <a:lnTo>
                      <a:pt x="542" y="431"/>
                    </a:lnTo>
                    <a:close/>
                    <a:moveTo>
                      <a:pt x="542" y="429"/>
                    </a:moveTo>
                    <a:lnTo>
                      <a:pt x="542" y="431"/>
                    </a:lnTo>
                    <a:lnTo>
                      <a:pt x="542" y="429"/>
                    </a:lnTo>
                    <a:close/>
                    <a:moveTo>
                      <a:pt x="542" y="429"/>
                    </a:moveTo>
                    <a:lnTo>
                      <a:pt x="540" y="429"/>
                    </a:lnTo>
                    <a:lnTo>
                      <a:pt x="540" y="427"/>
                    </a:lnTo>
                    <a:lnTo>
                      <a:pt x="542" y="427"/>
                    </a:lnTo>
                    <a:lnTo>
                      <a:pt x="542" y="429"/>
                    </a:lnTo>
                    <a:close/>
                    <a:moveTo>
                      <a:pt x="497" y="431"/>
                    </a:moveTo>
                    <a:lnTo>
                      <a:pt x="496" y="431"/>
                    </a:lnTo>
                    <a:lnTo>
                      <a:pt x="497" y="431"/>
                    </a:lnTo>
                    <a:lnTo>
                      <a:pt x="499" y="431"/>
                    </a:lnTo>
                    <a:lnTo>
                      <a:pt x="497" y="431"/>
                    </a:lnTo>
                    <a:close/>
                    <a:moveTo>
                      <a:pt x="540" y="429"/>
                    </a:moveTo>
                    <a:lnTo>
                      <a:pt x="540" y="427"/>
                    </a:lnTo>
                    <a:lnTo>
                      <a:pt x="540" y="429"/>
                    </a:lnTo>
                    <a:close/>
                    <a:moveTo>
                      <a:pt x="503" y="429"/>
                    </a:moveTo>
                    <a:lnTo>
                      <a:pt x="501" y="429"/>
                    </a:lnTo>
                    <a:lnTo>
                      <a:pt x="503" y="429"/>
                    </a:lnTo>
                    <a:close/>
                    <a:moveTo>
                      <a:pt x="509" y="429"/>
                    </a:moveTo>
                    <a:lnTo>
                      <a:pt x="507" y="429"/>
                    </a:lnTo>
                    <a:lnTo>
                      <a:pt x="509" y="429"/>
                    </a:lnTo>
                    <a:close/>
                    <a:moveTo>
                      <a:pt x="509" y="429"/>
                    </a:moveTo>
                    <a:lnTo>
                      <a:pt x="507" y="429"/>
                    </a:lnTo>
                    <a:lnTo>
                      <a:pt x="509" y="429"/>
                    </a:lnTo>
                    <a:close/>
                    <a:moveTo>
                      <a:pt x="257" y="431"/>
                    </a:moveTo>
                    <a:lnTo>
                      <a:pt x="257" y="429"/>
                    </a:lnTo>
                    <a:lnTo>
                      <a:pt x="257" y="431"/>
                    </a:lnTo>
                    <a:close/>
                    <a:moveTo>
                      <a:pt x="540" y="427"/>
                    </a:moveTo>
                    <a:lnTo>
                      <a:pt x="538" y="427"/>
                    </a:lnTo>
                    <a:lnTo>
                      <a:pt x="538" y="425"/>
                    </a:lnTo>
                    <a:lnTo>
                      <a:pt x="540" y="425"/>
                    </a:lnTo>
                    <a:lnTo>
                      <a:pt x="540" y="427"/>
                    </a:lnTo>
                    <a:close/>
                    <a:moveTo>
                      <a:pt x="542" y="425"/>
                    </a:moveTo>
                    <a:lnTo>
                      <a:pt x="542" y="427"/>
                    </a:lnTo>
                    <a:lnTo>
                      <a:pt x="544" y="427"/>
                    </a:lnTo>
                    <a:lnTo>
                      <a:pt x="544" y="429"/>
                    </a:lnTo>
                    <a:lnTo>
                      <a:pt x="542" y="429"/>
                    </a:lnTo>
                    <a:lnTo>
                      <a:pt x="542" y="427"/>
                    </a:lnTo>
                    <a:lnTo>
                      <a:pt x="540" y="427"/>
                    </a:lnTo>
                    <a:lnTo>
                      <a:pt x="540" y="425"/>
                    </a:lnTo>
                    <a:lnTo>
                      <a:pt x="542" y="425"/>
                    </a:lnTo>
                    <a:close/>
                    <a:moveTo>
                      <a:pt x="519" y="427"/>
                    </a:moveTo>
                    <a:lnTo>
                      <a:pt x="517" y="427"/>
                    </a:lnTo>
                    <a:lnTo>
                      <a:pt x="519" y="427"/>
                    </a:lnTo>
                    <a:close/>
                    <a:moveTo>
                      <a:pt x="517" y="425"/>
                    </a:moveTo>
                    <a:lnTo>
                      <a:pt x="517" y="423"/>
                    </a:lnTo>
                    <a:lnTo>
                      <a:pt x="517" y="425"/>
                    </a:lnTo>
                    <a:lnTo>
                      <a:pt x="517" y="423"/>
                    </a:lnTo>
                    <a:lnTo>
                      <a:pt x="519" y="423"/>
                    </a:lnTo>
                    <a:lnTo>
                      <a:pt x="521" y="423"/>
                    </a:lnTo>
                    <a:lnTo>
                      <a:pt x="521" y="425"/>
                    </a:lnTo>
                    <a:lnTo>
                      <a:pt x="519" y="425"/>
                    </a:lnTo>
                    <a:lnTo>
                      <a:pt x="519" y="427"/>
                    </a:lnTo>
                    <a:lnTo>
                      <a:pt x="517" y="427"/>
                    </a:lnTo>
                    <a:lnTo>
                      <a:pt x="515" y="427"/>
                    </a:lnTo>
                    <a:lnTo>
                      <a:pt x="517" y="427"/>
                    </a:lnTo>
                    <a:lnTo>
                      <a:pt x="515" y="427"/>
                    </a:lnTo>
                    <a:lnTo>
                      <a:pt x="513" y="427"/>
                    </a:lnTo>
                    <a:lnTo>
                      <a:pt x="513" y="429"/>
                    </a:lnTo>
                    <a:lnTo>
                      <a:pt x="511" y="429"/>
                    </a:lnTo>
                    <a:lnTo>
                      <a:pt x="513" y="429"/>
                    </a:lnTo>
                    <a:lnTo>
                      <a:pt x="513" y="427"/>
                    </a:lnTo>
                    <a:lnTo>
                      <a:pt x="513" y="429"/>
                    </a:lnTo>
                    <a:lnTo>
                      <a:pt x="511" y="429"/>
                    </a:lnTo>
                    <a:lnTo>
                      <a:pt x="509" y="429"/>
                    </a:lnTo>
                    <a:lnTo>
                      <a:pt x="507" y="429"/>
                    </a:lnTo>
                    <a:lnTo>
                      <a:pt x="505" y="429"/>
                    </a:lnTo>
                    <a:lnTo>
                      <a:pt x="501" y="429"/>
                    </a:lnTo>
                    <a:lnTo>
                      <a:pt x="499" y="429"/>
                    </a:lnTo>
                    <a:lnTo>
                      <a:pt x="499" y="431"/>
                    </a:lnTo>
                    <a:lnTo>
                      <a:pt x="497" y="431"/>
                    </a:lnTo>
                    <a:lnTo>
                      <a:pt x="497" y="429"/>
                    </a:lnTo>
                    <a:lnTo>
                      <a:pt x="499" y="429"/>
                    </a:lnTo>
                    <a:lnTo>
                      <a:pt x="499" y="427"/>
                    </a:lnTo>
                    <a:lnTo>
                      <a:pt x="501" y="427"/>
                    </a:lnTo>
                    <a:lnTo>
                      <a:pt x="501" y="429"/>
                    </a:lnTo>
                    <a:lnTo>
                      <a:pt x="503" y="429"/>
                    </a:lnTo>
                    <a:lnTo>
                      <a:pt x="503" y="427"/>
                    </a:lnTo>
                    <a:lnTo>
                      <a:pt x="503" y="425"/>
                    </a:lnTo>
                    <a:lnTo>
                      <a:pt x="505" y="425"/>
                    </a:lnTo>
                    <a:lnTo>
                      <a:pt x="507" y="425"/>
                    </a:lnTo>
                    <a:lnTo>
                      <a:pt x="509" y="425"/>
                    </a:lnTo>
                    <a:lnTo>
                      <a:pt x="511" y="425"/>
                    </a:lnTo>
                    <a:lnTo>
                      <a:pt x="513" y="425"/>
                    </a:lnTo>
                    <a:lnTo>
                      <a:pt x="515" y="425"/>
                    </a:lnTo>
                    <a:lnTo>
                      <a:pt x="513" y="423"/>
                    </a:lnTo>
                    <a:lnTo>
                      <a:pt x="515" y="423"/>
                    </a:lnTo>
                    <a:lnTo>
                      <a:pt x="517" y="423"/>
                    </a:lnTo>
                    <a:lnTo>
                      <a:pt x="517" y="425"/>
                    </a:lnTo>
                    <a:close/>
                    <a:moveTo>
                      <a:pt x="534" y="423"/>
                    </a:moveTo>
                    <a:lnTo>
                      <a:pt x="534" y="421"/>
                    </a:lnTo>
                    <a:lnTo>
                      <a:pt x="534" y="423"/>
                    </a:lnTo>
                    <a:close/>
                    <a:moveTo>
                      <a:pt x="522" y="423"/>
                    </a:moveTo>
                    <a:lnTo>
                      <a:pt x="522" y="425"/>
                    </a:lnTo>
                    <a:lnTo>
                      <a:pt x="522" y="427"/>
                    </a:lnTo>
                    <a:lnTo>
                      <a:pt x="521" y="427"/>
                    </a:lnTo>
                    <a:lnTo>
                      <a:pt x="519" y="427"/>
                    </a:lnTo>
                    <a:lnTo>
                      <a:pt x="517" y="427"/>
                    </a:lnTo>
                    <a:lnTo>
                      <a:pt x="519" y="427"/>
                    </a:lnTo>
                    <a:lnTo>
                      <a:pt x="521" y="425"/>
                    </a:lnTo>
                    <a:lnTo>
                      <a:pt x="521" y="423"/>
                    </a:lnTo>
                    <a:lnTo>
                      <a:pt x="521" y="425"/>
                    </a:lnTo>
                    <a:lnTo>
                      <a:pt x="521" y="423"/>
                    </a:lnTo>
                    <a:lnTo>
                      <a:pt x="522" y="423"/>
                    </a:lnTo>
                    <a:close/>
                    <a:moveTo>
                      <a:pt x="534" y="423"/>
                    </a:moveTo>
                    <a:lnTo>
                      <a:pt x="534" y="421"/>
                    </a:lnTo>
                    <a:lnTo>
                      <a:pt x="534" y="423"/>
                    </a:lnTo>
                    <a:close/>
                    <a:moveTo>
                      <a:pt x="532" y="419"/>
                    </a:moveTo>
                    <a:lnTo>
                      <a:pt x="532" y="421"/>
                    </a:lnTo>
                    <a:lnTo>
                      <a:pt x="532" y="423"/>
                    </a:lnTo>
                    <a:lnTo>
                      <a:pt x="530" y="423"/>
                    </a:lnTo>
                    <a:lnTo>
                      <a:pt x="530" y="421"/>
                    </a:lnTo>
                    <a:lnTo>
                      <a:pt x="530" y="423"/>
                    </a:lnTo>
                    <a:lnTo>
                      <a:pt x="530" y="421"/>
                    </a:lnTo>
                    <a:lnTo>
                      <a:pt x="528" y="421"/>
                    </a:lnTo>
                    <a:lnTo>
                      <a:pt x="528" y="419"/>
                    </a:lnTo>
                    <a:lnTo>
                      <a:pt x="528" y="421"/>
                    </a:lnTo>
                    <a:lnTo>
                      <a:pt x="528" y="419"/>
                    </a:lnTo>
                    <a:lnTo>
                      <a:pt x="530" y="419"/>
                    </a:lnTo>
                    <a:lnTo>
                      <a:pt x="532" y="419"/>
                    </a:lnTo>
                    <a:close/>
                    <a:moveTo>
                      <a:pt x="532" y="419"/>
                    </a:moveTo>
                    <a:lnTo>
                      <a:pt x="530" y="419"/>
                    </a:lnTo>
                    <a:lnTo>
                      <a:pt x="528" y="419"/>
                    </a:lnTo>
                    <a:lnTo>
                      <a:pt x="530" y="419"/>
                    </a:lnTo>
                    <a:lnTo>
                      <a:pt x="530" y="417"/>
                    </a:lnTo>
                    <a:lnTo>
                      <a:pt x="530" y="419"/>
                    </a:lnTo>
                    <a:lnTo>
                      <a:pt x="530" y="417"/>
                    </a:lnTo>
                    <a:lnTo>
                      <a:pt x="532" y="417"/>
                    </a:lnTo>
                    <a:lnTo>
                      <a:pt x="532" y="419"/>
                    </a:lnTo>
                    <a:close/>
                    <a:moveTo>
                      <a:pt x="259" y="421"/>
                    </a:moveTo>
                    <a:lnTo>
                      <a:pt x="259" y="419"/>
                    </a:lnTo>
                    <a:lnTo>
                      <a:pt x="261" y="419"/>
                    </a:lnTo>
                    <a:lnTo>
                      <a:pt x="259" y="421"/>
                    </a:lnTo>
                    <a:lnTo>
                      <a:pt x="259" y="419"/>
                    </a:lnTo>
                    <a:lnTo>
                      <a:pt x="259" y="421"/>
                    </a:lnTo>
                    <a:close/>
                    <a:moveTo>
                      <a:pt x="261" y="419"/>
                    </a:moveTo>
                    <a:lnTo>
                      <a:pt x="259" y="419"/>
                    </a:lnTo>
                    <a:lnTo>
                      <a:pt x="259" y="421"/>
                    </a:lnTo>
                    <a:lnTo>
                      <a:pt x="257" y="423"/>
                    </a:lnTo>
                    <a:lnTo>
                      <a:pt x="259" y="421"/>
                    </a:lnTo>
                    <a:lnTo>
                      <a:pt x="257" y="421"/>
                    </a:lnTo>
                    <a:lnTo>
                      <a:pt x="257" y="419"/>
                    </a:lnTo>
                    <a:lnTo>
                      <a:pt x="259" y="419"/>
                    </a:lnTo>
                    <a:lnTo>
                      <a:pt x="261" y="419"/>
                    </a:lnTo>
                    <a:lnTo>
                      <a:pt x="261" y="417"/>
                    </a:lnTo>
                    <a:lnTo>
                      <a:pt x="261" y="419"/>
                    </a:lnTo>
                    <a:close/>
                    <a:moveTo>
                      <a:pt x="261" y="417"/>
                    </a:moveTo>
                    <a:lnTo>
                      <a:pt x="261" y="415"/>
                    </a:lnTo>
                    <a:lnTo>
                      <a:pt x="261" y="417"/>
                    </a:lnTo>
                    <a:close/>
                    <a:moveTo>
                      <a:pt x="538" y="413"/>
                    </a:moveTo>
                    <a:lnTo>
                      <a:pt x="536" y="413"/>
                    </a:lnTo>
                    <a:lnTo>
                      <a:pt x="538" y="413"/>
                    </a:lnTo>
                    <a:close/>
                    <a:moveTo>
                      <a:pt x="263" y="413"/>
                    </a:moveTo>
                    <a:lnTo>
                      <a:pt x="263" y="415"/>
                    </a:lnTo>
                    <a:lnTo>
                      <a:pt x="261" y="417"/>
                    </a:lnTo>
                    <a:lnTo>
                      <a:pt x="261" y="419"/>
                    </a:lnTo>
                    <a:lnTo>
                      <a:pt x="261" y="417"/>
                    </a:lnTo>
                    <a:lnTo>
                      <a:pt x="261" y="415"/>
                    </a:lnTo>
                    <a:lnTo>
                      <a:pt x="263" y="413"/>
                    </a:lnTo>
                    <a:close/>
                    <a:moveTo>
                      <a:pt x="545" y="404"/>
                    </a:moveTo>
                    <a:lnTo>
                      <a:pt x="545" y="406"/>
                    </a:lnTo>
                    <a:lnTo>
                      <a:pt x="544" y="406"/>
                    </a:lnTo>
                    <a:lnTo>
                      <a:pt x="545" y="404"/>
                    </a:lnTo>
                    <a:close/>
                    <a:moveTo>
                      <a:pt x="549" y="400"/>
                    </a:moveTo>
                    <a:lnTo>
                      <a:pt x="549" y="398"/>
                    </a:lnTo>
                    <a:lnTo>
                      <a:pt x="549" y="400"/>
                    </a:lnTo>
                    <a:lnTo>
                      <a:pt x="547" y="400"/>
                    </a:lnTo>
                    <a:lnTo>
                      <a:pt x="549" y="398"/>
                    </a:lnTo>
                    <a:lnTo>
                      <a:pt x="549" y="400"/>
                    </a:lnTo>
                    <a:close/>
                    <a:moveTo>
                      <a:pt x="553" y="398"/>
                    </a:moveTo>
                    <a:lnTo>
                      <a:pt x="551" y="398"/>
                    </a:lnTo>
                    <a:lnTo>
                      <a:pt x="551" y="400"/>
                    </a:lnTo>
                    <a:lnTo>
                      <a:pt x="549" y="400"/>
                    </a:lnTo>
                    <a:lnTo>
                      <a:pt x="551" y="398"/>
                    </a:lnTo>
                    <a:lnTo>
                      <a:pt x="553" y="396"/>
                    </a:lnTo>
                    <a:lnTo>
                      <a:pt x="553" y="398"/>
                    </a:lnTo>
                    <a:close/>
                    <a:moveTo>
                      <a:pt x="161" y="394"/>
                    </a:moveTo>
                    <a:lnTo>
                      <a:pt x="163" y="394"/>
                    </a:lnTo>
                    <a:lnTo>
                      <a:pt x="161" y="394"/>
                    </a:lnTo>
                    <a:close/>
                    <a:moveTo>
                      <a:pt x="165" y="392"/>
                    </a:moveTo>
                    <a:lnTo>
                      <a:pt x="163" y="394"/>
                    </a:lnTo>
                    <a:lnTo>
                      <a:pt x="163" y="392"/>
                    </a:lnTo>
                    <a:lnTo>
                      <a:pt x="165" y="392"/>
                    </a:lnTo>
                    <a:close/>
                    <a:moveTo>
                      <a:pt x="59" y="381"/>
                    </a:moveTo>
                    <a:lnTo>
                      <a:pt x="58" y="381"/>
                    </a:lnTo>
                    <a:lnTo>
                      <a:pt x="59" y="381"/>
                    </a:lnTo>
                    <a:close/>
                    <a:moveTo>
                      <a:pt x="88" y="383"/>
                    </a:moveTo>
                    <a:lnTo>
                      <a:pt x="88" y="385"/>
                    </a:lnTo>
                    <a:lnTo>
                      <a:pt x="90" y="385"/>
                    </a:lnTo>
                    <a:lnTo>
                      <a:pt x="88" y="385"/>
                    </a:lnTo>
                    <a:lnTo>
                      <a:pt x="86" y="385"/>
                    </a:lnTo>
                    <a:lnTo>
                      <a:pt x="88" y="385"/>
                    </a:lnTo>
                    <a:lnTo>
                      <a:pt x="86" y="385"/>
                    </a:lnTo>
                    <a:lnTo>
                      <a:pt x="88" y="385"/>
                    </a:lnTo>
                    <a:lnTo>
                      <a:pt x="88" y="383"/>
                    </a:lnTo>
                    <a:close/>
                    <a:moveTo>
                      <a:pt x="553" y="392"/>
                    </a:moveTo>
                    <a:lnTo>
                      <a:pt x="555" y="390"/>
                    </a:lnTo>
                    <a:lnTo>
                      <a:pt x="553" y="392"/>
                    </a:lnTo>
                    <a:lnTo>
                      <a:pt x="553" y="394"/>
                    </a:lnTo>
                    <a:lnTo>
                      <a:pt x="553" y="396"/>
                    </a:lnTo>
                    <a:lnTo>
                      <a:pt x="553" y="394"/>
                    </a:lnTo>
                    <a:lnTo>
                      <a:pt x="551" y="394"/>
                    </a:lnTo>
                    <a:lnTo>
                      <a:pt x="551" y="392"/>
                    </a:lnTo>
                    <a:lnTo>
                      <a:pt x="551" y="390"/>
                    </a:lnTo>
                    <a:lnTo>
                      <a:pt x="553" y="390"/>
                    </a:lnTo>
                    <a:lnTo>
                      <a:pt x="553" y="392"/>
                    </a:lnTo>
                    <a:close/>
                    <a:moveTo>
                      <a:pt x="4" y="367"/>
                    </a:moveTo>
                    <a:lnTo>
                      <a:pt x="4" y="369"/>
                    </a:lnTo>
                    <a:lnTo>
                      <a:pt x="2" y="369"/>
                    </a:lnTo>
                    <a:lnTo>
                      <a:pt x="0" y="369"/>
                    </a:lnTo>
                    <a:lnTo>
                      <a:pt x="0" y="367"/>
                    </a:lnTo>
                    <a:lnTo>
                      <a:pt x="2" y="367"/>
                    </a:lnTo>
                    <a:lnTo>
                      <a:pt x="0" y="367"/>
                    </a:lnTo>
                    <a:lnTo>
                      <a:pt x="2" y="367"/>
                    </a:lnTo>
                    <a:lnTo>
                      <a:pt x="4" y="367"/>
                    </a:lnTo>
                    <a:close/>
                    <a:moveTo>
                      <a:pt x="542" y="392"/>
                    </a:moveTo>
                    <a:lnTo>
                      <a:pt x="542" y="390"/>
                    </a:lnTo>
                    <a:lnTo>
                      <a:pt x="542" y="392"/>
                    </a:lnTo>
                    <a:close/>
                    <a:moveTo>
                      <a:pt x="555" y="390"/>
                    </a:moveTo>
                    <a:lnTo>
                      <a:pt x="557" y="390"/>
                    </a:lnTo>
                    <a:lnTo>
                      <a:pt x="557" y="388"/>
                    </a:lnTo>
                    <a:lnTo>
                      <a:pt x="557" y="390"/>
                    </a:lnTo>
                    <a:lnTo>
                      <a:pt x="555" y="390"/>
                    </a:lnTo>
                    <a:close/>
                    <a:moveTo>
                      <a:pt x="280" y="396"/>
                    </a:moveTo>
                    <a:lnTo>
                      <a:pt x="282" y="396"/>
                    </a:lnTo>
                    <a:lnTo>
                      <a:pt x="280" y="396"/>
                    </a:lnTo>
                    <a:close/>
                    <a:moveTo>
                      <a:pt x="58" y="375"/>
                    </a:moveTo>
                    <a:lnTo>
                      <a:pt x="56" y="375"/>
                    </a:lnTo>
                    <a:lnTo>
                      <a:pt x="56" y="373"/>
                    </a:lnTo>
                    <a:lnTo>
                      <a:pt x="56" y="375"/>
                    </a:lnTo>
                    <a:lnTo>
                      <a:pt x="56" y="373"/>
                    </a:lnTo>
                    <a:lnTo>
                      <a:pt x="58" y="375"/>
                    </a:lnTo>
                    <a:close/>
                    <a:moveTo>
                      <a:pt x="570" y="386"/>
                    </a:moveTo>
                    <a:lnTo>
                      <a:pt x="569" y="388"/>
                    </a:lnTo>
                    <a:lnTo>
                      <a:pt x="570" y="388"/>
                    </a:lnTo>
                    <a:lnTo>
                      <a:pt x="570" y="386"/>
                    </a:lnTo>
                    <a:close/>
                    <a:moveTo>
                      <a:pt x="555" y="388"/>
                    </a:moveTo>
                    <a:lnTo>
                      <a:pt x="553" y="388"/>
                    </a:lnTo>
                    <a:lnTo>
                      <a:pt x="555" y="388"/>
                    </a:lnTo>
                    <a:close/>
                    <a:moveTo>
                      <a:pt x="557" y="388"/>
                    </a:moveTo>
                    <a:lnTo>
                      <a:pt x="555" y="388"/>
                    </a:lnTo>
                    <a:lnTo>
                      <a:pt x="555" y="390"/>
                    </a:lnTo>
                    <a:lnTo>
                      <a:pt x="553" y="390"/>
                    </a:lnTo>
                    <a:lnTo>
                      <a:pt x="555" y="388"/>
                    </a:lnTo>
                    <a:lnTo>
                      <a:pt x="557" y="388"/>
                    </a:lnTo>
                    <a:close/>
                    <a:moveTo>
                      <a:pt x="569" y="386"/>
                    </a:moveTo>
                    <a:lnTo>
                      <a:pt x="570" y="386"/>
                    </a:lnTo>
                    <a:lnTo>
                      <a:pt x="569" y="386"/>
                    </a:lnTo>
                    <a:close/>
                    <a:moveTo>
                      <a:pt x="56" y="373"/>
                    </a:moveTo>
                    <a:lnTo>
                      <a:pt x="56" y="375"/>
                    </a:lnTo>
                    <a:lnTo>
                      <a:pt x="56" y="373"/>
                    </a:lnTo>
                    <a:lnTo>
                      <a:pt x="56" y="375"/>
                    </a:lnTo>
                    <a:lnTo>
                      <a:pt x="56" y="373"/>
                    </a:lnTo>
                    <a:lnTo>
                      <a:pt x="54" y="373"/>
                    </a:lnTo>
                    <a:lnTo>
                      <a:pt x="54" y="371"/>
                    </a:lnTo>
                    <a:lnTo>
                      <a:pt x="56" y="371"/>
                    </a:lnTo>
                    <a:lnTo>
                      <a:pt x="56" y="373"/>
                    </a:lnTo>
                    <a:close/>
                    <a:moveTo>
                      <a:pt x="572" y="386"/>
                    </a:moveTo>
                    <a:lnTo>
                      <a:pt x="570" y="386"/>
                    </a:lnTo>
                    <a:lnTo>
                      <a:pt x="570" y="385"/>
                    </a:lnTo>
                    <a:lnTo>
                      <a:pt x="572" y="385"/>
                    </a:lnTo>
                    <a:lnTo>
                      <a:pt x="572" y="386"/>
                    </a:lnTo>
                    <a:close/>
                    <a:moveTo>
                      <a:pt x="540" y="386"/>
                    </a:moveTo>
                    <a:lnTo>
                      <a:pt x="540" y="388"/>
                    </a:lnTo>
                    <a:lnTo>
                      <a:pt x="540" y="386"/>
                    </a:lnTo>
                    <a:close/>
                    <a:moveTo>
                      <a:pt x="567" y="386"/>
                    </a:moveTo>
                    <a:lnTo>
                      <a:pt x="569" y="385"/>
                    </a:lnTo>
                    <a:lnTo>
                      <a:pt x="570" y="385"/>
                    </a:lnTo>
                    <a:lnTo>
                      <a:pt x="569" y="385"/>
                    </a:lnTo>
                    <a:lnTo>
                      <a:pt x="569" y="386"/>
                    </a:lnTo>
                    <a:lnTo>
                      <a:pt x="567" y="386"/>
                    </a:lnTo>
                    <a:close/>
                    <a:moveTo>
                      <a:pt x="565" y="385"/>
                    </a:moveTo>
                    <a:lnTo>
                      <a:pt x="563" y="385"/>
                    </a:lnTo>
                    <a:lnTo>
                      <a:pt x="561" y="385"/>
                    </a:lnTo>
                    <a:lnTo>
                      <a:pt x="561" y="386"/>
                    </a:lnTo>
                    <a:lnTo>
                      <a:pt x="559" y="386"/>
                    </a:lnTo>
                    <a:lnTo>
                      <a:pt x="561" y="386"/>
                    </a:lnTo>
                    <a:lnTo>
                      <a:pt x="561" y="385"/>
                    </a:lnTo>
                    <a:lnTo>
                      <a:pt x="563" y="385"/>
                    </a:lnTo>
                    <a:lnTo>
                      <a:pt x="565" y="385"/>
                    </a:lnTo>
                    <a:close/>
                    <a:moveTo>
                      <a:pt x="567" y="383"/>
                    </a:moveTo>
                    <a:lnTo>
                      <a:pt x="567" y="385"/>
                    </a:lnTo>
                    <a:lnTo>
                      <a:pt x="565" y="385"/>
                    </a:lnTo>
                    <a:lnTo>
                      <a:pt x="565" y="383"/>
                    </a:lnTo>
                    <a:lnTo>
                      <a:pt x="567" y="383"/>
                    </a:lnTo>
                    <a:close/>
                    <a:moveTo>
                      <a:pt x="569" y="383"/>
                    </a:moveTo>
                    <a:lnTo>
                      <a:pt x="567" y="385"/>
                    </a:lnTo>
                    <a:lnTo>
                      <a:pt x="567" y="383"/>
                    </a:lnTo>
                    <a:lnTo>
                      <a:pt x="569" y="383"/>
                    </a:lnTo>
                    <a:close/>
                    <a:moveTo>
                      <a:pt x="280" y="390"/>
                    </a:moveTo>
                    <a:lnTo>
                      <a:pt x="280" y="388"/>
                    </a:lnTo>
                    <a:lnTo>
                      <a:pt x="280" y="390"/>
                    </a:lnTo>
                    <a:close/>
                    <a:moveTo>
                      <a:pt x="576" y="381"/>
                    </a:moveTo>
                    <a:lnTo>
                      <a:pt x="576" y="379"/>
                    </a:lnTo>
                    <a:lnTo>
                      <a:pt x="576" y="381"/>
                    </a:lnTo>
                    <a:close/>
                    <a:moveTo>
                      <a:pt x="588" y="379"/>
                    </a:moveTo>
                    <a:lnTo>
                      <a:pt x="588" y="381"/>
                    </a:lnTo>
                    <a:lnTo>
                      <a:pt x="586" y="381"/>
                    </a:lnTo>
                    <a:lnTo>
                      <a:pt x="584" y="381"/>
                    </a:lnTo>
                    <a:lnTo>
                      <a:pt x="582" y="381"/>
                    </a:lnTo>
                    <a:lnTo>
                      <a:pt x="584" y="381"/>
                    </a:lnTo>
                    <a:lnTo>
                      <a:pt x="586" y="381"/>
                    </a:lnTo>
                    <a:lnTo>
                      <a:pt x="586" y="379"/>
                    </a:lnTo>
                    <a:lnTo>
                      <a:pt x="588" y="379"/>
                    </a:lnTo>
                    <a:close/>
                    <a:moveTo>
                      <a:pt x="686" y="365"/>
                    </a:moveTo>
                    <a:lnTo>
                      <a:pt x="686" y="367"/>
                    </a:lnTo>
                    <a:lnTo>
                      <a:pt x="686" y="365"/>
                    </a:lnTo>
                    <a:close/>
                    <a:moveTo>
                      <a:pt x="578" y="381"/>
                    </a:moveTo>
                    <a:lnTo>
                      <a:pt x="578" y="379"/>
                    </a:lnTo>
                    <a:lnTo>
                      <a:pt x="578" y="377"/>
                    </a:lnTo>
                    <a:lnTo>
                      <a:pt x="578" y="379"/>
                    </a:lnTo>
                    <a:lnTo>
                      <a:pt x="580" y="379"/>
                    </a:lnTo>
                    <a:lnTo>
                      <a:pt x="580" y="381"/>
                    </a:lnTo>
                    <a:lnTo>
                      <a:pt x="578" y="381"/>
                    </a:lnTo>
                    <a:close/>
                    <a:moveTo>
                      <a:pt x="576" y="377"/>
                    </a:moveTo>
                    <a:lnTo>
                      <a:pt x="576" y="379"/>
                    </a:lnTo>
                    <a:lnTo>
                      <a:pt x="576" y="381"/>
                    </a:lnTo>
                    <a:lnTo>
                      <a:pt x="576" y="379"/>
                    </a:lnTo>
                    <a:lnTo>
                      <a:pt x="576" y="377"/>
                    </a:lnTo>
                    <a:close/>
                    <a:moveTo>
                      <a:pt x="586" y="377"/>
                    </a:moveTo>
                    <a:lnTo>
                      <a:pt x="584" y="377"/>
                    </a:lnTo>
                    <a:lnTo>
                      <a:pt x="586" y="377"/>
                    </a:lnTo>
                    <a:close/>
                    <a:moveTo>
                      <a:pt x="576" y="379"/>
                    </a:moveTo>
                    <a:lnTo>
                      <a:pt x="576" y="381"/>
                    </a:lnTo>
                    <a:lnTo>
                      <a:pt x="574" y="381"/>
                    </a:lnTo>
                    <a:lnTo>
                      <a:pt x="572" y="381"/>
                    </a:lnTo>
                    <a:lnTo>
                      <a:pt x="572" y="379"/>
                    </a:lnTo>
                    <a:lnTo>
                      <a:pt x="574" y="379"/>
                    </a:lnTo>
                    <a:lnTo>
                      <a:pt x="576" y="377"/>
                    </a:lnTo>
                    <a:lnTo>
                      <a:pt x="576" y="379"/>
                    </a:lnTo>
                    <a:close/>
                    <a:moveTo>
                      <a:pt x="582" y="377"/>
                    </a:moveTo>
                    <a:lnTo>
                      <a:pt x="584" y="377"/>
                    </a:lnTo>
                    <a:lnTo>
                      <a:pt x="584" y="379"/>
                    </a:lnTo>
                    <a:lnTo>
                      <a:pt x="582" y="379"/>
                    </a:lnTo>
                    <a:lnTo>
                      <a:pt x="582" y="381"/>
                    </a:lnTo>
                    <a:lnTo>
                      <a:pt x="580" y="381"/>
                    </a:lnTo>
                    <a:lnTo>
                      <a:pt x="578" y="383"/>
                    </a:lnTo>
                    <a:lnTo>
                      <a:pt x="578" y="381"/>
                    </a:lnTo>
                    <a:lnTo>
                      <a:pt x="580" y="381"/>
                    </a:lnTo>
                    <a:lnTo>
                      <a:pt x="580" y="379"/>
                    </a:lnTo>
                    <a:lnTo>
                      <a:pt x="578" y="379"/>
                    </a:lnTo>
                    <a:lnTo>
                      <a:pt x="578" y="377"/>
                    </a:lnTo>
                    <a:lnTo>
                      <a:pt x="580" y="377"/>
                    </a:lnTo>
                    <a:lnTo>
                      <a:pt x="582" y="377"/>
                    </a:lnTo>
                    <a:close/>
                    <a:moveTo>
                      <a:pt x="586" y="375"/>
                    </a:moveTo>
                    <a:lnTo>
                      <a:pt x="586" y="377"/>
                    </a:lnTo>
                    <a:lnTo>
                      <a:pt x="586" y="375"/>
                    </a:lnTo>
                    <a:lnTo>
                      <a:pt x="586" y="377"/>
                    </a:lnTo>
                    <a:lnTo>
                      <a:pt x="588" y="377"/>
                    </a:lnTo>
                    <a:lnTo>
                      <a:pt x="588" y="379"/>
                    </a:lnTo>
                    <a:lnTo>
                      <a:pt x="586" y="379"/>
                    </a:lnTo>
                    <a:lnTo>
                      <a:pt x="584" y="379"/>
                    </a:lnTo>
                    <a:lnTo>
                      <a:pt x="584" y="381"/>
                    </a:lnTo>
                    <a:lnTo>
                      <a:pt x="582" y="381"/>
                    </a:lnTo>
                    <a:lnTo>
                      <a:pt x="584" y="381"/>
                    </a:lnTo>
                    <a:lnTo>
                      <a:pt x="582" y="381"/>
                    </a:lnTo>
                    <a:lnTo>
                      <a:pt x="582" y="379"/>
                    </a:lnTo>
                    <a:lnTo>
                      <a:pt x="584" y="379"/>
                    </a:lnTo>
                    <a:lnTo>
                      <a:pt x="584" y="377"/>
                    </a:lnTo>
                    <a:lnTo>
                      <a:pt x="586" y="377"/>
                    </a:lnTo>
                    <a:lnTo>
                      <a:pt x="586" y="375"/>
                    </a:lnTo>
                    <a:close/>
                    <a:moveTo>
                      <a:pt x="586" y="375"/>
                    </a:moveTo>
                    <a:lnTo>
                      <a:pt x="584" y="375"/>
                    </a:lnTo>
                    <a:lnTo>
                      <a:pt x="582" y="375"/>
                    </a:lnTo>
                    <a:lnTo>
                      <a:pt x="584" y="375"/>
                    </a:lnTo>
                    <a:lnTo>
                      <a:pt x="586" y="373"/>
                    </a:lnTo>
                    <a:lnTo>
                      <a:pt x="586" y="375"/>
                    </a:lnTo>
                    <a:close/>
                    <a:moveTo>
                      <a:pt x="586" y="375"/>
                    </a:moveTo>
                    <a:lnTo>
                      <a:pt x="586" y="373"/>
                    </a:lnTo>
                    <a:lnTo>
                      <a:pt x="588" y="373"/>
                    </a:lnTo>
                    <a:lnTo>
                      <a:pt x="586" y="375"/>
                    </a:lnTo>
                    <a:close/>
                    <a:moveTo>
                      <a:pt x="586" y="373"/>
                    </a:moveTo>
                    <a:lnTo>
                      <a:pt x="586" y="371"/>
                    </a:lnTo>
                    <a:lnTo>
                      <a:pt x="586" y="373"/>
                    </a:lnTo>
                    <a:close/>
                    <a:moveTo>
                      <a:pt x="584" y="371"/>
                    </a:moveTo>
                    <a:lnTo>
                      <a:pt x="584" y="373"/>
                    </a:lnTo>
                    <a:lnTo>
                      <a:pt x="582" y="373"/>
                    </a:lnTo>
                    <a:lnTo>
                      <a:pt x="582" y="375"/>
                    </a:lnTo>
                    <a:lnTo>
                      <a:pt x="580" y="375"/>
                    </a:lnTo>
                    <a:lnTo>
                      <a:pt x="582" y="373"/>
                    </a:lnTo>
                    <a:lnTo>
                      <a:pt x="584" y="371"/>
                    </a:lnTo>
                    <a:close/>
                    <a:moveTo>
                      <a:pt x="29" y="354"/>
                    </a:moveTo>
                    <a:lnTo>
                      <a:pt x="27" y="354"/>
                    </a:lnTo>
                    <a:lnTo>
                      <a:pt x="29" y="354"/>
                    </a:lnTo>
                    <a:close/>
                    <a:moveTo>
                      <a:pt x="31" y="354"/>
                    </a:moveTo>
                    <a:lnTo>
                      <a:pt x="31" y="356"/>
                    </a:lnTo>
                    <a:lnTo>
                      <a:pt x="31" y="354"/>
                    </a:lnTo>
                    <a:lnTo>
                      <a:pt x="29" y="354"/>
                    </a:lnTo>
                    <a:lnTo>
                      <a:pt x="31" y="354"/>
                    </a:lnTo>
                    <a:close/>
                    <a:moveTo>
                      <a:pt x="594" y="367"/>
                    </a:moveTo>
                    <a:lnTo>
                      <a:pt x="594" y="369"/>
                    </a:lnTo>
                    <a:lnTo>
                      <a:pt x="595" y="369"/>
                    </a:lnTo>
                    <a:lnTo>
                      <a:pt x="594" y="369"/>
                    </a:lnTo>
                    <a:lnTo>
                      <a:pt x="592" y="371"/>
                    </a:lnTo>
                    <a:lnTo>
                      <a:pt x="592" y="369"/>
                    </a:lnTo>
                    <a:lnTo>
                      <a:pt x="594" y="369"/>
                    </a:lnTo>
                    <a:lnTo>
                      <a:pt x="594" y="367"/>
                    </a:lnTo>
                    <a:close/>
                    <a:moveTo>
                      <a:pt x="592" y="369"/>
                    </a:moveTo>
                    <a:lnTo>
                      <a:pt x="590" y="369"/>
                    </a:lnTo>
                    <a:lnTo>
                      <a:pt x="592" y="369"/>
                    </a:lnTo>
                    <a:lnTo>
                      <a:pt x="592" y="367"/>
                    </a:lnTo>
                    <a:lnTo>
                      <a:pt x="594" y="367"/>
                    </a:lnTo>
                    <a:lnTo>
                      <a:pt x="592" y="369"/>
                    </a:lnTo>
                    <a:close/>
                    <a:moveTo>
                      <a:pt x="592" y="367"/>
                    </a:moveTo>
                    <a:lnTo>
                      <a:pt x="590" y="369"/>
                    </a:lnTo>
                    <a:lnTo>
                      <a:pt x="590" y="371"/>
                    </a:lnTo>
                    <a:lnTo>
                      <a:pt x="588" y="371"/>
                    </a:lnTo>
                    <a:lnTo>
                      <a:pt x="588" y="369"/>
                    </a:lnTo>
                    <a:lnTo>
                      <a:pt x="590" y="369"/>
                    </a:lnTo>
                    <a:lnTo>
                      <a:pt x="590" y="367"/>
                    </a:lnTo>
                    <a:lnTo>
                      <a:pt x="592" y="367"/>
                    </a:lnTo>
                    <a:close/>
                    <a:moveTo>
                      <a:pt x="592" y="367"/>
                    </a:moveTo>
                    <a:lnTo>
                      <a:pt x="590" y="367"/>
                    </a:lnTo>
                    <a:lnTo>
                      <a:pt x="592" y="367"/>
                    </a:lnTo>
                    <a:close/>
                    <a:moveTo>
                      <a:pt x="290" y="373"/>
                    </a:moveTo>
                    <a:lnTo>
                      <a:pt x="290" y="375"/>
                    </a:lnTo>
                    <a:lnTo>
                      <a:pt x="292" y="375"/>
                    </a:lnTo>
                    <a:lnTo>
                      <a:pt x="290" y="375"/>
                    </a:lnTo>
                    <a:lnTo>
                      <a:pt x="290" y="373"/>
                    </a:lnTo>
                    <a:lnTo>
                      <a:pt x="290" y="375"/>
                    </a:lnTo>
                    <a:lnTo>
                      <a:pt x="290" y="373"/>
                    </a:lnTo>
                    <a:close/>
                    <a:moveTo>
                      <a:pt x="603" y="361"/>
                    </a:moveTo>
                    <a:lnTo>
                      <a:pt x="603" y="363"/>
                    </a:lnTo>
                    <a:lnTo>
                      <a:pt x="601" y="363"/>
                    </a:lnTo>
                    <a:lnTo>
                      <a:pt x="599" y="363"/>
                    </a:lnTo>
                    <a:lnTo>
                      <a:pt x="601" y="363"/>
                    </a:lnTo>
                    <a:lnTo>
                      <a:pt x="603" y="361"/>
                    </a:lnTo>
                    <a:close/>
                    <a:moveTo>
                      <a:pt x="603" y="361"/>
                    </a:moveTo>
                    <a:lnTo>
                      <a:pt x="601" y="361"/>
                    </a:lnTo>
                    <a:lnTo>
                      <a:pt x="601" y="363"/>
                    </a:lnTo>
                    <a:lnTo>
                      <a:pt x="601" y="361"/>
                    </a:lnTo>
                    <a:lnTo>
                      <a:pt x="603" y="361"/>
                    </a:lnTo>
                    <a:close/>
                    <a:moveTo>
                      <a:pt x="605" y="361"/>
                    </a:moveTo>
                    <a:lnTo>
                      <a:pt x="605" y="360"/>
                    </a:lnTo>
                    <a:lnTo>
                      <a:pt x="605" y="361"/>
                    </a:lnTo>
                    <a:close/>
                    <a:moveTo>
                      <a:pt x="645" y="356"/>
                    </a:moveTo>
                    <a:lnTo>
                      <a:pt x="643" y="356"/>
                    </a:lnTo>
                    <a:lnTo>
                      <a:pt x="645" y="356"/>
                    </a:lnTo>
                    <a:close/>
                    <a:moveTo>
                      <a:pt x="634" y="358"/>
                    </a:moveTo>
                    <a:lnTo>
                      <a:pt x="632" y="358"/>
                    </a:lnTo>
                    <a:lnTo>
                      <a:pt x="634" y="358"/>
                    </a:lnTo>
                    <a:close/>
                    <a:moveTo>
                      <a:pt x="607" y="360"/>
                    </a:moveTo>
                    <a:lnTo>
                      <a:pt x="607" y="361"/>
                    </a:lnTo>
                    <a:lnTo>
                      <a:pt x="607" y="360"/>
                    </a:lnTo>
                    <a:lnTo>
                      <a:pt x="609" y="360"/>
                    </a:lnTo>
                    <a:lnTo>
                      <a:pt x="607" y="360"/>
                    </a:lnTo>
                    <a:close/>
                    <a:moveTo>
                      <a:pt x="607" y="360"/>
                    </a:moveTo>
                    <a:lnTo>
                      <a:pt x="605" y="361"/>
                    </a:lnTo>
                    <a:lnTo>
                      <a:pt x="605" y="360"/>
                    </a:lnTo>
                    <a:lnTo>
                      <a:pt x="607" y="360"/>
                    </a:lnTo>
                    <a:close/>
                    <a:moveTo>
                      <a:pt x="630" y="358"/>
                    </a:moveTo>
                    <a:lnTo>
                      <a:pt x="628" y="358"/>
                    </a:lnTo>
                    <a:lnTo>
                      <a:pt x="626" y="358"/>
                    </a:lnTo>
                    <a:lnTo>
                      <a:pt x="628" y="358"/>
                    </a:lnTo>
                    <a:lnTo>
                      <a:pt x="630" y="358"/>
                    </a:lnTo>
                    <a:close/>
                    <a:moveTo>
                      <a:pt x="632" y="358"/>
                    </a:moveTo>
                    <a:lnTo>
                      <a:pt x="632" y="356"/>
                    </a:lnTo>
                    <a:lnTo>
                      <a:pt x="632" y="358"/>
                    </a:lnTo>
                    <a:close/>
                    <a:moveTo>
                      <a:pt x="630" y="356"/>
                    </a:moveTo>
                    <a:lnTo>
                      <a:pt x="630" y="358"/>
                    </a:lnTo>
                    <a:lnTo>
                      <a:pt x="630" y="356"/>
                    </a:lnTo>
                    <a:close/>
                    <a:moveTo>
                      <a:pt x="640" y="356"/>
                    </a:moveTo>
                    <a:lnTo>
                      <a:pt x="642" y="356"/>
                    </a:lnTo>
                    <a:lnTo>
                      <a:pt x="640" y="356"/>
                    </a:lnTo>
                    <a:close/>
                    <a:moveTo>
                      <a:pt x="609" y="360"/>
                    </a:moveTo>
                    <a:lnTo>
                      <a:pt x="607" y="360"/>
                    </a:lnTo>
                    <a:lnTo>
                      <a:pt x="609" y="360"/>
                    </a:lnTo>
                    <a:close/>
                    <a:moveTo>
                      <a:pt x="642" y="356"/>
                    </a:moveTo>
                    <a:lnTo>
                      <a:pt x="642" y="354"/>
                    </a:lnTo>
                    <a:lnTo>
                      <a:pt x="642" y="356"/>
                    </a:lnTo>
                    <a:close/>
                    <a:moveTo>
                      <a:pt x="626" y="358"/>
                    </a:moveTo>
                    <a:lnTo>
                      <a:pt x="626" y="356"/>
                    </a:lnTo>
                    <a:lnTo>
                      <a:pt x="626" y="358"/>
                    </a:lnTo>
                    <a:close/>
                    <a:moveTo>
                      <a:pt x="642" y="354"/>
                    </a:moveTo>
                    <a:lnTo>
                      <a:pt x="642" y="356"/>
                    </a:lnTo>
                    <a:lnTo>
                      <a:pt x="642" y="354"/>
                    </a:lnTo>
                    <a:close/>
                    <a:moveTo>
                      <a:pt x="628" y="356"/>
                    </a:moveTo>
                    <a:lnTo>
                      <a:pt x="630" y="356"/>
                    </a:lnTo>
                    <a:lnTo>
                      <a:pt x="632" y="356"/>
                    </a:lnTo>
                    <a:lnTo>
                      <a:pt x="634" y="356"/>
                    </a:lnTo>
                    <a:lnTo>
                      <a:pt x="636" y="356"/>
                    </a:lnTo>
                    <a:lnTo>
                      <a:pt x="636" y="358"/>
                    </a:lnTo>
                    <a:lnTo>
                      <a:pt x="636" y="356"/>
                    </a:lnTo>
                    <a:lnTo>
                      <a:pt x="636" y="358"/>
                    </a:lnTo>
                    <a:lnTo>
                      <a:pt x="634" y="358"/>
                    </a:lnTo>
                    <a:lnTo>
                      <a:pt x="634" y="356"/>
                    </a:lnTo>
                    <a:lnTo>
                      <a:pt x="632" y="356"/>
                    </a:lnTo>
                    <a:lnTo>
                      <a:pt x="630" y="356"/>
                    </a:lnTo>
                    <a:lnTo>
                      <a:pt x="628" y="358"/>
                    </a:lnTo>
                    <a:lnTo>
                      <a:pt x="628" y="356"/>
                    </a:lnTo>
                    <a:lnTo>
                      <a:pt x="626" y="356"/>
                    </a:lnTo>
                    <a:lnTo>
                      <a:pt x="628" y="356"/>
                    </a:lnTo>
                    <a:lnTo>
                      <a:pt x="626" y="356"/>
                    </a:lnTo>
                    <a:lnTo>
                      <a:pt x="628" y="356"/>
                    </a:lnTo>
                    <a:close/>
                    <a:moveTo>
                      <a:pt x="618" y="356"/>
                    </a:moveTo>
                    <a:lnTo>
                      <a:pt x="620" y="356"/>
                    </a:lnTo>
                    <a:lnTo>
                      <a:pt x="618" y="356"/>
                    </a:lnTo>
                    <a:close/>
                    <a:moveTo>
                      <a:pt x="624" y="354"/>
                    </a:moveTo>
                    <a:lnTo>
                      <a:pt x="626" y="354"/>
                    </a:lnTo>
                    <a:lnTo>
                      <a:pt x="626" y="356"/>
                    </a:lnTo>
                    <a:lnTo>
                      <a:pt x="624" y="356"/>
                    </a:lnTo>
                    <a:lnTo>
                      <a:pt x="624" y="354"/>
                    </a:lnTo>
                    <a:lnTo>
                      <a:pt x="622" y="354"/>
                    </a:lnTo>
                    <a:lnTo>
                      <a:pt x="624" y="354"/>
                    </a:lnTo>
                    <a:close/>
                    <a:moveTo>
                      <a:pt x="611" y="356"/>
                    </a:moveTo>
                    <a:lnTo>
                      <a:pt x="609" y="358"/>
                    </a:lnTo>
                    <a:lnTo>
                      <a:pt x="607" y="358"/>
                    </a:lnTo>
                    <a:lnTo>
                      <a:pt x="609" y="358"/>
                    </a:lnTo>
                    <a:lnTo>
                      <a:pt x="609" y="356"/>
                    </a:lnTo>
                    <a:lnTo>
                      <a:pt x="611" y="356"/>
                    </a:lnTo>
                    <a:lnTo>
                      <a:pt x="609" y="356"/>
                    </a:lnTo>
                    <a:lnTo>
                      <a:pt x="611" y="356"/>
                    </a:lnTo>
                    <a:close/>
                    <a:moveTo>
                      <a:pt x="622" y="354"/>
                    </a:moveTo>
                    <a:lnTo>
                      <a:pt x="620" y="354"/>
                    </a:lnTo>
                    <a:lnTo>
                      <a:pt x="622" y="354"/>
                    </a:lnTo>
                    <a:close/>
                    <a:moveTo>
                      <a:pt x="620" y="354"/>
                    </a:moveTo>
                    <a:lnTo>
                      <a:pt x="618" y="354"/>
                    </a:lnTo>
                    <a:lnTo>
                      <a:pt x="620" y="354"/>
                    </a:lnTo>
                    <a:close/>
                    <a:moveTo>
                      <a:pt x="617" y="354"/>
                    </a:moveTo>
                    <a:lnTo>
                      <a:pt x="618" y="354"/>
                    </a:lnTo>
                    <a:lnTo>
                      <a:pt x="620" y="354"/>
                    </a:lnTo>
                    <a:lnTo>
                      <a:pt x="622" y="354"/>
                    </a:lnTo>
                    <a:lnTo>
                      <a:pt x="622" y="356"/>
                    </a:lnTo>
                    <a:lnTo>
                      <a:pt x="624" y="356"/>
                    </a:lnTo>
                    <a:lnTo>
                      <a:pt x="622" y="356"/>
                    </a:lnTo>
                    <a:lnTo>
                      <a:pt x="620" y="356"/>
                    </a:lnTo>
                    <a:lnTo>
                      <a:pt x="620" y="354"/>
                    </a:lnTo>
                    <a:lnTo>
                      <a:pt x="618" y="354"/>
                    </a:lnTo>
                    <a:lnTo>
                      <a:pt x="618" y="356"/>
                    </a:lnTo>
                    <a:lnTo>
                      <a:pt x="617" y="354"/>
                    </a:lnTo>
                    <a:close/>
                    <a:moveTo>
                      <a:pt x="611" y="356"/>
                    </a:moveTo>
                    <a:lnTo>
                      <a:pt x="611" y="354"/>
                    </a:lnTo>
                    <a:lnTo>
                      <a:pt x="611" y="356"/>
                    </a:lnTo>
                    <a:close/>
                    <a:moveTo>
                      <a:pt x="618" y="354"/>
                    </a:moveTo>
                    <a:lnTo>
                      <a:pt x="617" y="354"/>
                    </a:lnTo>
                    <a:lnTo>
                      <a:pt x="618" y="354"/>
                    </a:lnTo>
                    <a:close/>
                    <a:moveTo>
                      <a:pt x="611" y="354"/>
                    </a:moveTo>
                    <a:lnTo>
                      <a:pt x="609" y="354"/>
                    </a:lnTo>
                    <a:lnTo>
                      <a:pt x="611" y="354"/>
                    </a:lnTo>
                    <a:close/>
                    <a:moveTo>
                      <a:pt x="609" y="354"/>
                    </a:moveTo>
                    <a:lnTo>
                      <a:pt x="609" y="356"/>
                    </a:lnTo>
                    <a:lnTo>
                      <a:pt x="609" y="358"/>
                    </a:lnTo>
                    <a:lnTo>
                      <a:pt x="607" y="358"/>
                    </a:lnTo>
                    <a:lnTo>
                      <a:pt x="607" y="356"/>
                    </a:lnTo>
                    <a:lnTo>
                      <a:pt x="609" y="356"/>
                    </a:lnTo>
                    <a:lnTo>
                      <a:pt x="607" y="354"/>
                    </a:lnTo>
                    <a:lnTo>
                      <a:pt x="609" y="354"/>
                    </a:lnTo>
                    <a:lnTo>
                      <a:pt x="611" y="354"/>
                    </a:lnTo>
                    <a:lnTo>
                      <a:pt x="609" y="354"/>
                    </a:lnTo>
                    <a:close/>
                    <a:moveTo>
                      <a:pt x="613" y="352"/>
                    </a:moveTo>
                    <a:lnTo>
                      <a:pt x="613" y="354"/>
                    </a:lnTo>
                    <a:lnTo>
                      <a:pt x="613" y="352"/>
                    </a:lnTo>
                    <a:lnTo>
                      <a:pt x="613" y="354"/>
                    </a:lnTo>
                    <a:lnTo>
                      <a:pt x="613" y="352"/>
                    </a:lnTo>
                    <a:close/>
                    <a:moveTo>
                      <a:pt x="286" y="363"/>
                    </a:moveTo>
                    <a:lnTo>
                      <a:pt x="286" y="361"/>
                    </a:lnTo>
                    <a:lnTo>
                      <a:pt x="286" y="363"/>
                    </a:lnTo>
                    <a:close/>
                    <a:moveTo>
                      <a:pt x="215" y="358"/>
                    </a:moveTo>
                    <a:lnTo>
                      <a:pt x="217" y="358"/>
                    </a:lnTo>
                    <a:lnTo>
                      <a:pt x="217" y="360"/>
                    </a:lnTo>
                    <a:lnTo>
                      <a:pt x="215" y="358"/>
                    </a:lnTo>
                    <a:close/>
                    <a:moveTo>
                      <a:pt x="211" y="360"/>
                    </a:moveTo>
                    <a:lnTo>
                      <a:pt x="209" y="360"/>
                    </a:lnTo>
                    <a:lnTo>
                      <a:pt x="211" y="360"/>
                    </a:lnTo>
                    <a:lnTo>
                      <a:pt x="211" y="358"/>
                    </a:lnTo>
                    <a:lnTo>
                      <a:pt x="213" y="358"/>
                    </a:lnTo>
                    <a:lnTo>
                      <a:pt x="215" y="358"/>
                    </a:lnTo>
                    <a:lnTo>
                      <a:pt x="213" y="360"/>
                    </a:lnTo>
                    <a:lnTo>
                      <a:pt x="211" y="360"/>
                    </a:lnTo>
                    <a:close/>
                    <a:moveTo>
                      <a:pt x="209" y="358"/>
                    </a:moveTo>
                    <a:lnTo>
                      <a:pt x="209" y="360"/>
                    </a:lnTo>
                    <a:lnTo>
                      <a:pt x="207" y="360"/>
                    </a:lnTo>
                    <a:lnTo>
                      <a:pt x="205" y="360"/>
                    </a:lnTo>
                    <a:lnTo>
                      <a:pt x="207" y="360"/>
                    </a:lnTo>
                    <a:lnTo>
                      <a:pt x="205" y="360"/>
                    </a:lnTo>
                    <a:lnTo>
                      <a:pt x="204" y="360"/>
                    </a:lnTo>
                    <a:lnTo>
                      <a:pt x="202" y="360"/>
                    </a:lnTo>
                    <a:lnTo>
                      <a:pt x="205" y="360"/>
                    </a:lnTo>
                    <a:lnTo>
                      <a:pt x="204" y="360"/>
                    </a:lnTo>
                    <a:lnTo>
                      <a:pt x="202" y="360"/>
                    </a:lnTo>
                    <a:lnTo>
                      <a:pt x="200" y="360"/>
                    </a:lnTo>
                    <a:lnTo>
                      <a:pt x="202" y="360"/>
                    </a:lnTo>
                    <a:lnTo>
                      <a:pt x="204" y="360"/>
                    </a:lnTo>
                    <a:lnTo>
                      <a:pt x="204" y="358"/>
                    </a:lnTo>
                    <a:lnTo>
                      <a:pt x="205" y="358"/>
                    </a:lnTo>
                    <a:lnTo>
                      <a:pt x="207" y="358"/>
                    </a:lnTo>
                    <a:lnTo>
                      <a:pt x="209" y="358"/>
                    </a:lnTo>
                    <a:lnTo>
                      <a:pt x="211" y="358"/>
                    </a:lnTo>
                    <a:lnTo>
                      <a:pt x="209" y="358"/>
                    </a:lnTo>
                    <a:close/>
                    <a:moveTo>
                      <a:pt x="613" y="350"/>
                    </a:moveTo>
                    <a:lnTo>
                      <a:pt x="611" y="350"/>
                    </a:lnTo>
                    <a:lnTo>
                      <a:pt x="613" y="350"/>
                    </a:lnTo>
                    <a:close/>
                    <a:moveTo>
                      <a:pt x="221" y="356"/>
                    </a:moveTo>
                    <a:lnTo>
                      <a:pt x="219" y="356"/>
                    </a:lnTo>
                    <a:lnTo>
                      <a:pt x="217" y="356"/>
                    </a:lnTo>
                    <a:lnTo>
                      <a:pt x="217" y="358"/>
                    </a:lnTo>
                    <a:lnTo>
                      <a:pt x="215" y="356"/>
                    </a:lnTo>
                    <a:lnTo>
                      <a:pt x="217" y="356"/>
                    </a:lnTo>
                    <a:lnTo>
                      <a:pt x="215" y="356"/>
                    </a:lnTo>
                    <a:lnTo>
                      <a:pt x="217" y="356"/>
                    </a:lnTo>
                    <a:lnTo>
                      <a:pt x="219" y="356"/>
                    </a:lnTo>
                    <a:lnTo>
                      <a:pt x="217" y="356"/>
                    </a:lnTo>
                    <a:lnTo>
                      <a:pt x="219" y="356"/>
                    </a:lnTo>
                    <a:lnTo>
                      <a:pt x="221" y="356"/>
                    </a:lnTo>
                    <a:close/>
                    <a:moveTo>
                      <a:pt x="225" y="358"/>
                    </a:moveTo>
                    <a:lnTo>
                      <a:pt x="223" y="358"/>
                    </a:lnTo>
                    <a:lnTo>
                      <a:pt x="223" y="360"/>
                    </a:lnTo>
                    <a:lnTo>
                      <a:pt x="221" y="360"/>
                    </a:lnTo>
                    <a:lnTo>
                      <a:pt x="219" y="360"/>
                    </a:lnTo>
                    <a:lnTo>
                      <a:pt x="221" y="360"/>
                    </a:lnTo>
                    <a:lnTo>
                      <a:pt x="219" y="360"/>
                    </a:lnTo>
                    <a:lnTo>
                      <a:pt x="217" y="360"/>
                    </a:lnTo>
                    <a:lnTo>
                      <a:pt x="217" y="358"/>
                    </a:lnTo>
                    <a:lnTo>
                      <a:pt x="215" y="358"/>
                    </a:lnTo>
                    <a:lnTo>
                      <a:pt x="213" y="358"/>
                    </a:lnTo>
                    <a:lnTo>
                      <a:pt x="215" y="358"/>
                    </a:lnTo>
                    <a:lnTo>
                      <a:pt x="217" y="358"/>
                    </a:lnTo>
                    <a:lnTo>
                      <a:pt x="219" y="356"/>
                    </a:lnTo>
                    <a:lnTo>
                      <a:pt x="221" y="356"/>
                    </a:lnTo>
                    <a:lnTo>
                      <a:pt x="223" y="356"/>
                    </a:lnTo>
                    <a:lnTo>
                      <a:pt x="225" y="356"/>
                    </a:lnTo>
                    <a:lnTo>
                      <a:pt x="225" y="358"/>
                    </a:lnTo>
                    <a:close/>
                    <a:moveTo>
                      <a:pt x="286" y="358"/>
                    </a:moveTo>
                    <a:lnTo>
                      <a:pt x="284" y="358"/>
                    </a:lnTo>
                    <a:lnTo>
                      <a:pt x="286" y="358"/>
                    </a:lnTo>
                    <a:close/>
                    <a:moveTo>
                      <a:pt x="265" y="354"/>
                    </a:moveTo>
                    <a:lnTo>
                      <a:pt x="261" y="352"/>
                    </a:lnTo>
                    <a:lnTo>
                      <a:pt x="263" y="352"/>
                    </a:lnTo>
                    <a:lnTo>
                      <a:pt x="265" y="354"/>
                    </a:lnTo>
                    <a:close/>
                    <a:moveTo>
                      <a:pt x="261" y="352"/>
                    </a:moveTo>
                    <a:lnTo>
                      <a:pt x="259" y="352"/>
                    </a:lnTo>
                    <a:lnTo>
                      <a:pt x="261" y="352"/>
                    </a:lnTo>
                    <a:close/>
                    <a:moveTo>
                      <a:pt x="267" y="352"/>
                    </a:moveTo>
                    <a:lnTo>
                      <a:pt x="265" y="352"/>
                    </a:lnTo>
                    <a:lnTo>
                      <a:pt x="267" y="352"/>
                    </a:lnTo>
                    <a:close/>
                    <a:moveTo>
                      <a:pt x="59" y="331"/>
                    </a:moveTo>
                    <a:lnTo>
                      <a:pt x="59" y="333"/>
                    </a:lnTo>
                    <a:lnTo>
                      <a:pt x="59" y="331"/>
                    </a:lnTo>
                    <a:close/>
                    <a:moveTo>
                      <a:pt x="58" y="331"/>
                    </a:moveTo>
                    <a:lnTo>
                      <a:pt x="56" y="331"/>
                    </a:lnTo>
                    <a:lnTo>
                      <a:pt x="58" y="331"/>
                    </a:lnTo>
                    <a:close/>
                    <a:moveTo>
                      <a:pt x="257" y="350"/>
                    </a:moveTo>
                    <a:lnTo>
                      <a:pt x="255" y="350"/>
                    </a:lnTo>
                    <a:lnTo>
                      <a:pt x="253" y="350"/>
                    </a:lnTo>
                    <a:lnTo>
                      <a:pt x="255" y="350"/>
                    </a:lnTo>
                    <a:lnTo>
                      <a:pt x="257" y="350"/>
                    </a:lnTo>
                    <a:close/>
                    <a:moveTo>
                      <a:pt x="271" y="350"/>
                    </a:moveTo>
                    <a:lnTo>
                      <a:pt x="273" y="350"/>
                    </a:lnTo>
                    <a:lnTo>
                      <a:pt x="271" y="350"/>
                    </a:lnTo>
                    <a:close/>
                    <a:moveTo>
                      <a:pt x="19" y="325"/>
                    </a:moveTo>
                    <a:lnTo>
                      <a:pt x="19" y="323"/>
                    </a:lnTo>
                    <a:lnTo>
                      <a:pt x="21" y="323"/>
                    </a:lnTo>
                    <a:lnTo>
                      <a:pt x="23" y="323"/>
                    </a:lnTo>
                    <a:lnTo>
                      <a:pt x="21" y="323"/>
                    </a:lnTo>
                    <a:lnTo>
                      <a:pt x="19" y="323"/>
                    </a:lnTo>
                    <a:lnTo>
                      <a:pt x="19" y="325"/>
                    </a:lnTo>
                    <a:close/>
                    <a:moveTo>
                      <a:pt x="184" y="346"/>
                    </a:moveTo>
                    <a:lnTo>
                      <a:pt x="182" y="346"/>
                    </a:lnTo>
                    <a:lnTo>
                      <a:pt x="182" y="344"/>
                    </a:lnTo>
                    <a:lnTo>
                      <a:pt x="182" y="342"/>
                    </a:lnTo>
                    <a:lnTo>
                      <a:pt x="184" y="344"/>
                    </a:lnTo>
                    <a:lnTo>
                      <a:pt x="184" y="346"/>
                    </a:lnTo>
                    <a:close/>
                    <a:moveTo>
                      <a:pt x="278" y="348"/>
                    </a:moveTo>
                    <a:lnTo>
                      <a:pt x="277" y="348"/>
                    </a:lnTo>
                    <a:lnTo>
                      <a:pt x="277" y="350"/>
                    </a:lnTo>
                    <a:lnTo>
                      <a:pt x="275" y="350"/>
                    </a:lnTo>
                    <a:lnTo>
                      <a:pt x="277" y="348"/>
                    </a:lnTo>
                    <a:lnTo>
                      <a:pt x="278" y="348"/>
                    </a:lnTo>
                    <a:close/>
                    <a:moveTo>
                      <a:pt x="280" y="348"/>
                    </a:moveTo>
                    <a:lnTo>
                      <a:pt x="278" y="348"/>
                    </a:lnTo>
                    <a:lnTo>
                      <a:pt x="277" y="348"/>
                    </a:lnTo>
                    <a:lnTo>
                      <a:pt x="278" y="348"/>
                    </a:lnTo>
                    <a:lnTo>
                      <a:pt x="280" y="348"/>
                    </a:lnTo>
                    <a:close/>
                    <a:moveTo>
                      <a:pt x="288" y="346"/>
                    </a:moveTo>
                    <a:lnTo>
                      <a:pt x="288" y="344"/>
                    </a:lnTo>
                    <a:lnTo>
                      <a:pt x="290" y="344"/>
                    </a:lnTo>
                    <a:lnTo>
                      <a:pt x="288" y="346"/>
                    </a:lnTo>
                    <a:close/>
                    <a:moveTo>
                      <a:pt x="56" y="319"/>
                    </a:moveTo>
                    <a:lnTo>
                      <a:pt x="56" y="321"/>
                    </a:lnTo>
                    <a:lnTo>
                      <a:pt x="56" y="319"/>
                    </a:lnTo>
                    <a:close/>
                    <a:moveTo>
                      <a:pt x="288" y="342"/>
                    </a:moveTo>
                    <a:lnTo>
                      <a:pt x="290" y="342"/>
                    </a:lnTo>
                    <a:lnTo>
                      <a:pt x="288" y="342"/>
                    </a:lnTo>
                    <a:close/>
                    <a:moveTo>
                      <a:pt x="54" y="319"/>
                    </a:moveTo>
                    <a:lnTo>
                      <a:pt x="52" y="319"/>
                    </a:lnTo>
                    <a:lnTo>
                      <a:pt x="54" y="319"/>
                    </a:lnTo>
                    <a:close/>
                    <a:moveTo>
                      <a:pt x="54" y="319"/>
                    </a:moveTo>
                    <a:lnTo>
                      <a:pt x="52" y="319"/>
                    </a:lnTo>
                    <a:lnTo>
                      <a:pt x="54" y="317"/>
                    </a:lnTo>
                    <a:lnTo>
                      <a:pt x="54" y="319"/>
                    </a:lnTo>
                    <a:close/>
                    <a:moveTo>
                      <a:pt x="58" y="319"/>
                    </a:moveTo>
                    <a:lnTo>
                      <a:pt x="56" y="317"/>
                    </a:lnTo>
                    <a:lnTo>
                      <a:pt x="58" y="319"/>
                    </a:lnTo>
                    <a:close/>
                    <a:moveTo>
                      <a:pt x="680" y="319"/>
                    </a:moveTo>
                    <a:lnTo>
                      <a:pt x="678" y="319"/>
                    </a:lnTo>
                    <a:lnTo>
                      <a:pt x="680" y="319"/>
                    </a:lnTo>
                    <a:lnTo>
                      <a:pt x="678" y="319"/>
                    </a:lnTo>
                    <a:lnTo>
                      <a:pt x="680" y="319"/>
                    </a:lnTo>
                    <a:close/>
                    <a:moveTo>
                      <a:pt x="52" y="315"/>
                    </a:moveTo>
                    <a:lnTo>
                      <a:pt x="52" y="317"/>
                    </a:lnTo>
                    <a:lnTo>
                      <a:pt x="50" y="317"/>
                    </a:lnTo>
                    <a:lnTo>
                      <a:pt x="50" y="315"/>
                    </a:lnTo>
                    <a:lnTo>
                      <a:pt x="52" y="315"/>
                    </a:lnTo>
                    <a:close/>
                    <a:moveTo>
                      <a:pt x="50" y="313"/>
                    </a:moveTo>
                    <a:lnTo>
                      <a:pt x="52" y="313"/>
                    </a:lnTo>
                    <a:lnTo>
                      <a:pt x="50" y="313"/>
                    </a:lnTo>
                    <a:close/>
                    <a:moveTo>
                      <a:pt x="54" y="313"/>
                    </a:moveTo>
                    <a:lnTo>
                      <a:pt x="56" y="313"/>
                    </a:lnTo>
                    <a:lnTo>
                      <a:pt x="58" y="313"/>
                    </a:lnTo>
                    <a:lnTo>
                      <a:pt x="56" y="313"/>
                    </a:lnTo>
                    <a:lnTo>
                      <a:pt x="56" y="315"/>
                    </a:lnTo>
                    <a:lnTo>
                      <a:pt x="56" y="313"/>
                    </a:lnTo>
                    <a:lnTo>
                      <a:pt x="56" y="315"/>
                    </a:lnTo>
                    <a:lnTo>
                      <a:pt x="58" y="315"/>
                    </a:lnTo>
                    <a:lnTo>
                      <a:pt x="56" y="315"/>
                    </a:lnTo>
                    <a:lnTo>
                      <a:pt x="54" y="315"/>
                    </a:lnTo>
                    <a:lnTo>
                      <a:pt x="52" y="315"/>
                    </a:lnTo>
                    <a:lnTo>
                      <a:pt x="52" y="313"/>
                    </a:lnTo>
                    <a:lnTo>
                      <a:pt x="54" y="313"/>
                    </a:lnTo>
                    <a:close/>
                    <a:moveTo>
                      <a:pt x="592" y="325"/>
                    </a:moveTo>
                    <a:lnTo>
                      <a:pt x="594" y="325"/>
                    </a:lnTo>
                    <a:lnTo>
                      <a:pt x="592" y="325"/>
                    </a:lnTo>
                    <a:close/>
                    <a:moveTo>
                      <a:pt x="636" y="319"/>
                    </a:moveTo>
                    <a:lnTo>
                      <a:pt x="634" y="319"/>
                    </a:lnTo>
                    <a:lnTo>
                      <a:pt x="636" y="319"/>
                    </a:lnTo>
                    <a:close/>
                    <a:moveTo>
                      <a:pt x="634" y="319"/>
                    </a:moveTo>
                    <a:lnTo>
                      <a:pt x="634" y="317"/>
                    </a:lnTo>
                    <a:lnTo>
                      <a:pt x="636" y="319"/>
                    </a:lnTo>
                    <a:lnTo>
                      <a:pt x="634" y="319"/>
                    </a:lnTo>
                    <a:close/>
                    <a:moveTo>
                      <a:pt x="636" y="317"/>
                    </a:moveTo>
                    <a:lnTo>
                      <a:pt x="636" y="319"/>
                    </a:lnTo>
                    <a:lnTo>
                      <a:pt x="636" y="317"/>
                    </a:lnTo>
                    <a:close/>
                    <a:moveTo>
                      <a:pt x="632" y="319"/>
                    </a:moveTo>
                    <a:lnTo>
                      <a:pt x="634" y="319"/>
                    </a:lnTo>
                    <a:lnTo>
                      <a:pt x="632" y="319"/>
                    </a:lnTo>
                    <a:lnTo>
                      <a:pt x="630" y="319"/>
                    </a:lnTo>
                    <a:lnTo>
                      <a:pt x="632" y="319"/>
                    </a:lnTo>
                    <a:lnTo>
                      <a:pt x="632" y="317"/>
                    </a:lnTo>
                    <a:lnTo>
                      <a:pt x="632" y="319"/>
                    </a:lnTo>
                    <a:close/>
                    <a:moveTo>
                      <a:pt x="186" y="327"/>
                    </a:moveTo>
                    <a:lnTo>
                      <a:pt x="184" y="327"/>
                    </a:lnTo>
                    <a:lnTo>
                      <a:pt x="182" y="327"/>
                    </a:lnTo>
                    <a:lnTo>
                      <a:pt x="180" y="327"/>
                    </a:lnTo>
                    <a:lnTo>
                      <a:pt x="184" y="325"/>
                    </a:lnTo>
                    <a:lnTo>
                      <a:pt x="184" y="327"/>
                    </a:lnTo>
                    <a:lnTo>
                      <a:pt x="186" y="327"/>
                    </a:lnTo>
                    <a:close/>
                    <a:moveTo>
                      <a:pt x="632" y="317"/>
                    </a:moveTo>
                    <a:lnTo>
                      <a:pt x="632" y="319"/>
                    </a:lnTo>
                    <a:lnTo>
                      <a:pt x="632" y="317"/>
                    </a:lnTo>
                    <a:close/>
                    <a:moveTo>
                      <a:pt x="636" y="317"/>
                    </a:moveTo>
                    <a:lnTo>
                      <a:pt x="634" y="317"/>
                    </a:lnTo>
                    <a:lnTo>
                      <a:pt x="636" y="317"/>
                    </a:lnTo>
                    <a:close/>
                    <a:moveTo>
                      <a:pt x="194" y="325"/>
                    </a:moveTo>
                    <a:lnTo>
                      <a:pt x="192" y="325"/>
                    </a:lnTo>
                    <a:lnTo>
                      <a:pt x="194" y="325"/>
                    </a:lnTo>
                    <a:lnTo>
                      <a:pt x="196" y="325"/>
                    </a:lnTo>
                    <a:lnTo>
                      <a:pt x="194" y="325"/>
                    </a:lnTo>
                    <a:close/>
                    <a:moveTo>
                      <a:pt x="636" y="315"/>
                    </a:moveTo>
                    <a:lnTo>
                      <a:pt x="638" y="315"/>
                    </a:lnTo>
                    <a:lnTo>
                      <a:pt x="638" y="317"/>
                    </a:lnTo>
                    <a:lnTo>
                      <a:pt x="636" y="317"/>
                    </a:lnTo>
                    <a:lnTo>
                      <a:pt x="638" y="317"/>
                    </a:lnTo>
                    <a:lnTo>
                      <a:pt x="636" y="317"/>
                    </a:lnTo>
                    <a:lnTo>
                      <a:pt x="638" y="317"/>
                    </a:lnTo>
                    <a:lnTo>
                      <a:pt x="636" y="317"/>
                    </a:lnTo>
                    <a:lnTo>
                      <a:pt x="634" y="317"/>
                    </a:lnTo>
                    <a:lnTo>
                      <a:pt x="636" y="317"/>
                    </a:lnTo>
                    <a:lnTo>
                      <a:pt x="634" y="317"/>
                    </a:lnTo>
                    <a:lnTo>
                      <a:pt x="636" y="315"/>
                    </a:lnTo>
                    <a:close/>
                    <a:moveTo>
                      <a:pt x="630" y="315"/>
                    </a:moveTo>
                    <a:lnTo>
                      <a:pt x="632" y="315"/>
                    </a:lnTo>
                    <a:lnTo>
                      <a:pt x="634" y="317"/>
                    </a:lnTo>
                    <a:lnTo>
                      <a:pt x="632" y="317"/>
                    </a:lnTo>
                    <a:lnTo>
                      <a:pt x="630" y="317"/>
                    </a:lnTo>
                    <a:lnTo>
                      <a:pt x="630" y="315"/>
                    </a:lnTo>
                    <a:close/>
                    <a:moveTo>
                      <a:pt x="638" y="315"/>
                    </a:moveTo>
                    <a:lnTo>
                      <a:pt x="636" y="315"/>
                    </a:lnTo>
                    <a:lnTo>
                      <a:pt x="638" y="315"/>
                    </a:lnTo>
                    <a:lnTo>
                      <a:pt x="636" y="315"/>
                    </a:lnTo>
                    <a:lnTo>
                      <a:pt x="638" y="315"/>
                    </a:lnTo>
                    <a:close/>
                    <a:moveTo>
                      <a:pt x="618" y="317"/>
                    </a:moveTo>
                    <a:lnTo>
                      <a:pt x="617" y="317"/>
                    </a:lnTo>
                    <a:lnTo>
                      <a:pt x="618" y="317"/>
                    </a:lnTo>
                    <a:close/>
                    <a:moveTo>
                      <a:pt x="636" y="315"/>
                    </a:moveTo>
                    <a:lnTo>
                      <a:pt x="638" y="315"/>
                    </a:lnTo>
                    <a:lnTo>
                      <a:pt x="636" y="315"/>
                    </a:lnTo>
                    <a:close/>
                    <a:moveTo>
                      <a:pt x="630" y="315"/>
                    </a:moveTo>
                    <a:lnTo>
                      <a:pt x="632" y="315"/>
                    </a:lnTo>
                    <a:lnTo>
                      <a:pt x="630" y="315"/>
                    </a:lnTo>
                    <a:close/>
                    <a:moveTo>
                      <a:pt x="634" y="319"/>
                    </a:moveTo>
                    <a:lnTo>
                      <a:pt x="634" y="317"/>
                    </a:lnTo>
                    <a:lnTo>
                      <a:pt x="632" y="317"/>
                    </a:lnTo>
                    <a:lnTo>
                      <a:pt x="630" y="319"/>
                    </a:lnTo>
                    <a:lnTo>
                      <a:pt x="628" y="319"/>
                    </a:lnTo>
                    <a:lnTo>
                      <a:pt x="628" y="317"/>
                    </a:lnTo>
                    <a:lnTo>
                      <a:pt x="628" y="315"/>
                    </a:lnTo>
                    <a:lnTo>
                      <a:pt x="630" y="315"/>
                    </a:lnTo>
                    <a:lnTo>
                      <a:pt x="630" y="317"/>
                    </a:lnTo>
                    <a:lnTo>
                      <a:pt x="632" y="317"/>
                    </a:lnTo>
                    <a:lnTo>
                      <a:pt x="634" y="317"/>
                    </a:lnTo>
                    <a:lnTo>
                      <a:pt x="634" y="319"/>
                    </a:lnTo>
                    <a:close/>
                    <a:moveTo>
                      <a:pt x="615" y="317"/>
                    </a:moveTo>
                    <a:lnTo>
                      <a:pt x="613" y="317"/>
                    </a:lnTo>
                    <a:lnTo>
                      <a:pt x="615" y="317"/>
                    </a:lnTo>
                    <a:close/>
                    <a:moveTo>
                      <a:pt x="622" y="317"/>
                    </a:moveTo>
                    <a:lnTo>
                      <a:pt x="620" y="317"/>
                    </a:lnTo>
                    <a:lnTo>
                      <a:pt x="622" y="317"/>
                    </a:lnTo>
                    <a:close/>
                    <a:moveTo>
                      <a:pt x="622" y="317"/>
                    </a:moveTo>
                    <a:lnTo>
                      <a:pt x="622" y="315"/>
                    </a:lnTo>
                    <a:lnTo>
                      <a:pt x="622" y="317"/>
                    </a:lnTo>
                    <a:close/>
                    <a:moveTo>
                      <a:pt x="624" y="315"/>
                    </a:moveTo>
                    <a:lnTo>
                      <a:pt x="622" y="315"/>
                    </a:lnTo>
                    <a:lnTo>
                      <a:pt x="624" y="315"/>
                    </a:lnTo>
                    <a:close/>
                    <a:moveTo>
                      <a:pt x="655" y="311"/>
                    </a:moveTo>
                    <a:lnTo>
                      <a:pt x="653" y="313"/>
                    </a:lnTo>
                    <a:lnTo>
                      <a:pt x="653" y="311"/>
                    </a:lnTo>
                    <a:lnTo>
                      <a:pt x="655" y="311"/>
                    </a:lnTo>
                    <a:lnTo>
                      <a:pt x="653" y="311"/>
                    </a:lnTo>
                    <a:lnTo>
                      <a:pt x="655" y="311"/>
                    </a:lnTo>
                    <a:close/>
                    <a:moveTo>
                      <a:pt x="186" y="323"/>
                    </a:moveTo>
                    <a:lnTo>
                      <a:pt x="186" y="325"/>
                    </a:lnTo>
                    <a:lnTo>
                      <a:pt x="184" y="323"/>
                    </a:lnTo>
                    <a:lnTo>
                      <a:pt x="186" y="323"/>
                    </a:lnTo>
                    <a:close/>
                    <a:moveTo>
                      <a:pt x="196" y="323"/>
                    </a:moveTo>
                    <a:lnTo>
                      <a:pt x="194" y="323"/>
                    </a:lnTo>
                    <a:lnTo>
                      <a:pt x="196" y="323"/>
                    </a:lnTo>
                    <a:lnTo>
                      <a:pt x="196" y="325"/>
                    </a:lnTo>
                    <a:lnTo>
                      <a:pt x="194" y="325"/>
                    </a:lnTo>
                    <a:lnTo>
                      <a:pt x="192" y="325"/>
                    </a:lnTo>
                    <a:lnTo>
                      <a:pt x="190" y="325"/>
                    </a:lnTo>
                    <a:lnTo>
                      <a:pt x="188" y="325"/>
                    </a:lnTo>
                    <a:lnTo>
                      <a:pt x="190" y="325"/>
                    </a:lnTo>
                    <a:lnTo>
                      <a:pt x="192" y="325"/>
                    </a:lnTo>
                    <a:lnTo>
                      <a:pt x="190" y="325"/>
                    </a:lnTo>
                    <a:lnTo>
                      <a:pt x="188" y="325"/>
                    </a:lnTo>
                    <a:lnTo>
                      <a:pt x="186" y="325"/>
                    </a:lnTo>
                    <a:lnTo>
                      <a:pt x="188" y="325"/>
                    </a:lnTo>
                    <a:lnTo>
                      <a:pt x="190" y="325"/>
                    </a:lnTo>
                    <a:lnTo>
                      <a:pt x="192" y="323"/>
                    </a:lnTo>
                    <a:lnTo>
                      <a:pt x="192" y="325"/>
                    </a:lnTo>
                    <a:lnTo>
                      <a:pt x="192" y="323"/>
                    </a:lnTo>
                    <a:lnTo>
                      <a:pt x="194" y="323"/>
                    </a:lnTo>
                    <a:lnTo>
                      <a:pt x="196" y="323"/>
                    </a:lnTo>
                    <a:close/>
                    <a:moveTo>
                      <a:pt x="190" y="323"/>
                    </a:moveTo>
                    <a:lnTo>
                      <a:pt x="192" y="323"/>
                    </a:lnTo>
                    <a:lnTo>
                      <a:pt x="190" y="323"/>
                    </a:lnTo>
                    <a:lnTo>
                      <a:pt x="192" y="323"/>
                    </a:lnTo>
                    <a:lnTo>
                      <a:pt x="190" y="325"/>
                    </a:lnTo>
                    <a:lnTo>
                      <a:pt x="188" y="323"/>
                    </a:lnTo>
                    <a:lnTo>
                      <a:pt x="186" y="323"/>
                    </a:lnTo>
                    <a:lnTo>
                      <a:pt x="188" y="323"/>
                    </a:lnTo>
                    <a:lnTo>
                      <a:pt x="190" y="323"/>
                    </a:lnTo>
                    <a:close/>
                    <a:moveTo>
                      <a:pt x="190" y="323"/>
                    </a:moveTo>
                    <a:lnTo>
                      <a:pt x="192" y="321"/>
                    </a:lnTo>
                    <a:lnTo>
                      <a:pt x="194" y="321"/>
                    </a:lnTo>
                    <a:lnTo>
                      <a:pt x="192" y="323"/>
                    </a:lnTo>
                    <a:lnTo>
                      <a:pt x="190" y="323"/>
                    </a:lnTo>
                    <a:close/>
                    <a:moveTo>
                      <a:pt x="200" y="323"/>
                    </a:moveTo>
                    <a:lnTo>
                      <a:pt x="202" y="321"/>
                    </a:lnTo>
                    <a:lnTo>
                      <a:pt x="202" y="323"/>
                    </a:lnTo>
                    <a:lnTo>
                      <a:pt x="200" y="323"/>
                    </a:lnTo>
                    <a:close/>
                    <a:moveTo>
                      <a:pt x="204" y="323"/>
                    </a:moveTo>
                    <a:lnTo>
                      <a:pt x="202" y="323"/>
                    </a:lnTo>
                    <a:lnTo>
                      <a:pt x="202" y="325"/>
                    </a:lnTo>
                    <a:lnTo>
                      <a:pt x="200" y="325"/>
                    </a:lnTo>
                    <a:lnTo>
                      <a:pt x="202" y="325"/>
                    </a:lnTo>
                    <a:lnTo>
                      <a:pt x="200" y="325"/>
                    </a:lnTo>
                    <a:lnTo>
                      <a:pt x="198" y="325"/>
                    </a:lnTo>
                    <a:lnTo>
                      <a:pt x="196" y="325"/>
                    </a:lnTo>
                    <a:lnTo>
                      <a:pt x="198" y="325"/>
                    </a:lnTo>
                    <a:lnTo>
                      <a:pt x="200" y="323"/>
                    </a:lnTo>
                    <a:lnTo>
                      <a:pt x="202" y="323"/>
                    </a:lnTo>
                    <a:lnTo>
                      <a:pt x="204" y="323"/>
                    </a:lnTo>
                    <a:lnTo>
                      <a:pt x="204" y="321"/>
                    </a:lnTo>
                    <a:lnTo>
                      <a:pt x="204" y="323"/>
                    </a:lnTo>
                    <a:close/>
                    <a:moveTo>
                      <a:pt x="194" y="321"/>
                    </a:moveTo>
                    <a:lnTo>
                      <a:pt x="192" y="321"/>
                    </a:lnTo>
                    <a:lnTo>
                      <a:pt x="194" y="321"/>
                    </a:lnTo>
                    <a:lnTo>
                      <a:pt x="196" y="319"/>
                    </a:lnTo>
                    <a:lnTo>
                      <a:pt x="194" y="321"/>
                    </a:lnTo>
                    <a:close/>
                    <a:moveTo>
                      <a:pt x="196" y="323"/>
                    </a:moveTo>
                    <a:lnTo>
                      <a:pt x="194" y="323"/>
                    </a:lnTo>
                    <a:lnTo>
                      <a:pt x="192" y="323"/>
                    </a:lnTo>
                    <a:lnTo>
                      <a:pt x="192" y="325"/>
                    </a:lnTo>
                    <a:lnTo>
                      <a:pt x="192" y="323"/>
                    </a:lnTo>
                    <a:lnTo>
                      <a:pt x="194" y="323"/>
                    </a:lnTo>
                    <a:lnTo>
                      <a:pt x="194" y="321"/>
                    </a:lnTo>
                    <a:lnTo>
                      <a:pt x="196" y="321"/>
                    </a:lnTo>
                    <a:lnTo>
                      <a:pt x="198" y="319"/>
                    </a:lnTo>
                    <a:lnTo>
                      <a:pt x="198" y="321"/>
                    </a:lnTo>
                    <a:lnTo>
                      <a:pt x="196" y="321"/>
                    </a:lnTo>
                    <a:lnTo>
                      <a:pt x="196" y="323"/>
                    </a:lnTo>
                    <a:close/>
                    <a:moveTo>
                      <a:pt x="198" y="319"/>
                    </a:moveTo>
                    <a:lnTo>
                      <a:pt x="196" y="321"/>
                    </a:lnTo>
                    <a:lnTo>
                      <a:pt x="196" y="319"/>
                    </a:lnTo>
                    <a:lnTo>
                      <a:pt x="198" y="319"/>
                    </a:lnTo>
                    <a:close/>
                    <a:moveTo>
                      <a:pt x="200" y="323"/>
                    </a:moveTo>
                    <a:lnTo>
                      <a:pt x="198" y="323"/>
                    </a:lnTo>
                    <a:lnTo>
                      <a:pt x="196" y="325"/>
                    </a:lnTo>
                    <a:lnTo>
                      <a:pt x="196" y="323"/>
                    </a:lnTo>
                    <a:lnTo>
                      <a:pt x="196" y="321"/>
                    </a:lnTo>
                    <a:lnTo>
                      <a:pt x="198" y="323"/>
                    </a:lnTo>
                    <a:lnTo>
                      <a:pt x="198" y="321"/>
                    </a:lnTo>
                    <a:lnTo>
                      <a:pt x="200" y="321"/>
                    </a:lnTo>
                    <a:lnTo>
                      <a:pt x="202" y="321"/>
                    </a:lnTo>
                    <a:lnTo>
                      <a:pt x="200" y="321"/>
                    </a:lnTo>
                    <a:lnTo>
                      <a:pt x="198" y="323"/>
                    </a:lnTo>
                    <a:lnTo>
                      <a:pt x="200" y="321"/>
                    </a:lnTo>
                    <a:lnTo>
                      <a:pt x="202" y="321"/>
                    </a:lnTo>
                    <a:lnTo>
                      <a:pt x="204" y="321"/>
                    </a:lnTo>
                    <a:lnTo>
                      <a:pt x="204" y="319"/>
                    </a:lnTo>
                    <a:lnTo>
                      <a:pt x="204" y="321"/>
                    </a:lnTo>
                    <a:lnTo>
                      <a:pt x="202" y="321"/>
                    </a:lnTo>
                    <a:lnTo>
                      <a:pt x="202" y="323"/>
                    </a:lnTo>
                    <a:lnTo>
                      <a:pt x="200" y="323"/>
                    </a:lnTo>
                    <a:close/>
                    <a:moveTo>
                      <a:pt x="204" y="323"/>
                    </a:moveTo>
                    <a:lnTo>
                      <a:pt x="205" y="321"/>
                    </a:lnTo>
                    <a:lnTo>
                      <a:pt x="205" y="319"/>
                    </a:lnTo>
                    <a:lnTo>
                      <a:pt x="205" y="321"/>
                    </a:lnTo>
                    <a:lnTo>
                      <a:pt x="205" y="323"/>
                    </a:lnTo>
                    <a:lnTo>
                      <a:pt x="204" y="323"/>
                    </a:lnTo>
                    <a:close/>
                    <a:moveTo>
                      <a:pt x="200" y="319"/>
                    </a:moveTo>
                    <a:lnTo>
                      <a:pt x="198" y="319"/>
                    </a:lnTo>
                    <a:lnTo>
                      <a:pt x="200" y="319"/>
                    </a:lnTo>
                    <a:close/>
                    <a:moveTo>
                      <a:pt x="154" y="313"/>
                    </a:moveTo>
                    <a:lnTo>
                      <a:pt x="154" y="315"/>
                    </a:lnTo>
                    <a:lnTo>
                      <a:pt x="152" y="315"/>
                    </a:lnTo>
                    <a:lnTo>
                      <a:pt x="154" y="313"/>
                    </a:lnTo>
                    <a:lnTo>
                      <a:pt x="152" y="313"/>
                    </a:lnTo>
                    <a:lnTo>
                      <a:pt x="154" y="313"/>
                    </a:lnTo>
                    <a:close/>
                    <a:moveTo>
                      <a:pt x="204" y="319"/>
                    </a:moveTo>
                    <a:lnTo>
                      <a:pt x="202" y="321"/>
                    </a:lnTo>
                    <a:lnTo>
                      <a:pt x="202" y="319"/>
                    </a:lnTo>
                    <a:lnTo>
                      <a:pt x="202" y="321"/>
                    </a:lnTo>
                    <a:lnTo>
                      <a:pt x="200" y="321"/>
                    </a:lnTo>
                    <a:lnTo>
                      <a:pt x="198" y="321"/>
                    </a:lnTo>
                    <a:lnTo>
                      <a:pt x="196" y="321"/>
                    </a:lnTo>
                    <a:lnTo>
                      <a:pt x="198" y="321"/>
                    </a:lnTo>
                    <a:lnTo>
                      <a:pt x="200" y="321"/>
                    </a:lnTo>
                    <a:lnTo>
                      <a:pt x="200" y="319"/>
                    </a:lnTo>
                    <a:lnTo>
                      <a:pt x="200" y="321"/>
                    </a:lnTo>
                    <a:lnTo>
                      <a:pt x="200" y="319"/>
                    </a:lnTo>
                    <a:lnTo>
                      <a:pt x="202" y="319"/>
                    </a:lnTo>
                    <a:lnTo>
                      <a:pt x="202" y="317"/>
                    </a:lnTo>
                    <a:lnTo>
                      <a:pt x="204" y="317"/>
                    </a:lnTo>
                    <a:lnTo>
                      <a:pt x="202" y="319"/>
                    </a:lnTo>
                    <a:lnTo>
                      <a:pt x="204" y="319"/>
                    </a:lnTo>
                    <a:close/>
                    <a:moveTo>
                      <a:pt x="200" y="317"/>
                    </a:moveTo>
                    <a:lnTo>
                      <a:pt x="200" y="319"/>
                    </a:lnTo>
                    <a:lnTo>
                      <a:pt x="198" y="319"/>
                    </a:lnTo>
                    <a:lnTo>
                      <a:pt x="196" y="319"/>
                    </a:lnTo>
                    <a:lnTo>
                      <a:pt x="194" y="319"/>
                    </a:lnTo>
                    <a:lnTo>
                      <a:pt x="196" y="319"/>
                    </a:lnTo>
                    <a:lnTo>
                      <a:pt x="196" y="317"/>
                    </a:lnTo>
                    <a:lnTo>
                      <a:pt x="198" y="317"/>
                    </a:lnTo>
                    <a:lnTo>
                      <a:pt x="200" y="317"/>
                    </a:lnTo>
                    <a:close/>
                    <a:moveTo>
                      <a:pt x="209" y="319"/>
                    </a:moveTo>
                    <a:lnTo>
                      <a:pt x="207" y="321"/>
                    </a:lnTo>
                    <a:lnTo>
                      <a:pt x="205" y="321"/>
                    </a:lnTo>
                    <a:lnTo>
                      <a:pt x="207" y="319"/>
                    </a:lnTo>
                    <a:lnTo>
                      <a:pt x="205" y="319"/>
                    </a:lnTo>
                    <a:lnTo>
                      <a:pt x="207" y="319"/>
                    </a:lnTo>
                    <a:lnTo>
                      <a:pt x="209" y="319"/>
                    </a:lnTo>
                    <a:lnTo>
                      <a:pt x="209" y="317"/>
                    </a:lnTo>
                    <a:lnTo>
                      <a:pt x="211" y="317"/>
                    </a:lnTo>
                    <a:lnTo>
                      <a:pt x="209" y="317"/>
                    </a:lnTo>
                    <a:lnTo>
                      <a:pt x="209" y="319"/>
                    </a:lnTo>
                    <a:close/>
                    <a:moveTo>
                      <a:pt x="202" y="317"/>
                    </a:moveTo>
                    <a:lnTo>
                      <a:pt x="202" y="315"/>
                    </a:lnTo>
                    <a:lnTo>
                      <a:pt x="202" y="317"/>
                    </a:lnTo>
                    <a:close/>
                    <a:moveTo>
                      <a:pt x="198" y="317"/>
                    </a:moveTo>
                    <a:lnTo>
                      <a:pt x="200" y="315"/>
                    </a:lnTo>
                    <a:lnTo>
                      <a:pt x="202" y="315"/>
                    </a:lnTo>
                    <a:lnTo>
                      <a:pt x="200" y="317"/>
                    </a:lnTo>
                    <a:lnTo>
                      <a:pt x="198" y="317"/>
                    </a:lnTo>
                    <a:close/>
                    <a:moveTo>
                      <a:pt x="661" y="304"/>
                    </a:moveTo>
                    <a:lnTo>
                      <a:pt x="663" y="302"/>
                    </a:lnTo>
                    <a:lnTo>
                      <a:pt x="663" y="304"/>
                    </a:lnTo>
                    <a:lnTo>
                      <a:pt x="661" y="304"/>
                    </a:lnTo>
                    <a:close/>
                    <a:moveTo>
                      <a:pt x="205" y="315"/>
                    </a:moveTo>
                    <a:lnTo>
                      <a:pt x="207" y="315"/>
                    </a:lnTo>
                    <a:lnTo>
                      <a:pt x="207" y="317"/>
                    </a:lnTo>
                    <a:lnTo>
                      <a:pt x="207" y="315"/>
                    </a:lnTo>
                    <a:lnTo>
                      <a:pt x="207" y="317"/>
                    </a:lnTo>
                    <a:lnTo>
                      <a:pt x="205" y="317"/>
                    </a:lnTo>
                    <a:lnTo>
                      <a:pt x="205" y="315"/>
                    </a:lnTo>
                    <a:close/>
                    <a:moveTo>
                      <a:pt x="205" y="315"/>
                    </a:moveTo>
                    <a:lnTo>
                      <a:pt x="205" y="317"/>
                    </a:lnTo>
                    <a:lnTo>
                      <a:pt x="204" y="319"/>
                    </a:lnTo>
                    <a:lnTo>
                      <a:pt x="204" y="317"/>
                    </a:lnTo>
                    <a:lnTo>
                      <a:pt x="202" y="317"/>
                    </a:lnTo>
                    <a:lnTo>
                      <a:pt x="204" y="317"/>
                    </a:lnTo>
                    <a:lnTo>
                      <a:pt x="204" y="315"/>
                    </a:lnTo>
                    <a:lnTo>
                      <a:pt x="205" y="315"/>
                    </a:lnTo>
                    <a:close/>
                    <a:moveTo>
                      <a:pt x="205" y="315"/>
                    </a:moveTo>
                    <a:lnTo>
                      <a:pt x="204" y="315"/>
                    </a:lnTo>
                    <a:lnTo>
                      <a:pt x="204" y="313"/>
                    </a:lnTo>
                    <a:lnTo>
                      <a:pt x="205" y="315"/>
                    </a:lnTo>
                    <a:close/>
                    <a:moveTo>
                      <a:pt x="150" y="308"/>
                    </a:moveTo>
                    <a:lnTo>
                      <a:pt x="150" y="310"/>
                    </a:lnTo>
                    <a:lnTo>
                      <a:pt x="148" y="310"/>
                    </a:lnTo>
                    <a:lnTo>
                      <a:pt x="148" y="308"/>
                    </a:lnTo>
                    <a:lnTo>
                      <a:pt x="150" y="308"/>
                    </a:lnTo>
                    <a:close/>
                    <a:moveTo>
                      <a:pt x="200" y="311"/>
                    </a:moveTo>
                    <a:lnTo>
                      <a:pt x="202" y="311"/>
                    </a:lnTo>
                    <a:lnTo>
                      <a:pt x="200" y="311"/>
                    </a:lnTo>
                    <a:close/>
                    <a:moveTo>
                      <a:pt x="186" y="310"/>
                    </a:moveTo>
                    <a:lnTo>
                      <a:pt x="188" y="310"/>
                    </a:lnTo>
                    <a:lnTo>
                      <a:pt x="186" y="310"/>
                    </a:lnTo>
                    <a:close/>
                    <a:moveTo>
                      <a:pt x="192" y="311"/>
                    </a:moveTo>
                    <a:lnTo>
                      <a:pt x="192" y="310"/>
                    </a:lnTo>
                    <a:lnTo>
                      <a:pt x="192" y="311"/>
                    </a:lnTo>
                    <a:close/>
                    <a:moveTo>
                      <a:pt x="192" y="310"/>
                    </a:moveTo>
                    <a:lnTo>
                      <a:pt x="190" y="310"/>
                    </a:lnTo>
                    <a:lnTo>
                      <a:pt x="192" y="310"/>
                    </a:lnTo>
                    <a:close/>
                    <a:moveTo>
                      <a:pt x="190" y="310"/>
                    </a:moveTo>
                    <a:lnTo>
                      <a:pt x="188" y="310"/>
                    </a:lnTo>
                    <a:lnTo>
                      <a:pt x="190" y="310"/>
                    </a:lnTo>
                    <a:close/>
                    <a:moveTo>
                      <a:pt x="200" y="311"/>
                    </a:moveTo>
                    <a:lnTo>
                      <a:pt x="198" y="310"/>
                    </a:lnTo>
                    <a:lnTo>
                      <a:pt x="196" y="310"/>
                    </a:lnTo>
                    <a:lnTo>
                      <a:pt x="198" y="310"/>
                    </a:lnTo>
                    <a:lnTo>
                      <a:pt x="200" y="311"/>
                    </a:lnTo>
                    <a:close/>
                    <a:moveTo>
                      <a:pt x="202" y="310"/>
                    </a:moveTo>
                    <a:lnTo>
                      <a:pt x="202" y="311"/>
                    </a:lnTo>
                    <a:lnTo>
                      <a:pt x="202" y="310"/>
                    </a:lnTo>
                    <a:close/>
                    <a:moveTo>
                      <a:pt x="202" y="310"/>
                    </a:moveTo>
                    <a:lnTo>
                      <a:pt x="204" y="310"/>
                    </a:lnTo>
                    <a:lnTo>
                      <a:pt x="202" y="310"/>
                    </a:lnTo>
                    <a:close/>
                    <a:moveTo>
                      <a:pt x="192" y="310"/>
                    </a:moveTo>
                    <a:lnTo>
                      <a:pt x="194" y="310"/>
                    </a:lnTo>
                    <a:lnTo>
                      <a:pt x="192" y="310"/>
                    </a:lnTo>
                    <a:lnTo>
                      <a:pt x="192" y="308"/>
                    </a:lnTo>
                    <a:lnTo>
                      <a:pt x="192" y="310"/>
                    </a:lnTo>
                    <a:close/>
                    <a:moveTo>
                      <a:pt x="215" y="311"/>
                    </a:moveTo>
                    <a:lnTo>
                      <a:pt x="215" y="313"/>
                    </a:lnTo>
                    <a:lnTo>
                      <a:pt x="215" y="315"/>
                    </a:lnTo>
                    <a:lnTo>
                      <a:pt x="217" y="315"/>
                    </a:lnTo>
                    <a:lnTo>
                      <a:pt x="217" y="317"/>
                    </a:lnTo>
                    <a:lnTo>
                      <a:pt x="215" y="317"/>
                    </a:lnTo>
                    <a:lnTo>
                      <a:pt x="215" y="319"/>
                    </a:lnTo>
                    <a:lnTo>
                      <a:pt x="213" y="319"/>
                    </a:lnTo>
                    <a:lnTo>
                      <a:pt x="211" y="319"/>
                    </a:lnTo>
                    <a:lnTo>
                      <a:pt x="209" y="319"/>
                    </a:lnTo>
                    <a:lnTo>
                      <a:pt x="209" y="317"/>
                    </a:lnTo>
                    <a:lnTo>
                      <a:pt x="211" y="317"/>
                    </a:lnTo>
                    <a:lnTo>
                      <a:pt x="211" y="315"/>
                    </a:lnTo>
                    <a:lnTo>
                      <a:pt x="213" y="315"/>
                    </a:lnTo>
                    <a:lnTo>
                      <a:pt x="215" y="315"/>
                    </a:lnTo>
                    <a:lnTo>
                      <a:pt x="213" y="313"/>
                    </a:lnTo>
                    <a:lnTo>
                      <a:pt x="215" y="313"/>
                    </a:lnTo>
                    <a:lnTo>
                      <a:pt x="215" y="311"/>
                    </a:lnTo>
                    <a:lnTo>
                      <a:pt x="213" y="311"/>
                    </a:lnTo>
                    <a:lnTo>
                      <a:pt x="213" y="310"/>
                    </a:lnTo>
                    <a:lnTo>
                      <a:pt x="215" y="310"/>
                    </a:lnTo>
                    <a:lnTo>
                      <a:pt x="215" y="311"/>
                    </a:lnTo>
                    <a:close/>
                    <a:moveTo>
                      <a:pt x="200" y="308"/>
                    </a:moveTo>
                    <a:lnTo>
                      <a:pt x="198" y="308"/>
                    </a:lnTo>
                    <a:lnTo>
                      <a:pt x="200" y="308"/>
                    </a:lnTo>
                    <a:close/>
                    <a:moveTo>
                      <a:pt x="200" y="308"/>
                    </a:moveTo>
                    <a:lnTo>
                      <a:pt x="198" y="308"/>
                    </a:lnTo>
                    <a:lnTo>
                      <a:pt x="200" y="308"/>
                    </a:lnTo>
                    <a:close/>
                    <a:moveTo>
                      <a:pt x="198" y="308"/>
                    </a:moveTo>
                    <a:lnTo>
                      <a:pt x="196" y="308"/>
                    </a:lnTo>
                    <a:lnTo>
                      <a:pt x="198" y="308"/>
                    </a:lnTo>
                    <a:close/>
                    <a:moveTo>
                      <a:pt x="194" y="308"/>
                    </a:moveTo>
                    <a:lnTo>
                      <a:pt x="192" y="308"/>
                    </a:lnTo>
                    <a:lnTo>
                      <a:pt x="194" y="306"/>
                    </a:lnTo>
                    <a:lnTo>
                      <a:pt x="194" y="308"/>
                    </a:lnTo>
                    <a:close/>
                    <a:moveTo>
                      <a:pt x="186" y="308"/>
                    </a:moveTo>
                    <a:lnTo>
                      <a:pt x="188" y="308"/>
                    </a:lnTo>
                    <a:lnTo>
                      <a:pt x="188" y="310"/>
                    </a:lnTo>
                    <a:lnTo>
                      <a:pt x="186" y="310"/>
                    </a:lnTo>
                    <a:lnTo>
                      <a:pt x="186" y="308"/>
                    </a:lnTo>
                    <a:lnTo>
                      <a:pt x="184" y="308"/>
                    </a:lnTo>
                    <a:lnTo>
                      <a:pt x="184" y="306"/>
                    </a:lnTo>
                    <a:lnTo>
                      <a:pt x="186" y="306"/>
                    </a:lnTo>
                    <a:lnTo>
                      <a:pt x="186" y="308"/>
                    </a:lnTo>
                    <a:close/>
                    <a:moveTo>
                      <a:pt x="200" y="308"/>
                    </a:moveTo>
                    <a:lnTo>
                      <a:pt x="200" y="306"/>
                    </a:lnTo>
                    <a:lnTo>
                      <a:pt x="198" y="306"/>
                    </a:lnTo>
                    <a:lnTo>
                      <a:pt x="200" y="306"/>
                    </a:lnTo>
                    <a:lnTo>
                      <a:pt x="200" y="308"/>
                    </a:lnTo>
                    <a:close/>
                    <a:moveTo>
                      <a:pt x="194" y="306"/>
                    </a:moveTo>
                    <a:lnTo>
                      <a:pt x="196" y="306"/>
                    </a:lnTo>
                    <a:lnTo>
                      <a:pt x="198" y="306"/>
                    </a:lnTo>
                    <a:lnTo>
                      <a:pt x="198" y="308"/>
                    </a:lnTo>
                    <a:lnTo>
                      <a:pt x="196" y="306"/>
                    </a:lnTo>
                    <a:lnTo>
                      <a:pt x="194" y="306"/>
                    </a:lnTo>
                    <a:close/>
                    <a:moveTo>
                      <a:pt x="198" y="306"/>
                    </a:moveTo>
                    <a:lnTo>
                      <a:pt x="196" y="306"/>
                    </a:lnTo>
                    <a:lnTo>
                      <a:pt x="194" y="306"/>
                    </a:lnTo>
                    <a:lnTo>
                      <a:pt x="196" y="306"/>
                    </a:lnTo>
                    <a:lnTo>
                      <a:pt x="198" y="306"/>
                    </a:lnTo>
                    <a:close/>
                    <a:moveTo>
                      <a:pt x="202" y="308"/>
                    </a:moveTo>
                    <a:lnTo>
                      <a:pt x="200" y="308"/>
                    </a:lnTo>
                    <a:lnTo>
                      <a:pt x="200" y="306"/>
                    </a:lnTo>
                    <a:lnTo>
                      <a:pt x="202" y="306"/>
                    </a:lnTo>
                    <a:lnTo>
                      <a:pt x="202" y="308"/>
                    </a:lnTo>
                    <a:close/>
                    <a:moveTo>
                      <a:pt x="194" y="304"/>
                    </a:moveTo>
                    <a:lnTo>
                      <a:pt x="194" y="306"/>
                    </a:lnTo>
                    <a:lnTo>
                      <a:pt x="194" y="304"/>
                    </a:lnTo>
                    <a:lnTo>
                      <a:pt x="194" y="306"/>
                    </a:lnTo>
                    <a:lnTo>
                      <a:pt x="192" y="306"/>
                    </a:lnTo>
                    <a:lnTo>
                      <a:pt x="190" y="306"/>
                    </a:lnTo>
                    <a:lnTo>
                      <a:pt x="192" y="306"/>
                    </a:lnTo>
                    <a:lnTo>
                      <a:pt x="190" y="306"/>
                    </a:lnTo>
                    <a:lnTo>
                      <a:pt x="192" y="306"/>
                    </a:lnTo>
                    <a:lnTo>
                      <a:pt x="194" y="306"/>
                    </a:lnTo>
                    <a:lnTo>
                      <a:pt x="192" y="306"/>
                    </a:lnTo>
                    <a:lnTo>
                      <a:pt x="190" y="306"/>
                    </a:lnTo>
                    <a:lnTo>
                      <a:pt x="192" y="306"/>
                    </a:lnTo>
                    <a:lnTo>
                      <a:pt x="192" y="308"/>
                    </a:lnTo>
                    <a:lnTo>
                      <a:pt x="194" y="308"/>
                    </a:lnTo>
                    <a:lnTo>
                      <a:pt x="196" y="308"/>
                    </a:lnTo>
                    <a:lnTo>
                      <a:pt x="198" y="308"/>
                    </a:lnTo>
                    <a:lnTo>
                      <a:pt x="196" y="308"/>
                    </a:lnTo>
                    <a:lnTo>
                      <a:pt x="196" y="310"/>
                    </a:lnTo>
                    <a:lnTo>
                      <a:pt x="194" y="310"/>
                    </a:lnTo>
                    <a:lnTo>
                      <a:pt x="192" y="310"/>
                    </a:lnTo>
                    <a:lnTo>
                      <a:pt x="192" y="308"/>
                    </a:lnTo>
                    <a:lnTo>
                      <a:pt x="190" y="308"/>
                    </a:lnTo>
                    <a:lnTo>
                      <a:pt x="190" y="306"/>
                    </a:lnTo>
                    <a:lnTo>
                      <a:pt x="190" y="304"/>
                    </a:lnTo>
                    <a:lnTo>
                      <a:pt x="192" y="306"/>
                    </a:lnTo>
                    <a:lnTo>
                      <a:pt x="192" y="304"/>
                    </a:lnTo>
                    <a:lnTo>
                      <a:pt x="194" y="304"/>
                    </a:lnTo>
                    <a:close/>
                    <a:moveTo>
                      <a:pt x="196" y="306"/>
                    </a:moveTo>
                    <a:lnTo>
                      <a:pt x="194" y="304"/>
                    </a:lnTo>
                    <a:lnTo>
                      <a:pt x="196" y="306"/>
                    </a:lnTo>
                    <a:close/>
                    <a:moveTo>
                      <a:pt x="190" y="304"/>
                    </a:moveTo>
                    <a:lnTo>
                      <a:pt x="188" y="304"/>
                    </a:lnTo>
                    <a:lnTo>
                      <a:pt x="190" y="304"/>
                    </a:lnTo>
                    <a:close/>
                    <a:moveTo>
                      <a:pt x="144" y="298"/>
                    </a:moveTo>
                    <a:lnTo>
                      <a:pt x="142" y="298"/>
                    </a:lnTo>
                    <a:lnTo>
                      <a:pt x="142" y="300"/>
                    </a:lnTo>
                    <a:lnTo>
                      <a:pt x="144" y="300"/>
                    </a:lnTo>
                    <a:lnTo>
                      <a:pt x="144" y="302"/>
                    </a:lnTo>
                    <a:lnTo>
                      <a:pt x="142" y="302"/>
                    </a:lnTo>
                    <a:lnTo>
                      <a:pt x="140" y="302"/>
                    </a:lnTo>
                    <a:lnTo>
                      <a:pt x="140" y="300"/>
                    </a:lnTo>
                    <a:lnTo>
                      <a:pt x="138" y="300"/>
                    </a:lnTo>
                    <a:lnTo>
                      <a:pt x="136" y="300"/>
                    </a:lnTo>
                    <a:lnTo>
                      <a:pt x="134" y="300"/>
                    </a:lnTo>
                    <a:lnTo>
                      <a:pt x="134" y="298"/>
                    </a:lnTo>
                    <a:lnTo>
                      <a:pt x="132" y="298"/>
                    </a:lnTo>
                    <a:lnTo>
                      <a:pt x="134" y="298"/>
                    </a:lnTo>
                    <a:lnTo>
                      <a:pt x="136" y="298"/>
                    </a:lnTo>
                    <a:lnTo>
                      <a:pt x="138" y="298"/>
                    </a:lnTo>
                    <a:lnTo>
                      <a:pt x="138" y="300"/>
                    </a:lnTo>
                    <a:lnTo>
                      <a:pt x="138" y="298"/>
                    </a:lnTo>
                    <a:lnTo>
                      <a:pt x="140" y="298"/>
                    </a:lnTo>
                    <a:lnTo>
                      <a:pt x="142" y="298"/>
                    </a:lnTo>
                    <a:lnTo>
                      <a:pt x="144" y="298"/>
                    </a:lnTo>
                    <a:close/>
                    <a:moveTo>
                      <a:pt x="192" y="302"/>
                    </a:moveTo>
                    <a:lnTo>
                      <a:pt x="192" y="304"/>
                    </a:lnTo>
                    <a:lnTo>
                      <a:pt x="194" y="304"/>
                    </a:lnTo>
                    <a:lnTo>
                      <a:pt x="192" y="304"/>
                    </a:lnTo>
                    <a:lnTo>
                      <a:pt x="190" y="304"/>
                    </a:lnTo>
                    <a:lnTo>
                      <a:pt x="192" y="304"/>
                    </a:lnTo>
                    <a:lnTo>
                      <a:pt x="190" y="304"/>
                    </a:lnTo>
                    <a:lnTo>
                      <a:pt x="190" y="302"/>
                    </a:lnTo>
                    <a:lnTo>
                      <a:pt x="192" y="302"/>
                    </a:lnTo>
                    <a:close/>
                    <a:moveTo>
                      <a:pt x="194" y="302"/>
                    </a:moveTo>
                    <a:lnTo>
                      <a:pt x="194" y="304"/>
                    </a:lnTo>
                    <a:lnTo>
                      <a:pt x="194" y="302"/>
                    </a:lnTo>
                    <a:close/>
                    <a:moveTo>
                      <a:pt x="204" y="302"/>
                    </a:moveTo>
                    <a:lnTo>
                      <a:pt x="204" y="304"/>
                    </a:lnTo>
                    <a:lnTo>
                      <a:pt x="205" y="304"/>
                    </a:lnTo>
                    <a:lnTo>
                      <a:pt x="207" y="304"/>
                    </a:lnTo>
                    <a:lnTo>
                      <a:pt x="205" y="304"/>
                    </a:lnTo>
                    <a:lnTo>
                      <a:pt x="204" y="304"/>
                    </a:lnTo>
                    <a:lnTo>
                      <a:pt x="202" y="304"/>
                    </a:lnTo>
                    <a:lnTo>
                      <a:pt x="202" y="302"/>
                    </a:lnTo>
                    <a:lnTo>
                      <a:pt x="204" y="302"/>
                    </a:lnTo>
                    <a:close/>
                    <a:moveTo>
                      <a:pt x="196" y="302"/>
                    </a:moveTo>
                    <a:lnTo>
                      <a:pt x="198" y="302"/>
                    </a:lnTo>
                    <a:lnTo>
                      <a:pt x="198" y="304"/>
                    </a:lnTo>
                    <a:lnTo>
                      <a:pt x="198" y="302"/>
                    </a:lnTo>
                    <a:lnTo>
                      <a:pt x="198" y="304"/>
                    </a:lnTo>
                    <a:lnTo>
                      <a:pt x="200" y="304"/>
                    </a:lnTo>
                    <a:lnTo>
                      <a:pt x="200" y="306"/>
                    </a:lnTo>
                    <a:lnTo>
                      <a:pt x="198" y="306"/>
                    </a:lnTo>
                    <a:lnTo>
                      <a:pt x="196" y="304"/>
                    </a:lnTo>
                    <a:lnTo>
                      <a:pt x="196" y="306"/>
                    </a:lnTo>
                    <a:lnTo>
                      <a:pt x="196" y="304"/>
                    </a:lnTo>
                    <a:lnTo>
                      <a:pt x="194" y="304"/>
                    </a:lnTo>
                    <a:lnTo>
                      <a:pt x="196" y="304"/>
                    </a:lnTo>
                    <a:lnTo>
                      <a:pt x="194" y="304"/>
                    </a:lnTo>
                    <a:lnTo>
                      <a:pt x="194" y="302"/>
                    </a:lnTo>
                    <a:lnTo>
                      <a:pt x="196" y="302"/>
                    </a:lnTo>
                    <a:lnTo>
                      <a:pt x="196" y="304"/>
                    </a:lnTo>
                    <a:lnTo>
                      <a:pt x="196" y="302"/>
                    </a:lnTo>
                    <a:close/>
                    <a:moveTo>
                      <a:pt x="204" y="302"/>
                    </a:moveTo>
                    <a:lnTo>
                      <a:pt x="202" y="302"/>
                    </a:lnTo>
                    <a:lnTo>
                      <a:pt x="200" y="302"/>
                    </a:lnTo>
                    <a:lnTo>
                      <a:pt x="202" y="302"/>
                    </a:lnTo>
                    <a:lnTo>
                      <a:pt x="204" y="302"/>
                    </a:lnTo>
                    <a:close/>
                    <a:moveTo>
                      <a:pt x="125" y="294"/>
                    </a:moveTo>
                    <a:lnTo>
                      <a:pt x="123" y="294"/>
                    </a:lnTo>
                    <a:lnTo>
                      <a:pt x="125" y="294"/>
                    </a:lnTo>
                    <a:close/>
                    <a:moveTo>
                      <a:pt x="207" y="302"/>
                    </a:moveTo>
                    <a:lnTo>
                      <a:pt x="205" y="302"/>
                    </a:lnTo>
                    <a:lnTo>
                      <a:pt x="205" y="304"/>
                    </a:lnTo>
                    <a:lnTo>
                      <a:pt x="204" y="304"/>
                    </a:lnTo>
                    <a:lnTo>
                      <a:pt x="204" y="302"/>
                    </a:lnTo>
                    <a:lnTo>
                      <a:pt x="205" y="302"/>
                    </a:lnTo>
                    <a:lnTo>
                      <a:pt x="207" y="302"/>
                    </a:lnTo>
                    <a:close/>
                    <a:moveTo>
                      <a:pt x="192" y="302"/>
                    </a:moveTo>
                    <a:lnTo>
                      <a:pt x="190" y="302"/>
                    </a:lnTo>
                    <a:lnTo>
                      <a:pt x="192" y="302"/>
                    </a:lnTo>
                    <a:lnTo>
                      <a:pt x="190" y="302"/>
                    </a:lnTo>
                    <a:lnTo>
                      <a:pt x="190" y="300"/>
                    </a:lnTo>
                    <a:lnTo>
                      <a:pt x="192" y="300"/>
                    </a:lnTo>
                    <a:lnTo>
                      <a:pt x="192" y="302"/>
                    </a:lnTo>
                    <a:lnTo>
                      <a:pt x="194" y="302"/>
                    </a:lnTo>
                    <a:lnTo>
                      <a:pt x="192" y="302"/>
                    </a:lnTo>
                    <a:lnTo>
                      <a:pt x="194" y="302"/>
                    </a:lnTo>
                    <a:lnTo>
                      <a:pt x="192" y="304"/>
                    </a:lnTo>
                    <a:lnTo>
                      <a:pt x="194" y="304"/>
                    </a:lnTo>
                    <a:lnTo>
                      <a:pt x="192" y="304"/>
                    </a:lnTo>
                    <a:lnTo>
                      <a:pt x="192" y="302"/>
                    </a:lnTo>
                    <a:close/>
                    <a:moveTo>
                      <a:pt x="188" y="300"/>
                    </a:moveTo>
                    <a:lnTo>
                      <a:pt x="186" y="300"/>
                    </a:lnTo>
                    <a:lnTo>
                      <a:pt x="188" y="300"/>
                    </a:lnTo>
                    <a:close/>
                    <a:moveTo>
                      <a:pt x="188" y="300"/>
                    </a:moveTo>
                    <a:lnTo>
                      <a:pt x="190" y="300"/>
                    </a:lnTo>
                    <a:lnTo>
                      <a:pt x="188" y="300"/>
                    </a:lnTo>
                    <a:close/>
                    <a:moveTo>
                      <a:pt x="184" y="300"/>
                    </a:moveTo>
                    <a:lnTo>
                      <a:pt x="186" y="300"/>
                    </a:lnTo>
                    <a:lnTo>
                      <a:pt x="188" y="300"/>
                    </a:lnTo>
                    <a:lnTo>
                      <a:pt x="190" y="300"/>
                    </a:lnTo>
                    <a:lnTo>
                      <a:pt x="188" y="302"/>
                    </a:lnTo>
                    <a:lnTo>
                      <a:pt x="188" y="300"/>
                    </a:lnTo>
                    <a:lnTo>
                      <a:pt x="188" y="302"/>
                    </a:lnTo>
                    <a:lnTo>
                      <a:pt x="190" y="302"/>
                    </a:lnTo>
                    <a:lnTo>
                      <a:pt x="188" y="302"/>
                    </a:lnTo>
                    <a:lnTo>
                      <a:pt x="186" y="302"/>
                    </a:lnTo>
                    <a:lnTo>
                      <a:pt x="184" y="302"/>
                    </a:lnTo>
                    <a:lnTo>
                      <a:pt x="184" y="300"/>
                    </a:lnTo>
                    <a:close/>
                    <a:moveTo>
                      <a:pt x="194" y="300"/>
                    </a:moveTo>
                    <a:lnTo>
                      <a:pt x="196" y="300"/>
                    </a:lnTo>
                    <a:lnTo>
                      <a:pt x="194" y="300"/>
                    </a:lnTo>
                    <a:lnTo>
                      <a:pt x="194" y="302"/>
                    </a:lnTo>
                    <a:lnTo>
                      <a:pt x="194" y="300"/>
                    </a:lnTo>
                    <a:lnTo>
                      <a:pt x="192" y="300"/>
                    </a:lnTo>
                    <a:lnTo>
                      <a:pt x="192" y="298"/>
                    </a:lnTo>
                    <a:lnTo>
                      <a:pt x="194" y="300"/>
                    </a:lnTo>
                    <a:close/>
                    <a:moveTo>
                      <a:pt x="186" y="298"/>
                    </a:moveTo>
                    <a:lnTo>
                      <a:pt x="188" y="298"/>
                    </a:lnTo>
                    <a:lnTo>
                      <a:pt x="186" y="298"/>
                    </a:lnTo>
                    <a:lnTo>
                      <a:pt x="188" y="298"/>
                    </a:lnTo>
                    <a:lnTo>
                      <a:pt x="188" y="300"/>
                    </a:lnTo>
                    <a:lnTo>
                      <a:pt x="186" y="300"/>
                    </a:lnTo>
                    <a:lnTo>
                      <a:pt x="188" y="300"/>
                    </a:lnTo>
                    <a:lnTo>
                      <a:pt x="186" y="300"/>
                    </a:lnTo>
                    <a:lnTo>
                      <a:pt x="184" y="300"/>
                    </a:lnTo>
                    <a:lnTo>
                      <a:pt x="184" y="298"/>
                    </a:lnTo>
                    <a:lnTo>
                      <a:pt x="186" y="298"/>
                    </a:lnTo>
                    <a:lnTo>
                      <a:pt x="184" y="298"/>
                    </a:lnTo>
                    <a:lnTo>
                      <a:pt x="186" y="298"/>
                    </a:lnTo>
                    <a:close/>
                    <a:moveTo>
                      <a:pt x="190" y="298"/>
                    </a:moveTo>
                    <a:lnTo>
                      <a:pt x="188" y="298"/>
                    </a:lnTo>
                    <a:lnTo>
                      <a:pt x="190" y="298"/>
                    </a:lnTo>
                    <a:close/>
                    <a:moveTo>
                      <a:pt x="127" y="292"/>
                    </a:moveTo>
                    <a:lnTo>
                      <a:pt x="129" y="292"/>
                    </a:lnTo>
                    <a:lnTo>
                      <a:pt x="129" y="294"/>
                    </a:lnTo>
                    <a:lnTo>
                      <a:pt x="127" y="294"/>
                    </a:lnTo>
                    <a:lnTo>
                      <a:pt x="129" y="294"/>
                    </a:lnTo>
                    <a:lnTo>
                      <a:pt x="129" y="292"/>
                    </a:lnTo>
                    <a:lnTo>
                      <a:pt x="127" y="292"/>
                    </a:lnTo>
                    <a:lnTo>
                      <a:pt x="127" y="294"/>
                    </a:lnTo>
                    <a:lnTo>
                      <a:pt x="127" y="292"/>
                    </a:lnTo>
                    <a:lnTo>
                      <a:pt x="125" y="292"/>
                    </a:lnTo>
                    <a:lnTo>
                      <a:pt x="123" y="292"/>
                    </a:lnTo>
                    <a:lnTo>
                      <a:pt x="123" y="294"/>
                    </a:lnTo>
                    <a:lnTo>
                      <a:pt x="121" y="294"/>
                    </a:lnTo>
                    <a:lnTo>
                      <a:pt x="119" y="294"/>
                    </a:lnTo>
                    <a:lnTo>
                      <a:pt x="119" y="292"/>
                    </a:lnTo>
                    <a:lnTo>
                      <a:pt x="117" y="292"/>
                    </a:lnTo>
                    <a:lnTo>
                      <a:pt x="115" y="292"/>
                    </a:lnTo>
                    <a:lnTo>
                      <a:pt x="113" y="292"/>
                    </a:lnTo>
                    <a:lnTo>
                      <a:pt x="115" y="292"/>
                    </a:lnTo>
                    <a:lnTo>
                      <a:pt x="117" y="290"/>
                    </a:lnTo>
                    <a:lnTo>
                      <a:pt x="119" y="290"/>
                    </a:lnTo>
                    <a:lnTo>
                      <a:pt x="121" y="290"/>
                    </a:lnTo>
                    <a:lnTo>
                      <a:pt x="123" y="290"/>
                    </a:lnTo>
                    <a:lnTo>
                      <a:pt x="125" y="290"/>
                    </a:lnTo>
                    <a:lnTo>
                      <a:pt x="127" y="292"/>
                    </a:lnTo>
                    <a:close/>
                    <a:moveTo>
                      <a:pt x="107" y="288"/>
                    </a:moveTo>
                    <a:lnTo>
                      <a:pt x="109" y="290"/>
                    </a:lnTo>
                    <a:lnTo>
                      <a:pt x="111" y="290"/>
                    </a:lnTo>
                    <a:lnTo>
                      <a:pt x="111" y="292"/>
                    </a:lnTo>
                    <a:lnTo>
                      <a:pt x="109" y="292"/>
                    </a:lnTo>
                    <a:lnTo>
                      <a:pt x="107" y="292"/>
                    </a:lnTo>
                    <a:lnTo>
                      <a:pt x="106" y="292"/>
                    </a:lnTo>
                    <a:lnTo>
                      <a:pt x="104" y="292"/>
                    </a:lnTo>
                    <a:lnTo>
                      <a:pt x="104" y="290"/>
                    </a:lnTo>
                    <a:lnTo>
                      <a:pt x="104" y="288"/>
                    </a:lnTo>
                    <a:lnTo>
                      <a:pt x="106" y="288"/>
                    </a:lnTo>
                    <a:lnTo>
                      <a:pt x="107" y="288"/>
                    </a:lnTo>
                    <a:close/>
                    <a:moveTo>
                      <a:pt x="167" y="292"/>
                    </a:moveTo>
                    <a:lnTo>
                      <a:pt x="169" y="292"/>
                    </a:lnTo>
                    <a:lnTo>
                      <a:pt x="171" y="292"/>
                    </a:lnTo>
                    <a:lnTo>
                      <a:pt x="171" y="294"/>
                    </a:lnTo>
                    <a:lnTo>
                      <a:pt x="173" y="294"/>
                    </a:lnTo>
                    <a:lnTo>
                      <a:pt x="175" y="294"/>
                    </a:lnTo>
                    <a:lnTo>
                      <a:pt x="173" y="294"/>
                    </a:lnTo>
                    <a:lnTo>
                      <a:pt x="175" y="294"/>
                    </a:lnTo>
                    <a:lnTo>
                      <a:pt x="175" y="296"/>
                    </a:lnTo>
                    <a:lnTo>
                      <a:pt x="173" y="296"/>
                    </a:lnTo>
                    <a:lnTo>
                      <a:pt x="171" y="296"/>
                    </a:lnTo>
                    <a:lnTo>
                      <a:pt x="169" y="296"/>
                    </a:lnTo>
                    <a:lnTo>
                      <a:pt x="167" y="296"/>
                    </a:lnTo>
                    <a:lnTo>
                      <a:pt x="167" y="294"/>
                    </a:lnTo>
                    <a:lnTo>
                      <a:pt x="169" y="294"/>
                    </a:lnTo>
                    <a:lnTo>
                      <a:pt x="171" y="294"/>
                    </a:lnTo>
                    <a:lnTo>
                      <a:pt x="169" y="294"/>
                    </a:lnTo>
                    <a:lnTo>
                      <a:pt x="169" y="292"/>
                    </a:lnTo>
                    <a:lnTo>
                      <a:pt x="167" y="292"/>
                    </a:lnTo>
                    <a:lnTo>
                      <a:pt x="165" y="292"/>
                    </a:lnTo>
                    <a:lnTo>
                      <a:pt x="167" y="292"/>
                    </a:lnTo>
                    <a:close/>
                    <a:moveTo>
                      <a:pt x="469" y="300"/>
                    </a:moveTo>
                    <a:lnTo>
                      <a:pt x="471" y="298"/>
                    </a:lnTo>
                    <a:lnTo>
                      <a:pt x="471" y="300"/>
                    </a:lnTo>
                    <a:lnTo>
                      <a:pt x="469" y="300"/>
                    </a:lnTo>
                    <a:close/>
                    <a:moveTo>
                      <a:pt x="469" y="298"/>
                    </a:moveTo>
                    <a:lnTo>
                      <a:pt x="467" y="300"/>
                    </a:lnTo>
                    <a:lnTo>
                      <a:pt x="467" y="298"/>
                    </a:lnTo>
                    <a:lnTo>
                      <a:pt x="469" y="298"/>
                    </a:lnTo>
                    <a:close/>
                    <a:moveTo>
                      <a:pt x="471" y="298"/>
                    </a:moveTo>
                    <a:lnTo>
                      <a:pt x="472" y="298"/>
                    </a:lnTo>
                    <a:lnTo>
                      <a:pt x="472" y="296"/>
                    </a:lnTo>
                    <a:lnTo>
                      <a:pt x="472" y="298"/>
                    </a:lnTo>
                    <a:lnTo>
                      <a:pt x="471" y="298"/>
                    </a:lnTo>
                    <a:close/>
                    <a:moveTo>
                      <a:pt x="521" y="294"/>
                    </a:moveTo>
                    <a:lnTo>
                      <a:pt x="521" y="292"/>
                    </a:lnTo>
                    <a:lnTo>
                      <a:pt x="522" y="292"/>
                    </a:lnTo>
                    <a:lnTo>
                      <a:pt x="521" y="292"/>
                    </a:lnTo>
                    <a:lnTo>
                      <a:pt x="521" y="294"/>
                    </a:lnTo>
                    <a:close/>
                    <a:moveTo>
                      <a:pt x="471" y="298"/>
                    </a:moveTo>
                    <a:lnTo>
                      <a:pt x="469" y="298"/>
                    </a:lnTo>
                    <a:lnTo>
                      <a:pt x="471" y="298"/>
                    </a:lnTo>
                    <a:lnTo>
                      <a:pt x="469" y="298"/>
                    </a:lnTo>
                    <a:lnTo>
                      <a:pt x="471" y="298"/>
                    </a:lnTo>
                    <a:lnTo>
                      <a:pt x="471" y="296"/>
                    </a:lnTo>
                    <a:lnTo>
                      <a:pt x="472" y="294"/>
                    </a:lnTo>
                    <a:lnTo>
                      <a:pt x="472" y="296"/>
                    </a:lnTo>
                    <a:lnTo>
                      <a:pt x="471" y="298"/>
                    </a:lnTo>
                    <a:close/>
                    <a:moveTo>
                      <a:pt x="472" y="296"/>
                    </a:moveTo>
                    <a:lnTo>
                      <a:pt x="472" y="294"/>
                    </a:lnTo>
                    <a:lnTo>
                      <a:pt x="474" y="294"/>
                    </a:lnTo>
                    <a:lnTo>
                      <a:pt x="472" y="296"/>
                    </a:lnTo>
                    <a:close/>
                    <a:moveTo>
                      <a:pt x="159" y="286"/>
                    </a:moveTo>
                    <a:lnTo>
                      <a:pt x="157" y="286"/>
                    </a:lnTo>
                    <a:lnTo>
                      <a:pt x="157" y="285"/>
                    </a:lnTo>
                    <a:lnTo>
                      <a:pt x="157" y="286"/>
                    </a:lnTo>
                    <a:lnTo>
                      <a:pt x="159" y="286"/>
                    </a:lnTo>
                    <a:close/>
                    <a:moveTo>
                      <a:pt x="490" y="292"/>
                    </a:moveTo>
                    <a:lnTo>
                      <a:pt x="492" y="292"/>
                    </a:lnTo>
                    <a:lnTo>
                      <a:pt x="490" y="292"/>
                    </a:lnTo>
                    <a:lnTo>
                      <a:pt x="492" y="292"/>
                    </a:lnTo>
                    <a:lnTo>
                      <a:pt x="490" y="294"/>
                    </a:lnTo>
                    <a:lnTo>
                      <a:pt x="490" y="292"/>
                    </a:lnTo>
                    <a:lnTo>
                      <a:pt x="490" y="294"/>
                    </a:lnTo>
                    <a:lnTo>
                      <a:pt x="490" y="292"/>
                    </a:lnTo>
                    <a:close/>
                    <a:moveTo>
                      <a:pt x="163" y="285"/>
                    </a:moveTo>
                    <a:lnTo>
                      <a:pt x="163" y="286"/>
                    </a:lnTo>
                    <a:lnTo>
                      <a:pt x="165" y="286"/>
                    </a:lnTo>
                    <a:lnTo>
                      <a:pt x="163" y="286"/>
                    </a:lnTo>
                    <a:lnTo>
                      <a:pt x="161" y="286"/>
                    </a:lnTo>
                    <a:lnTo>
                      <a:pt x="159" y="286"/>
                    </a:lnTo>
                    <a:lnTo>
                      <a:pt x="161" y="286"/>
                    </a:lnTo>
                    <a:lnTo>
                      <a:pt x="161" y="285"/>
                    </a:lnTo>
                    <a:lnTo>
                      <a:pt x="163" y="285"/>
                    </a:lnTo>
                    <a:close/>
                    <a:moveTo>
                      <a:pt x="686" y="271"/>
                    </a:moveTo>
                    <a:lnTo>
                      <a:pt x="688" y="271"/>
                    </a:lnTo>
                    <a:lnTo>
                      <a:pt x="686" y="271"/>
                    </a:lnTo>
                    <a:close/>
                    <a:moveTo>
                      <a:pt x="486" y="292"/>
                    </a:moveTo>
                    <a:lnTo>
                      <a:pt x="484" y="292"/>
                    </a:lnTo>
                    <a:lnTo>
                      <a:pt x="486" y="292"/>
                    </a:lnTo>
                    <a:close/>
                    <a:moveTo>
                      <a:pt x="480" y="292"/>
                    </a:moveTo>
                    <a:lnTo>
                      <a:pt x="478" y="292"/>
                    </a:lnTo>
                    <a:lnTo>
                      <a:pt x="480" y="292"/>
                    </a:lnTo>
                    <a:lnTo>
                      <a:pt x="478" y="292"/>
                    </a:lnTo>
                    <a:lnTo>
                      <a:pt x="476" y="292"/>
                    </a:lnTo>
                    <a:lnTo>
                      <a:pt x="478" y="292"/>
                    </a:lnTo>
                    <a:lnTo>
                      <a:pt x="480" y="292"/>
                    </a:lnTo>
                    <a:close/>
                    <a:moveTo>
                      <a:pt x="482" y="292"/>
                    </a:moveTo>
                    <a:lnTo>
                      <a:pt x="480" y="292"/>
                    </a:lnTo>
                    <a:lnTo>
                      <a:pt x="482" y="292"/>
                    </a:lnTo>
                    <a:close/>
                    <a:moveTo>
                      <a:pt x="486" y="290"/>
                    </a:moveTo>
                    <a:lnTo>
                      <a:pt x="488" y="290"/>
                    </a:lnTo>
                    <a:lnTo>
                      <a:pt x="488" y="292"/>
                    </a:lnTo>
                    <a:lnTo>
                      <a:pt x="488" y="290"/>
                    </a:lnTo>
                    <a:lnTo>
                      <a:pt x="486" y="290"/>
                    </a:lnTo>
                    <a:close/>
                    <a:moveTo>
                      <a:pt x="175" y="285"/>
                    </a:moveTo>
                    <a:lnTo>
                      <a:pt x="173" y="285"/>
                    </a:lnTo>
                    <a:lnTo>
                      <a:pt x="175" y="285"/>
                    </a:lnTo>
                    <a:close/>
                    <a:moveTo>
                      <a:pt x="165" y="285"/>
                    </a:moveTo>
                    <a:lnTo>
                      <a:pt x="163" y="285"/>
                    </a:lnTo>
                    <a:lnTo>
                      <a:pt x="161" y="285"/>
                    </a:lnTo>
                    <a:lnTo>
                      <a:pt x="163" y="285"/>
                    </a:lnTo>
                    <a:lnTo>
                      <a:pt x="163" y="283"/>
                    </a:lnTo>
                    <a:lnTo>
                      <a:pt x="163" y="285"/>
                    </a:lnTo>
                    <a:lnTo>
                      <a:pt x="165" y="285"/>
                    </a:lnTo>
                    <a:close/>
                    <a:moveTo>
                      <a:pt x="484" y="290"/>
                    </a:moveTo>
                    <a:lnTo>
                      <a:pt x="482" y="290"/>
                    </a:lnTo>
                    <a:lnTo>
                      <a:pt x="484" y="290"/>
                    </a:lnTo>
                    <a:close/>
                    <a:moveTo>
                      <a:pt x="492" y="290"/>
                    </a:moveTo>
                    <a:lnTo>
                      <a:pt x="492" y="292"/>
                    </a:lnTo>
                    <a:lnTo>
                      <a:pt x="490" y="292"/>
                    </a:lnTo>
                    <a:lnTo>
                      <a:pt x="488" y="292"/>
                    </a:lnTo>
                    <a:lnTo>
                      <a:pt x="490" y="292"/>
                    </a:lnTo>
                    <a:lnTo>
                      <a:pt x="488" y="292"/>
                    </a:lnTo>
                    <a:lnTo>
                      <a:pt x="488" y="290"/>
                    </a:lnTo>
                    <a:lnTo>
                      <a:pt x="490" y="290"/>
                    </a:lnTo>
                    <a:lnTo>
                      <a:pt x="492" y="290"/>
                    </a:lnTo>
                    <a:close/>
                    <a:moveTo>
                      <a:pt x="488" y="290"/>
                    </a:moveTo>
                    <a:lnTo>
                      <a:pt x="486" y="290"/>
                    </a:lnTo>
                    <a:lnTo>
                      <a:pt x="488" y="290"/>
                    </a:lnTo>
                    <a:close/>
                    <a:moveTo>
                      <a:pt x="488" y="290"/>
                    </a:moveTo>
                    <a:lnTo>
                      <a:pt x="486" y="290"/>
                    </a:lnTo>
                    <a:lnTo>
                      <a:pt x="488" y="290"/>
                    </a:lnTo>
                    <a:close/>
                    <a:moveTo>
                      <a:pt x="490" y="290"/>
                    </a:moveTo>
                    <a:lnTo>
                      <a:pt x="488" y="290"/>
                    </a:lnTo>
                    <a:lnTo>
                      <a:pt x="490" y="290"/>
                    </a:lnTo>
                    <a:close/>
                    <a:moveTo>
                      <a:pt x="163" y="283"/>
                    </a:moveTo>
                    <a:lnTo>
                      <a:pt x="165" y="283"/>
                    </a:lnTo>
                    <a:lnTo>
                      <a:pt x="163" y="283"/>
                    </a:lnTo>
                    <a:lnTo>
                      <a:pt x="161" y="283"/>
                    </a:lnTo>
                    <a:lnTo>
                      <a:pt x="163" y="283"/>
                    </a:lnTo>
                    <a:close/>
                    <a:moveTo>
                      <a:pt x="486" y="290"/>
                    </a:moveTo>
                    <a:lnTo>
                      <a:pt x="486" y="288"/>
                    </a:lnTo>
                    <a:lnTo>
                      <a:pt x="486" y="290"/>
                    </a:lnTo>
                    <a:close/>
                    <a:moveTo>
                      <a:pt x="480" y="290"/>
                    </a:moveTo>
                    <a:lnTo>
                      <a:pt x="482" y="290"/>
                    </a:lnTo>
                    <a:lnTo>
                      <a:pt x="480" y="290"/>
                    </a:lnTo>
                    <a:close/>
                    <a:moveTo>
                      <a:pt x="484" y="290"/>
                    </a:moveTo>
                    <a:lnTo>
                      <a:pt x="482" y="290"/>
                    </a:lnTo>
                    <a:lnTo>
                      <a:pt x="484" y="290"/>
                    </a:lnTo>
                    <a:lnTo>
                      <a:pt x="484" y="288"/>
                    </a:lnTo>
                    <a:lnTo>
                      <a:pt x="486" y="290"/>
                    </a:lnTo>
                    <a:lnTo>
                      <a:pt x="484" y="290"/>
                    </a:lnTo>
                    <a:close/>
                    <a:moveTo>
                      <a:pt x="482" y="290"/>
                    </a:moveTo>
                    <a:lnTo>
                      <a:pt x="482" y="288"/>
                    </a:lnTo>
                    <a:lnTo>
                      <a:pt x="482" y="290"/>
                    </a:lnTo>
                    <a:close/>
                    <a:moveTo>
                      <a:pt x="486" y="288"/>
                    </a:moveTo>
                    <a:lnTo>
                      <a:pt x="484" y="288"/>
                    </a:lnTo>
                    <a:lnTo>
                      <a:pt x="486" y="288"/>
                    </a:lnTo>
                    <a:close/>
                    <a:moveTo>
                      <a:pt x="486" y="288"/>
                    </a:moveTo>
                    <a:lnTo>
                      <a:pt x="484" y="288"/>
                    </a:lnTo>
                    <a:lnTo>
                      <a:pt x="486" y="288"/>
                    </a:lnTo>
                    <a:close/>
                    <a:moveTo>
                      <a:pt x="204" y="285"/>
                    </a:moveTo>
                    <a:lnTo>
                      <a:pt x="202" y="285"/>
                    </a:lnTo>
                    <a:lnTo>
                      <a:pt x="204" y="285"/>
                    </a:lnTo>
                    <a:close/>
                    <a:moveTo>
                      <a:pt x="146" y="279"/>
                    </a:moveTo>
                    <a:lnTo>
                      <a:pt x="144" y="279"/>
                    </a:lnTo>
                    <a:lnTo>
                      <a:pt x="146" y="279"/>
                    </a:lnTo>
                    <a:close/>
                    <a:moveTo>
                      <a:pt x="486" y="288"/>
                    </a:moveTo>
                    <a:lnTo>
                      <a:pt x="484" y="288"/>
                    </a:lnTo>
                    <a:lnTo>
                      <a:pt x="486" y="288"/>
                    </a:lnTo>
                    <a:close/>
                    <a:moveTo>
                      <a:pt x="488" y="288"/>
                    </a:moveTo>
                    <a:lnTo>
                      <a:pt x="486" y="288"/>
                    </a:lnTo>
                    <a:lnTo>
                      <a:pt x="488" y="288"/>
                    </a:lnTo>
                    <a:close/>
                    <a:moveTo>
                      <a:pt x="488" y="288"/>
                    </a:moveTo>
                    <a:lnTo>
                      <a:pt x="486" y="288"/>
                    </a:lnTo>
                    <a:lnTo>
                      <a:pt x="488" y="288"/>
                    </a:lnTo>
                    <a:close/>
                    <a:moveTo>
                      <a:pt x="484" y="288"/>
                    </a:moveTo>
                    <a:lnTo>
                      <a:pt x="482" y="288"/>
                    </a:lnTo>
                    <a:lnTo>
                      <a:pt x="484" y="288"/>
                    </a:lnTo>
                    <a:close/>
                    <a:moveTo>
                      <a:pt x="484" y="288"/>
                    </a:moveTo>
                    <a:lnTo>
                      <a:pt x="484" y="286"/>
                    </a:lnTo>
                    <a:lnTo>
                      <a:pt x="486" y="286"/>
                    </a:lnTo>
                    <a:lnTo>
                      <a:pt x="484" y="286"/>
                    </a:lnTo>
                    <a:lnTo>
                      <a:pt x="484" y="288"/>
                    </a:lnTo>
                    <a:close/>
                    <a:moveTo>
                      <a:pt x="484" y="288"/>
                    </a:moveTo>
                    <a:lnTo>
                      <a:pt x="482" y="288"/>
                    </a:lnTo>
                    <a:lnTo>
                      <a:pt x="484" y="288"/>
                    </a:lnTo>
                    <a:lnTo>
                      <a:pt x="484" y="286"/>
                    </a:lnTo>
                    <a:lnTo>
                      <a:pt x="486" y="286"/>
                    </a:lnTo>
                    <a:lnTo>
                      <a:pt x="484" y="288"/>
                    </a:lnTo>
                    <a:close/>
                    <a:moveTo>
                      <a:pt x="486" y="288"/>
                    </a:moveTo>
                    <a:lnTo>
                      <a:pt x="488" y="286"/>
                    </a:lnTo>
                    <a:lnTo>
                      <a:pt x="488" y="288"/>
                    </a:lnTo>
                    <a:lnTo>
                      <a:pt x="486" y="288"/>
                    </a:lnTo>
                    <a:close/>
                    <a:moveTo>
                      <a:pt x="171" y="281"/>
                    </a:moveTo>
                    <a:lnTo>
                      <a:pt x="173" y="281"/>
                    </a:lnTo>
                    <a:lnTo>
                      <a:pt x="171" y="281"/>
                    </a:lnTo>
                    <a:lnTo>
                      <a:pt x="169" y="281"/>
                    </a:lnTo>
                    <a:lnTo>
                      <a:pt x="169" y="283"/>
                    </a:lnTo>
                    <a:lnTo>
                      <a:pt x="167" y="283"/>
                    </a:lnTo>
                    <a:lnTo>
                      <a:pt x="167" y="281"/>
                    </a:lnTo>
                    <a:lnTo>
                      <a:pt x="165" y="281"/>
                    </a:lnTo>
                    <a:lnTo>
                      <a:pt x="163" y="281"/>
                    </a:lnTo>
                    <a:lnTo>
                      <a:pt x="165" y="281"/>
                    </a:lnTo>
                    <a:lnTo>
                      <a:pt x="165" y="279"/>
                    </a:lnTo>
                    <a:lnTo>
                      <a:pt x="167" y="279"/>
                    </a:lnTo>
                    <a:lnTo>
                      <a:pt x="167" y="281"/>
                    </a:lnTo>
                    <a:lnTo>
                      <a:pt x="167" y="279"/>
                    </a:lnTo>
                    <a:lnTo>
                      <a:pt x="167" y="281"/>
                    </a:lnTo>
                    <a:lnTo>
                      <a:pt x="169" y="281"/>
                    </a:lnTo>
                    <a:lnTo>
                      <a:pt x="171" y="281"/>
                    </a:lnTo>
                    <a:close/>
                    <a:moveTo>
                      <a:pt x="488" y="286"/>
                    </a:moveTo>
                    <a:lnTo>
                      <a:pt x="486" y="286"/>
                    </a:lnTo>
                    <a:lnTo>
                      <a:pt x="486" y="288"/>
                    </a:lnTo>
                    <a:lnTo>
                      <a:pt x="486" y="286"/>
                    </a:lnTo>
                    <a:lnTo>
                      <a:pt x="488" y="286"/>
                    </a:lnTo>
                    <a:close/>
                    <a:moveTo>
                      <a:pt x="484" y="286"/>
                    </a:moveTo>
                    <a:lnTo>
                      <a:pt x="484" y="285"/>
                    </a:lnTo>
                    <a:lnTo>
                      <a:pt x="484" y="286"/>
                    </a:lnTo>
                    <a:close/>
                    <a:moveTo>
                      <a:pt x="146" y="277"/>
                    </a:moveTo>
                    <a:lnTo>
                      <a:pt x="144" y="277"/>
                    </a:lnTo>
                    <a:lnTo>
                      <a:pt x="146" y="277"/>
                    </a:lnTo>
                    <a:close/>
                    <a:moveTo>
                      <a:pt x="484" y="286"/>
                    </a:moveTo>
                    <a:lnTo>
                      <a:pt x="484" y="285"/>
                    </a:lnTo>
                    <a:lnTo>
                      <a:pt x="486" y="285"/>
                    </a:lnTo>
                    <a:lnTo>
                      <a:pt x="486" y="286"/>
                    </a:lnTo>
                    <a:lnTo>
                      <a:pt x="484" y="286"/>
                    </a:lnTo>
                    <a:close/>
                    <a:moveTo>
                      <a:pt x="159" y="279"/>
                    </a:moveTo>
                    <a:lnTo>
                      <a:pt x="159" y="277"/>
                    </a:lnTo>
                    <a:lnTo>
                      <a:pt x="159" y="279"/>
                    </a:lnTo>
                    <a:close/>
                    <a:moveTo>
                      <a:pt x="538" y="281"/>
                    </a:moveTo>
                    <a:lnTo>
                      <a:pt x="536" y="281"/>
                    </a:lnTo>
                    <a:lnTo>
                      <a:pt x="538" y="281"/>
                    </a:lnTo>
                    <a:close/>
                    <a:moveTo>
                      <a:pt x="496" y="285"/>
                    </a:moveTo>
                    <a:lnTo>
                      <a:pt x="494" y="285"/>
                    </a:lnTo>
                    <a:lnTo>
                      <a:pt x="494" y="286"/>
                    </a:lnTo>
                    <a:lnTo>
                      <a:pt x="492" y="286"/>
                    </a:lnTo>
                    <a:lnTo>
                      <a:pt x="490" y="286"/>
                    </a:lnTo>
                    <a:lnTo>
                      <a:pt x="492" y="286"/>
                    </a:lnTo>
                    <a:lnTo>
                      <a:pt x="494" y="285"/>
                    </a:lnTo>
                    <a:lnTo>
                      <a:pt x="492" y="285"/>
                    </a:lnTo>
                    <a:lnTo>
                      <a:pt x="494" y="285"/>
                    </a:lnTo>
                    <a:lnTo>
                      <a:pt x="496" y="285"/>
                    </a:lnTo>
                    <a:close/>
                    <a:moveTo>
                      <a:pt x="499" y="283"/>
                    </a:moveTo>
                    <a:lnTo>
                      <a:pt x="499" y="285"/>
                    </a:lnTo>
                    <a:lnTo>
                      <a:pt x="497" y="285"/>
                    </a:lnTo>
                    <a:lnTo>
                      <a:pt x="497" y="283"/>
                    </a:lnTo>
                    <a:lnTo>
                      <a:pt x="499" y="283"/>
                    </a:lnTo>
                    <a:close/>
                    <a:moveTo>
                      <a:pt x="494" y="285"/>
                    </a:moveTo>
                    <a:lnTo>
                      <a:pt x="492" y="285"/>
                    </a:lnTo>
                    <a:lnTo>
                      <a:pt x="494" y="285"/>
                    </a:lnTo>
                    <a:lnTo>
                      <a:pt x="494" y="283"/>
                    </a:lnTo>
                    <a:lnTo>
                      <a:pt x="494" y="285"/>
                    </a:lnTo>
                    <a:close/>
                    <a:moveTo>
                      <a:pt x="693" y="261"/>
                    </a:moveTo>
                    <a:lnTo>
                      <a:pt x="695" y="261"/>
                    </a:lnTo>
                    <a:lnTo>
                      <a:pt x="693" y="261"/>
                    </a:lnTo>
                    <a:lnTo>
                      <a:pt x="691" y="261"/>
                    </a:lnTo>
                    <a:lnTo>
                      <a:pt x="693" y="261"/>
                    </a:lnTo>
                    <a:close/>
                    <a:moveTo>
                      <a:pt x="693" y="261"/>
                    </a:moveTo>
                    <a:lnTo>
                      <a:pt x="691" y="261"/>
                    </a:lnTo>
                    <a:lnTo>
                      <a:pt x="693" y="261"/>
                    </a:lnTo>
                    <a:close/>
                    <a:moveTo>
                      <a:pt x="690" y="261"/>
                    </a:moveTo>
                    <a:lnTo>
                      <a:pt x="688" y="261"/>
                    </a:lnTo>
                    <a:lnTo>
                      <a:pt x="690" y="261"/>
                    </a:lnTo>
                    <a:close/>
                    <a:moveTo>
                      <a:pt x="157" y="275"/>
                    </a:moveTo>
                    <a:lnTo>
                      <a:pt x="159" y="275"/>
                    </a:lnTo>
                    <a:lnTo>
                      <a:pt x="159" y="277"/>
                    </a:lnTo>
                    <a:lnTo>
                      <a:pt x="157" y="277"/>
                    </a:lnTo>
                    <a:lnTo>
                      <a:pt x="155" y="277"/>
                    </a:lnTo>
                    <a:lnTo>
                      <a:pt x="154" y="277"/>
                    </a:lnTo>
                    <a:lnTo>
                      <a:pt x="152" y="277"/>
                    </a:lnTo>
                    <a:lnTo>
                      <a:pt x="152" y="275"/>
                    </a:lnTo>
                    <a:lnTo>
                      <a:pt x="152" y="277"/>
                    </a:lnTo>
                    <a:lnTo>
                      <a:pt x="150" y="277"/>
                    </a:lnTo>
                    <a:lnTo>
                      <a:pt x="152" y="277"/>
                    </a:lnTo>
                    <a:lnTo>
                      <a:pt x="154" y="277"/>
                    </a:lnTo>
                    <a:lnTo>
                      <a:pt x="154" y="279"/>
                    </a:lnTo>
                    <a:lnTo>
                      <a:pt x="155" y="279"/>
                    </a:lnTo>
                    <a:lnTo>
                      <a:pt x="155" y="281"/>
                    </a:lnTo>
                    <a:lnTo>
                      <a:pt x="154" y="279"/>
                    </a:lnTo>
                    <a:lnTo>
                      <a:pt x="154" y="281"/>
                    </a:lnTo>
                    <a:lnTo>
                      <a:pt x="154" y="279"/>
                    </a:lnTo>
                    <a:lnTo>
                      <a:pt x="152" y="279"/>
                    </a:lnTo>
                    <a:lnTo>
                      <a:pt x="150" y="279"/>
                    </a:lnTo>
                    <a:lnTo>
                      <a:pt x="148" y="277"/>
                    </a:lnTo>
                    <a:lnTo>
                      <a:pt x="150" y="277"/>
                    </a:lnTo>
                    <a:lnTo>
                      <a:pt x="150" y="275"/>
                    </a:lnTo>
                    <a:lnTo>
                      <a:pt x="152" y="275"/>
                    </a:lnTo>
                    <a:lnTo>
                      <a:pt x="154" y="275"/>
                    </a:lnTo>
                    <a:lnTo>
                      <a:pt x="155" y="275"/>
                    </a:lnTo>
                    <a:lnTo>
                      <a:pt x="157" y="275"/>
                    </a:lnTo>
                    <a:close/>
                    <a:moveTo>
                      <a:pt x="690" y="261"/>
                    </a:moveTo>
                    <a:lnTo>
                      <a:pt x="691" y="261"/>
                    </a:lnTo>
                    <a:lnTo>
                      <a:pt x="690" y="261"/>
                    </a:lnTo>
                    <a:close/>
                    <a:moveTo>
                      <a:pt x="684" y="261"/>
                    </a:moveTo>
                    <a:lnTo>
                      <a:pt x="682" y="261"/>
                    </a:lnTo>
                    <a:lnTo>
                      <a:pt x="684" y="261"/>
                    </a:lnTo>
                    <a:close/>
                    <a:moveTo>
                      <a:pt x="159" y="273"/>
                    </a:moveTo>
                    <a:lnTo>
                      <a:pt x="159" y="275"/>
                    </a:lnTo>
                    <a:lnTo>
                      <a:pt x="161" y="275"/>
                    </a:lnTo>
                    <a:lnTo>
                      <a:pt x="159" y="275"/>
                    </a:lnTo>
                    <a:lnTo>
                      <a:pt x="159" y="273"/>
                    </a:lnTo>
                    <a:close/>
                    <a:moveTo>
                      <a:pt x="682" y="261"/>
                    </a:moveTo>
                    <a:lnTo>
                      <a:pt x="684" y="261"/>
                    </a:lnTo>
                    <a:lnTo>
                      <a:pt x="682" y="261"/>
                    </a:lnTo>
                    <a:lnTo>
                      <a:pt x="684" y="261"/>
                    </a:lnTo>
                    <a:lnTo>
                      <a:pt x="686" y="261"/>
                    </a:lnTo>
                    <a:lnTo>
                      <a:pt x="684" y="261"/>
                    </a:lnTo>
                    <a:lnTo>
                      <a:pt x="682" y="261"/>
                    </a:lnTo>
                    <a:close/>
                    <a:moveTo>
                      <a:pt x="682" y="260"/>
                    </a:moveTo>
                    <a:lnTo>
                      <a:pt x="680" y="260"/>
                    </a:lnTo>
                    <a:lnTo>
                      <a:pt x="682" y="260"/>
                    </a:lnTo>
                    <a:close/>
                    <a:moveTo>
                      <a:pt x="167" y="273"/>
                    </a:moveTo>
                    <a:lnTo>
                      <a:pt x="169" y="273"/>
                    </a:lnTo>
                    <a:lnTo>
                      <a:pt x="171" y="273"/>
                    </a:lnTo>
                    <a:lnTo>
                      <a:pt x="171" y="275"/>
                    </a:lnTo>
                    <a:lnTo>
                      <a:pt x="173" y="275"/>
                    </a:lnTo>
                    <a:lnTo>
                      <a:pt x="175" y="275"/>
                    </a:lnTo>
                    <a:lnTo>
                      <a:pt x="175" y="277"/>
                    </a:lnTo>
                    <a:lnTo>
                      <a:pt x="173" y="277"/>
                    </a:lnTo>
                    <a:lnTo>
                      <a:pt x="171" y="277"/>
                    </a:lnTo>
                    <a:lnTo>
                      <a:pt x="169" y="277"/>
                    </a:lnTo>
                    <a:lnTo>
                      <a:pt x="171" y="277"/>
                    </a:lnTo>
                    <a:lnTo>
                      <a:pt x="169" y="279"/>
                    </a:lnTo>
                    <a:lnTo>
                      <a:pt x="167" y="279"/>
                    </a:lnTo>
                    <a:lnTo>
                      <a:pt x="165" y="279"/>
                    </a:lnTo>
                    <a:lnTo>
                      <a:pt x="165" y="277"/>
                    </a:lnTo>
                    <a:lnTo>
                      <a:pt x="163" y="277"/>
                    </a:lnTo>
                    <a:lnTo>
                      <a:pt x="163" y="275"/>
                    </a:lnTo>
                    <a:lnTo>
                      <a:pt x="163" y="273"/>
                    </a:lnTo>
                    <a:lnTo>
                      <a:pt x="165" y="273"/>
                    </a:lnTo>
                    <a:lnTo>
                      <a:pt x="167" y="273"/>
                    </a:lnTo>
                    <a:close/>
                    <a:moveTo>
                      <a:pt x="175" y="275"/>
                    </a:moveTo>
                    <a:lnTo>
                      <a:pt x="173" y="275"/>
                    </a:lnTo>
                    <a:lnTo>
                      <a:pt x="175" y="273"/>
                    </a:lnTo>
                    <a:lnTo>
                      <a:pt x="175" y="275"/>
                    </a:lnTo>
                    <a:close/>
                    <a:moveTo>
                      <a:pt x="680" y="260"/>
                    </a:moveTo>
                    <a:lnTo>
                      <a:pt x="678" y="260"/>
                    </a:lnTo>
                    <a:lnTo>
                      <a:pt x="680" y="260"/>
                    </a:lnTo>
                    <a:close/>
                    <a:moveTo>
                      <a:pt x="161" y="271"/>
                    </a:moveTo>
                    <a:lnTo>
                      <a:pt x="163" y="271"/>
                    </a:lnTo>
                    <a:lnTo>
                      <a:pt x="163" y="273"/>
                    </a:lnTo>
                    <a:lnTo>
                      <a:pt x="161" y="273"/>
                    </a:lnTo>
                    <a:lnTo>
                      <a:pt x="159" y="271"/>
                    </a:lnTo>
                    <a:lnTo>
                      <a:pt x="159" y="273"/>
                    </a:lnTo>
                    <a:lnTo>
                      <a:pt x="157" y="273"/>
                    </a:lnTo>
                    <a:lnTo>
                      <a:pt x="157" y="275"/>
                    </a:lnTo>
                    <a:lnTo>
                      <a:pt x="155" y="273"/>
                    </a:lnTo>
                    <a:lnTo>
                      <a:pt x="157" y="273"/>
                    </a:lnTo>
                    <a:lnTo>
                      <a:pt x="157" y="271"/>
                    </a:lnTo>
                    <a:lnTo>
                      <a:pt x="159" y="271"/>
                    </a:lnTo>
                    <a:lnTo>
                      <a:pt x="161" y="271"/>
                    </a:lnTo>
                    <a:lnTo>
                      <a:pt x="159" y="271"/>
                    </a:lnTo>
                    <a:lnTo>
                      <a:pt x="161" y="271"/>
                    </a:lnTo>
                    <a:close/>
                    <a:moveTo>
                      <a:pt x="180" y="273"/>
                    </a:moveTo>
                    <a:lnTo>
                      <a:pt x="182" y="273"/>
                    </a:lnTo>
                    <a:lnTo>
                      <a:pt x="182" y="275"/>
                    </a:lnTo>
                    <a:lnTo>
                      <a:pt x="184" y="275"/>
                    </a:lnTo>
                    <a:lnTo>
                      <a:pt x="184" y="277"/>
                    </a:lnTo>
                    <a:lnTo>
                      <a:pt x="186" y="277"/>
                    </a:lnTo>
                    <a:lnTo>
                      <a:pt x="184" y="277"/>
                    </a:lnTo>
                    <a:lnTo>
                      <a:pt x="184" y="279"/>
                    </a:lnTo>
                    <a:lnTo>
                      <a:pt x="182" y="279"/>
                    </a:lnTo>
                    <a:lnTo>
                      <a:pt x="184" y="279"/>
                    </a:lnTo>
                    <a:lnTo>
                      <a:pt x="182" y="279"/>
                    </a:lnTo>
                    <a:lnTo>
                      <a:pt x="184" y="279"/>
                    </a:lnTo>
                    <a:lnTo>
                      <a:pt x="182" y="277"/>
                    </a:lnTo>
                    <a:lnTo>
                      <a:pt x="180" y="277"/>
                    </a:lnTo>
                    <a:lnTo>
                      <a:pt x="182" y="277"/>
                    </a:lnTo>
                    <a:lnTo>
                      <a:pt x="182" y="279"/>
                    </a:lnTo>
                    <a:lnTo>
                      <a:pt x="180" y="279"/>
                    </a:lnTo>
                    <a:lnTo>
                      <a:pt x="179" y="279"/>
                    </a:lnTo>
                    <a:lnTo>
                      <a:pt x="177" y="279"/>
                    </a:lnTo>
                    <a:lnTo>
                      <a:pt x="175" y="279"/>
                    </a:lnTo>
                    <a:lnTo>
                      <a:pt x="177" y="279"/>
                    </a:lnTo>
                    <a:lnTo>
                      <a:pt x="175" y="279"/>
                    </a:lnTo>
                    <a:lnTo>
                      <a:pt x="173" y="279"/>
                    </a:lnTo>
                    <a:lnTo>
                      <a:pt x="175" y="279"/>
                    </a:lnTo>
                    <a:lnTo>
                      <a:pt x="175" y="277"/>
                    </a:lnTo>
                    <a:lnTo>
                      <a:pt x="177" y="277"/>
                    </a:lnTo>
                    <a:lnTo>
                      <a:pt x="177" y="275"/>
                    </a:lnTo>
                    <a:lnTo>
                      <a:pt x="177" y="273"/>
                    </a:lnTo>
                    <a:lnTo>
                      <a:pt x="179" y="273"/>
                    </a:lnTo>
                    <a:lnTo>
                      <a:pt x="180" y="273"/>
                    </a:lnTo>
                    <a:close/>
                    <a:moveTo>
                      <a:pt x="184" y="273"/>
                    </a:moveTo>
                    <a:lnTo>
                      <a:pt x="182" y="273"/>
                    </a:lnTo>
                    <a:lnTo>
                      <a:pt x="184" y="273"/>
                    </a:lnTo>
                    <a:close/>
                    <a:moveTo>
                      <a:pt x="177" y="271"/>
                    </a:moveTo>
                    <a:lnTo>
                      <a:pt x="177" y="273"/>
                    </a:lnTo>
                    <a:lnTo>
                      <a:pt x="177" y="271"/>
                    </a:lnTo>
                    <a:close/>
                    <a:moveTo>
                      <a:pt x="179" y="271"/>
                    </a:moveTo>
                    <a:lnTo>
                      <a:pt x="179" y="273"/>
                    </a:lnTo>
                    <a:lnTo>
                      <a:pt x="179" y="271"/>
                    </a:lnTo>
                    <a:lnTo>
                      <a:pt x="177" y="271"/>
                    </a:lnTo>
                    <a:lnTo>
                      <a:pt x="179" y="271"/>
                    </a:lnTo>
                    <a:close/>
                    <a:moveTo>
                      <a:pt x="48" y="256"/>
                    </a:moveTo>
                    <a:lnTo>
                      <a:pt x="48" y="258"/>
                    </a:lnTo>
                    <a:lnTo>
                      <a:pt x="46" y="258"/>
                    </a:lnTo>
                    <a:lnTo>
                      <a:pt x="46" y="260"/>
                    </a:lnTo>
                    <a:lnTo>
                      <a:pt x="44" y="260"/>
                    </a:lnTo>
                    <a:lnTo>
                      <a:pt x="46" y="260"/>
                    </a:lnTo>
                    <a:lnTo>
                      <a:pt x="44" y="260"/>
                    </a:lnTo>
                    <a:lnTo>
                      <a:pt x="42" y="260"/>
                    </a:lnTo>
                    <a:lnTo>
                      <a:pt x="40" y="258"/>
                    </a:lnTo>
                    <a:lnTo>
                      <a:pt x="38" y="256"/>
                    </a:lnTo>
                    <a:lnTo>
                      <a:pt x="40" y="256"/>
                    </a:lnTo>
                    <a:lnTo>
                      <a:pt x="38" y="256"/>
                    </a:lnTo>
                    <a:lnTo>
                      <a:pt x="40" y="258"/>
                    </a:lnTo>
                    <a:lnTo>
                      <a:pt x="42" y="258"/>
                    </a:lnTo>
                    <a:lnTo>
                      <a:pt x="42" y="256"/>
                    </a:lnTo>
                    <a:lnTo>
                      <a:pt x="44" y="256"/>
                    </a:lnTo>
                    <a:lnTo>
                      <a:pt x="42" y="256"/>
                    </a:lnTo>
                    <a:lnTo>
                      <a:pt x="40" y="254"/>
                    </a:lnTo>
                    <a:lnTo>
                      <a:pt x="42" y="254"/>
                    </a:lnTo>
                    <a:lnTo>
                      <a:pt x="44" y="256"/>
                    </a:lnTo>
                    <a:lnTo>
                      <a:pt x="46" y="256"/>
                    </a:lnTo>
                    <a:lnTo>
                      <a:pt x="48" y="256"/>
                    </a:lnTo>
                    <a:close/>
                    <a:moveTo>
                      <a:pt x="42" y="254"/>
                    </a:moveTo>
                    <a:lnTo>
                      <a:pt x="40" y="254"/>
                    </a:lnTo>
                    <a:lnTo>
                      <a:pt x="40" y="256"/>
                    </a:lnTo>
                    <a:lnTo>
                      <a:pt x="38" y="256"/>
                    </a:lnTo>
                    <a:lnTo>
                      <a:pt x="38" y="254"/>
                    </a:lnTo>
                    <a:lnTo>
                      <a:pt x="40" y="254"/>
                    </a:lnTo>
                    <a:lnTo>
                      <a:pt x="42" y="254"/>
                    </a:lnTo>
                    <a:close/>
                    <a:moveTo>
                      <a:pt x="144" y="265"/>
                    </a:moveTo>
                    <a:lnTo>
                      <a:pt x="146" y="265"/>
                    </a:lnTo>
                    <a:lnTo>
                      <a:pt x="146" y="267"/>
                    </a:lnTo>
                    <a:lnTo>
                      <a:pt x="144" y="267"/>
                    </a:lnTo>
                    <a:lnTo>
                      <a:pt x="144" y="265"/>
                    </a:lnTo>
                    <a:close/>
                    <a:moveTo>
                      <a:pt x="177" y="269"/>
                    </a:moveTo>
                    <a:lnTo>
                      <a:pt x="175" y="269"/>
                    </a:lnTo>
                    <a:lnTo>
                      <a:pt x="177" y="269"/>
                    </a:lnTo>
                    <a:close/>
                    <a:moveTo>
                      <a:pt x="728" y="242"/>
                    </a:moveTo>
                    <a:lnTo>
                      <a:pt x="728" y="244"/>
                    </a:lnTo>
                    <a:lnTo>
                      <a:pt x="726" y="244"/>
                    </a:lnTo>
                    <a:lnTo>
                      <a:pt x="726" y="242"/>
                    </a:lnTo>
                    <a:lnTo>
                      <a:pt x="728" y="242"/>
                    </a:lnTo>
                    <a:close/>
                    <a:moveTo>
                      <a:pt x="192" y="265"/>
                    </a:moveTo>
                    <a:lnTo>
                      <a:pt x="190" y="265"/>
                    </a:lnTo>
                    <a:lnTo>
                      <a:pt x="192" y="265"/>
                    </a:lnTo>
                    <a:close/>
                    <a:moveTo>
                      <a:pt x="574" y="263"/>
                    </a:moveTo>
                    <a:lnTo>
                      <a:pt x="572" y="263"/>
                    </a:lnTo>
                    <a:lnTo>
                      <a:pt x="574" y="263"/>
                    </a:lnTo>
                    <a:lnTo>
                      <a:pt x="574" y="261"/>
                    </a:lnTo>
                    <a:lnTo>
                      <a:pt x="574" y="263"/>
                    </a:lnTo>
                    <a:close/>
                    <a:moveTo>
                      <a:pt x="173" y="261"/>
                    </a:moveTo>
                    <a:lnTo>
                      <a:pt x="173" y="263"/>
                    </a:lnTo>
                    <a:lnTo>
                      <a:pt x="175" y="261"/>
                    </a:lnTo>
                    <a:lnTo>
                      <a:pt x="175" y="263"/>
                    </a:lnTo>
                    <a:lnTo>
                      <a:pt x="175" y="265"/>
                    </a:lnTo>
                    <a:lnTo>
                      <a:pt x="177" y="265"/>
                    </a:lnTo>
                    <a:lnTo>
                      <a:pt x="175" y="265"/>
                    </a:lnTo>
                    <a:lnTo>
                      <a:pt x="177" y="265"/>
                    </a:lnTo>
                    <a:lnTo>
                      <a:pt x="175" y="265"/>
                    </a:lnTo>
                    <a:lnTo>
                      <a:pt x="175" y="267"/>
                    </a:lnTo>
                    <a:lnTo>
                      <a:pt x="175" y="265"/>
                    </a:lnTo>
                    <a:lnTo>
                      <a:pt x="173" y="265"/>
                    </a:lnTo>
                    <a:lnTo>
                      <a:pt x="171" y="265"/>
                    </a:lnTo>
                    <a:lnTo>
                      <a:pt x="169" y="265"/>
                    </a:lnTo>
                    <a:lnTo>
                      <a:pt x="169" y="263"/>
                    </a:lnTo>
                    <a:lnTo>
                      <a:pt x="167" y="263"/>
                    </a:lnTo>
                    <a:lnTo>
                      <a:pt x="167" y="265"/>
                    </a:lnTo>
                    <a:lnTo>
                      <a:pt x="165" y="265"/>
                    </a:lnTo>
                    <a:lnTo>
                      <a:pt x="165" y="263"/>
                    </a:lnTo>
                    <a:lnTo>
                      <a:pt x="163" y="263"/>
                    </a:lnTo>
                    <a:lnTo>
                      <a:pt x="165" y="263"/>
                    </a:lnTo>
                    <a:lnTo>
                      <a:pt x="167" y="263"/>
                    </a:lnTo>
                    <a:lnTo>
                      <a:pt x="169" y="263"/>
                    </a:lnTo>
                    <a:lnTo>
                      <a:pt x="171" y="263"/>
                    </a:lnTo>
                    <a:lnTo>
                      <a:pt x="171" y="261"/>
                    </a:lnTo>
                    <a:lnTo>
                      <a:pt x="173" y="261"/>
                    </a:lnTo>
                    <a:close/>
                    <a:moveTo>
                      <a:pt x="590" y="260"/>
                    </a:moveTo>
                    <a:lnTo>
                      <a:pt x="588" y="261"/>
                    </a:lnTo>
                    <a:lnTo>
                      <a:pt x="586" y="261"/>
                    </a:lnTo>
                    <a:lnTo>
                      <a:pt x="584" y="261"/>
                    </a:lnTo>
                    <a:lnTo>
                      <a:pt x="586" y="261"/>
                    </a:lnTo>
                    <a:lnTo>
                      <a:pt x="584" y="261"/>
                    </a:lnTo>
                    <a:lnTo>
                      <a:pt x="586" y="260"/>
                    </a:lnTo>
                    <a:lnTo>
                      <a:pt x="588" y="260"/>
                    </a:lnTo>
                    <a:lnTo>
                      <a:pt x="590" y="260"/>
                    </a:lnTo>
                    <a:close/>
                    <a:moveTo>
                      <a:pt x="167" y="261"/>
                    </a:moveTo>
                    <a:lnTo>
                      <a:pt x="169" y="261"/>
                    </a:lnTo>
                    <a:lnTo>
                      <a:pt x="167" y="261"/>
                    </a:lnTo>
                    <a:close/>
                    <a:moveTo>
                      <a:pt x="613" y="256"/>
                    </a:moveTo>
                    <a:lnTo>
                      <a:pt x="613" y="258"/>
                    </a:lnTo>
                    <a:lnTo>
                      <a:pt x="613" y="256"/>
                    </a:lnTo>
                    <a:lnTo>
                      <a:pt x="613" y="258"/>
                    </a:lnTo>
                    <a:lnTo>
                      <a:pt x="613" y="256"/>
                    </a:lnTo>
                    <a:close/>
                    <a:moveTo>
                      <a:pt x="594" y="260"/>
                    </a:moveTo>
                    <a:lnTo>
                      <a:pt x="592" y="260"/>
                    </a:lnTo>
                    <a:lnTo>
                      <a:pt x="594" y="260"/>
                    </a:lnTo>
                    <a:close/>
                    <a:moveTo>
                      <a:pt x="588" y="260"/>
                    </a:moveTo>
                    <a:lnTo>
                      <a:pt x="588" y="258"/>
                    </a:lnTo>
                    <a:lnTo>
                      <a:pt x="588" y="260"/>
                    </a:lnTo>
                    <a:close/>
                    <a:moveTo>
                      <a:pt x="194" y="261"/>
                    </a:moveTo>
                    <a:lnTo>
                      <a:pt x="194" y="263"/>
                    </a:lnTo>
                    <a:lnTo>
                      <a:pt x="196" y="263"/>
                    </a:lnTo>
                    <a:lnTo>
                      <a:pt x="198" y="263"/>
                    </a:lnTo>
                    <a:lnTo>
                      <a:pt x="200" y="263"/>
                    </a:lnTo>
                    <a:lnTo>
                      <a:pt x="200" y="265"/>
                    </a:lnTo>
                    <a:lnTo>
                      <a:pt x="198" y="265"/>
                    </a:lnTo>
                    <a:lnTo>
                      <a:pt x="196" y="265"/>
                    </a:lnTo>
                    <a:lnTo>
                      <a:pt x="196" y="267"/>
                    </a:lnTo>
                    <a:lnTo>
                      <a:pt x="194" y="267"/>
                    </a:lnTo>
                    <a:lnTo>
                      <a:pt x="194" y="265"/>
                    </a:lnTo>
                    <a:lnTo>
                      <a:pt x="192" y="265"/>
                    </a:lnTo>
                    <a:lnTo>
                      <a:pt x="192" y="263"/>
                    </a:lnTo>
                    <a:lnTo>
                      <a:pt x="192" y="261"/>
                    </a:lnTo>
                    <a:lnTo>
                      <a:pt x="194" y="261"/>
                    </a:lnTo>
                    <a:close/>
                    <a:moveTo>
                      <a:pt x="590" y="258"/>
                    </a:moveTo>
                    <a:lnTo>
                      <a:pt x="592" y="258"/>
                    </a:lnTo>
                    <a:lnTo>
                      <a:pt x="592" y="260"/>
                    </a:lnTo>
                    <a:lnTo>
                      <a:pt x="590" y="260"/>
                    </a:lnTo>
                    <a:lnTo>
                      <a:pt x="590" y="258"/>
                    </a:lnTo>
                    <a:close/>
                    <a:moveTo>
                      <a:pt x="592" y="258"/>
                    </a:moveTo>
                    <a:lnTo>
                      <a:pt x="592" y="260"/>
                    </a:lnTo>
                    <a:lnTo>
                      <a:pt x="590" y="260"/>
                    </a:lnTo>
                    <a:lnTo>
                      <a:pt x="588" y="260"/>
                    </a:lnTo>
                    <a:lnTo>
                      <a:pt x="590" y="260"/>
                    </a:lnTo>
                    <a:lnTo>
                      <a:pt x="590" y="258"/>
                    </a:lnTo>
                    <a:lnTo>
                      <a:pt x="590" y="260"/>
                    </a:lnTo>
                    <a:lnTo>
                      <a:pt x="592" y="260"/>
                    </a:lnTo>
                    <a:lnTo>
                      <a:pt x="592" y="258"/>
                    </a:lnTo>
                    <a:close/>
                    <a:moveTo>
                      <a:pt x="595" y="258"/>
                    </a:moveTo>
                    <a:lnTo>
                      <a:pt x="597" y="258"/>
                    </a:lnTo>
                    <a:lnTo>
                      <a:pt x="595" y="258"/>
                    </a:lnTo>
                    <a:close/>
                    <a:moveTo>
                      <a:pt x="595" y="258"/>
                    </a:moveTo>
                    <a:lnTo>
                      <a:pt x="594" y="258"/>
                    </a:lnTo>
                    <a:lnTo>
                      <a:pt x="594" y="260"/>
                    </a:lnTo>
                    <a:lnTo>
                      <a:pt x="594" y="258"/>
                    </a:lnTo>
                    <a:lnTo>
                      <a:pt x="594" y="260"/>
                    </a:lnTo>
                    <a:lnTo>
                      <a:pt x="592" y="260"/>
                    </a:lnTo>
                    <a:lnTo>
                      <a:pt x="592" y="258"/>
                    </a:lnTo>
                    <a:lnTo>
                      <a:pt x="594" y="258"/>
                    </a:lnTo>
                    <a:lnTo>
                      <a:pt x="595" y="258"/>
                    </a:lnTo>
                    <a:close/>
                    <a:moveTo>
                      <a:pt x="588" y="258"/>
                    </a:moveTo>
                    <a:lnTo>
                      <a:pt x="586" y="258"/>
                    </a:lnTo>
                    <a:lnTo>
                      <a:pt x="586" y="260"/>
                    </a:lnTo>
                    <a:lnTo>
                      <a:pt x="586" y="258"/>
                    </a:lnTo>
                    <a:lnTo>
                      <a:pt x="588" y="258"/>
                    </a:lnTo>
                    <a:close/>
                    <a:moveTo>
                      <a:pt x="590" y="258"/>
                    </a:moveTo>
                    <a:lnTo>
                      <a:pt x="588" y="258"/>
                    </a:lnTo>
                    <a:lnTo>
                      <a:pt x="590" y="258"/>
                    </a:lnTo>
                    <a:close/>
                    <a:moveTo>
                      <a:pt x="486" y="265"/>
                    </a:moveTo>
                    <a:lnTo>
                      <a:pt x="486" y="267"/>
                    </a:lnTo>
                    <a:lnTo>
                      <a:pt x="484" y="267"/>
                    </a:lnTo>
                    <a:lnTo>
                      <a:pt x="482" y="267"/>
                    </a:lnTo>
                    <a:lnTo>
                      <a:pt x="484" y="267"/>
                    </a:lnTo>
                    <a:lnTo>
                      <a:pt x="484" y="265"/>
                    </a:lnTo>
                    <a:lnTo>
                      <a:pt x="486" y="265"/>
                    </a:lnTo>
                    <a:close/>
                    <a:moveTo>
                      <a:pt x="175" y="260"/>
                    </a:moveTo>
                    <a:lnTo>
                      <a:pt x="175" y="261"/>
                    </a:lnTo>
                    <a:lnTo>
                      <a:pt x="175" y="260"/>
                    </a:lnTo>
                    <a:lnTo>
                      <a:pt x="177" y="260"/>
                    </a:lnTo>
                    <a:lnTo>
                      <a:pt x="175" y="260"/>
                    </a:lnTo>
                    <a:close/>
                    <a:moveTo>
                      <a:pt x="165" y="258"/>
                    </a:moveTo>
                    <a:lnTo>
                      <a:pt x="163" y="258"/>
                    </a:lnTo>
                    <a:lnTo>
                      <a:pt x="165" y="258"/>
                    </a:lnTo>
                    <a:close/>
                    <a:moveTo>
                      <a:pt x="180" y="260"/>
                    </a:moveTo>
                    <a:lnTo>
                      <a:pt x="180" y="261"/>
                    </a:lnTo>
                    <a:lnTo>
                      <a:pt x="180" y="263"/>
                    </a:lnTo>
                    <a:lnTo>
                      <a:pt x="180" y="261"/>
                    </a:lnTo>
                    <a:lnTo>
                      <a:pt x="182" y="261"/>
                    </a:lnTo>
                    <a:lnTo>
                      <a:pt x="182" y="263"/>
                    </a:lnTo>
                    <a:lnTo>
                      <a:pt x="180" y="263"/>
                    </a:lnTo>
                    <a:lnTo>
                      <a:pt x="179" y="263"/>
                    </a:lnTo>
                    <a:lnTo>
                      <a:pt x="177" y="263"/>
                    </a:lnTo>
                    <a:lnTo>
                      <a:pt x="177" y="261"/>
                    </a:lnTo>
                    <a:lnTo>
                      <a:pt x="179" y="261"/>
                    </a:lnTo>
                    <a:lnTo>
                      <a:pt x="179" y="260"/>
                    </a:lnTo>
                    <a:lnTo>
                      <a:pt x="180" y="260"/>
                    </a:lnTo>
                    <a:close/>
                    <a:moveTo>
                      <a:pt x="202" y="261"/>
                    </a:moveTo>
                    <a:lnTo>
                      <a:pt x="200" y="261"/>
                    </a:lnTo>
                    <a:lnTo>
                      <a:pt x="200" y="260"/>
                    </a:lnTo>
                    <a:lnTo>
                      <a:pt x="200" y="261"/>
                    </a:lnTo>
                    <a:lnTo>
                      <a:pt x="202" y="261"/>
                    </a:lnTo>
                    <a:close/>
                    <a:moveTo>
                      <a:pt x="482" y="265"/>
                    </a:moveTo>
                    <a:lnTo>
                      <a:pt x="484" y="265"/>
                    </a:lnTo>
                    <a:lnTo>
                      <a:pt x="482" y="265"/>
                    </a:lnTo>
                    <a:lnTo>
                      <a:pt x="480" y="265"/>
                    </a:lnTo>
                    <a:lnTo>
                      <a:pt x="482" y="265"/>
                    </a:lnTo>
                    <a:close/>
                    <a:moveTo>
                      <a:pt x="165" y="258"/>
                    </a:moveTo>
                    <a:lnTo>
                      <a:pt x="167" y="258"/>
                    </a:lnTo>
                    <a:lnTo>
                      <a:pt x="165" y="258"/>
                    </a:lnTo>
                    <a:lnTo>
                      <a:pt x="167" y="258"/>
                    </a:lnTo>
                    <a:lnTo>
                      <a:pt x="165" y="258"/>
                    </a:lnTo>
                    <a:close/>
                    <a:moveTo>
                      <a:pt x="175" y="258"/>
                    </a:moveTo>
                    <a:lnTo>
                      <a:pt x="177" y="258"/>
                    </a:lnTo>
                    <a:lnTo>
                      <a:pt x="175" y="260"/>
                    </a:lnTo>
                    <a:lnTo>
                      <a:pt x="175" y="258"/>
                    </a:lnTo>
                    <a:lnTo>
                      <a:pt x="175" y="260"/>
                    </a:lnTo>
                    <a:lnTo>
                      <a:pt x="175" y="258"/>
                    </a:lnTo>
                    <a:lnTo>
                      <a:pt x="173" y="258"/>
                    </a:lnTo>
                    <a:lnTo>
                      <a:pt x="175" y="258"/>
                    </a:lnTo>
                    <a:close/>
                    <a:moveTo>
                      <a:pt x="611" y="254"/>
                    </a:moveTo>
                    <a:lnTo>
                      <a:pt x="613" y="254"/>
                    </a:lnTo>
                    <a:lnTo>
                      <a:pt x="613" y="256"/>
                    </a:lnTo>
                    <a:lnTo>
                      <a:pt x="613" y="254"/>
                    </a:lnTo>
                    <a:lnTo>
                      <a:pt x="613" y="256"/>
                    </a:lnTo>
                    <a:lnTo>
                      <a:pt x="611" y="256"/>
                    </a:lnTo>
                    <a:lnTo>
                      <a:pt x="611" y="254"/>
                    </a:lnTo>
                    <a:close/>
                    <a:moveTo>
                      <a:pt x="611" y="246"/>
                    </a:moveTo>
                    <a:lnTo>
                      <a:pt x="609" y="246"/>
                    </a:lnTo>
                    <a:lnTo>
                      <a:pt x="611" y="246"/>
                    </a:lnTo>
                    <a:close/>
                    <a:moveTo>
                      <a:pt x="609" y="244"/>
                    </a:moveTo>
                    <a:lnTo>
                      <a:pt x="609" y="246"/>
                    </a:lnTo>
                    <a:lnTo>
                      <a:pt x="607" y="246"/>
                    </a:lnTo>
                    <a:lnTo>
                      <a:pt x="607" y="244"/>
                    </a:lnTo>
                    <a:lnTo>
                      <a:pt x="609" y="244"/>
                    </a:lnTo>
                    <a:close/>
                    <a:moveTo>
                      <a:pt x="480" y="256"/>
                    </a:moveTo>
                    <a:lnTo>
                      <a:pt x="478" y="256"/>
                    </a:lnTo>
                    <a:lnTo>
                      <a:pt x="480" y="256"/>
                    </a:lnTo>
                    <a:close/>
                    <a:moveTo>
                      <a:pt x="618" y="242"/>
                    </a:moveTo>
                    <a:lnTo>
                      <a:pt x="618" y="244"/>
                    </a:lnTo>
                    <a:lnTo>
                      <a:pt x="617" y="244"/>
                    </a:lnTo>
                    <a:lnTo>
                      <a:pt x="617" y="242"/>
                    </a:lnTo>
                    <a:lnTo>
                      <a:pt x="617" y="244"/>
                    </a:lnTo>
                    <a:lnTo>
                      <a:pt x="617" y="242"/>
                    </a:lnTo>
                    <a:lnTo>
                      <a:pt x="618" y="242"/>
                    </a:lnTo>
                    <a:close/>
                    <a:moveTo>
                      <a:pt x="228" y="252"/>
                    </a:moveTo>
                    <a:lnTo>
                      <a:pt x="228" y="250"/>
                    </a:lnTo>
                    <a:lnTo>
                      <a:pt x="228" y="252"/>
                    </a:lnTo>
                    <a:close/>
                    <a:moveTo>
                      <a:pt x="104" y="236"/>
                    </a:moveTo>
                    <a:lnTo>
                      <a:pt x="104" y="238"/>
                    </a:lnTo>
                    <a:lnTo>
                      <a:pt x="104" y="240"/>
                    </a:lnTo>
                    <a:lnTo>
                      <a:pt x="102" y="240"/>
                    </a:lnTo>
                    <a:lnTo>
                      <a:pt x="102" y="238"/>
                    </a:lnTo>
                    <a:lnTo>
                      <a:pt x="100" y="236"/>
                    </a:lnTo>
                    <a:lnTo>
                      <a:pt x="102" y="238"/>
                    </a:lnTo>
                    <a:lnTo>
                      <a:pt x="104" y="236"/>
                    </a:lnTo>
                    <a:close/>
                    <a:moveTo>
                      <a:pt x="230" y="250"/>
                    </a:moveTo>
                    <a:lnTo>
                      <a:pt x="230" y="248"/>
                    </a:lnTo>
                    <a:lnTo>
                      <a:pt x="230" y="250"/>
                    </a:lnTo>
                    <a:close/>
                    <a:moveTo>
                      <a:pt x="601" y="240"/>
                    </a:moveTo>
                    <a:lnTo>
                      <a:pt x="599" y="240"/>
                    </a:lnTo>
                    <a:lnTo>
                      <a:pt x="601" y="240"/>
                    </a:lnTo>
                    <a:close/>
                    <a:moveTo>
                      <a:pt x="230" y="246"/>
                    </a:moveTo>
                    <a:lnTo>
                      <a:pt x="230" y="248"/>
                    </a:lnTo>
                    <a:lnTo>
                      <a:pt x="232" y="248"/>
                    </a:lnTo>
                    <a:lnTo>
                      <a:pt x="230" y="248"/>
                    </a:lnTo>
                    <a:lnTo>
                      <a:pt x="228" y="248"/>
                    </a:lnTo>
                    <a:lnTo>
                      <a:pt x="230" y="248"/>
                    </a:lnTo>
                    <a:lnTo>
                      <a:pt x="228" y="248"/>
                    </a:lnTo>
                    <a:lnTo>
                      <a:pt x="228" y="246"/>
                    </a:lnTo>
                    <a:lnTo>
                      <a:pt x="230" y="246"/>
                    </a:lnTo>
                    <a:close/>
                    <a:moveTo>
                      <a:pt x="106" y="235"/>
                    </a:moveTo>
                    <a:lnTo>
                      <a:pt x="104" y="236"/>
                    </a:lnTo>
                    <a:lnTo>
                      <a:pt x="104" y="235"/>
                    </a:lnTo>
                    <a:lnTo>
                      <a:pt x="106" y="235"/>
                    </a:lnTo>
                    <a:close/>
                    <a:moveTo>
                      <a:pt x="227" y="242"/>
                    </a:moveTo>
                    <a:lnTo>
                      <a:pt x="228" y="242"/>
                    </a:lnTo>
                    <a:lnTo>
                      <a:pt x="228" y="244"/>
                    </a:lnTo>
                    <a:lnTo>
                      <a:pt x="227" y="244"/>
                    </a:lnTo>
                    <a:lnTo>
                      <a:pt x="227" y="242"/>
                    </a:lnTo>
                    <a:close/>
                    <a:moveTo>
                      <a:pt x="597" y="236"/>
                    </a:moveTo>
                    <a:lnTo>
                      <a:pt x="597" y="235"/>
                    </a:lnTo>
                    <a:lnTo>
                      <a:pt x="597" y="236"/>
                    </a:lnTo>
                    <a:close/>
                    <a:moveTo>
                      <a:pt x="190" y="238"/>
                    </a:moveTo>
                    <a:lnTo>
                      <a:pt x="190" y="240"/>
                    </a:lnTo>
                    <a:lnTo>
                      <a:pt x="188" y="240"/>
                    </a:lnTo>
                    <a:lnTo>
                      <a:pt x="188" y="238"/>
                    </a:lnTo>
                    <a:lnTo>
                      <a:pt x="190" y="238"/>
                    </a:lnTo>
                    <a:close/>
                    <a:moveTo>
                      <a:pt x="104" y="233"/>
                    </a:moveTo>
                    <a:lnTo>
                      <a:pt x="104" y="231"/>
                    </a:lnTo>
                    <a:lnTo>
                      <a:pt x="104" y="229"/>
                    </a:lnTo>
                    <a:lnTo>
                      <a:pt x="104" y="231"/>
                    </a:lnTo>
                    <a:lnTo>
                      <a:pt x="104" y="233"/>
                    </a:lnTo>
                    <a:close/>
                    <a:moveTo>
                      <a:pt x="242" y="240"/>
                    </a:moveTo>
                    <a:lnTo>
                      <a:pt x="240" y="240"/>
                    </a:lnTo>
                    <a:lnTo>
                      <a:pt x="240" y="238"/>
                    </a:lnTo>
                    <a:lnTo>
                      <a:pt x="242" y="238"/>
                    </a:lnTo>
                    <a:lnTo>
                      <a:pt x="242" y="240"/>
                    </a:lnTo>
                    <a:close/>
                    <a:moveTo>
                      <a:pt x="244" y="238"/>
                    </a:moveTo>
                    <a:lnTo>
                      <a:pt x="242" y="238"/>
                    </a:lnTo>
                    <a:lnTo>
                      <a:pt x="244" y="238"/>
                    </a:lnTo>
                    <a:lnTo>
                      <a:pt x="242" y="238"/>
                    </a:lnTo>
                    <a:lnTo>
                      <a:pt x="244" y="238"/>
                    </a:lnTo>
                    <a:close/>
                    <a:moveTo>
                      <a:pt x="253" y="233"/>
                    </a:moveTo>
                    <a:lnTo>
                      <a:pt x="253" y="235"/>
                    </a:lnTo>
                    <a:lnTo>
                      <a:pt x="253" y="233"/>
                    </a:lnTo>
                    <a:close/>
                    <a:moveTo>
                      <a:pt x="271" y="235"/>
                    </a:moveTo>
                    <a:lnTo>
                      <a:pt x="269" y="235"/>
                    </a:lnTo>
                    <a:lnTo>
                      <a:pt x="271" y="235"/>
                    </a:lnTo>
                    <a:close/>
                    <a:moveTo>
                      <a:pt x="255" y="235"/>
                    </a:moveTo>
                    <a:lnTo>
                      <a:pt x="253" y="233"/>
                    </a:lnTo>
                    <a:lnTo>
                      <a:pt x="255" y="233"/>
                    </a:lnTo>
                    <a:lnTo>
                      <a:pt x="255" y="235"/>
                    </a:lnTo>
                    <a:close/>
                    <a:moveTo>
                      <a:pt x="257" y="233"/>
                    </a:moveTo>
                    <a:lnTo>
                      <a:pt x="257" y="235"/>
                    </a:lnTo>
                    <a:lnTo>
                      <a:pt x="255" y="235"/>
                    </a:lnTo>
                    <a:lnTo>
                      <a:pt x="257" y="235"/>
                    </a:lnTo>
                    <a:lnTo>
                      <a:pt x="255" y="235"/>
                    </a:lnTo>
                    <a:lnTo>
                      <a:pt x="255" y="233"/>
                    </a:lnTo>
                    <a:lnTo>
                      <a:pt x="255" y="235"/>
                    </a:lnTo>
                    <a:lnTo>
                      <a:pt x="255" y="233"/>
                    </a:lnTo>
                    <a:lnTo>
                      <a:pt x="257" y="233"/>
                    </a:lnTo>
                    <a:close/>
                    <a:moveTo>
                      <a:pt x="259" y="233"/>
                    </a:moveTo>
                    <a:lnTo>
                      <a:pt x="261" y="233"/>
                    </a:lnTo>
                    <a:lnTo>
                      <a:pt x="259" y="233"/>
                    </a:lnTo>
                    <a:lnTo>
                      <a:pt x="257" y="233"/>
                    </a:lnTo>
                    <a:lnTo>
                      <a:pt x="259" y="233"/>
                    </a:lnTo>
                    <a:lnTo>
                      <a:pt x="257" y="233"/>
                    </a:lnTo>
                    <a:lnTo>
                      <a:pt x="257" y="231"/>
                    </a:lnTo>
                    <a:lnTo>
                      <a:pt x="257" y="233"/>
                    </a:lnTo>
                    <a:lnTo>
                      <a:pt x="259" y="233"/>
                    </a:lnTo>
                    <a:close/>
                    <a:moveTo>
                      <a:pt x="252" y="233"/>
                    </a:moveTo>
                    <a:lnTo>
                      <a:pt x="252" y="231"/>
                    </a:lnTo>
                    <a:lnTo>
                      <a:pt x="252" y="233"/>
                    </a:lnTo>
                    <a:close/>
                    <a:moveTo>
                      <a:pt x="265" y="229"/>
                    </a:moveTo>
                    <a:lnTo>
                      <a:pt x="267" y="229"/>
                    </a:lnTo>
                    <a:lnTo>
                      <a:pt x="265" y="229"/>
                    </a:lnTo>
                    <a:close/>
                    <a:moveTo>
                      <a:pt x="741" y="194"/>
                    </a:moveTo>
                    <a:lnTo>
                      <a:pt x="740" y="194"/>
                    </a:lnTo>
                    <a:lnTo>
                      <a:pt x="741" y="194"/>
                    </a:lnTo>
                    <a:close/>
                    <a:moveTo>
                      <a:pt x="459" y="225"/>
                    </a:moveTo>
                    <a:lnTo>
                      <a:pt x="459" y="227"/>
                    </a:lnTo>
                    <a:lnTo>
                      <a:pt x="459" y="225"/>
                    </a:lnTo>
                    <a:close/>
                    <a:moveTo>
                      <a:pt x="242" y="223"/>
                    </a:moveTo>
                    <a:lnTo>
                      <a:pt x="240" y="223"/>
                    </a:lnTo>
                    <a:lnTo>
                      <a:pt x="242" y="223"/>
                    </a:lnTo>
                    <a:close/>
                    <a:moveTo>
                      <a:pt x="303" y="225"/>
                    </a:moveTo>
                    <a:lnTo>
                      <a:pt x="303" y="223"/>
                    </a:lnTo>
                    <a:lnTo>
                      <a:pt x="305" y="223"/>
                    </a:lnTo>
                    <a:lnTo>
                      <a:pt x="303" y="225"/>
                    </a:lnTo>
                    <a:close/>
                    <a:moveTo>
                      <a:pt x="307" y="223"/>
                    </a:moveTo>
                    <a:lnTo>
                      <a:pt x="305" y="223"/>
                    </a:lnTo>
                    <a:lnTo>
                      <a:pt x="307" y="223"/>
                    </a:lnTo>
                    <a:close/>
                    <a:moveTo>
                      <a:pt x="461" y="221"/>
                    </a:moveTo>
                    <a:lnTo>
                      <a:pt x="459" y="221"/>
                    </a:lnTo>
                    <a:lnTo>
                      <a:pt x="461" y="221"/>
                    </a:lnTo>
                    <a:close/>
                    <a:moveTo>
                      <a:pt x="465" y="221"/>
                    </a:moveTo>
                    <a:lnTo>
                      <a:pt x="465" y="219"/>
                    </a:lnTo>
                    <a:lnTo>
                      <a:pt x="465" y="221"/>
                    </a:lnTo>
                    <a:close/>
                    <a:moveTo>
                      <a:pt x="326" y="221"/>
                    </a:moveTo>
                    <a:lnTo>
                      <a:pt x="325" y="221"/>
                    </a:lnTo>
                    <a:lnTo>
                      <a:pt x="326" y="221"/>
                    </a:lnTo>
                    <a:lnTo>
                      <a:pt x="325" y="221"/>
                    </a:lnTo>
                    <a:lnTo>
                      <a:pt x="326" y="221"/>
                    </a:lnTo>
                    <a:close/>
                    <a:moveTo>
                      <a:pt x="100" y="202"/>
                    </a:moveTo>
                    <a:lnTo>
                      <a:pt x="102" y="202"/>
                    </a:lnTo>
                    <a:lnTo>
                      <a:pt x="102" y="204"/>
                    </a:lnTo>
                    <a:lnTo>
                      <a:pt x="100" y="204"/>
                    </a:lnTo>
                    <a:lnTo>
                      <a:pt x="100" y="202"/>
                    </a:lnTo>
                    <a:close/>
                    <a:moveTo>
                      <a:pt x="326" y="219"/>
                    </a:moveTo>
                    <a:lnTo>
                      <a:pt x="328" y="219"/>
                    </a:lnTo>
                    <a:lnTo>
                      <a:pt x="330" y="219"/>
                    </a:lnTo>
                    <a:lnTo>
                      <a:pt x="330" y="221"/>
                    </a:lnTo>
                    <a:lnTo>
                      <a:pt x="328" y="219"/>
                    </a:lnTo>
                    <a:lnTo>
                      <a:pt x="328" y="221"/>
                    </a:lnTo>
                    <a:lnTo>
                      <a:pt x="326" y="221"/>
                    </a:lnTo>
                    <a:lnTo>
                      <a:pt x="326" y="219"/>
                    </a:lnTo>
                    <a:lnTo>
                      <a:pt x="325" y="221"/>
                    </a:lnTo>
                    <a:lnTo>
                      <a:pt x="323" y="221"/>
                    </a:lnTo>
                    <a:lnTo>
                      <a:pt x="325" y="219"/>
                    </a:lnTo>
                    <a:lnTo>
                      <a:pt x="326" y="219"/>
                    </a:lnTo>
                    <a:close/>
                    <a:moveTo>
                      <a:pt x="467" y="217"/>
                    </a:moveTo>
                    <a:lnTo>
                      <a:pt x="469" y="217"/>
                    </a:lnTo>
                    <a:lnTo>
                      <a:pt x="467" y="217"/>
                    </a:lnTo>
                    <a:lnTo>
                      <a:pt x="469" y="217"/>
                    </a:lnTo>
                    <a:lnTo>
                      <a:pt x="467" y="217"/>
                    </a:lnTo>
                    <a:lnTo>
                      <a:pt x="467" y="219"/>
                    </a:lnTo>
                    <a:lnTo>
                      <a:pt x="467" y="217"/>
                    </a:lnTo>
                    <a:close/>
                    <a:moveTo>
                      <a:pt x="336" y="219"/>
                    </a:moveTo>
                    <a:lnTo>
                      <a:pt x="338" y="219"/>
                    </a:lnTo>
                    <a:lnTo>
                      <a:pt x="336" y="219"/>
                    </a:lnTo>
                    <a:close/>
                    <a:moveTo>
                      <a:pt x="469" y="217"/>
                    </a:moveTo>
                    <a:lnTo>
                      <a:pt x="467" y="217"/>
                    </a:lnTo>
                    <a:lnTo>
                      <a:pt x="469" y="217"/>
                    </a:lnTo>
                    <a:lnTo>
                      <a:pt x="467" y="217"/>
                    </a:lnTo>
                    <a:lnTo>
                      <a:pt x="469" y="217"/>
                    </a:lnTo>
                    <a:close/>
                    <a:moveTo>
                      <a:pt x="467" y="217"/>
                    </a:moveTo>
                    <a:lnTo>
                      <a:pt x="467" y="219"/>
                    </a:lnTo>
                    <a:lnTo>
                      <a:pt x="465" y="219"/>
                    </a:lnTo>
                    <a:lnTo>
                      <a:pt x="465" y="217"/>
                    </a:lnTo>
                    <a:lnTo>
                      <a:pt x="467" y="217"/>
                    </a:lnTo>
                    <a:close/>
                    <a:moveTo>
                      <a:pt x="469" y="215"/>
                    </a:moveTo>
                    <a:lnTo>
                      <a:pt x="469" y="217"/>
                    </a:lnTo>
                    <a:lnTo>
                      <a:pt x="469" y="215"/>
                    </a:lnTo>
                    <a:close/>
                    <a:moveTo>
                      <a:pt x="467" y="217"/>
                    </a:moveTo>
                    <a:lnTo>
                      <a:pt x="467" y="215"/>
                    </a:lnTo>
                    <a:lnTo>
                      <a:pt x="467" y="217"/>
                    </a:lnTo>
                    <a:close/>
                    <a:moveTo>
                      <a:pt x="757" y="181"/>
                    </a:moveTo>
                    <a:lnTo>
                      <a:pt x="757" y="183"/>
                    </a:lnTo>
                    <a:lnTo>
                      <a:pt x="757" y="181"/>
                    </a:lnTo>
                    <a:lnTo>
                      <a:pt x="755" y="181"/>
                    </a:lnTo>
                    <a:lnTo>
                      <a:pt x="757" y="181"/>
                    </a:lnTo>
                    <a:close/>
                    <a:moveTo>
                      <a:pt x="467" y="215"/>
                    </a:moveTo>
                    <a:lnTo>
                      <a:pt x="469" y="215"/>
                    </a:lnTo>
                    <a:lnTo>
                      <a:pt x="467" y="215"/>
                    </a:lnTo>
                    <a:close/>
                    <a:moveTo>
                      <a:pt x="313" y="215"/>
                    </a:moveTo>
                    <a:lnTo>
                      <a:pt x="313" y="217"/>
                    </a:lnTo>
                    <a:lnTo>
                      <a:pt x="313" y="215"/>
                    </a:lnTo>
                    <a:close/>
                    <a:moveTo>
                      <a:pt x="313" y="215"/>
                    </a:moveTo>
                    <a:lnTo>
                      <a:pt x="315" y="215"/>
                    </a:lnTo>
                    <a:lnTo>
                      <a:pt x="313" y="215"/>
                    </a:lnTo>
                    <a:close/>
                    <a:moveTo>
                      <a:pt x="469" y="215"/>
                    </a:moveTo>
                    <a:lnTo>
                      <a:pt x="469" y="213"/>
                    </a:lnTo>
                    <a:lnTo>
                      <a:pt x="467" y="213"/>
                    </a:lnTo>
                    <a:lnTo>
                      <a:pt x="469" y="213"/>
                    </a:lnTo>
                    <a:lnTo>
                      <a:pt x="469" y="215"/>
                    </a:lnTo>
                    <a:close/>
                    <a:moveTo>
                      <a:pt x="102" y="196"/>
                    </a:moveTo>
                    <a:lnTo>
                      <a:pt x="104" y="198"/>
                    </a:lnTo>
                    <a:lnTo>
                      <a:pt x="106" y="198"/>
                    </a:lnTo>
                    <a:lnTo>
                      <a:pt x="107" y="198"/>
                    </a:lnTo>
                    <a:lnTo>
                      <a:pt x="106" y="198"/>
                    </a:lnTo>
                    <a:lnTo>
                      <a:pt x="104" y="198"/>
                    </a:lnTo>
                    <a:lnTo>
                      <a:pt x="102" y="198"/>
                    </a:lnTo>
                    <a:lnTo>
                      <a:pt x="104" y="198"/>
                    </a:lnTo>
                    <a:lnTo>
                      <a:pt x="102" y="198"/>
                    </a:lnTo>
                    <a:lnTo>
                      <a:pt x="102" y="200"/>
                    </a:lnTo>
                    <a:lnTo>
                      <a:pt x="104" y="200"/>
                    </a:lnTo>
                    <a:lnTo>
                      <a:pt x="104" y="198"/>
                    </a:lnTo>
                    <a:lnTo>
                      <a:pt x="106" y="198"/>
                    </a:lnTo>
                    <a:lnTo>
                      <a:pt x="106" y="200"/>
                    </a:lnTo>
                    <a:lnTo>
                      <a:pt x="107" y="202"/>
                    </a:lnTo>
                    <a:lnTo>
                      <a:pt x="111" y="202"/>
                    </a:lnTo>
                    <a:lnTo>
                      <a:pt x="113" y="202"/>
                    </a:lnTo>
                    <a:lnTo>
                      <a:pt x="113" y="204"/>
                    </a:lnTo>
                    <a:lnTo>
                      <a:pt x="111" y="204"/>
                    </a:lnTo>
                    <a:lnTo>
                      <a:pt x="111" y="202"/>
                    </a:lnTo>
                    <a:lnTo>
                      <a:pt x="109" y="202"/>
                    </a:lnTo>
                    <a:lnTo>
                      <a:pt x="107" y="202"/>
                    </a:lnTo>
                    <a:lnTo>
                      <a:pt x="106" y="202"/>
                    </a:lnTo>
                    <a:lnTo>
                      <a:pt x="104" y="200"/>
                    </a:lnTo>
                    <a:lnTo>
                      <a:pt x="102" y="200"/>
                    </a:lnTo>
                    <a:lnTo>
                      <a:pt x="100" y="198"/>
                    </a:lnTo>
                    <a:lnTo>
                      <a:pt x="102" y="198"/>
                    </a:lnTo>
                    <a:lnTo>
                      <a:pt x="102" y="196"/>
                    </a:lnTo>
                    <a:close/>
                    <a:moveTo>
                      <a:pt x="751" y="179"/>
                    </a:moveTo>
                    <a:lnTo>
                      <a:pt x="753" y="179"/>
                    </a:lnTo>
                    <a:lnTo>
                      <a:pt x="753" y="181"/>
                    </a:lnTo>
                    <a:lnTo>
                      <a:pt x="751" y="181"/>
                    </a:lnTo>
                    <a:lnTo>
                      <a:pt x="751" y="179"/>
                    </a:lnTo>
                    <a:lnTo>
                      <a:pt x="749" y="179"/>
                    </a:lnTo>
                    <a:lnTo>
                      <a:pt x="751" y="179"/>
                    </a:lnTo>
                    <a:lnTo>
                      <a:pt x="749" y="179"/>
                    </a:lnTo>
                    <a:lnTo>
                      <a:pt x="751" y="179"/>
                    </a:lnTo>
                    <a:close/>
                    <a:moveTo>
                      <a:pt x="472" y="213"/>
                    </a:moveTo>
                    <a:lnTo>
                      <a:pt x="472" y="212"/>
                    </a:lnTo>
                    <a:lnTo>
                      <a:pt x="472" y="213"/>
                    </a:lnTo>
                    <a:close/>
                    <a:moveTo>
                      <a:pt x="469" y="212"/>
                    </a:moveTo>
                    <a:lnTo>
                      <a:pt x="471" y="212"/>
                    </a:lnTo>
                    <a:lnTo>
                      <a:pt x="472" y="212"/>
                    </a:lnTo>
                    <a:lnTo>
                      <a:pt x="471" y="212"/>
                    </a:lnTo>
                    <a:lnTo>
                      <a:pt x="471" y="213"/>
                    </a:lnTo>
                    <a:lnTo>
                      <a:pt x="471" y="212"/>
                    </a:lnTo>
                    <a:lnTo>
                      <a:pt x="472" y="212"/>
                    </a:lnTo>
                    <a:lnTo>
                      <a:pt x="472" y="213"/>
                    </a:lnTo>
                    <a:lnTo>
                      <a:pt x="471" y="215"/>
                    </a:lnTo>
                    <a:lnTo>
                      <a:pt x="469" y="215"/>
                    </a:lnTo>
                    <a:lnTo>
                      <a:pt x="469" y="213"/>
                    </a:lnTo>
                    <a:lnTo>
                      <a:pt x="467" y="213"/>
                    </a:lnTo>
                    <a:lnTo>
                      <a:pt x="469" y="212"/>
                    </a:lnTo>
                    <a:close/>
                    <a:moveTo>
                      <a:pt x="125" y="200"/>
                    </a:moveTo>
                    <a:lnTo>
                      <a:pt x="127" y="200"/>
                    </a:lnTo>
                    <a:lnTo>
                      <a:pt x="129" y="200"/>
                    </a:lnTo>
                    <a:lnTo>
                      <a:pt x="131" y="200"/>
                    </a:lnTo>
                    <a:lnTo>
                      <a:pt x="131" y="202"/>
                    </a:lnTo>
                    <a:lnTo>
                      <a:pt x="132" y="202"/>
                    </a:lnTo>
                    <a:lnTo>
                      <a:pt x="131" y="202"/>
                    </a:lnTo>
                    <a:lnTo>
                      <a:pt x="129" y="202"/>
                    </a:lnTo>
                    <a:lnTo>
                      <a:pt x="127" y="202"/>
                    </a:lnTo>
                    <a:lnTo>
                      <a:pt x="125" y="202"/>
                    </a:lnTo>
                    <a:lnTo>
                      <a:pt x="125" y="200"/>
                    </a:lnTo>
                    <a:lnTo>
                      <a:pt x="127" y="200"/>
                    </a:lnTo>
                    <a:lnTo>
                      <a:pt x="125" y="200"/>
                    </a:lnTo>
                    <a:lnTo>
                      <a:pt x="123" y="200"/>
                    </a:lnTo>
                    <a:lnTo>
                      <a:pt x="121" y="200"/>
                    </a:lnTo>
                    <a:lnTo>
                      <a:pt x="119" y="200"/>
                    </a:lnTo>
                    <a:lnTo>
                      <a:pt x="117" y="200"/>
                    </a:lnTo>
                    <a:lnTo>
                      <a:pt x="115" y="200"/>
                    </a:lnTo>
                    <a:lnTo>
                      <a:pt x="113" y="200"/>
                    </a:lnTo>
                    <a:lnTo>
                      <a:pt x="113" y="198"/>
                    </a:lnTo>
                    <a:lnTo>
                      <a:pt x="115" y="198"/>
                    </a:lnTo>
                    <a:lnTo>
                      <a:pt x="117" y="200"/>
                    </a:lnTo>
                    <a:lnTo>
                      <a:pt x="117" y="198"/>
                    </a:lnTo>
                    <a:lnTo>
                      <a:pt x="119" y="198"/>
                    </a:lnTo>
                    <a:lnTo>
                      <a:pt x="121" y="198"/>
                    </a:lnTo>
                    <a:lnTo>
                      <a:pt x="123" y="198"/>
                    </a:lnTo>
                    <a:lnTo>
                      <a:pt x="125" y="200"/>
                    </a:lnTo>
                    <a:close/>
                    <a:moveTo>
                      <a:pt x="325" y="212"/>
                    </a:moveTo>
                    <a:lnTo>
                      <a:pt x="325" y="213"/>
                    </a:lnTo>
                    <a:lnTo>
                      <a:pt x="323" y="213"/>
                    </a:lnTo>
                    <a:lnTo>
                      <a:pt x="321" y="213"/>
                    </a:lnTo>
                    <a:lnTo>
                      <a:pt x="323" y="213"/>
                    </a:lnTo>
                    <a:lnTo>
                      <a:pt x="321" y="213"/>
                    </a:lnTo>
                    <a:lnTo>
                      <a:pt x="323" y="212"/>
                    </a:lnTo>
                    <a:lnTo>
                      <a:pt x="325" y="212"/>
                    </a:lnTo>
                    <a:close/>
                    <a:moveTo>
                      <a:pt x="300" y="210"/>
                    </a:moveTo>
                    <a:lnTo>
                      <a:pt x="298" y="210"/>
                    </a:lnTo>
                    <a:lnTo>
                      <a:pt x="300" y="210"/>
                    </a:lnTo>
                    <a:close/>
                    <a:moveTo>
                      <a:pt x="307" y="210"/>
                    </a:moveTo>
                    <a:lnTo>
                      <a:pt x="309" y="210"/>
                    </a:lnTo>
                    <a:lnTo>
                      <a:pt x="307" y="210"/>
                    </a:lnTo>
                    <a:lnTo>
                      <a:pt x="305" y="210"/>
                    </a:lnTo>
                    <a:lnTo>
                      <a:pt x="307" y="210"/>
                    </a:lnTo>
                    <a:close/>
                    <a:moveTo>
                      <a:pt x="305" y="210"/>
                    </a:moveTo>
                    <a:lnTo>
                      <a:pt x="303" y="210"/>
                    </a:lnTo>
                    <a:lnTo>
                      <a:pt x="305" y="210"/>
                    </a:lnTo>
                    <a:close/>
                    <a:moveTo>
                      <a:pt x="313" y="210"/>
                    </a:moveTo>
                    <a:lnTo>
                      <a:pt x="311" y="208"/>
                    </a:lnTo>
                    <a:lnTo>
                      <a:pt x="313" y="208"/>
                    </a:lnTo>
                    <a:lnTo>
                      <a:pt x="313" y="210"/>
                    </a:lnTo>
                    <a:close/>
                    <a:moveTo>
                      <a:pt x="465" y="208"/>
                    </a:moveTo>
                    <a:lnTo>
                      <a:pt x="463" y="208"/>
                    </a:lnTo>
                    <a:lnTo>
                      <a:pt x="465" y="208"/>
                    </a:lnTo>
                    <a:close/>
                    <a:moveTo>
                      <a:pt x="419" y="208"/>
                    </a:moveTo>
                    <a:lnTo>
                      <a:pt x="419" y="210"/>
                    </a:lnTo>
                    <a:lnTo>
                      <a:pt x="417" y="210"/>
                    </a:lnTo>
                    <a:lnTo>
                      <a:pt x="417" y="212"/>
                    </a:lnTo>
                    <a:lnTo>
                      <a:pt x="415" y="212"/>
                    </a:lnTo>
                    <a:lnTo>
                      <a:pt x="413" y="212"/>
                    </a:lnTo>
                    <a:lnTo>
                      <a:pt x="413" y="213"/>
                    </a:lnTo>
                    <a:lnTo>
                      <a:pt x="413" y="212"/>
                    </a:lnTo>
                    <a:lnTo>
                      <a:pt x="411" y="213"/>
                    </a:lnTo>
                    <a:lnTo>
                      <a:pt x="409" y="213"/>
                    </a:lnTo>
                    <a:lnTo>
                      <a:pt x="407" y="213"/>
                    </a:lnTo>
                    <a:lnTo>
                      <a:pt x="407" y="212"/>
                    </a:lnTo>
                    <a:lnTo>
                      <a:pt x="409" y="212"/>
                    </a:lnTo>
                    <a:lnTo>
                      <a:pt x="411" y="212"/>
                    </a:lnTo>
                    <a:lnTo>
                      <a:pt x="411" y="210"/>
                    </a:lnTo>
                    <a:lnTo>
                      <a:pt x="413" y="210"/>
                    </a:lnTo>
                    <a:lnTo>
                      <a:pt x="415" y="210"/>
                    </a:lnTo>
                    <a:lnTo>
                      <a:pt x="415" y="208"/>
                    </a:lnTo>
                    <a:lnTo>
                      <a:pt x="417" y="208"/>
                    </a:lnTo>
                    <a:lnTo>
                      <a:pt x="419" y="208"/>
                    </a:lnTo>
                    <a:close/>
                    <a:moveTo>
                      <a:pt x="467" y="206"/>
                    </a:moveTo>
                    <a:lnTo>
                      <a:pt x="469" y="206"/>
                    </a:lnTo>
                    <a:lnTo>
                      <a:pt x="469" y="208"/>
                    </a:lnTo>
                    <a:lnTo>
                      <a:pt x="467" y="208"/>
                    </a:lnTo>
                    <a:lnTo>
                      <a:pt x="467" y="206"/>
                    </a:lnTo>
                    <a:lnTo>
                      <a:pt x="467" y="208"/>
                    </a:lnTo>
                    <a:lnTo>
                      <a:pt x="469" y="208"/>
                    </a:lnTo>
                    <a:lnTo>
                      <a:pt x="469" y="210"/>
                    </a:lnTo>
                    <a:lnTo>
                      <a:pt x="467" y="208"/>
                    </a:lnTo>
                    <a:lnTo>
                      <a:pt x="465" y="208"/>
                    </a:lnTo>
                    <a:lnTo>
                      <a:pt x="465" y="206"/>
                    </a:lnTo>
                    <a:lnTo>
                      <a:pt x="467" y="206"/>
                    </a:lnTo>
                    <a:lnTo>
                      <a:pt x="465" y="206"/>
                    </a:lnTo>
                    <a:lnTo>
                      <a:pt x="467" y="206"/>
                    </a:lnTo>
                    <a:lnTo>
                      <a:pt x="465" y="206"/>
                    </a:lnTo>
                    <a:lnTo>
                      <a:pt x="467" y="206"/>
                    </a:lnTo>
                    <a:close/>
                    <a:moveTo>
                      <a:pt x="350" y="204"/>
                    </a:moveTo>
                    <a:lnTo>
                      <a:pt x="350" y="206"/>
                    </a:lnTo>
                    <a:lnTo>
                      <a:pt x="348" y="206"/>
                    </a:lnTo>
                    <a:lnTo>
                      <a:pt x="348" y="204"/>
                    </a:lnTo>
                    <a:lnTo>
                      <a:pt x="350" y="204"/>
                    </a:lnTo>
                    <a:close/>
                    <a:moveTo>
                      <a:pt x="732" y="171"/>
                    </a:moveTo>
                    <a:lnTo>
                      <a:pt x="730" y="171"/>
                    </a:lnTo>
                    <a:lnTo>
                      <a:pt x="732" y="171"/>
                    </a:lnTo>
                    <a:close/>
                    <a:moveTo>
                      <a:pt x="382" y="204"/>
                    </a:moveTo>
                    <a:lnTo>
                      <a:pt x="380" y="204"/>
                    </a:lnTo>
                    <a:lnTo>
                      <a:pt x="382" y="204"/>
                    </a:lnTo>
                    <a:close/>
                    <a:moveTo>
                      <a:pt x="374" y="204"/>
                    </a:moveTo>
                    <a:lnTo>
                      <a:pt x="376" y="204"/>
                    </a:lnTo>
                    <a:lnTo>
                      <a:pt x="374" y="204"/>
                    </a:lnTo>
                    <a:lnTo>
                      <a:pt x="376" y="204"/>
                    </a:lnTo>
                    <a:lnTo>
                      <a:pt x="374" y="204"/>
                    </a:lnTo>
                    <a:lnTo>
                      <a:pt x="374" y="206"/>
                    </a:lnTo>
                    <a:lnTo>
                      <a:pt x="374" y="204"/>
                    </a:lnTo>
                    <a:lnTo>
                      <a:pt x="376" y="206"/>
                    </a:lnTo>
                    <a:lnTo>
                      <a:pt x="374" y="206"/>
                    </a:lnTo>
                    <a:lnTo>
                      <a:pt x="373" y="206"/>
                    </a:lnTo>
                    <a:lnTo>
                      <a:pt x="371" y="206"/>
                    </a:lnTo>
                    <a:lnTo>
                      <a:pt x="373" y="204"/>
                    </a:lnTo>
                    <a:lnTo>
                      <a:pt x="374" y="204"/>
                    </a:lnTo>
                    <a:lnTo>
                      <a:pt x="374" y="202"/>
                    </a:lnTo>
                    <a:lnTo>
                      <a:pt x="374" y="204"/>
                    </a:lnTo>
                    <a:close/>
                    <a:moveTo>
                      <a:pt x="455" y="200"/>
                    </a:moveTo>
                    <a:lnTo>
                      <a:pt x="453" y="200"/>
                    </a:lnTo>
                    <a:lnTo>
                      <a:pt x="455" y="200"/>
                    </a:lnTo>
                    <a:close/>
                    <a:moveTo>
                      <a:pt x="461" y="200"/>
                    </a:moveTo>
                    <a:lnTo>
                      <a:pt x="463" y="200"/>
                    </a:lnTo>
                    <a:lnTo>
                      <a:pt x="461" y="200"/>
                    </a:lnTo>
                    <a:lnTo>
                      <a:pt x="463" y="200"/>
                    </a:lnTo>
                    <a:lnTo>
                      <a:pt x="461" y="202"/>
                    </a:lnTo>
                    <a:lnTo>
                      <a:pt x="461" y="200"/>
                    </a:lnTo>
                    <a:lnTo>
                      <a:pt x="459" y="200"/>
                    </a:lnTo>
                    <a:lnTo>
                      <a:pt x="461" y="200"/>
                    </a:lnTo>
                    <a:close/>
                    <a:moveTo>
                      <a:pt x="740" y="165"/>
                    </a:moveTo>
                    <a:lnTo>
                      <a:pt x="738" y="167"/>
                    </a:lnTo>
                    <a:lnTo>
                      <a:pt x="736" y="167"/>
                    </a:lnTo>
                    <a:lnTo>
                      <a:pt x="738" y="167"/>
                    </a:lnTo>
                    <a:lnTo>
                      <a:pt x="738" y="165"/>
                    </a:lnTo>
                    <a:lnTo>
                      <a:pt x="740" y="165"/>
                    </a:lnTo>
                    <a:close/>
                    <a:moveTo>
                      <a:pt x="367" y="200"/>
                    </a:moveTo>
                    <a:lnTo>
                      <a:pt x="365" y="200"/>
                    </a:lnTo>
                    <a:lnTo>
                      <a:pt x="367" y="200"/>
                    </a:lnTo>
                    <a:close/>
                    <a:moveTo>
                      <a:pt x="371" y="200"/>
                    </a:moveTo>
                    <a:lnTo>
                      <a:pt x="373" y="200"/>
                    </a:lnTo>
                    <a:lnTo>
                      <a:pt x="371" y="200"/>
                    </a:lnTo>
                    <a:lnTo>
                      <a:pt x="371" y="202"/>
                    </a:lnTo>
                    <a:lnTo>
                      <a:pt x="369" y="202"/>
                    </a:lnTo>
                    <a:lnTo>
                      <a:pt x="371" y="202"/>
                    </a:lnTo>
                    <a:lnTo>
                      <a:pt x="369" y="202"/>
                    </a:lnTo>
                    <a:lnTo>
                      <a:pt x="371" y="202"/>
                    </a:lnTo>
                    <a:lnTo>
                      <a:pt x="371" y="204"/>
                    </a:lnTo>
                    <a:lnTo>
                      <a:pt x="369" y="204"/>
                    </a:lnTo>
                    <a:lnTo>
                      <a:pt x="367" y="204"/>
                    </a:lnTo>
                    <a:lnTo>
                      <a:pt x="365" y="204"/>
                    </a:lnTo>
                    <a:lnTo>
                      <a:pt x="363" y="204"/>
                    </a:lnTo>
                    <a:lnTo>
                      <a:pt x="361" y="204"/>
                    </a:lnTo>
                    <a:lnTo>
                      <a:pt x="359" y="204"/>
                    </a:lnTo>
                    <a:lnTo>
                      <a:pt x="361" y="204"/>
                    </a:lnTo>
                    <a:lnTo>
                      <a:pt x="361" y="202"/>
                    </a:lnTo>
                    <a:lnTo>
                      <a:pt x="361" y="204"/>
                    </a:lnTo>
                    <a:lnTo>
                      <a:pt x="363" y="204"/>
                    </a:lnTo>
                    <a:lnTo>
                      <a:pt x="363" y="202"/>
                    </a:lnTo>
                    <a:lnTo>
                      <a:pt x="365" y="202"/>
                    </a:lnTo>
                    <a:lnTo>
                      <a:pt x="367" y="202"/>
                    </a:lnTo>
                    <a:lnTo>
                      <a:pt x="367" y="204"/>
                    </a:lnTo>
                    <a:lnTo>
                      <a:pt x="367" y="202"/>
                    </a:lnTo>
                    <a:lnTo>
                      <a:pt x="369" y="202"/>
                    </a:lnTo>
                    <a:lnTo>
                      <a:pt x="367" y="202"/>
                    </a:lnTo>
                    <a:lnTo>
                      <a:pt x="369" y="202"/>
                    </a:lnTo>
                    <a:lnTo>
                      <a:pt x="367" y="202"/>
                    </a:lnTo>
                    <a:lnTo>
                      <a:pt x="367" y="200"/>
                    </a:lnTo>
                    <a:lnTo>
                      <a:pt x="367" y="202"/>
                    </a:lnTo>
                    <a:lnTo>
                      <a:pt x="369" y="200"/>
                    </a:lnTo>
                    <a:lnTo>
                      <a:pt x="369" y="202"/>
                    </a:lnTo>
                    <a:lnTo>
                      <a:pt x="369" y="200"/>
                    </a:lnTo>
                    <a:lnTo>
                      <a:pt x="371" y="200"/>
                    </a:lnTo>
                    <a:close/>
                    <a:moveTo>
                      <a:pt x="403" y="200"/>
                    </a:moveTo>
                    <a:lnTo>
                      <a:pt x="405" y="200"/>
                    </a:lnTo>
                    <a:lnTo>
                      <a:pt x="405" y="202"/>
                    </a:lnTo>
                    <a:lnTo>
                      <a:pt x="403" y="202"/>
                    </a:lnTo>
                    <a:lnTo>
                      <a:pt x="403" y="204"/>
                    </a:lnTo>
                    <a:lnTo>
                      <a:pt x="403" y="206"/>
                    </a:lnTo>
                    <a:lnTo>
                      <a:pt x="405" y="206"/>
                    </a:lnTo>
                    <a:lnTo>
                      <a:pt x="403" y="206"/>
                    </a:lnTo>
                    <a:lnTo>
                      <a:pt x="403" y="204"/>
                    </a:lnTo>
                    <a:lnTo>
                      <a:pt x="403" y="202"/>
                    </a:lnTo>
                    <a:lnTo>
                      <a:pt x="401" y="202"/>
                    </a:lnTo>
                    <a:lnTo>
                      <a:pt x="401" y="200"/>
                    </a:lnTo>
                    <a:lnTo>
                      <a:pt x="403" y="200"/>
                    </a:lnTo>
                    <a:close/>
                    <a:moveTo>
                      <a:pt x="401" y="196"/>
                    </a:moveTo>
                    <a:lnTo>
                      <a:pt x="403" y="196"/>
                    </a:lnTo>
                    <a:lnTo>
                      <a:pt x="405" y="196"/>
                    </a:lnTo>
                    <a:lnTo>
                      <a:pt x="407" y="196"/>
                    </a:lnTo>
                    <a:lnTo>
                      <a:pt x="407" y="198"/>
                    </a:lnTo>
                    <a:lnTo>
                      <a:pt x="405" y="198"/>
                    </a:lnTo>
                    <a:lnTo>
                      <a:pt x="407" y="198"/>
                    </a:lnTo>
                    <a:lnTo>
                      <a:pt x="405" y="198"/>
                    </a:lnTo>
                    <a:lnTo>
                      <a:pt x="403" y="198"/>
                    </a:lnTo>
                    <a:lnTo>
                      <a:pt x="401" y="198"/>
                    </a:lnTo>
                    <a:lnTo>
                      <a:pt x="401" y="196"/>
                    </a:lnTo>
                    <a:lnTo>
                      <a:pt x="399" y="198"/>
                    </a:lnTo>
                    <a:lnTo>
                      <a:pt x="399" y="196"/>
                    </a:lnTo>
                    <a:lnTo>
                      <a:pt x="401" y="196"/>
                    </a:lnTo>
                    <a:close/>
                    <a:moveTo>
                      <a:pt x="396" y="196"/>
                    </a:moveTo>
                    <a:lnTo>
                      <a:pt x="396" y="198"/>
                    </a:lnTo>
                    <a:lnTo>
                      <a:pt x="394" y="198"/>
                    </a:lnTo>
                    <a:lnTo>
                      <a:pt x="394" y="196"/>
                    </a:lnTo>
                    <a:lnTo>
                      <a:pt x="396" y="196"/>
                    </a:lnTo>
                    <a:close/>
                    <a:moveTo>
                      <a:pt x="411" y="196"/>
                    </a:moveTo>
                    <a:lnTo>
                      <a:pt x="411" y="198"/>
                    </a:lnTo>
                    <a:lnTo>
                      <a:pt x="413" y="196"/>
                    </a:lnTo>
                    <a:lnTo>
                      <a:pt x="413" y="198"/>
                    </a:lnTo>
                    <a:lnTo>
                      <a:pt x="413" y="196"/>
                    </a:lnTo>
                    <a:lnTo>
                      <a:pt x="413" y="198"/>
                    </a:lnTo>
                    <a:lnTo>
                      <a:pt x="415" y="198"/>
                    </a:lnTo>
                    <a:lnTo>
                      <a:pt x="413" y="200"/>
                    </a:lnTo>
                    <a:lnTo>
                      <a:pt x="411" y="200"/>
                    </a:lnTo>
                    <a:lnTo>
                      <a:pt x="411" y="198"/>
                    </a:lnTo>
                    <a:lnTo>
                      <a:pt x="411" y="200"/>
                    </a:lnTo>
                    <a:lnTo>
                      <a:pt x="409" y="200"/>
                    </a:lnTo>
                    <a:lnTo>
                      <a:pt x="409" y="202"/>
                    </a:lnTo>
                    <a:lnTo>
                      <a:pt x="407" y="202"/>
                    </a:lnTo>
                    <a:lnTo>
                      <a:pt x="407" y="204"/>
                    </a:lnTo>
                    <a:lnTo>
                      <a:pt x="409" y="204"/>
                    </a:lnTo>
                    <a:lnTo>
                      <a:pt x="407" y="202"/>
                    </a:lnTo>
                    <a:lnTo>
                      <a:pt x="409" y="202"/>
                    </a:lnTo>
                    <a:lnTo>
                      <a:pt x="411" y="200"/>
                    </a:lnTo>
                    <a:lnTo>
                      <a:pt x="411" y="202"/>
                    </a:lnTo>
                    <a:lnTo>
                      <a:pt x="413" y="202"/>
                    </a:lnTo>
                    <a:lnTo>
                      <a:pt x="411" y="202"/>
                    </a:lnTo>
                    <a:lnTo>
                      <a:pt x="409" y="202"/>
                    </a:lnTo>
                    <a:lnTo>
                      <a:pt x="409" y="204"/>
                    </a:lnTo>
                    <a:lnTo>
                      <a:pt x="407" y="204"/>
                    </a:lnTo>
                    <a:lnTo>
                      <a:pt x="405" y="204"/>
                    </a:lnTo>
                    <a:lnTo>
                      <a:pt x="405" y="202"/>
                    </a:lnTo>
                    <a:lnTo>
                      <a:pt x="407" y="202"/>
                    </a:lnTo>
                    <a:lnTo>
                      <a:pt x="407" y="200"/>
                    </a:lnTo>
                    <a:lnTo>
                      <a:pt x="409" y="200"/>
                    </a:lnTo>
                    <a:lnTo>
                      <a:pt x="409" y="198"/>
                    </a:lnTo>
                    <a:lnTo>
                      <a:pt x="411" y="198"/>
                    </a:lnTo>
                    <a:lnTo>
                      <a:pt x="411" y="196"/>
                    </a:lnTo>
                    <a:lnTo>
                      <a:pt x="411" y="198"/>
                    </a:lnTo>
                    <a:lnTo>
                      <a:pt x="409" y="198"/>
                    </a:lnTo>
                    <a:lnTo>
                      <a:pt x="409" y="196"/>
                    </a:lnTo>
                    <a:lnTo>
                      <a:pt x="411" y="196"/>
                    </a:lnTo>
                    <a:close/>
                    <a:moveTo>
                      <a:pt x="519" y="192"/>
                    </a:moveTo>
                    <a:lnTo>
                      <a:pt x="517" y="192"/>
                    </a:lnTo>
                    <a:lnTo>
                      <a:pt x="517" y="190"/>
                    </a:lnTo>
                    <a:lnTo>
                      <a:pt x="519" y="190"/>
                    </a:lnTo>
                    <a:lnTo>
                      <a:pt x="519" y="192"/>
                    </a:lnTo>
                    <a:close/>
                    <a:moveTo>
                      <a:pt x="363" y="196"/>
                    </a:moveTo>
                    <a:lnTo>
                      <a:pt x="361" y="196"/>
                    </a:lnTo>
                    <a:lnTo>
                      <a:pt x="363" y="196"/>
                    </a:lnTo>
                    <a:close/>
                    <a:moveTo>
                      <a:pt x="373" y="196"/>
                    </a:moveTo>
                    <a:lnTo>
                      <a:pt x="373" y="194"/>
                    </a:lnTo>
                    <a:lnTo>
                      <a:pt x="373" y="196"/>
                    </a:lnTo>
                    <a:close/>
                    <a:moveTo>
                      <a:pt x="409" y="194"/>
                    </a:moveTo>
                    <a:lnTo>
                      <a:pt x="409" y="196"/>
                    </a:lnTo>
                    <a:lnTo>
                      <a:pt x="409" y="194"/>
                    </a:lnTo>
                    <a:lnTo>
                      <a:pt x="407" y="194"/>
                    </a:lnTo>
                    <a:lnTo>
                      <a:pt x="409" y="194"/>
                    </a:lnTo>
                    <a:close/>
                    <a:moveTo>
                      <a:pt x="741" y="160"/>
                    </a:moveTo>
                    <a:lnTo>
                      <a:pt x="743" y="160"/>
                    </a:lnTo>
                    <a:lnTo>
                      <a:pt x="741" y="160"/>
                    </a:lnTo>
                    <a:close/>
                    <a:moveTo>
                      <a:pt x="374" y="194"/>
                    </a:moveTo>
                    <a:lnTo>
                      <a:pt x="376" y="194"/>
                    </a:lnTo>
                    <a:lnTo>
                      <a:pt x="374" y="194"/>
                    </a:lnTo>
                    <a:close/>
                    <a:moveTo>
                      <a:pt x="741" y="160"/>
                    </a:moveTo>
                    <a:lnTo>
                      <a:pt x="740" y="160"/>
                    </a:lnTo>
                    <a:lnTo>
                      <a:pt x="741" y="160"/>
                    </a:lnTo>
                    <a:lnTo>
                      <a:pt x="740" y="160"/>
                    </a:lnTo>
                    <a:lnTo>
                      <a:pt x="741" y="160"/>
                    </a:lnTo>
                    <a:close/>
                    <a:moveTo>
                      <a:pt x="371" y="194"/>
                    </a:moveTo>
                    <a:lnTo>
                      <a:pt x="369" y="194"/>
                    </a:lnTo>
                    <a:lnTo>
                      <a:pt x="371" y="194"/>
                    </a:lnTo>
                    <a:close/>
                    <a:moveTo>
                      <a:pt x="421" y="192"/>
                    </a:moveTo>
                    <a:lnTo>
                      <a:pt x="419" y="192"/>
                    </a:lnTo>
                    <a:lnTo>
                      <a:pt x="421" y="192"/>
                    </a:lnTo>
                    <a:lnTo>
                      <a:pt x="419" y="192"/>
                    </a:lnTo>
                    <a:lnTo>
                      <a:pt x="421" y="192"/>
                    </a:lnTo>
                    <a:close/>
                    <a:moveTo>
                      <a:pt x="740" y="158"/>
                    </a:moveTo>
                    <a:lnTo>
                      <a:pt x="740" y="160"/>
                    </a:lnTo>
                    <a:lnTo>
                      <a:pt x="740" y="162"/>
                    </a:lnTo>
                    <a:lnTo>
                      <a:pt x="740" y="160"/>
                    </a:lnTo>
                    <a:lnTo>
                      <a:pt x="741" y="160"/>
                    </a:lnTo>
                    <a:lnTo>
                      <a:pt x="741" y="162"/>
                    </a:lnTo>
                    <a:lnTo>
                      <a:pt x="741" y="160"/>
                    </a:lnTo>
                    <a:lnTo>
                      <a:pt x="741" y="162"/>
                    </a:lnTo>
                    <a:lnTo>
                      <a:pt x="743" y="160"/>
                    </a:lnTo>
                    <a:lnTo>
                      <a:pt x="743" y="162"/>
                    </a:lnTo>
                    <a:lnTo>
                      <a:pt x="741" y="162"/>
                    </a:lnTo>
                    <a:lnTo>
                      <a:pt x="740" y="162"/>
                    </a:lnTo>
                    <a:lnTo>
                      <a:pt x="738" y="162"/>
                    </a:lnTo>
                    <a:lnTo>
                      <a:pt x="738" y="160"/>
                    </a:lnTo>
                    <a:lnTo>
                      <a:pt x="738" y="158"/>
                    </a:lnTo>
                    <a:lnTo>
                      <a:pt x="740" y="158"/>
                    </a:lnTo>
                    <a:close/>
                    <a:moveTo>
                      <a:pt x="738" y="160"/>
                    </a:moveTo>
                    <a:lnTo>
                      <a:pt x="738" y="158"/>
                    </a:lnTo>
                    <a:lnTo>
                      <a:pt x="738" y="160"/>
                    </a:lnTo>
                    <a:close/>
                    <a:moveTo>
                      <a:pt x="380" y="192"/>
                    </a:moveTo>
                    <a:lnTo>
                      <a:pt x="378" y="192"/>
                    </a:lnTo>
                    <a:lnTo>
                      <a:pt x="380" y="192"/>
                    </a:lnTo>
                    <a:close/>
                    <a:moveTo>
                      <a:pt x="738" y="158"/>
                    </a:moveTo>
                    <a:lnTo>
                      <a:pt x="740" y="158"/>
                    </a:lnTo>
                    <a:lnTo>
                      <a:pt x="738" y="158"/>
                    </a:lnTo>
                    <a:close/>
                    <a:moveTo>
                      <a:pt x="726" y="160"/>
                    </a:moveTo>
                    <a:lnTo>
                      <a:pt x="728" y="160"/>
                    </a:lnTo>
                    <a:lnTo>
                      <a:pt x="728" y="162"/>
                    </a:lnTo>
                    <a:lnTo>
                      <a:pt x="728" y="163"/>
                    </a:lnTo>
                    <a:lnTo>
                      <a:pt x="726" y="163"/>
                    </a:lnTo>
                    <a:lnTo>
                      <a:pt x="726" y="162"/>
                    </a:lnTo>
                    <a:lnTo>
                      <a:pt x="726" y="163"/>
                    </a:lnTo>
                    <a:lnTo>
                      <a:pt x="724" y="162"/>
                    </a:lnTo>
                    <a:lnTo>
                      <a:pt x="724" y="163"/>
                    </a:lnTo>
                    <a:lnTo>
                      <a:pt x="724" y="162"/>
                    </a:lnTo>
                    <a:lnTo>
                      <a:pt x="726" y="162"/>
                    </a:lnTo>
                    <a:lnTo>
                      <a:pt x="726" y="160"/>
                    </a:lnTo>
                    <a:close/>
                    <a:moveTo>
                      <a:pt x="374" y="192"/>
                    </a:moveTo>
                    <a:lnTo>
                      <a:pt x="373" y="192"/>
                    </a:lnTo>
                    <a:lnTo>
                      <a:pt x="374" y="192"/>
                    </a:lnTo>
                    <a:lnTo>
                      <a:pt x="373" y="192"/>
                    </a:lnTo>
                    <a:lnTo>
                      <a:pt x="373" y="194"/>
                    </a:lnTo>
                    <a:lnTo>
                      <a:pt x="371" y="194"/>
                    </a:lnTo>
                    <a:lnTo>
                      <a:pt x="371" y="192"/>
                    </a:lnTo>
                    <a:lnTo>
                      <a:pt x="373" y="192"/>
                    </a:lnTo>
                    <a:lnTo>
                      <a:pt x="374" y="192"/>
                    </a:lnTo>
                    <a:close/>
                    <a:moveTo>
                      <a:pt x="378" y="190"/>
                    </a:moveTo>
                    <a:lnTo>
                      <a:pt x="378" y="192"/>
                    </a:lnTo>
                    <a:lnTo>
                      <a:pt x="380" y="192"/>
                    </a:lnTo>
                    <a:lnTo>
                      <a:pt x="378" y="192"/>
                    </a:lnTo>
                    <a:lnTo>
                      <a:pt x="380" y="192"/>
                    </a:lnTo>
                    <a:lnTo>
                      <a:pt x="378" y="192"/>
                    </a:lnTo>
                    <a:lnTo>
                      <a:pt x="378" y="190"/>
                    </a:lnTo>
                    <a:close/>
                    <a:moveTo>
                      <a:pt x="736" y="158"/>
                    </a:moveTo>
                    <a:lnTo>
                      <a:pt x="738" y="158"/>
                    </a:lnTo>
                    <a:lnTo>
                      <a:pt x="736" y="158"/>
                    </a:lnTo>
                    <a:lnTo>
                      <a:pt x="734" y="158"/>
                    </a:lnTo>
                    <a:lnTo>
                      <a:pt x="736" y="158"/>
                    </a:lnTo>
                    <a:close/>
                    <a:moveTo>
                      <a:pt x="384" y="188"/>
                    </a:moveTo>
                    <a:lnTo>
                      <a:pt x="382" y="188"/>
                    </a:lnTo>
                    <a:lnTo>
                      <a:pt x="382" y="187"/>
                    </a:lnTo>
                    <a:lnTo>
                      <a:pt x="384" y="187"/>
                    </a:lnTo>
                    <a:lnTo>
                      <a:pt x="384" y="188"/>
                    </a:lnTo>
                    <a:close/>
                    <a:moveTo>
                      <a:pt x="378" y="190"/>
                    </a:moveTo>
                    <a:lnTo>
                      <a:pt x="378" y="188"/>
                    </a:lnTo>
                    <a:lnTo>
                      <a:pt x="378" y="187"/>
                    </a:lnTo>
                    <a:lnTo>
                      <a:pt x="380" y="187"/>
                    </a:lnTo>
                    <a:lnTo>
                      <a:pt x="380" y="188"/>
                    </a:lnTo>
                    <a:lnTo>
                      <a:pt x="378" y="188"/>
                    </a:lnTo>
                    <a:lnTo>
                      <a:pt x="378" y="190"/>
                    </a:lnTo>
                    <a:close/>
                    <a:moveTo>
                      <a:pt x="392" y="188"/>
                    </a:moveTo>
                    <a:lnTo>
                      <a:pt x="392" y="187"/>
                    </a:lnTo>
                    <a:lnTo>
                      <a:pt x="394" y="187"/>
                    </a:lnTo>
                    <a:lnTo>
                      <a:pt x="392" y="187"/>
                    </a:lnTo>
                    <a:lnTo>
                      <a:pt x="394" y="187"/>
                    </a:lnTo>
                    <a:lnTo>
                      <a:pt x="392" y="187"/>
                    </a:lnTo>
                    <a:lnTo>
                      <a:pt x="392" y="188"/>
                    </a:lnTo>
                    <a:close/>
                    <a:moveTo>
                      <a:pt x="401" y="187"/>
                    </a:moveTo>
                    <a:lnTo>
                      <a:pt x="399" y="187"/>
                    </a:lnTo>
                    <a:lnTo>
                      <a:pt x="401" y="187"/>
                    </a:lnTo>
                    <a:close/>
                    <a:moveTo>
                      <a:pt x="396" y="187"/>
                    </a:moveTo>
                    <a:lnTo>
                      <a:pt x="396" y="188"/>
                    </a:lnTo>
                    <a:lnTo>
                      <a:pt x="394" y="187"/>
                    </a:lnTo>
                    <a:lnTo>
                      <a:pt x="396" y="187"/>
                    </a:lnTo>
                    <a:lnTo>
                      <a:pt x="394" y="187"/>
                    </a:lnTo>
                    <a:lnTo>
                      <a:pt x="396" y="187"/>
                    </a:lnTo>
                    <a:close/>
                    <a:moveTo>
                      <a:pt x="373" y="187"/>
                    </a:moveTo>
                    <a:lnTo>
                      <a:pt x="371" y="187"/>
                    </a:lnTo>
                    <a:lnTo>
                      <a:pt x="373" y="187"/>
                    </a:lnTo>
                    <a:close/>
                    <a:moveTo>
                      <a:pt x="365" y="187"/>
                    </a:moveTo>
                    <a:lnTo>
                      <a:pt x="363" y="187"/>
                    </a:lnTo>
                    <a:lnTo>
                      <a:pt x="365" y="185"/>
                    </a:lnTo>
                    <a:lnTo>
                      <a:pt x="365" y="187"/>
                    </a:lnTo>
                    <a:close/>
                    <a:moveTo>
                      <a:pt x="351" y="185"/>
                    </a:moveTo>
                    <a:lnTo>
                      <a:pt x="351" y="187"/>
                    </a:lnTo>
                    <a:lnTo>
                      <a:pt x="353" y="187"/>
                    </a:lnTo>
                    <a:lnTo>
                      <a:pt x="355" y="187"/>
                    </a:lnTo>
                    <a:lnTo>
                      <a:pt x="357" y="187"/>
                    </a:lnTo>
                    <a:lnTo>
                      <a:pt x="359" y="187"/>
                    </a:lnTo>
                    <a:lnTo>
                      <a:pt x="359" y="188"/>
                    </a:lnTo>
                    <a:lnTo>
                      <a:pt x="357" y="188"/>
                    </a:lnTo>
                    <a:lnTo>
                      <a:pt x="357" y="187"/>
                    </a:lnTo>
                    <a:lnTo>
                      <a:pt x="355" y="187"/>
                    </a:lnTo>
                    <a:lnTo>
                      <a:pt x="353" y="187"/>
                    </a:lnTo>
                    <a:lnTo>
                      <a:pt x="351" y="187"/>
                    </a:lnTo>
                    <a:lnTo>
                      <a:pt x="350" y="187"/>
                    </a:lnTo>
                    <a:lnTo>
                      <a:pt x="350" y="185"/>
                    </a:lnTo>
                    <a:lnTo>
                      <a:pt x="351" y="185"/>
                    </a:lnTo>
                    <a:close/>
                    <a:moveTo>
                      <a:pt x="423" y="185"/>
                    </a:moveTo>
                    <a:lnTo>
                      <a:pt x="424" y="185"/>
                    </a:lnTo>
                    <a:lnTo>
                      <a:pt x="423" y="185"/>
                    </a:lnTo>
                    <a:close/>
                    <a:moveTo>
                      <a:pt x="722" y="154"/>
                    </a:moveTo>
                    <a:lnTo>
                      <a:pt x="724" y="154"/>
                    </a:lnTo>
                    <a:lnTo>
                      <a:pt x="722" y="154"/>
                    </a:lnTo>
                    <a:lnTo>
                      <a:pt x="724" y="154"/>
                    </a:lnTo>
                    <a:lnTo>
                      <a:pt x="722" y="154"/>
                    </a:lnTo>
                    <a:close/>
                    <a:moveTo>
                      <a:pt x="722" y="152"/>
                    </a:moveTo>
                    <a:lnTo>
                      <a:pt x="720" y="152"/>
                    </a:lnTo>
                    <a:lnTo>
                      <a:pt x="722" y="152"/>
                    </a:lnTo>
                    <a:close/>
                    <a:moveTo>
                      <a:pt x="351" y="183"/>
                    </a:moveTo>
                    <a:lnTo>
                      <a:pt x="351" y="185"/>
                    </a:lnTo>
                    <a:lnTo>
                      <a:pt x="351" y="183"/>
                    </a:lnTo>
                    <a:close/>
                    <a:moveTo>
                      <a:pt x="709" y="154"/>
                    </a:moveTo>
                    <a:lnTo>
                      <a:pt x="709" y="156"/>
                    </a:lnTo>
                    <a:lnTo>
                      <a:pt x="707" y="156"/>
                    </a:lnTo>
                    <a:lnTo>
                      <a:pt x="709" y="154"/>
                    </a:lnTo>
                    <a:close/>
                    <a:moveTo>
                      <a:pt x="718" y="152"/>
                    </a:moveTo>
                    <a:lnTo>
                      <a:pt x="720" y="152"/>
                    </a:lnTo>
                    <a:lnTo>
                      <a:pt x="718" y="152"/>
                    </a:lnTo>
                    <a:lnTo>
                      <a:pt x="720" y="152"/>
                    </a:lnTo>
                    <a:lnTo>
                      <a:pt x="718" y="152"/>
                    </a:lnTo>
                    <a:lnTo>
                      <a:pt x="718" y="154"/>
                    </a:lnTo>
                    <a:lnTo>
                      <a:pt x="720" y="152"/>
                    </a:lnTo>
                    <a:lnTo>
                      <a:pt x="720" y="154"/>
                    </a:lnTo>
                    <a:lnTo>
                      <a:pt x="720" y="152"/>
                    </a:lnTo>
                    <a:lnTo>
                      <a:pt x="720" y="154"/>
                    </a:lnTo>
                    <a:lnTo>
                      <a:pt x="718" y="154"/>
                    </a:lnTo>
                    <a:lnTo>
                      <a:pt x="720" y="154"/>
                    </a:lnTo>
                    <a:lnTo>
                      <a:pt x="718" y="154"/>
                    </a:lnTo>
                    <a:lnTo>
                      <a:pt x="716" y="154"/>
                    </a:lnTo>
                    <a:lnTo>
                      <a:pt x="718" y="154"/>
                    </a:lnTo>
                    <a:lnTo>
                      <a:pt x="718" y="152"/>
                    </a:lnTo>
                    <a:lnTo>
                      <a:pt x="716" y="152"/>
                    </a:lnTo>
                    <a:lnTo>
                      <a:pt x="718" y="152"/>
                    </a:lnTo>
                    <a:close/>
                    <a:moveTo>
                      <a:pt x="359" y="183"/>
                    </a:moveTo>
                    <a:lnTo>
                      <a:pt x="361" y="183"/>
                    </a:lnTo>
                    <a:lnTo>
                      <a:pt x="361" y="185"/>
                    </a:lnTo>
                    <a:lnTo>
                      <a:pt x="363" y="185"/>
                    </a:lnTo>
                    <a:lnTo>
                      <a:pt x="361" y="185"/>
                    </a:lnTo>
                    <a:lnTo>
                      <a:pt x="359" y="185"/>
                    </a:lnTo>
                    <a:lnTo>
                      <a:pt x="357" y="185"/>
                    </a:lnTo>
                    <a:lnTo>
                      <a:pt x="357" y="183"/>
                    </a:lnTo>
                    <a:lnTo>
                      <a:pt x="359" y="183"/>
                    </a:lnTo>
                    <a:close/>
                    <a:moveTo>
                      <a:pt x="365" y="183"/>
                    </a:moveTo>
                    <a:lnTo>
                      <a:pt x="365" y="185"/>
                    </a:lnTo>
                    <a:lnTo>
                      <a:pt x="365" y="183"/>
                    </a:lnTo>
                    <a:lnTo>
                      <a:pt x="363" y="185"/>
                    </a:lnTo>
                    <a:lnTo>
                      <a:pt x="363" y="183"/>
                    </a:lnTo>
                    <a:lnTo>
                      <a:pt x="365" y="183"/>
                    </a:lnTo>
                    <a:lnTo>
                      <a:pt x="367" y="183"/>
                    </a:lnTo>
                    <a:lnTo>
                      <a:pt x="365" y="183"/>
                    </a:lnTo>
                    <a:close/>
                    <a:moveTo>
                      <a:pt x="642" y="163"/>
                    </a:moveTo>
                    <a:lnTo>
                      <a:pt x="640" y="163"/>
                    </a:lnTo>
                    <a:lnTo>
                      <a:pt x="640" y="165"/>
                    </a:lnTo>
                    <a:lnTo>
                      <a:pt x="640" y="163"/>
                    </a:lnTo>
                    <a:lnTo>
                      <a:pt x="642" y="163"/>
                    </a:lnTo>
                    <a:close/>
                    <a:moveTo>
                      <a:pt x="423" y="181"/>
                    </a:moveTo>
                    <a:lnTo>
                      <a:pt x="423" y="183"/>
                    </a:lnTo>
                    <a:lnTo>
                      <a:pt x="423" y="181"/>
                    </a:lnTo>
                    <a:close/>
                    <a:moveTo>
                      <a:pt x="403" y="181"/>
                    </a:moveTo>
                    <a:lnTo>
                      <a:pt x="401" y="181"/>
                    </a:lnTo>
                    <a:lnTo>
                      <a:pt x="403" y="181"/>
                    </a:lnTo>
                    <a:close/>
                    <a:moveTo>
                      <a:pt x="382" y="181"/>
                    </a:moveTo>
                    <a:lnTo>
                      <a:pt x="382" y="183"/>
                    </a:lnTo>
                    <a:lnTo>
                      <a:pt x="384" y="183"/>
                    </a:lnTo>
                    <a:lnTo>
                      <a:pt x="386" y="183"/>
                    </a:lnTo>
                    <a:lnTo>
                      <a:pt x="386" y="181"/>
                    </a:lnTo>
                    <a:lnTo>
                      <a:pt x="384" y="181"/>
                    </a:lnTo>
                    <a:lnTo>
                      <a:pt x="386" y="181"/>
                    </a:lnTo>
                    <a:lnTo>
                      <a:pt x="388" y="183"/>
                    </a:lnTo>
                    <a:lnTo>
                      <a:pt x="388" y="181"/>
                    </a:lnTo>
                    <a:lnTo>
                      <a:pt x="388" y="183"/>
                    </a:lnTo>
                    <a:lnTo>
                      <a:pt x="386" y="183"/>
                    </a:lnTo>
                    <a:lnTo>
                      <a:pt x="384" y="183"/>
                    </a:lnTo>
                    <a:lnTo>
                      <a:pt x="384" y="185"/>
                    </a:lnTo>
                    <a:lnTo>
                      <a:pt x="384" y="183"/>
                    </a:lnTo>
                    <a:lnTo>
                      <a:pt x="384" y="185"/>
                    </a:lnTo>
                    <a:lnTo>
                      <a:pt x="382" y="185"/>
                    </a:lnTo>
                    <a:lnTo>
                      <a:pt x="382" y="183"/>
                    </a:lnTo>
                    <a:lnTo>
                      <a:pt x="380" y="183"/>
                    </a:lnTo>
                    <a:lnTo>
                      <a:pt x="380" y="181"/>
                    </a:lnTo>
                    <a:lnTo>
                      <a:pt x="382" y="181"/>
                    </a:lnTo>
                    <a:close/>
                    <a:moveTo>
                      <a:pt x="361" y="181"/>
                    </a:moveTo>
                    <a:lnTo>
                      <a:pt x="363" y="181"/>
                    </a:lnTo>
                    <a:lnTo>
                      <a:pt x="361" y="181"/>
                    </a:lnTo>
                    <a:lnTo>
                      <a:pt x="361" y="183"/>
                    </a:lnTo>
                    <a:lnTo>
                      <a:pt x="359" y="183"/>
                    </a:lnTo>
                    <a:lnTo>
                      <a:pt x="359" y="181"/>
                    </a:lnTo>
                    <a:lnTo>
                      <a:pt x="361" y="181"/>
                    </a:lnTo>
                    <a:close/>
                    <a:moveTo>
                      <a:pt x="396" y="181"/>
                    </a:moveTo>
                    <a:lnTo>
                      <a:pt x="398" y="181"/>
                    </a:lnTo>
                    <a:lnTo>
                      <a:pt x="399" y="181"/>
                    </a:lnTo>
                    <a:lnTo>
                      <a:pt x="401" y="181"/>
                    </a:lnTo>
                    <a:lnTo>
                      <a:pt x="399" y="181"/>
                    </a:lnTo>
                    <a:lnTo>
                      <a:pt x="399" y="183"/>
                    </a:lnTo>
                    <a:lnTo>
                      <a:pt x="398" y="183"/>
                    </a:lnTo>
                    <a:lnTo>
                      <a:pt x="398" y="185"/>
                    </a:lnTo>
                    <a:lnTo>
                      <a:pt x="396" y="185"/>
                    </a:lnTo>
                    <a:lnTo>
                      <a:pt x="396" y="187"/>
                    </a:lnTo>
                    <a:lnTo>
                      <a:pt x="396" y="185"/>
                    </a:lnTo>
                    <a:lnTo>
                      <a:pt x="394" y="185"/>
                    </a:lnTo>
                    <a:lnTo>
                      <a:pt x="392" y="185"/>
                    </a:lnTo>
                    <a:lnTo>
                      <a:pt x="394" y="185"/>
                    </a:lnTo>
                    <a:lnTo>
                      <a:pt x="392" y="185"/>
                    </a:lnTo>
                    <a:lnTo>
                      <a:pt x="390" y="185"/>
                    </a:lnTo>
                    <a:lnTo>
                      <a:pt x="390" y="187"/>
                    </a:lnTo>
                    <a:lnTo>
                      <a:pt x="388" y="185"/>
                    </a:lnTo>
                    <a:lnTo>
                      <a:pt x="390" y="185"/>
                    </a:lnTo>
                    <a:lnTo>
                      <a:pt x="390" y="183"/>
                    </a:lnTo>
                    <a:lnTo>
                      <a:pt x="392" y="183"/>
                    </a:lnTo>
                    <a:lnTo>
                      <a:pt x="394" y="183"/>
                    </a:lnTo>
                    <a:lnTo>
                      <a:pt x="394" y="181"/>
                    </a:lnTo>
                    <a:lnTo>
                      <a:pt x="396" y="181"/>
                    </a:lnTo>
                    <a:close/>
                    <a:moveTo>
                      <a:pt x="703" y="152"/>
                    </a:moveTo>
                    <a:lnTo>
                      <a:pt x="705" y="154"/>
                    </a:lnTo>
                    <a:lnTo>
                      <a:pt x="703" y="152"/>
                    </a:lnTo>
                    <a:close/>
                    <a:moveTo>
                      <a:pt x="376" y="183"/>
                    </a:moveTo>
                    <a:lnTo>
                      <a:pt x="378" y="183"/>
                    </a:lnTo>
                    <a:lnTo>
                      <a:pt x="380" y="183"/>
                    </a:lnTo>
                    <a:lnTo>
                      <a:pt x="378" y="185"/>
                    </a:lnTo>
                    <a:lnTo>
                      <a:pt x="376" y="185"/>
                    </a:lnTo>
                    <a:lnTo>
                      <a:pt x="374" y="185"/>
                    </a:lnTo>
                    <a:lnTo>
                      <a:pt x="373" y="185"/>
                    </a:lnTo>
                    <a:lnTo>
                      <a:pt x="371" y="185"/>
                    </a:lnTo>
                    <a:lnTo>
                      <a:pt x="369" y="185"/>
                    </a:lnTo>
                    <a:lnTo>
                      <a:pt x="367" y="185"/>
                    </a:lnTo>
                    <a:lnTo>
                      <a:pt x="369" y="183"/>
                    </a:lnTo>
                    <a:lnTo>
                      <a:pt x="371" y="183"/>
                    </a:lnTo>
                    <a:lnTo>
                      <a:pt x="373" y="183"/>
                    </a:lnTo>
                    <a:lnTo>
                      <a:pt x="374" y="183"/>
                    </a:lnTo>
                    <a:lnTo>
                      <a:pt x="373" y="183"/>
                    </a:lnTo>
                    <a:lnTo>
                      <a:pt x="374" y="181"/>
                    </a:lnTo>
                    <a:lnTo>
                      <a:pt x="376" y="181"/>
                    </a:lnTo>
                    <a:lnTo>
                      <a:pt x="376" y="183"/>
                    </a:lnTo>
                    <a:close/>
                    <a:moveTo>
                      <a:pt x="367" y="181"/>
                    </a:moveTo>
                    <a:lnTo>
                      <a:pt x="365" y="181"/>
                    </a:lnTo>
                    <a:lnTo>
                      <a:pt x="367" y="181"/>
                    </a:lnTo>
                    <a:close/>
                    <a:moveTo>
                      <a:pt x="672" y="158"/>
                    </a:moveTo>
                    <a:lnTo>
                      <a:pt x="674" y="158"/>
                    </a:lnTo>
                    <a:lnTo>
                      <a:pt x="672" y="158"/>
                    </a:lnTo>
                    <a:close/>
                    <a:moveTo>
                      <a:pt x="373" y="179"/>
                    </a:moveTo>
                    <a:lnTo>
                      <a:pt x="373" y="181"/>
                    </a:lnTo>
                    <a:lnTo>
                      <a:pt x="373" y="179"/>
                    </a:lnTo>
                    <a:close/>
                    <a:moveTo>
                      <a:pt x="421" y="179"/>
                    </a:moveTo>
                    <a:lnTo>
                      <a:pt x="421" y="181"/>
                    </a:lnTo>
                    <a:lnTo>
                      <a:pt x="421" y="183"/>
                    </a:lnTo>
                    <a:lnTo>
                      <a:pt x="421" y="181"/>
                    </a:lnTo>
                    <a:lnTo>
                      <a:pt x="421" y="183"/>
                    </a:lnTo>
                    <a:lnTo>
                      <a:pt x="421" y="185"/>
                    </a:lnTo>
                    <a:lnTo>
                      <a:pt x="423" y="185"/>
                    </a:lnTo>
                    <a:lnTo>
                      <a:pt x="421" y="185"/>
                    </a:lnTo>
                    <a:lnTo>
                      <a:pt x="419" y="185"/>
                    </a:lnTo>
                    <a:lnTo>
                      <a:pt x="421" y="183"/>
                    </a:lnTo>
                    <a:lnTo>
                      <a:pt x="421" y="185"/>
                    </a:lnTo>
                    <a:lnTo>
                      <a:pt x="421" y="183"/>
                    </a:lnTo>
                    <a:lnTo>
                      <a:pt x="421" y="181"/>
                    </a:lnTo>
                    <a:lnTo>
                      <a:pt x="419" y="181"/>
                    </a:lnTo>
                    <a:lnTo>
                      <a:pt x="417" y="181"/>
                    </a:lnTo>
                    <a:lnTo>
                      <a:pt x="419" y="181"/>
                    </a:lnTo>
                    <a:lnTo>
                      <a:pt x="421" y="181"/>
                    </a:lnTo>
                    <a:lnTo>
                      <a:pt x="419" y="181"/>
                    </a:lnTo>
                    <a:lnTo>
                      <a:pt x="421" y="181"/>
                    </a:lnTo>
                    <a:lnTo>
                      <a:pt x="421" y="179"/>
                    </a:lnTo>
                    <a:lnTo>
                      <a:pt x="419" y="179"/>
                    </a:lnTo>
                    <a:lnTo>
                      <a:pt x="421" y="179"/>
                    </a:lnTo>
                    <a:close/>
                    <a:moveTo>
                      <a:pt x="392" y="179"/>
                    </a:moveTo>
                    <a:lnTo>
                      <a:pt x="394" y="179"/>
                    </a:lnTo>
                    <a:lnTo>
                      <a:pt x="394" y="181"/>
                    </a:lnTo>
                    <a:lnTo>
                      <a:pt x="392" y="181"/>
                    </a:lnTo>
                    <a:lnTo>
                      <a:pt x="394" y="181"/>
                    </a:lnTo>
                    <a:lnTo>
                      <a:pt x="392" y="181"/>
                    </a:lnTo>
                    <a:lnTo>
                      <a:pt x="390" y="181"/>
                    </a:lnTo>
                    <a:lnTo>
                      <a:pt x="390" y="179"/>
                    </a:lnTo>
                    <a:lnTo>
                      <a:pt x="392" y="179"/>
                    </a:lnTo>
                    <a:close/>
                    <a:moveTo>
                      <a:pt x="380" y="179"/>
                    </a:moveTo>
                    <a:lnTo>
                      <a:pt x="380" y="181"/>
                    </a:lnTo>
                    <a:lnTo>
                      <a:pt x="382" y="181"/>
                    </a:lnTo>
                    <a:lnTo>
                      <a:pt x="380" y="181"/>
                    </a:lnTo>
                    <a:lnTo>
                      <a:pt x="380" y="179"/>
                    </a:lnTo>
                    <a:close/>
                    <a:moveTo>
                      <a:pt x="388" y="179"/>
                    </a:moveTo>
                    <a:lnTo>
                      <a:pt x="388" y="181"/>
                    </a:lnTo>
                    <a:lnTo>
                      <a:pt x="386" y="181"/>
                    </a:lnTo>
                    <a:lnTo>
                      <a:pt x="388" y="181"/>
                    </a:lnTo>
                    <a:lnTo>
                      <a:pt x="386" y="181"/>
                    </a:lnTo>
                    <a:lnTo>
                      <a:pt x="384" y="181"/>
                    </a:lnTo>
                    <a:lnTo>
                      <a:pt x="384" y="179"/>
                    </a:lnTo>
                    <a:lnTo>
                      <a:pt x="386" y="179"/>
                    </a:lnTo>
                    <a:lnTo>
                      <a:pt x="384" y="179"/>
                    </a:lnTo>
                    <a:lnTo>
                      <a:pt x="386" y="179"/>
                    </a:lnTo>
                    <a:lnTo>
                      <a:pt x="388" y="179"/>
                    </a:lnTo>
                    <a:close/>
                    <a:moveTo>
                      <a:pt x="655" y="158"/>
                    </a:moveTo>
                    <a:lnTo>
                      <a:pt x="657" y="158"/>
                    </a:lnTo>
                    <a:lnTo>
                      <a:pt x="655" y="158"/>
                    </a:lnTo>
                    <a:close/>
                    <a:moveTo>
                      <a:pt x="359" y="179"/>
                    </a:moveTo>
                    <a:lnTo>
                      <a:pt x="361" y="179"/>
                    </a:lnTo>
                    <a:lnTo>
                      <a:pt x="363" y="179"/>
                    </a:lnTo>
                    <a:lnTo>
                      <a:pt x="363" y="181"/>
                    </a:lnTo>
                    <a:lnTo>
                      <a:pt x="361" y="181"/>
                    </a:lnTo>
                    <a:lnTo>
                      <a:pt x="361" y="179"/>
                    </a:lnTo>
                    <a:lnTo>
                      <a:pt x="359" y="179"/>
                    </a:lnTo>
                    <a:lnTo>
                      <a:pt x="361" y="179"/>
                    </a:lnTo>
                    <a:lnTo>
                      <a:pt x="359" y="179"/>
                    </a:lnTo>
                    <a:close/>
                    <a:moveTo>
                      <a:pt x="369" y="179"/>
                    </a:moveTo>
                    <a:lnTo>
                      <a:pt x="367" y="179"/>
                    </a:lnTo>
                    <a:lnTo>
                      <a:pt x="369" y="179"/>
                    </a:lnTo>
                    <a:close/>
                    <a:moveTo>
                      <a:pt x="661" y="158"/>
                    </a:moveTo>
                    <a:lnTo>
                      <a:pt x="663" y="158"/>
                    </a:lnTo>
                    <a:lnTo>
                      <a:pt x="661" y="158"/>
                    </a:lnTo>
                    <a:close/>
                    <a:moveTo>
                      <a:pt x="386" y="179"/>
                    </a:moveTo>
                    <a:lnTo>
                      <a:pt x="386" y="177"/>
                    </a:lnTo>
                    <a:lnTo>
                      <a:pt x="386" y="179"/>
                    </a:lnTo>
                    <a:close/>
                    <a:moveTo>
                      <a:pt x="693" y="150"/>
                    </a:moveTo>
                    <a:lnTo>
                      <a:pt x="695" y="150"/>
                    </a:lnTo>
                    <a:lnTo>
                      <a:pt x="697" y="150"/>
                    </a:lnTo>
                    <a:lnTo>
                      <a:pt x="697" y="152"/>
                    </a:lnTo>
                    <a:lnTo>
                      <a:pt x="697" y="150"/>
                    </a:lnTo>
                    <a:lnTo>
                      <a:pt x="695" y="150"/>
                    </a:lnTo>
                    <a:lnTo>
                      <a:pt x="693" y="150"/>
                    </a:lnTo>
                    <a:lnTo>
                      <a:pt x="691" y="150"/>
                    </a:lnTo>
                    <a:lnTo>
                      <a:pt x="691" y="152"/>
                    </a:lnTo>
                    <a:lnTo>
                      <a:pt x="691" y="150"/>
                    </a:lnTo>
                    <a:lnTo>
                      <a:pt x="691" y="152"/>
                    </a:lnTo>
                    <a:lnTo>
                      <a:pt x="691" y="150"/>
                    </a:lnTo>
                    <a:lnTo>
                      <a:pt x="693" y="150"/>
                    </a:lnTo>
                    <a:close/>
                    <a:moveTo>
                      <a:pt x="363" y="177"/>
                    </a:moveTo>
                    <a:lnTo>
                      <a:pt x="361" y="177"/>
                    </a:lnTo>
                    <a:lnTo>
                      <a:pt x="363" y="177"/>
                    </a:lnTo>
                    <a:close/>
                    <a:moveTo>
                      <a:pt x="423" y="177"/>
                    </a:moveTo>
                    <a:lnTo>
                      <a:pt x="424" y="177"/>
                    </a:lnTo>
                    <a:lnTo>
                      <a:pt x="424" y="179"/>
                    </a:lnTo>
                    <a:lnTo>
                      <a:pt x="424" y="177"/>
                    </a:lnTo>
                    <a:lnTo>
                      <a:pt x="423" y="177"/>
                    </a:lnTo>
                    <a:lnTo>
                      <a:pt x="421" y="177"/>
                    </a:lnTo>
                    <a:lnTo>
                      <a:pt x="421" y="179"/>
                    </a:lnTo>
                    <a:lnTo>
                      <a:pt x="421" y="177"/>
                    </a:lnTo>
                    <a:lnTo>
                      <a:pt x="419" y="179"/>
                    </a:lnTo>
                    <a:lnTo>
                      <a:pt x="417" y="177"/>
                    </a:lnTo>
                    <a:lnTo>
                      <a:pt x="417" y="179"/>
                    </a:lnTo>
                    <a:lnTo>
                      <a:pt x="415" y="179"/>
                    </a:lnTo>
                    <a:lnTo>
                      <a:pt x="415" y="177"/>
                    </a:lnTo>
                    <a:lnTo>
                      <a:pt x="417" y="177"/>
                    </a:lnTo>
                    <a:lnTo>
                      <a:pt x="419" y="177"/>
                    </a:lnTo>
                    <a:lnTo>
                      <a:pt x="421" y="177"/>
                    </a:lnTo>
                    <a:lnTo>
                      <a:pt x="423" y="177"/>
                    </a:lnTo>
                    <a:close/>
                    <a:moveTo>
                      <a:pt x="688" y="150"/>
                    </a:moveTo>
                    <a:lnTo>
                      <a:pt x="688" y="152"/>
                    </a:lnTo>
                    <a:lnTo>
                      <a:pt x="686" y="152"/>
                    </a:lnTo>
                    <a:lnTo>
                      <a:pt x="686" y="150"/>
                    </a:lnTo>
                    <a:lnTo>
                      <a:pt x="688" y="150"/>
                    </a:lnTo>
                    <a:close/>
                    <a:moveTo>
                      <a:pt x="417" y="175"/>
                    </a:moveTo>
                    <a:lnTo>
                      <a:pt x="415" y="175"/>
                    </a:lnTo>
                    <a:lnTo>
                      <a:pt x="417" y="175"/>
                    </a:lnTo>
                    <a:close/>
                    <a:moveTo>
                      <a:pt x="388" y="175"/>
                    </a:moveTo>
                    <a:lnTo>
                      <a:pt x="386" y="175"/>
                    </a:lnTo>
                    <a:lnTo>
                      <a:pt x="388" y="175"/>
                    </a:lnTo>
                    <a:close/>
                    <a:moveTo>
                      <a:pt x="424" y="173"/>
                    </a:moveTo>
                    <a:lnTo>
                      <a:pt x="424" y="175"/>
                    </a:lnTo>
                    <a:lnTo>
                      <a:pt x="424" y="173"/>
                    </a:lnTo>
                    <a:lnTo>
                      <a:pt x="423" y="173"/>
                    </a:lnTo>
                    <a:lnTo>
                      <a:pt x="424" y="173"/>
                    </a:lnTo>
                    <a:close/>
                    <a:moveTo>
                      <a:pt x="430" y="173"/>
                    </a:moveTo>
                    <a:lnTo>
                      <a:pt x="430" y="175"/>
                    </a:lnTo>
                    <a:lnTo>
                      <a:pt x="428" y="175"/>
                    </a:lnTo>
                    <a:lnTo>
                      <a:pt x="430" y="175"/>
                    </a:lnTo>
                    <a:lnTo>
                      <a:pt x="430" y="177"/>
                    </a:lnTo>
                    <a:lnTo>
                      <a:pt x="428" y="177"/>
                    </a:lnTo>
                    <a:lnTo>
                      <a:pt x="428" y="175"/>
                    </a:lnTo>
                    <a:lnTo>
                      <a:pt x="426" y="175"/>
                    </a:lnTo>
                    <a:lnTo>
                      <a:pt x="424" y="175"/>
                    </a:lnTo>
                    <a:lnTo>
                      <a:pt x="426" y="173"/>
                    </a:lnTo>
                    <a:lnTo>
                      <a:pt x="428" y="173"/>
                    </a:lnTo>
                    <a:lnTo>
                      <a:pt x="430" y="173"/>
                    </a:lnTo>
                    <a:close/>
                    <a:moveTo>
                      <a:pt x="401" y="173"/>
                    </a:moveTo>
                    <a:lnTo>
                      <a:pt x="403" y="173"/>
                    </a:lnTo>
                    <a:lnTo>
                      <a:pt x="401" y="173"/>
                    </a:lnTo>
                    <a:close/>
                    <a:moveTo>
                      <a:pt x="421" y="173"/>
                    </a:moveTo>
                    <a:lnTo>
                      <a:pt x="419" y="173"/>
                    </a:lnTo>
                    <a:lnTo>
                      <a:pt x="417" y="173"/>
                    </a:lnTo>
                    <a:lnTo>
                      <a:pt x="419" y="173"/>
                    </a:lnTo>
                    <a:lnTo>
                      <a:pt x="421" y="173"/>
                    </a:lnTo>
                    <a:close/>
                    <a:moveTo>
                      <a:pt x="423" y="171"/>
                    </a:moveTo>
                    <a:lnTo>
                      <a:pt x="423" y="173"/>
                    </a:lnTo>
                    <a:lnTo>
                      <a:pt x="424" y="173"/>
                    </a:lnTo>
                    <a:lnTo>
                      <a:pt x="423" y="173"/>
                    </a:lnTo>
                    <a:lnTo>
                      <a:pt x="424" y="173"/>
                    </a:lnTo>
                    <a:lnTo>
                      <a:pt x="423" y="173"/>
                    </a:lnTo>
                    <a:lnTo>
                      <a:pt x="421" y="173"/>
                    </a:lnTo>
                    <a:lnTo>
                      <a:pt x="423" y="173"/>
                    </a:lnTo>
                    <a:lnTo>
                      <a:pt x="423" y="171"/>
                    </a:lnTo>
                    <a:close/>
                    <a:moveTo>
                      <a:pt x="407" y="173"/>
                    </a:moveTo>
                    <a:lnTo>
                      <a:pt x="405" y="173"/>
                    </a:lnTo>
                    <a:lnTo>
                      <a:pt x="407" y="173"/>
                    </a:lnTo>
                    <a:lnTo>
                      <a:pt x="405" y="173"/>
                    </a:lnTo>
                    <a:lnTo>
                      <a:pt x="407" y="173"/>
                    </a:lnTo>
                    <a:lnTo>
                      <a:pt x="407" y="171"/>
                    </a:lnTo>
                    <a:lnTo>
                      <a:pt x="407" y="173"/>
                    </a:lnTo>
                    <a:lnTo>
                      <a:pt x="407" y="171"/>
                    </a:lnTo>
                    <a:lnTo>
                      <a:pt x="407" y="173"/>
                    </a:lnTo>
                    <a:close/>
                    <a:moveTo>
                      <a:pt x="388" y="173"/>
                    </a:moveTo>
                    <a:lnTo>
                      <a:pt x="386" y="173"/>
                    </a:lnTo>
                    <a:lnTo>
                      <a:pt x="388" y="173"/>
                    </a:lnTo>
                    <a:close/>
                    <a:moveTo>
                      <a:pt x="428" y="169"/>
                    </a:moveTo>
                    <a:lnTo>
                      <a:pt x="428" y="171"/>
                    </a:lnTo>
                    <a:lnTo>
                      <a:pt x="426" y="171"/>
                    </a:lnTo>
                    <a:lnTo>
                      <a:pt x="426" y="169"/>
                    </a:lnTo>
                    <a:lnTo>
                      <a:pt x="428" y="169"/>
                    </a:lnTo>
                    <a:close/>
                    <a:moveTo>
                      <a:pt x="396" y="171"/>
                    </a:moveTo>
                    <a:lnTo>
                      <a:pt x="398" y="171"/>
                    </a:lnTo>
                    <a:lnTo>
                      <a:pt x="399" y="171"/>
                    </a:lnTo>
                    <a:lnTo>
                      <a:pt x="398" y="171"/>
                    </a:lnTo>
                    <a:lnTo>
                      <a:pt x="396" y="171"/>
                    </a:lnTo>
                    <a:lnTo>
                      <a:pt x="396" y="173"/>
                    </a:lnTo>
                    <a:lnTo>
                      <a:pt x="394" y="173"/>
                    </a:lnTo>
                    <a:lnTo>
                      <a:pt x="392" y="173"/>
                    </a:lnTo>
                    <a:lnTo>
                      <a:pt x="392" y="171"/>
                    </a:lnTo>
                    <a:lnTo>
                      <a:pt x="390" y="171"/>
                    </a:lnTo>
                    <a:lnTo>
                      <a:pt x="388" y="171"/>
                    </a:lnTo>
                    <a:lnTo>
                      <a:pt x="390" y="171"/>
                    </a:lnTo>
                    <a:lnTo>
                      <a:pt x="392" y="171"/>
                    </a:lnTo>
                    <a:lnTo>
                      <a:pt x="394" y="171"/>
                    </a:lnTo>
                    <a:lnTo>
                      <a:pt x="394" y="169"/>
                    </a:lnTo>
                    <a:lnTo>
                      <a:pt x="396" y="169"/>
                    </a:lnTo>
                    <a:lnTo>
                      <a:pt x="396" y="171"/>
                    </a:lnTo>
                    <a:close/>
                    <a:moveTo>
                      <a:pt x="390" y="169"/>
                    </a:moveTo>
                    <a:lnTo>
                      <a:pt x="388" y="171"/>
                    </a:lnTo>
                    <a:lnTo>
                      <a:pt x="388" y="169"/>
                    </a:lnTo>
                    <a:lnTo>
                      <a:pt x="390" y="169"/>
                    </a:lnTo>
                    <a:close/>
                    <a:moveTo>
                      <a:pt x="392" y="167"/>
                    </a:moveTo>
                    <a:lnTo>
                      <a:pt x="392" y="169"/>
                    </a:lnTo>
                    <a:lnTo>
                      <a:pt x="390" y="169"/>
                    </a:lnTo>
                    <a:lnTo>
                      <a:pt x="392" y="167"/>
                    </a:lnTo>
                    <a:close/>
                    <a:moveTo>
                      <a:pt x="386" y="167"/>
                    </a:moveTo>
                    <a:lnTo>
                      <a:pt x="386" y="169"/>
                    </a:lnTo>
                    <a:lnTo>
                      <a:pt x="386" y="167"/>
                    </a:lnTo>
                    <a:lnTo>
                      <a:pt x="384" y="167"/>
                    </a:lnTo>
                    <a:lnTo>
                      <a:pt x="386" y="167"/>
                    </a:lnTo>
                    <a:close/>
                    <a:moveTo>
                      <a:pt x="630" y="150"/>
                    </a:moveTo>
                    <a:lnTo>
                      <a:pt x="630" y="152"/>
                    </a:lnTo>
                    <a:lnTo>
                      <a:pt x="628" y="152"/>
                    </a:lnTo>
                    <a:lnTo>
                      <a:pt x="628" y="150"/>
                    </a:lnTo>
                    <a:lnTo>
                      <a:pt x="630" y="150"/>
                    </a:lnTo>
                    <a:close/>
                    <a:moveTo>
                      <a:pt x="394" y="167"/>
                    </a:moveTo>
                    <a:lnTo>
                      <a:pt x="392" y="169"/>
                    </a:lnTo>
                    <a:lnTo>
                      <a:pt x="392" y="167"/>
                    </a:lnTo>
                    <a:lnTo>
                      <a:pt x="392" y="169"/>
                    </a:lnTo>
                    <a:lnTo>
                      <a:pt x="392" y="167"/>
                    </a:lnTo>
                    <a:lnTo>
                      <a:pt x="394" y="167"/>
                    </a:lnTo>
                    <a:close/>
                    <a:moveTo>
                      <a:pt x="378" y="167"/>
                    </a:moveTo>
                    <a:lnTo>
                      <a:pt x="376" y="167"/>
                    </a:lnTo>
                    <a:lnTo>
                      <a:pt x="378" y="167"/>
                    </a:lnTo>
                    <a:close/>
                    <a:moveTo>
                      <a:pt x="634" y="150"/>
                    </a:moveTo>
                    <a:lnTo>
                      <a:pt x="632" y="150"/>
                    </a:lnTo>
                    <a:lnTo>
                      <a:pt x="634" y="150"/>
                    </a:lnTo>
                    <a:close/>
                    <a:moveTo>
                      <a:pt x="615" y="150"/>
                    </a:moveTo>
                    <a:lnTo>
                      <a:pt x="615" y="152"/>
                    </a:lnTo>
                    <a:lnTo>
                      <a:pt x="615" y="150"/>
                    </a:lnTo>
                    <a:lnTo>
                      <a:pt x="617" y="152"/>
                    </a:lnTo>
                    <a:lnTo>
                      <a:pt x="617" y="150"/>
                    </a:lnTo>
                    <a:lnTo>
                      <a:pt x="617" y="152"/>
                    </a:lnTo>
                    <a:lnTo>
                      <a:pt x="615" y="152"/>
                    </a:lnTo>
                    <a:lnTo>
                      <a:pt x="617" y="152"/>
                    </a:lnTo>
                    <a:lnTo>
                      <a:pt x="615" y="152"/>
                    </a:lnTo>
                    <a:lnTo>
                      <a:pt x="615" y="150"/>
                    </a:lnTo>
                    <a:close/>
                    <a:moveTo>
                      <a:pt x="632" y="148"/>
                    </a:moveTo>
                    <a:lnTo>
                      <a:pt x="632" y="150"/>
                    </a:lnTo>
                    <a:lnTo>
                      <a:pt x="630" y="150"/>
                    </a:lnTo>
                    <a:lnTo>
                      <a:pt x="628" y="150"/>
                    </a:lnTo>
                    <a:lnTo>
                      <a:pt x="630" y="150"/>
                    </a:lnTo>
                    <a:lnTo>
                      <a:pt x="630" y="148"/>
                    </a:lnTo>
                    <a:lnTo>
                      <a:pt x="632" y="148"/>
                    </a:lnTo>
                    <a:close/>
                    <a:moveTo>
                      <a:pt x="248" y="162"/>
                    </a:moveTo>
                    <a:lnTo>
                      <a:pt x="250" y="162"/>
                    </a:lnTo>
                    <a:lnTo>
                      <a:pt x="248" y="162"/>
                    </a:lnTo>
                    <a:close/>
                    <a:moveTo>
                      <a:pt x="496" y="162"/>
                    </a:moveTo>
                    <a:lnTo>
                      <a:pt x="497" y="162"/>
                    </a:lnTo>
                    <a:lnTo>
                      <a:pt x="496" y="162"/>
                    </a:lnTo>
                    <a:lnTo>
                      <a:pt x="496" y="163"/>
                    </a:lnTo>
                    <a:lnTo>
                      <a:pt x="496" y="162"/>
                    </a:lnTo>
                    <a:lnTo>
                      <a:pt x="496" y="160"/>
                    </a:lnTo>
                    <a:lnTo>
                      <a:pt x="496" y="162"/>
                    </a:lnTo>
                    <a:close/>
                    <a:moveTo>
                      <a:pt x="399" y="163"/>
                    </a:moveTo>
                    <a:lnTo>
                      <a:pt x="398" y="163"/>
                    </a:lnTo>
                    <a:lnTo>
                      <a:pt x="399" y="163"/>
                    </a:lnTo>
                    <a:close/>
                    <a:moveTo>
                      <a:pt x="557" y="154"/>
                    </a:moveTo>
                    <a:lnTo>
                      <a:pt x="559" y="154"/>
                    </a:lnTo>
                    <a:lnTo>
                      <a:pt x="557" y="154"/>
                    </a:lnTo>
                    <a:close/>
                    <a:moveTo>
                      <a:pt x="557" y="154"/>
                    </a:moveTo>
                    <a:lnTo>
                      <a:pt x="555" y="154"/>
                    </a:lnTo>
                    <a:lnTo>
                      <a:pt x="557" y="154"/>
                    </a:lnTo>
                    <a:close/>
                    <a:moveTo>
                      <a:pt x="559" y="154"/>
                    </a:moveTo>
                    <a:lnTo>
                      <a:pt x="557" y="154"/>
                    </a:lnTo>
                    <a:lnTo>
                      <a:pt x="559" y="154"/>
                    </a:lnTo>
                    <a:close/>
                    <a:moveTo>
                      <a:pt x="557" y="154"/>
                    </a:moveTo>
                    <a:lnTo>
                      <a:pt x="555" y="154"/>
                    </a:lnTo>
                    <a:lnTo>
                      <a:pt x="557" y="154"/>
                    </a:lnTo>
                    <a:close/>
                    <a:moveTo>
                      <a:pt x="557" y="154"/>
                    </a:moveTo>
                    <a:lnTo>
                      <a:pt x="557" y="152"/>
                    </a:lnTo>
                    <a:lnTo>
                      <a:pt x="559" y="152"/>
                    </a:lnTo>
                    <a:lnTo>
                      <a:pt x="557" y="154"/>
                    </a:lnTo>
                    <a:close/>
                    <a:moveTo>
                      <a:pt x="269" y="158"/>
                    </a:moveTo>
                    <a:lnTo>
                      <a:pt x="271" y="158"/>
                    </a:lnTo>
                    <a:lnTo>
                      <a:pt x="273" y="158"/>
                    </a:lnTo>
                    <a:lnTo>
                      <a:pt x="275" y="158"/>
                    </a:lnTo>
                    <a:lnTo>
                      <a:pt x="275" y="160"/>
                    </a:lnTo>
                    <a:lnTo>
                      <a:pt x="277" y="160"/>
                    </a:lnTo>
                    <a:lnTo>
                      <a:pt x="275" y="160"/>
                    </a:lnTo>
                    <a:lnTo>
                      <a:pt x="273" y="160"/>
                    </a:lnTo>
                    <a:lnTo>
                      <a:pt x="275" y="160"/>
                    </a:lnTo>
                    <a:lnTo>
                      <a:pt x="273" y="160"/>
                    </a:lnTo>
                    <a:lnTo>
                      <a:pt x="271" y="160"/>
                    </a:lnTo>
                    <a:lnTo>
                      <a:pt x="269" y="158"/>
                    </a:lnTo>
                    <a:lnTo>
                      <a:pt x="271" y="158"/>
                    </a:lnTo>
                    <a:lnTo>
                      <a:pt x="271" y="160"/>
                    </a:lnTo>
                    <a:lnTo>
                      <a:pt x="271" y="158"/>
                    </a:lnTo>
                    <a:lnTo>
                      <a:pt x="269" y="158"/>
                    </a:lnTo>
                    <a:close/>
                    <a:moveTo>
                      <a:pt x="252" y="158"/>
                    </a:moveTo>
                    <a:lnTo>
                      <a:pt x="250" y="158"/>
                    </a:lnTo>
                    <a:lnTo>
                      <a:pt x="248" y="158"/>
                    </a:lnTo>
                    <a:lnTo>
                      <a:pt x="246" y="158"/>
                    </a:lnTo>
                    <a:lnTo>
                      <a:pt x="248" y="158"/>
                    </a:lnTo>
                    <a:lnTo>
                      <a:pt x="250" y="160"/>
                    </a:lnTo>
                    <a:lnTo>
                      <a:pt x="250" y="162"/>
                    </a:lnTo>
                    <a:lnTo>
                      <a:pt x="250" y="160"/>
                    </a:lnTo>
                    <a:lnTo>
                      <a:pt x="248" y="160"/>
                    </a:lnTo>
                    <a:lnTo>
                      <a:pt x="246" y="160"/>
                    </a:lnTo>
                    <a:lnTo>
                      <a:pt x="246" y="162"/>
                    </a:lnTo>
                    <a:lnTo>
                      <a:pt x="248" y="162"/>
                    </a:lnTo>
                    <a:lnTo>
                      <a:pt x="250" y="162"/>
                    </a:lnTo>
                    <a:lnTo>
                      <a:pt x="250" y="163"/>
                    </a:lnTo>
                    <a:lnTo>
                      <a:pt x="250" y="162"/>
                    </a:lnTo>
                    <a:lnTo>
                      <a:pt x="248" y="162"/>
                    </a:lnTo>
                    <a:lnTo>
                      <a:pt x="248" y="163"/>
                    </a:lnTo>
                    <a:lnTo>
                      <a:pt x="250" y="163"/>
                    </a:lnTo>
                    <a:lnTo>
                      <a:pt x="252" y="163"/>
                    </a:lnTo>
                    <a:lnTo>
                      <a:pt x="253" y="163"/>
                    </a:lnTo>
                    <a:lnTo>
                      <a:pt x="255" y="163"/>
                    </a:lnTo>
                    <a:lnTo>
                      <a:pt x="253" y="163"/>
                    </a:lnTo>
                    <a:lnTo>
                      <a:pt x="252" y="163"/>
                    </a:lnTo>
                    <a:lnTo>
                      <a:pt x="250" y="163"/>
                    </a:lnTo>
                    <a:lnTo>
                      <a:pt x="248" y="163"/>
                    </a:lnTo>
                    <a:lnTo>
                      <a:pt x="248" y="162"/>
                    </a:lnTo>
                    <a:lnTo>
                      <a:pt x="246" y="162"/>
                    </a:lnTo>
                    <a:lnTo>
                      <a:pt x="246" y="160"/>
                    </a:lnTo>
                    <a:lnTo>
                      <a:pt x="246" y="158"/>
                    </a:lnTo>
                    <a:lnTo>
                      <a:pt x="248" y="158"/>
                    </a:lnTo>
                    <a:lnTo>
                      <a:pt x="250" y="156"/>
                    </a:lnTo>
                    <a:lnTo>
                      <a:pt x="252" y="156"/>
                    </a:lnTo>
                    <a:lnTo>
                      <a:pt x="252" y="158"/>
                    </a:lnTo>
                    <a:close/>
                    <a:moveTo>
                      <a:pt x="474" y="158"/>
                    </a:moveTo>
                    <a:lnTo>
                      <a:pt x="472" y="158"/>
                    </a:lnTo>
                    <a:lnTo>
                      <a:pt x="472" y="156"/>
                    </a:lnTo>
                    <a:lnTo>
                      <a:pt x="474" y="156"/>
                    </a:lnTo>
                    <a:lnTo>
                      <a:pt x="474" y="158"/>
                    </a:lnTo>
                    <a:close/>
                    <a:moveTo>
                      <a:pt x="476" y="156"/>
                    </a:moveTo>
                    <a:lnTo>
                      <a:pt x="474" y="156"/>
                    </a:lnTo>
                    <a:lnTo>
                      <a:pt x="476" y="156"/>
                    </a:lnTo>
                    <a:close/>
                    <a:moveTo>
                      <a:pt x="476" y="154"/>
                    </a:moveTo>
                    <a:lnTo>
                      <a:pt x="476" y="156"/>
                    </a:lnTo>
                    <a:lnTo>
                      <a:pt x="478" y="154"/>
                    </a:lnTo>
                    <a:lnTo>
                      <a:pt x="476" y="154"/>
                    </a:lnTo>
                    <a:close/>
                    <a:moveTo>
                      <a:pt x="588" y="144"/>
                    </a:moveTo>
                    <a:lnTo>
                      <a:pt x="588" y="146"/>
                    </a:lnTo>
                    <a:lnTo>
                      <a:pt x="586" y="146"/>
                    </a:lnTo>
                    <a:lnTo>
                      <a:pt x="588" y="144"/>
                    </a:lnTo>
                    <a:close/>
                    <a:moveTo>
                      <a:pt x="580" y="144"/>
                    </a:moveTo>
                    <a:lnTo>
                      <a:pt x="582" y="144"/>
                    </a:lnTo>
                    <a:lnTo>
                      <a:pt x="580" y="146"/>
                    </a:lnTo>
                    <a:lnTo>
                      <a:pt x="580" y="144"/>
                    </a:lnTo>
                    <a:lnTo>
                      <a:pt x="580" y="146"/>
                    </a:lnTo>
                    <a:lnTo>
                      <a:pt x="580" y="144"/>
                    </a:lnTo>
                    <a:close/>
                    <a:moveTo>
                      <a:pt x="588" y="142"/>
                    </a:moveTo>
                    <a:lnTo>
                      <a:pt x="590" y="142"/>
                    </a:lnTo>
                    <a:lnTo>
                      <a:pt x="588" y="142"/>
                    </a:lnTo>
                    <a:lnTo>
                      <a:pt x="590" y="142"/>
                    </a:lnTo>
                    <a:lnTo>
                      <a:pt x="588" y="142"/>
                    </a:lnTo>
                    <a:lnTo>
                      <a:pt x="588" y="144"/>
                    </a:lnTo>
                    <a:lnTo>
                      <a:pt x="586" y="144"/>
                    </a:lnTo>
                    <a:lnTo>
                      <a:pt x="586" y="142"/>
                    </a:lnTo>
                    <a:lnTo>
                      <a:pt x="588" y="142"/>
                    </a:lnTo>
                    <a:close/>
                    <a:moveTo>
                      <a:pt x="613" y="138"/>
                    </a:moveTo>
                    <a:lnTo>
                      <a:pt x="611" y="138"/>
                    </a:lnTo>
                    <a:lnTo>
                      <a:pt x="613" y="138"/>
                    </a:lnTo>
                    <a:lnTo>
                      <a:pt x="611" y="138"/>
                    </a:lnTo>
                    <a:lnTo>
                      <a:pt x="613" y="138"/>
                    </a:lnTo>
                    <a:close/>
                    <a:moveTo>
                      <a:pt x="595" y="138"/>
                    </a:moveTo>
                    <a:lnTo>
                      <a:pt x="597" y="138"/>
                    </a:lnTo>
                    <a:lnTo>
                      <a:pt x="597" y="140"/>
                    </a:lnTo>
                    <a:lnTo>
                      <a:pt x="597" y="138"/>
                    </a:lnTo>
                    <a:lnTo>
                      <a:pt x="597" y="140"/>
                    </a:lnTo>
                    <a:lnTo>
                      <a:pt x="595" y="140"/>
                    </a:lnTo>
                    <a:lnTo>
                      <a:pt x="595" y="138"/>
                    </a:lnTo>
                    <a:lnTo>
                      <a:pt x="595" y="140"/>
                    </a:lnTo>
                    <a:lnTo>
                      <a:pt x="595" y="138"/>
                    </a:lnTo>
                    <a:close/>
                    <a:moveTo>
                      <a:pt x="590" y="140"/>
                    </a:moveTo>
                    <a:lnTo>
                      <a:pt x="590" y="142"/>
                    </a:lnTo>
                    <a:lnTo>
                      <a:pt x="590" y="140"/>
                    </a:lnTo>
                    <a:lnTo>
                      <a:pt x="590" y="142"/>
                    </a:lnTo>
                    <a:lnTo>
                      <a:pt x="588" y="140"/>
                    </a:lnTo>
                    <a:lnTo>
                      <a:pt x="590" y="140"/>
                    </a:lnTo>
                    <a:lnTo>
                      <a:pt x="588" y="140"/>
                    </a:lnTo>
                    <a:lnTo>
                      <a:pt x="590" y="140"/>
                    </a:lnTo>
                    <a:close/>
                    <a:moveTo>
                      <a:pt x="286" y="150"/>
                    </a:moveTo>
                    <a:lnTo>
                      <a:pt x="288" y="150"/>
                    </a:lnTo>
                    <a:lnTo>
                      <a:pt x="288" y="152"/>
                    </a:lnTo>
                    <a:lnTo>
                      <a:pt x="286" y="152"/>
                    </a:lnTo>
                    <a:lnTo>
                      <a:pt x="286" y="150"/>
                    </a:lnTo>
                    <a:lnTo>
                      <a:pt x="284" y="150"/>
                    </a:lnTo>
                    <a:lnTo>
                      <a:pt x="286" y="150"/>
                    </a:lnTo>
                    <a:close/>
                    <a:moveTo>
                      <a:pt x="594" y="138"/>
                    </a:moveTo>
                    <a:lnTo>
                      <a:pt x="595" y="138"/>
                    </a:lnTo>
                    <a:lnTo>
                      <a:pt x="594" y="138"/>
                    </a:lnTo>
                    <a:close/>
                    <a:moveTo>
                      <a:pt x="617" y="137"/>
                    </a:moveTo>
                    <a:lnTo>
                      <a:pt x="618" y="137"/>
                    </a:lnTo>
                    <a:lnTo>
                      <a:pt x="620" y="137"/>
                    </a:lnTo>
                    <a:lnTo>
                      <a:pt x="618" y="137"/>
                    </a:lnTo>
                    <a:lnTo>
                      <a:pt x="620" y="137"/>
                    </a:lnTo>
                    <a:lnTo>
                      <a:pt x="622" y="137"/>
                    </a:lnTo>
                    <a:lnTo>
                      <a:pt x="622" y="135"/>
                    </a:lnTo>
                    <a:lnTo>
                      <a:pt x="622" y="137"/>
                    </a:lnTo>
                    <a:lnTo>
                      <a:pt x="622" y="135"/>
                    </a:lnTo>
                    <a:lnTo>
                      <a:pt x="622" y="137"/>
                    </a:lnTo>
                    <a:lnTo>
                      <a:pt x="622" y="138"/>
                    </a:lnTo>
                    <a:lnTo>
                      <a:pt x="620" y="138"/>
                    </a:lnTo>
                    <a:lnTo>
                      <a:pt x="620" y="140"/>
                    </a:lnTo>
                    <a:lnTo>
                      <a:pt x="618" y="140"/>
                    </a:lnTo>
                    <a:lnTo>
                      <a:pt x="617" y="140"/>
                    </a:lnTo>
                    <a:lnTo>
                      <a:pt x="617" y="142"/>
                    </a:lnTo>
                    <a:lnTo>
                      <a:pt x="617" y="140"/>
                    </a:lnTo>
                    <a:lnTo>
                      <a:pt x="617" y="142"/>
                    </a:lnTo>
                    <a:lnTo>
                      <a:pt x="617" y="140"/>
                    </a:lnTo>
                    <a:lnTo>
                      <a:pt x="615" y="140"/>
                    </a:lnTo>
                    <a:lnTo>
                      <a:pt x="615" y="142"/>
                    </a:lnTo>
                    <a:lnTo>
                      <a:pt x="613" y="142"/>
                    </a:lnTo>
                    <a:lnTo>
                      <a:pt x="613" y="140"/>
                    </a:lnTo>
                    <a:lnTo>
                      <a:pt x="615" y="140"/>
                    </a:lnTo>
                    <a:lnTo>
                      <a:pt x="617" y="140"/>
                    </a:lnTo>
                    <a:lnTo>
                      <a:pt x="618" y="140"/>
                    </a:lnTo>
                    <a:lnTo>
                      <a:pt x="617" y="140"/>
                    </a:lnTo>
                    <a:lnTo>
                      <a:pt x="618" y="140"/>
                    </a:lnTo>
                    <a:lnTo>
                      <a:pt x="617" y="140"/>
                    </a:lnTo>
                    <a:lnTo>
                      <a:pt x="618" y="140"/>
                    </a:lnTo>
                    <a:lnTo>
                      <a:pt x="618" y="138"/>
                    </a:lnTo>
                    <a:lnTo>
                      <a:pt x="618" y="140"/>
                    </a:lnTo>
                    <a:lnTo>
                      <a:pt x="618" y="138"/>
                    </a:lnTo>
                    <a:lnTo>
                      <a:pt x="617" y="138"/>
                    </a:lnTo>
                    <a:lnTo>
                      <a:pt x="615" y="138"/>
                    </a:lnTo>
                    <a:lnTo>
                      <a:pt x="615" y="137"/>
                    </a:lnTo>
                    <a:lnTo>
                      <a:pt x="617" y="137"/>
                    </a:lnTo>
                    <a:lnTo>
                      <a:pt x="615" y="137"/>
                    </a:lnTo>
                    <a:lnTo>
                      <a:pt x="617" y="137"/>
                    </a:lnTo>
                    <a:lnTo>
                      <a:pt x="615" y="137"/>
                    </a:lnTo>
                    <a:lnTo>
                      <a:pt x="617" y="137"/>
                    </a:lnTo>
                    <a:lnTo>
                      <a:pt x="615" y="137"/>
                    </a:lnTo>
                    <a:lnTo>
                      <a:pt x="617" y="137"/>
                    </a:lnTo>
                    <a:close/>
                    <a:moveTo>
                      <a:pt x="513" y="146"/>
                    </a:moveTo>
                    <a:lnTo>
                      <a:pt x="515" y="146"/>
                    </a:lnTo>
                    <a:lnTo>
                      <a:pt x="513" y="146"/>
                    </a:lnTo>
                    <a:close/>
                    <a:moveTo>
                      <a:pt x="517" y="144"/>
                    </a:moveTo>
                    <a:lnTo>
                      <a:pt x="515" y="144"/>
                    </a:lnTo>
                    <a:lnTo>
                      <a:pt x="517" y="144"/>
                    </a:lnTo>
                    <a:lnTo>
                      <a:pt x="517" y="142"/>
                    </a:lnTo>
                    <a:lnTo>
                      <a:pt x="517" y="144"/>
                    </a:lnTo>
                    <a:close/>
                    <a:moveTo>
                      <a:pt x="605" y="135"/>
                    </a:moveTo>
                    <a:lnTo>
                      <a:pt x="603" y="135"/>
                    </a:lnTo>
                    <a:lnTo>
                      <a:pt x="603" y="137"/>
                    </a:lnTo>
                    <a:lnTo>
                      <a:pt x="601" y="137"/>
                    </a:lnTo>
                    <a:lnTo>
                      <a:pt x="599" y="137"/>
                    </a:lnTo>
                    <a:lnTo>
                      <a:pt x="599" y="135"/>
                    </a:lnTo>
                    <a:lnTo>
                      <a:pt x="599" y="137"/>
                    </a:lnTo>
                    <a:lnTo>
                      <a:pt x="599" y="135"/>
                    </a:lnTo>
                    <a:lnTo>
                      <a:pt x="601" y="135"/>
                    </a:lnTo>
                    <a:lnTo>
                      <a:pt x="601" y="133"/>
                    </a:lnTo>
                    <a:lnTo>
                      <a:pt x="603" y="133"/>
                    </a:lnTo>
                    <a:lnTo>
                      <a:pt x="601" y="133"/>
                    </a:lnTo>
                    <a:lnTo>
                      <a:pt x="603" y="133"/>
                    </a:lnTo>
                    <a:lnTo>
                      <a:pt x="601" y="133"/>
                    </a:lnTo>
                    <a:lnTo>
                      <a:pt x="603" y="133"/>
                    </a:lnTo>
                    <a:lnTo>
                      <a:pt x="603" y="131"/>
                    </a:lnTo>
                    <a:lnTo>
                      <a:pt x="605" y="133"/>
                    </a:lnTo>
                    <a:lnTo>
                      <a:pt x="607" y="133"/>
                    </a:lnTo>
                    <a:lnTo>
                      <a:pt x="605" y="133"/>
                    </a:lnTo>
                    <a:lnTo>
                      <a:pt x="607" y="133"/>
                    </a:lnTo>
                    <a:lnTo>
                      <a:pt x="605" y="133"/>
                    </a:lnTo>
                    <a:lnTo>
                      <a:pt x="605" y="135"/>
                    </a:lnTo>
                    <a:lnTo>
                      <a:pt x="605" y="133"/>
                    </a:lnTo>
                    <a:lnTo>
                      <a:pt x="605" y="135"/>
                    </a:lnTo>
                    <a:close/>
                    <a:moveTo>
                      <a:pt x="519" y="138"/>
                    </a:moveTo>
                    <a:lnTo>
                      <a:pt x="521" y="138"/>
                    </a:lnTo>
                    <a:lnTo>
                      <a:pt x="519" y="138"/>
                    </a:lnTo>
                    <a:close/>
                    <a:moveTo>
                      <a:pt x="595" y="131"/>
                    </a:moveTo>
                    <a:lnTo>
                      <a:pt x="594" y="131"/>
                    </a:lnTo>
                    <a:lnTo>
                      <a:pt x="595" y="131"/>
                    </a:lnTo>
                    <a:close/>
                    <a:moveTo>
                      <a:pt x="123" y="127"/>
                    </a:moveTo>
                    <a:lnTo>
                      <a:pt x="125" y="127"/>
                    </a:lnTo>
                    <a:lnTo>
                      <a:pt x="127" y="129"/>
                    </a:lnTo>
                    <a:lnTo>
                      <a:pt x="127" y="131"/>
                    </a:lnTo>
                    <a:lnTo>
                      <a:pt x="129" y="131"/>
                    </a:lnTo>
                    <a:lnTo>
                      <a:pt x="127" y="131"/>
                    </a:lnTo>
                    <a:lnTo>
                      <a:pt x="125" y="129"/>
                    </a:lnTo>
                    <a:lnTo>
                      <a:pt x="127" y="129"/>
                    </a:lnTo>
                    <a:lnTo>
                      <a:pt x="127" y="131"/>
                    </a:lnTo>
                    <a:lnTo>
                      <a:pt x="127" y="129"/>
                    </a:lnTo>
                    <a:lnTo>
                      <a:pt x="125" y="129"/>
                    </a:lnTo>
                    <a:lnTo>
                      <a:pt x="125" y="127"/>
                    </a:lnTo>
                    <a:lnTo>
                      <a:pt x="123" y="127"/>
                    </a:lnTo>
                    <a:close/>
                    <a:moveTo>
                      <a:pt x="123" y="127"/>
                    </a:moveTo>
                    <a:lnTo>
                      <a:pt x="121" y="127"/>
                    </a:lnTo>
                    <a:lnTo>
                      <a:pt x="123" y="127"/>
                    </a:lnTo>
                    <a:lnTo>
                      <a:pt x="123" y="129"/>
                    </a:lnTo>
                    <a:lnTo>
                      <a:pt x="123" y="127"/>
                    </a:lnTo>
                    <a:lnTo>
                      <a:pt x="123" y="129"/>
                    </a:lnTo>
                    <a:lnTo>
                      <a:pt x="123" y="127"/>
                    </a:lnTo>
                    <a:lnTo>
                      <a:pt x="123" y="129"/>
                    </a:lnTo>
                    <a:lnTo>
                      <a:pt x="121" y="129"/>
                    </a:lnTo>
                    <a:lnTo>
                      <a:pt x="123" y="129"/>
                    </a:lnTo>
                    <a:lnTo>
                      <a:pt x="121" y="129"/>
                    </a:lnTo>
                    <a:lnTo>
                      <a:pt x="119" y="127"/>
                    </a:lnTo>
                    <a:lnTo>
                      <a:pt x="121" y="127"/>
                    </a:lnTo>
                    <a:lnTo>
                      <a:pt x="123" y="127"/>
                    </a:lnTo>
                    <a:close/>
                    <a:moveTo>
                      <a:pt x="501" y="135"/>
                    </a:moveTo>
                    <a:lnTo>
                      <a:pt x="499" y="135"/>
                    </a:lnTo>
                    <a:lnTo>
                      <a:pt x="501" y="135"/>
                    </a:lnTo>
                    <a:close/>
                    <a:moveTo>
                      <a:pt x="497" y="135"/>
                    </a:moveTo>
                    <a:lnTo>
                      <a:pt x="499" y="135"/>
                    </a:lnTo>
                    <a:lnTo>
                      <a:pt x="497" y="135"/>
                    </a:lnTo>
                    <a:lnTo>
                      <a:pt x="496" y="135"/>
                    </a:lnTo>
                    <a:lnTo>
                      <a:pt x="497" y="135"/>
                    </a:lnTo>
                    <a:lnTo>
                      <a:pt x="497" y="133"/>
                    </a:lnTo>
                    <a:lnTo>
                      <a:pt x="499" y="135"/>
                    </a:lnTo>
                    <a:lnTo>
                      <a:pt x="497" y="135"/>
                    </a:lnTo>
                    <a:close/>
                    <a:moveTo>
                      <a:pt x="311" y="138"/>
                    </a:moveTo>
                    <a:lnTo>
                      <a:pt x="309" y="138"/>
                    </a:lnTo>
                    <a:lnTo>
                      <a:pt x="309" y="137"/>
                    </a:lnTo>
                    <a:lnTo>
                      <a:pt x="311" y="137"/>
                    </a:lnTo>
                    <a:lnTo>
                      <a:pt x="313" y="137"/>
                    </a:lnTo>
                    <a:lnTo>
                      <a:pt x="313" y="138"/>
                    </a:lnTo>
                    <a:lnTo>
                      <a:pt x="311" y="138"/>
                    </a:lnTo>
                    <a:close/>
                    <a:moveTo>
                      <a:pt x="499" y="133"/>
                    </a:moveTo>
                    <a:lnTo>
                      <a:pt x="497" y="133"/>
                    </a:lnTo>
                    <a:lnTo>
                      <a:pt x="499" y="133"/>
                    </a:lnTo>
                    <a:close/>
                    <a:moveTo>
                      <a:pt x="492" y="133"/>
                    </a:moveTo>
                    <a:lnTo>
                      <a:pt x="494" y="133"/>
                    </a:lnTo>
                    <a:lnTo>
                      <a:pt x="496" y="133"/>
                    </a:lnTo>
                    <a:lnTo>
                      <a:pt x="494" y="133"/>
                    </a:lnTo>
                    <a:lnTo>
                      <a:pt x="492" y="133"/>
                    </a:lnTo>
                    <a:close/>
                    <a:moveTo>
                      <a:pt x="557" y="127"/>
                    </a:moveTo>
                    <a:lnTo>
                      <a:pt x="555" y="127"/>
                    </a:lnTo>
                    <a:lnTo>
                      <a:pt x="557" y="127"/>
                    </a:lnTo>
                    <a:close/>
                    <a:moveTo>
                      <a:pt x="463" y="123"/>
                    </a:moveTo>
                    <a:lnTo>
                      <a:pt x="465" y="123"/>
                    </a:lnTo>
                    <a:lnTo>
                      <a:pt x="463" y="123"/>
                    </a:lnTo>
                    <a:close/>
                    <a:moveTo>
                      <a:pt x="605" y="100"/>
                    </a:moveTo>
                    <a:lnTo>
                      <a:pt x="607" y="100"/>
                    </a:lnTo>
                    <a:lnTo>
                      <a:pt x="607" y="102"/>
                    </a:lnTo>
                    <a:lnTo>
                      <a:pt x="605" y="102"/>
                    </a:lnTo>
                    <a:lnTo>
                      <a:pt x="605" y="100"/>
                    </a:lnTo>
                    <a:close/>
                    <a:moveTo>
                      <a:pt x="618" y="100"/>
                    </a:moveTo>
                    <a:lnTo>
                      <a:pt x="617" y="100"/>
                    </a:lnTo>
                    <a:lnTo>
                      <a:pt x="618" y="100"/>
                    </a:lnTo>
                    <a:close/>
                    <a:moveTo>
                      <a:pt x="530" y="108"/>
                    </a:moveTo>
                    <a:lnTo>
                      <a:pt x="530" y="110"/>
                    </a:lnTo>
                    <a:lnTo>
                      <a:pt x="530" y="108"/>
                    </a:lnTo>
                    <a:close/>
                    <a:moveTo>
                      <a:pt x="603" y="100"/>
                    </a:moveTo>
                    <a:lnTo>
                      <a:pt x="603" y="102"/>
                    </a:lnTo>
                    <a:lnTo>
                      <a:pt x="603" y="100"/>
                    </a:lnTo>
                    <a:close/>
                    <a:moveTo>
                      <a:pt x="530" y="108"/>
                    </a:moveTo>
                    <a:lnTo>
                      <a:pt x="532" y="108"/>
                    </a:lnTo>
                    <a:lnTo>
                      <a:pt x="530" y="108"/>
                    </a:lnTo>
                    <a:close/>
                    <a:moveTo>
                      <a:pt x="615" y="98"/>
                    </a:moveTo>
                    <a:lnTo>
                      <a:pt x="615" y="100"/>
                    </a:lnTo>
                    <a:lnTo>
                      <a:pt x="615" y="98"/>
                    </a:lnTo>
                    <a:close/>
                    <a:moveTo>
                      <a:pt x="346" y="113"/>
                    </a:moveTo>
                    <a:lnTo>
                      <a:pt x="348" y="113"/>
                    </a:lnTo>
                    <a:lnTo>
                      <a:pt x="348" y="115"/>
                    </a:lnTo>
                    <a:lnTo>
                      <a:pt x="346" y="115"/>
                    </a:lnTo>
                    <a:lnTo>
                      <a:pt x="344" y="115"/>
                    </a:lnTo>
                    <a:lnTo>
                      <a:pt x="344" y="113"/>
                    </a:lnTo>
                    <a:lnTo>
                      <a:pt x="346" y="113"/>
                    </a:lnTo>
                    <a:close/>
                    <a:moveTo>
                      <a:pt x="348" y="113"/>
                    </a:moveTo>
                    <a:lnTo>
                      <a:pt x="350" y="113"/>
                    </a:lnTo>
                    <a:lnTo>
                      <a:pt x="348" y="113"/>
                    </a:lnTo>
                    <a:lnTo>
                      <a:pt x="346" y="113"/>
                    </a:lnTo>
                    <a:lnTo>
                      <a:pt x="348" y="113"/>
                    </a:lnTo>
                    <a:close/>
                    <a:moveTo>
                      <a:pt x="595" y="98"/>
                    </a:moveTo>
                    <a:lnTo>
                      <a:pt x="595" y="100"/>
                    </a:lnTo>
                    <a:lnTo>
                      <a:pt x="595" y="98"/>
                    </a:lnTo>
                    <a:close/>
                    <a:moveTo>
                      <a:pt x="592" y="98"/>
                    </a:moveTo>
                    <a:lnTo>
                      <a:pt x="592" y="96"/>
                    </a:lnTo>
                    <a:lnTo>
                      <a:pt x="594" y="96"/>
                    </a:lnTo>
                    <a:lnTo>
                      <a:pt x="592" y="98"/>
                    </a:lnTo>
                    <a:close/>
                    <a:moveTo>
                      <a:pt x="599" y="98"/>
                    </a:moveTo>
                    <a:lnTo>
                      <a:pt x="601" y="98"/>
                    </a:lnTo>
                    <a:lnTo>
                      <a:pt x="599" y="96"/>
                    </a:lnTo>
                    <a:lnTo>
                      <a:pt x="597" y="94"/>
                    </a:lnTo>
                    <a:lnTo>
                      <a:pt x="599" y="96"/>
                    </a:lnTo>
                    <a:lnTo>
                      <a:pt x="601" y="96"/>
                    </a:lnTo>
                    <a:lnTo>
                      <a:pt x="601" y="98"/>
                    </a:lnTo>
                    <a:lnTo>
                      <a:pt x="599" y="98"/>
                    </a:lnTo>
                    <a:close/>
                    <a:moveTo>
                      <a:pt x="595" y="96"/>
                    </a:moveTo>
                    <a:lnTo>
                      <a:pt x="595" y="94"/>
                    </a:lnTo>
                    <a:lnTo>
                      <a:pt x="597" y="94"/>
                    </a:lnTo>
                    <a:lnTo>
                      <a:pt x="595" y="94"/>
                    </a:lnTo>
                    <a:lnTo>
                      <a:pt x="597" y="94"/>
                    </a:lnTo>
                    <a:lnTo>
                      <a:pt x="597" y="96"/>
                    </a:lnTo>
                    <a:lnTo>
                      <a:pt x="599" y="96"/>
                    </a:lnTo>
                    <a:lnTo>
                      <a:pt x="599" y="98"/>
                    </a:lnTo>
                    <a:lnTo>
                      <a:pt x="597" y="98"/>
                    </a:lnTo>
                    <a:lnTo>
                      <a:pt x="599" y="98"/>
                    </a:lnTo>
                    <a:lnTo>
                      <a:pt x="597" y="98"/>
                    </a:lnTo>
                    <a:lnTo>
                      <a:pt x="597" y="96"/>
                    </a:lnTo>
                    <a:lnTo>
                      <a:pt x="597" y="98"/>
                    </a:lnTo>
                    <a:lnTo>
                      <a:pt x="595" y="98"/>
                    </a:lnTo>
                    <a:lnTo>
                      <a:pt x="597" y="98"/>
                    </a:lnTo>
                    <a:lnTo>
                      <a:pt x="595" y="98"/>
                    </a:lnTo>
                    <a:lnTo>
                      <a:pt x="594" y="98"/>
                    </a:lnTo>
                    <a:lnTo>
                      <a:pt x="594" y="100"/>
                    </a:lnTo>
                    <a:lnTo>
                      <a:pt x="595" y="100"/>
                    </a:lnTo>
                    <a:lnTo>
                      <a:pt x="594" y="100"/>
                    </a:lnTo>
                    <a:lnTo>
                      <a:pt x="595" y="100"/>
                    </a:lnTo>
                    <a:lnTo>
                      <a:pt x="594" y="100"/>
                    </a:lnTo>
                    <a:lnTo>
                      <a:pt x="592" y="102"/>
                    </a:lnTo>
                    <a:lnTo>
                      <a:pt x="590" y="102"/>
                    </a:lnTo>
                    <a:lnTo>
                      <a:pt x="592" y="102"/>
                    </a:lnTo>
                    <a:lnTo>
                      <a:pt x="590" y="102"/>
                    </a:lnTo>
                    <a:lnTo>
                      <a:pt x="588" y="102"/>
                    </a:lnTo>
                    <a:lnTo>
                      <a:pt x="586" y="102"/>
                    </a:lnTo>
                    <a:lnTo>
                      <a:pt x="588" y="102"/>
                    </a:lnTo>
                    <a:lnTo>
                      <a:pt x="588" y="100"/>
                    </a:lnTo>
                    <a:lnTo>
                      <a:pt x="586" y="100"/>
                    </a:lnTo>
                    <a:lnTo>
                      <a:pt x="588" y="100"/>
                    </a:lnTo>
                    <a:lnTo>
                      <a:pt x="590" y="100"/>
                    </a:lnTo>
                    <a:lnTo>
                      <a:pt x="590" y="98"/>
                    </a:lnTo>
                    <a:lnTo>
                      <a:pt x="592" y="98"/>
                    </a:lnTo>
                    <a:lnTo>
                      <a:pt x="592" y="100"/>
                    </a:lnTo>
                    <a:lnTo>
                      <a:pt x="592" y="98"/>
                    </a:lnTo>
                    <a:lnTo>
                      <a:pt x="594" y="98"/>
                    </a:lnTo>
                    <a:lnTo>
                      <a:pt x="594" y="96"/>
                    </a:lnTo>
                    <a:lnTo>
                      <a:pt x="595" y="96"/>
                    </a:lnTo>
                    <a:lnTo>
                      <a:pt x="595" y="94"/>
                    </a:lnTo>
                    <a:lnTo>
                      <a:pt x="595" y="96"/>
                    </a:lnTo>
                    <a:close/>
                    <a:moveTo>
                      <a:pt x="430" y="108"/>
                    </a:moveTo>
                    <a:lnTo>
                      <a:pt x="428" y="108"/>
                    </a:lnTo>
                    <a:lnTo>
                      <a:pt x="430" y="108"/>
                    </a:lnTo>
                    <a:close/>
                    <a:moveTo>
                      <a:pt x="597" y="94"/>
                    </a:moveTo>
                    <a:lnTo>
                      <a:pt x="595" y="94"/>
                    </a:lnTo>
                    <a:lnTo>
                      <a:pt x="595" y="92"/>
                    </a:lnTo>
                    <a:lnTo>
                      <a:pt x="597" y="94"/>
                    </a:lnTo>
                    <a:close/>
                    <a:moveTo>
                      <a:pt x="595" y="92"/>
                    </a:moveTo>
                    <a:lnTo>
                      <a:pt x="595" y="94"/>
                    </a:lnTo>
                    <a:lnTo>
                      <a:pt x="594" y="94"/>
                    </a:lnTo>
                    <a:lnTo>
                      <a:pt x="595" y="94"/>
                    </a:lnTo>
                    <a:lnTo>
                      <a:pt x="594" y="94"/>
                    </a:lnTo>
                    <a:lnTo>
                      <a:pt x="595" y="92"/>
                    </a:lnTo>
                    <a:close/>
                    <a:moveTo>
                      <a:pt x="444" y="100"/>
                    </a:moveTo>
                    <a:lnTo>
                      <a:pt x="442" y="100"/>
                    </a:lnTo>
                    <a:lnTo>
                      <a:pt x="444" y="100"/>
                    </a:lnTo>
                    <a:close/>
                    <a:moveTo>
                      <a:pt x="444" y="98"/>
                    </a:moveTo>
                    <a:lnTo>
                      <a:pt x="442" y="98"/>
                    </a:lnTo>
                    <a:lnTo>
                      <a:pt x="444" y="98"/>
                    </a:lnTo>
                    <a:lnTo>
                      <a:pt x="444" y="100"/>
                    </a:lnTo>
                    <a:lnTo>
                      <a:pt x="442" y="100"/>
                    </a:lnTo>
                    <a:lnTo>
                      <a:pt x="442" y="98"/>
                    </a:lnTo>
                    <a:lnTo>
                      <a:pt x="444" y="98"/>
                    </a:lnTo>
                    <a:close/>
                    <a:moveTo>
                      <a:pt x="444" y="96"/>
                    </a:moveTo>
                    <a:lnTo>
                      <a:pt x="442" y="96"/>
                    </a:lnTo>
                    <a:lnTo>
                      <a:pt x="444" y="96"/>
                    </a:lnTo>
                    <a:close/>
                    <a:moveTo>
                      <a:pt x="444" y="94"/>
                    </a:moveTo>
                    <a:lnTo>
                      <a:pt x="442" y="94"/>
                    </a:lnTo>
                    <a:lnTo>
                      <a:pt x="442" y="96"/>
                    </a:lnTo>
                    <a:lnTo>
                      <a:pt x="442" y="94"/>
                    </a:lnTo>
                    <a:lnTo>
                      <a:pt x="444" y="94"/>
                    </a:lnTo>
                    <a:close/>
                    <a:moveTo>
                      <a:pt x="426" y="90"/>
                    </a:moveTo>
                    <a:lnTo>
                      <a:pt x="428" y="90"/>
                    </a:lnTo>
                    <a:lnTo>
                      <a:pt x="426" y="90"/>
                    </a:lnTo>
                    <a:close/>
                    <a:moveTo>
                      <a:pt x="426" y="90"/>
                    </a:moveTo>
                    <a:lnTo>
                      <a:pt x="424" y="90"/>
                    </a:lnTo>
                    <a:lnTo>
                      <a:pt x="426" y="90"/>
                    </a:lnTo>
                    <a:close/>
                    <a:moveTo>
                      <a:pt x="432" y="90"/>
                    </a:moveTo>
                    <a:lnTo>
                      <a:pt x="432" y="88"/>
                    </a:lnTo>
                    <a:lnTo>
                      <a:pt x="432" y="90"/>
                    </a:lnTo>
                    <a:close/>
                    <a:moveTo>
                      <a:pt x="426" y="88"/>
                    </a:moveTo>
                    <a:lnTo>
                      <a:pt x="426" y="90"/>
                    </a:lnTo>
                    <a:lnTo>
                      <a:pt x="426" y="88"/>
                    </a:lnTo>
                    <a:close/>
                    <a:moveTo>
                      <a:pt x="442" y="88"/>
                    </a:moveTo>
                    <a:lnTo>
                      <a:pt x="440" y="88"/>
                    </a:lnTo>
                    <a:lnTo>
                      <a:pt x="442" y="88"/>
                    </a:lnTo>
                    <a:close/>
                    <a:moveTo>
                      <a:pt x="557" y="77"/>
                    </a:moveTo>
                    <a:lnTo>
                      <a:pt x="555" y="77"/>
                    </a:lnTo>
                    <a:lnTo>
                      <a:pt x="557" y="77"/>
                    </a:lnTo>
                    <a:close/>
                    <a:moveTo>
                      <a:pt x="561" y="77"/>
                    </a:moveTo>
                    <a:lnTo>
                      <a:pt x="561" y="75"/>
                    </a:lnTo>
                    <a:lnTo>
                      <a:pt x="563" y="75"/>
                    </a:lnTo>
                    <a:lnTo>
                      <a:pt x="561" y="77"/>
                    </a:lnTo>
                    <a:close/>
                    <a:moveTo>
                      <a:pt x="388" y="81"/>
                    </a:moveTo>
                    <a:lnTo>
                      <a:pt x="386" y="81"/>
                    </a:lnTo>
                    <a:lnTo>
                      <a:pt x="388" y="81"/>
                    </a:lnTo>
                    <a:lnTo>
                      <a:pt x="386" y="81"/>
                    </a:lnTo>
                    <a:lnTo>
                      <a:pt x="388" y="81"/>
                    </a:lnTo>
                    <a:close/>
                    <a:moveTo>
                      <a:pt x="545" y="71"/>
                    </a:moveTo>
                    <a:lnTo>
                      <a:pt x="545" y="73"/>
                    </a:lnTo>
                    <a:lnTo>
                      <a:pt x="545" y="71"/>
                    </a:lnTo>
                    <a:close/>
                    <a:moveTo>
                      <a:pt x="551" y="71"/>
                    </a:moveTo>
                    <a:lnTo>
                      <a:pt x="549" y="71"/>
                    </a:lnTo>
                    <a:lnTo>
                      <a:pt x="547" y="71"/>
                    </a:lnTo>
                    <a:lnTo>
                      <a:pt x="547" y="73"/>
                    </a:lnTo>
                    <a:lnTo>
                      <a:pt x="547" y="71"/>
                    </a:lnTo>
                    <a:lnTo>
                      <a:pt x="549" y="71"/>
                    </a:lnTo>
                    <a:lnTo>
                      <a:pt x="551" y="71"/>
                    </a:lnTo>
                    <a:close/>
                    <a:moveTo>
                      <a:pt x="373" y="79"/>
                    </a:moveTo>
                    <a:lnTo>
                      <a:pt x="371" y="79"/>
                    </a:lnTo>
                    <a:lnTo>
                      <a:pt x="373" y="79"/>
                    </a:lnTo>
                    <a:close/>
                    <a:moveTo>
                      <a:pt x="330" y="79"/>
                    </a:moveTo>
                    <a:lnTo>
                      <a:pt x="328" y="77"/>
                    </a:lnTo>
                    <a:lnTo>
                      <a:pt x="326" y="77"/>
                    </a:lnTo>
                    <a:lnTo>
                      <a:pt x="325" y="77"/>
                    </a:lnTo>
                    <a:lnTo>
                      <a:pt x="323" y="77"/>
                    </a:lnTo>
                    <a:lnTo>
                      <a:pt x="321" y="75"/>
                    </a:lnTo>
                    <a:lnTo>
                      <a:pt x="319" y="75"/>
                    </a:lnTo>
                    <a:lnTo>
                      <a:pt x="321" y="75"/>
                    </a:lnTo>
                    <a:lnTo>
                      <a:pt x="323" y="75"/>
                    </a:lnTo>
                    <a:lnTo>
                      <a:pt x="325" y="77"/>
                    </a:lnTo>
                    <a:lnTo>
                      <a:pt x="326" y="77"/>
                    </a:lnTo>
                    <a:lnTo>
                      <a:pt x="328" y="77"/>
                    </a:lnTo>
                    <a:lnTo>
                      <a:pt x="330" y="77"/>
                    </a:lnTo>
                    <a:lnTo>
                      <a:pt x="330" y="79"/>
                    </a:lnTo>
                    <a:close/>
                    <a:moveTo>
                      <a:pt x="532" y="67"/>
                    </a:moveTo>
                    <a:lnTo>
                      <a:pt x="532" y="65"/>
                    </a:lnTo>
                    <a:lnTo>
                      <a:pt x="532" y="67"/>
                    </a:lnTo>
                    <a:lnTo>
                      <a:pt x="530" y="67"/>
                    </a:lnTo>
                    <a:lnTo>
                      <a:pt x="530" y="65"/>
                    </a:lnTo>
                    <a:lnTo>
                      <a:pt x="532" y="67"/>
                    </a:lnTo>
                    <a:close/>
                    <a:moveTo>
                      <a:pt x="509" y="67"/>
                    </a:moveTo>
                    <a:lnTo>
                      <a:pt x="507" y="67"/>
                    </a:lnTo>
                    <a:lnTo>
                      <a:pt x="507" y="65"/>
                    </a:lnTo>
                    <a:lnTo>
                      <a:pt x="509" y="67"/>
                    </a:lnTo>
                    <a:close/>
                    <a:moveTo>
                      <a:pt x="463" y="69"/>
                    </a:moveTo>
                    <a:lnTo>
                      <a:pt x="461" y="69"/>
                    </a:lnTo>
                    <a:lnTo>
                      <a:pt x="463" y="69"/>
                    </a:lnTo>
                    <a:close/>
                    <a:moveTo>
                      <a:pt x="509" y="65"/>
                    </a:moveTo>
                    <a:lnTo>
                      <a:pt x="507" y="65"/>
                    </a:lnTo>
                    <a:lnTo>
                      <a:pt x="509" y="65"/>
                    </a:lnTo>
                    <a:close/>
                    <a:moveTo>
                      <a:pt x="311" y="63"/>
                    </a:moveTo>
                    <a:lnTo>
                      <a:pt x="313" y="63"/>
                    </a:lnTo>
                    <a:lnTo>
                      <a:pt x="311" y="63"/>
                    </a:lnTo>
                    <a:close/>
                    <a:moveTo>
                      <a:pt x="311" y="63"/>
                    </a:moveTo>
                    <a:lnTo>
                      <a:pt x="309" y="63"/>
                    </a:lnTo>
                    <a:lnTo>
                      <a:pt x="311" y="63"/>
                    </a:lnTo>
                    <a:close/>
                    <a:moveTo>
                      <a:pt x="467" y="62"/>
                    </a:moveTo>
                    <a:lnTo>
                      <a:pt x="469" y="62"/>
                    </a:lnTo>
                    <a:lnTo>
                      <a:pt x="467" y="62"/>
                    </a:lnTo>
                    <a:lnTo>
                      <a:pt x="467" y="63"/>
                    </a:lnTo>
                    <a:lnTo>
                      <a:pt x="465" y="63"/>
                    </a:lnTo>
                    <a:lnTo>
                      <a:pt x="465" y="62"/>
                    </a:lnTo>
                    <a:lnTo>
                      <a:pt x="467" y="62"/>
                    </a:lnTo>
                    <a:close/>
                    <a:moveTo>
                      <a:pt x="350" y="63"/>
                    </a:moveTo>
                    <a:lnTo>
                      <a:pt x="351" y="63"/>
                    </a:lnTo>
                    <a:lnTo>
                      <a:pt x="350" y="63"/>
                    </a:lnTo>
                    <a:close/>
                    <a:moveTo>
                      <a:pt x="328" y="62"/>
                    </a:moveTo>
                    <a:lnTo>
                      <a:pt x="328" y="63"/>
                    </a:lnTo>
                    <a:lnTo>
                      <a:pt x="330" y="63"/>
                    </a:lnTo>
                    <a:lnTo>
                      <a:pt x="332" y="63"/>
                    </a:lnTo>
                    <a:lnTo>
                      <a:pt x="330" y="63"/>
                    </a:lnTo>
                    <a:lnTo>
                      <a:pt x="332" y="63"/>
                    </a:lnTo>
                    <a:lnTo>
                      <a:pt x="334" y="63"/>
                    </a:lnTo>
                    <a:lnTo>
                      <a:pt x="334" y="65"/>
                    </a:lnTo>
                    <a:lnTo>
                      <a:pt x="332" y="65"/>
                    </a:lnTo>
                    <a:lnTo>
                      <a:pt x="330" y="65"/>
                    </a:lnTo>
                    <a:lnTo>
                      <a:pt x="328" y="65"/>
                    </a:lnTo>
                    <a:lnTo>
                      <a:pt x="328" y="63"/>
                    </a:lnTo>
                    <a:lnTo>
                      <a:pt x="330" y="63"/>
                    </a:lnTo>
                    <a:lnTo>
                      <a:pt x="328" y="63"/>
                    </a:lnTo>
                    <a:lnTo>
                      <a:pt x="325" y="62"/>
                    </a:lnTo>
                    <a:lnTo>
                      <a:pt x="323" y="63"/>
                    </a:lnTo>
                    <a:lnTo>
                      <a:pt x="325" y="63"/>
                    </a:lnTo>
                    <a:lnTo>
                      <a:pt x="323" y="63"/>
                    </a:lnTo>
                    <a:lnTo>
                      <a:pt x="321" y="63"/>
                    </a:lnTo>
                    <a:lnTo>
                      <a:pt x="323" y="63"/>
                    </a:lnTo>
                    <a:lnTo>
                      <a:pt x="321" y="63"/>
                    </a:lnTo>
                    <a:lnTo>
                      <a:pt x="321" y="65"/>
                    </a:lnTo>
                    <a:lnTo>
                      <a:pt x="319" y="65"/>
                    </a:lnTo>
                    <a:lnTo>
                      <a:pt x="319" y="63"/>
                    </a:lnTo>
                    <a:lnTo>
                      <a:pt x="317" y="63"/>
                    </a:lnTo>
                    <a:lnTo>
                      <a:pt x="313" y="63"/>
                    </a:lnTo>
                    <a:lnTo>
                      <a:pt x="315" y="63"/>
                    </a:lnTo>
                    <a:lnTo>
                      <a:pt x="317" y="63"/>
                    </a:lnTo>
                    <a:lnTo>
                      <a:pt x="319" y="63"/>
                    </a:lnTo>
                    <a:lnTo>
                      <a:pt x="321" y="63"/>
                    </a:lnTo>
                    <a:lnTo>
                      <a:pt x="323" y="62"/>
                    </a:lnTo>
                    <a:lnTo>
                      <a:pt x="326" y="62"/>
                    </a:lnTo>
                    <a:lnTo>
                      <a:pt x="328" y="62"/>
                    </a:lnTo>
                    <a:close/>
                    <a:moveTo>
                      <a:pt x="309" y="62"/>
                    </a:moveTo>
                    <a:lnTo>
                      <a:pt x="311" y="63"/>
                    </a:lnTo>
                    <a:lnTo>
                      <a:pt x="309" y="63"/>
                    </a:lnTo>
                    <a:lnTo>
                      <a:pt x="307" y="62"/>
                    </a:lnTo>
                    <a:lnTo>
                      <a:pt x="309" y="62"/>
                    </a:lnTo>
                    <a:close/>
                    <a:moveTo>
                      <a:pt x="346" y="63"/>
                    </a:moveTo>
                    <a:lnTo>
                      <a:pt x="344" y="63"/>
                    </a:lnTo>
                    <a:lnTo>
                      <a:pt x="346" y="63"/>
                    </a:lnTo>
                    <a:close/>
                    <a:moveTo>
                      <a:pt x="305" y="62"/>
                    </a:moveTo>
                    <a:lnTo>
                      <a:pt x="307" y="62"/>
                    </a:lnTo>
                    <a:lnTo>
                      <a:pt x="309" y="62"/>
                    </a:lnTo>
                    <a:lnTo>
                      <a:pt x="309" y="63"/>
                    </a:lnTo>
                    <a:lnTo>
                      <a:pt x="307" y="62"/>
                    </a:lnTo>
                    <a:lnTo>
                      <a:pt x="305" y="62"/>
                    </a:lnTo>
                    <a:lnTo>
                      <a:pt x="303" y="62"/>
                    </a:lnTo>
                    <a:lnTo>
                      <a:pt x="305" y="62"/>
                    </a:lnTo>
                    <a:close/>
                    <a:moveTo>
                      <a:pt x="359" y="62"/>
                    </a:moveTo>
                    <a:lnTo>
                      <a:pt x="357" y="62"/>
                    </a:lnTo>
                    <a:lnTo>
                      <a:pt x="359" y="62"/>
                    </a:lnTo>
                    <a:close/>
                    <a:moveTo>
                      <a:pt x="348" y="62"/>
                    </a:moveTo>
                    <a:lnTo>
                      <a:pt x="346" y="62"/>
                    </a:lnTo>
                    <a:lnTo>
                      <a:pt x="348" y="62"/>
                    </a:lnTo>
                    <a:close/>
                    <a:moveTo>
                      <a:pt x="351" y="62"/>
                    </a:moveTo>
                    <a:lnTo>
                      <a:pt x="350" y="62"/>
                    </a:lnTo>
                    <a:lnTo>
                      <a:pt x="351" y="60"/>
                    </a:lnTo>
                    <a:lnTo>
                      <a:pt x="351" y="62"/>
                    </a:lnTo>
                    <a:close/>
                    <a:moveTo>
                      <a:pt x="296" y="60"/>
                    </a:moveTo>
                    <a:lnTo>
                      <a:pt x="298" y="60"/>
                    </a:lnTo>
                    <a:lnTo>
                      <a:pt x="296" y="60"/>
                    </a:lnTo>
                    <a:lnTo>
                      <a:pt x="294" y="58"/>
                    </a:lnTo>
                    <a:lnTo>
                      <a:pt x="296" y="58"/>
                    </a:lnTo>
                    <a:lnTo>
                      <a:pt x="296" y="60"/>
                    </a:lnTo>
                    <a:close/>
                    <a:moveTo>
                      <a:pt x="348" y="60"/>
                    </a:moveTo>
                    <a:lnTo>
                      <a:pt x="346" y="60"/>
                    </a:lnTo>
                    <a:lnTo>
                      <a:pt x="348" y="60"/>
                    </a:lnTo>
                    <a:close/>
                    <a:moveTo>
                      <a:pt x="290" y="58"/>
                    </a:moveTo>
                    <a:lnTo>
                      <a:pt x="292" y="58"/>
                    </a:lnTo>
                    <a:lnTo>
                      <a:pt x="290" y="58"/>
                    </a:lnTo>
                    <a:lnTo>
                      <a:pt x="288" y="58"/>
                    </a:lnTo>
                    <a:lnTo>
                      <a:pt x="290" y="58"/>
                    </a:lnTo>
                    <a:close/>
                    <a:moveTo>
                      <a:pt x="292" y="58"/>
                    </a:moveTo>
                    <a:lnTo>
                      <a:pt x="296" y="58"/>
                    </a:lnTo>
                    <a:lnTo>
                      <a:pt x="298" y="58"/>
                    </a:lnTo>
                    <a:lnTo>
                      <a:pt x="300" y="60"/>
                    </a:lnTo>
                    <a:lnTo>
                      <a:pt x="301" y="60"/>
                    </a:lnTo>
                    <a:lnTo>
                      <a:pt x="303" y="60"/>
                    </a:lnTo>
                    <a:lnTo>
                      <a:pt x="305" y="62"/>
                    </a:lnTo>
                    <a:lnTo>
                      <a:pt x="303" y="62"/>
                    </a:lnTo>
                    <a:lnTo>
                      <a:pt x="303" y="60"/>
                    </a:lnTo>
                    <a:lnTo>
                      <a:pt x="301" y="60"/>
                    </a:lnTo>
                    <a:lnTo>
                      <a:pt x="300" y="60"/>
                    </a:lnTo>
                    <a:lnTo>
                      <a:pt x="296" y="58"/>
                    </a:lnTo>
                    <a:lnTo>
                      <a:pt x="294" y="58"/>
                    </a:lnTo>
                    <a:lnTo>
                      <a:pt x="292" y="58"/>
                    </a:lnTo>
                    <a:close/>
                    <a:moveTo>
                      <a:pt x="332" y="58"/>
                    </a:moveTo>
                    <a:lnTo>
                      <a:pt x="332" y="60"/>
                    </a:lnTo>
                    <a:lnTo>
                      <a:pt x="330" y="58"/>
                    </a:lnTo>
                    <a:lnTo>
                      <a:pt x="332" y="58"/>
                    </a:lnTo>
                    <a:close/>
                    <a:moveTo>
                      <a:pt x="465" y="58"/>
                    </a:moveTo>
                    <a:lnTo>
                      <a:pt x="465" y="56"/>
                    </a:lnTo>
                    <a:lnTo>
                      <a:pt x="465" y="58"/>
                    </a:lnTo>
                    <a:close/>
                    <a:moveTo>
                      <a:pt x="469" y="56"/>
                    </a:moveTo>
                    <a:lnTo>
                      <a:pt x="467" y="56"/>
                    </a:lnTo>
                    <a:lnTo>
                      <a:pt x="469" y="56"/>
                    </a:lnTo>
                    <a:close/>
                    <a:moveTo>
                      <a:pt x="471" y="54"/>
                    </a:moveTo>
                    <a:lnTo>
                      <a:pt x="469" y="54"/>
                    </a:lnTo>
                    <a:lnTo>
                      <a:pt x="471" y="54"/>
                    </a:lnTo>
                    <a:close/>
                    <a:moveTo>
                      <a:pt x="467" y="50"/>
                    </a:moveTo>
                    <a:lnTo>
                      <a:pt x="469" y="50"/>
                    </a:lnTo>
                    <a:lnTo>
                      <a:pt x="469" y="52"/>
                    </a:lnTo>
                    <a:lnTo>
                      <a:pt x="467" y="52"/>
                    </a:lnTo>
                    <a:lnTo>
                      <a:pt x="469" y="52"/>
                    </a:lnTo>
                    <a:lnTo>
                      <a:pt x="471" y="52"/>
                    </a:lnTo>
                    <a:lnTo>
                      <a:pt x="472" y="52"/>
                    </a:lnTo>
                    <a:lnTo>
                      <a:pt x="471" y="52"/>
                    </a:lnTo>
                    <a:lnTo>
                      <a:pt x="469" y="52"/>
                    </a:lnTo>
                    <a:lnTo>
                      <a:pt x="467" y="54"/>
                    </a:lnTo>
                    <a:lnTo>
                      <a:pt x="467" y="56"/>
                    </a:lnTo>
                    <a:lnTo>
                      <a:pt x="465" y="56"/>
                    </a:lnTo>
                    <a:lnTo>
                      <a:pt x="465" y="54"/>
                    </a:lnTo>
                    <a:lnTo>
                      <a:pt x="467" y="52"/>
                    </a:lnTo>
                    <a:lnTo>
                      <a:pt x="465" y="50"/>
                    </a:lnTo>
                    <a:lnTo>
                      <a:pt x="467" y="50"/>
                    </a:lnTo>
                    <a:close/>
                    <a:moveTo>
                      <a:pt x="301" y="50"/>
                    </a:moveTo>
                    <a:lnTo>
                      <a:pt x="303" y="50"/>
                    </a:lnTo>
                    <a:lnTo>
                      <a:pt x="305" y="50"/>
                    </a:lnTo>
                    <a:lnTo>
                      <a:pt x="305" y="52"/>
                    </a:lnTo>
                    <a:lnTo>
                      <a:pt x="307" y="52"/>
                    </a:lnTo>
                    <a:lnTo>
                      <a:pt x="309" y="52"/>
                    </a:lnTo>
                    <a:lnTo>
                      <a:pt x="311" y="52"/>
                    </a:lnTo>
                    <a:lnTo>
                      <a:pt x="313" y="52"/>
                    </a:lnTo>
                    <a:lnTo>
                      <a:pt x="311" y="52"/>
                    </a:lnTo>
                    <a:lnTo>
                      <a:pt x="313" y="52"/>
                    </a:lnTo>
                    <a:lnTo>
                      <a:pt x="313" y="54"/>
                    </a:lnTo>
                    <a:lnTo>
                      <a:pt x="315" y="54"/>
                    </a:lnTo>
                    <a:lnTo>
                      <a:pt x="313" y="54"/>
                    </a:lnTo>
                    <a:lnTo>
                      <a:pt x="315" y="54"/>
                    </a:lnTo>
                    <a:lnTo>
                      <a:pt x="313" y="54"/>
                    </a:lnTo>
                    <a:lnTo>
                      <a:pt x="311" y="54"/>
                    </a:lnTo>
                    <a:lnTo>
                      <a:pt x="309" y="54"/>
                    </a:lnTo>
                    <a:lnTo>
                      <a:pt x="309" y="56"/>
                    </a:lnTo>
                    <a:lnTo>
                      <a:pt x="309" y="54"/>
                    </a:lnTo>
                    <a:lnTo>
                      <a:pt x="311" y="54"/>
                    </a:lnTo>
                    <a:lnTo>
                      <a:pt x="311" y="56"/>
                    </a:lnTo>
                    <a:lnTo>
                      <a:pt x="309" y="56"/>
                    </a:lnTo>
                    <a:lnTo>
                      <a:pt x="309" y="54"/>
                    </a:lnTo>
                    <a:lnTo>
                      <a:pt x="307" y="54"/>
                    </a:lnTo>
                    <a:lnTo>
                      <a:pt x="305" y="54"/>
                    </a:lnTo>
                    <a:lnTo>
                      <a:pt x="303" y="52"/>
                    </a:lnTo>
                    <a:lnTo>
                      <a:pt x="301" y="52"/>
                    </a:lnTo>
                    <a:lnTo>
                      <a:pt x="300" y="52"/>
                    </a:lnTo>
                    <a:lnTo>
                      <a:pt x="300" y="50"/>
                    </a:lnTo>
                    <a:lnTo>
                      <a:pt x="301" y="50"/>
                    </a:lnTo>
                    <a:close/>
                    <a:moveTo>
                      <a:pt x="323" y="52"/>
                    </a:moveTo>
                    <a:lnTo>
                      <a:pt x="321" y="52"/>
                    </a:lnTo>
                    <a:lnTo>
                      <a:pt x="321" y="50"/>
                    </a:lnTo>
                    <a:lnTo>
                      <a:pt x="323" y="52"/>
                    </a:lnTo>
                    <a:close/>
                    <a:moveTo>
                      <a:pt x="436" y="46"/>
                    </a:moveTo>
                    <a:lnTo>
                      <a:pt x="434" y="46"/>
                    </a:lnTo>
                    <a:lnTo>
                      <a:pt x="436" y="46"/>
                    </a:lnTo>
                    <a:close/>
                    <a:moveTo>
                      <a:pt x="432" y="44"/>
                    </a:moveTo>
                    <a:lnTo>
                      <a:pt x="432" y="46"/>
                    </a:lnTo>
                    <a:lnTo>
                      <a:pt x="432" y="44"/>
                    </a:lnTo>
                    <a:close/>
                    <a:moveTo>
                      <a:pt x="432" y="44"/>
                    </a:moveTo>
                    <a:lnTo>
                      <a:pt x="432" y="46"/>
                    </a:lnTo>
                    <a:lnTo>
                      <a:pt x="430" y="46"/>
                    </a:lnTo>
                    <a:lnTo>
                      <a:pt x="432" y="44"/>
                    </a:lnTo>
                    <a:close/>
                    <a:moveTo>
                      <a:pt x="359" y="44"/>
                    </a:moveTo>
                    <a:lnTo>
                      <a:pt x="357" y="44"/>
                    </a:lnTo>
                    <a:lnTo>
                      <a:pt x="359" y="44"/>
                    </a:lnTo>
                    <a:close/>
                    <a:moveTo>
                      <a:pt x="428" y="42"/>
                    </a:moveTo>
                    <a:lnTo>
                      <a:pt x="426" y="42"/>
                    </a:lnTo>
                    <a:lnTo>
                      <a:pt x="428" y="42"/>
                    </a:lnTo>
                    <a:close/>
                    <a:moveTo>
                      <a:pt x="430" y="44"/>
                    </a:moveTo>
                    <a:lnTo>
                      <a:pt x="428" y="44"/>
                    </a:lnTo>
                    <a:lnTo>
                      <a:pt x="430" y="44"/>
                    </a:lnTo>
                    <a:lnTo>
                      <a:pt x="428" y="44"/>
                    </a:lnTo>
                    <a:lnTo>
                      <a:pt x="430" y="42"/>
                    </a:lnTo>
                    <a:lnTo>
                      <a:pt x="430" y="44"/>
                    </a:lnTo>
                    <a:close/>
                    <a:moveTo>
                      <a:pt x="430" y="42"/>
                    </a:moveTo>
                    <a:lnTo>
                      <a:pt x="432" y="42"/>
                    </a:lnTo>
                    <a:lnTo>
                      <a:pt x="432" y="44"/>
                    </a:lnTo>
                    <a:lnTo>
                      <a:pt x="430" y="44"/>
                    </a:lnTo>
                    <a:lnTo>
                      <a:pt x="432" y="44"/>
                    </a:lnTo>
                    <a:lnTo>
                      <a:pt x="430" y="44"/>
                    </a:lnTo>
                    <a:lnTo>
                      <a:pt x="430" y="42"/>
                    </a:lnTo>
                    <a:close/>
                    <a:moveTo>
                      <a:pt x="363" y="42"/>
                    </a:moveTo>
                    <a:lnTo>
                      <a:pt x="361" y="42"/>
                    </a:lnTo>
                    <a:lnTo>
                      <a:pt x="363" y="42"/>
                    </a:lnTo>
                    <a:close/>
                    <a:moveTo>
                      <a:pt x="361" y="42"/>
                    </a:moveTo>
                    <a:lnTo>
                      <a:pt x="359" y="42"/>
                    </a:lnTo>
                    <a:lnTo>
                      <a:pt x="361" y="42"/>
                    </a:lnTo>
                    <a:close/>
                    <a:moveTo>
                      <a:pt x="357" y="42"/>
                    </a:moveTo>
                    <a:lnTo>
                      <a:pt x="355" y="42"/>
                    </a:lnTo>
                    <a:lnTo>
                      <a:pt x="353" y="42"/>
                    </a:lnTo>
                    <a:lnTo>
                      <a:pt x="351" y="42"/>
                    </a:lnTo>
                    <a:lnTo>
                      <a:pt x="353" y="42"/>
                    </a:lnTo>
                    <a:lnTo>
                      <a:pt x="355" y="40"/>
                    </a:lnTo>
                    <a:lnTo>
                      <a:pt x="357" y="42"/>
                    </a:lnTo>
                    <a:close/>
                    <a:moveTo>
                      <a:pt x="444" y="40"/>
                    </a:moveTo>
                    <a:lnTo>
                      <a:pt x="444" y="38"/>
                    </a:lnTo>
                    <a:lnTo>
                      <a:pt x="444" y="40"/>
                    </a:lnTo>
                    <a:close/>
                    <a:moveTo>
                      <a:pt x="330" y="40"/>
                    </a:moveTo>
                    <a:lnTo>
                      <a:pt x="328" y="40"/>
                    </a:lnTo>
                    <a:lnTo>
                      <a:pt x="330" y="40"/>
                    </a:lnTo>
                    <a:lnTo>
                      <a:pt x="332" y="40"/>
                    </a:lnTo>
                    <a:lnTo>
                      <a:pt x="330" y="40"/>
                    </a:lnTo>
                    <a:close/>
                    <a:moveTo>
                      <a:pt x="359" y="40"/>
                    </a:moveTo>
                    <a:lnTo>
                      <a:pt x="361" y="40"/>
                    </a:lnTo>
                    <a:lnTo>
                      <a:pt x="359" y="40"/>
                    </a:lnTo>
                    <a:lnTo>
                      <a:pt x="359" y="42"/>
                    </a:lnTo>
                    <a:lnTo>
                      <a:pt x="357" y="40"/>
                    </a:lnTo>
                    <a:lnTo>
                      <a:pt x="357" y="42"/>
                    </a:lnTo>
                    <a:lnTo>
                      <a:pt x="355" y="40"/>
                    </a:lnTo>
                    <a:lnTo>
                      <a:pt x="357" y="40"/>
                    </a:lnTo>
                    <a:lnTo>
                      <a:pt x="359" y="40"/>
                    </a:lnTo>
                    <a:close/>
                    <a:moveTo>
                      <a:pt x="430" y="38"/>
                    </a:moveTo>
                    <a:lnTo>
                      <a:pt x="428" y="38"/>
                    </a:lnTo>
                    <a:lnTo>
                      <a:pt x="430" y="38"/>
                    </a:lnTo>
                    <a:close/>
                    <a:moveTo>
                      <a:pt x="442" y="38"/>
                    </a:moveTo>
                    <a:lnTo>
                      <a:pt x="440" y="38"/>
                    </a:lnTo>
                    <a:lnTo>
                      <a:pt x="442" y="38"/>
                    </a:lnTo>
                    <a:close/>
                    <a:moveTo>
                      <a:pt x="440" y="38"/>
                    </a:moveTo>
                    <a:lnTo>
                      <a:pt x="438" y="38"/>
                    </a:lnTo>
                    <a:lnTo>
                      <a:pt x="440" y="38"/>
                    </a:lnTo>
                    <a:close/>
                    <a:moveTo>
                      <a:pt x="371" y="38"/>
                    </a:moveTo>
                    <a:lnTo>
                      <a:pt x="369" y="38"/>
                    </a:lnTo>
                    <a:lnTo>
                      <a:pt x="371" y="38"/>
                    </a:lnTo>
                    <a:close/>
                    <a:moveTo>
                      <a:pt x="426" y="38"/>
                    </a:moveTo>
                    <a:lnTo>
                      <a:pt x="426" y="37"/>
                    </a:lnTo>
                    <a:lnTo>
                      <a:pt x="428" y="37"/>
                    </a:lnTo>
                    <a:lnTo>
                      <a:pt x="428" y="38"/>
                    </a:lnTo>
                    <a:lnTo>
                      <a:pt x="426" y="38"/>
                    </a:lnTo>
                    <a:close/>
                    <a:moveTo>
                      <a:pt x="398" y="38"/>
                    </a:moveTo>
                    <a:lnTo>
                      <a:pt x="396" y="38"/>
                    </a:lnTo>
                    <a:lnTo>
                      <a:pt x="398" y="37"/>
                    </a:lnTo>
                    <a:lnTo>
                      <a:pt x="398" y="38"/>
                    </a:lnTo>
                    <a:close/>
                    <a:moveTo>
                      <a:pt x="403" y="37"/>
                    </a:moveTo>
                    <a:lnTo>
                      <a:pt x="405" y="37"/>
                    </a:lnTo>
                    <a:lnTo>
                      <a:pt x="403" y="37"/>
                    </a:lnTo>
                    <a:close/>
                    <a:moveTo>
                      <a:pt x="394" y="37"/>
                    </a:moveTo>
                    <a:lnTo>
                      <a:pt x="392" y="37"/>
                    </a:lnTo>
                    <a:lnTo>
                      <a:pt x="390" y="37"/>
                    </a:lnTo>
                    <a:lnTo>
                      <a:pt x="392" y="37"/>
                    </a:lnTo>
                    <a:lnTo>
                      <a:pt x="394" y="37"/>
                    </a:lnTo>
                    <a:close/>
                    <a:moveTo>
                      <a:pt x="319" y="35"/>
                    </a:moveTo>
                    <a:lnTo>
                      <a:pt x="317" y="37"/>
                    </a:lnTo>
                    <a:lnTo>
                      <a:pt x="317" y="35"/>
                    </a:lnTo>
                    <a:lnTo>
                      <a:pt x="319" y="35"/>
                    </a:lnTo>
                    <a:close/>
                    <a:moveTo>
                      <a:pt x="398" y="35"/>
                    </a:moveTo>
                    <a:lnTo>
                      <a:pt x="396" y="35"/>
                    </a:lnTo>
                    <a:lnTo>
                      <a:pt x="398" y="35"/>
                    </a:lnTo>
                    <a:close/>
                    <a:moveTo>
                      <a:pt x="411" y="35"/>
                    </a:moveTo>
                    <a:lnTo>
                      <a:pt x="409" y="35"/>
                    </a:lnTo>
                    <a:lnTo>
                      <a:pt x="411" y="35"/>
                    </a:lnTo>
                    <a:close/>
                    <a:moveTo>
                      <a:pt x="417" y="33"/>
                    </a:moveTo>
                    <a:lnTo>
                      <a:pt x="417" y="31"/>
                    </a:lnTo>
                    <a:lnTo>
                      <a:pt x="419" y="31"/>
                    </a:lnTo>
                    <a:lnTo>
                      <a:pt x="417" y="31"/>
                    </a:lnTo>
                    <a:lnTo>
                      <a:pt x="417" y="33"/>
                    </a:lnTo>
                    <a:close/>
                    <a:moveTo>
                      <a:pt x="309" y="27"/>
                    </a:moveTo>
                    <a:lnTo>
                      <a:pt x="311" y="27"/>
                    </a:lnTo>
                    <a:lnTo>
                      <a:pt x="309" y="27"/>
                    </a:lnTo>
                    <a:close/>
                    <a:moveTo>
                      <a:pt x="307" y="27"/>
                    </a:moveTo>
                    <a:lnTo>
                      <a:pt x="309" y="27"/>
                    </a:lnTo>
                    <a:lnTo>
                      <a:pt x="307" y="27"/>
                    </a:lnTo>
                    <a:close/>
                    <a:moveTo>
                      <a:pt x="332" y="23"/>
                    </a:moveTo>
                    <a:lnTo>
                      <a:pt x="330" y="23"/>
                    </a:lnTo>
                    <a:lnTo>
                      <a:pt x="328" y="23"/>
                    </a:lnTo>
                    <a:lnTo>
                      <a:pt x="330" y="23"/>
                    </a:lnTo>
                    <a:lnTo>
                      <a:pt x="328" y="23"/>
                    </a:lnTo>
                    <a:lnTo>
                      <a:pt x="332" y="23"/>
                    </a:lnTo>
                    <a:close/>
                    <a:moveTo>
                      <a:pt x="415" y="19"/>
                    </a:moveTo>
                    <a:lnTo>
                      <a:pt x="413" y="19"/>
                    </a:lnTo>
                    <a:lnTo>
                      <a:pt x="415" y="19"/>
                    </a:lnTo>
                    <a:close/>
                    <a:moveTo>
                      <a:pt x="424" y="17"/>
                    </a:moveTo>
                    <a:lnTo>
                      <a:pt x="426" y="17"/>
                    </a:lnTo>
                    <a:lnTo>
                      <a:pt x="424" y="17"/>
                    </a:lnTo>
                    <a:lnTo>
                      <a:pt x="424" y="19"/>
                    </a:lnTo>
                    <a:lnTo>
                      <a:pt x="424" y="17"/>
                    </a:lnTo>
                    <a:lnTo>
                      <a:pt x="423" y="19"/>
                    </a:lnTo>
                    <a:lnTo>
                      <a:pt x="423" y="17"/>
                    </a:lnTo>
                    <a:lnTo>
                      <a:pt x="424" y="17"/>
                    </a:lnTo>
                    <a:close/>
                    <a:moveTo>
                      <a:pt x="426" y="15"/>
                    </a:moveTo>
                    <a:lnTo>
                      <a:pt x="428" y="17"/>
                    </a:lnTo>
                    <a:lnTo>
                      <a:pt x="426" y="17"/>
                    </a:lnTo>
                    <a:lnTo>
                      <a:pt x="426" y="15"/>
                    </a:lnTo>
                    <a:close/>
                    <a:moveTo>
                      <a:pt x="326" y="15"/>
                    </a:moveTo>
                    <a:lnTo>
                      <a:pt x="325" y="15"/>
                    </a:lnTo>
                    <a:lnTo>
                      <a:pt x="326" y="15"/>
                    </a:lnTo>
                    <a:lnTo>
                      <a:pt x="325" y="15"/>
                    </a:lnTo>
                    <a:lnTo>
                      <a:pt x="326" y="15"/>
                    </a:lnTo>
                    <a:close/>
                    <a:moveTo>
                      <a:pt x="426" y="15"/>
                    </a:moveTo>
                    <a:lnTo>
                      <a:pt x="424" y="15"/>
                    </a:lnTo>
                    <a:lnTo>
                      <a:pt x="426" y="15"/>
                    </a:lnTo>
                    <a:close/>
                    <a:moveTo>
                      <a:pt x="426" y="15"/>
                    </a:moveTo>
                    <a:lnTo>
                      <a:pt x="424" y="15"/>
                    </a:lnTo>
                    <a:lnTo>
                      <a:pt x="426" y="15"/>
                    </a:lnTo>
                    <a:close/>
                    <a:moveTo>
                      <a:pt x="346" y="4"/>
                    </a:moveTo>
                    <a:lnTo>
                      <a:pt x="348" y="4"/>
                    </a:lnTo>
                    <a:lnTo>
                      <a:pt x="346" y="4"/>
                    </a:lnTo>
                    <a:close/>
                    <a:moveTo>
                      <a:pt x="346" y="4"/>
                    </a:moveTo>
                    <a:lnTo>
                      <a:pt x="348" y="4"/>
                    </a:lnTo>
                    <a:lnTo>
                      <a:pt x="346" y="4"/>
                    </a:lnTo>
                    <a:close/>
                    <a:moveTo>
                      <a:pt x="344" y="4"/>
                    </a:moveTo>
                    <a:lnTo>
                      <a:pt x="346" y="4"/>
                    </a:lnTo>
                    <a:lnTo>
                      <a:pt x="344" y="4"/>
                    </a:lnTo>
                    <a:close/>
                    <a:moveTo>
                      <a:pt x="340" y="2"/>
                    </a:moveTo>
                    <a:lnTo>
                      <a:pt x="340" y="4"/>
                    </a:lnTo>
                    <a:lnTo>
                      <a:pt x="340" y="2"/>
                    </a:lnTo>
                    <a:close/>
                    <a:moveTo>
                      <a:pt x="342" y="2"/>
                    </a:moveTo>
                    <a:lnTo>
                      <a:pt x="340" y="2"/>
                    </a:lnTo>
                    <a:lnTo>
                      <a:pt x="342" y="2"/>
                    </a:lnTo>
                    <a:close/>
                    <a:moveTo>
                      <a:pt x="373" y="0"/>
                    </a:moveTo>
                    <a:lnTo>
                      <a:pt x="371" y="0"/>
                    </a:lnTo>
                    <a:lnTo>
                      <a:pt x="373" y="0"/>
                    </a:lnTo>
                    <a:close/>
                    <a:moveTo>
                      <a:pt x="373" y="0"/>
                    </a:moveTo>
                    <a:lnTo>
                      <a:pt x="371" y="0"/>
                    </a:lnTo>
                    <a:lnTo>
                      <a:pt x="373" y="0"/>
                    </a:lnTo>
                    <a:close/>
                    <a:moveTo>
                      <a:pt x="378" y="0"/>
                    </a:moveTo>
                    <a:lnTo>
                      <a:pt x="376" y="0"/>
                    </a:lnTo>
                    <a:lnTo>
                      <a:pt x="378" y="0"/>
                    </a:lnTo>
                    <a:close/>
                    <a:moveTo>
                      <a:pt x="374" y="0"/>
                    </a:moveTo>
                    <a:lnTo>
                      <a:pt x="376" y="0"/>
                    </a:lnTo>
                    <a:lnTo>
                      <a:pt x="374" y="0"/>
                    </a:lnTo>
                    <a:close/>
                    <a:moveTo>
                      <a:pt x="378" y="0"/>
                    </a:moveTo>
                    <a:lnTo>
                      <a:pt x="380" y="0"/>
                    </a:lnTo>
                    <a:lnTo>
                      <a:pt x="378"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8" name="Freeform 55"/>
              <p:cNvSpPr>
                <a:spLocks/>
              </p:cNvSpPr>
              <p:nvPr/>
            </p:nvSpPr>
            <p:spPr bwMode="auto">
              <a:xfrm>
                <a:off x="2088122" y="3008297"/>
                <a:ext cx="390582" cy="297669"/>
              </a:xfrm>
              <a:custGeom>
                <a:avLst/>
                <a:gdLst>
                  <a:gd name="T0" fmla="*/ 137 w 227"/>
                  <a:gd name="T1" fmla="*/ 21 h 173"/>
                  <a:gd name="T2" fmla="*/ 133 w 227"/>
                  <a:gd name="T3" fmla="*/ 29 h 173"/>
                  <a:gd name="T4" fmla="*/ 137 w 227"/>
                  <a:gd name="T5" fmla="*/ 40 h 173"/>
                  <a:gd name="T6" fmla="*/ 141 w 227"/>
                  <a:gd name="T7" fmla="*/ 46 h 173"/>
                  <a:gd name="T8" fmla="*/ 150 w 227"/>
                  <a:gd name="T9" fmla="*/ 61 h 173"/>
                  <a:gd name="T10" fmla="*/ 164 w 227"/>
                  <a:gd name="T11" fmla="*/ 69 h 173"/>
                  <a:gd name="T12" fmla="*/ 175 w 227"/>
                  <a:gd name="T13" fmla="*/ 77 h 173"/>
                  <a:gd name="T14" fmla="*/ 185 w 227"/>
                  <a:gd name="T15" fmla="*/ 82 h 173"/>
                  <a:gd name="T16" fmla="*/ 193 w 227"/>
                  <a:gd name="T17" fmla="*/ 92 h 173"/>
                  <a:gd name="T18" fmla="*/ 204 w 227"/>
                  <a:gd name="T19" fmla="*/ 106 h 173"/>
                  <a:gd name="T20" fmla="*/ 210 w 227"/>
                  <a:gd name="T21" fmla="*/ 111 h 173"/>
                  <a:gd name="T22" fmla="*/ 216 w 227"/>
                  <a:gd name="T23" fmla="*/ 119 h 173"/>
                  <a:gd name="T24" fmla="*/ 221 w 227"/>
                  <a:gd name="T25" fmla="*/ 132 h 173"/>
                  <a:gd name="T26" fmla="*/ 223 w 227"/>
                  <a:gd name="T27" fmla="*/ 144 h 173"/>
                  <a:gd name="T28" fmla="*/ 214 w 227"/>
                  <a:gd name="T29" fmla="*/ 146 h 173"/>
                  <a:gd name="T30" fmla="*/ 208 w 227"/>
                  <a:gd name="T31" fmla="*/ 150 h 173"/>
                  <a:gd name="T32" fmla="*/ 204 w 227"/>
                  <a:gd name="T33" fmla="*/ 157 h 173"/>
                  <a:gd name="T34" fmla="*/ 185 w 227"/>
                  <a:gd name="T35" fmla="*/ 161 h 173"/>
                  <a:gd name="T36" fmla="*/ 171 w 227"/>
                  <a:gd name="T37" fmla="*/ 159 h 173"/>
                  <a:gd name="T38" fmla="*/ 152 w 227"/>
                  <a:gd name="T39" fmla="*/ 159 h 173"/>
                  <a:gd name="T40" fmla="*/ 127 w 227"/>
                  <a:gd name="T41" fmla="*/ 156 h 173"/>
                  <a:gd name="T42" fmla="*/ 112 w 227"/>
                  <a:gd name="T43" fmla="*/ 156 h 173"/>
                  <a:gd name="T44" fmla="*/ 104 w 227"/>
                  <a:gd name="T45" fmla="*/ 157 h 173"/>
                  <a:gd name="T46" fmla="*/ 96 w 227"/>
                  <a:gd name="T47" fmla="*/ 169 h 173"/>
                  <a:gd name="T48" fmla="*/ 87 w 227"/>
                  <a:gd name="T49" fmla="*/ 165 h 173"/>
                  <a:gd name="T50" fmla="*/ 77 w 227"/>
                  <a:gd name="T51" fmla="*/ 163 h 173"/>
                  <a:gd name="T52" fmla="*/ 66 w 227"/>
                  <a:gd name="T53" fmla="*/ 163 h 173"/>
                  <a:gd name="T54" fmla="*/ 58 w 227"/>
                  <a:gd name="T55" fmla="*/ 163 h 173"/>
                  <a:gd name="T56" fmla="*/ 50 w 227"/>
                  <a:gd name="T57" fmla="*/ 167 h 173"/>
                  <a:gd name="T58" fmla="*/ 43 w 227"/>
                  <a:gd name="T59" fmla="*/ 163 h 173"/>
                  <a:gd name="T60" fmla="*/ 37 w 227"/>
                  <a:gd name="T61" fmla="*/ 163 h 173"/>
                  <a:gd name="T62" fmla="*/ 33 w 227"/>
                  <a:gd name="T63" fmla="*/ 159 h 173"/>
                  <a:gd name="T64" fmla="*/ 27 w 227"/>
                  <a:gd name="T65" fmla="*/ 150 h 173"/>
                  <a:gd name="T66" fmla="*/ 33 w 227"/>
                  <a:gd name="T67" fmla="*/ 140 h 173"/>
                  <a:gd name="T68" fmla="*/ 37 w 227"/>
                  <a:gd name="T69" fmla="*/ 136 h 173"/>
                  <a:gd name="T70" fmla="*/ 27 w 227"/>
                  <a:gd name="T71" fmla="*/ 125 h 173"/>
                  <a:gd name="T72" fmla="*/ 18 w 227"/>
                  <a:gd name="T73" fmla="*/ 123 h 173"/>
                  <a:gd name="T74" fmla="*/ 14 w 227"/>
                  <a:gd name="T75" fmla="*/ 117 h 173"/>
                  <a:gd name="T76" fmla="*/ 2 w 227"/>
                  <a:gd name="T77" fmla="*/ 117 h 173"/>
                  <a:gd name="T78" fmla="*/ 6 w 227"/>
                  <a:gd name="T79" fmla="*/ 107 h 173"/>
                  <a:gd name="T80" fmla="*/ 6 w 227"/>
                  <a:gd name="T81" fmla="*/ 92 h 173"/>
                  <a:gd name="T82" fmla="*/ 18 w 227"/>
                  <a:gd name="T83" fmla="*/ 90 h 173"/>
                  <a:gd name="T84" fmla="*/ 16 w 227"/>
                  <a:gd name="T85" fmla="*/ 75 h 173"/>
                  <a:gd name="T86" fmla="*/ 23 w 227"/>
                  <a:gd name="T87" fmla="*/ 69 h 173"/>
                  <a:gd name="T88" fmla="*/ 33 w 227"/>
                  <a:gd name="T89" fmla="*/ 69 h 173"/>
                  <a:gd name="T90" fmla="*/ 37 w 227"/>
                  <a:gd name="T91" fmla="*/ 61 h 173"/>
                  <a:gd name="T92" fmla="*/ 39 w 227"/>
                  <a:gd name="T93" fmla="*/ 48 h 173"/>
                  <a:gd name="T94" fmla="*/ 39 w 227"/>
                  <a:gd name="T95" fmla="*/ 38 h 173"/>
                  <a:gd name="T96" fmla="*/ 35 w 227"/>
                  <a:gd name="T97" fmla="*/ 27 h 173"/>
                  <a:gd name="T98" fmla="*/ 39 w 227"/>
                  <a:gd name="T99" fmla="*/ 11 h 173"/>
                  <a:gd name="T100" fmla="*/ 47 w 227"/>
                  <a:gd name="T101" fmla="*/ 6 h 173"/>
                  <a:gd name="T102" fmla="*/ 56 w 227"/>
                  <a:gd name="T103" fmla="*/ 0 h 173"/>
                  <a:gd name="T104" fmla="*/ 62 w 227"/>
                  <a:gd name="T105" fmla="*/ 4 h 173"/>
                  <a:gd name="T106" fmla="*/ 73 w 227"/>
                  <a:gd name="T107" fmla="*/ 2 h 173"/>
                  <a:gd name="T108" fmla="*/ 81 w 227"/>
                  <a:gd name="T109" fmla="*/ 7 h 173"/>
                  <a:gd name="T110" fmla="*/ 87 w 227"/>
                  <a:gd name="T111" fmla="*/ 6 h 173"/>
                  <a:gd name="T112" fmla="*/ 93 w 227"/>
                  <a:gd name="T113" fmla="*/ 11 h 173"/>
                  <a:gd name="T114" fmla="*/ 102 w 227"/>
                  <a:gd name="T115" fmla="*/ 19 h 173"/>
                  <a:gd name="T116" fmla="*/ 112 w 227"/>
                  <a:gd name="T117" fmla="*/ 15 h 173"/>
                  <a:gd name="T118" fmla="*/ 116 w 227"/>
                  <a:gd name="T119" fmla="*/ 7 h 173"/>
                  <a:gd name="T120" fmla="*/ 129 w 227"/>
                  <a:gd name="T121" fmla="*/ 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173">
                    <a:moveTo>
                      <a:pt x="137" y="9"/>
                    </a:moveTo>
                    <a:lnTo>
                      <a:pt x="137" y="11"/>
                    </a:lnTo>
                    <a:lnTo>
                      <a:pt x="137" y="13"/>
                    </a:lnTo>
                    <a:lnTo>
                      <a:pt x="137" y="15"/>
                    </a:lnTo>
                    <a:lnTo>
                      <a:pt x="137" y="17"/>
                    </a:lnTo>
                    <a:lnTo>
                      <a:pt x="135" y="19"/>
                    </a:lnTo>
                    <a:lnTo>
                      <a:pt x="137" y="19"/>
                    </a:lnTo>
                    <a:lnTo>
                      <a:pt x="137" y="21"/>
                    </a:lnTo>
                    <a:lnTo>
                      <a:pt x="135" y="21"/>
                    </a:lnTo>
                    <a:lnTo>
                      <a:pt x="135" y="23"/>
                    </a:lnTo>
                    <a:lnTo>
                      <a:pt x="135" y="25"/>
                    </a:lnTo>
                    <a:lnTo>
                      <a:pt x="133" y="25"/>
                    </a:lnTo>
                    <a:lnTo>
                      <a:pt x="135" y="25"/>
                    </a:lnTo>
                    <a:lnTo>
                      <a:pt x="135" y="27"/>
                    </a:lnTo>
                    <a:lnTo>
                      <a:pt x="133" y="27"/>
                    </a:lnTo>
                    <a:lnTo>
                      <a:pt x="133" y="29"/>
                    </a:lnTo>
                    <a:lnTo>
                      <a:pt x="133" y="31"/>
                    </a:lnTo>
                    <a:lnTo>
                      <a:pt x="133" y="32"/>
                    </a:lnTo>
                    <a:lnTo>
                      <a:pt x="135" y="32"/>
                    </a:lnTo>
                    <a:lnTo>
                      <a:pt x="135" y="34"/>
                    </a:lnTo>
                    <a:lnTo>
                      <a:pt x="135" y="36"/>
                    </a:lnTo>
                    <a:lnTo>
                      <a:pt x="135" y="38"/>
                    </a:lnTo>
                    <a:lnTo>
                      <a:pt x="137" y="38"/>
                    </a:lnTo>
                    <a:lnTo>
                      <a:pt x="137" y="40"/>
                    </a:lnTo>
                    <a:lnTo>
                      <a:pt x="137" y="42"/>
                    </a:lnTo>
                    <a:lnTo>
                      <a:pt x="135" y="40"/>
                    </a:lnTo>
                    <a:lnTo>
                      <a:pt x="133" y="40"/>
                    </a:lnTo>
                    <a:lnTo>
                      <a:pt x="133" y="42"/>
                    </a:lnTo>
                    <a:lnTo>
                      <a:pt x="135" y="44"/>
                    </a:lnTo>
                    <a:lnTo>
                      <a:pt x="137" y="46"/>
                    </a:lnTo>
                    <a:lnTo>
                      <a:pt x="139" y="46"/>
                    </a:lnTo>
                    <a:lnTo>
                      <a:pt x="141" y="46"/>
                    </a:lnTo>
                    <a:lnTo>
                      <a:pt x="143" y="48"/>
                    </a:lnTo>
                    <a:lnTo>
                      <a:pt x="146" y="48"/>
                    </a:lnTo>
                    <a:lnTo>
                      <a:pt x="150" y="50"/>
                    </a:lnTo>
                    <a:lnTo>
                      <a:pt x="148" y="54"/>
                    </a:lnTo>
                    <a:lnTo>
                      <a:pt x="148" y="56"/>
                    </a:lnTo>
                    <a:lnTo>
                      <a:pt x="150" y="56"/>
                    </a:lnTo>
                    <a:lnTo>
                      <a:pt x="150" y="59"/>
                    </a:lnTo>
                    <a:lnTo>
                      <a:pt x="150" y="61"/>
                    </a:lnTo>
                    <a:lnTo>
                      <a:pt x="150" y="63"/>
                    </a:lnTo>
                    <a:lnTo>
                      <a:pt x="154" y="69"/>
                    </a:lnTo>
                    <a:lnTo>
                      <a:pt x="154" y="71"/>
                    </a:lnTo>
                    <a:lnTo>
                      <a:pt x="156" y="71"/>
                    </a:lnTo>
                    <a:lnTo>
                      <a:pt x="158" y="71"/>
                    </a:lnTo>
                    <a:lnTo>
                      <a:pt x="160" y="69"/>
                    </a:lnTo>
                    <a:lnTo>
                      <a:pt x="162" y="69"/>
                    </a:lnTo>
                    <a:lnTo>
                      <a:pt x="164" y="69"/>
                    </a:lnTo>
                    <a:lnTo>
                      <a:pt x="166" y="69"/>
                    </a:lnTo>
                    <a:lnTo>
                      <a:pt x="166" y="73"/>
                    </a:lnTo>
                    <a:lnTo>
                      <a:pt x="168" y="75"/>
                    </a:lnTo>
                    <a:lnTo>
                      <a:pt x="168" y="77"/>
                    </a:lnTo>
                    <a:lnTo>
                      <a:pt x="168" y="79"/>
                    </a:lnTo>
                    <a:lnTo>
                      <a:pt x="169" y="77"/>
                    </a:lnTo>
                    <a:lnTo>
                      <a:pt x="173" y="77"/>
                    </a:lnTo>
                    <a:lnTo>
                      <a:pt x="175" y="77"/>
                    </a:lnTo>
                    <a:lnTo>
                      <a:pt x="175" y="75"/>
                    </a:lnTo>
                    <a:lnTo>
                      <a:pt x="177" y="75"/>
                    </a:lnTo>
                    <a:lnTo>
                      <a:pt x="177" y="77"/>
                    </a:lnTo>
                    <a:lnTo>
                      <a:pt x="179" y="77"/>
                    </a:lnTo>
                    <a:lnTo>
                      <a:pt x="177" y="81"/>
                    </a:lnTo>
                    <a:lnTo>
                      <a:pt x="183" y="81"/>
                    </a:lnTo>
                    <a:lnTo>
                      <a:pt x="185" y="81"/>
                    </a:lnTo>
                    <a:lnTo>
                      <a:pt x="185" y="82"/>
                    </a:lnTo>
                    <a:lnTo>
                      <a:pt x="187" y="82"/>
                    </a:lnTo>
                    <a:lnTo>
                      <a:pt x="189" y="84"/>
                    </a:lnTo>
                    <a:lnTo>
                      <a:pt x="193" y="84"/>
                    </a:lnTo>
                    <a:lnTo>
                      <a:pt x="194" y="86"/>
                    </a:lnTo>
                    <a:lnTo>
                      <a:pt x="193" y="86"/>
                    </a:lnTo>
                    <a:lnTo>
                      <a:pt x="193" y="90"/>
                    </a:lnTo>
                    <a:lnTo>
                      <a:pt x="194" y="92"/>
                    </a:lnTo>
                    <a:lnTo>
                      <a:pt x="193" y="92"/>
                    </a:lnTo>
                    <a:lnTo>
                      <a:pt x="194" y="96"/>
                    </a:lnTo>
                    <a:lnTo>
                      <a:pt x="194" y="102"/>
                    </a:lnTo>
                    <a:lnTo>
                      <a:pt x="194" y="104"/>
                    </a:lnTo>
                    <a:lnTo>
                      <a:pt x="198" y="104"/>
                    </a:lnTo>
                    <a:lnTo>
                      <a:pt x="198" y="106"/>
                    </a:lnTo>
                    <a:lnTo>
                      <a:pt x="200" y="104"/>
                    </a:lnTo>
                    <a:lnTo>
                      <a:pt x="200" y="106"/>
                    </a:lnTo>
                    <a:lnTo>
                      <a:pt x="204" y="106"/>
                    </a:lnTo>
                    <a:lnTo>
                      <a:pt x="206" y="106"/>
                    </a:lnTo>
                    <a:lnTo>
                      <a:pt x="208" y="106"/>
                    </a:lnTo>
                    <a:lnTo>
                      <a:pt x="208" y="107"/>
                    </a:lnTo>
                    <a:lnTo>
                      <a:pt x="206" y="107"/>
                    </a:lnTo>
                    <a:lnTo>
                      <a:pt x="206" y="109"/>
                    </a:lnTo>
                    <a:lnTo>
                      <a:pt x="208" y="109"/>
                    </a:lnTo>
                    <a:lnTo>
                      <a:pt x="208" y="111"/>
                    </a:lnTo>
                    <a:lnTo>
                      <a:pt x="210" y="111"/>
                    </a:lnTo>
                    <a:lnTo>
                      <a:pt x="212" y="109"/>
                    </a:lnTo>
                    <a:lnTo>
                      <a:pt x="214" y="109"/>
                    </a:lnTo>
                    <a:lnTo>
                      <a:pt x="216" y="109"/>
                    </a:lnTo>
                    <a:lnTo>
                      <a:pt x="218" y="109"/>
                    </a:lnTo>
                    <a:lnTo>
                      <a:pt x="218" y="111"/>
                    </a:lnTo>
                    <a:lnTo>
                      <a:pt x="216" y="115"/>
                    </a:lnTo>
                    <a:lnTo>
                      <a:pt x="216" y="117"/>
                    </a:lnTo>
                    <a:lnTo>
                      <a:pt x="216" y="119"/>
                    </a:lnTo>
                    <a:lnTo>
                      <a:pt x="218" y="119"/>
                    </a:lnTo>
                    <a:lnTo>
                      <a:pt x="219" y="121"/>
                    </a:lnTo>
                    <a:lnTo>
                      <a:pt x="219" y="123"/>
                    </a:lnTo>
                    <a:lnTo>
                      <a:pt x="219" y="125"/>
                    </a:lnTo>
                    <a:lnTo>
                      <a:pt x="219" y="127"/>
                    </a:lnTo>
                    <a:lnTo>
                      <a:pt x="221" y="129"/>
                    </a:lnTo>
                    <a:lnTo>
                      <a:pt x="221" y="131"/>
                    </a:lnTo>
                    <a:lnTo>
                      <a:pt x="221" y="132"/>
                    </a:lnTo>
                    <a:lnTo>
                      <a:pt x="223" y="132"/>
                    </a:lnTo>
                    <a:lnTo>
                      <a:pt x="225" y="132"/>
                    </a:lnTo>
                    <a:lnTo>
                      <a:pt x="227" y="136"/>
                    </a:lnTo>
                    <a:lnTo>
                      <a:pt x="227" y="138"/>
                    </a:lnTo>
                    <a:lnTo>
                      <a:pt x="227" y="140"/>
                    </a:lnTo>
                    <a:lnTo>
                      <a:pt x="227" y="142"/>
                    </a:lnTo>
                    <a:lnTo>
                      <a:pt x="225" y="142"/>
                    </a:lnTo>
                    <a:lnTo>
                      <a:pt x="223" y="144"/>
                    </a:lnTo>
                    <a:lnTo>
                      <a:pt x="223" y="146"/>
                    </a:lnTo>
                    <a:lnTo>
                      <a:pt x="223" y="148"/>
                    </a:lnTo>
                    <a:lnTo>
                      <a:pt x="221" y="148"/>
                    </a:lnTo>
                    <a:lnTo>
                      <a:pt x="221" y="146"/>
                    </a:lnTo>
                    <a:lnTo>
                      <a:pt x="219" y="146"/>
                    </a:lnTo>
                    <a:lnTo>
                      <a:pt x="218" y="146"/>
                    </a:lnTo>
                    <a:lnTo>
                      <a:pt x="214" y="144"/>
                    </a:lnTo>
                    <a:lnTo>
                      <a:pt x="214" y="146"/>
                    </a:lnTo>
                    <a:lnTo>
                      <a:pt x="212" y="146"/>
                    </a:lnTo>
                    <a:lnTo>
                      <a:pt x="212" y="144"/>
                    </a:lnTo>
                    <a:lnTo>
                      <a:pt x="210" y="144"/>
                    </a:lnTo>
                    <a:lnTo>
                      <a:pt x="208" y="144"/>
                    </a:lnTo>
                    <a:lnTo>
                      <a:pt x="208" y="146"/>
                    </a:lnTo>
                    <a:lnTo>
                      <a:pt x="208" y="148"/>
                    </a:lnTo>
                    <a:lnTo>
                      <a:pt x="208" y="146"/>
                    </a:lnTo>
                    <a:lnTo>
                      <a:pt x="208" y="150"/>
                    </a:lnTo>
                    <a:lnTo>
                      <a:pt x="210" y="150"/>
                    </a:lnTo>
                    <a:lnTo>
                      <a:pt x="208" y="152"/>
                    </a:lnTo>
                    <a:lnTo>
                      <a:pt x="210" y="152"/>
                    </a:lnTo>
                    <a:lnTo>
                      <a:pt x="210" y="154"/>
                    </a:lnTo>
                    <a:lnTo>
                      <a:pt x="208" y="154"/>
                    </a:lnTo>
                    <a:lnTo>
                      <a:pt x="206" y="156"/>
                    </a:lnTo>
                    <a:lnTo>
                      <a:pt x="206" y="157"/>
                    </a:lnTo>
                    <a:lnTo>
                      <a:pt x="204" y="157"/>
                    </a:lnTo>
                    <a:lnTo>
                      <a:pt x="206" y="159"/>
                    </a:lnTo>
                    <a:lnTo>
                      <a:pt x="198" y="159"/>
                    </a:lnTo>
                    <a:lnTo>
                      <a:pt x="196" y="156"/>
                    </a:lnTo>
                    <a:lnTo>
                      <a:pt x="193" y="156"/>
                    </a:lnTo>
                    <a:lnTo>
                      <a:pt x="191" y="157"/>
                    </a:lnTo>
                    <a:lnTo>
                      <a:pt x="189" y="161"/>
                    </a:lnTo>
                    <a:lnTo>
                      <a:pt x="187" y="161"/>
                    </a:lnTo>
                    <a:lnTo>
                      <a:pt x="185" y="161"/>
                    </a:lnTo>
                    <a:lnTo>
                      <a:pt x="183" y="161"/>
                    </a:lnTo>
                    <a:lnTo>
                      <a:pt x="181" y="161"/>
                    </a:lnTo>
                    <a:lnTo>
                      <a:pt x="181" y="159"/>
                    </a:lnTo>
                    <a:lnTo>
                      <a:pt x="179" y="159"/>
                    </a:lnTo>
                    <a:lnTo>
                      <a:pt x="177" y="159"/>
                    </a:lnTo>
                    <a:lnTo>
                      <a:pt x="175" y="157"/>
                    </a:lnTo>
                    <a:lnTo>
                      <a:pt x="173" y="157"/>
                    </a:lnTo>
                    <a:lnTo>
                      <a:pt x="171" y="159"/>
                    </a:lnTo>
                    <a:lnTo>
                      <a:pt x="169" y="159"/>
                    </a:lnTo>
                    <a:lnTo>
                      <a:pt x="168" y="159"/>
                    </a:lnTo>
                    <a:lnTo>
                      <a:pt x="166" y="159"/>
                    </a:lnTo>
                    <a:lnTo>
                      <a:pt x="164" y="161"/>
                    </a:lnTo>
                    <a:lnTo>
                      <a:pt x="162" y="159"/>
                    </a:lnTo>
                    <a:lnTo>
                      <a:pt x="160" y="159"/>
                    </a:lnTo>
                    <a:lnTo>
                      <a:pt x="154" y="159"/>
                    </a:lnTo>
                    <a:lnTo>
                      <a:pt x="152" y="159"/>
                    </a:lnTo>
                    <a:lnTo>
                      <a:pt x="150" y="159"/>
                    </a:lnTo>
                    <a:lnTo>
                      <a:pt x="141" y="159"/>
                    </a:lnTo>
                    <a:lnTo>
                      <a:pt x="129" y="161"/>
                    </a:lnTo>
                    <a:lnTo>
                      <a:pt x="127" y="161"/>
                    </a:lnTo>
                    <a:lnTo>
                      <a:pt x="125" y="159"/>
                    </a:lnTo>
                    <a:lnTo>
                      <a:pt x="127" y="159"/>
                    </a:lnTo>
                    <a:lnTo>
                      <a:pt x="127" y="157"/>
                    </a:lnTo>
                    <a:lnTo>
                      <a:pt x="127" y="156"/>
                    </a:lnTo>
                    <a:lnTo>
                      <a:pt x="125" y="154"/>
                    </a:lnTo>
                    <a:lnTo>
                      <a:pt x="123" y="156"/>
                    </a:lnTo>
                    <a:lnTo>
                      <a:pt x="121" y="157"/>
                    </a:lnTo>
                    <a:lnTo>
                      <a:pt x="120" y="159"/>
                    </a:lnTo>
                    <a:lnTo>
                      <a:pt x="118" y="159"/>
                    </a:lnTo>
                    <a:lnTo>
                      <a:pt x="116" y="156"/>
                    </a:lnTo>
                    <a:lnTo>
                      <a:pt x="114" y="156"/>
                    </a:lnTo>
                    <a:lnTo>
                      <a:pt x="112" y="156"/>
                    </a:lnTo>
                    <a:lnTo>
                      <a:pt x="112" y="154"/>
                    </a:lnTo>
                    <a:lnTo>
                      <a:pt x="110" y="156"/>
                    </a:lnTo>
                    <a:lnTo>
                      <a:pt x="110" y="157"/>
                    </a:lnTo>
                    <a:lnTo>
                      <a:pt x="110" y="159"/>
                    </a:lnTo>
                    <a:lnTo>
                      <a:pt x="108" y="159"/>
                    </a:lnTo>
                    <a:lnTo>
                      <a:pt x="108" y="157"/>
                    </a:lnTo>
                    <a:lnTo>
                      <a:pt x="106" y="157"/>
                    </a:lnTo>
                    <a:lnTo>
                      <a:pt x="104" y="157"/>
                    </a:lnTo>
                    <a:lnTo>
                      <a:pt x="102" y="157"/>
                    </a:lnTo>
                    <a:lnTo>
                      <a:pt x="100" y="157"/>
                    </a:lnTo>
                    <a:lnTo>
                      <a:pt x="100" y="159"/>
                    </a:lnTo>
                    <a:lnTo>
                      <a:pt x="98" y="161"/>
                    </a:lnTo>
                    <a:lnTo>
                      <a:pt x="98" y="163"/>
                    </a:lnTo>
                    <a:lnTo>
                      <a:pt x="98" y="165"/>
                    </a:lnTo>
                    <a:lnTo>
                      <a:pt x="98" y="167"/>
                    </a:lnTo>
                    <a:lnTo>
                      <a:pt x="96" y="169"/>
                    </a:lnTo>
                    <a:lnTo>
                      <a:pt x="98" y="171"/>
                    </a:lnTo>
                    <a:lnTo>
                      <a:pt x="96" y="173"/>
                    </a:lnTo>
                    <a:lnTo>
                      <a:pt x="95" y="171"/>
                    </a:lnTo>
                    <a:lnTo>
                      <a:pt x="93" y="171"/>
                    </a:lnTo>
                    <a:lnTo>
                      <a:pt x="91" y="169"/>
                    </a:lnTo>
                    <a:lnTo>
                      <a:pt x="91" y="165"/>
                    </a:lnTo>
                    <a:lnTo>
                      <a:pt x="89" y="163"/>
                    </a:lnTo>
                    <a:lnTo>
                      <a:pt x="87" y="165"/>
                    </a:lnTo>
                    <a:lnTo>
                      <a:pt x="85" y="165"/>
                    </a:lnTo>
                    <a:lnTo>
                      <a:pt x="83" y="165"/>
                    </a:lnTo>
                    <a:lnTo>
                      <a:pt x="81" y="165"/>
                    </a:lnTo>
                    <a:lnTo>
                      <a:pt x="79" y="165"/>
                    </a:lnTo>
                    <a:lnTo>
                      <a:pt x="77" y="165"/>
                    </a:lnTo>
                    <a:lnTo>
                      <a:pt x="77" y="163"/>
                    </a:lnTo>
                    <a:lnTo>
                      <a:pt x="77" y="161"/>
                    </a:lnTo>
                    <a:lnTo>
                      <a:pt x="77" y="163"/>
                    </a:lnTo>
                    <a:lnTo>
                      <a:pt x="75" y="163"/>
                    </a:lnTo>
                    <a:lnTo>
                      <a:pt x="73" y="163"/>
                    </a:lnTo>
                    <a:lnTo>
                      <a:pt x="72" y="163"/>
                    </a:lnTo>
                    <a:lnTo>
                      <a:pt x="72" y="165"/>
                    </a:lnTo>
                    <a:lnTo>
                      <a:pt x="70" y="165"/>
                    </a:lnTo>
                    <a:lnTo>
                      <a:pt x="70" y="163"/>
                    </a:lnTo>
                    <a:lnTo>
                      <a:pt x="68" y="163"/>
                    </a:lnTo>
                    <a:lnTo>
                      <a:pt x="66" y="163"/>
                    </a:lnTo>
                    <a:lnTo>
                      <a:pt x="64" y="163"/>
                    </a:lnTo>
                    <a:lnTo>
                      <a:pt x="62" y="163"/>
                    </a:lnTo>
                    <a:lnTo>
                      <a:pt x="60" y="163"/>
                    </a:lnTo>
                    <a:lnTo>
                      <a:pt x="60" y="161"/>
                    </a:lnTo>
                    <a:lnTo>
                      <a:pt x="58" y="161"/>
                    </a:lnTo>
                    <a:lnTo>
                      <a:pt x="60" y="161"/>
                    </a:lnTo>
                    <a:lnTo>
                      <a:pt x="58" y="161"/>
                    </a:lnTo>
                    <a:lnTo>
                      <a:pt x="58" y="163"/>
                    </a:lnTo>
                    <a:lnTo>
                      <a:pt x="56" y="163"/>
                    </a:lnTo>
                    <a:lnTo>
                      <a:pt x="56" y="161"/>
                    </a:lnTo>
                    <a:lnTo>
                      <a:pt x="54" y="161"/>
                    </a:lnTo>
                    <a:lnTo>
                      <a:pt x="54" y="163"/>
                    </a:lnTo>
                    <a:lnTo>
                      <a:pt x="54" y="165"/>
                    </a:lnTo>
                    <a:lnTo>
                      <a:pt x="54" y="167"/>
                    </a:lnTo>
                    <a:lnTo>
                      <a:pt x="52" y="167"/>
                    </a:lnTo>
                    <a:lnTo>
                      <a:pt x="50" y="167"/>
                    </a:lnTo>
                    <a:lnTo>
                      <a:pt x="50" y="165"/>
                    </a:lnTo>
                    <a:lnTo>
                      <a:pt x="50" y="163"/>
                    </a:lnTo>
                    <a:lnTo>
                      <a:pt x="48" y="163"/>
                    </a:lnTo>
                    <a:lnTo>
                      <a:pt x="48" y="161"/>
                    </a:lnTo>
                    <a:lnTo>
                      <a:pt x="47" y="161"/>
                    </a:lnTo>
                    <a:lnTo>
                      <a:pt x="45" y="161"/>
                    </a:lnTo>
                    <a:lnTo>
                      <a:pt x="43" y="161"/>
                    </a:lnTo>
                    <a:lnTo>
                      <a:pt x="43" y="163"/>
                    </a:lnTo>
                    <a:lnTo>
                      <a:pt x="41" y="161"/>
                    </a:lnTo>
                    <a:lnTo>
                      <a:pt x="41" y="163"/>
                    </a:lnTo>
                    <a:lnTo>
                      <a:pt x="39" y="163"/>
                    </a:lnTo>
                    <a:lnTo>
                      <a:pt x="39" y="161"/>
                    </a:lnTo>
                    <a:lnTo>
                      <a:pt x="39" y="163"/>
                    </a:lnTo>
                    <a:lnTo>
                      <a:pt x="37" y="163"/>
                    </a:lnTo>
                    <a:lnTo>
                      <a:pt x="37" y="161"/>
                    </a:lnTo>
                    <a:lnTo>
                      <a:pt x="37" y="163"/>
                    </a:lnTo>
                    <a:lnTo>
                      <a:pt x="35" y="163"/>
                    </a:lnTo>
                    <a:lnTo>
                      <a:pt x="35" y="161"/>
                    </a:lnTo>
                    <a:lnTo>
                      <a:pt x="33" y="161"/>
                    </a:lnTo>
                    <a:lnTo>
                      <a:pt x="33" y="163"/>
                    </a:lnTo>
                    <a:lnTo>
                      <a:pt x="33" y="161"/>
                    </a:lnTo>
                    <a:lnTo>
                      <a:pt x="33" y="163"/>
                    </a:lnTo>
                    <a:lnTo>
                      <a:pt x="33" y="161"/>
                    </a:lnTo>
                    <a:lnTo>
                      <a:pt x="33" y="159"/>
                    </a:lnTo>
                    <a:lnTo>
                      <a:pt x="33" y="157"/>
                    </a:lnTo>
                    <a:lnTo>
                      <a:pt x="31" y="157"/>
                    </a:lnTo>
                    <a:lnTo>
                      <a:pt x="31" y="156"/>
                    </a:lnTo>
                    <a:lnTo>
                      <a:pt x="31" y="154"/>
                    </a:lnTo>
                    <a:lnTo>
                      <a:pt x="29" y="154"/>
                    </a:lnTo>
                    <a:lnTo>
                      <a:pt x="29" y="152"/>
                    </a:lnTo>
                    <a:lnTo>
                      <a:pt x="27" y="152"/>
                    </a:lnTo>
                    <a:lnTo>
                      <a:pt x="27" y="150"/>
                    </a:lnTo>
                    <a:lnTo>
                      <a:pt x="29" y="150"/>
                    </a:lnTo>
                    <a:lnTo>
                      <a:pt x="29" y="148"/>
                    </a:lnTo>
                    <a:lnTo>
                      <a:pt x="29" y="146"/>
                    </a:lnTo>
                    <a:lnTo>
                      <a:pt x="31" y="146"/>
                    </a:lnTo>
                    <a:lnTo>
                      <a:pt x="31" y="144"/>
                    </a:lnTo>
                    <a:lnTo>
                      <a:pt x="31" y="142"/>
                    </a:lnTo>
                    <a:lnTo>
                      <a:pt x="31" y="140"/>
                    </a:lnTo>
                    <a:lnTo>
                      <a:pt x="33" y="140"/>
                    </a:lnTo>
                    <a:lnTo>
                      <a:pt x="33" y="142"/>
                    </a:lnTo>
                    <a:lnTo>
                      <a:pt x="35" y="142"/>
                    </a:lnTo>
                    <a:lnTo>
                      <a:pt x="35" y="140"/>
                    </a:lnTo>
                    <a:lnTo>
                      <a:pt x="37" y="138"/>
                    </a:lnTo>
                    <a:lnTo>
                      <a:pt x="39" y="138"/>
                    </a:lnTo>
                    <a:lnTo>
                      <a:pt x="37" y="138"/>
                    </a:lnTo>
                    <a:lnTo>
                      <a:pt x="39" y="136"/>
                    </a:lnTo>
                    <a:lnTo>
                      <a:pt x="37" y="136"/>
                    </a:lnTo>
                    <a:lnTo>
                      <a:pt x="37" y="134"/>
                    </a:lnTo>
                    <a:lnTo>
                      <a:pt x="39" y="131"/>
                    </a:lnTo>
                    <a:lnTo>
                      <a:pt x="39" y="127"/>
                    </a:lnTo>
                    <a:lnTo>
                      <a:pt x="37" y="127"/>
                    </a:lnTo>
                    <a:lnTo>
                      <a:pt x="35" y="127"/>
                    </a:lnTo>
                    <a:lnTo>
                      <a:pt x="33" y="125"/>
                    </a:lnTo>
                    <a:lnTo>
                      <a:pt x="31" y="125"/>
                    </a:lnTo>
                    <a:lnTo>
                      <a:pt x="27" y="125"/>
                    </a:lnTo>
                    <a:lnTo>
                      <a:pt x="25" y="125"/>
                    </a:lnTo>
                    <a:lnTo>
                      <a:pt x="23" y="127"/>
                    </a:lnTo>
                    <a:lnTo>
                      <a:pt x="20" y="127"/>
                    </a:lnTo>
                    <a:lnTo>
                      <a:pt x="20" y="125"/>
                    </a:lnTo>
                    <a:lnTo>
                      <a:pt x="20" y="123"/>
                    </a:lnTo>
                    <a:lnTo>
                      <a:pt x="20" y="125"/>
                    </a:lnTo>
                    <a:lnTo>
                      <a:pt x="18" y="125"/>
                    </a:lnTo>
                    <a:lnTo>
                      <a:pt x="18" y="123"/>
                    </a:lnTo>
                    <a:lnTo>
                      <a:pt x="18" y="121"/>
                    </a:lnTo>
                    <a:lnTo>
                      <a:pt x="16" y="121"/>
                    </a:lnTo>
                    <a:lnTo>
                      <a:pt x="18" y="121"/>
                    </a:lnTo>
                    <a:lnTo>
                      <a:pt x="18" y="119"/>
                    </a:lnTo>
                    <a:lnTo>
                      <a:pt x="20" y="119"/>
                    </a:lnTo>
                    <a:lnTo>
                      <a:pt x="18" y="119"/>
                    </a:lnTo>
                    <a:lnTo>
                      <a:pt x="16" y="117"/>
                    </a:lnTo>
                    <a:lnTo>
                      <a:pt x="14" y="117"/>
                    </a:lnTo>
                    <a:lnTo>
                      <a:pt x="14" y="119"/>
                    </a:lnTo>
                    <a:lnTo>
                      <a:pt x="12" y="119"/>
                    </a:lnTo>
                    <a:lnTo>
                      <a:pt x="10" y="119"/>
                    </a:lnTo>
                    <a:lnTo>
                      <a:pt x="8" y="119"/>
                    </a:lnTo>
                    <a:lnTo>
                      <a:pt x="8" y="117"/>
                    </a:lnTo>
                    <a:lnTo>
                      <a:pt x="6" y="117"/>
                    </a:lnTo>
                    <a:lnTo>
                      <a:pt x="4" y="117"/>
                    </a:lnTo>
                    <a:lnTo>
                      <a:pt x="2" y="117"/>
                    </a:lnTo>
                    <a:lnTo>
                      <a:pt x="2" y="115"/>
                    </a:lnTo>
                    <a:lnTo>
                      <a:pt x="2" y="113"/>
                    </a:lnTo>
                    <a:lnTo>
                      <a:pt x="0" y="113"/>
                    </a:lnTo>
                    <a:lnTo>
                      <a:pt x="2" y="111"/>
                    </a:lnTo>
                    <a:lnTo>
                      <a:pt x="2" y="109"/>
                    </a:lnTo>
                    <a:lnTo>
                      <a:pt x="4" y="109"/>
                    </a:lnTo>
                    <a:lnTo>
                      <a:pt x="6" y="109"/>
                    </a:lnTo>
                    <a:lnTo>
                      <a:pt x="6" y="107"/>
                    </a:lnTo>
                    <a:lnTo>
                      <a:pt x="6" y="106"/>
                    </a:lnTo>
                    <a:lnTo>
                      <a:pt x="8" y="104"/>
                    </a:lnTo>
                    <a:lnTo>
                      <a:pt x="6" y="102"/>
                    </a:lnTo>
                    <a:lnTo>
                      <a:pt x="6" y="100"/>
                    </a:lnTo>
                    <a:lnTo>
                      <a:pt x="6" y="98"/>
                    </a:lnTo>
                    <a:lnTo>
                      <a:pt x="6" y="96"/>
                    </a:lnTo>
                    <a:lnTo>
                      <a:pt x="6" y="94"/>
                    </a:lnTo>
                    <a:lnTo>
                      <a:pt x="6" y="92"/>
                    </a:lnTo>
                    <a:lnTo>
                      <a:pt x="10" y="94"/>
                    </a:lnTo>
                    <a:lnTo>
                      <a:pt x="12" y="94"/>
                    </a:lnTo>
                    <a:lnTo>
                      <a:pt x="14" y="96"/>
                    </a:lnTo>
                    <a:lnTo>
                      <a:pt x="14" y="98"/>
                    </a:lnTo>
                    <a:lnTo>
                      <a:pt x="16" y="92"/>
                    </a:lnTo>
                    <a:lnTo>
                      <a:pt x="16" y="94"/>
                    </a:lnTo>
                    <a:lnTo>
                      <a:pt x="18" y="92"/>
                    </a:lnTo>
                    <a:lnTo>
                      <a:pt x="18" y="90"/>
                    </a:lnTo>
                    <a:lnTo>
                      <a:pt x="18" y="86"/>
                    </a:lnTo>
                    <a:lnTo>
                      <a:pt x="18" y="84"/>
                    </a:lnTo>
                    <a:lnTo>
                      <a:pt x="18" y="82"/>
                    </a:lnTo>
                    <a:lnTo>
                      <a:pt x="18" y="81"/>
                    </a:lnTo>
                    <a:lnTo>
                      <a:pt x="16" y="81"/>
                    </a:lnTo>
                    <a:lnTo>
                      <a:pt x="16" y="79"/>
                    </a:lnTo>
                    <a:lnTo>
                      <a:pt x="14" y="79"/>
                    </a:lnTo>
                    <a:lnTo>
                      <a:pt x="16" y="75"/>
                    </a:lnTo>
                    <a:lnTo>
                      <a:pt x="16" y="77"/>
                    </a:lnTo>
                    <a:lnTo>
                      <a:pt x="18" y="77"/>
                    </a:lnTo>
                    <a:lnTo>
                      <a:pt x="20" y="75"/>
                    </a:lnTo>
                    <a:lnTo>
                      <a:pt x="22" y="75"/>
                    </a:lnTo>
                    <a:lnTo>
                      <a:pt x="22" y="73"/>
                    </a:lnTo>
                    <a:lnTo>
                      <a:pt x="22" y="71"/>
                    </a:lnTo>
                    <a:lnTo>
                      <a:pt x="22" y="69"/>
                    </a:lnTo>
                    <a:lnTo>
                      <a:pt x="23" y="69"/>
                    </a:lnTo>
                    <a:lnTo>
                      <a:pt x="23" y="67"/>
                    </a:lnTo>
                    <a:lnTo>
                      <a:pt x="25" y="69"/>
                    </a:lnTo>
                    <a:lnTo>
                      <a:pt x="25" y="71"/>
                    </a:lnTo>
                    <a:lnTo>
                      <a:pt x="27" y="71"/>
                    </a:lnTo>
                    <a:lnTo>
                      <a:pt x="29" y="71"/>
                    </a:lnTo>
                    <a:lnTo>
                      <a:pt x="31" y="71"/>
                    </a:lnTo>
                    <a:lnTo>
                      <a:pt x="31" y="69"/>
                    </a:lnTo>
                    <a:lnTo>
                      <a:pt x="33" y="69"/>
                    </a:lnTo>
                    <a:lnTo>
                      <a:pt x="35" y="69"/>
                    </a:lnTo>
                    <a:lnTo>
                      <a:pt x="37" y="69"/>
                    </a:lnTo>
                    <a:lnTo>
                      <a:pt x="37" y="67"/>
                    </a:lnTo>
                    <a:lnTo>
                      <a:pt x="37" y="65"/>
                    </a:lnTo>
                    <a:lnTo>
                      <a:pt x="37" y="63"/>
                    </a:lnTo>
                    <a:lnTo>
                      <a:pt x="35" y="63"/>
                    </a:lnTo>
                    <a:lnTo>
                      <a:pt x="35" y="61"/>
                    </a:lnTo>
                    <a:lnTo>
                      <a:pt x="37" y="61"/>
                    </a:lnTo>
                    <a:lnTo>
                      <a:pt x="37" y="59"/>
                    </a:lnTo>
                    <a:lnTo>
                      <a:pt x="39" y="59"/>
                    </a:lnTo>
                    <a:lnTo>
                      <a:pt x="39" y="57"/>
                    </a:lnTo>
                    <a:lnTo>
                      <a:pt x="39" y="56"/>
                    </a:lnTo>
                    <a:lnTo>
                      <a:pt x="39" y="54"/>
                    </a:lnTo>
                    <a:lnTo>
                      <a:pt x="41" y="52"/>
                    </a:lnTo>
                    <a:lnTo>
                      <a:pt x="41" y="50"/>
                    </a:lnTo>
                    <a:lnTo>
                      <a:pt x="39" y="48"/>
                    </a:lnTo>
                    <a:lnTo>
                      <a:pt x="39" y="46"/>
                    </a:lnTo>
                    <a:lnTo>
                      <a:pt x="37" y="46"/>
                    </a:lnTo>
                    <a:lnTo>
                      <a:pt x="35" y="44"/>
                    </a:lnTo>
                    <a:lnTo>
                      <a:pt x="35" y="42"/>
                    </a:lnTo>
                    <a:lnTo>
                      <a:pt x="37" y="42"/>
                    </a:lnTo>
                    <a:lnTo>
                      <a:pt x="37" y="40"/>
                    </a:lnTo>
                    <a:lnTo>
                      <a:pt x="39" y="40"/>
                    </a:lnTo>
                    <a:lnTo>
                      <a:pt x="39" y="38"/>
                    </a:lnTo>
                    <a:lnTo>
                      <a:pt x="39" y="36"/>
                    </a:lnTo>
                    <a:lnTo>
                      <a:pt x="37" y="36"/>
                    </a:lnTo>
                    <a:lnTo>
                      <a:pt x="37" y="38"/>
                    </a:lnTo>
                    <a:lnTo>
                      <a:pt x="35" y="36"/>
                    </a:lnTo>
                    <a:lnTo>
                      <a:pt x="35" y="34"/>
                    </a:lnTo>
                    <a:lnTo>
                      <a:pt x="37" y="32"/>
                    </a:lnTo>
                    <a:lnTo>
                      <a:pt x="37" y="31"/>
                    </a:lnTo>
                    <a:lnTo>
                      <a:pt x="35" y="27"/>
                    </a:lnTo>
                    <a:lnTo>
                      <a:pt x="35" y="25"/>
                    </a:lnTo>
                    <a:lnTo>
                      <a:pt x="37" y="25"/>
                    </a:lnTo>
                    <a:lnTo>
                      <a:pt x="35" y="23"/>
                    </a:lnTo>
                    <a:lnTo>
                      <a:pt x="35" y="19"/>
                    </a:lnTo>
                    <a:lnTo>
                      <a:pt x="37" y="17"/>
                    </a:lnTo>
                    <a:lnTo>
                      <a:pt x="37" y="15"/>
                    </a:lnTo>
                    <a:lnTo>
                      <a:pt x="37" y="13"/>
                    </a:lnTo>
                    <a:lnTo>
                      <a:pt x="39" y="11"/>
                    </a:lnTo>
                    <a:lnTo>
                      <a:pt x="39" y="13"/>
                    </a:lnTo>
                    <a:lnTo>
                      <a:pt x="41" y="13"/>
                    </a:lnTo>
                    <a:lnTo>
                      <a:pt x="43" y="13"/>
                    </a:lnTo>
                    <a:lnTo>
                      <a:pt x="43" y="11"/>
                    </a:lnTo>
                    <a:lnTo>
                      <a:pt x="45" y="11"/>
                    </a:lnTo>
                    <a:lnTo>
                      <a:pt x="45" y="9"/>
                    </a:lnTo>
                    <a:lnTo>
                      <a:pt x="47" y="7"/>
                    </a:lnTo>
                    <a:lnTo>
                      <a:pt x="47" y="6"/>
                    </a:lnTo>
                    <a:lnTo>
                      <a:pt x="48" y="6"/>
                    </a:lnTo>
                    <a:lnTo>
                      <a:pt x="50" y="6"/>
                    </a:lnTo>
                    <a:lnTo>
                      <a:pt x="50" y="4"/>
                    </a:lnTo>
                    <a:lnTo>
                      <a:pt x="50" y="6"/>
                    </a:lnTo>
                    <a:lnTo>
                      <a:pt x="52" y="4"/>
                    </a:lnTo>
                    <a:lnTo>
                      <a:pt x="52" y="2"/>
                    </a:lnTo>
                    <a:lnTo>
                      <a:pt x="54" y="2"/>
                    </a:lnTo>
                    <a:lnTo>
                      <a:pt x="56" y="0"/>
                    </a:lnTo>
                    <a:lnTo>
                      <a:pt x="58" y="0"/>
                    </a:lnTo>
                    <a:lnTo>
                      <a:pt x="60" y="0"/>
                    </a:lnTo>
                    <a:lnTo>
                      <a:pt x="60" y="2"/>
                    </a:lnTo>
                    <a:lnTo>
                      <a:pt x="60" y="4"/>
                    </a:lnTo>
                    <a:lnTo>
                      <a:pt x="58" y="4"/>
                    </a:lnTo>
                    <a:lnTo>
                      <a:pt x="60" y="6"/>
                    </a:lnTo>
                    <a:lnTo>
                      <a:pt x="60" y="4"/>
                    </a:lnTo>
                    <a:lnTo>
                      <a:pt x="62" y="4"/>
                    </a:lnTo>
                    <a:lnTo>
                      <a:pt x="62" y="6"/>
                    </a:lnTo>
                    <a:lnTo>
                      <a:pt x="64" y="6"/>
                    </a:lnTo>
                    <a:lnTo>
                      <a:pt x="64" y="2"/>
                    </a:lnTo>
                    <a:lnTo>
                      <a:pt x="66" y="2"/>
                    </a:lnTo>
                    <a:lnTo>
                      <a:pt x="68" y="4"/>
                    </a:lnTo>
                    <a:lnTo>
                      <a:pt x="70" y="2"/>
                    </a:lnTo>
                    <a:lnTo>
                      <a:pt x="72" y="2"/>
                    </a:lnTo>
                    <a:lnTo>
                      <a:pt x="73" y="2"/>
                    </a:lnTo>
                    <a:lnTo>
                      <a:pt x="75" y="4"/>
                    </a:lnTo>
                    <a:lnTo>
                      <a:pt x="77" y="6"/>
                    </a:lnTo>
                    <a:lnTo>
                      <a:pt x="77" y="4"/>
                    </a:lnTo>
                    <a:lnTo>
                      <a:pt x="77" y="6"/>
                    </a:lnTo>
                    <a:lnTo>
                      <a:pt x="79" y="6"/>
                    </a:lnTo>
                    <a:lnTo>
                      <a:pt x="79" y="7"/>
                    </a:lnTo>
                    <a:lnTo>
                      <a:pt x="81" y="6"/>
                    </a:lnTo>
                    <a:lnTo>
                      <a:pt x="81" y="7"/>
                    </a:lnTo>
                    <a:lnTo>
                      <a:pt x="83" y="7"/>
                    </a:lnTo>
                    <a:lnTo>
                      <a:pt x="81" y="9"/>
                    </a:lnTo>
                    <a:lnTo>
                      <a:pt x="83" y="11"/>
                    </a:lnTo>
                    <a:lnTo>
                      <a:pt x="83" y="13"/>
                    </a:lnTo>
                    <a:lnTo>
                      <a:pt x="83" y="11"/>
                    </a:lnTo>
                    <a:lnTo>
                      <a:pt x="83" y="9"/>
                    </a:lnTo>
                    <a:lnTo>
                      <a:pt x="85" y="7"/>
                    </a:lnTo>
                    <a:lnTo>
                      <a:pt x="87" y="6"/>
                    </a:lnTo>
                    <a:lnTo>
                      <a:pt x="87" y="7"/>
                    </a:lnTo>
                    <a:lnTo>
                      <a:pt x="89" y="7"/>
                    </a:lnTo>
                    <a:lnTo>
                      <a:pt x="89" y="6"/>
                    </a:lnTo>
                    <a:lnTo>
                      <a:pt x="91" y="6"/>
                    </a:lnTo>
                    <a:lnTo>
                      <a:pt x="91" y="7"/>
                    </a:lnTo>
                    <a:lnTo>
                      <a:pt x="93" y="9"/>
                    </a:lnTo>
                    <a:lnTo>
                      <a:pt x="91" y="11"/>
                    </a:lnTo>
                    <a:lnTo>
                      <a:pt x="93" y="11"/>
                    </a:lnTo>
                    <a:lnTo>
                      <a:pt x="93" y="13"/>
                    </a:lnTo>
                    <a:lnTo>
                      <a:pt x="95" y="13"/>
                    </a:lnTo>
                    <a:lnTo>
                      <a:pt x="95" y="15"/>
                    </a:lnTo>
                    <a:lnTo>
                      <a:pt x="96" y="15"/>
                    </a:lnTo>
                    <a:lnTo>
                      <a:pt x="96" y="17"/>
                    </a:lnTo>
                    <a:lnTo>
                      <a:pt x="98" y="19"/>
                    </a:lnTo>
                    <a:lnTo>
                      <a:pt x="100" y="19"/>
                    </a:lnTo>
                    <a:lnTo>
                      <a:pt x="102" y="19"/>
                    </a:lnTo>
                    <a:lnTo>
                      <a:pt x="104" y="19"/>
                    </a:lnTo>
                    <a:lnTo>
                      <a:pt x="104" y="21"/>
                    </a:lnTo>
                    <a:lnTo>
                      <a:pt x="108" y="23"/>
                    </a:lnTo>
                    <a:lnTo>
                      <a:pt x="108" y="21"/>
                    </a:lnTo>
                    <a:lnTo>
                      <a:pt x="110" y="19"/>
                    </a:lnTo>
                    <a:lnTo>
                      <a:pt x="108" y="17"/>
                    </a:lnTo>
                    <a:lnTo>
                      <a:pt x="112" y="13"/>
                    </a:lnTo>
                    <a:lnTo>
                      <a:pt x="112" y="15"/>
                    </a:lnTo>
                    <a:lnTo>
                      <a:pt x="114" y="15"/>
                    </a:lnTo>
                    <a:lnTo>
                      <a:pt x="114" y="13"/>
                    </a:lnTo>
                    <a:lnTo>
                      <a:pt x="116" y="13"/>
                    </a:lnTo>
                    <a:lnTo>
                      <a:pt x="118" y="9"/>
                    </a:lnTo>
                    <a:lnTo>
                      <a:pt x="116" y="9"/>
                    </a:lnTo>
                    <a:lnTo>
                      <a:pt x="116" y="7"/>
                    </a:lnTo>
                    <a:lnTo>
                      <a:pt x="118" y="7"/>
                    </a:lnTo>
                    <a:lnTo>
                      <a:pt x="116" y="7"/>
                    </a:lnTo>
                    <a:lnTo>
                      <a:pt x="118" y="6"/>
                    </a:lnTo>
                    <a:lnTo>
                      <a:pt x="123" y="7"/>
                    </a:lnTo>
                    <a:lnTo>
                      <a:pt x="123" y="6"/>
                    </a:lnTo>
                    <a:lnTo>
                      <a:pt x="125" y="6"/>
                    </a:lnTo>
                    <a:lnTo>
                      <a:pt x="125" y="4"/>
                    </a:lnTo>
                    <a:lnTo>
                      <a:pt x="125" y="6"/>
                    </a:lnTo>
                    <a:lnTo>
                      <a:pt x="127" y="6"/>
                    </a:lnTo>
                    <a:lnTo>
                      <a:pt x="129" y="6"/>
                    </a:lnTo>
                    <a:lnTo>
                      <a:pt x="131" y="6"/>
                    </a:lnTo>
                    <a:lnTo>
                      <a:pt x="133" y="6"/>
                    </a:lnTo>
                    <a:lnTo>
                      <a:pt x="135" y="6"/>
                    </a:lnTo>
                    <a:lnTo>
                      <a:pt x="137" y="7"/>
                    </a:lnTo>
                    <a:lnTo>
                      <a:pt x="135" y="9"/>
                    </a:lnTo>
                    <a:lnTo>
                      <a:pt x="137" y="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79" name="Freeform 56"/>
              <p:cNvSpPr>
                <a:spLocks/>
              </p:cNvSpPr>
              <p:nvPr/>
            </p:nvSpPr>
            <p:spPr bwMode="auto">
              <a:xfrm>
                <a:off x="425998" y="2720953"/>
                <a:ext cx="261535" cy="216799"/>
              </a:xfrm>
              <a:custGeom>
                <a:avLst/>
                <a:gdLst>
                  <a:gd name="T0" fmla="*/ 135 w 152"/>
                  <a:gd name="T1" fmla="*/ 76 h 126"/>
                  <a:gd name="T2" fmla="*/ 136 w 152"/>
                  <a:gd name="T3" fmla="*/ 86 h 126"/>
                  <a:gd name="T4" fmla="*/ 148 w 152"/>
                  <a:gd name="T5" fmla="*/ 86 h 126"/>
                  <a:gd name="T6" fmla="*/ 150 w 152"/>
                  <a:gd name="T7" fmla="*/ 92 h 126"/>
                  <a:gd name="T8" fmla="*/ 144 w 152"/>
                  <a:gd name="T9" fmla="*/ 100 h 126"/>
                  <a:gd name="T10" fmla="*/ 140 w 152"/>
                  <a:gd name="T11" fmla="*/ 105 h 126"/>
                  <a:gd name="T12" fmla="*/ 133 w 152"/>
                  <a:gd name="T13" fmla="*/ 101 h 126"/>
                  <a:gd name="T14" fmla="*/ 129 w 152"/>
                  <a:gd name="T15" fmla="*/ 115 h 126"/>
                  <a:gd name="T16" fmla="*/ 127 w 152"/>
                  <a:gd name="T17" fmla="*/ 123 h 126"/>
                  <a:gd name="T18" fmla="*/ 125 w 152"/>
                  <a:gd name="T19" fmla="*/ 126 h 126"/>
                  <a:gd name="T20" fmla="*/ 119 w 152"/>
                  <a:gd name="T21" fmla="*/ 119 h 126"/>
                  <a:gd name="T22" fmla="*/ 119 w 152"/>
                  <a:gd name="T23" fmla="*/ 113 h 126"/>
                  <a:gd name="T24" fmla="*/ 110 w 152"/>
                  <a:gd name="T25" fmla="*/ 109 h 126"/>
                  <a:gd name="T26" fmla="*/ 104 w 152"/>
                  <a:gd name="T27" fmla="*/ 107 h 126"/>
                  <a:gd name="T28" fmla="*/ 98 w 152"/>
                  <a:gd name="T29" fmla="*/ 103 h 126"/>
                  <a:gd name="T30" fmla="*/ 88 w 152"/>
                  <a:gd name="T31" fmla="*/ 101 h 126"/>
                  <a:gd name="T32" fmla="*/ 85 w 152"/>
                  <a:gd name="T33" fmla="*/ 105 h 126"/>
                  <a:gd name="T34" fmla="*/ 77 w 152"/>
                  <a:gd name="T35" fmla="*/ 105 h 126"/>
                  <a:gd name="T36" fmla="*/ 69 w 152"/>
                  <a:gd name="T37" fmla="*/ 103 h 126"/>
                  <a:gd name="T38" fmla="*/ 63 w 152"/>
                  <a:gd name="T39" fmla="*/ 103 h 126"/>
                  <a:gd name="T40" fmla="*/ 60 w 152"/>
                  <a:gd name="T41" fmla="*/ 100 h 126"/>
                  <a:gd name="T42" fmla="*/ 54 w 152"/>
                  <a:gd name="T43" fmla="*/ 96 h 126"/>
                  <a:gd name="T44" fmla="*/ 50 w 152"/>
                  <a:gd name="T45" fmla="*/ 90 h 126"/>
                  <a:gd name="T46" fmla="*/ 44 w 152"/>
                  <a:gd name="T47" fmla="*/ 90 h 126"/>
                  <a:gd name="T48" fmla="*/ 37 w 152"/>
                  <a:gd name="T49" fmla="*/ 96 h 126"/>
                  <a:gd name="T50" fmla="*/ 31 w 152"/>
                  <a:gd name="T51" fmla="*/ 94 h 126"/>
                  <a:gd name="T52" fmla="*/ 27 w 152"/>
                  <a:gd name="T53" fmla="*/ 94 h 126"/>
                  <a:gd name="T54" fmla="*/ 23 w 152"/>
                  <a:gd name="T55" fmla="*/ 88 h 126"/>
                  <a:gd name="T56" fmla="*/ 27 w 152"/>
                  <a:gd name="T57" fmla="*/ 82 h 126"/>
                  <a:gd name="T58" fmla="*/ 19 w 152"/>
                  <a:gd name="T59" fmla="*/ 76 h 126"/>
                  <a:gd name="T60" fmla="*/ 25 w 152"/>
                  <a:gd name="T61" fmla="*/ 67 h 126"/>
                  <a:gd name="T62" fmla="*/ 15 w 152"/>
                  <a:gd name="T63" fmla="*/ 61 h 126"/>
                  <a:gd name="T64" fmla="*/ 10 w 152"/>
                  <a:gd name="T65" fmla="*/ 57 h 126"/>
                  <a:gd name="T66" fmla="*/ 4 w 152"/>
                  <a:gd name="T67" fmla="*/ 48 h 126"/>
                  <a:gd name="T68" fmla="*/ 4 w 152"/>
                  <a:gd name="T69" fmla="*/ 42 h 126"/>
                  <a:gd name="T70" fmla="*/ 6 w 152"/>
                  <a:gd name="T71" fmla="*/ 36 h 126"/>
                  <a:gd name="T72" fmla="*/ 12 w 152"/>
                  <a:gd name="T73" fmla="*/ 30 h 126"/>
                  <a:gd name="T74" fmla="*/ 14 w 152"/>
                  <a:gd name="T75" fmla="*/ 23 h 126"/>
                  <a:gd name="T76" fmla="*/ 15 w 152"/>
                  <a:gd name="T77" fmla="*/ 21 h 126"/>
                  <a:gd name="T78" fmla="*/ 23 w 152"/>
                  <a:gd name="T79" fmla="*/ 23 h 126"/>
                  <a:gd name="T80" fmla="*/ 27 w 152"/>
                  <a:gd name="T81" fmla="*/ 19 h 126"/>
                  <a:gd name="T82" fmla="*/ 31 w 152"/>
                  <a:gd name="T83" fmla="*/ 13 h 126"/>
                  <a:gd name="T84" fmla="*/ 39 w 152"/>
                  <a:gd name="T85" fmla="*/ 7 h 126"/>
                  <a:gd name="T86" fmla="*/ 44 w 152"/>
                  <a:gd name="T87" fmla="*/ 9 h 126"/>
                  <a:gd name="T88" fmla="*/ 52 w 152"/>
                  <a:gd name="T89" fmla="*/ 3 h 126"/>
                  <a:gd name="T90" fmla="*/ 60 w 152"/>
                  <a:gd name="T91" fmla="*/ 1 h 126"/>
                  <a:gd name="T92" fmla="*/ 67 w 152"/>
                  <a:gd name="T93" fmla="*/ 3 h 126"/>
                  <a:gd name="T94" fmla="*/ 75 w 152"/>
                  <a:gd name="T95" fmla="*/ 3 h 126"/>
                  <a:gd name="T96" fmla="*/ 79 w 152"/>
                  <a:gd name="T97" fmla="*/ 5 h 126"/>
                  <a:gd name="T98" fmla="*/ 85 w 152"/>
                  <a:gd name="T99" fmla="*/ 7 h 126"/>
                  <a:gd name="T100" fmla="*/ 81 w 152"/>
                  <a:gd name="T101" fmla="*/ 17 h 126"/>
                  <a:gd name="T102" fmla="*/ 88 w 152"/>
                  <a:gd name="T103" fmla="*/ 23 h 126"/>
                  <a:gd name="T104" fmla="*/ 100 w 152"/>
                  <a:gd name="T105" fmla="*/ 25 h 126"/>
                  <a:gd name="T106" fmla="*/ 106 w 152"/>
                  <a:gd name="T107" fmla="*/ 32 h 126"/>
                  <a:gd name="T108" fmla="*/ 108 w 152"/>
                  <a:gd name="T109" fmla="*/ 44 h 126"/>
                  <a:gd name="T110" fmla="*/ 112 w 152"/>
                  <a:gd name="T111" fmla="*/ 53 h 126"/>
                  <a:gd name="T112" fmla="*/ 117 w 152"/>
                  <a:gd name="T113" fmla="*/ 59 h 126"/>
                  <a:gd name="T114" fmla="*/ 121 w 152"/>
                  <a:gd name="T115" fmla="*/ 65 h 126"/>
                  <a:gd name="T116" fmla="*/ 125 w 152"/>
                  <a:gd name="T117" fmla="*/ 69 h 126"/>
                  <a:gd name="T118" fmla="*/ 133 w 152"/>
                  <a:gd name="T119" fmla="*/ 7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26">
                    <a:moveTo>
                      <a:pt x="135" y="73"/>
                    </a:moveTo>
                    <a:lnTo>
                      <a:pt x="135" y="75"/>
                    </a:lnTo>
                    <a:lnTo>
                      <a:pt x="133" y="75"/>
                    </a:lnTo>
                    <a:lnTo>
                      <a:pt x="135" y="75"/>
                    </a:lnTo>
                    <a:lnTo>
                      <a:pt x="135" y="76"/>
                    </a:lnTo>
                    <a:lnTo>
                      <a:pt x="133" y="76"/>
                    </a:lnTo>
                    <a:lnTo>
                      <a:pt x="135" y="76"/>
                    </a:lnTo>
                    <a:lnTo>
                      <a:pt x="135" y="78"/>
                    </a:lnTo>
                    <a:lnTo>
                      <a:pt x="133" y="78"/>
                    </a:lnTo>
                    <a:lnTo>
                      <a:pt x="133" y="80"/>
                    </a:lnTo>
                    <a:lnTo>
                      <a:pt x="133" y="82"/>
                    </a:lnTo>
                    <a:lnTo>
                      <a:pt x="135" y="82"/>
                    </a:lnTo>
                    <a:lnTo>
                      <a:pt x="135" y="84"/>
                    </a:lnTo>
                    <a:lnTo>
                      <a:pt x="136" y="86"/>
                    </a:lnTo>
                    <a:lnTo>
                      <a:pt x="138" y="86"/>
                    </a:lnTo>
                    <a:lnTo>
                      <a:pt x="140" y="86"/>
                    </a:lnTo>
                    <a:lnTo>
                      <a:pt x="142" y="86"/>
                    </a:lnTo>
                    <a:lnTo>
                      <a:pt x="142" y="88"/>
                    </a:lnTo>
                    <a:lnTo>
                      <a:pt x="144" y="88"/>
                    </a:lnTo>
                    <a:lnTo>
                      <a:pt x="146" y="88"/>
                    </a:lnTo>
                    <a:lnTo>
                      <a:pt x="148" y="86"/>
                    </a:lnTo>
                    <a:lnTo>
                      <a:pt x="148" y="88"/>
                    </a:lnTo>
                    <a:lnTo>
                      <a:pt x="148" y="90"/>
                    </a:lnTo>
                    <a:lnTo>
                      <a:pt x="146" y="90"/>
                    </a:lnTo>
                    <a:lnTo>
                      <a:pt x="148" y="90"/>
                    </a:lnTo>
                    <a:lnTo>
                      <a:pt x="150" y="90"/>
                    </a:lnTo>
                    <a:lnTo>
                      <a:pt x="152" y="90"/>
                    </a:lnTo>
                    <a:lnTo>
                      <a:pt x="150" y="92"/>
                    </a:lnTo>
                    <a:lnTo>
                      <a:pt x="150" y="94"/>
                    </a:lnTo>
                    <a:lnTo>
                      <a:pt x="148" y="94"/>
                    </a:lnTo>
                    <a:lnTo>
                      <a:pt x="148" y="96"/>
                    </a:lnTo>
                    <a:lnTo>
                      <a:pt x="148" y="98"/>
                    </a:lnTo>
                    <a:lnTo>
                      <a:pt x="146" y="98"/>
                    </a:lnTo>
                    <a:lnTo>
                      <a:pt x="146" y="100"/>
                    </a:lnTo>
                    <a:lnTo>
                      <a:pt x="144" y="100"/>
                    </a:lnTo>
                    <a:lnTo>
                      <a:pt x="144" y="101"/>
                    </a:lnTo>
                    <a:lnTo>
                      <a:pt x="144" y="103"/>
                    </a:lnTo>
                    <a:lnTo>
                      <a:pt x="146" y="103"/>
                    </a:lnTo>
                    <a:lnTo>
                      <a:pt x="146" y="105"/>
                    </a:lnTo>
                    <a:lnTo>
                      <a:pt x="144" y="105"/>
                    </a:lnTo>
                    <a:lnTo>
                      <a:pt x="142" y="105"/>
                    </a:lnTo>
                    <a:lnTo>
                      <a:pt x="140" y="105"/>
                    </a:lnTo>
                    <a:lnTo>
                      <a:pt x="138" y="103"/>
                    </a:lnTo>
                    <a:lnTo>
                      <a:pt x="138" y="101"/>
                    </a:lnTo>
                    <a:lnTo>
                      <a:pt x="136" y="103"/>
                    </a:lnTo>
                    <a:lnTo>
                      <a:pt x="136" y="101"/>
                    </a:lnTo>
                    <a:lnTo>
                      <a:pt x="135" y="101"/>
                    </a:lnTo>
                    <a:lnTo>
                      <a:pt x="135" y="103"/>
                    </a:lnTo>
                    <a:lnTo>
                      <a:pt x="133" y="101"/>
                    </a:lnTo>
                    <a:lnTo>
                      <a:pt x="131" y="103"/>
                    </a:lnTo>
                    <a:lnTo>
                      <a:pt x="131" y="105"/>
                    </a:lnTo>
                    <a:lnTo>
                      <a:pt x="131" y="107"/>
                    </a:lnTo>
                    <a:lnTo>
                      <a:pt x="131" y="109"/>
                    </a:lnTo>
                    <a:lnTo>
                      <a:pt x="131" y="111"/>
                    </a:lnTo>
                    <a:lnTo>
                      <a:pt x="131" y="113"/>
                    </a:lnTo>
                    <a:lnTo>
                      <a:pt x="129" y="115"/>
                    </a:lnTo>
                    <a:lnTo>
                      <a:pt x="131" y="115"/>
                    </a:lnTo>
                    <a:lnTo>
                      <a:pt x="129" y="115"/>
                    </a:lnTo>
                    <a:lnTo>
                      <a:pt x="129" y="117"/>
                    </a:lnTo>
                    <a:lnTo>
                      <a:pt x="127" y="117"/>
                    </a:lnTo>
                    <a:lnTo>
                      <a:pt x="127" y="119"/>
                    </a:lnTo>
                    <a:lnTo>
                      <a:pt x="127" y="121"/>
                    </a:lnTo>
                    <a:lnTo>
                      <a:pt x="127" y="123"/>
                    </a:lnTo>
                    <a:lnTo>
                      <a:pt x="129" y="123"/>
                    </a:lnTo>
                    <a:lnTo>
                      <a:pt x="127" y="123"/>
                    </a:lnTo>
                    <a:lnTo>
                      <a:pt x="127" y="125"/>
                    </a:lnTo>
                    <a:lnTo>
                      <a:pt x="127" y="123"/>
                    </a:lnTo>
                    <a:lnTo>
                      <a:pt x="125" y="123"/>
                    </a:lnTo>
                    <a:lnTo>
                      <a:pt x="125" y="125"/>
                    </a:lnTo>
                    <a:lnTo>
                      <a:pt x="125" y="126"/>
                    </a:lnTo>
                    <a:lnTo>
                      <a:pt x="123" y="126"/>
                    </a:lnTo>
                    <a:lnTo>
                      <a:pt x="123" y="125"/>
                    </a:lnTo>
                    <a:lnTo>
                      <a:pt x="121" y="125"/>
                    </a:lnTo>
                    <a:lnTo>
                      <a:pt x="121" y="123"/>
                    </a:lnTo>
                    <a:lnTo>
                      <a:pt x="121" y="121"/>
                    </a:lnTo>
                    <a:lnTo>
                      <a:pt x="119" y="121"/>
                    </a:lnTo>
                    <a:lnTo>
                      <a:pt x="119" y="119"/>
                    </a:lnTo>
                    <a:lnTo>
                      <a:pt x="119" y="117"/>
                    </a:lnTo>
                    <a:lnTo>
                      <a:pt x="119" y="119"/>
                    </a:lnTo>
                    <a:lnTo>
                      <a:pt x="117" y="119"/>
                    </a:lnTo>
                    <a:lnTo>
                      <a:pt x="117" y="117"/>
                    </a:lnTo>
                    <a:lnTo>
                      <a:pt x="117" y="115"/>
                    </a:lnTo>
                    <a:lnTo>
                      <a:pt x="117" y="113"/>
                    </a:lnTo>
                    <a:lnTo>
                      <a:pt x="119" y="113"/>
                    </a:lnTo>
                    <a:lnTo>
                      <a:pt x="117" y="113"/>
                    </a:lnTo>
                    <a:lnTo>
                      <a:pt x="117" y="111"/>
                    </a:lnTo>
                    <a:lnTo>
                      <a:pt x="115" y="111"/>
                    </a:lnTo>
                    <a:lnTo>
                      <a:pt x="115" y="109"/>
                    </a:lnTo>
                    <a:lnTo>
                      <a:pt x="113" y="109"/>
                    </a:lnTo>
                    <a:lnTo>
                      <a:pt x="112" y="109"/>
                    </a:lnTo>
                    <a:lnTo>
                      <a:pt x="110" y="109"/>
                    </a:lnTo>
                    <a:lnTo>
                      <a:pt x="108" y="111"/>
                    </a:lnTo>
                    <a:lnTo>
                      <a:pt x="106" y="111"/>
                    </a:lnTo>
                    <a:lnTo>
                      <a:pt x="106" y="109"/>
                    </a:lnTo>
                    <a:lnTo>
                      <a:pt x="104" y="109"/>
                    </a:lnTo>
                    <a:lnTo>
                      <a:pt x="104" y="107"/>
                    </a:lnTo>
                    <a:lnTo>
                      <a:pt x="104" y="109"/>
                    </a:lnTo>
                    <a:lnTo>
                      <a:pt x="104" y="107"/>
                    </a:lnTo>
                    <a:lnTo>
                      <a:pt x="104" y="105"/>
                    </a:lnTo>
                    <a:lnTo>
                      <a:pt x="102" y="105"/>
                    </a:lnTo>
                    <a:lnTo>
                      <a:pt x="100" y="105"/>
                    </a:lnTo>
                    <a:lnTo>
                      <a:pt x="100" y="103"/>
                    </a:lnTo>
                    <a:lnTo>
                      <a:pt x="98" y="103"/>
                    </a:lnTo>
                    <a:lnTo>
                      <a:pt x="100" y="103"/>
                    </a:lnTo>
                    <a:lnTo>
                      <a:pt x="98" y="103"/>
                    </a:lnTo>
                    <a:lnTo>
                      <a:pt x="96" y="103"/>
                    </a:lnTo>
                    <a:lnTo>
                      <a:pt x="94" y="103"/>
                    </a:lnTo>
                    <a:lnTo>
                      <a:pt x="92" y="103"/>
                    </a:lnTo>
                    <a:lnTo>
                      <a:pt x="90" y="101"/>
                    </a:lnTo>
                    <a:lnTo>
                      <a:pt x="90" y="100"/>
                    </a:lnTo>
                    <a:lnTo>
                      <a:pt x="90" y="101"/>
                    </a:lnTo>
                    <a:lnTo>
                      <a:pt x="88" y="101"/>
                    </a:lnTo>
                    <a:lnTo>
                      <a:pt x="88" y="103"/>
                    </a:lnTo>
                    <a:lnTo>
                      <a:pt x="87" y="103"/>
                    </a:lnTo>
                    <a:lnTo>
                      <a:pt x="87" y="105"/>
                    </a:lnTo>
                    <a:lnTo>
                      <a:pt x="85" y="107"/>
                    </a:lnTo>
                    <a:lnTo>
                      <a:pt x="85" y="105"/>
                    </a:lnTo>
                    <a:lnTo>
                      <a:pt x="85" y="103"/>
                    </a:lnTo>
                    <a:lnTo>
                      <a:pt x="85" y="105"/>
                    </a:lnTo>
                    <a:lnTo>
                      <a:pt x="83" y="105"/>
                    </a:lnTo>
                    <a:lnTo>
                      <a:pt x="83" y="103"/>
                    </a:lnTo>
                    <a:lnTo>
                      <a:pt x="81" y="105"/>
                    </a:lnTo>
                    <a:lnTo>
                      <a:pt x="79" y="105"/>
                    </a:lnTo>
                    <a:lnTo>
                      <a:pt x="79" y="107"/>
                    </a:lnTo>
                    <a:lnTo>
                      <a:pt x="79" y="105"/>
                    </a:lnTo>
                    <a:lnTo>
                      <a:pt x="77" y="105"/>
                    </a:lnTo>
                    <a:lnTo>
                      <a:pt x="77" y="107"/>
                    </a:lnTo>
                    <a:lnTo>
                      <a:pt x="77" y="105"/>
                    </a:lnTo>
                    <a:lnTo>
                      <a:pt x="75" y="105"/>
                    </a:lnTo>
                    <a:lnTo>
                      <a:pt x="75" y="103"/>
                    </a:lnTo>
                    <a:lnTo>
                      <a:pt x="73" y="103"/>
                    </a:lnTo>
                    <a:lnTo>
                      <a:pt x="71" y="103"/>
                    </a:lnTo>
                    <a:lnTo>
                      <a:pt x="69" y="103"/>
                    </a:lnTo>
                    <a:lnTo>
                      <a:pt x="69" y="105"/>
                    </a:lnTo>
                    <a:lnTo>
                      <a:pt x="67" y="105"/>
                    </a:lnTo>
                    <a:lnTo>
                      <a:pt x="65" y="105"/>
                    </a:lnTo>
                    <a:lnTo>
                      <a:pt x="63" y="105"/>
                    </a:lnTo>
                    <a:lnTo>
                      <a:pt x="62" y="105"/>
                    </a:lnTo>
                    <a:lnTo>
                      <a:pt x="63" y="105"/>
                    </a:lnTo>
                    <a:lnTo>
                      <a:pt x="63" y="103"/>
                    </a:lnTo>
                    <a:lnTo>
                      <a:pt x="63" y="101"/>
                    </a:lnTo>
                    <a:lnTo>
                      <a:pt x="63" y="100"/>
                    </a:lnTo>
                    <a:lnTo>
                      <a:pt x="62" y="101"/>
                    </a:lnTo>
                    <a:lnTo>
                      <a:pt x="60" y="101"/>
                    </a:lnTo>
                    <a:lnTo>
                      <a:pt x="60" y="103"/>
                    </a:lnTo>
                    <a:lnTo>
                      <a:pt x="60" y="101"/>
                    </a:lnTo>
                    <a:lnTo>
                      <a:pt x="60" y="100"/>
                    </a:lnTo>
                    <a:lnTo>
                      <a:pt x="60" y="98"/>
                    </a:lnTo>
                    <a:lnTo>
                      <a:pt x="58" y="100"/>
                    </a:lnTo>
                    <a:lnTo>
                      <a:pt x="58" y="98"/>
                    </a:lnTo>
                    <a:lnTo>
                      <a:pt x="56" y="100"/>
                    </a:lnTo>
                    <a:lnTo>
                      <a:pt x="56" y="98"/>
                    </a:lnTo>
                    <a:lnTo>
                      <a:pt x="54" y="98"/>
                    </a:lnTo>
                    <a:lnTo>
                      <a:pt x="54" y="96"/>
                    </a:lnTo>
                    <a:lnTo>
                      <a:pt x="54" y="94"/>
                    </a:lnTo>
                    <a:lnTo>
                      <a:pt x="52" y="94"/>
                    </a:lnTo>
                    <a:lnTo>
                      <a:pt x="50" y="94"/>
                    </a:lnTo>
                    <a:lnTo>
                      <a:pt x="50" y="92"/>
                    </a:lnTo>
                    <a:lnTo>
                      <a:pt x="50" y="90"/>
                    </a:lnTo>
                    <a:lnTo>
                      <a:pt x="50" y="88"/>
                    </a:lnTo>
                    <a:lnTo>
                      <a:pt x="50" y="90"/>
                    </a:lnTo>
                    <a:lnTo>
                      <a:pt x="48" y="90"/>
                    </a:lnTo>
                    <a:lnTo>
                      <a:pt x="48" y="88"/>
                    </a:lnTo>
                    <a:lnTo>
                      <a:pt x="48" y="90"/>
                    </a:lnTo>
                    <a:lnTo>
                      <a:pt x="46" y="90"/>
                    </a:lnTo>
                    <a:lnTo>
                      <a:pt x="46" y="88"/>
                    </a:lnTo>
                    <a:lnTo>
                      <a:pt x="44" y="88"/>
                    </a:lnTo>
                    <a:lnTo>
                      <a:pt x="44" y="90"/>
                    </a:lnTo>
                    <a:lnTo>
                      <a:pt x="44" y="92"/>
                    </a:lnTo>
                    <a:lnTo>
                      <a:pt x="44" y="94"/>
                    </a:lnTo>
                    <a:lnTo>
                      <a:pt x="42" y="94"/>
                    </a:lnTo>
                    <a:lnTo>
                      <a:pt x="40" y="94"/>
                    </a:lnTo>
                    <a:lnTo>
                      <a:pt x="39" y="94"/>
                    </a:lnTo>
                    <a:lnTo>
                      <a:pt x="39" y="96"/>
                    </a:lnTo>
                    <a:lnTo>
                      <a:pt x="37" y="96"/>
                    </a:lnTo>
                    <a:lnTo>
                      <a:pt x="35" y="96"/>
                    </a:lnTo>
                    <a:lnTo>
                      <a:pt x="35" y="98"/>
                    </a:lnTo>
                    <a:lnTo>
                      <a:pt x="35" y="96"/>
                    </a:lnTo>
                    <a:lnTo>
                      <a:pt x="33" y="96"/>
                    </a:lnTo>
                    <a:lnTo>
                      <a:pt x="35" y="94"/>
                    </a:lnTo>
                    <a:lnTo>
                      <a:pt x="33" y="92"/>
                    </a:lnTo>
                    <a:lnTo>
                      <a:pt x="31" y="94"/>
                    </a:lnTo>
                    <a:lnTo>
                      <a:pt x="31" y="96"/>
                    </a:lnTo>
                    <a:lnTo>
                      <a:pt x="31" y="94"/>
                    </a:lnTo>
                    <a:lnTo>
                      <a:pt x="29" y="96"/>
                    </a:lnTo>
                    <a:lnTo>
                      <a:pt x="29" y="94"/>
                    </a:lnTo>
                    <a:lnTo>
                      <a:pt x="29" y="92"/>
                    </a:lnTo>
                    <a:lnTo>
                      <a:pt x="27" y="92"/>
                    </a:lnTo>
                    <a:lnTo>
                      <a:pt x="27" y="94"/>
                    </a:lnTo>
                    <a:lnTo>
                      <a:pt x="25" y="94"/>
                    </a:lnTo>
                    <a:lnTo>
                      <a:pt x="25" y="92"/>
                    </a:lnTo>
                    <a:lnTo>
                      <a:pt x="23" y="92"/>
                    </a:lnTo>
                    <a:lnTo>
                      <a:pt x="25" y="92"/>
                    </a:lnTo>
                    <a:lnTo>
                      <a:pt x="25" y="90"/>
                    </a:lnTo>
                    <a:lnTo>
                      <a:pt x="23" y="90"/>
                    </a:lnTo>
                    <a:lnTo>
                      <a:pt x="23" y="88"/>
                    </a:lnTo>
                    <a:lnTo>
                      <a:pt x="23" y="86"/>
                    </a:lnTo>
                    <a:lnTo>
                      <a:pt x="21" y="86"/>
                    </a:lnTo>
                    <a:lnTo>
                      <a:pt x="21" y="84"/>
                    </a:lnTo>
                    <a:lnTo>
                      <a:pt x="23" y="82"/>
                    </a:lnTo>
                    <a:lnTo>
                      <a:pt x="23" y="84"/>
                    </a:lnTo>
                    <a:lnTo>
                      <a:pt x="25" y="82"/>
                    </a:lnTo>
                    <a:lnTo>
                      <a:pt x="27" y="82"/>
                    </a:lnTo>
                    <a:lnTo>
                      <a:pt x="27" y="80"/>
                    </a:lnTo>
                    <a:lnTo>
                      <a:pt x="25" y="80"/>
                    </a:lnTo>
                    <a:lnTo>
                      <a:pt x="25" y="78"/>
                    </a:lnTo>
                    <a:lnTo>
                      <a:pt x="23" y="78"/>
                    </a:lnTo>
                    <a:lnTo>
                      <a:pt x="21" y="78"/>
                    </a:lnTo>
                    <a:lnTo>
                      <a:pt x="19" y="78"/>
                    </a:lnTo>
                    <a:lnTo>
                      <a:pt x="19" y="76"/>
                    </a:lnTo>
                    <a:lnTo>
                      <a:pt x="19" y="75"/>
                    </a:lnTo>
                    <a:lnTo>
                      <a:pt x="21" y="75"/>
                    </a:lnTo>
                    <a:lnTo>
                      <a:pt x="21" y="73"/>
                    </a:lnTo>
                    <a:lnTo>
                      <a:pt x="21" y="71"/>
                    </a:lnTo>
                    <a:lnTo>
                      <a:pt x="23" y="69"/>
                    </a:lnTo>
                    <a:lnTo>
                      <a:pt x="23" y="67"/>
                    </a:lnTo>
                    <a:lnTo>
                      <a:pt x="25" y="67"/>
                    </a:lnTo>
                    <a:lnTo>
                      <a:pt x="25" y="65"/>
                    </a:lnTo>
                    <a:lnTo>
                      <a:pt x="23" y="65"/>
                    </a:lnTo>
                    <a:lnTo>
                      <a:pt x="21" y="65"/>
                    </a:lnTo>
                    <a:lnTo>
                      <a:pt x="21" y="63"/>
                    </a:lnTo>
                    <a:lnTo>
                      <a:pt x="19" y="63"/>
                    </a:lnTo>
                    <a:lnTo>
                      <a:pt x="17" y="63"/>
                    </a:lnTo>
                    <a:lnTo>
                      <a:pt x="15" y="61"/>
                    </a:lnTo>
                    <a:lnTo>
                      <a:pt x="15" y="63"/>
                    </a:lnTo>
                    <a:lnTo>
                      <a:pt x="14" y="63"/>
                    </a:lnTo>
                    <a:lnTo>
                      <a:pt x="14" y="61"/>
                    </a:lnTo>
                    <a:lnTo>
                      <a:pt x="12" y="61"/>
                    </a:lnTo>
                    <a:lnTo>
                      <a:pt x="12" y="59"/>
                    </a:lnTo>
                    <a:lnTo>
                      <a:pt x="10" y="59"/>
                    </a:lnTo>
                    <a:lnTo>
                      <a:pt x="10" y="57"/>
                    </a:lnTo>
                    <a:lnTo>
                      <a:pt x="12" y="55"/>
                    </a:lnTo>
                    <a:lnTo>
                      <a:pt x="10" y="53"/>
                    </a:lnTo>
                    <a:lnTo>
                      <a:pt x="8" y="51"/>
                    </a:lnTo>
                    <a:lnTo>
                      <a:pt x="6" y="51"/>
                    </a:lnTo>
                    <a:lnTo>
                      <a:pt x="6" y="50"/>
                    </a:lnTo>
                    <a:lnTo>
                      <a:pt x="6" y="48"/>
                    </a:lnTo>
                    <a:lnTo>
                      <a:pt x="4" y="48"/>
                    </a:lnTo>
                    <a:lnTo>
                      <a:pt x="2" y="48"/>
                    </a:lnTo>
                    <a:lnTo>
                      <a:pt x="0" y="48"/>
                    </a:lnTo>
                    <a:lnTo>
                      <a:pt x="0" y="46"/>
                    </a:lnTo>
                    <a:lnTo>
                      <a:pt x="0" y="44"/>
                    </a:lnTo>
                    <a:lnTo>
                      <a:pt x="2" y="44"/>
                    </a:lnTo>
                    <a:lnTo>
                      <a:pt x="4" y="44"/>
                    </a:lnTo>
                    <a:lnTo>
                      <a:pt x="4" y="42"/>
                    </a:lnTo>
                    <a:lnTo>
                      <a:pt x="6" y="42"/>
                    </a:lnTo>
                    <a:lnTo>
                      <a:pt x="8" y="42"/>
                    </a:lnTo>
                    <a:lnTo>
                      <a:pt x="6" y="42"/>
                    </a:lnTo>
                    <a:lnTo>
                      <a:pt x="8" y="42"/>
                    </a:lnTo>
                    <a:lnTo>
                      <a:pt x="6" y="40"/>
                    </a:lnTo>
                    <a:lnTo>
                      <a:pt x="6" y="38"/>
                    </a:lnTo>
                    <a:lnTo>
                      <a:pt x="6" y="36"/>
                    </a:lnTo>
                    <a:lnTo>
                      <a:pt x="8" y="36"/>
                    </a:lnTo>
                    <a:lnTo>
                      <a:pt x="8" y="34"/>
                    </a:lnTo>
                    <a:lnTo>
                      <a:pt x="10" y="34"/>
                    </a:lnTo>
                    <a:lnTo>
                      <a:pt x="12" y="34"/>
                    </a:lnTo>
                    <a:lnTo>
                      <a:pt x="12" y="32"/>
                    </a:lnTo>
                    <a:lnTo>
                      <a:pt x="14" y="30"/>
                    </a:lnTo>
                    <a:lnTo>
                      <a:pt x="12" y="30"/>
                    </a:lnTo>
                    <a:lnTo>
                      <a:pt x="12" y="28"/>
                    </a:lnTo>
                    <a:lnTo>
                      <a:pt x="14" y="28"/>
                    </a:lnTo>
                    <a:lnTo>
                      <a:pt x="14" y="26"/>
                    </a:lnTo>
                    <a:lnTo>
                      <a:pt x="12" y="26"/>
                    </a:lnTo>
                    <a:lnTo>
                      <a:pt x="14" y="26"/>
                    </a:lnTo>
                    <a:lnTo>
                      <a:pt x="12" y="25"/>
                    </a:lnTo>
                    <a:lnTo>
                      <a:pt x="14" y="23"/>
                    </a:lnTo>
                    <a:lnTo>
                      <a:pt x="12" y="21"/>
                    </a:lnTo>
                    <a:lnTo>
                      <a:pt x="12" y="19"/>
                    </a:lnTo>
                    <a:lnTo>
                      <a:pt x="14" y="19"/>
                    </a:lnTo>
                    <a:lnTo>
                      <a:pt x="15" y="19"/>
                    </a:lnTo>
                    <a:lnTo>
                      <a:pt x="14" y="19"/>
                    </a:lnTo>
                    <a:lnTo>
                      <a:pt x="15" y="19"/>
                    </a:lnTo>
                    <a:lnTo>
                      <a:pt x="15" y="21"/>
                    </a:lnTo>
                    <a:lnTo>
                      <a:pt x="15" y="19"/>
                    </a:lnTo>
                    <a:lnTo>
                      <a:pt x="15" y="21"/>
                    </a:lnTo>
                    <a:lnTo>
                      <a:pt x="17" y="21"/>
                    </a:lnTo>
                    <a:lnTo>
                      <a:pt x="19" y="21"/>
                    </a:lnTo>
                    <a:lnTo>
                      <a:pt x="21" y="21"/>
                    </a:lnTo>
                    <a:lnTo>
                      <a:pt x="21" y="23"/>
                    </a:lnTo>
                    <a:lnTo>
                      <a:pt x="23" y="23"/>
                    </a:lnTo>
                    <a:lnTo>
                      <a:pt x="25" y="23"/>
                    </a:lnTo>
                    <a:lnTo>
                      <a:pt x="25" y="21"/>
                    </a:lnTo>
                    <a:lnTo>
                      <a:pt x="27" y="21"/>
                    </a:lnTo>
                    <a:lnTo>
                      <a:pt x="25" y="21"/>
                    </a:lnTo>
                    <a:lnTo>
                      <a:pt x="27" y="21"/>
                    </a:lnTo>
                    <a:lnTo>
                      <a:pt x="25" y="19"/>
                    </a:lnTo>
                    <a:lnTo>
                      <a:pt x="27" y="19"/>
                    </a:lnTo>
                    <a:lnTo>
                      <a:pt x="27" y="17"/>
                    </a:lnTo>
                    <a:lnTo>
                      <a:pt x="27" y="15"/>
                    </a:lnTo>
                    <a:lnTo>
                      <a:pt x="29" y="15"/>
                    </a:lnTo>
                    <a:lnTo>
                      <a:pt x="29" y="13"/>
                    </a:lnTo>
                    <a:lnTo>
                      <a:pt x="31" y="13"/>
                    </a:lnTo>
                    <a:lnTo>
                      <a:pt x="33" y="13"/>
                    </a:lnTo>
                    <a:lnTo>
                      <a:pt x="31" y="13"/>
                    </a:lnTo>
                    <a:lnTo>
                      <a:pt x="31" y="11"/>
                    </a:lnTo>
                    <a:lnTo>
                      <a:pt x="29" y="9"/>
                    </a:lnTo>
                    <a:lnTo>
                      <a:pt x="31" y="9"/>
                    </a:lnTo>
                    <a:lnTo>
                      <a:pt x="33" y="9"/>
                    </a:lnTo>
                    <a:lnTo>
                      <a:pt x="35" y="7"/>
                    </a:lnTo>
                    <a:lnTo>
                      <a:pt x="37" y="7"/>
                    </a:lnTo>
                    <a:lnTo>
                      <a:pt x="39" y="7"/>
                    </a:lnTo>
                    <a:lnTo>
                      <a:pt x="40" y="5"/>
                    </a:lnTo>
                    <a:lnTo>
                      <a:pt x="42" y="5"/>
                    </a:lnTo>
                    <a:lnTo>
                      <a:pt x="42" y="7"/>
                    </a:lnTo>
                    <a:lnTo>
                      <a:pt x="40" y="7"/>
                    </a:lnTo>
                    <a:lnTo>
                      <a:pt x="40" y="9"/>
                    </a:lnTo>
                    <a:lnTo>
                      <a:pt x="42" y="9"/>
                    </a:lnTo>
                    <a:lnTo>
                      <a:pt x="44" y="9"/>
                    </a:lnTo>
                    <a:lnTo>
                      <a:pt x="46" y="9"/>
                    </a:lnTo>
                    <a:lnTo>
                      <a:pt x="48" y="9"/>
                    </a:lnTo>
                    <a:lnTo>
                      <a:pt x="48" y="7"/>
                    </a:lnTo>
                    <a:lnTo>
                      <a:pt x="50" y="7"/>
                    </a:lnTo>
                    <a:lnTo>
                      <a:pt x="50" y="5"/>
                    </a:lnTo>
                    <a:lnTo>
                      <a:pt x="50" y="3"/>
                    </a:lnTo>
                    <a:lnTo>
                      <a:pt x="52" y="3"/>
                    </a:lnTo>
                    <a:lnTo>
                      <a:pt x="54" y="3"/>
                    </a:lnTo>
                    <a:lnTo>
                      <a:pt x="54" y="5"/>
                    </a:lnTo>
                    <a:lnTo>
                      <a:pt x="56" y="5"/>
                    </a:lnTo>
                    <a:lnTo>
                      <a:pt x="58" y="5"/>
                    </a:lnTo>
                    <a:lnTo>
                      <a:pt x="58" y="3"/>
                    </a:lnTo>
                    <a:lnTo>
                      <a:pt x="58" y="1"/>
                    </a:lnTo>
                    <a:lnTo>
                      <a:pt x="60" y="1"/>
                    </a:lnTo>
                    <a:lnTo>
                      <a:pt x="62" y="1"/>
                    </a:lnTo>
                    <a:lnTo>
                      <a:pt x="62" y="0"/>
                    </a:lnTo>
                    <a:lnTo>
                      <a:pt x="63" y="0"/>
                    </a:lnTo>
                    <a:lnTo>
                      <a:pt x="65" y="0"/>
                    </a:lnTo>
                    <a:lnTo>
                      <a:pt x="67" y="0"/>
                    </a:lnTo>
                    <a:lnTo>
                      <a:pt x="65" y="1"/>
                    </a:lnTo>
                    <a:lnTo>
                      <a:pt x="67" y="3"/>
                    </a:lnTo>
                    <a:lnTo>
                      <a:pt x="67" y="1"/>
                    </a:lnTo>
                    <a:lnTo>
                      <a:pt x="69" y="3"/>
                    </a:lnTo>
                    <a:lnTo>
                      <a:pt x="71" y="3"/>
                    </a:lnTo>
                    <a:lnTo>
                      <a:pt x="73" y="3"/>
                    </a:lnTo>
                    <a:lnTo>
                      <a:pt x="73" y="1"/>
                    </a:lnTo>
                    <a:lnTo>
                      <a:pt x="73" y="3"/>
                    </a:lnTo>
                    <a:lnTo>
                      <a:pt x="75" y="3"/>
                    </a:lnTo>
                    <a:lnTo>
                      <a:pt x="77" y="5"/>
                    </a:lnTo>
                    <a:lnTo>
                      <a:pt x="75" y="5"/>
                    </a:lnTo>
                    <a:lnTo>
                      <a:pt x="77" y="5"/>
                    </a:lnTo>
                    <a:lnTo>
                      <a:pt x="79" y="7"/>
                    </a:lnTo>
                    <a:lnTo>
                      <a:pt x="79" y="5"/>
                    </a:lnTo>
                    <a:lnTo>
                      <a:pt x="79" y="7"/>
                    </a:lnTo>
                    <a:lnTo>
                      <a:pt x="79" y="5"/>
                    </a:lnTo>
                    <a:lnTo>
                      <a:pt x="81" y="3"/>
                    </a:lnTo>
                    <a:lnTo>
                      <a:pt x="81" y="5"/>
                    </a:lnTo>
                    <a:lnTo>
                      <a:pt x="83" y="5"/>
                    </a:lnTo>
                    <a:lnTo>
                      <a:pt x="85" y="5"/>
                    </a:lnTo>
                    <a:lnTo>
                      <a:pt x="87" y="5"/>
                    </a:lnTo>
                    <a:lnTo>
                      <a:pt x="87" y="7"/>
                    </a:lnTo>
                    <a:lnTo>
                      <a:pt x="85" y="7"/>
                    </a:lnTo>
                    <a:lnTo>
                      <a:pt x="85" y="9"/>
                    </a:lnTo>
                    <a:lnTo>
                      <a:pt x="85" y="11"/>
                    </a:lnTo>
                    <a:lnTo>
                      <a:pt x="85" y="13"/>
                    </a:lnTo>
                    <a:lnTo>
                      <a:pt x="85" y="15"/>
                    </a:lnTo>
                    <a:lnTo>
                      <a:pt x="83" y="15"/>
                    </a:lnTo>
                    <a:lnTo>
                      <a:pt x="83" y="17"/>
                    </a:lnTo>
                    <a:lnTo>
                      <a:pt x="81" y="17"/>
                    </a:lnTo>
                    <a:lnTo>
                      <a:pt x="81" y="19"/>
                    </a:lnTo>
                    <a:lnTo>
                      <a:pt x="83" y="19"/>
                    </a:lnTo>
                    <a:lnTo>
                      <a:pt x="85" y="19"/>
                    </a:lnTo>
                    <a:lnTo>
                      <a:pt x="87" y="19"/>
                    </a:lnTo>
                    <a:lnTo>
                      <a:pt x="88" y="19"/>
                    </a:lnTo>
                    <a:lnTo>
                      <a:pt x="88" y="21"/>
                    </a:lnTo>
                    <a:lnTo>
                      <a:pt x="88" y="23"/>
                    </a:lnTo>
                    <a:lnTo>
                      <a:pt x="90" y="23"/>
                    </a:lnTo>
                    <a:lnTo>
                      <a:pt x="92" y="23"/>
                    </a:lnTo>
                    <a:lnTo>
                      <a:pt x="94" y="23"/>
                    </a:lnTo>
                    <a:lnTo>
                      <a:pt x="96" y="23"/>
                    </a:lnTo>
                    <a:lnTo>
                      <a:pt x="96" y="25"/>
                    </a:lnTo>
                    <a:lnTo>
                      <a:pt x="98" y="25"/>
                    </a:lnTo>
                    <a:lnTo>
                      <a:pt x="100" y="25"/>
                    </a:lnTo>
                    <a:lnTo>
                      <a:pt x="102" y="25"/>
                    </a:lnTo>
                    <a:lnTo>
                      <a:pt x="104" y="25"/>
                    </a:lnTo>
                    <a:lnTo>
                      <a:pt x="106" y="25"/>
                    </a:lnTo>
                    <a:lnTo>
                      <a:pt x="106" y="26"/>
                    </a:lnTo>
                    <a:lnTo>
                      <a:pt x="106" y="28"/>
                    </a:lnTo>
                    <a:lnTo>
                      <a:pt x="106" y="30"/>
                    </a:lnTo>
                    <a:lnTo>
                      <a:pt x="106" y="32"/>
                    </a:lnTo>
                    <a:lnTo>
                      <a:pt x="106" y="34"/>
                    </a:lnTo>
                    <a:lnTo>
                      <a:pt x="106" y="36"/>
                    </a:lnTo>
                    <a:lnTo>
                      <a:pt x="106" y="38"/>
                    </a:lnTo>
                    <a:lnTo>
                      <a:pt x="108" y="38"/>
                    </a:lnTo>
                    <a:lnTo>
                      <a:pt x="108" y="40"/>
                    </a:lnTo>
                    <a:lnTo>
                      <a:pt x="108" y="42"/>
                    </a:lnTo>
                    <a:lnTo>
                      <a:pt x="108" y="44"/>
                    </a:lnTo>
                    <a:lnTo>
                      <a:pt x="110" y="44"/>
                    </a:lnTo>
                    <a:lnTo>
                      <a:pt x="110" y="46"/>
                    </a:lnTo>
                    <a:lnTo>
                      <a:pt x="110" y="48"/>
                    </a:lnTo>
                    <a:lnTo>
                      <a:pt x="110" y="50"/>
                    </a:lnTo>
                    <a:lnTo>
                      <a:pt x="112" y="50"/>
                    </a:lnTo>
                    <a:lnTo>
                      <a:pt x="112" y="51"/>
                    </a:lnTo>
                    <a:lnTo>
                      <a:pt x="112" y="53"/>
                    </a:lnTo>
                    <a:lnTo>
                      <a:pt x="113" y="53"/>
                    </a:lnTo>
                    <a:lnTo>
                      <a:pt x="115" y="53"/>
                    </a:lnTo>
                    <a:lnTo>
                      <a:pt x="115" y="55"/>
                    </a:lnTo>
                    <a:lnTo>
                      <a:pt x="115" y="57"/>
                    </a:lnTo>
                    <a:lnTo>
                      <a:pt x="117" y="55"/>
                    </a:lnTo>
                    <a:lnTo>
                      <a:pt x="117" y="57"/>
                    </a:lnTo>
                    <a:lnTo>
                      <a:pt x="117" y="59"/>
                    </a:lnTo>
                    <a:lnTo>
                      <a:pt x="119" y="59"/>
                    </a:lnTo>
                    <a:lnTo>
                      <a:pt x="119" y="61"/>
                    </a:lnTo>
                    <a:lnTo>
                      <a:pt x="117" y="61"/>
                    </a:lnTo>
                    <a:lnTo>
                      <a:pt x="117" y="63"/>
                    </a:lnTo>
                    <a:lnTo>
                      <a:pt x="119" y="63"/>
                    </a:lnTo>
                    <a:lnTo>
                      <a:pt x="119" y="65"/>
                    </a:lnTo>
                    <a:lnTo>
                      <a:pt x="121" y="65"/>
                    </a:lnTo>
                    <a:lnTo>
                      <a:pt x="121" y="67"/>
                    </a:lnTo>
                    <a:lnTo>
                      <a:pt x="119" y="67"/>
                    </a:lnTo>
                    <a:lnTo>
                      <a:pt x="119" y="69"/>
                    </a:lnTo>
                    <a:lnTo>
                      <a:pt x="119" y="71"/>
                    </a:lnTo>
                    <a:lnTo>
                      <a:pt x="121" y="73"/>
                    </a:lnTo>
                    <a:lnTo>
                      <a:pt x="123" y="71"/>
                    </a:lnTo>
                    <a:lnTo>
                      <a:pt x="125" y="69"/>
                    </a:lnTo>
                    <a:lnTo>
                      <a:pt x="127" y="69"/>
                    </a:lnTo>
                    <a:lnTo>
                      <a:pt x="127" y="71"/>
                    </a:lnTo>
                    <a:lnTo>
                      <a:pt x="129" y="73"/>
                    </a:lnTo>
                    <a:lnTo>
                      <a:pt x="129" y="75"/>
                    </a:lnTo>
                    <a:lnTo>
                      <a:pt x="131" y="75"/>
                    </a:lnTo>
                    <a:lnTo>
                      <a:pt x="133" y="75"/>
                    </a:lnTo>
                    <a:lnTo>
                      <a:pt x="133" y="73"/>
                    </a:lnTo>
                    <a:lnTo>
                      <a:pt x="135"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0" name="Freeform 57"/>
              <p:cNvSpPr>
                <a:spLocks noEditPoints="1"/>
              </p:cNvSpPr>
              <p:nvPr/>
            </p:nvSpPr>
            <p:spPr bwMode="auto">
              <a:xfrm>
                <a:off x="677209" y="1692019"/>
                <a:ext cx="480055" cy="373376"/>
              </a:xfrm>
              <a:custGeom>
                <a:avLst/>
                <a:gdLst>
                  <a:gd name="T0" fmla="*/ 140 w 279"/>
                  <a:gd name="T1" fmla="*/ 19 h 217"/>
                  <a:gd name="T2" fmla="*/ 208 w 279"/>
                  <a:gd name="T3" fmla="*/ 94 h 217"/>
                  <a:gd name="T4" fmla="*/ 229 w 279"/>
                  <a:gd name="T5" fmla="*/ 98 h 217"/>
                  <a:gd name="T6" fmla="*/ 225 w 279"/>
                  <a:gd name="T7" fmla="*/ 84 h 217"/>
                  <a:gd name="T8" fmla="*/ 248 w 279"/>
                  <a:gd name="T9" fmla="*/ 94 h 217"/>
                  <a:gd name="T10" fmla="*/ 265 w 279"/>
                  <a:gd name="T11" fmla="*/ 102 h 217"/>
                  <a:gd name="T12" fmla="*/ 271 w 279"/>
                  <a:gd name="T13" fmla="*/ 115 h 217"/>
                  <a:gd name="T14" fmla="*/ 254 w 279"/>
                  <a:gd name="T15" fmla="*/ 130 h 217"/>
                  <a:gd name="T16" fmla="*/ 234 w 279"/>
                  <a:gd name="T17" fmla="*/ 159 h 217"/>
                  <a:gd name="T18" fmla="*/ 225 w 279"/>
                  <a:gd name="T19" fmla="*/ 177 h 217"/>
                  <a:gd name="T20" fmla="*/ 219 w 279"/>
                  <a:gd name="T21" fmla="*/ 203 h 217"/>
                  <a:gd name="T22" fmla="*/ 208 w 279"/>
                  <a:gd name="T23" fmla="*/ 209 h 217"/>
                  <a:gd name="T24" fmla="*/ 192 w 279"/>
                  <a:gd name="T25" fmla="*/ 213 h 217"/>
                  <a:gd name="T26" fmla="*/ 175 w 279"/>
                  <a:gd name="T27" fmla="*/ 211 h 217"/>
                  <a:gd name="T28" fmla="*/ 161 w 279"/>
                  <a:gd name="T29" fmla="*/ 198 h 217"/>
                  <a:gd name="T30" fmla="*/ 160 w 279"/>
                  <a:gd name="T31" fmla="*/ 182 h 217"/>
                  <a:gd name="T32" fmla="*/ 148 w 279"/>
                  <a:gd name="T33" fmla="*/ 171 h 217"/>
                  <a:gd name="T34" fmla="*/ 129 w 279"/>
                  <a:gd name="T35" fmla="*/ 177 h 217"/>
                  <a:gd name="T36" fmla="*/ 121 w 279"/>
                  <a:gd name="T37" fmla="*/ 173 h 217"/>
                  <a:gd name="T38" fmla="*/ 123 w 279"/>
                  <a:gd name="T39" fmla="*/ 159 h 217"/>
                  <a:gd name="T40" fmla="*/ 121 w 279"/>
                  <a:gd name="T41" fmla="*/ 152 h 217"/>
                  <a:gd name="T42" fmla="*/ 112 w 279"/>
                  <a:gd name="T43" fmla="*/ 148 h 217"/>
                  <a:gd name="T44" fmla="*/ 100 w 279"/>
                  <a:gd name="T45" fmla="*/ 153 h 217"/>
                  <a:gd name="T46" fmla="*/ 87 w 279"/>
                  <a:gd name="T47" fmla="*/ 153 h 217"/>
                  <a:gd name="T48" fmla="*/ 69 w 279"/>
                  <a:gd name="T49" fmla="*/ 155 h 217"/>
                  <a:gd name="T50" fmla="*/ 54 w 279"/>
                  <a:gd name="T51" fmla="*/ 155 h 217"/>
                  <a:gd name="T52" fmla="*/ 40 w 279"/>
                  <a:gd name="T53" fmla="*/ 163 h 217"/>
                  <a:gd name="T54" fmla="*/ 29 w 279"/>
                  <a:gd name="T55" fmla="*/ 163 h 217"/>
                  <a:gd name="T56" fmla="*/ 27 w 279"/>
                  <a:gd name="T57" fmla="*/ 150 h 217"/>
                  <a:gd name="T58" fmla="*/ 21 w 279"/>
                  <a:gd name="T59" fmla="*/ 140 h 217"/>
                  <a:gd name="T60" fmla="*/ 21 w 279"/>
                  <a:gd name="T61" fmla="*/ 130 h 217"/>
                  <a:gd name="T62" fmla="*/ 17 w 279"/>
                  <a:gd name="T63" fmla="*/ 117 h 217"/>
                  <a:gd name="T64" fmla="*/ 8 w 279"/>
                  <a:gd name="T65" fmla="*/ 107 h 217"/>
                  <a:gd name="T66" fmla="*/ 2 w 279"/>
                  <a:gd name="T67" fmla="*/ 92 h 217"/>
                  <a:gd name="T68" fmla="*/ 23 w 279"/>
                  <a:gd name="T69" fmla="*/ 84 h 217"/>
                  <a:gd name="T70" fmla="*/ 37 w 279"/>
                  <a:gd name="T71" fmla="*/ 63 h 217"/>
                  <a:gd name="T72" fmla="*/ 42 w 279"/>
                  <a:gd name="T73" fmla="*/ 67 h 217"/>
                  <a:gd name="T74" fmla="*/ 44 w 279"/>
                  <a:gd name="T75" fmla="*/ 69 h 217"/>
                  <a:gd name="T76" fmla="*/ 62 w 279"/>
                  <a:gd name="T77" fmla="*/ 71 h 217"/>
                  <a:gd name="T78" fmla="*/ 75 w 279"/>
                  <a:gd name="T79" fmla="*/ 67 h 217"/>
                  <a:gd name="T80" fmla="*/ 87 w 279"/>
                  <a:gd name="T81" fmla="*/ 80 h 217"/>
                  <a:gd name="T82" fmla="*/ 87 w 279"/>
                  <a:gd name="T83" fmla="*/ 98 h 217"/>
                  <a:gd name="T84" fmla="*/ 92 w 279"/>
                  <a:gd name="T85" fmla="*/ 102 h 217"/>
                  <a:gd name="T86" fmla="*/ 94 w 279"/>
                  <a:gd name="T87" fmla="*/ 107 h 217"/>
                  <a:gd name="T88" fmla="*/ 104 w 279"/>
                  <a:gd name="T89" fmla="*/ 100 h 217"/>
                  <a:gd name="T90" fmla="*/ 108 w 279"/>
                  <a:gd name="T91" fmla="*/ 82 h 217"/>
                  <a:gd name="T92" fmla="*/ 100 w 279"/>
                  <a:gd name="T93" fmla="*/ 65 h 217"/>
                  <a:gd name="T94" fmla="*/ 83 w 279"/>
                  <a:gd name="T95" fmla="*/ 55 h 217"/>
                  <a:gd name="T96" fmla="*/ 83 w 279"/>
                  <a:gd name="T97" fmla="*/ 42 h 217"/>
                  <a:gd name="T98" fmla="*/ 83 w 279"/>
                  <a:gd name="T99" fmla="*/ 27 h 217"/>
                  <a:gd name="T100" fmla="*/ 88 w 279"/>
                  <a:gd name="T101" fmla="*/ 28 h 217"/>
                  <a:gd name="T102" fmla="*/ 94 w 279"/>
                  <a:gd name="T103" fmla="*/ 23 h 217"/>
                  <a:gd name="T104" fmla="*/ 98 w 279"/>
                  <a:gd name="T105" fmla="*/ 19 h 217"/>
                  <a:gd name="T106" fmla="*/ 90 w 279"/>
                  <a:gd name="T107" fmla="*/ 19 h 217"/>
                  <a:gd name="T108" fmla="*/ 83 w 279"/>
                  <a:gd name="T109" fmla="*/ 19 h 217"/>
                  <a:gd name="T110" fmla="*/ 75 w 279"/>
                  <a:gd name="T111" fmla="*/ 21 h 217"/>
                  <a:gd name="T112" fmla="*/ 69 w 279"/>
                  <a:gd name="T113" fmla="*/ 15 h 217"/>
                  <a:gd name="T114" fmla="*/ 81 w 279"/>
                  <a:gd name="T115" fmla="*/ 9 h 217"/>
                  <a:gd name="T116" fmla="*/ 110 w 279"/>
                  <a:gd name="T117" fmla="*/ 4 h 217"/>
                  <a:gd name="T118" fmla="*/ 135 w 279"/>
                  <a:gd name="T119" fmla="*/ 4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9" h="217">
                    <a:moveTo>
                      <a:pt x="63" y="15"/>
                    </a:moveTo>
                    <a:lnTo>
                      <a:pt x="63" y="17"/>
                    </a:lnTo>
                    <a:lnTo>
                      <a:pt x="63" y="15"/>
                    </a:lnTo>
                    <a:lnTo>
                      <a:pt x="63" y="17"/>
                    </a:lnTo>
                    <a:lnTo>
                      <a:pt x="63" y="15"/>
                    </a:lnTo>
                    <a:close/>
                    <a:moveTo>
                      <a:pt x="135" y="5"/>
                    </a:moveTo>
                    <a:lnTo>
                      <a:pt x="136" y="7"/>
                    </a:lnTo>
                    <a:lnTo>
                      <a:pt x="136" y="9"/>
                    </a:lnTo>
                    <a:lnTo>
                      <a:pt x="136" y="11"/>
                    </a:lnTo>
                    <a:lnTo>
                      <a:pt x="135" y="11"/>
                    </a:lnTo>
                    <a:lnTo>
                      <a:pt x="135" y="13"/>
                    </a:lnTo>
                    <a:lnTo>
                      <a:pt x="136" y="11"/>
                    </a:lnTo>
                    <a:lnTo>
                      <a:pt x="136" y="13"/>
                    </a:lnTo>
                    <a:lnTo>
                      <a:pt x="138" y="15"/>
                    </a:lnTo>
                    <a:lnTo>
                      <a:pt x="140" y="17"/>
                    </a:lnTo>
                    <a:lnTo>
                      <a:pt x="140" y="19"/>
                    </a:lnTo>
                    <a:lnTo>
                      <a:pt x="142" y="19"/>
                    </a:lnTo>
                    <a:lnTo>
                      <a:pt x="156" y="28"/>
                    </a:lnTo>
                    <a:lnTo>
                      <a:pt x="194" y="98"/>
                    </a:lnTo>
                    <a:lnTo>
                      <a:pt x="194" y="96"/>
                    </a:lnTo>
                    <a:lnTo>
                      <a:pt x="196" y="98"/>
                    </a:lnTo>
                    <a:lnTo>
                      <a:pt x="198" y="98"/>
                    </a:lnTo>
                    <a:lnTo>
                      <a:pt x="198" y="100"/>
                    </a:lnTo>
                    <a:lnTo>
                      <a:pt x="200" y="100"/>
                    </a:lnTo>
                    <a:lnTo>
                      <a:pt x="202" y="100"/>
                    </a:lnTo>
                    <a:lnTo>
                      <a:pt x="202" y="98"/>
                    </a:lnTo>
                    <a:lnTo>
                      <a:pt x="204" y="98"/>
                    </a:lnTo>
                    <a:lnTo>
                      <a:pt x="206" y="98"/>
                    </a:lnTo>
                    <a:lnTo>
                      <a:pt x="206" y="96"/>
                    </a:lnTo>
                    <a:lnTo>
                      <a:pt x="208" y="94"/>
                    </a:lnTo>
                    <a:lnTo>
                      <a:pt x="208" y="96"/>
                    </a:lnTo>
                    <a:lnTo>
                      <a:pt x="208" y="94"/>
                    </a:lnTo>
                    <a:lnTo>
                      <a:pt x="209" y="94"/>
                    </a:lnTo>
                    <a:lnTo>
                      <a:pt x="211" y="94"/>
                    </a:lnTo>
                    <a:lnTo>
                      <a:pt x="213" y="94"/>
                    </a:lnTo>
                    <a:lnTo>
                      <a:pt x="215" y="94"/>
                    </a:lnTo>
                    <a:lnTo>
                      <a:pt x="217" y="94"/>
                    </a:lnTo>
                    <a:lnTo>
                      <a:pt x="217" y="92"/>
                    </a:lnTo>
                    <a:lnTo>
                      <a:pt x="217" y="90"/>
                    </a:lnTo>
                    <a:lnTo>
                      <a:pt x="219" y="90"/>
                    </a:lnTo>
                    <a:lnTo>
                      <a:pt x="221" y="92"/>
                    </a:lnTo>
                    <a:lnTo>
                      <a:pt x="221" y="94"/>
                    </a:lnTo>
                    <a:lnTo>
                      <a:pt x="221" y="96"/>
                    </a:lnTo>
                    <a:lnTo>
                      <a:pt x="223" y="98"/>
                    </a:lnTo>
                    <a:lnTo>
                      <a:pt x="225" y="100"/>
                    </a:lnTo>
                    <a:lnTo>
                      <a:pt x="227" y="100"/>
                    </a:lnTo>
                    <a:lnTo>
                      <a:pt x="227" y="98"/>
                    </a:lnTo>
                    <a:lnTo>
                      <a:pt x="229" y="98"/>
                    </a:lnTo>
                    <a:lnTo>
                      <a:pt x="231" y="98"/>
                    </a:lnTo>
                    <a:lnTo>
                      <a:pt x="231" y="96"/>
                    </a:lnTo>
                    <a:lnTo>
                      <a:pt x="233" y="96"/>
                    </a:lnTo>
                    <a:lnTo>
                      <a:pt x="233" y="94"/>
                    </a:lnTo>
                    <a:lnTo>
                      <a:pt x="233" y="96"/>
                    </a:lnTo>
                    <a:lnTo>
                      <a:pt x="233" y="94"/>
                    </a:lnTo>
                    <a:lnTo>
                      <a:pt x="234" y="92"/>
                    </a:lnTo>
                    <a:lnTo>
                      <a:pt x="233" y="92"/>
                    </a:lnTo>
                    <a:lnTo>
                      <a:pt x="231" y="90"/>
                    </a:lnTo>
                    <a:lnTo>
                      <a:pt x="231" y="88"/>
                    </a:lnTo>
                    <a:lnTo>
                      <a:pt x="229" y="88"/>
                    </a:lnTo>
                    <a:lnTo>
                      <a:pt x="227" y="90"/>
                    </a:lnTo>
                    <a:lnTo>
                      <a:pt x="225" y="90"/>
                    </a:lnTo>
                    <a:lnTo>
                      <a:pt x="225" y="88"/>
                    </a:lnTo>
                    <a:lnTo>
                      <a:pt x="225" y="86"/>
                    </a:lnTo>
                    <a:lnTo>
                      <a:pt x="225" y="84"/>
                    </a:lnTo>
                    <a:lnTo>
                      <a:pt x="225" y="82"/>
                    </a:lnTo>
                    <a:lnTo>
                      <a:pt x="227" y="82"/>
                    </a:lnTo>
                    <a:lnTo>
                      <a:pt x="229" y="82"/>
                    </a:lnTo>
                    <a:lnTo>
                      <a:pt x="229" y="80"/>
                    </a:lnTo>
                    <a:lnTo>
                      <a:pt x="231" y="80"/>
                    </a:lnTo>
                    <a:lnTo>
                      <a:pt x="231" y="82"/>
                    </a:lnTo>
                    <a:lnTo>
                      <a:pt x="233" y="82"/>
                    </a:lnTo>
                    <a:lnTo>
                      <a:pt x="234" y="82"/>
                    </a:lnTo>
                    <a:lnTo>
                      <a:pt x="234" y="84"/>
                    </a:lnTo>
                    <a:lnTo>
                      <a:pt x="238" y="84"/>
                    </a:lnTo>
                    <a:lnTo>
                      <a:pt x="238" y="86"/>
                    </a:lnTo>
                    <a:lnTo>
                      <a:pt x="240" y="86"/>
                    </a:lnTo>
                    <a:lnTo>
                      <a:pt x="246" y="90"/>
                    </a:lnTo>
                    <a:lnTo>
                      <a:pt x="246" y="92"/>
                    </a:lnTo>
                    <a:lnTo>
                      <a:pt x="248" y="92"/>
                    </a:lnTo>
                    <a:lnTo>
                      <a:pt x="248" y="94"/>
                    </a:lnTo>
                    <a:lnTo>
                      <a:pt x="248" y="96"/>
                    </a:lnTo>
                    <a:lnTo>
                      <a:pt x="248" y="98"/>
                    </a:lnTo>
                    <a:lnTo>
                      <a:pt x="248" y="100"/>
                    </a:lnTo>
                    <a:lnTo>
                      <a:pt x="250" y="100"/>
                    </a:lnTo>
                    <a:lnTo>
                      <a:pt x="250" y="98"/>
                    </a:lnTo>
                    <a:lnTo>
                      <a:pt x="252" y="98"/>
                    </a:lnTo>
                    <a:lnTo>
                      <a:pt x="252" y="96"/>
                    </a:lnTo>
                    <a:lnTo>
                      <a:pt x="254" y="96"/>
                    </a:lnTo>
                    <a:lnTo>
                      <a:pt x="256" y="96"/>
                    </a:lnTo>
                    <a:lnTo>
                      <a:pt x="256" y="94"/>
                    </a:lnTo>
                    <a:lnTo>
                      <a:pt x="258" y="96"/>
                    </a:lnTo>
                    <a:lnTo>
                      <a:pt x="259" y="96"/>
                    </a:lnTo>
                    <a:lnTo>
                      <a:pt x="261" y="96"/>
                    </a:lnTo>
                    <a:lnTo>
                      <a:pt x="261" y="98"/>
                    </a:lnTo>
                    <a:lnTo>
                      <a:pt x="263" y="100"/>
                    </a:lnTo>
                    <a:lnTo>
                      <a:pt x="265" y="102"/>
                    </a:lnTo>
                    <a:lnTo>
                      <a:pt x="267" y="103"/>
                    </a:lnTo>
                    <a:lnTo>
                      <a:pt x="267" y="105"/>
                    </a:lnTo>
                    <a:lnTo>
                      <a:pt x="269" y="105"/>
                    </a:lnTo>
                    <a:lnTo>
                      <a:pt x="269" y="107"/>
                    </a:lnTo>
                    <a:lnTo>
                      <a:pt x="271" y="105"/>
                    </a:lnTo>
                    <a:lnTo>
                      <a:pt x="271" y="107"/>
                    </a:lnTo>
                    <a:lnTo>
                      <a:pt x="273" y="107"/>
                    </a:lnTo>
                    <a:lnTo>
                      <a:pt x="275" y="107"/>
                    </a:lnTo>
                    <a:lnTo>
                      <a:pt x="275" y="109"/>
                    </a:lnTo>
                    <a:lnTo>
                      <a:pt x="275" y="111"/>
                    </a:lnTo>
                    <a:lnTo>
                      <a:pt x="273" y="111"/>
                    </a:lnTo>
                    <a:lnTo>
                      <a:pt x="271" y="111"/>
                    </a:lnTo>
                    <a:lnTo>
                      <a:pt x="271" y="113"/>
                    </a:lnTo>
                    <a:lnTo>
                      <a:pt x="271" y="115"/>
                    </a:lnTo>
                    <a:lnTo>
                      <a:pt x="271" y="117"/>
                    </a:lnTo>
                    <a:lnTo>
                      <a:pt x="271" y="115"/>
                    </a:lnTo>
                    <a:lnTo>
                      <a:pt x="273" y="115"/>
                    </a:lnTo>
                    <a:lnTo>
                      <a:pt x="273" y="117"/>
                    </a:lnTo>
                    <a:lnTo>
                      <a:pt x="275" y="117"/>
                    </a:lnTo>
                    <a:lnTo>
                      <a:pt x="275" y="115"/>
                    </a:lnTo>
                    <a:lnTo>
                      <a:pt x="277" y="117"/>
                    </a:lnTo>
                    <a:lnTo>
                      <a:pt x="279" y="121"/>
                    </a:lnTo>
                    <a:lnTo>
                      <a:pt x="267" y="130"/>
                    </a:lnTo>
                    <a:lnTo>
                      <a:pt x="265" y="130"/>
                    </a:lnTo>
                    <a:lnTo>
                      <a:pt x="265" y="132"/>
                    </a:lnTo>
                    <a:lnTo>
                      <a:pt x="263" y="132"/>
                    </a:lnTo>
                    <a:lnTo>
                      <a:pt x="261" y="132"/>
                    </a:lnTo>
                    <a:lnTo>
                      <a:pt x="259" y="132"/>
                    </a:lnTo>
                    <a:lnTo>
                      <a:pt x="259" y="130"/>
                    </a:lnTo>
                    <a:lnTo>
                      <a:pt x="258" y="130"/>
                    </a:lnTo>
                    <a:lnTo>
                      <a:pt x="256" y="130"/>
                    </a:lnTo>
                    <a:lnTo>
                      <a:pt x="254" y="130"/>
                    </a:lnTo>
                    <a:lnTo>
                      <a:pt x="254" y="132"/>
                    </a:lnTo>
                    <a:lnTo>
                      <a:pt x="252" y="132"/>
                    </a:lnTo>
                    <a:lnTo>
                      <a:pt x="252" y="134"/>
                    </a:lnTo>
                    <a:lnTo>
                      <a:pt x="252" y="136"/>
                    </a:lnTo>
                    <a:lnTo>
                      <a:pt x="250" y="136"/>
                    </a:lnTo>
                    <a:lnTo>
                      <a:pt x="250" y="138"/>
                    </a:lnTo>
                    <a:lnTo>
                      <a:pt x="250" y="140"/>
                    </a:lnTo>
                    <a:lnTo>
                      <a:pt x="250" y="142"/>
                    </a:lnTo>
                    <a:lnTo>
                      <a:pt x="248" y="142"/>
                    </a:lnTo>
                    <a:lnTo>
                      <a:pt x="248" y="144"/>
                    </a:lnTo>
                    <a:lnTo>
                      <a:pt x="240" y="155"/>
                    </a:lnTo>
                    <a:lnTo>
                      <a:pt x="238" y="155"/>
                    </a:lnTo>
                    <a:lnTo>
                      <a:pt x="238" y="157"/>
                    </a:lnTo>
                    <a:lnTo>
                      <a:pt x="236" y="157"/>
                    </a:lnTo>
                    <a:lnTo>
                      <a:pt x="236" y="159"/>
                    </a:lnTo>
                    <a:lnTo>
                      <a:pt x="234" y="159"/>
                    </a:lnTo>
                    <a:lnTo>
                      <a:pt x="233" y="159"/>
                    </a:lnTo>
                    <a:lnTo>
                      <a:pt x="233" y="161"/>
                    </a:lnTo>
                    <a:lnTo>
                      <a:pt x="231" y="161"/>
                    </a:lnTo>
                    <a:lnTo>
                      <a:pt x="231" y="163"/>
                    </a:lnTo>
                    <a:lnTo>
                      <a:pt x="231" y="165"/>
                    </a:lnTo>
                    <a:lnTo>
                      <a:pt x="229" y="165"/>
                    </a:lnTo>
                    <a:lnTo>
                      <a:pt x="227" y="167"/>
                    </a:lnTo>
                    <a:lnTo>
                      <a:pt x="227" y="169"/>
                    </a:lnTo>
                    <a:lnTo>
                      <a:pt x="227" y="171"/>
                    </a:lnTo>
                    <a:lnTo>
                      <a:pt x="225" y="171"/>
                    </a:lnTo>
                    <a:lnTo>
                      <a:pt x="223" y="171"/>
                    </a:lnTo>
                    <a:lnTo>
                      <a:pt x="223" y="173"/>
                    </a:lnTo>
                    <a:lnTo>
                      <a:pt x="221" y="173"/>
                    </a:lnTo>
                    <a:lnTo>
                      <a:pt x="223" y="175"/>
                    </a:lnTo>
                    <a:lnTo>
                      <a:pt x="225" y="175"/>
                    </a:lnTo>
                    <a:lnTo>
                      <a:pt x="225" y="177"/>
                    </a:lnTo>
                    <a:lnTo>
                      <a:pt x="225" y="178"/>
                    </a:lnTo>
                    <a:lnTo>
                      <a:pt x="227" y="178"/>
                    </a:lnTo>
                    <a:lnTo>
                      <a:pt x="229" y="180"/>
                    </a:lnTo>
                    <a:lnTo>
                      <a:pt x="227" y="184"/>
                    </a:lnTo>
                    <a:lnTo>
                      <a:pt x="227" y="182"/>
                    </a:lnTo>
                    <a:lnTo>
                      <a:pt x="225" y="182"/>
                    </a:lnTo>
                    <a:lnTo>
                      <a:pt x="223" y="184"/>
                    </a:lnTo>
                    <a:lnTo>
                      <a:pt x="217" y="192"/>
                    </a:lnTo>
                    <a:lnTo>
                      <a:pt x="217" y="194"/>
                    </a:lnTo>
                    <a:lnTo>
                      <a:pt x="219" y="196"/>
                    </a:lnTo>
                    <a:lnTo>
                      <a:pt x="221" y="196"/>
                    </a:lnTo>
                    <a:lnTo>
                      <a:pt x="221" y="198"/>
                    </a:lnTo>
                    <a:lnTo>
                      <a:pt x="223" y="198"/>
                    </a:lnTo>
                    <a:lnTo>
                      <a:pt x="221" y="198"/>
                    </a:lnTo>
                    <a:lnTo>
                      <a:pt x="221" y="200"/>
                    </a:lnTo>
                    <a:lnTo>
                      <a:pt x="219" y="203"/>
                    </a:lnTo>
                    <a:lnTo>
                      <a:pt x="217" y="200"/>
                    </a:lnTo>
                    <a:lnTo>
                      <a:pt x="215" y="202"/>
                    </a:lnTo>
                    <a:lnTo>
                      <a:pt x="213" y="203"/>
                    </a:lnTo>
                    <a:lnTo>
                      <a:pt x="213" y="205"/>
                    </a:lnTo>
                    <a:lnTo>
                      <a:pt x="211" y="205"/>
                    </a:lnTo>
                    <a:lnTo>
                      <a:pt x="211" y="203"/>
                    </a:lnTo>
                    <a:lnTo>
                      <a:pt x="211" y="205"/>
                    </a:lnTo>
                    <a:lnTo>
                      <a:pt x="211" y="207"/>
                    </a:lnTo>
                    <a:lnTo>
                      <a:pt x="208" y="203"/>
                    </a:lnTo>
                    <a:lnTo>
                      <a:pt x="206" y="203"/>
                    </a:lnTo>
                    <a:lnTo>
                      <a:pt x="206" y="205"/>
                    </a:lnTo>
                    <a:lnTo>
                      <a:pt x="208" y="205"/>
                    </a:lnTo>
                    <a:lnTo>
                      <a:pt x="208" y="209"/>
                    </a:lnTo>
                    <a:lnTo>
                      <a:pt x="206" y="209"/>
                    </a:lnTo>
                    <a:lnTo>
                      <a:pt x="206" y="211"/>
                    </a:lnTo>
                    <a:lnTo>
                      <a:pt x="208" y="209"/>
                    </a:lnTo>
                    <a:lnTo>
                      <a:pt x="208" y="211"/>
                    </a:lnTo>
                    <a:lnTo>
                      <a:pt x="206" y="211"/>
                    </a:lnTo>
                    <a:lnTo>
                      <a:pt x="208" y="211"/>
                    </a:lnTo>
                    <a:lnTo>
                      <a:pt x="206" y="211"/>
                    </a:lnTo>
                    <a:lnTo>
                      <a:pt x="204" y="211"/>
                    </a:lnTo>
                    <a:lnTo>
                      <a:pt x="202" y="211"/>
                    </a:lnTo>
                    <a:lnTo>
                      <a:pt x="200" y="211"/>
                    </a:lnTo>
                    <a:lnTo>
                      <a:pt x="200" y="213"/>
                    </a:lnTo>
                    <a:lnTo>
                      <a:pt x="200" y="215"/>
                    </a:lnTo>
                    <a:lnTo>
                      <a:pt x="202" y="215"/>
                    </a:lnTo>
                    <a:lnTo>
                      <a:pt x="200" y="215"/>
                    </a:lnTo>
                    <a:lnTo>
                      <a:pt x="198" y="215"/>
                    </a:lnTo>
                    <a:lnTo>
                      <a:pt x="196" y="213"/>
                    </a:lnTo>
                    <a:lnTo>
                      <a:pt x="194" y="215"/>
                    </a:lnTo>
                    <a:lnTo>
                      <a:pt x="192" y="215"/>
                    </a:lnTo>
                    <a:lnTo>
                      <a:pt x="192" y="213"/>
                    </a:lnTo>
                    <a:lnTo>
                      <a:pt x="190" y="213"/>
                    </a:lnTo>
                    <a:lnTo>
                      <a:pt x="188" y="213"/>
                    </a:lnTo>
                    <a:lnTo>
                      <a:pt x="186" y="213"/>
                    </a:lnTo>
                    <a:lnTo>
                      <a:pt x="185" y="213"/>
                    </a:lnTo>
                    <a:lnTo>
                      <a:pt x="185" y="211"/>
                    </a:lnTo>
                    <a:lnTo>
                      <a:pt x="185" y="213"/>
                    </a:lnTo>
                    <a:lnTo>
                      <a:pt x="183" y="213"/>
                    </a:lnTo>
                    <a:lnTo>
                      <a:pt x="181" y="215"/>
                    </a:lnTo>
                    <a:lnTo>
                      <a:pt x="181" y="217"/>
                    </a:lnTo>
                    <a:lnTo>
                      <a:pt x="181" y="215"/>
                    </a:lnTo>
                    <a:lnTo>
                      <a:pt x="179" y="215"/>
                    </a:lnTo>
                    <a:lnTo>
                      <a:pt x="177" y="217"/>
                    </a:lnTo>
                    <a:lnTo>
                      <a:pt x="177" y="215"/>
                    </a:lnTo>
                    <a:lnTo>
                      <a:pt x="177" y="213"/>
                    </a:lnTo>
                    <a:lnTo>
                      <a:pt x="175" y="213"/>
                    </a:lnTo>
                    <a:lnTo>
                      <a:pt x="175" y="211"/>
                    </a:lnTo>
                    <a:lnTo>
                      <a:pt x="173" y="211"/>
                    </a:lnTo>
                    <a:lnTo>
                      <a:pt x="173" y="209"/>
                    </a:lnTo>
                    <a:lnTo>
                      <a:pt x="173" y="207"/>
                    </a:lnTo>
                    <a:lnTo>
                      <a:pt x="171" y="207"/>
                    </a:lnTo>
                    <a:lnTo>
                      <a:pt x="171" y="205"/>
                    </a:lnTo>
                    <a:lnTo>
                      <a:pt x="169" y="205"/>
                    </a:lnTo>
                    <a:lnTo>
                      <a:pt x="169" y="203"/>
                    </a:lnTo>
                    <a:lnTo>
                      <a:pt x="169" y="202"/>
                    </a:lnTo>
                    <a:lnTo>
                      <a:pt x="167" y="202"/>
                    </a:lnTo>
                    <a:lnTo>
                      <a:pt x="165" y="202"/>
                    </a:lnTo>
                    <a:lnTo>
                      <a:pt x="163" y="202"/>
                    </a:lnTo>
                    <a:lnTo>
                      <a:pt x="163" y="203"/>
                    </a:lnTo>
                    <a:lnTo>
                      <a:pt x="163" y="202"/>
                    </a:lnTo>
                    <a:lnTo>
                      <a:pt x="161" y="202"/>
                    </a:lnTo>
                    <a:lnTo>
                      <a:pt x="161" y="200"/>
                    </a:lnTo>
                    <a:lnTo>
                      <a:pt x="161" y="198"/>
                    </a:lnTo>
                    <a:lnTo>
                      <a:pt x="161" y="196"/>
                    </a:lnTo>
                    <a:lnTo>
                      <a:pt x="161" y="194"/>
                    </a:lnTo>
                    <a:lnTo>
                      <a:pt x="163" y="194"/>
                    </a:lnTo>
                    <a:lnTo>
                      <a:pt x="161" y="194"/>
                    </a:lnTo>
                    <a:lnTo>
                      <a:pt x="160" y="196"/>
                    </a:lnTo>
                    <a:lnTo>
                      <a:pt x="158" y="194"/>
                    </a:lnTo>
                    <a:lnTo>
                      <a:pt x="158" y="192"/>
                    </a:lnTo>
                    <a:lnTo>
                      <a:pt x="160" y="192"/>
                    </a:lnTo>
                    <a:lnTo>
                      <a:pt x="160" y="190"/>
                    </a:lnTo>
                    <a:lnTo>
                      <a:pt x="160" y="188"/>
                    </a:lnTo>
                    <a:lnTo>
                      <a:pt x="160" y="186"/>
                    </a:lnTo>
                    <a:lnTo>
                      <a:pt x="158" y="186"/>
                    </a:lnTo>
                    <a:lnTo>
                      <a:pt x="160" y="184"/>
                    </a:lnTo>
                    <a:lnTo>
                      <a:pt x="158" y="184"/>
                    </a:lnTo>
                    <a:lnTo>
                      <a:pt x="158" y="182"/>
                    </a:lnTo>
                    <a:lnTo>
                      <a:pt x="160" y="182"/>
                    </a:lnTo>
                    <a:lnTo>
                      <a:pt x="160" y="180"/>
                    </a:lnTo>
                    <a:lnTo>
                      <a:pt x="158" y="178"/>
                    </a:lnTo>
                    <a:lnTo>
                      <a:pt x="158" y="180"/>
                    </a:lnTo>
                    <a:lnTo>
                      <a:pt x="158" y="178"/>
                    </a:lnTo>
                    <a:lnTo>
                      <a:pt x="156" y="178"/>
                    </a:lnTo>
                    <a:lnTo>
                      <a:pt x="154" y="177"/>
                    </a:lnTo>
                    <a:lnTo>
                      <a:pt x="152" y="177"/>
                    </a:lnTo>
                    <a:lnTo>
                      <a:pt x="150" y="178"/>
                    </a:lnTo>
                    <a:lnTo>
                      <a:pt x="148" y="178"/>
                    </a:lnTo>
                    <a:lnTo>
                      <a:pt x="148" y="177"/>
                    </a:lnTo>
                    <a:lnTo>
                      <a:pt x="150" y="177"/>
                    </a:lnTo>
                    <a:lnTo>
                      <a:pt x="150" y="175"/>
                    </a:lnTo>
                    <a:lnTo>
                      <a:pt x="148" y="173"/>
                    </a:lnTo>
                    <a:lnTo>
                      <a:pt x="148" y="171"/>
                    </a:lnTo>
                    <a:lnTo>
                      <a:pt x="146" y="171"/>
                    </a:lnTo>
                    <a:lnTo>
                      <a:pt x="148" y="171"/>
                    </a:lnTo>
                    <a:lnTo>
                      <a:pt x="148" y="169"/>
                    </a:lnTo>
                    <a:lnTo>
                      <a:pt x="146" y="167"/>
                    </a:lnTo>
                    <a:lnTo>
                      <a:pt x="144" y="169"/>
                    </a:lnTo>
                    <a:lnTo>
                      <a:pt x="142" y="169"/>
                    </a:lnTo>
                    <a:lnTo>
                      <a:pt x="142" y="171"/>
                    </a:lnTo>
                    <a:lnTo>
                      <a:pt x="140" y="169"/>
                    </a:lnTo>
                    <a:lnTo>
                      <a:pt x="138" y="169"/>
                    </a:lnTo>
                    <a:lnTo>
                      <a:pt x="136" y="169"/>
                    </a:lnTo>
                    <a:lnTo>
                      <a:pt x="136" y="171"/>
                    </a:lnTo>
                    <a:lnTo>
                      <a:pt x="135" y="171"/>
                    </a:lnTo>
                    <a:lnTo>
                      <a:pt x="133" y="171"/>
                    </a:lnTo>
                    <a:lnTo>
                      <a:pt x="133" y="173"/>
                    </a:lnTo>
                    <a:lnTo>
                      <a:pt x="133" y="175"/>
                    </a:lnTo>
                    <a:lnTo>
                      <a:pt x="131" y="175"/>
                    </a:lnTo>
                    <a:lnTo>
                      <a:pt x="131" y="177"/>
                    </a:lnTo>
                    <a:lnTo>
                      <a:pt x="129" y="177"/>
                    </a:lnTo>
                    <a:lnTo>
                      <a:pt x="127" y="177"/>
                    </a:lnTo>
                    <a:lnTo>
                      <a:pt x="125" y="177"/>
                    </a:lnTo>
                    <a:lnTo>
                      <a:pt x="125" y="178"/>
                    </a:lnTo>
                    <a:lnTo>
                      <a:pt x="125" y="177"/>
                    </a:lnTo>
                    <a:lnTo>
                      <a:pt x="125" y="178"/>
                    </a:lnTo>
                    <a:lnTo>
                      <a:pt x="123" y="177"/>
                    </a:lnTo>
                    <a:lnTo>
                      <a:pt x="125" y="175"/>
                    </a:lnTo>
                    <a:lnTo>
                      <a:pt x="121" y="175"/>
                    </a:lnTo>
                    <a:lnTo>
                      <a:pt x="119" y="175"/>
                    </a:lnTo>
                    <a:lnTo>
                      <a:pt x="121" y="175"/>
                    </a:lnTo>
                    <a:lnTo>
                      <a:pt x="119" y="175"/>
                    </a:lnTo>
                    <a:lnTo>
                      <a:pt x="119" y="173"/>
                    </a:lnTo>
                    <a:lnTo>
                      <a:pt x="121" y="173"/>
                    </a:lnTo>
                    <a:lnTo>
                      <a:pt x="119" y="173"/>
                    </a:lnTo>
                    <a:lnTo>
                      <a:pt x="121" y="171"/>
                    </a:lnTo>
                    <a:lnTo>
                      <a:pt x="121" y="173"/>
                    </a:lnTo>
                    <a:lnTo>
                      <a:pt x="123" y="173"/>
                    </a:lnTo>
                    <a:lnTo>
                      <a:pt x="121" y="171"/>
                    </a:lnTo>
                    <a:lnTo>
                      <a:pt x="121" y="169"/>
                    </a:lnTo>
                    <a:lnTo>
                      <a:pt x="119" y="169"/>
                    </a:lnTo>
                    <a:lnTo>
                      <a:pt x="119" y="167"/>
                    </a:lnTo>
                    <a:lnTo>
                      <a:pt x="121" y="167"/>
                    </a:lnTo>
                    <a:lnTo>
                      <a:pt x="119" y="167"/>
                    </a:lnTo>
                    <a:lnTo>
                      <a:pt x="121" y="165"/>
                    </a:lnTo>
                    <a:lnTo>
                      <a:pt x="123" y="165"/>
                    </a:lnTo>
                    <a:lnTo>
                      <a:pt x="121" y="165"/>
                    </a:lnTo>
                    <a:lnTo>
                      <a:pt x="121" y="163"/>
                    </a:lnTo>
                    <a:lnTo>
                      <a:pt x="123" y="163"/>
                    </a:lnTo>
                    <a:lnTo>
                      <a:pt x="123" y="161"/>
                    </a:lnTo>
                    <a:lnTo>
                      <a:pt x="121" y="161"/>
                    </a:lnTo>
                    <a:lnTo>
                      <a:pt x="121" y="159"/>
                    </a:lnTo>
                    <a:lnTo>
                      <a:pt x="123" y="159"/>
                    </a:lnTo>
                    <a:lnTo>
                      <a:pt x="125" y="159"/>
                    </a:lnTo>
                    <a:lnTo>
                      <a:pt x="123" y="159"/>
                    </a:lnTo>
                    <a:lnTo>
                      <a:pt x="121" y="159"/>
                    </a:lnTo>
                    <a:lnTo>
                      <a:pt x="123" y="159"/>
                    </a:lnTo>
                    <a:lnTo>
                      <a:pt x="123" y="157"/>
                    </a:lnTo>
                    <a:lnTo>
                      <a:pt x="125" y="157"/>
                    </a:lnTo>
                    <a:lnTo>
                      <a:pt x="123" y="157"/>
                    </a:lnTo>
                    <a:lnTo>
                      <a:pt x="123" y="159"/>
                    </a:lnTo>
                    <a:lnTo>
                      <a:pt x="121" y="157"/>
                    </a:lnTo>
                    <a:lnTo>
                      <a:pt x="123" y="157"/>
                    </a:lnTo>
                    <a:lnTo>
                      <a:pt x="123" y="155"/>
                    </a:lnTo>
                    <a:lnTo>
                      <a:pt x="123" y="153"/>
                    </a:lnTo>
                    <a:lnTo>
                      <a:pt x="121" y="153"/>
                    </a:lnTo>
                    <a:lnTo>
                      <a:pt x="123" y="153"/>
                    </a:lnTo>
                    <a:lnTo>
                      <a:pt x="123" y="152"/>
                    </a:lnTo>
                    <a:lnTo>
                      <a:pt x="121" y="152"/>
                    </a:lnTo>
                    <a:lnTo>
                      <a:pt x="121" y="150"/>
                    </a:lnTo>
                    <a:lnTo>
                      <a:pt x="121" y="148"/>
                    </a:lnTo>
                    <a:lnTo>
                      <a:pt x="119" y="148"/>
                    </a:lnTo>
                    <a:lnTo>
                      <a:pt x="119" y="150"/>
                    </a:lnTo>
                    <a:lnTo>
                      <a:pt x="117" y="150"/>
                    </a:lnTo>
                    <a:lnTo>
                      <a:pt x="115" y="150"/>
                    </a:lnTo>
                    <a:lnTo>
                      <a:pt x="115" y="148"/>
                    </a:lnTo>
                    <a:lnTo>
                      <a:pt x="113" y="150"/>
                    </a:lnTo>
                    <a:lnTo>
                      <a:pt x="113" y="152"/>
                    </a:lnTo>
                    <a:lnTo>
                      <a:pt x="112" y="152"/>
                    </a:lnTo>
                    <a:lnTo>
                      <a:pt x="112" y="150"/>
                    </a:lnTo>
                    <a:lnTo>
                      <a:pt x="113" y="150"/>
                    </a:lnTo>
                    <a:lnTo>
                      <a:pt x="112" y="150"/>
                    </a:lnTo>
                    <a:lnTo>
                      <a:pt x="112" y="148"/>
                    </a:lnTo>
                    <a:lnTo>
                      <a:pt x="112" y="150"/>
                    </a:lnTo>
                    <a:lnTo>
                      <a:pt x="112" y="148"/>
                    </a:lnTo>
                    <a:lnTo>
                      <a:pt x="112" y="146"/>
                    </a:lnTo>
                    <a:lnTo>
                      <a:pt x="110" y="146"/>
                    </a:lnTo>
                    <a:lnTo>
                      <a:pt x="110" y="144"/>
                    </a:lnTo>
                    <a:lnTo>
                      <a:pt x="108" y="144"/>
                    </a:lnTo>
                    <a:lnTo>
                      <a:pt x="108" y="146"/>
                    </a:lnTo>
                    <a:lnTo>
                      <a:pt x="106" y="146"/>
                    </a:lnTo>
                    <a:lnTo>
                      <a:pt x="106" y="148"/>
                    </a:lnTo>
                    <a:lnTo>
                      <a:pt x="104" y="148"/>
                    </a:lnTo>
                    <a:lnTo>
                      <a:pt x="104" y="150"/>
                    </a:lnTo>
                    <a:lnTo>
                      <a:pt x="104" y="152"/>
                    </a:lnTo>
                    <a:lnTo>
                      <a:pt x="102" y="153"/>
                    </a:lnTo>
                    <a:lnTo>
                      <a:pt x="102" y="152"/>
                    </a:lnTo>
                    <a:lnTo>
                      <a:pt x="100" y="152"/>
                    </a:lnTo>
                    <a:lnTo>
                      <a:pt x="102" y="152"/>
                    </a:lnTo>
                    <a:lnTo>
                      <a:pt x="100" y="152"/>
                    </a:lnTo>
                    <a:lnTo>
                      <a:pt x="100" y="153"/>
                    </a:lnTo>
                    <a:lnTo>
                      <a:pt x="98" y="153"/>
                    </a:lnTo>
                    <a:lnTo>
                      <a:pt x="98" y="155"/>
                    </a:lnTo>
                    <a:lnTo>
                      <a:pt x="96" y="155"/>
                    </a:lnTo>
                    <a:lnTo>
                      <a:pt x="96" y="157"/>
                    </a:lnTo>
                    <a:lnTo>
                      <a:pt x="94" y="157"/>
                    </a:lnTo>
                    <a:lnTo>
                      <a:pt x="92" y="157"/>
                    </a:lnTo>
                    <a:lnTo>
                      <a:pt x="90" y="157"/>
                    </a:lnTo>
                    <a:lnTo>
                      <a:pt x="92" y="157"/>
                    </a:lnTo>
                    <a:lnTo>
                      <a:pt x="90" y="157"/>
                    </a:lnTo>
                    <a:lnTo>
                      <a:pt x="90" y="159"/>
                    </a:lnTo>
                    <a:lnTo>
                      <a:pt x="90" y="157"/>
                    </a:lnTo>
                    <a:lnTo>
                      <a:pt x="88" y="157"/>
                    </a:lnTo>
                    <a:lnTo>
                      <a:pt x="88" y="159"/>
                    </a:lnTo>
                    <a:lnTo>
                      <a:pt x="87" y="157"/>
                    </a:lnTo>
                    <a:lnTo>
                      <a:pt x="87" y="155"/>
                    </a:lnTo>
                    <a:lnTo>
                      <a:pt x="87" y="153"/>
                    </a:lnTo>
                    <a:lnTo>
                      <a:pt x="87" y="152"/>
                    </a:lnTo>
                    <a:lnTo>
                      <a:pt x="87" y="150"/>
                    </a:lnTo>
                    <a:lnTo>
                      <a:pt x="85" y="152"/>
                    </a:lnTo>
                    <a:lnTo>
                      <a:pt x="85" y="150"/>
                    </a:lnTo>
                    <a:lnTo>
                      <a:pt x="83" y="152"/>
                    </a:lnTo>
                    <a:lnTo>
                      <a:pt x="81" y="152"/>
                    </a:lnTo>
                    <a:lnTo>
                      <a:pt x="81" y="153"/>
                    </a:lnTo>
                    <a:lnTo>
                      <a:pt x="79" y="153"/>
                    </a:lnTo>
                    <a:lnTo>
                      <a:pt x="77" y="153"/>
                    </a:lnTo>
                    <a:lnTo>
                      <a:pt x="79" y="153"/>
                    </a:lnTo>
                    <a:lnTo>
                      <a:pt x="77" y="155"/>
                    </a:lnTo>
                    <a:lnTo>
                      <a:pt x="75" y="155"/>
                    </a:lnTo>
                    <a:lnTo>
                      <a:pt x="73" y="157"/>
                    </a:lnTo>
                    <a:lnTo>
                      <a:pt x="71" y="157"/>
                    </a:lnTo>
                    <a:lnTo>
                      <a:pt x="71" y="155"/>
                    </a:lnTo>
                    <a:lnTo>
                      <a:pt x="69" y="155"/>
                    </a:lnTo>
                    <a:lnTo>
                      <a:pt x="69" y="157"/>
                    </a:lnTo>
                    <a:lnTo>
                      <a:pt x="69" y="155"/>
                    </a:lnTo>
                    <a:lnTo>
                      <a:pt x="67" y="155"/>
                    </a:lnTo>
                    <a:lnTo>
                      <a:pt x="65" y="155"/>
                    </a:lnTo>
                    <a:lnTo>
                      <a:pt x="65" y="157"/>
                    </a:lnTo>
                    <a:lnTo>
                      <a:pt x="63" y="161"/>
                    </a:lnTo>
                    <a:lnTo>
                      <a:pt x="62" y="161"/>
                    </a:lnTo>
                    <a:lnTo>
                      <a:pt x="62" y="163"/>
                    </a:lnTo>
                    <a:lnTo>
                      <a:pt x="62" y="161"/>
                    </a:lnTo>
                    <a:lnTo>
                      <a:pt x="60" y="161"/>
                    </a:lnTo>
                    <a:lnTo>
                      <a:pt x="58" y="161"/>
                    </a:lnTo>
                    <a:lnTo>
                      <a:pt x="58" y="159"/>
                    </a:lnTo>
                    <a:lnTo>
                      <a:pt x="56" y="159"/>
                    </a:lnTo>
                    <a:lnTo>
                      <a:pt x="54" y="159"/>
                    </a:lnTo>
                    <a:lnTo>
                      <a:pt x="54" y="157"/>
                    </a:lnTo>
                    <a:lnTo>
                      <a:pt x="54" y="155"/>
                    </a:lnTo>
                    <a:lnTo>
                      <a:pt x="54" y="153"/>
                    </a:lnTo>
                    <a:lnTo>
                      <a:pt x="52" y="153"/>
                    </a:lnTo>
                    <a:lnTo>
                      <a:pt x="52" y="152"/>
                    </a:lnTo>
                    <a:lnTo>
                      <a:pt x="50" y="152"/>
                    </a:lnTo>
                    <a:lnTo>
                      <a:pt x="48" y="150"/>
                    </a:lnTo>
                    <a:lnTo>
                      <a:pt x="48" y="152"/>
                    </a:lnTo>
                    <a:lnTo>
                      <a:pt x="46" y="152"/>
                    </a:lnTo>
                    <a:lnTo>
                      <a:pt x="46" y="153"/>
                    </a:lnTo>
                    <a:lnTo>
                      <a:pt x="44" y="153"/>
                    </a:lnTo>
                    <a:lnTo>
                      <a:pt x="44" y="155"/>
                    </a:lnTo>
                    <a:lnTo>
                      <a:pt x="44" y="153"/>
                    </a:lnTo>
                    <a:lnTo>
                      <a:pt x="42" y="155"/>
                    </a:lnTo>
                    <a:lnTo>
                      <a:pt x="42" y="157"/>
                    </a:lnTo>
                    <a:lnTo>
                      <a:pt x="40" y="159"/>
                    </a:lnTo>
                    <a:lnTo>
                      <a:pt x="40" y="161"/>
                    </a:lnTo>
                    <a:lnTo>
                      <a:pt x="40" y="163"/>
                    </a:lnTo>
                    <a:lnTo>
                      <a:pt x="40" y="161"/>
                    </a:lnTo>
                    <a:lnTo>
                      <a:pt x="39" y="163"/>
                    </a:lnTo>
                    <a:lnTo>
                      <a:pt x="39" y="161"/>
                    </a:lnTo>
                    <a:lnTo>
                      <a:pt x="39" y="163"/>
                    </a:lnTo>
                    <a:lnTo>
                      <a:pt x="39" y="165"/>
                    </a:lnTo>
                    <a:lnTo>
                      <a:pt x="39" y="163"/>
                    </a:lnTo>
                    <a:lnTo>
                      <a:pt x="37" y="163"/>
                    </a:lnTo>
                    <a:lnTo>
                      <a:pt x="35" y="165"/>
                    </a:lnTo>
                    <a:lnTo>
                      <a:pt x="33" y="165"/>
                    </a:lnTo>
                    <a:lnTo>
                      <a:pt x="31" y="165"/>
                    </a:lnTo>
                    <a:lnTo>
                      <a:pt x="31" y="163"/>
                    </a:lnTo>
                    <a:lnTo>
                      <a:pt x="33" y="163"/>
                    </a:lnTo>
                    <a:lnTo>
                      <a:pt x="31" y="163"/>
                    </a:lnTo>
                    <a:lnTo>
                      <a:pt x="31" y="161"/>
                    </a:lnTo>
                    <a:lnTo>
                      <a:pt x="29" y="161"/>
                    </a:lnTo>
                    <a:lnTo>
                      <a:pt x="29" y="163"/>
                    </a:lnTo>
                    <a:lnTo>
                      <a:pt x="27" y="161"/>
                    </a:lnTo>
                    <a:lnTo>
                      <a:pt x="25" y="161"/>
                    </a:lnTo>
                    <a:lnTo>
                      <a:pt x="25" y="159"/>
                    </a:lnTo>
                    <a:lnTo>
                      <a:pt x="27" y="159"/>
                    </a:lnTo>
                    <a:lnTo>
                      <a:pt x="25" y="159"/>
                    </a:lnTo>
                    <a:lnTo>
                      <a:pt x="27" y="159"/>
                    </a:lnTo>
                    <a:lnTo>
                      <a:pt x="25" y="159"/>
                    </a:lnTo>
                    <a:lnTo>
                      <a:pt x="27" y="159"/>
                    </a:lnTo>
                    <a:lnTo>
                      <a:pt x="27" y="157"/>
                    </a:lnTo>
                    <a:lnTo>
                      <a:pt x="25" y="157"/>
                    </a:lnTo>
                    <a:lnTo>
                      <a:pt x="23" y="155"/>
                    </a:lnTo>
                    <a:lnTo>
                      <a:pt x="23" y="153"/>
                    </a:lnTo>
                    <a:lnTo>
                      <a:pt x="25" y="153"/>
                    </a:lnTo>
                    <a:lnTo>
                      <a:pt x="25" y="152"/>
                    </a:lnTo>
                    <a:lnTo>
                      <a:pt x="27" y="152"/>
                    </a:lnTo>
                    <a:lnTo>
                      <a:pt x="27" y="150"/>
                    </a:lnTo>
                    <a:lnTo>
                      <a:pt x="25" y="150"/>
                    </a:lnTo>
                    <a:lnTo>
                      <a:pt x="25" y="148"/>
                    </a:lnTo>
                    <a:lnTo>
                      <a:pt x="25" y="146"/>
                    </a:lnTo>
                    <a:lnTo>
                      <a:pt x="23" y="146"/>
                    </a:lnTo>
                    <a:lnTo>
                      <a:pt x="23" y="148"/>
                    </a:lnTo>
                    <a:lnTo>
                      <a:pt x="23" y="146"/>
                    </a:lnTo>
                    <a:lnTo>
                      <a:pt x="21" y="146"/>
                    </a:lnTo>
                    <a:lnTo>
                      <a:pt x="21" y="144"/>
                    </a:lnTo>
                    <a:lnTo>
                      <a:pt x="23" y="144"/>
                    </a:lnTo>
                    <a:lnTo>
                      <a:pt x="23" y="146"/>
                    </a:lnTo>
                    <a:lnTo>
                      <a:pt x="23" y="144"/>
                    </a:lnTo>
                    <a:lnTo>
                      <a:pt x="25" y="144"/>
                    </a:lnTo>
                    <a:lnTo>
                      <a:pt x="23" y="144"/>
                    </a:lnTo>
                    <a:lnTo>
                      <a:pt x="23" y="142"/>
                    </a:lnTo>
                    <a:lnTo>
                      <a:pt x="21" y="142"/>
                    </a:lnTo>
                    <a:lnTo>
                      <a:pt x="21" y="140"/>
                    </a:lnTo>
                    <a:lnTo>
                      <a:pt x="23" y="140"/>
                    </a:lnTo>
                    <a:lnTo>
                      <a:pt x="25" y="140"/>
                    </a:lnTo>
                    <a:lnTo>
                      <a:pt x="25" y="138"/>
                    </a:lnTo>
                    <a:lnTo>
                      <a:pt x="25" y="136"/>
                    </a:lnTo>
                    <a:lnTo>
                      <a:pt x="25" y="138"/>
                    </a:lnTo>
                    <a:lnTo>
                      <a:pt x="27" y="136"/>
                    </a:lnTo>
                    <a:lnTo>
                      <a:pt x="25" y="136"/>
                    </a:lnTo>
                    <a:lnTo>
                      <a:pt x="27" y="136"/>
                    </a:lnTo>
                    <a:lnTo>
                      <a:pt x="25" y="136"/>
                    </a:lnTo>
                    <a:lnTo>
                      <a:pt x="25" y="134"/>
                    </a:lnTo>
                    <a:lnTo>
                      <a:pt x="25" y="136"/>
                    </a:lnTo>
                    <a:lnTo>
                      <a:pt x="25" y="134"/>
                    </a:lnTo>
                    <a:lnTo>
                      <a:pt x="23" y="134"/>
                    </a:lnTo>
                    <a:lnTo>
                      <a:pt x="23" y="132"/>
                    </a:lnTo>
                    <a:lnTo>
                      <a:pt x="23" y="130"/>
                    </a:lnTo>
                    <a:lnTo>
                      <a:pt x="21" y="130"/>
                    </a:lnTo>
                    <a:lnTo>
                      <a:pt x="23" y="130"/>
                    </a:lnTo>
                    <a:lnTo>
                      <a:pt x="23" y="128"/>
                    </a:lnTo>
                    <a:lnTo>
                      <a:pt x="25" y="127"/>
                    </a:lnTo>
                    <a:lnTo>
                      <a:pt x="25" y="125"/>
                    </a:lnTo>
                    <a:lnTo>
                      <a:pt x="25" y="127"/>
                    </a:lnTo>
                    <a:lnTo>
                      <a:pt x="23" y="127"/>
                    </a:lnTo>
                    <a:lnTo>
                      <a:pt x="23" y="125"/>
                    </a:lnTo>
                    <a:lnTo>
                      <a:pt x="23" y="127"/>
                    </a:lnTo>
                    <a:lnTo>
                      <a:pt x="21" y="125"/>
                    </a:lnTo>
                    <a:lnTo>
                      <a:pt x="21" y="123"/>
                    </a:lnTo>
                    <a:lnTo>
                      <a:pt x="19" y="121"/>
                    </a:lnTo>
                    <a:lnTo>
                      <a:pt x="19" y="119"/>
                    </a:lnTo>
                    <a:lnTo>
                      <a:pt x="17" y="119"/>
                    </a:lnTo>
                    <a:lnTo>
                      <a:pt x="17" y="117"/>
                    </a:lnTo>
                    <a:lnTo>
                      <a:pt x="19" y="117"/>
                    </a:lnTo>
                    <a:lnTo>
                      <a:pt x="17" y="117"/>
                    </a:lnTo>
                    <a:lnTo>
                      <a:pt x="17" y="115"/>
                    </a:lnTo>
                    <a:lnTo>
                      <a:pt x="15" y="115"/>
                    </a:lnTo>
                    <a:lnTo>
                      <a:pt x="15" y="113"/>
                    </a:lnTo>
                    <a:lnTo>
                      <a:pt x="14" y="113"/>
                    </a:lnTo>
                    <a:lnTo>
                      <a:pt x="14" y="111"/>
                    </a:lnTo>
                    <a:lnTo>
                      <a:pt x="12" y="111"/>
                    </a:lnTo>
                    <a:lnTo>
                      <a:pt x="12" y="113"/>
                    </a:lnTo>
                    <a:lnTo>
                      <a:pt x="12" y="111"/>
                    </a:lnTo>
                    <a:lnTo>
                      <a:pt x="12" y="109"/>
                    </a:lnTo>
                    <a:lnTo>
                      <a:pt x="12" y="111"/>
                    </a:lnTo>
                    <a:lnTo>
                      <a:pt x="10" y="111"/>
                    </a:lnTo>
                    <a:lnTo>
                      <a:pt x="10" y="109"/>
                    </a:lnTo>
                    <a:lnTo>
                      <a:pt x="10" y="111"/>
                    </a:lnTo>
                    <a:lnTo>
                      <a:pt x="8" y="111"/>
                    </a:lnTo>
                    <a:lnTo>
                      <a:pt x="8" y="109"/>
                    </a:lnTo>
                    <a:lnTo>
                      <a:pt x="8" y="107"/>
                    </a:lnTo>
                    <a:lnTo>
                      <a:pt x="10" y="107"/>
                    </a:lnTo>
                    <a:lnTo>
                      <a:pt x="10" y="105"/>
                    </a:lnTo>
                    <a:lnTo>
                      <a:pt x="8" y="105"/>
                    </a:lnTo>
                    <a:lnTo>
                      <a:pt x="10" y="105"/>
                    </a:lnTo>
                    <a:lnTo>
                      <a:pt x="10" y="103"/>
                    </a:lnTo>
                    <a:lnTo>
                      <a:pt x="10" y="102"/>
                    </a:lnTo>
                    <a:lnTo>
                      <a:pt x="10" y="100"/>
                    </a:lnTo>
                    <a:lnTo>
                      <a:pt x="10" y="98"/>
                    </a:lnTo>
                    <a:lnTo>
                      <a:pt x="8" y="98"/>
                    </a:lnTo>
                    <a:lnTo>
                      <a:pt x="8" y="96"/>
                    </a:lnTo>
                    <a:lnTo>
                      <a:pt x="8" y="94"/>
                    </a:lnTo>
                    <a:lnTo>
                      <a:pt x="6" y="94"/>
                    </a:lnTo>
                    <a:lnTo>
                      <a:pt x="4" y="92"/>
                    </a:lnTo>
                    <a:lnTo>
                      <a:pt x="2" y="92"/>
                    </a:lnTo>
                    <a:lnTo>
                      <a:pt x="0" y="92"/>
                    </a:lnTo>
                    <a:lnTo>
                      <a:pt x="2" y="92"/>
                    </a:lnTo>
                    <a:lnTo>
                      <a:pt x="2" y="90"/>
                    </a:lnTo>
                    <a:lnTo>
                      <a:pt x="4" y="90"/>
                    </a:lnTo>
                    <a:lnTo>
                      <a:pt x="4" y="88"/>
                    </a:lnTo>
                    <a:lnTo>
                      <a:pt x="6" y="88"/>
                    </a:lnTo>
                    <a:lnTo>
                      <a:pt x="8" y="86"/>
                    </a:lnTo>
                    <a:lnTo>
                      <a:pt x="10" y="86"/>
                    </a:lnTo>
                    <a:lnTo>
                      <a:pt x="12" y="86"/>
                    </a:lnTo>
                    <a:lnTo>
                      <a:pt x="14" y="84"/>
                    </a:lnTo>
                    <a:lnTo>
                      <a:pt x="14" y="82"/>
                    </a:lnTo>
                    <a:lnTo>
                      <a:pt x="15" y="82"/>
                    </a:lnTo>
                    <a:lnTo>
                      <a:pt x="17" y="82"/>
                    </a:lnTo>
                    <a:lnTo>
                      <a:pt x="17" y="80"/>
                    </a:lnTo>
                    <a:lnTo>
                      <a:pt x="19" y="82"/>
                    </a:lnTo>
                    <a:lnTo>
                      <a:pt x="21" y="82"/>
                    </a:lnTo>
                    <a:lnTo>
                      <a:pt x="23" y="82"/>
                    </a:lnTo>
                    <a:lnTo>
                      <a:pt x="23" y="84"/>
                    </a:lnTo>
                    <a:lnTo>
                      <a:pt x="25" y="82"/>
                    </a:lnTo>
                    <a:lnTo>
                      <a:pt x="27" y="82"/>
                    </a:lnTo>
                    <a:lnTo>
                      <a:pt x="29" y="82"/>
                    </a:lnTo>
                    <a:lnTo>
                      <a:pt x="29" y="80"/>
                    </a:lnTo>
                    <a:lnTo>
                      <a:pt x="29" y="78"/>
                    </a:lnTo>
                    <a:lnTo>
                      <a:pt x="29" y="77"/>
                    </a:lnTo>
                    <a:lnTo>
                      <a:pt x="29" y="75"/>
                    </a:lnTo>
                    <a:lnTo>
                      <a:pt x="29" y="73"/>
                    </a:lnTo>
                    <a:lnTo>
                      <a:pt x="31" y="71"/>
                    </a:lnTo>
                    <a:lnTo>
                      <a:pt x="33" y="71"/>
                    </a:lnTo>
                    <a:lnTo>
                      <a:pt x="33" y="69"/>
                    </a:lnTo>
                    <a:lnTo>
                      <a:pt x="35" y="69"/>
                    </a:lnTo>
                    <a:lnTo>
                      <a:pt x="35" y="67"/>
                    </a:lnTo>
                    <a:lnTo>
                      <a:pt x="35" y="65"/>
                    </a:lnTo>
                    <a:lnTo>
                      <a:pt x="37" y="65"/>
                    </a:lnTo>
                    <a:lnTo>
                      <a:pt x="37" y="63"/>
                    </a:lnTo>
                    <a:lnTo>
                      <a:pt x="37" y="61"/>
                    </a:lnTo>
                    <a:lnTo>
                      <a:pt x="37" y="59"/>
                    </a:lnTo>
                    <a:lnTo>
                      <a:pt x="39" y="59"/>
                    </a:lnTo>
                    <a:lnTo>
                      <a:pt x="40" y="57"/>
                    </a:lnTo>
                    <a:lnTo>
                      <a:pt x="42" y="57"/>
                    </a:lnTo>
                    <a:lnTo>
                      <a:pt x="40" y="57"/>
                    </a:lnTo>
                    <a:lnTo>
                      <a:pt x="42" y="57"/>
                    </a:lnTo>
                    <a:lnTo>
                      <a:pt x="44" y="57"/>
                    </a:lnTo>
                    <a:lnTo>
                      <a:pt x="44" y="59"/>
                    </a:lnTo>
                    <a:lnTo>
                      <a:pt x="44" y="61"/>
                    </a:lnTo>
                    <a:lnTo>
                      <a:pt x="44" y="63"/>
                    </a:lnTo>
                    <a:lnTo>
                      <a:pt x="42" y="63"/>
                    </a:lnTo>
                    <a:lnTo>
                      <a:pt x="42" y="65"/>
                    </a:lnTo>
                    <a:lnTo>
                      <a:pt x="42" y="67"/>
                    </a:lnTo>
                    <a:lnTo>
                      <a:pt x="44" y="67"/>
                    </a:lnTo>
                    <a:lnTo>
                      <a:pt x="42" y="67"/>
                    </a:lnTo>
                    <a:lnTo>
                      <a:pt x="40" y="67"/>
                    </a:lnTo>
                    <a:lnTo>
                      <a:pt x="39" y="67"/>
                    </a:lnTo>
                    <a:lnTo>
                      <a:pt x="37" y="67"/>
                    </a:lnTo>
                    <a:lnTo>
                      <a:pt x="39" y="67"/>
                    </a:lnTo>
                    <a:lnTo>
                      <a:pt x="39" y="69"/>
                    </a:lnTo>
                    <a:lnTo>
                      <a:pt x="37" y="69"/>
                    </a:lnTo>
                    <a:lnTo>
                      <a:pt x="37" y="71"/>
                    </a:lnTo>
                    <a:lnTo>
                      <a:pt x="37" y="69"/>
                    </a:lnTo>
                    <a:lnTo>
                      <a:pt x="39" y="69"/>
                    </a:lnTo>
                    <a:lnTo>
                      <a:pt x="39" y="67"/>
                    </a:lnTo>
                    <a:lnTo>
                      <a:pt x="37" y="67"/>
                    </a:lnTo>
                    <a:lnTo>
                      <a:pt x="39" y="67"/>
                    </a:lnTo>
                    <a:lnTo>
                      <a:pt x="40" y="67"/>
                    </a:lnTo>
                    <a:lnTo>
                      <a:pt x="42" y="67"/>
                    </a:lnTo>
                    <a:lnTo>
                      <a:pt x="44" y="67"/>
                    </a:lnTo>
                    <a:lnTo>
                      <a:pt x="44" y="69"/>
                    </a:lnTo>
                    <a:lnTo>
                      <a:pt x="46" y="69"/>
                    </a:lnTo>
                    <a:lnTo>
                      <a:pt x="48" y="67"/>
                    </a:lnTo>
                    <a:lnTo>
                      <a:pt x="50" y="65"/>
                    </a:lnTo>
                    <a:lnTo>
                      <a:pt x="52" y="65"/>
                    </a:lnTo>
                    <a:lnTo>
                      <a:pt x="52" y="63"/>
                    </a:lnTo>
                    <a:lnTo>
                      <a:pt x="54" y="63"/>
                    </a:lnTo>
                    <a:lnTo>
                      <a:pt x="56" y="63"/>
                    </a:lnTo>
                    <a:lnTo>
                      <a:pt x="56" y="65"/>
                    </a:lnTo>
                    <a:lnTo>
                      <a:pt x="58" y="65"/>
                    </a:lnTo>
                    <a:lnTo>
                      <a:pt x="58" y="67"/>
                    </a:lnTo>
                    <a:lnTo>
                      <a:pt x="58" y="69"/>
                    </a:lnTo>
                    <a:lnTo>
                      <a:pt x="58" y="71"/>
                    </a:lnTo>
                    <a:lnTo>
                      <a:pt x="60" y="71"/>
                    </a:lnTo>
                    <a:lnTo>
                      <a:pt x="60" y="69"/>
                    </a:lnTo>
                    <a:lnTo>
                      <a:pt x="60" y="71"/>
                    </a:lnTo>
                    <a:lnTo>
                      <a:pt x="62" y="71"/>
                    </a:lnTo>
                    <a:lnTo>
                      <a:pt x="63" y="71"/>
                    </a:lnTo>
                    <a:lnTo>
                      <a:pt x="63" y="73"/>
                    </a:lnTo>
                    <a:lnTo>
                      <a:pt x="65" y="73"/>
                    </a:lnTo>
                    <a:lnTo>
                      <a:pt x="67" y="73"/>
                    </a:lnTo>
                    <a:lnTo>
                      <a:pt x="67" y="71"/>
                    </a:lnTo>
                    <a:lnTo>
                      <a:pt x="69" y="71"/>
                    </a:lnTo>
                    <a:lnTo>
                      <a:pt x="71" y="71"/>
                    </a:lnTo>
                    <a:lnTo>
                      <a:pt x="69" y="69"/>
                    </a:lnTo>
                    <a:lnTo>
                      <a:pt x="71" y="69"/>
                    </a:lnTo>
                    <a:lnTo>
                      <a:pt x="69" y="69"/>
                    </a:lnTo>
                    <a:lnTo>
                      <a:pt x="69" y="67"/>
                    </a:lnTo>
                    <a:lnTo>
                      <a:pt x="69" y="69"/>
                    </a:lnTo>
                    <a:lnTo>
                      <a:pt x="71" y="69"/>
                    </a:lnTo>
                    <a:lnTo>
                      <a:pt x="71" y="67"/>
                    </a:lnTo>
                    <a:lnTo>
                      <a:pt x="73" y="67"/>
                    </a:lnTo>
                    <a:lnTo>
                      <a:pt x="75" y="67"/>
                    </a:lnTo>
                    <a:lnTo>
                      <a:pt x="77" y="67"/>
                    </a:lnTo>
                    <a:lnTo>
                      <a:pt x="77" y="69"/>
                    </a:lnTo>
                    <a:lnTo>
                      <a:pt x="77" y="67"/>
                    </a:lnTo>
                    <a:lnTo>
                      <a:pt x="79" y="67"/>
                    </a:lnTo>
                    <a:lnTo>
                      <a:pt x="79" y="69"/>
                    </a:lnTo>
                    <a:lnTo>
                      <a:pt x="79" y="71"/>
                    </a:lnTo>
                    <a:lnTo>
                      <a:pt x="81" y="71"/>
                    </a:lnTo>
                    <a:lnTo>
                      <a:pt x="81" y="73"/>
                    </a:lnTo>
                    <a:lnTo>
                      <a:pt x="83" y="73"/>
                    </a:lnTo>
                    <a:lnTo>
                      <a:pt x="83" y="75"/>
                    </a:lnTo>
                    <a:lnTo>
                      <a:pt x="85" y="75"/>
                    </a:lnTo>
                    <a:lnTo>
                      <a:pt x="85" y="77"/>
                    </a:lnTo>
                    <a:lnTo>
                      <a:pt x="85" y="78"/>
                    </a:lnTo>
                    <a:lnTo>
                      <a:pt x="87" y="78"/>
                    </a:lnTo>
                    <a:lnTo>
                      <a:pt x="85" y="80"/>
                    </a:lnTo>
                    <a:lnTo>
                      <a:pt x="87" y="80"/>
                    </a:lnTo>
                    <a:lnTo>
                      <a:pt x="87" y="82"/>
                    </a:lnTo>
                    <a:lnTo>
                      <a:pt x="85" y="82"/>
                    </a:lnTo>
                    <a:lnTo>
                      <a:pt x="85" y="84"/>
                    </a:lnTo>
                    <a:lnTo>
                      <a:pt x="87" y="84"/>
                    </a:lnTo>
                    <a:lnTo>
                      <a:pt x="87" y="86"/>
                    </a:lnTo>
                    <a:lnTo>
                      <a:pt x="88" y="86"/>
                    </a:lnTo>
                    <a:lnTo>
                      <a:pt x="88" y="88"/>
                    </a:lnTo>
                    <a:lnTo>
                      <a:pt x="88" y="90"/>
                    </a:lnTo>
                    <a:lnTo>
                      <a:pt x="90" y="90"/>
                    </a:lnTo>
                    <a:lnTo>
                      <a:pt x="90" y="92"/>
                    </a:lnTo>
                    <a:lnTo>
                      <a:pt x="90" y="94"/>
                    </a:lnTo>
                    <a:lnTo>
                      <a:pt x="92" y="94"/>
                    </a:lnTo>
                    <a:lnTo>
                      <a:pt x="90" y="94"/>
                    </a:lnTo>
                    <a:lnTo>
                      <a:pt x="90" y="96"/>
                    </a:lnTo>
                    <a:lnTo>
                      <a:pt x="88" y="96"/>
                    </a:lnTo>
                    <a:lnTo>
                      <a:pt x="87" y="98"/>
                    </a:lnTo>
                    <a:lnTo>
                      <a:pt x="87" y="100"/>
                    </a:lnTo>
                    <a:lnTo>
                      <a:pt x="88" y="100"/>
                    </a:lnTo>
                    <a:lnTo>
                      <a:pt x="88" y="98"/>
                    </a:lnTo>
                    <a:lnTo>
                      <a:pt x="90" y="96"/>
                    </a:lnTo>
                    <a:lnTo>
                      <a:pt x="90" y="98"/>
                    </a:lnTo>
                    <a:lnTo>
                      <a:pt x="90" y="96"/>
                    </a:lnTo>
                    <a:lnTo>
                      <a:pt x="92" y="96"/>
                    </a:lnTo>
                    <a:lnTo>
                      <a:pt x="90" y="96"/>
                    </a:lnTo>
                    <a:lnTo>
                      <a:pt x="92" y="96"/>
                    </a:lnTo>
                    <a:lnTo>
                      <a:pt x="94" y="96"/>
                    </a:lnTo>
                    <a:lnTo>
                      <a:pt x="94" y="98"/>
                    </a:lnTo>
                    <a:lnTo>
                      <a:pt x="96" y="98"/>
                    </a:lnTo>
                    <a:lnTo>
                      <a:pt x="94" y="98"/>
                    </a:lnTo>
                    <a:lnTo>
                      <a:pt x="94" y="100"/>
                    </a:lnTo>
                    <a:lnTo>
                      <a:pt x="94" y="102"/>
                    </a:lnTo>
                    <a:lnTo>
                      <a:pt x="92" y="102"/>
                    </a:lnTo>
                    <a:lnTo>
                      <a:pt x="90" y="102"/>
                    </a:lnTo>
                    <a:lnTo>
                      <a:pt x="90" y="103"/>
                    </a:lnTo>
                    <a:lnTo>
                      <a:pt x="88" y="103"/>
                    </a:lnTo>
                    <a:lnTo>
                      <a:pt x="90" y="103"/>
                    </a:lnTo>
                    <a:lnTo>
                      <a:pt x="88" y="103"/>
                    </a:lnTo>
                    <a:lnTo>
                      <a:pt x="88" y="105"/>
                    </a:lnTo>
                    <a:lnTo>
                      <a:pt x="90" y="105"/>
                    </a:lnTo>
                    <a:lnTo>
                      <a:pt x="92" y="105"/>
                    </a:lnTo>
                    <a:lnTo>
                      <a:pt x="90" y="107"/>
                    </a:lnTo>
                    <a:lnTo>
                      <a:pt x="92" y="107"/>
                    </a:lnTo>
                    <a:lnTo>
                      <a:pt x="94" y="107"/>
                    </a:lnTo>
                    <a:lnTo>
                      <a:pt x="94" y="109"/>
                    </a:lnTo>
                    <a:lnTo>
                      <a:pt x="96" y="109"/>
                    </a:lnTo>
                    <a:lnTo>
                      <a:pt x="94" y="109"/>
                    </a:lnTo>
                    <a:lnTo>
                      <a:pt x="96" y="107"/>
                    </a:lnTo>
                    <a:lnTo>
                      <a:pt x="94" y="107"/>
                    </a:lnTo>
                    <a:lnTo>
                      <a:pt x="96" y="107"/>
                    </a:lnTo>
                    <a:lnTo>
                      <a:pt x="98" y="107"/>
                    </a:lnTo>
                    <a:lnTo>
                      <a:pt x="100" y="107"/>
                    </a:lnTo>
                    <a:lnTo>
                      <a:pt x="102" y="107"/>
                    </a:lnTo>
                    <a:lnTo>
                      <a:pt x="102" y="109"/>
                    </a:lnTo>
                    <a:lnTo>
                      <a:pt x="104" y="107"/>
                    </a:lnTo>
                    <a:lnTo>
                      <a:pt x="104" y="109"/>
                    </a:lnTo>
                    <a:lnTo>
                      <a:pt x="106" y="109"/>
                    </a:lnTo>
                    <a:lnTo>
                      <a:pt x="104" y="109"/>
                    </a:lnTo>
                    <a:lnTo>
                      <a:pt x="106" y="107"/>
                    </a:lnTo>
                    <a:lnTo>
                      <a:pt x="106" y="109"/>
                    </a:lnTo>
                    <a:lnTo>
                      <a:pt x="106" y="107"/>
                    </a:lnTo>
                    <a:lnTo>
                      <a:pt x="104" y="105"/>
                    </a:lnTo>
                    <a:lnTo>
                      <a:pt x="104" y="103"/>
                    </a:lnTo>
                    <a:lnTo>
                      <a:pt x="104" y="102"/>
                    </a:lnTo>
                    <a:lnTo>
                      <a:pt x="104" y="100"/>
                    </a:lnTo>
                    <a:lnTo>
                      <a:pt x="102" y="100"/>
                    </a:lnTo>
                    <a:lnTo>
                      <a:pt x="104" y="98"/>
                    </a:lnTo>
                    <a:lnTo>
                      <a:pt x="104" y="100"/>
                    </a:lnTo>
                    <a:lnTo>
                      <a:pt x="104" y="96"/>
                    </a:lnTo>
                    <a:lnTo>
                      <a:pt x="108" y="92"/>
                    </a:lnTo>
                    <a:lnTo>
                      <a:pt x="108" y="94"/>
                    </a:lnTo>
                    <a:lnTo>
                      <a:pt x="110" y="94"/>
                    </a:lnTo>
                    <a:lnTo>
                      <a:pt x="110" y="92"/>
                    </a:lnTo>
                    <a:lnTo>
                      <a:pt x="108" y="92"/>
                    </a:lnTo>
                    <a:lnTo>
                      <a:pt x="110" y="92"/>
                    </a:lnTo>
                    <a:lnTo>
                      <a:pt x="110" y="90"/>
                    </a:lnTo>
                    <a:lnTo>
                      <a:pt x="110" y="88"/>
                    </a:lnTo>
                    <a:lnTo>
                      <a:pt x="110" y="86"/>
                    </a:lnTo>
                    <a:lnTo>
                      <a:pt x="108" y="86"/>
                    </a:lnTo>
                    <a:lnTo>
                      <a:pt x="110" y="84"/>
                    </a:lnTo>
                    <a:lnTo>
                      <a:pt x="108" y="82"/>
                    </a:lnTo>
                    <a:lnTo>
                      <a:pt x="108" y="80"/>
                    </a:lnTo>
                    <a:lnTo>
                      <a:pt x="106" y="80"/>
                    </a:lnTo>
                    <a:lnTo>
                      <a:pt x="106" y="78"/>
                    </a:lnTo>
                    <a:lnTo>
                      <a:pt x="106" y="77"/>
                    </a:lnTo>
                    <a:lnTo>
                      <a:pt x="104" y="77"/>
                    </a:lnTo>
                    <a:lnTo>
                      <a:pt x="104" y="75"/>
                    </a:lnTo>
                    <a:lnTo>
                      <a:pt x="104" y="73"/>
                    </a:lnTo>
                    <a:lnTo>
                      <a:pt x="104" y="71"/>
                    </a:lnTo>
                    <a:lnTo>
                      <a:pt x="102" y="71"/>
                    </a:lnTo>
                    <a:lnTo>
                      <a:pt x="102" y="69"/>
                    </a:lnTo>
                    <a:lnTo>
                      <a:pt x="102" y="67"/>
                    </a:lnTo>
                    <a:lnTo>
                      <a:pt x="100" y="65"/>
                    </a:lnTo>
                    <a:lnTo>
                      <a:pt x="102" y="65"/>
                    </a:lnTo>
                    <a:lnTo>
                      <a:pt x="100" y="65"/>
                    </a:lnTo>
                    <a:lnTo>
                      <a:pt x="100" y="63"/>
                    </a:lnTo>
                    <a:lnTo>
                      <a:pt x="100" y="65"/>
                    </a:lnTo>
                    <a:lnTo>
                      <a:pt x="100" y="63"/>
                    </a:lnTo>
                    <a:lnTo>
                      <a:pt x="98" y="63"/>
                    </a:lnTo>
                    <a:lnTo>
                      <a:pt x="96" y="63"/>
                    </a:lnTo>
                    <a:lnTo>
                      <a:pt x="96" y="61"/>
                    </a:lnTo>
                    <a:lnTo>
                      <a:pt x="94" y="61"/>
                    </a:lnTo>
                    <a:lnTo>
                      <a:pt x="90" y="61"/>
                    </a:lnTo>
                    <a:lnTo>
                      <a:pt x="92" y="61"/>
                    </a:lnTo>
                    <a:lnTo>
                      <a:pt x="92" y="63"/>
                    </a:lnTo>
                    <a:lnTo>
                      <a:pt x="90" y="63"/>
                    </a:lnTo>
                    <a:lnTo>
                      <a:pt x="88" y="61"/>
                    </a:lnTo>
                    <a:lnTo>
                      <a:pt x="87" y="61"/>
                    </a:lnTo>
                    <a:lnTo>
                      <a:pt x="87" y="59"/>
                    </a:lnTo>
                    <a:lnTo>
                      <a:pt x="85" y="59"/>
                    </a:lnTo>
                    <a:lnTo>
                      <a:pt x="85" y="57"/>
                    </a:lnTo>
                    <a:lnTo>
                      <a:pt x="83" y="57"/>
                    </a:lnTo>
                    <a:lnTo>
                      <a:pt x="83" y="55"/>
                    </a:lnTo>
                    <a:lnTo>
                      <a:pt x="81" y="55"/>
                    </a:lnTo>
                    <a:lnTo>
                      <a:pt x="81" y="53"/>
                    </a:lnTo>
                    <a:lnTo>
                      <a:pt x="81" y="52"/>
                    </a:lnTo>
                    <a:lnTo>
                      <a:pt x="83" y="52"/>
                    </a:lnTo>
                    <a:lnTo>
                      <a:pt x="83" y="50"/>
                    </a:lnTo>
                    <a:lnTo>
                      <a:pt x="83" y="52"/>
                    </a:lnTo>
                    <a:lnTo>
                      <a:pt x="83" y="50"/>
                    </a:lnTo>
                    <a:lnTo>
                      <a:pt x="83" y="52"/>
                    </a:lnTo>
                    <a:lnTo>
                      <a:pt x="83" y="50"/>
                    </a:lnTo>
                    <a:lnTo>
                      <a:pt x="83" y="48"/>
                    </a:lnTo>
                    <a:lnTo>
                      <a:pt x="81" y="48"/>
                    </a:lnTo>
                    <a:lnTo>
                      <a:pt x="83" y="46"/>
                    </a:lnTo>
                    <a:lnTo>
                      <a:pt x="81" y="46"/>
                    </a:lnTo>
                    <a:lnTo>
                      <a:pt x="83" y="46"/>
                    </a:lnTo>
                    <a:lnTo>
                      <a:pt x="83" y="44"/>
                    </a:lnTo>
                    <a:lnTo>
                      <a:pt x="83" y="42"/>
                    </a:lnTo>
                    <a:lnTo>
                      <a:pt x="83" y="40"/>
                    </a:lnTo>
                    <a:lnTo>
                      <a:pt x="83" y="42"/>
                    </a:lnTo>
                    <a:lnTo>
                      <a:pt x="81" y="42"/>
                    </a:lnTo>
                    <a:lnTo>
                      <a:pt x="81" y="40"/>
                    </a:lnTo>
                    <a:lnTo>
                      <a:pt x="79" y="38"/>
                    </a:lnTo>
                    <a:lnTo>
                      <a:pt x="79" y="36"/>
                    </a:lnTo>
                    <a:lnTo>
                      <a:pt x="81" y="34"/>
                    </a:lnTo>
                    <a:lnTo>
                      <a:pt x="81" y="32"/>
                    </a:lnTo>
                    <a:lnTo>
                      <a:pt x="81" y="30"/>
                    </a:lnTo>
                    <a:lnTo>
                      <a:pt x="81" y="28"/>
                    </a:lnTo>
                    <a:lnTo>
                      <a:pt x="83" y="28"/>
                    </a:lnTo>
                    <a:lnTo>
                      <a:pt x="83" y="27"/>
                    </a:lnTo>
                    <a:lnTo>
                      <a:pt x="83" y="25"/>
                    </a:lnTo>
                    <a:lnTo>
                      <a:pt x="85" y="25"/>
                    </a:lnTo>
                    <a:lnTo>
                      <a:pt x="85" y="27"/>
                    </a:lnTo>
                    <a:lnTo>
                      <a:pt x="83" y="27"/>
                    </a:lnTo>
                    <a:lnTo>
                      <a:pt x="83" y="28"/>
                    </a:lnTo>
                    <a:lnTo>
                      <a:pt x="83" y="30"/>
                    </a:lnTo>
                    <a:lnTo>
                      <a:pt x="83" y="32"/>
                    </a:lnTo>
                    <a:lnTo>
                      <a:pt x="83" y="34"/>
                    </a:lnTo>
                    <a:lnTo>
                      <a:pt x="85" y="34"/>
                    </a:lnTo>
                    <a:lnTo>
                      <a:pt x="87" y="34"/>
                    </a:lnTo>
                    <a:lnTo>
                      <a:pt x="87" y="32"/>
                    </a:lnTo>
                    <a:lnTo>
                      <a:pt x="87" y="30"/>
                    </a:lnTo>
                    <a:lnTo>
                      <a:pt x="87" y="28"/>
                    </a:lnTo>
                    <a:lnTo>
                      <a:pt x="87" y="30"/>
                    </a:lnTo>
                    <a:lnTo>
                      <a:pt x="87" y="28"/>
                    </a:lnTo>
                    <a:lnTo>
                      <a:pt x="87" y="30"/>
                    </a:lnTo>
                    <a:lnTo>
                      <a:pt x="87" y="28"/>
                    </a:lnTo>
                    <a:lnTo>
                      <a:pt x="87" y="30"/>
                    </a:lnTo>
                    <a:lnTo>
                      <a:pt x="87" y="28"/>
                    </a:lnTo>
                    <a:lnTo>
                      <a:pt x="88" y="28"/>
                    </a:lnTo>
                    <a:lnTo>
                      <a:pt x="88" y="27"/>
                    </a:lnTo>
                    <a:lnTo>
                      <a:pt x="90" y="27"/>
                    </a:lnTo>
                    <a:lnTo>
                      <a:pt x="90" y="25"/>
                    </a:lnTo>
                    <a:lnTo>
                      <a:pt x="92" y="25"/>
                    </a:lnTo>
                    <a:lnTo>
                      <a:pt x="90" y="25"/>
                    </a:lnTo>
                    <a:lnTo>
                      <a:pt x="92" y="25"/>
                    </a:lnTo>
                    <a:lnTo>
                      <a:pt x="92" y="23"/>
                    </a:lnTo>
                    <a:lnTo>
                      <a:pt x="94" y="23"/>
                    </a:lnTo>
                    <a:lnTo>
                      <a:pt x="92" y="23"/>
                    </a:lnTo>
                    <a:lnTo>
                      <a:pt x="92" y="25"/>
                    </a:lnTo>
                    <a:lnTo>
                      <a:pt x="94" y="25"/>
                    </a:lnTo>
                    <a:lnTo>
                      <a:pt x="94" y="23"/>
                    </a:lnTo>
                    <a:lnTo>
                      <a:pt x="94" y="25"/>
                    </a:lnTo>
                    <a:lnTo>
                      <a:pt x="94" y="23"/>
                    </a:lnTo>
                    <a:lnTo>
                      <a:pt x="94" y="25"/>
                    </a:lnTo>
                    <a:lnTo>
                      <a:pt x="94" y="23"/>
                    </a:lnTo>
                    <a:lnTo>
                      <a:pt x="96" y="23"/>
                    </a:lnTo>
                    <a:lnTo>
                      <a:pt x="96" y="25"/>
                    </a:lnTo>
                    <a:lnTo>
                      <a:pt x="96" y="23"/>
                    </a:lnTo>
                    <a:lnTo>
                      <a:pt x="96" y="25"/>
                    </a:lnTo>
                    <a:lnTo>
                      <a:pt x="96" y="23"/>
                    </a:lnTo>
                    <a:lnTo>
                      <a:pt x="96" y="21"/>
                    </a:lnTo>
                    <a:lnTo>
                      <a:pt x="98" y="21"/>
                    </a:lnTo>
                    <a:lnTo>
                      <a:pt x="98" y="23"/>
                    </a:lnTo>
                    <a:lnTo>
                      <a:pt x="98" y="21"/>
                    </a:lnTo>
                    <a:lnTo>
                      <a:pt x="98" y="19"/>
                    </a:lnTo>
                    <a:lnTo>
                      <a:pt x="98" y="17"/>
                    </a:lnTo>
                    <a:lnTo>
                      <a:pt x="98" y="19"/>
                    </a:lnTo>
                    <a:lnTo>
                      <a:pt x="98" y="17"/>
                    </a:lnTo>
                    <a:lnTo>
                      <a:pt x="100" y="17"/>
                    </a:lnTo>
                    <a:lnTo>
                      <a:pt x="98" y="17"/>
                    </a:lnTo>
                    <a:lnTo>
                      <a:pt x="98" y="19"/>
                    </a:lnTo>
                    <a:lnTo>
                      <a:pt x="96" y="19"/>
                    </a:lnTo>
                    <a:lnTo>
                      <a:pt x="94" y="19"/>
                    </a:lnTo>
                    <a:lnTo>
                      <a:pt x="96" y="19"/>
                    </a:lnTo>
                    <a:lnTo>
                      <a:pt x="94" y="19"/>
                    </a:lnTo>
                    <a:lnTo>
                      <a:pt x="94" y="21"/>
                    </a:lnTo>
                    <a:lnTo>
                      <a:pt x="94" y="19"/>
                    </a:lnTo>
                    <a:lnTo>
                      <a:pt x="94" y="21"/>
                    </a:lnTo>
                    <a:lnTo>
                      <a:pt x="94" y="19"/>
                    </a:lnTo>
                    <a:lnTo>
                      <a:pt x="94" y="21"/>
                    </a:lnTo>
                    <a:lnTo>
                      <a:pt x="92" y="21"/>
                    </a:lnTo>
                    <a:lnTo>
                      <a:pt x="92" y="19"/>
                    </a:lnTo>
                    <a:lnTo>
                      <a:pt x="92" y="21"/>
                    </a:lnTo>
                    <a:lnTo>
                      <a:pt x="90" y="21"/>
                    </a:lnTo>
                    <a:lnTo>
                      <a:pt x="90" y="19"/>
                    </a:lnTo>
                    <a:lnTo>
                      <a:pt x="90" y="21"/>
                    </a:lnTo>
                    <a:lnTo>
                      <a:pt x="90" y="19"/>
                    </a:lnTo>
                    <a:lnTo>
                      <a:pt x="90" y="21"/>
                    </a:lnTo>
                    <a:lnTo>
                      <a:pt x="90" y="19"/>
                    </a:lnTo>
                    <a:lnTo>
                      <a:pt x="88" y="19"/>
                    </a:lnTo>
                    <a:lnTo>
                      <a:pt x="88" y="21"/>
                    </a:lnTo>
                    <a:lnTo>
                      <a:pt x="88" y="19"/>
                    </a:lnTo>
                    <a:lnTo>
                      <a:pt x="88" y="21"/>
                    </a:lnTo>
                    <a:lnTo>
                      <a:pt x="88" y="19"/>
                    </a:lnTo>
                    <a:lnTo>
                      <a:pt x="87" y="19"/>
                    </a:lnTo>
                    <a:lnTo>
                      <a:pt x="87" y="17"/>
                    </a:lnTo>
                    <a:lnTo>
                      <a:pt x="87" y="19"/>
                    </a:lnTo>
                    <a:lnTo>
                      <a:pt x="85" y="19"/>
                    </a:lnTo>
                    <a:lnTo>
                      <a:pt x="85" y="21"/>
                    </a:lnTo>
                    <a:lnTo>
                      <a:pt x="85" y="19"/>
                    </a:lnTo>
                    <a:lnTo>
                      <a:pt x="83" y="19"/>
                    </a:lnTo>
                    <a:lnTo>
                      <a:pt x="85" y="19"/>
                    </a:lnTo>
                    <a:lnTo>
                      <a:pt x="83" y="19"/>
                    </a:lnTo>
                    <a:lnTo>
                      <a:pt x="83" y="17"/>
                    </a:lnTo>
                    <a:lnTo>
                      <a:pt x="83" y="19"/>
                    </a:lnTo>
                    <a:lnTo>
                      <a:pt x="83" y="21"/>
                    </a:lnTo>
                    <a:lnTo>
                      <a:pt x="83" y="19"/>
                    </a:lnTo>
                    <a:lnTo>
                      <a:pt x="81" y="19"/>
                    </a:lnTo>
                    <a:lnTo>
                      <a:pt x="81" y="21"/>
                    </a:lnTo>
                    <a:lnTo>
                      <a:pt x="81" y="19"/>
                    </a:lnTo>
                    <a:lnTo>
                      <a:pt x="79" y="21"/>
                    </a:lnTo>
                    <a:lnTo>
                      <a:pt x="79" y="19"/>
                    </a:lnTo>
                    <a:lnTo>
                      <a:pt x="79" y="21"/>
                    </a:lnTo>
                    <a:lnTo>
                      <a:pt x="77" y="21"/>
                    </a:lnTo>
                    <a:lnTo>
                      <a:pt x="77" y="23"/>
                    </a:lnTo>
                    <a:lnTo>
                      <a:pt x="77" y="21"/>
                    </a:lnTo>
                    <a:lnTo>
                      <a:pt x="77" y="19"/>
                    </a:lnTo>
                    <a:lnTo>
                      <a:pt x="75" y="19"/>
                    </a:lnTo>
                    <a:lnTo>
                      <a:pt x="75" y="21"/>
                    </a:lnTo>
                    <a:lnTo>
                      <a:pt x="75" y="19"/>
                    </a:lnTo>
                    <a:lnTo>
                      <a:pt x="73" y="19"/>
                    </a:lnTo>
                    <a:lnTo>
                      <a:pt x="73" y="21"/>
                    </a:lnTo>
                    <a:lnTo>
                      <a:pt x="73" y="19"/>
                    </a:lnTo>
                    <a:lnTo>
                      <a:pt x="73" y="21"/>
                    </a:lnTo>
                    <a:lnTo>
                      <a:pt x="73" y="19"/>
                    </a:lnTo>
                    <a:lnTo>
                      <a:pt x="73" y="17"/>
                    </a:lnTo>
                    <a:lnTo>
                      <a:pt x="71" y="17"/>
                    </a:lnTo>
                    <a:lnTo>
                      <a:pt x="73" y="17"/>
                    </a:lnTo>
                    <a:lnTo>
                      <a:pt x="71" y="17"/>
                    </a:lnTo>
                    <a:lnTo>
                      <a:pt x="71" y="19"/>
                    </a:lnTo>
                    <a:lnTo>
                      <a:pt x="71" y="17"/>
                    </a:lnTo>
                    <a:lnTo>
                      <a:pt x="69" y="17"/>
                    </a:lnTo>
                    <a:lnTo>
                      <a:pt x="69" y="15"/>
                    </a:lnTo>
                    <a:lnTo>
                      <a:pt x="67" y="15"/>
                    </a:lnTo>
                    <a:lnTo>
                      <a:pt x="69" y="15"/>
                    </a:lnTo>
                    <a:lnTo>
                      <a:pt x="69" y="13"/>
                    </a:lnTo>
                    <a:lnTo>
                      <a:pt x="67" y="13"/>
                    </a:lnTo>
                    <a:lnTo>
                      <a:pt x="67" y="15"/>
                    </a:lnTo>
                    <a:lnTo>
                      <a:pt x="67" y="17"/>
                    </a:lnTo>
                    <a:lnTo>
                      <a:pt x="65" y="17"/>
                    </a:lnTo>
                    <a:lnTo>
                      <a:pt x="65" y="15"/>
                    </a:lnTo>
                    <a:lnTo>
                      <a:pt x="65" y="13"/>
                    </a:lnTo>
                    <a:lnTo>
                      <a:pt x="67" y="13"/>
                    </a:lnTo>
                    <a:lnTo>
                      <a:pt x="67" y="15"/>
                    </a:lnTo>
                    <a:lnTo>
                      <a:pt x="65" y="15"/>
                    </a:lnTo>
                    <a:lnTo>
                      <a:pt x="67" y="15"/>
                    </a:lnTo>
                    <a:lnTo>
                      <a:pt x="67" y="13"/>
                    </a:lnTo>
                    <a:lnTo>
                      <a:pt x="69" y="13"/>
                    </a:lnTo>
                    <a:lnTo>
                      <a:pt x="71" y="11"/>
                    </a:lnTo>
                    <a:lnTo>
                      <a:pt x="73" y="11"/>
                    </a:lnTo>
                    <a:lnTo>
                      <a:pt x="81" y="9"/>
                    </a:lnTo>
                    <a:lnTo>
                      <a:pt x="83" y="9"/>
                    </a:lnTo>
                    <a:lnTo>
                      <a:pt x="85" y="9"/>
                    </a:lnTo>
                    <a:lnTo>
                      <a:pt x="87" y="7"/>
                    </a:lnTo>
                    <a:lnTo>
                      <a:pt x="88" y="7"/>
                    </a:lnTo>
                    <a:lnTo>
                      <a:pt x="90" y="7"/>
                    </a:lnTo>
                    <a:lnTo>
                      <a:pt x="92" y="7"/>
                    </a:lnTo>
                    <a:lnTo>
                      <a:pt x="92" y="5"/>
                    </a:lnTo>
                    <a:lnTo>
                      <a:pt x="94" y="7"/>
                    </a:lnTo>
                    <a:lnTo>
                      <a:pt x="98" y="5"/>
                    </a:lnTo>
                    <a:lnTo>
                      <a:pt x="100" y="5"/>
                    </a:lnTo>
                    <a:lnTo>
                      <a:pt x="102" y="5"/>
                    </a:lnTo>
                    <a:lnTo>
                      <a:pt x="104" y="5"/>
                    </a:lnTo>
                    <a:lnTo>
                      <a:pt x="104" y="7"/>
                    </a:lnTo>
                    <a:lnTo>
                      <a:pt x="106" y="7"/>
                    </a:lnTo>
                    <a:lnTo>
                      <a:pt x="110" y="5"/>
                    </a:lnTo>
                    <a:lnTo>
                      <a:pt x="110" y="4"/>
                    </a:lnTo>
                    <a:lnTo>
                      <a:pt x="112" y="4"/>
                    </a:lnTo>
                    <a:lnTo>
                      <a:pt x="113" y="4"/>
                    </a:lnTo>
                    <a:lnTo>
                      <a:pt x="115" y="2"/>
                    </a:lnTo>
                    <a:lnTo>
                      <a:pt x="117" y="2"/>
                    </a:lnTo>
                    <a:lnTo>
                      <a:pt x="119" y="2"/>
                    </a:lnTo>
                    <a:lnTo>
                      <a:pt x="119" y="4"/>
                    </a:lnTo>
                    <a:lnTo>
                      <a:pt x="121" y="2"/>
                    </a:lnTo>
                    <a:lnTo>
                      <a:pt x="123" y="2"/>
                    </a:lnTo>
                    <a:lnTo>
                      <a:pt x="125" y="2"/>
                    </a:lnTo>
                    <a:lnTo>
                      <a:pt x="127" y="2"/>
                    </a:lnTo>
                    <a:lnTo>
                      <a:pt x="129" y="2"/>
                    </a:lnTo>
                    <a:lnTo>
                      <a:pt x="131" y="2"/>
                    </a:lnTo>
                    <a:lnTo>
                      <a:pt x="133" y="2"/>
                    </a:lnTo>
                    <a:lnTo>
                      <a:pt x="135" y="0"/>
                    </a:lnTo>
                    <a:lnTo>
                      <a:pt x="135" y="2"/>
                    </a:lnTo>
                    <a:lnTo>
                      <a:pt x="135" y="4"/>
                    </a:lnTo>
                    <a:lnTo>
                      <a:pt x="135" y="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1" name="Freeform 58"/>
              <p:cNvSpPr>
                <a:spLocks noEditPoints="1"/>
              </p:cNvSpPr>
              <p:nvPr/>
            </p:nvSpPr>
            <p:spPr bwMode="auto">
              <a:xfrm>
                <a:off x="703018" y="1721269"/>
                <a:ext cx="142812" cy="60222"/>
              </a:xfrm>
              <a:custGeom>
                <a:avLst/>
                <a:gdLst>
                  <a:gd name="T0" fmla="*/ 0 w 83"/>
                  <a:gd name="T1" fmla="*/ 17 h 35"/>
                  <a:gd name="T2" fmla="*/ 10 w 83"/>
                  <a:gd name="T3" fmla="*/ 21 h 35"/>
                  <a:gd name="T4" fmla="*/ 10 w 83"/>
                  <a:gd name="T5" fmla="*/ 19 h 35"/>
                  <a:gd name="T6" fmla="*/ 37 w 83"/>
                  <a:gd name="T7" fmla="*/ 27 h 35"/>
                  <a:gd name="T8" fmla="*/ 37 w 83"/>
                  <a:gd name="T9" fmla="*/ 25 h 35"/>
                  <a:gd name="T10" fmla="*/ 45 w 83"/>
                  <a:gd name="T11" fmla="*/ 33 h 35"/>
                  <a:gd name="T12" fmla="*/ 31 w 83"/>
                  <a:gd name="T13" fmla="*/ 25 h 35"/>
                  <a:gd name="T14" fmla="*/ 31 w 83"/>
                  <a:gd name="T15" fmla="*/ 27 h 35"/>
                  <a:gd name="T16" fmla="*/ 29 w 83"/>
                  <a:gd name="T17" fmla="*/ 23 h 35"/>
                  <a:gd name="T18" fmla="*/ 14 w 83"/>
                  <a:gd name="T19" fmla="*/ 4 h 35"/>
                  <a:gd name="T20" fmla="*/ 12 w 83"/>
                  <a:gd name="T21" fmla="*/ 8 h 35"/>
                  <a:gd name="T22" fmla="*/ 14 w 83"/>
                  <a:gd name="T23" fmla="*/ 4 h 35"/>
                  <a:gd name="T24" fmla="*/ 16 w 83"/>
                  <a:gd name="T25" fmla="*/ 4 h 35"/>
                  <a:gd name="T26" fmla="*/ 64 w 83"/>
                  <a:gd name="T27" fmla="*/ 21 h 35"/>
                  <a:gd name="T28" fmla="*/ 64 w 83"/>
                  <a:gd name="T29" fmla="*/ 23 h 35"/>
                  <a:gd name="T30" fmla="*/ 64 w 83"/>
                  <a:gd name="T31" fmla="*/ 25 h 35"/>
                  <a:gd name="T32" fmla="*/ 64 w 83"/>
                  <a:gd name="T33" fmla="*/ 27 h 35"/>
                  <a:gd name="T34" fmla="*/ 60 w 83"/>
                  <a:gd name="T35" fmla="*/ 27 h 35"/>
                  <a:gd name="T36" fmla="*/ 60 w 83"/>
                  <a:gd name="T37" fmla="*/ 21 h 35"/>
                  <a:gd name="T38" fmla="*/ 62 w 83"/>
                  <a:gd name="T39" fmla="*/ 21 h 35"/>
                  <a:gd name="T40" fmla="*/ 60 w 83"/>
                  <a:gd name="T41" fmla="*/ 19 h 35"/>
                  <a:gd name="T42" fmla="*/ 60 w 83"/>
                  <a:gd name="T43" fmla="*/ 21 h 35"/>
                  <a:gd name="T44" fmla="*/ 62 w 83"/>
                  <a:gd name="T45" fmla="*/ 13 h 35"/>
                  <a:gd name="T46" fmla="*/ 70 w 83"/>
                  <a:gd name="T47" fmla="*/ 15 h 35"/>
                  <a:gd name="T48" fmla="*/ 64 w 83"/>
                  <a:gd name="T49" fmla="*/ 11 h 35"/>
                  <a:gd name="T50" fmla="*/ 64 w 83"/>
                  <a:gd name="T51" fmla="*/ 17 h 35"/>
                  <a:gd name="T52" fmla="*/ 62 w 83"/>
                  <a:gd name="T53" fmla="*/ 17 h 35"/>
                  <a:gd name="T54" fmla="*/ 62 w 83"/>
                  <a:gd name="T55" fmla="*/ 15 h 35"/>
                  <a:gd name="T56" fmla="*/ 64 w 83"/>
                  <a:gd name="T57" fmla="*/ 11 h 35"/>
                  <a:gd name="T58" fmla="*/ 50 w 83"/>
                  <a:gd name="T59" fmla="*/ 2 h 35"/>
                  <a:gd name="T60" fmla="*/ 52 w 83"/>
                  <a:gd name="T61" fmla="*/ 0 h 35"/>
                  <a:gd name="T62" fmla="*/ 52 w 83"/>
                  <a:gd name="T63" fmla="*/ 2 h 35"/>
                  <a:gd name="T64" fmla="*/ 70 w 83"/>
                  <a:gd name="T65" fmla="*/ 13 h 35"/>
                  <a:gd name="T66" fmla="*/ 70 w 83"/>
                  <a:gd name="T67" fmla="*/ 15 h 35"/>
                  <a:gd name="T68" fmla="*/ 70 w 83"/>
                  <a:gd name="T69" fmla="*/ 17 h 35"/>
                  <a:gd name="T70" fmla="*/ 70 w 83"/>
                  <a:gd name="T71" fmla="*/ 11 h 35"/>
                  <a:gd name="T72" fmla="*/ 70 w 83"/>
                  <a:gd name="T73" fmla="*/ 11 h 35"/>
                  <a:gd name="T74" fmla="*/ 72 w 83"/>
                  <a:gd name="T75" fmla="*/ 10 h 35"/>
                  <a:gd name="T76" fmla="*/ 72 w 83"/>
                  <a:gd name="T77" fmla="*/ 10 h 35"/>
                  <a:gd name="T78" fmla="*/ 72 w 83"/>
                  <a:gd name="T79" fmla="*/ 8 h 35"/>
                  <a:gd name="T80" fmla="*/ 68 w 83"/>
                  <a:gd name="T81" fmla="*/ 8 h 35"/>
                  <a:gd name="T82" fmla="*/ 70 w 83"/>
                  <a:gd name="T83" fmla="*/ 6 h 35"/>
                  <a:gd name="T84" fmla="*/ 70 w 83"/>
                  <a:gd name="T85" fmla="*/ 4 h 35"/>
                  <a:gd name="T86" fmla="*/ 70 w 83"/>
                  <a:gd name="T87" fmla="*/ 4 h 35"/>
                  <a:gd name="T88" fmla="*/ 73 w 83"/>
                  <a:gd name="T89" fmla="*/ 6 h 35"/>
                  <a:gd name="T90" fmla="*/ 73 w 83"/>
                  <a:gd name="T91" fmla="*/ 8 h 35"/>
                  <a:gd name="T92" fmla="*/ 75 w 83"/>
                  <a:gd name="T93" fmla="*/ 10 h 35"/>
                  <a:gd name="T94" fmla="*/ 73 w 83"/>
                  <a:gd name="T95" fmla="*/ 10 h 35"/>
                  <a:gd name="T96" fmla="*/ 73 w 83"/>
                  <a:gd name="T97" fmla="*/ 8 h 35"/>
                  <a:gd name="T98" fmla="*/ 72 w 83"/>
                  <a:gd name="T99" fmla="*/ 8 h 35"/>
                  <a:gd name="T100" fmla="*/ 73 w 83"/>
                  <a:gd name="T101" fmla="*/ 6 h 35"/>
                  <a:gd name="T102" fmla="*/ 75 w 83"/>
                  <a:gd name="T103" fmla="*/ 6 h 35"/>
                  <a:gd name="T104" fmla="*/ 75 w 83"/>
                  <a:gd name="T105" fmla="*/ 6 h 35"/>
                  <a:gd name="T106" fmla="*/ 75 w 83"/>
                  <a:gd name="T107" fmla="*/ 4 h 35"/>
                  <a:gd name="T108" fmla="*/ 73 w 83"/>
                  <a:gd name="T109" fmla="*/ 6 h 35"/>
                  <a:gd name="T110" fmla="*/ 73 w 83"/>
                  <a:gd name="T111" fmla="*/ 4 h 35"/>
                  <a:gd name="T112" fmla="*/ 73 w 83"/>
                  <a:gd name="T113" fmla="*/ 4 h 35"/>
                  <a:gd name="T114" fmla="*/ 75 w 83"/>
                  <a:gd name="T115" fmla="*/ 6 h 35"/>
                  <a:gd name="T116" fmla="*/ 81 w 83"/>
                  <a:gd name="T11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35">
                    <a:moveTo>
                      <a:pt x="2" y="15"/>
                    </a:moveTo>
                    <a:lnTo>
                      <a:pt x="2" y="17"/>
                    </a:lnTo>
                    <a:lnTo>
                      <a:pt x="0" y="17"/>
                    </a:lnTo>
                    <a:lnTo>
                      <a:pt x="0" y="15"/>
                    </a:lnTo>
                    <a:lnTo>
                      <a:pt x="2" y="15"/>
                    </a:lnTo>
                    <a:close/>
                    <a:moveTo>
                      <a:pt x="10" y="21"/>
                    </a:moveTo>
                    <a:lnTo>
                      <a:pt x="8" y="21"/>
                    </a:lnTo>
                    <a:lnTo>
                      <a:pt x="8" y="19"/>
                    </a:lnTo>
                    <a:lnTo>
                      <a:pt x="10" y="19"/>
                    </a:lnTo>
                    <a:lnTo>
                      <a:pt x="10" y="21"/>
                    </a:lnTo>
                    <a:close/>
                    <a:moveTo>
                      <a:pt x="37" y="25"/>
                    </a:moveTo>
                    <a:lnTo>
                      <a:pt x="37" y="27"/>
                    </a:lnTo>
                    <a:lnTo>
                      <a:pt x="35" y="27"/>
                    </a:lnTo>
                    <a:lnTo>
                      <a:pt x="35" y="25"/>
                    </a:lnTo>
                    <a:lnTo>
                      <a:pt x="37" y="25"/>
                    </a:lnTo>
                    <a:close/>
                    <a:moveTo>
                      <a:pt x="45" y="33"/>
                    </a:moveTo>
                    <a:lnTo>
                      <a:pt x="45" y="35"/>
                    </a:lnTo>
                    <a:lnTo>
                      <a:pt x="45" y="33"/>
                    </a:lnTo>
                    <a:close/>
                    <a:moveTo>
                      <a:pt x="33" y="23"/>
                    </a:moveTo>
                    <a:lnTo>
                      <a:pt x="31" y="23"/>
                    </a:lnTo>
                    <a:lnTo>
                      <a:pt x="31" y="25"/>
                    </a:lnTo>
                    <a:lnTo>
                      <a:pt x="33" y="25"/>
                    </a:lnTo>
                    <a:lnTo>
                      <a:pt x="31" y="25"/>
                    </a:lnTo>
                    <a:lnTo>
                      <a:pt x="31" y="27"/>
                    </a:lnTo>
                    <a:lnTo>
                      <a:pt x="31" y="25"/>
                    </a:lnTo>
                    <a:lnTo>
                      <a:pt x="29" y="25"/>
                    </a:lnTo>
                    <a:lnTo>
                      <a:pt x="29" y="23"/>
                    </a:lnTo>
                    <a:lnTo>
                      <a:pt x="31" y="23"/>
                    </a:lnTo>
                    <a:lnTo>
                      <a:pt x="33" y="23"/>
                    </a:lnTo>
                    <a:close/>
                    <a:moveTo>
                      <a:pt x="14" y="4"/>
                    </a:moveTo>
                    <a:lnTo>
                      <a:pt x="14" y="6"/>
                    </a:lnTo>
                    <a:lnTo>
                      <a:pt x="14" y="8"/>
                    </a:lnTo>
                    <a:lnTo>
                      <a:pt x="12" y="8"/>
                    </a:lnTo>
                    <a:lnTo>
                      <a:pt x="12" y="6"/>
                    </a:lnTo>
                    <a:lnTo>
                      <a:pt x="14" y="6"/>
                    </a:lnTo>
                    <a:lnTo>
                      <a:pt x="14" y="4"/>
                    </a:lnTo>
                    <a:lnTo>
                      <a:pt x="14" y="2"/>
                    </a:lnTo>
                    <a:lnTo>
                      <a:pt x="16" y="2"/>
                    </a:lnTo>
                    <a:lnTo>
                      <a:pt x="16" y="4"/>
                    </a:lnTo>
                    <a:lnTo>
                      <a:pt x="14" y="4"/>
                    </a:lnTo>
                    <a:close/>
                    <a:moveTo>
                      <a:pt x="62" y="21"/>
                    </a:moveTo>
                    <a:lnTo>
                      <a:pt x="64" y="21"/>
                    </a:lnTo>
                    <a:lnTo>
                      <a:pt x="62" y="21"/>
                    </a:lnTo>
                    <a:lnTo>
                      <a:pt x="62" y="23"/>
                    </a:lnTo>
                    <a:lnTo>
                      <a:pt x="64" y="23"/>
                    </a:lnTo>
                    <a:lnTo>
                      <a:pt x="62" y="23"/>
                    </a:lnTo>
                    <a:lnTo>
                      <a:pt x="64" y="23"/>
                    </a:lnTo>
                    <a:lnTo>
                      <a:pt x="64" y="25"/>
                    </a:lnTo>
                    <a:lnTo>
                      <a:pt x="62" y="25"/>
                    </a:lnTo>
                    <a:lnTo>
                      <a:pt x="64" y="25"/>
                    </a:lnTo>
                    <a:lnTo>
                      <a:pt x="64" y="27"/>
                    </a:lnTo>
                    <a:lnTo>
                      <a:pt x="64" y="25"/>
                    </a:lnTo>
                    <a:lnTo>
                      <a:pt x="62" y="27"/>
                    </a:lnTo>
                    <a:lnTo>
                      <a:pt x="60" y="27"/>
                    </a:lnTo>
                    <a:lnTo>
                      <a:pt x="60" y="25"/>
                    </a:lnTo>
                    <a:lnTo>
                      <a:pt x="60" y="23"/>
                    </a:lnTo>
                    <a:lnTo>
                      <a:pt x="60" y="21"/>
                    </a:lnTo>
                    <a:lnTo>
                      <a:pt x="62" y="21"/>
                    </a:lnTo>
                    <a:lnTo>
                      <a:pt x="62" y="19"/>
                    </a:lnTo>
                    <a:lnTo>
                      <a:pt x="62" y="21"/>
                    </a:lnTo>
                    <a:close/>
                    <a:moveTo>
                      <a:pt x="60" y="17"/>
                    </a:moveTo>
                    <a:lnTo>
                      <a:pt x="62" y="17"/>
                    </a:lnTo>
                    <a:lnTo>
                      <a:pt x="60" y="19"/>
                    </a:lnTo>
                    <a:lnTo>
                      <a:pt x="62" y="19"/>
                    </a:lnTo>
                    <a:lnTo>
                      <a:pt x="60" y="19"/>
                    </a:lnTo>
                    <a:lnTo>
                      <a:pt x="60" y="21"/>
                    </a:lnTo>
                    <a:lnTo>
                      <a:pt x="60" y="19"/>
                    </a:lnTo>
                    <a:lnTo>
                      <a:pt x="60" y="17"/>
                    </a:lnTo>
                    <a:close/>
                    <a:moveTo>
                      <a:pt x="62" y="13"/>
                    </a:moveTo>
                    <a:lnTo>
                      <a:pt x="62" y="15"/>
                    </a:lnTo>
                    <a:lnTo>
                      <a:pt x="62" y="13"/>
                    </a:lnTo>
                    <a:close/>
                    <a:moveTo>
                      <a:pt x="70" y="15"/>
                    </a:moveTo>
                    <a:lnTo>
                      <a:pt x="70" y="17"/>
                    </a:lnTo>
                    <a:lnTo>
                      <a:pt x="70" y="15"/>
                    </a:lnTo>
                    <a:close/>
                    <a:moveTo>
                      <a:pt x="64" y="11"/>
                    </a:moveTo>
                    <a:lnTo>
                      <a:pt x="64" y="13"/>
                    </a:lnTo>
                    <a:lnTo>
                      <a:pt x="64" y="15"/>
                    </a:lnTo>
                    <a:lnTo>
                      <a:pt x="64" y="17"/>
                    </a:lnTo>
                    <a:lnTo>
                      <a:pt x="62" y="17"/>
                    </a:lnTo>
                    <a:lnTo>
                      <a:pt x="62" y="19"/>
                    </a:lnTo>
                    <a:lnTo>
                      <a:pt x="62" y="17"/>
                    </a:lnTo>
                    <a:lnTo>
                      <a:pt x="62" y="15"/>
                    </a:lnTo>
                    <a:lnTo>
                      <a:pt x="62" y="17"/>
                    </a:lnTo>
                    <a:lnTo>
                      <a:pt x="62" y="15"/>
                    </a:lnTo>
                    <a:lnTo>
                      <a:pt x="64" y="15"/>
                    </a:lnTo>
                    <a:lnTo>
                      <a:pt x="64" y="13"/>
                    </a:lnTo>
                    <a:lnTo>
                      <a:pt x="64" y="11"/>
                    </a:lnTo>
                    <a:close/>
                    <a:moveTo>
                      <a:pt x="50" y="0"/>
                    </a:moveTo>
                    <a:lnTo>
                      <a:pt x="52" y="0"/>
                    </a:lnTo>
                    <a:lnTo>
                      <a:pt x="50" y="2"/>
                    </a:lnTo>
                    <a:lnTo>
                      <a:pt x="50" y="0"/>
                    </a:lnTo>
                    <a:close/>
                    <a:moveTo>
                      <a:pt x="50" y="0"/>
                    </a:moveTo>
                    <a:lnTo>
                      <a:pt x="52" y="0"/>
                    </a:lnTo>
                    <a:lnTo>
                      <a:pt x="50" y="0"/>
                    </a:lnTo>
                    <a:close/>
                    <a:moveTo>
                      <a:pt x="52" y="0"/>
                    </a:moveTo>
                    <a:lnTo>
                      <a:pt x="52" y="2"/>
                    </a:lnTo>
                    <a:lnTo>
                      <a:pt x="52" y="0"/>
                    </a:lnTo>
                    <a:close/>
                    <a:moveTo>
                      <a:pt x="70" y="11"/>
                    </a:moveTo>
                    <a:lnTo>
                      <a:pt x="70" y="13"/>
                    </a:lnTo>
                    <a:lnTo>
                      <a:pt x="70" y="15"/>
                    </a:lnTo>
                    <a:lnTo>
                      <a:pt x="72" y="15"/>
                    </a:lnTo>
                    <a:lnTo>
                      <a:pt x="70" y="15"/>
                    </a:lnTo>
                    <a:lnTo>
                      <a:pt x="72" y="15"/>
                    </a:lnTo>
                    <a:lnTo>
                      <a:pt x="70" y="15"/>
                    </a:lnTo>
                    <a:lnTo>
                      <a:pt x="70" y="17"/>
                    </a:lnTo>
                    <a:lnTo>
                      <a:pt x="70" y="15"/>
                    </a:lnTo>
                    <a:lnTo>
                      <a:pt x="70" y="13"/>
                    </a:lnTo>
                    <a:lnTo>
                      <a:pt x="70" y="11"/>
                    </a:lnTo>
                    <a:close/>
                    <a:moveTo>
                      <a:pt x="72" y="10"/>
                    </a:moveTo>
                    <a:lnTo>
                      <a:pt x="72" y="11"/>
                    </a:lnTo>
                    <a:lnTo>
                      <a:pt x="70" y="11"/>
                    </a:lnTo>
                    <a:lnTo>
                      <a:pt x="72" y="10"/>
                    </a:lnTo>
                    <a:lnTo>
                      <a:pt x="70" y="10"/>
                    </a:lnTo>
                    <a:lnTo>
                      <a:pt x="72" y="10"/>
                    </a:lnTo>
                    <a:close/>
                    <a:moveTo>
                      <a:pt x="72" y="10"/>
                    </a:moveTo>
                    <a:lnTo>
                      <a:pt x="72" y="11"/>
                    </a:lnTo>
                    <a:lnTo>
                      <a:pt x="72" y="10"/>
                    </a:lnTo>
                    <a:close/>
                    <a:moveTo>
                      <a:pt x="72" y="8"/>
                    </a:moveTo>
                    <a:lnTo>
                      <a:pt x="72" y="10"/>
                    </a:lnTo>
                    <a:lnTo>
                      <a:pt x="72" y="8"/>
                    </a:lnTo>
                    <a:close/>
                    <a:moveTo>
                      <a:pt x="68" y="6"/>
                    </a:moveTo>
                    <a:lnTo>
                      <a:pt x="70" y="6"/>
                    </a:lnTo>
                    <a:lnTo>
                      <a:pt x="68" y="8"/>
                    </a:lnTo>
                    <a:lnTo>
                      <a:pt x="68" y="6"/>
                    </a:lnTo>
                    <a:close/>
                    <a:moveTo>
                      <a:pt x="70" y="4"/>
                    </a:moveTo>
                    <a:lnTo>
                      <a:pt x="70" y="6"/>
                    </a:lnTo>
                    <a:lnTo>
                      <a:pt x="70" y="4"/>
                    </a:lnTo>
                    <a:close/>
                    <a:moveTo>
                      <a:pt x="72" y="4"/>
                    </a:moveTo>
                    <a:lnTo>
                      <a:pt x="70" y="4"/>
                    </a:lnTo>
                    <a:lnTo>
                      <a:pt x="72" y="4"/>
                    </a:lnTo>
                    <a:close/>
                    <a:moveTo>
                      <a:pt x="70" y="2"/>
                    </a:moveTo>
                    <a:lnTo>
                      <a:pt x="70" y="4"/>
                    </a:lnTo>
                    <a:lnTo>
                      <a:pt x="70" y="2"/>
                    </a:lnTo>
                    <a:close/>
                    <a:moveTo>
                      <a:pt x="75" y="6"/>
                    </a:moveTo>
                    <a:lnTo>
                      <a:pt x="73" y="6"/>
                    </a:lnTo>
                    <a:lnTo>
                      <a:pt x="73" y="8"/>
                    </a:lnTo>
                    <a:lnTo>
                      <a:pt x="75" y="8"/>
                    </a:lnTo>
                    <a:lnTo>
                      <a:pt x="73" y="8"/>
                    </a:lnTo>
                    <a:lnTo>
                      <a:pt x="75" y="8"/>
                    </a:lnTo>
                    <a:lnTo>
                      <a:pt x="73" y="8"/>
                    </a:lnTo>
                    <a:lnTo>
                      <a:pt x="75" y="10"/>
                    </a:lnTo>
                    <a:lnTo>
                      <a:pt x="73" y="10"/>
                    </a:lnTo>
                    <a:lnTo>
                      <a:pt x="73" y="8"/>
                    </a:lnTo>
                    <a:lnTo>
                      <a:pt x="73" y="10"/>
                    </a:lnTo>
                    <a:lnTo>
                      <a:pt x="72" y="10"/>
                    </a:lnTo>
                    <a:lnTo>
                      <a:pt x="72" y="8"/>
                    </a:lnTo>
                    <a:lnTo>
                      <a:pt x="73" y="8"/>
                    </a:lnTo>
                    <a:lnTo>
                      <a:pt x="72" y="8"/>
                    </a:lnTo>
                    <a:lnTo>
                      <a:pt x="73" y="8"/>
                    </a:lnTo>
                    <a:lnTo>
                      <a:pt x="72" y="8"/>
                    </a:lnTo>
                    <a:lnTo>
                      <a:pt x="73" y="8"/>
                    </a:lnTo>
                    <a:lnTo>
                      <a:pt x="72" y="8"/>
                    </a:lnTo>
                    <a:lnTo>
                      <a:pt x="73" y="6"/>
                    </a:lnTo>
                    <a:lnTo>
                      <a:pt x="73" y="8"/>
                    </a:lnTo>
                    <a:lnTo>
                      <a:pt x="73" y="6"/>
                    </a:lnTo>
                    <a:lnTo>
                      <a:pt x="75" y="6"/>
                    </a:lnTo>
                    <a:close/>
                    <a:moveTo>
                      <a:pt x="75" y="6"/>
                    </a:moveTo>
                    <a:lnTo>
                      <a:pt x="73" y="6"/>
                    </a:lnTo>
                    <a:lnTo>
                      <a:pt x="75" y="6"/>
                    </a:lnTo>
                    <a:lnTo>
                      <a:pt x="75" y="4"/>
                    </a:lnTo>
                    <a:lnTo>
                      <a:pt x="75" y="6"/>
                    </a:lnTo>
                    <a:lnTo>
                      <a:pt x="75" y="4"/>
                    </a:lnTo>
                    <a:lnTo>
                      <a:pt x="75" y="6"/>
                    </a:lnTo>
                    <a:close/>
                    <a:moveTo>
                      <a:pt x="73" y="4"/>
                    </a:moveTo>
                    <a:lnTo>
                      <a:pt x="73" y="6"/>
                    </a:lnTo>
                    <a:lnTo>
                      <a:pt x="73" y="4"/>
                    </a:lnTo>
                    <a:lnTo>
                      <a:pt x="73" y="6"/>
                    </a:lnTo>
                    <a:lnTo>
                      <a:pt x="73" y="4"/>
                    </a:lnTo>
                    <a:close/>
                    <a:moveTo>
                      <a:pt x="73" y="4"/>
                    </a:moveTo>
                    <a:lnTo>
                      <a:pt x="75" y="4"/>
                    </a:lnTo>
                    <a:lnTo>
                      <a:pt x="73" y="4"/>
                    </a:lnTo>
                    <a:close/>
                    <a:moveTo>
                      <a:pt x="75" y="6"/>
                    </a:moveTo>
                    <a:lnTo>
                      <a:pt x="75" y="4"/>
                    </a:lnTo>
                    <a:lnTo>
                      <a:pt x="75" y="6"/>
                    </a:lnTo>
                    <a:close/>
                    <a:moveTo>
                      <a:pt x="83" y="4"/>
                    </a:moveTo>
                    <a:lnTo>
                      <a:pt x="81" y="4"/>
                    </a:lnTo>
                    <a:lnTo>
                      <a:pt x="81" y="2"/>
                    </a:lnTo>
                    <a:lnTo>
                      <a:pt x="83" y="2"/>
                    </a:lnTo>
                    <a:lnTo>
                      <a:pt x="83"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2" name="Freeform 59"/>
              <p:cNvSpPr>
                <a:spLocks noEditPoints="1"/>
              </p:cNvSpPr>
              <p:nvPr/>
            </p:nvSpPr>
            <p:spPr bwMode="auto">
              <a:xfrm>
                <a:off x="737431" y="1714387"/>
                <a:ext cx="108400" cy="86031"/>
              </a:xfrm>
              <a:custGeom>
                <a:avLst/>
                <a:gdLst>
                  <a:gd name="T0" fmla="*/ 0 w 63"/>
                  <a:gd name="T1" fmla="*/ 48 h 50"/>
                  <a:gd name="T2" fmla="*/ 25 w 63"/>
                  <a:gd name="T3" fmla="*/ 37 h 50"/>
                  <a:gd name="T4" fmla="*/ 25 w 63"/>
                  <a:gd name="T5" fmla="*/ 37 h 50"/>
                  <a:gd name="T6" fmla="*/ 23 w 63"/>
                  <a:gd name="T7" fmla="*/ 37 h 50"/>
                  <a:gd name="T8" fmla="*/ 44 w 63"/>
                  <a:gd name="T9" fmla="*/ 27 h 50"/>
                  <a:gd name="T10" fmla="*/ 44 w 63"/>
                  <a:gd name="T11" fmla="*/ 27 h 50"/>
                  <a:gd name="T12" fmla="*/ 44 w 63"/>
                  <a:gd name="T13" fmla="*/ 27 h 50"/>
                  <a:gd name="T14" fmla="*/ 42 w 63"/>
                  <a:gd name="T15" fmla="*/ 23 h 50"/>
                  <a:gd name="T16" fmla="*/ 42 w 63"/>
                  <a:gd name="T17" fmla="*/ 23 h 50"/>
                  <a:gd name="T18" fmla="*/ 25 w 63"/>
                  <a:gd name="T19" fmla="*/ 4 h 50"/>
                  <a:gd name="T20" fmla="*/ 48 w 63"/>
                  <a:gd name="T21" fmla="*/ 19 h 50"/>
                  <a:gd name="T22" fmla="*/ 48 w 63"/>
                  <a:gd name="T23" fmla="*/ 19 h 50"/>
                  <a:gd name="T24" fmla="*/ 32 w 63"/>
                  <a:gd name="T25" fmla="*/ 6 h 50"/>
                  <a:gd name="T26" fmla="*/ 32 w 63"/>
                  <a:gd name="T27" fmla="*/ 4 h 50"/>
                  <a:gd name="T28" fmla="*/ 32 w 63"/>
                  <a:gd name="T29" fmla="*/ 4 h 50"/>
                  <a:gd name="T30" fmla="*/ 38 w 63"/>
                  <a:gd name="T31" fmla="*/ 8 h 50"/>
                  <a:gd name="T32" fmla="*/ 50 w 63"/>
                  <a:gd name="T33" fmla="*/ 19 h 50"/>
                  <a:gd name="T34" fmla="*/ 50 w 63"/>
                  <a:gd name="T35" fmla="*/ 19 h 50"/>
                  <a:gd name="T36" fmla="*/ 32 w 63"/>
                  <a:gd name="T37" fmla="*/ 6 h 50"/>
                  <a:gd name="T38" fmla="*/ 52 w 63"/>
                  <a:gd name="T39" fmla="*/ 19 h 50"/>
                  <a:gd name="T40" fmla="*/ 52 w 63"/>
                  <a:gd name="T41" fmla="*/ 17 h 50"/>
                  <a:gd name="T42" fmla="*/ 34 w 63"/>
                  <a:gd name="T43" fmla="*/ 4 h 50"/>
                  <a:gd name="T44" fmla="*/ 34 w 63"/>
                  <a:gd name="T45" fmla="*/ 4 h 50"/>
                  <a:gd name="T46" fmla="*/ 34 w 63"/>
                  <a:gd name="T47" fmla="*/ 4 h 50"/>
                  <a:gd name="T48" fmla="*/ 34 w 63"/>
                  <a:gd name="T49" fmla="*/ 6 h 50"/>
                  <a:gd name="T50" fmla="*/ 32 w 63"/>
                  <a:gd name="T51" fmla="*/ 2 h 50"/>
                  <a:gd name="T52" fmla="*/ 32 w 63"/>
                  <a:gd name="T53" fmla="*/ 2 h 50"/>
                  <a:gd name="T54" fmla="*/ 32 w 63"/>
                  <a:gd name="T55" fmla="*/ 4 h 50"/>
                  <a:gd name="T56" fmla="*/ 32 w 63"/>
                  <a:gd name="T57" fmla="*/ 2 h 50"/>
                  <a:gd name="T58" fmla="*/ 32 w 63"/>
                  <a:gd name="T59" fmla="*/ 2 h 50"/>
                  <a:gd name="T60" fmla="*/ 34 w 63"/>
                  <a:gd name="T61" fmla="*/ 0 h 50"/>
                  <a:gd name="T62" fmla="*/ 50 w 63"/>
                  <a:gd name="T63" fmla="*/ 14 h 50"/>
                  <a:gd name="T64" fmla="*/ 50 w 63"/>
                  <a:gd name="T65" fmla="*/ 14 h 50"/>
                  <a:gd name="T66" fmla="*/ 52 w 63"/>
                  <a:gd name="T67" fmla="*/ 14 h 50"/>
                  <a:gd name="T68" fmla="*/ 52 w 63"/>
                  <a:gd name="T69" fmla="*/ 14 h 50"/>
                  <a:gd name="T70" fmla="*/ 52 w 63"/>
                  <a:gd name="T71" fmla="*/ 14 h 50"/>
                  <a:gd name="T72" fmla="*/ 50 w 63"/>
                  <a:gd name="T73" fmla="*/ 14 h 50"/>
                  <a:gd name="T74" fmla="*/ 52 w 63"/>
                  <a:gd name="T75" fmla="*/ 14 h 50"/>
                  <a:gd name="T76" fmla="*/ 52 w 63"/>
                  <a:gd name="T77" fmla="*/ 14 h 50"/>
                  <a:gd name="T78" fmla="*/ 46 w 63"/>
                  <a:gd name="T79" fmla="*/ 8 h 50"/>
                  <a:gd name="T80" fmla="*/ 55 w 63"/>
                  <a:gd name="T81" fmla="*/ 14 h 50"/>
                  <a:gd name="T82" fmla="*/ 55 w 63"/>
                  <a:gd name="T83" fmla="*/ 14 h 50"/>
                  <a:gd name="T84" fmla="*/ 52 w 63"/>
                  <a:gd name="T85" fmla="*/ 8 h 50"/>
                  <a:gd name="T86" fmla="*/ 53 w 63"/>
                  <a:gd name="T87" fmla="*/ 10 h 50"/>
                  <a:gd name="T88" fmla="*/ 53 w 63"/>
                  <a:gd name="T89" fmla="*/ 10 h 50"/>
                  <a:gd name="T90" fmla="*/ 55 w 63"/>
                  <a:gd name="T91" fmla="*/ 10 h 50"/>
                  <a:gd name="T92" fmla="*/ 53 w 63"/>
                  <a:gd name="T93" fmla="*/ 8 h 50"/>
                  <a:gd name="T94" fmla="*/ 53 w 63"/>
                  <a:gd name="T95" fmla="*/ 8 h 50"/>
                  <a:gd name="T96" fmla="*/ 55 w 63"/>
                  <a:gd name="T97" fmla="*/ 8 h 50"/>
                  <a:gd name="T98" fmla="*/ 55 w 63"/>
                  <a:gd name="T99" fmla="*/ 8 h 50"/>
                  <a:gd name="T100" fmla="*/ 55 w 63"/>
                  <a:gd name="T101" fmla="*/ 8 h 50"/>
                  <a:gd name="T102" fmla="*/ 61 w 63"/>
                  <a:gd name="T103" fmla="*/ 8 h 50"/>
                  <a:gd name="T104" fmla="*/ 63 w 63"/>
                  <a:gd name="T105" fmla="*/ 6 h 50"/>
                  <a:gd name="T106" fmla="*/ 63 w 63"/>
                  <a:gd name="T107"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 h="50">
                    <a:moveTo>
                      <a:pt x="0" y="50"/>
                    </a:moveTo>
                    <a:lnTo>
                      <a:pt x="0" y="48"/>
                    </a:lnTo>
                    <a:lnTo>
                      <a:pt x="0" y="50"/>
                    </a:lnTo>
                    <a:close/>
                    <a:moveTo>
                      <a:pt x="25" y="37"/>
                    </a:moveTo>
                    <a:lnTo>
                      <a:pt x="23" y="37"/>
                    </a:lnTo>
                    <a:lnTo>
                      <a:pt x="25" y="37"/>
                    </a:lnTo>
                    <a:close/>
                    <a:moveTo>
                      <a:pt x="25" y="37"/>
                    </a:moveTo>
                    <a:lnTo>
                      <a:pt x="23" y="37"/>
                    </a:lnTo>
                    <a:lnTo>
                      <a:pt x="25" y="37"/>
                    </a:lnTo>
                    <a:close/>
                    <a:moveTo>
                      <a:pt x="44" y="27"/>
                    </a:moveTo>
                    <a:lnTo>
                      <a:pt x="44" y="25"/>
                    </a:lnTo>
                    <a:lnTo>
                      <a:pt x="44" y="27"/>
                    </a:lnTo>
                    <a:close/>
                    <a:moveTo>
                      <a:pt x="44" y="25"/>
                    </a:moveTo>
                    <a:lnTo>
                      <a:pt x="44" y="27"/>
                    </a:lnTo>
                    <a:lnTo>
                      <a:pt x="44" y="25"/>
                    </a:lnTo>
                    <a:close/>
                    <a:moveTo>
                      <a:pt x="42" y="23"/>
                    </a:moveTo>
                    <a:lnTo>
                      <a:pt x="44" y="23"/>
                    </a:lnTo>
                    <a:lnTo>
                      <a:pt x="42" y="23"/>
                    </a:lnTo>
                    <a:close/>
                    <a:moveTo>
                      <a:pt x="27" y="4"/>
                    </a:moveTo>
                    <a:lnTo>
                      <a:pt x="25" y="4"/>
                    </a:lnTo>
                    <a:lnTo>
                      <a:pt x="27" y="4"/>
                    </a:lnTo>
                    <a:close/>
                    <a:moveTo>
                      <a:pt x="48" y="19"/>
                    </a:moveTo>
                    <a:lnTo>
                      <a:pt x="48" y="21"/>
                    </a:lnTo>
                    <a:lnTo>
                      <a:pt x="48" y="19"/>
                    </a:lnTo>
                    <a:close/>
                    <a:moveTo>
                      <a:pt x="30" y="6"/>
                    </a:moveTo>
                    <a:lnTo>
                      <a:pt x="32" y="6"/>
                    </a:lnTo>
                    <a:lnTo>
                      <a:pt x="30" y="6"/>
                    </a:lnTo>
                    <a:close/>
                    <a:moveTo>
                      <a:pt x="32" y="4"/>
                    </a:moveTo>
                    <a:lnTo>
                      <a:pt x="32" y="6"/>
                    </a:lnTo>
                    <a:lnTo>
                      <a:pt x="32" y="4"/>
                    </a:lnTo>
                    <a:close/>
                    <a:moveTo>
                      <a:pt x="36" y="8"/>
                    </a:moveTo>
                    <a:lnTo>
                      <a:pt x="38" y="8"/>
                    </a:lnTo>
                    <a:lnTo>
                      <a:pt x="36" y="8"/>
                    </a:lnTo>
                    <a:close/>
                    <a:moveTo>
                      <a:pt x="50" y="19"/>
                    </a:moveTo>
                    <a:lnTo>
                      <a:pt x="52" y="19"/>
                    </a:lnTo>
                    <a:lnTo>
                      <a:pt x="50" y="19"/>
                    </a:lnTo>
                    <a:close/>
                    <a:moveTo>
                      <a:pt x="34" y="6"/>
                    </a:moveTo>
                    <a:lnTo>
                      <a:pt x="32" y="6"/>
                    </a:lnTo>
                    <a:lnTo>
                      <a:pt x="34" y="6"/>
                    </a:lnTo>
                    <a:close/>
                    <a:moveTo>
                      <a:pt x="52" y="19"/>
                    </a:moveTo>
                    <a:lnTo>
                      <a:pt x="50" y="19"/>
                    </a:lnTo>
                    <a:lnTo>
                      <a:pt x="52" y="17"/>
                    </a:lnTo>
                    <a:lnTo>
                      <a:pt x="52" y="19"/>
                    </a:lnTo>
                    <a:close/>
                    <a:moveTo>
                      <a:pt x="34" y="4"/>
                    </a:moveTo>
                    <a:lnTo>
                      <a:pt x="34" y="6"/>
                    </a:lnTo>
                    <a:lnTo>
                      <a:pt x="34" y="4"/>
                    </a:lnTo>
                    <a:lnTo>
                      <a:pt x="34" y="6"/>
                    </a:lnTo>
                    <a:lnTo>
                      <a:pt x="34" y="4"/>
                    </a:lnTo>
                    <a:close/>
                    <a:moveTo>
                      <a:pt x="34" y="4"/>
                    </a:moveTo>
                    <a:lnTo>
                      <a:pt x="34" y="6"/>
                    </a:lnTo>
                    <a:lnTo>
                      <a:pt x="34" y="4"/>
                    </a:lnTo>
                    <a:close/>
                    <a:moveTo>
                      <a:pt x="32" y="2"/>
                    </a:moveTo>
                    <a:lnTo>
                      <a:pt x="32" y="4"/>
                    </a:lnTo>
                    <a:lnTo>
                      <a:pt x="32" y="2"/>
                    </a:lnTo>
                    <a:close/>
                    <a:moveTo>
                      <a:pt x="34" y="4"/>
                    </a:moveTo>
                    <a:lnTo>
                      <a:pt x="32" y="4"/>
                    </a:lnTo>
                    <a:lnTo>
                      <a:pt x="34" y="4"/>
                    </a:lnTo>
                    <a:close/>
                    <a:moveTo>
                      <a:pt x="32" y="2"/>
                    </a:moveTo>
                    <a:lnTo>
                      <a:pt x="30" y="2"/>
                    </a:lnTo>
                    <a:lnTo>
                      <a:pt x="32" y="2"/>
                    </a:lnTo>
                    <a:close/>
                    <a:moveTo>
                      <a:pt x="34" y="2"/>
                    </a:moveTo>
                    <a:lnTo>
                      <a:pt x="34" y="0"/>
                    </a:lnTo>
                    <a:lnTo>
                      <a:pt x="34" y="2"/>
                    </a:lnTo>
                    <a:close/>
                    <a:moveTo>
                      <a:pt x="50" y="14"/>
                    </a:moveTo>
                    <a:lnTo>
                      <a:pt x="52" y="14"/>
                    </a:lnTo>
                    <a:lnTo>
                      <a:pt x="50" y="14"/>
                    </a:lnTo>
                    <a:close/>
                    <a:moveTo>
                      <a:pt x="53" y="14"/>
                    </a:moveTo>
                    <a:lnTo>
                      <a:pt x="52" y="14"/>
                    </a:lnTo>
                    <a:lnTo>
                      <a:pt x="53" y="14"/>
                    </a:lnTo>
                    <a:close/>
                    <a:moveTo>
                      <a:pt x="52" y="14"/>
                    </a:moveTo>
                    <a:lnTo>
                      <a:pt x="52" y="15"/>
                    </a:lnTo>
                    <a:lnTo>
                      <a:pt x="52" y="14"/>
                    </a:lnTo>
                    <a:close/>
                    <a:moveTo>
                      <a:pt x="52" y="14"/>
                    </a:moveTo>
                    <a:lnTo>
                      <a:pt x="50" y="14"/>
                    </a:lnTo>
                    <a:lnTo>
                      <a:pt x="52" y="14"/>
                    </a:lnTo>
                    <a:close/>
                    <a:moveTo>
                      <a:pt x="52" y="14"/>
                    </a:moveTo>
                    <a:lnTo>
                      <a:pt x="52" y="12"/>
                    </a:lnTo>
                    <a:lnTo>
                      <a:pt x="52" y="14"/>
                    </a:lnTo>
                    <a:close/>
                    <a:moveTo>
                      <a:pt x="46" y="6"/>
                    </a:moveTo>
                    <a:lnTo>
                      <a:pt x="46" y="8"/>
                    </a:lnTo>
                    <a:lnTo>
                      <a:pt x="46" y="6"/>
                    </a:lnTo>
                    <a:close/>
                    <a:moveTo>
                      <a:pt x="55" y="14"/>
                    </a:moveTo>
                    <a:lnTo>
                      <a:pt x="55" y="12"/>
                    </a:lnTo>
                    <a:lnTo>
                      <a:pt x="55" y="14"/>
                    </a:lnTo>
                    <a:close/>
                    <a:moveTo>
                      <a:pt x="53" y="8"/>
                    </a:moveTo>
                    <a:lnTo>
                      <a:pt x="52" y="8"/>
                    </a:lnTo>
                    <a:lnTo>
                      <a:pt x="53" y="8"/>
                    </a:lnTo>
                    <a:close/>
                    <a:moveTo>
                      <a:pt x="53" y="10"/>
                    </a:moveTo>
                    <a:lnTo>
                      <a:pt x="55" y="8"/>
                    </a:lnTo>
                    <a:lnTo>
                      <a:pt x="53" y="10"/>
                    </a:lnTo>
                    <a:close/>
                    <a:moveTo>
                      <a:pt x="55" y="8"/>
                    </a:moveTo>
                    <a:lnTo>
                      <a:pt x="55" y="10"/>
                    </a:lnTo>
                    <a:lnTo>
                      <a:pt x="55" y="8"/>
                    </a:lnTo>
                    <a:close/>
                    <a:moveTo>
                      <a:pt x="53" y="8"/>
                    </a:moveTo>
                    <a:lnTo>
                      <a:pt x="53" y="6"/>
                    </a:lnTo>
                    <a:lnTo>
                      <a:pt x="53" y="8"/>
                    </a:lnTo>
                    <a:close/>
                    <a:moveTo>
                      <a:pt x="53" y="8"/>
                    </a:moveTo>
                    <a:lnTo>
                      <a:pt x="55" y="8"/>
                    </a:lnTo>
                    <a:lnTo>
                      <a:pt x="53" y="8"/>
                    </a:lnTo>
                    <a:close/>
                    <a:moveTo>
                      <a:pt x="55" y="8"/>
                    </a:moveTo>
                    <a:lnTo>
                      <a:pt x="55" y="6"/>
                    </a:lnTo>
                    <a:lnTo>
                      <a:pt x="55" y="8"/>
                    </a:lnTo>
                    <a:close/>
                    <a:moveTo>
                      <a:pt x="61" y="6"/>
                    </a:moveTo>
                    <a:lnTo>
                      <a:pt x="61" y="8"/>
                    </a:lnTo>
                    <a:lnTo>
                      <a:pt x="61" y="6"/>
                    </a:lnTo>
                    <a:close/>
                    <a:moveTo>
                      <a:pt x="63" y="6"/>
                    </a:moveTo>
                    <a:lnTo>
                      <a:pt x="63" y="4"/>
                    </a:lnTo>
                    <a:lnTo>
                      <a:pt x="63"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3" name="Freeform 60"/>
              <p:cNvSpPr>
                <a:spLocks/>
              </p:cNvSpPr>
              <p:nvPr/>
            </p:nvSpPr>
            <p:spPr bwMode="auto">
              <a:xfrm>
                <a:off x="654841" y="2729556"/>
                <a:ext cx="211638" cy="215079"/>
              </a:xfrm>
              <a:custGeom>
                <a:avLst/>
                <a:gdLst>
                  <a:gd name="T0" fmla="*/ 113 w 123"/>
                  <a:gd name="T1" fmla="*/ 48 h 125"/>
                  <a:gd name="T2" fmla="*/ 107 w 123"/>
                  <a:gd name="T3" fmla="*/ 56 h 125"/>
                  <a:gd name="T4" fmla="*/ 103 w 123"/>
                  <a:gd name="T5" fmla="*/ 58 h 125"/>
                  <a:gd name="T6" fmla="*/ 98 w 123"/>
                  <a:gd name="T7" fmla="*/ 70 h 125"/>
                  <a:gd name="T8" fmla="*/ 94 w 123"/>
                  <a:gd name="T9" fmla="*/ 70 h 125"/>
                  <a:gd name="T10" fmla="*/ 90 w 123"/>
                  <a:gd name="T11" fmla="*/ 73 h 125"/>
                  <a:gd name="T12" fmla="*/ 90 w 123"/>
                  <a:gd name="T13" fmla="*/ 81 h 125"/>
                  <a:gd name="T14" fmla="*/ 90 w 123"/>
                  <a:gd name="T15" fmla="*/ 89 h 125"/>
                  <a:gd name="T16" fmla="*/ 90 w 123"/>
                  <a:gd name="T17" fmla="*/ 95 h 125"/>
                  <a:gd name="T18" fmla="*/ 96 w 123"/>
                  <a:gd name="T19" fmla="*/ 102 h 125"/>
                  <a:gd name="T20" fmla="*/ 98 w 123"/>
                  <a:gd name="T21" fmla="*/ 112 h 125"/>
                  <a:gd name="T22" fmla="*/ 94 w 123"/>
                  <a:gd name="T23" fmla="*/ 114 h 125"/>
                  <a:gd name="T24" fmla="*/ 88 w 123"/>
                  <a:gd name="T25" fmla="*/ 118 h 125"/>
                  <a:gd name="T26" fmla="*/ 86 w 123"/>
                  <a:gd name="T27" fmla="*/ 121 h 125"/>
                  <a:gd name="T28" fmla="*/ 82 w 123"/>
                  <a:gd name="T29" fmla="*/ 123 h 125"/>
                  <a:gd name="T30" fmla="*/ 75 w 123"/>
                  <a:gd name="T31" fmla="*/ 121 h 125"/>
                  <a:gd name="T32" fmla="*/ 65 w 123"/>
                  <a:gd name="T33" fmla="*/ 116 h 125"/>
                  <a:gd name="T34" fmla="*/ 59 w 123"/>
                  <a:gd name="T35" fmla="*/ 116 h 125"/>
                  <a:gd name="T36" fmla="*/ 52 w 123"/>
                  <a:gd name="T37" fmla="*/ 102 h 125"/>
                  <a:gd name="T38" fmla="*/ 50 w 123"/>
                  <a:gd name="T39" fmla="*/ 96 h 125"/>
                  <a:gd name="T40" fmla="*/ 46 w 123"/>
                  <a:gd name="T41" fmla="*/ 93 h 125"/>
                  <a:gd name="T42" fmla="*/ 38 w 123"/>
                  <a:gd name="T43" fmla="*/ 96 h 125"/>
                  <a:gd name="T44" fmla="*/ 38 w 123"/>
                  <a:gd name="T45" fmla="*/ 87 h 125"/>
                  <a:gd name="T46" fmla="*/ 32 w 123"/>
                  <a:gd name="T47" fmla="*/ 85 h 125"/>
                  <a:gd name="T48" fmla="*/ 25 w 123"/>
                  <a:gd name="T49" fmla="*/ 83 h 125"/>
                  <a:gd name="T50" fmla="*/ 11 w 123"/>
                  <a:gd name="T51" fmla="*/ 83 h 125"/>
                  <a:gd name="T52" fmla="*/ 2 w 123"/>
                  <a:gd name="T53" fmla="*/ 77 h 125"/>
                  <a:gd name="T54" fmla="*/ 2 w 123"/>
                  <a:gd name="T55" fmla="*/ 71 h 125"/>
                  <a:gd name="T56" fmla="*/ 3 w 123"/>
                  <a:gd name="T57" fmla="*/ 66 h 125"/>
                  <a:gd name="T58" fmla="*/ 7 w 123"/>
                  <a:gd name="T59" fmla="*/ 60 h 125"/>
                  <a:gd name="T60" fmla="*/ 17 w 123"/>
                  <a:gd name="T61" fmla="*/ 60 h 125"/>
                  <a:gd name="T62" fmla="*/ 21 w 123"/>
                  <a:gd name="T63" fmla="*/ 52 h 125"/>
                  <a:gd name="T64" fmla="*/ 21 w 123"/>
                  <a:gd name="T65" fmla="*/ 43 h 125"/>
                  <a:gd name="T66" fmla="*/ 23 w 123"/>
                  <a:gd name="T67" fmla="*/ 33 h 125"/>
                  <a:gd name="T68" fmla="*/ 28 w 123"/>
                  <a:gd name="T69" fmla="*/ 33 h 125"/>
                  <a:gd name="T70" fmla="*/ 32 w 123"/>
                  <a:gd name="T71" fmla="*/ 27 h 125"/>
                  <a:gd name="T72" fmla="*/ 36 w 123"/>
                  <a:gd name="T73" fmla="*/ 21 h 125"/>
                  <a:gd name="T74" fmla="*/ 42 w 123"/>
                  <a:gd name="T75" fmla="*/ 14 h 125"/>
                  <a:gd name="T76" fmla="*/ 50 w 123"/>
                  <a:gd name="T77" fmla="*/ 16 h 125"/>
                  <a:gd name="T78" fmla="*/ 53 w 123"/>
                  <a:gd name="T79" fmla="*/ 23 h 125"/>
                  <a:gd name="T80" fmla="*/ 61 w 123"/>
                  <a:gd name="T81" fmla="*/ 23 h 125"/>
                  <a:gd name="T82" fmla="*/ 65 w 123"/>
                  <a:gd name="T83" fmla="*/ 27 h 125"/>
                  <a:gd name="T84" fmla="*/ 71 w 123"/>
                  <a:gd name="T85" fmla="*/ 21 h 125"/>
                  <a:gd name="T86" fmla="*/ 71 w 123"/>
                  <a:gd name="T87" fmla="*/ 16 h 125"/>
                  <a:gd name="T88" fmla="*/ 71 w 123"/>
                  <a:gd name="T89" fmla="*/ 10 h 125"/>
                  <a:gd name="T90" fmla="*/ 76 w 123"/>
                  <a:gd name="T91" fmla="*/ 10 h 125"/>
                  <a:gd name="T92" fmla="*/ 84 w 123"/>
                  <a:gd name="T93" fmla="*/ 4 h 125"/>
                  <a:gd name="T94" fmla="*/ 88 w 123"/>
                  <a:gd name="T95" fmla="*/ 0 h 125"/>
                  <a:gd name="T96" fmla="*/ 98 w 123"/>
                  <a:gd name="T97" fmla="*/ 2 h 125"/>
                  <a:gd name="T98" fmla="*/ 98 w 123"/>
                  <a:gd name="T99" fmla="*/ 10 h 125"/>
                  <a:gd name="T100" fmla="*/ 96 w 123"/>
                  <a:gd name="T101" fmla="*/ 16 h 125"/>
                  <a:gd name="T102" fmla="*/ 98 w 123"/>
                  <a:gd name="T103" fmla="*/ 18 h 125"/>
                  <a:gd name="T104" fmla="*/ 103 w 123"/>
                  <a:gd name="T105" fmla="*/ 21 h 125"/>
                  <a:gd name="T106" fmla="*/ 109 w 123"/>
                  <a:gd name="T107" fmla="*/ 16 h 125"/>
                  <a:gd name="T108" fmla="*/ 119 w 123"/>
                  <a:gd name="T109" fmla="*/ 16 h 125"/>
                  <a:gd name="T110" fmla="*/ 121 w 123"/>
                  <a:gd name="T111" fmla="*/ 23 h 125"/>
                  <a:gd name="T112" fmla="*/ 119 w 123"/>
                  <a:gd name="T113" fmla="*/ 31 h 125"/>
                  <a:gd name="T114" fmla="*/ 121 w 123"/>
                  <a:gd name="T115" fmla="*/ 3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 h="125">
                    <a:moveTo>
                      <a:pt x="121" y="39"/>
                    </a:moveTo>
                    <a:lnTo>
                      <a:pt x="119" y="39"/>
                    </a:lnTo>
                    <a:lnTo>
                      <a:pt x="117" y="41"/>
                    </a:lnTo>
                    <a:lnTo>
                      <a:pt x="115" y="43"/>
                    </a:lnTo>
                    <a:lnTo>
                      <a:pt x="115" y="45"/>
                    </a:lnTo>
                    <a:lnTo>
                      <a:pt x="113" y="46"/>
                    </a:lnTo>
                    <a:lnTo>
                      <a:pt x="113" y="48"/>
                    </a:lnTo>
                    <a:lnTo>
                      <a:pt x="113" y="50"/>
                    </a:lnTo>
                    <a:lnTo>
                      <a:pt x="111" y="50"/>
                    </a:lnTo>
                    <a:lnTo>
                      <a:pt x="111" y="52"/>
                    </a:lnTo>
                    <a:lnTo>
                      <a:pt x="111" y="54"/>
                    </a:lnTo>
                    <a:lnTo>
                      <a:pt x="109" y="54"/>
                    </a:lnTo>
                    <a:lnTo>
                      <a:pt x="109" y="56"/>
                    </a:lnTo>
                    <a:lnTo>
                      <a:pt x="107" y="56"/>
                    </a:lnTo>
                    <a:lnTo>
                      <a:pt x="107" y="54"/>
                    </a:lnTo>
                    <a:lnTo>
                      <a:pt x="105" y="54"/>
                    </a:lnTo>
                    <a:lnTo>
                      <a:pt x="107" y="56"/>
                    </a:lnTo>
                    <a:lnTo>
                      <a:pt x="107" y="58"/>
                    </a:lnTo>
                    <a:lnTo>
                      <a:pt x="105" y="58"/>
                    </a:lnTo>
                    <a:lnTo>
                      <a:pt x="105" y="60"/>
                    </a:lnTo>
                    <a:lnTo>
                      <a:pt x="103" y="58"/>
                    </a:lnTo>
                    <a:lnTo>
                      <a:pt x="103" y="60"/>
                    </a:lnTo>
                    <a:lnTo>
                      <a:pt x="101" y="60"/>
                    </a:lnTo>
                    <a:lnTo>
                      <a:pt x="101" y="62"/>
                    </a:lnTo>
                    <a:lnTo>
                      <a:pt x="101" y="64"/>
                    </a:lnTo>
                    <a:lnTo>
                      <a:pt x="100" y="68"/>
                    </a:lnTo>
                    <a:lnTo>
                      <a:pt x="98" y="68"/>
                    </a:lnTo>
                    <a:lnTo>
                      <a:pt x="98" y="70"/>
                    </a:lnTo>
                    <a:lnTo>
                      <a:pt x="96" y="70"/>
                    </a:lnTo>
                    <a:lnTo>
                      <a:pt x="98" y="70"/>
                    </a:lnTo>
                    <a:lnTo>
                      <a:pt x="96" y="68"/>
                    </a:lnTo>
                    <a:lnTo>
                      <a:pt x="96" y="70"/>
                    </a:lnTo>
                    <a:lnTo>
                      <a:pt x="94" y="70"/>
                    </a:lnTo>
                    <a:lnTo>
                      <a:pt x="94" y="68"/>
                    </a:lnTo>
                    <a:lnTo>
                      <a:pt x="94" y="70"/>
                    </a:lnTo>
                    <a:lnTo>
                      <a:pt x="92" y="70"/>
                    </a:lnTo>
                    <a:lnTo>
                      <a:pt x="90" y="70"/>
                    </a:lnTo>
                    <a:lnTo>
                      <a:pt x="92" y="70"/>
                    </a:lnTo>
                    <a:lnTo>
                      <a:pt x="90" y="71"/>
                    </a:lnTo>
                    <a:lnTo>
                      <a:pt x="92" y="71"/>
                    </a:lnTo>
                    <a:lnTo>
                      <a:pt x="92" y="73"/>
                    </a:lnTo>
                    <a:lnTo>
                      <a:pt x="90" y="73"/>
                    </a:lnTo>
                    <a:lnTo>
                      <a:pt x="90" y="75"/>
                    </a:lnTo>
                    <a:lnTo>
                      <a:pt x="88" y="77"/>
                    </a:lnTo>
                    <a:lnTo>
                      <a:pt x="90" y="77"/>
                    </a:lnTo>
                    <a:lnTo>
                      <a:pt x="90" y="79"/>
                    </a:lnTo>
                    <a:lnTo>
                      <a:pt x="88" y="79"/>
                    </a:lnTo>
                    <a:lnTo>
                      <a:pt x="88" y="81"/>
                    </a:lnTo>
                    <a:lnTo>
                      <a:pt x="90" y="81"/>
                    </a:lnTo>
                    <a:lnTo>
                      <a:pt x="90" y="83"/>
                    </a:lnTo>
                    <a:lnTo>
                      <a:pt x="90" y="85"/>
                    </a:lnTo>
                    <a:lnTo>
                      <a:pt x="92" y="85"/>
                    </a:lnTo>
                    <a:lnTo>
                      <a:pt x="90" y="87"/>
                    </a:lnTo>
                    <a:lnTo>
                      <a:pt x="92" y="87"/>
                    </a:lnTo>
                    <a:lnTo>
                      <a:pt x="92" y="89"/>
                    </a:lnTo>
                    <a:lnTo>
                      <a:pt x="90" y="89"/>
                    </a:lnTo>
                    <a:lnTo>
                      <a:pt x="92" y="91"/>
                    </a:lnTo>
                    <a:lnTo>
                      <a:pt x="92" y="93"/>
                    </a:lnTo>
                    <a:lnTo>
                      <a:pt x="94" y="91"/>
                    </a:lnTo>
                    <a:lnTo>
                      <a:pt x="94" y="93"/>
                    </a:lnTo>
                    <a:lnTo>
                      <a:pt x="92" y="93"/>
                    </a:lnTo>
                    <a:lnTo>
                      <a:pt x="92" y="95"/>
                    </a:lnTo>
                    <a:lnTo>
                      <a:pt x="90" y="95"/>
                    </a:lnTo>
                    <a:lnTo>
                      <a:pt x="90" y="96"/>
                    </a:lnTo>
                    <a:lnTo>
                      <a:pt x="92" y="96"/>
                    </a:lnTo>
                    <a:lnTo>
                      <a:pt x="92" y="98"/>
                    </a:lnTo>
                    <a:lnTo>
                      <a:pt x="94" y="100"/>
                    </a:lnTo>
                    <a:lnTo>
                      <a:pt x="96" y="102"/>
                    </a:lnTo>
                    <a:lnTo>
                      <a:pt x="94" y="102"/>
                    </a:lnTo>
                    <a:lnTo>
                      <a:pt x="96" y="102"/>
                    </a:lnTo>
                    <a:lnTo>
                      <a:pt x="96" y="104"/>
                    </a:lnTo>
                    <a:lnTo>
                      <a:pt x="96" y="106"/>
                    </a:lnTo>
                    <a:lnTo>
                      <a:pt x="94" y="108"/>
                    </a:lnTo>
                    <a:lnTo>
                      <a:pt x="96" y="108"/>
                    </a:lnTo>
                    <a:lnTo>
                      <a:pt x="98" y="108"/>
                    </a:lnTo>
                    <a:lnTo>
                      <a:pt x="98" y="110"/>
                    </a:lnTo>
                    <a:lnTo>
                      <a:pt x="98" y="112"/>
                    </a:lnTo>
                    <a:lnTo>
                      <a:pt x="98" y="114"/>
                    </a:lnTo>
                    <a:lnTo>
                      <a:pt x="98" y="116"/>
                    </a:lnTo>
                    <a:lnTo>
                      <a:pt x="98" y="114"/>
                    </a:lnTo>
                    <a:lnTo>
                      <a:pt x="96" y="114"/>
                    </a:lnTo>
                    <a:lnTo>
                      <a:pt x="96" y="116"/>
                    </a:lnTo>
                    <a:lnTo>
                      <a:pt x="96" y="114"/>
                    </a:lnTo>
                    <a:lnTo>
                      <a:pt x="94" y="114"/>
                    </a:lnTo>
                    <a:lnTo>
                      <a:pt x="92" y="114"/>
                    </a:lnTo>
                    <a:lnTo>
                      <a:pt x="92" y="116"/>
                    </a:lnTo>
                    <a:lnTo>
                      <a:pt x="94" y="116"/>
                    </a:lnTo>
                    <a:lnTo>
                      <a:pt x="92" y="116"/>
                    </a:lnTo>
                    <a:lnTo>
                      <a:pt x="90" y="116"/>
                    </a:lnTo>
                    <a:lnTo>
                      <a:pt x="90" y="118"/>
                    </a:lnTo>
                    <a:lnTo>
                      <a:pt x="88" y="118"/>
                    </a:lnTo>
                    <a:lnTo>
                      <a:pt x="88" y="120"/>
                    </a:lnTo>
                    <a:lnTo>
                      <a:pt x="90" y="120"/>
                    </a:lnTo>
                    <a:lnTo>
                      <a:pt x="88" y="120"/>
                    </a:lnTo>
                    <a:lnTo>
                      <a:pt x="88" y="121"/>
                    </a:lnTo>
                    <a:lnTo>
                      <a:pt x="88" y="123"/>
                    </a:lnTo>
                    <a:lnTo>
                      <a:pt x="86" y="123"/>
                    </a:lnTo>
                    <a:lnTo>
                      <a:pt x="86" y="121"/>
                    </a:lnTo>
                    <a:lnTo>
                      <a:pt x="86" y="123"/>
                    </a:lnTo>
                    <a:lnTo>
                      <a:pt x="86" y="121"/>
                    </a:lnTo>
                    <a:lnTo>
                      <a:pt x="86" y="123"/>
                    </a:lnTo>
                    <a:lnTo>
                      <a:pt x="84" y="123"/>
                    </a:lnTo>
                    <a:lnTo>
                      <a:pt x="82" y="123"/>
                    </a:lnTo>
                    <a:lnTo>
                      <a:pt x="84" y="123"/>
                    </a:lnTo>
                    <a:lnTo>
                      <a:pt x="82" y="123"/>
                    </a:lnTo>
                    <a:lnTo>
                      <a:pt x="82" y="125"/>
                    </a:lnTo>
                    <a:lnTo>
                      <a:pt x="80" y="125"/>
                    </a:lnTo>
                    <a:lnTo>
                      <a:pt x="80" y="123"/>
                    </a:lnTo>
                    <a:lnTo>
                      <a:pt x="78" y="123"/>
                    </a:lnTo>
                    <a:lnTo>
                      <a:pt x="76" y="123"/>
                    </a:lnTo>
                    <a:lnTo>
                      <a:pt x="76" y="121"/>
                    </a:lnTo>
                    <a:lnTo>
                      <a:pt x="75" y="121"/>
                    </a:lnTo>
                    <a:lnTo>
                      <a:pt x="73" y="120"/>
                    </a:lnTo>
                    <a:lnTo>
                      <a:pt x="73" y="118"/>
                    </a:lnTo>
                    <a:lnTo>
                      <a:pt x="71" y="118"/>
                    </a:lnTo>
                    <a:lnTo>
                      <a:pt x="71" y="116"/>
                    </a:lnTo>
                    <a:lnTo>
                      <a:pt x="69" y="116"/>
                    </a:lnTo>
                    <a:lnTo>
                      <a:pt x="67" y="116"/>
                    </a:lnTo>
                    <a:lnTo>
                      <a:pt x="65" y="116"/>
                    </a:lnTo>
                    <a:lnTo>
                      <a:pt x="65" y="114"/>
                    </a:lnTo>
                    <a:lnTo>
                      <a:pt x="63" y="114"/>
                    </a:lnTo>
                    <a:lnTo>
                      <a:pt x="63" y="112"/>
                    </a:lnTo>
                    <a:lnTo>
                      <a:pt x="63" y="114"/>
                    </a:lnTo>
                    <a:lnTo>
                      <a:pt x="61" y="114"/>
                    </a:lnTo>
                    <a:lnTo>
                      <a:pt x="59" y="114"/>
                    </a:lnTo>
                    <a:lnTo>
                      <a:pt x="59" y="116"/>
                    </a:lnTo>
                    <a:lnTo>
                      <a:pt x="59" y="114"/>
                    </a:lnTo>
                    <a:lnTo>
                      <a:pt x="57" y="112"/>
                    </a:lnTo>
                    <a:lnTo>
                      <a:pt x="55" y="112"/>
                    </a:lnTo>
                    <a:lnTo>
                      <a:pt x="53" y="108"/>
                    </a:lnTo>
                    <a:lnTo>
                      <a:pt x="53" y="106"/>
                    </a:lnTo>
                    <a:lnTo>
                      <a:pt x="52" y="104"/>
                    </a:lnTo>
                    <a:lnTo>
                      <a:pt x="52" y="102"/>
                    </a:lnTo>
                    <a:lnTo>
                      <a:pt x="53" y="102"/>
                    </a:lnTo>
                    <a:lnTo>
                      <a:pt x="53" y="100"/>
                    </a:lnTo>
                    <a:lnTo>
                      <a:pt x="53" y="98"/>
                    </a:lnTo>
                    <a:lnTo>
                      <a:pt x="52" y="96"/>
                    </a:lnTo>
                    <a:lnTo>
                      <a:pt x="52" y="95"/>
                    </a:lnTo>
                    <a:lnTo>
                      <a:pt x="52" y="96"/>
                    </a:lnTo>
                    <a:lnTo>
                      <a:pt x="50" y="96"/>
                    </a:lnTo>
                    <a:lnTo>
                      <a:pt x="50" y="95"/>
                    </a:lnTo>
                    <a:lnTo>
                      <a:pt x="52" y="95"/>
                    </a:lnTo>
                    <a:lnTo>
                      <a:pt x="50" y="95"/>
                    </a:lnTo>
                    <a:lnTo>
                      <a:pt x="50" y="93"/>
                    </a:lnTo>
                    <a:lnTo>
                      <a:pt x="48" y="93"/>
                    </a:lnTo>
                    <a:lnTo>
                      <a:pt x="48" y="95"/>
                    </a:lnTo>
                    <a:lnTo>
                      <a:pt x="46" y="93"/>
                    </a:lnTo>
                    <a:lnTo>
                      <a:pt x="44" y="93"/>
                    </a:lnTo>
                    <a:lnTo>
                      <a:pt x="46" y="93"/>
                    </a:lnTo>
                    <a:lnTo>
                      <a:pt x="44" y="95"/>
                    </a:lnTo>
                    <a:lnTo>
                      <a:pt x="42" y="93"/>
                    </a:lnTo>
                    <a:lnTo>
                      <a:pt x="40" y="95"/>
                    </a:lnTo>
                    <a:lnTo>
                      <a:pt x="40" y="96"/>
                    </a:lnTo>
                    <a:lnTo>
                      <a:pt x="38" y="96"/>
                    </a:lnTo>
                    <a:lnTo>
                      <a:pt x="38" y="95"/>
                    </a:lnTo>
                    <a:lnTo>
                      <a:pt x="36" y="95"/>
                    </a:lnTo>
                    <a:lnTo>
                      <a:pt x="38" y="95"/>
                    </a:lnTo>
                    <a:lnTo>
                      <a:pt x="38" y="93"/>
                    </a:lnTo>
                    <a:lnTo>
                      <a:pt x="38" y="91"/>
                    </a:lnTo>
                    <a:lnTo>
                      <a:pt x="38" y="89"/>
                    </a:lnTo>
                    <a:lnTo>
                      <a:pt x="38" y="87"/>
                    </a:lnTo>
                    <a:lnTo>
                      <a:pt x="36" y="85"/>
                    </a:lnTo>
                    <a:lnTo>
                      <a:pt x="34" y="85"/>
                    </a:lnTo>
                    <a:lnTo>
                      <a:pt x="32" y="87"/>
                    </a:lnTo>
                    <a:lnTo>
                      <a:pt x="32" y="89"/>
                    </a:lnTo>
                    <a:lnTo>
                      <a:pt x="30" y="87"/>
                    </a:lnTo>
                    <a:lnTo>
                      <a:pt x="30" y="85"/>
                    </a:lnTo>
                    <a:lnTo>
                      <a:pt x="32" y="85"/>
                    </a:lnTo>
                    <a:lnTo>
                      <a:pt x="32" y="83"/>
                    </a:lnTo>
                    <a:lnTo>
                      <a:pt x="30" y="83"/>
                    </a:lnTo>
                    <a:lnTo>
                      <a:pt x="28" y="85"/>
                    </a:lnTo>
                    <a:lnTo>
                      <a:pt x="27" y="85"/>
                    </a:lnTo>
                    <a:lnTo>
                      <a:pt x="27" y="83"/>
                    </a:lnTo>
                    <a:lnTo>
                      <a:pt x="27" y="81"/>
                    </a:lnTo>
                    <a:lnTo>
                      <a:pt x="25" y="83"/>
                    </a:lnTo>
                    <a:lnTo>
                      <a:pt x="23" y="83"/>
                    </a:lnTo>
                    <a:lnTo>
                      <a:pt x="21" y="83"/>
                    </a:lnTo>
                    <a:lnTo>
                      <a:pt x="19" y="83"/>
                    </a:lnTo>
                    <a:lnTo>
                      <a:pt x="17" y="81"/>
                    </a:lnTo>
                    <a:lnTo>
                      <a:pt x="15" y="81"/>
                    </a:lnTo>
                    <a:lnTo>
                      <a:pt x="13" y="83"/>
                    </a:lnTo>
                    <a:lnTo>
                      <a:pt x="11" y="83"/>
                    </a:lnTo>
                    <a:lnTo>
                      <a:pt x="9" y="83"/>
                    </a:lnTo>
                    <a:lnTo>
                      <a:pt x="9" y="81"/>
                    </a:lnTo>
                    <a:lnTo>
                      <a:pt x="7" y="81"/>
                    </a:lnTo>
                    <a:lnTo>
                      <a:pt x="5" y="81"/>
                    </a:lnTo>
                    <a:lnTo>
                      <a:pt x="3" y="81"/>
                    </a:lnTo>
                    <a:lnTo>
                      <a:pt x="2" y="79"/>
                    </a:lnTo>
                    <a:lnTo>
                      <a:pt x="2" y="77"/>
                    </a:lnTo>
                    <a:lnTo>
                      <a:pt x="0" y="77"/>
                    </a:lnTo>
                    <a:lnTo>
                      <a:pt x="0" y="75"/>
                    </a:lnTo>
                    <a:lnTo>
                      <a:pt x="0" y="73"/>
                    </a:lnTo>
                    <a:lnTo>
                      <a:pt x="2" y="73"/>
                    </a:lnTo>
                    <a:lnTo>
                      <a:pt x="2" y="71"/>
                    </a:lnTo>
                    <a:lnTo>
                      <a:pt x="0" y="71"/>
                    </a:lnTo>
                    <a:lnTo>
                      <a:pt x="2" y="71"/>
                    </a:lnTo>
                    <a:lnTo>
                      <a:pt x="2" y="70"/>
                    </a:lnTo>
                    <a:lnTo>
                      <a:pt x="0" y="70"/>
                    </a:lnTo>
                    <a:lnTo>
                      <a:pt x="2" y="70"/>
                    </a:lnTo>
                    <a:lnTo>
                      <a:pt x="2" y="68"/>
                    </a:lnTo>
                    <a:lnTo>
                      <a:pt x="2" y="66"/>
                    </a:lnTo>
                    <a:lnTo>
                      <a:pt x="2" y="68"/>
                    </a:lnTo>
                    <a:lnTo>
                      <a:pt x="3" y="66"/>
                    </a:lnTo>
                    <a:lnTo>
                      <a:pt x="3" y="64"/>
                    </a:lnTo>
                    <a:lnTo>
                      <a:pt x="5" y="64"/>
                    </a:lnTo>
                    <a:lnTo>
                      <a:pt x="5" y="62"/>
                    </a:lnTo>
                    <a:lnTo>
                      <a:pt x="7" y="62"/>
                    </a:lnTo>
                    <a:lnTo>
                      <a:pt x="5" y="62"/>
                    </a:lnTo>
                    <a:lnTo>
                      <a:pt x="5" y="60"/>
                    </a:lnTo>
                    <a:lnTo>
                      <a:pt x="7" y="60"/>
                    </a:lnTo>
                    <a:lnTo>
                      <a:pt x="9" y="60"/>
                    </a:lnTo>
                    <a:lnTo>
                      <a:pt x="11" y="60"/>
                    </a:lnTo>
                    <a:lnTo>
                      <a:pt x="13" y="60"/>
                    </a:lnTo>
                    <a:lnTo>
                      <a:pt x="13" y="58"/>
                    </a:lnTo>
                    <a:lnTo>
                      <a:pt x="13" y="60"/>
                    </a:lnTo>
                    <a:lnTo>
                      <a:pt x="15" y="60"/>
                    </a:lnTo>
                    <a:lnTo>
                      <a:pt x="17" y="60"/>
                    </a:lnTo>
                    <a:lnTo>
                      <a:pt x="19" y="60"/>
                    </a:lnTo>
                    <a:lnTo>
                      <a:pt x="19" y="58"/>
                    </a:lnTo>
                    <a:lnTo>
                      <a:pt x="21" y="58"/>
                    </a:lnTo>
                    <a:lnTo>
                      <a:pt x="21" y="56"/>
                    </a:lnTo>
                    <a:lnTo>
                      <a:pt x="23" y="56"/>
                    </a:lnTo>
                    <a:lnTo>
                      <a:pt x="21" y="54"/>
                    </a:lnTo>
                    <a:lnTo>
                      <a:pt x="21" y="52"/>
                    </a:lnTo>
                    <a:lnTo>
                      <a:pt x="23" y="50"/>
                    </a:lnTo>
                    <a:lnTo>
                      <a:pt x="21" y="50"/>
                    </a:lnTo>
                    <a:lnTo>
                      <a:pt x="21" y="48"/>
                    </a:lnTo>
                    <a:lnTo>
                      <a:pt x="21" y="46"/>
                    </a:lnTo>
                    <a:lnTo>
                      <a:pt x="23" y="46"/>
                    </a:lnTo>
                    <a:lnTo>
                      <a:pt x="23" y="45"/>
                    </a:lnTo>
                    <a:lnTo>
                      <a:pt x="21" y="43"/>
                    </a:lnTo>
                    <a:lnTo>
                      <a:pt x="21" y="41"/>
                    </a:lnTo>
                    <a:lnTo>
                      <a:pt x="23" y="41"/>
                    </a:lnTo>
                    <a:lnTo>
                      <a:pt x="23" y="39"/>
                    </a:lnTo>
                    <a:lnTo>
                      <a:pt x="23" y="37"/>
                    </a:lnTo>
                    <a:lnTo>
                      <a:pt x="21" y="35"/>
                    </a:lnTo>
                    <a:lnTo>
                      <a:pt x="23" y="35"/>
                    </a:lnTo>
                    <a:lnTo>
                      <a:pt x="23" y="33"/>
                    </a:lnTo>
                    <a:lnTo>
                      <a:pt x="23" y="35"/>
                    </a:lnTo>
                    <a:lnTo>
                      <a:pt x="25" y="35"/>
                    </a:lnTo>
                    <a:lnTo>
                      <a:pt x="25" y="33"/>
                    </a:lnTo>
                    <a:lnTo>
                      <a:pt x="25" y="35"/>
                    </a:lnTo>
                    <a:lnTo>
                      <a:pt x="27" y="35"/>
                    </a:lnTo>
                    <a:lnTo>
                      <a:pt x="27" y="33"/>
                    </a:lnTo>
                    <a:lnTo>
                      <a:pt x="28" y="33"/>
                    </a:lnTo>
                    <a:lnTo>
                      <a:pt x="27" y="33"/>
                    </a:lnTo>
                    <a:lnTo>
                      <a:pt x="27" y="31"/>
                    </a:lnTo>
                    <a:lnTo>
                      <a:pt x="28" y="31"/>
                    </a:lnTo>
                    <a:lnTo>
                      <a:pt x="28" y="29"/>
                    </a:lnTo>
                    <a:lnTo>
                      <a:pt x="30" y="29"/>
                    </a:lnTo>
                    <a:lnTo>
                      <a:pt x="32" y="29"/>
                    </a:lnTo>
                    <a:lnTo>
                      <a:pt x="32" y="27"/>
                    </a:lnTo>
                    <a:lnTo>
                      <a:pt x="34" y="27"/>
                    </a:lnTo>
                    <a:lnTo>
                      <a:pt x="34" y="25"/>
                    </a:lnTo>
                    <a:lnTo>
                      <a:pt x="34" y="23"/>
                    </a:lnTo>
                    <a:lnTo>
                      <a:pt x="34" y="21"/>
                    </a:lnTo>
                    <a:lnTo>
                      <a:pt x="36" y="21"/>
                    </a:lnTo>
                    <a:lnTo>
                      <a:pt x="36" y="20"/>
                    </a:lnTo>
                    <a:lnTo>
                      <a:pt x="36" y="21"/>
                    </a:lnTo>
                    <a:lnTo>
                      <a:pt x="38" y="20"/>
                    </a:lnTo>
                    <a:lnTo>
                      <a:pt x="38" y="18"/>
                    </a:lnTo>
                    <a:lnTo>
                      <a:pt x="38" y="16"/>
                    </a:lnTo>
                    <a:lnTo>
                      <a:pt x="40" y="16"/>
                    </a:lnTo>
                    <a:lnTo>
                      <a:pt x="40" y="14"/>
                    </a:lnTo>
                    <a:lnTo>
                      <a:pt x="40" y="16"/>
                    </a:lnTo>
                    <a:lnTo>
                      <a:pt x="42" y="14"/>
                    </a:lnTo>
                    <a:lnTo>
                      <a:pt x="44" y="14"/>
                    </a:lnTo>
                    <a:lnTo>
                      <a:pt x="44" y="12"/>
                    </a:lnTo>
                    <a:lnTo>
                      <a:pt x="46" y="12"/>
                    </a:lnTo>
                    <a:lnTo>
                      <a:pt x="46" y="14"/>
                    </a:lnTo>
                    <a:lnTo>
                      <a:pt x="48" y="14"/>
                    </a:lnTo>
                    <a:lnTo>
                      <a:pt x="48" y="16"/>
                    </a:lnTo>
                    <a:lnTo>
                      <a:pt x="50" y="16"/>
                    </a:lnTo>
                    <a:lnTo>
                      <a:pt x="52" y="16"/>
                    </a:lnTo>
                    <a:lnTo>
                      <a:pt x="50" y="18"/>
                    </a:lnTo>
                    <a:lnTo>
                      <a:pt x="52" y="18"/>
                    </a:lnTo>
                    <a:lnTo>
                      <a:pt x="52" y="20"/>
                    </a:lnTo>
                    <a:lnTo>
                      <a:pt x="52" y="21"/>
                    </a:lnTo>
                    <a:lnTo>
                      <a:pt x="53" y="21"/>
                    </a:lnTo>
                    <a:lnTo>
                      <a:pt x="53" y="23"/>
                    </a:lnTo>
                    <a:lnTo>
                      <a:pt x="53" y="25"/>
                    </a:lnTo>
                    <a:lnTo>
                      <a:pt x="55" y="25"/>
                    </a:lnTo>
                    <a:lnTo>
                      <a:pt x="55" y="23"/>
                    </a:lnTo>
                    <a:lnTo>
                      <a:pt x="57" y="25"/>
                    </a:lnTo>
                    <a:lnTo>
                      <a:pt x="59" y="25"/>
                    </a:lnTo>
                    <a:lnTo>
                      <a:pt x="59" y="23"/>
                    </a:lnTo>
                    <a:lnTo>
                      <a:pt x="61" y="23"/>
                    </a:lnTo>
                    <a:lnTo>
                      <a:pt x="61" y="25"/>
                    </a:lnTo>
                    <a:lnTo>
                      <a:pt x="61" y="27"/>
                    </a:lnTo>
                    <a:lnTo>
                      <a:pt x="59" y="27"/>
                    </a:lnTo>
                    <a:lnTo>
                      <a:pt x="61" y="27"/>
                    </a:lnTo>
                    <a:lnTo>
                      <a:pt x="63" y="25"/>
                    </a:lnTo>
                    <a:lnTo>
                      <a:pt x="65" y="25"/>
                    </a:lnTo>
                    <a:lnTo>
                      <a:pt x="65" y="27"/>
                    </a:lnTo>
                    <a:lnTo>
                      <a:pt x="65" y="25"/>
                    </a:lnTo>
                    <a:lnTo>
                      <a:pt x="65" y="23"/>
                    </a:lnTo>
                    <a:lnTo>
                      <a:pt x="67" y="25"/>
                    </a:lnTo>
                    <a:lnTo>
                      <a:pt x="67" y="23"/>
                    </a:lnTo>
                    <a:lnTo>
                      <a:pt x="69" y="23"/>
                    </a:lnTo>
                    <a:lnTo>
                      <a:pt x="69" y="21"/>
                    </a:lnTo>
                    <a:lnTo>
                      <a:pt x="71" y="21"/>
                    </a:lnTo>
                    <a:lnTo>
                      <a:pt x="69" y="21"/>
                    </a:lnTo>
                    <a:lnTo>
                      <a:pt x="69" y="20"/>
                    </a:lnTo>
                    <a:lnTo>
                      <a:pt x="69" y="18"/>
                    </a:lnTo>
                    <a:lnTo>
                      <a:pt x="71" y="18"/>
                    </a:lnTo>
                    <a:lnTo>
                      <a:pt x="71" y="16"/>
                    </a:lnTo>
                    <a:lnTo>
                      <a:pt x="71" y="18"/>
                    </a:lnTo>
                    <a:lnTo>
                      <a:pt x="71" y="16"/>
                    </a:lnTo>
                    <a:lnTo>
                      <a:pt x="73" y="16"/>
                    </a:lnTo>
                    <a:lnTo>
                      <a:pt x="71" y="16"/>
                    </a:lnTo>
                    <a:lnTo>
                      <a:pt x="73" y="14"/>
                    </a:lnTo>
                    <a:lnTo>
                      <a:pt x="73" y="12"/>
                    </a:lnTo>
                    <a:lnTo>
                      <a:pt x="71" y="12"/>
                    </a:lnTo>
                    <a:lnTo>
                      <a:pt x="73" y="12"/>
                    </a:lnTo>
                    <a:lnTo>
                      <a:pt x="71" y="10"/>
                    </a:lnTo>
                    <a:lnTo>
                      <a:pt x="73" y="10"/>
                    </a:lnTo>
                    <a:lnTo>
                      <a:pt x="71" y="10"/>
                    </a:lnTo>
                    <a:lnTo>
                      <a:pt x="73" y="10"/>
                    </a:lnTo>
                    <a:lnTo>
                      <a:pt x="73" y="8"/>
                    </a:lnTo>
                    <a:lnTo>
                      <a:pt x="75" y="8"/>
                    </a:lnTo>
                    <a:lnTo>
                      <a:pt x="76" y="8"/>
                    </a:lnTo>
                    <a:lnTo>
                      <a:pt x="76" y="10"/>
                    </a:lnTo>
                    <a:lnTo>
                      <a:pt x="78" y="10"/>
                    </a:lnTo>
                    <a:lnTo>
                      <a:pt x="80" y="10"/>
                    </a:lnTo>
                    <a:lnTo>
                      <a:pt x="82" y="10"/>
                    </a:lnTo>
                    <a:lnTo>
                      <a:pt x="82" y="8"/>
                    </a:lnTo>
                    <a:lnTo>
                      <a:pt x="82" y="6"/>
                    </a:lnTo>
                    <a:lnTo>
                      <a:pt x="82" y="4"/>
                    </a:lnTo>
                    <a:lnTo>
                      <a:pt x="84" y="4"/>
                    </a:lnTo>
                    <a:lnTo>
                      <a:pt x="86" y="4"/>
                    </a:lnTo>
                    <a:lnTo>
                      <a:pt x="84" y="2"/>
                    </a:lnTo>
                    <a:lnTo>
                      <a:pt x="86" y="2"/>
                    </a:lnTo>
                    <a:lnTo>
                      <a:pt x="84" y="2"/>
                    </a:lnTo>
                    <a:lnTo>
                      <a:pt x="84" y="0"/>
                    </a:lnTo>
                    <a:lnTo>
                      <a:pt x="86" y="0"/>
                    </a:lnTo>
                    <a:lnTo>
                      <a:pt x="88" y="0"/>
                    </a:lnTo>
                    <a:lnTo>
                      <a:pt x="90" y="0"/>
                    </a:lnTo>
                    <a:lnTo>
                      <a:pt x="92" y="0"/>
                    </a:lnTo>
                    <a:lnTo>
                      <a:pt x="92" y="2"/>
                    </a:lnTo>
                    <a:lnTo>
                      <a:pt x="94" y="0"/>
                    </a:lnTo>
                    <a:lnTo>
                      <a:pt x="94" y="2"/>
                    </a:lnTo>
                    <a:lnTo>
                      <a:pt x="96" y="2"/>
                    </a:lnTo>
                    <a:lnTo>
                      <a:pt x="98" y="2"/>
                    </a:lnTo>
                    <a:lnTo>
                      <a:pt x="98" y="4"/>
                    </a:lnTo>
                    <a:lnTo>
                      <a:pt x="98" y="6"/>
                    </a:lnTo>
                    <a:lnTo>
                      <a:pt x="96" y="6"/>
                    </a:lnTo>
                    <a:lnTo>
                      <a:pt x="96" y="8"/>
                    </a:lnTo>
                    <a:lnTo>
                      <a:pt x="98" y="8"/>
                    </a:lnTo>
                    <a:lnTo>
                      <a:pt x="96" y="10"/>
                    </a:lnTo>
                    <a:lnTo>
                      <a:pt x="98" y="10"/>
                    </a:lnTo>
                    <a:lnTo>
                      <a:pt x="96" y="10"/>
                    </a:lnTo>
                    <a:lnTo>
                      <a:pt x="98" y="10"/>
                    </a:lnTo>
                    <a:lnTo>
                      <a:pt x="96" y="10"/>
                    </a:lnTo>
                    <a:lnTo>
                      <a:pt x="96" y="12"/>
                    </a:lnTo>
                    <a:lnTo>
                      <a:pt x="96" y="14"/>
                    </a:lnTo>
                    <a:lnTo>
                      <a:pt x="94" y="14"/>
                    </a:lnTo>
                    <a:lnTo>
                      <a:pt x="96" y="16"/>
                    </a:lnTo>
                    <a:lnTo>
                      <a:pt x="94" y="16"/>
                    </a:lnTo>
                    <a:lnTo>
                      <a:pt x="96" y="16"/>
                    </a:lnTo>
                    <a:lnTo>
                      <a:pt x="94" y="16"/>
                    </a:lnTo>
                    <a:lnTo>
                      <a:pt x="96" y="18"/>
                    </a:lnTo>
                    <a:lnTo>
                      <a:pt x="96" y="16"/>
                    </a:lnTo>
                    <a:lnTo>
                      <a:pt x="96" y="18"/>
                    </a:lnTo>
                    <a:lnTo>
                      <a:pt x="98" y="18"/>
                    </a:lnTo>
                    <a:lnTo>
                      <a:pt x="100" y="18"/>
                    </a:lnTo>
                    <a:lnTo>
                      <a:pt x="100" y="20"/>
                    </a:lnTo>
                    <a:lnTo>
                      <a:pt x="98" y="20"/>
                    </a:lnTo>
                    <a:lnTo>
                      <a:pt x="100" y="20"/>
                    </a:lnTo>
                    <a:lnTo>
                      <a:pt x="101" y="20"/>
                    </a:lnTo>
                    <a:lnTo>
                      <a:pt x="101" y="21"/>
                    </a:lnTo>
                    <a:lnTo>
                      <a:pt x="103" y="21"/>
                    </a:lnTo>
                    <a:lnTo>
                      <a:pt x="103" y="20"/>
                    </a:lnTo>
                    <a:lnTo>
                      <a:pt x="105" y="20"/>
                    </a:lnTo>
                    <a:lnTo>
                      <a:pt x="105" y="21"/>
                    </a:lnTo>
                    <a:lnTo>
                      <a:pt x="107" y="21"/>
                    </a:lnTo>
                    <a:lnTo>
                      <a:pt x="107" y="20"/>
                    </a:lnTo>
                    <a:lnTo>
                      <a:pt x="109" y="18"/>
                    </a:lnTo>
                    <a:lnTo>
                      <a:pt x="109" y="16"/>
                    </a:lnTo>
                    <a:lnTo>
                      <a:pt x="111" y="16"/>
                    </a:lnTo>
                    <a:lnTo>
                      <a:pt x="111" y="18"/>
                    </a:lnTo>
                    <a:lnTo>
                      <a:pt x="111" y="16"/>
                    </a:lnTo>
                    <a:lnTo>
                      <a:pt x="113" y="16"/>
                    </a:lnTo>
                    <a:lnTo>
                      <a:pt x="115" y="16"/>
                    </a:lnTo>
                    <a:lnTo>
                      <a:pt x="117" y="16"/>
                    </a:lnTo>
                    <a:lnTo>
                      <a:pt x="119" y="16"/>
                    </a:lnTo>
                    <a:lnTo>
                      <a:pt x="119" y="18"/>
                    </a:lnTo>
                    <a:lnTo>
                      <a:pt x="117" y="18"/>
                    </a:lnTo>
                    <a:lnTo>
                      <a:pt x="119" y="18"/>
                    </a:lnTo>
                    <a:lnTo>
                      <a:pt x="121" y="18"/>
                    </a:lnTo>
                    <a:lnTo>
                      <a:pt x="121" y="20"/>
                    </a:lnTo>
                    <a:lnTo>
                      <a:pt x="121" y="21"/>
                    </a:lnTo>
                    <a:lnTo>
                      <a:pt x="121" y="23"/>
                    </a:lnTo>
                    <a:lnTo>
                      <a:pt x="121" y="25"/>
                    </a:lnTo>
                    <a:lnTo>
                      <a:pt x="119" y="25"/>
                    </a:lnTo>
                    <a:lnTo>
                      <a:pt x="119" y="27"/>
                    </a:lnTo>
                    <a:lnTo>
                      <a:pt x="117" y="27"/>
                    </a:lnTo>
                    <a:lnTo>
                      <a:pt x="119" y="27"/>
                    </a:lnTo>
                    <a:lnTo>
                      <a:pt x="119" y="29"/>
                    </a:lnTo>
                    <a:lnTo>
                      <a:pt x="119" y="31"/>
                    </a:lnTo>
                    <a:lnTo>
                      <a:pt x="119" y="33"/>
                    </a:lnTo>
                    <a:lnTo>
                      <a:pt x="121" y="33"/>
                    </a:lnTo>
                    <a:lnTo>
                      <a:pt x="121" y="35"/>
                    </a:lnTo>
                    <a:lnTo>
                      <a:pt x="121" y="33"/>
                    </a:lnTo>
                    <a:lnTo>
                      <a:pt x="123" y="33"/>
                    </a:lnTo>
                    <a:lnTo>
                      <a:pt x="123" y="35"/>
                    </a:lnTo>
                    <a:lnTo>
                      <a:pt x="121" y="35"/>
                    </a:lnTo>
                    <a:lnTo>
                      <a:pt x="121" y="37"/>
                    </a:lnTo>
                    <a:lnTo>
                      <a:pt x="123" y="35"/>
                    </a:lnTo>
                    <a:lnTo>
                      <a:pt x="123" y="37"/>
                    </a:lnTo>
                    <a:lnTo>
                      <a:pt x="121" y="3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4" name="Freeform 61"/>
              <p:cNvSpPr>
                <a:spLocks/>
              </p:cNvSpPr>
              <p:nvPr/>
            </p:nvSpPr>
            <p:spPr bwMode="auto">
              <a:xfrm>
                <a:off x="6257197" y="1308319"/>
                <a:ext cx="817297" cy="965272"/>
              </a:xfrm>
              <a:custGeom>
                <a:avLst/>
                <a:gdLst>
                  <a:gd name="T0" fmla="*/ 382 w 475"/>
                  <a:gd name="T1" fmla="*/ 38 h 561"/>
                  <a:gd name="T2" fmla="*/ 398 w 475"/>
                  <a:gd name="T3" fmla="*/ 65 h 561"/>
                  <a:gd name="T4" fmla="*/ 411 w 475"/>
                  <a:gd name="T5" fmla="*/ 103 h 561"/>
                  <a:gd name="T6" fmla="*/ 453 w 475"/>
                  <a:gd name="T7" fmla="*/ 140 h 561"/>
                  <a:gd name="T8" fmla="*/ 467 w 475"/>
                  <a:gd name="T9" fmla="*/ 167 h 561"/>
                  <a:gd name="T10" fmla="*/ 471 w 475"/>
                  <a:gd name="T11" fmla="*/ 198 h 561"/>
                  <a:gd name="T12" fmla="*/ 471 w 475"/>
                  <a:gd name="T13" fmla="*/ 219 h 561"/>
                  <a:gd name="T14" fmla="*/ 473 w 475"/>
                  <a:gd name="T15" fmla="*/ 251 h 561"/>
                  <a:gd name="T16" fmla="*/ 465 w 475"/>
                  <a:gd name="T17" fmla="*/ 273 h 561"/>
                  <a:gd name="T18" fmla="*/ 455 w 475"/>
                  <a:gd name="T19" fmla="*/ 250 h 561"/>
                  <a:gd name="T20" fmla="*/ 440 w 475"/>
                  <a:gd name="T21" fmla="*/ 257 h 561"/>
                  <a:gd name="T22" fmla="*/ 428 w 475"/>
                  <a:gd name="T23" fmla="*/ 244 h 561"/>
                  <a:gd name="T24" fmla="*/ 428 w 475"/>
                  <a:gd name="T25" fmla="*/ 221 h 561"/>
                  <a:gd name="T26" fmla="*/ 413 w 475"/>
                  <a:gd name="T27" fmla="*/ 196 h 561"/>
                  <a:gd name="T28" fmla="*/ 411 w 475"/>
                  <a:gd name="T29" fmla="*/ 219 h 561"/>
                  <a:gd name="T30" fmla="*/ 384 w 475"/>
                  <a:gd name="T31" fmla="*/ 221 h 561"/>
                  <a:gd name="T32" fmla="*/ 369 w 475"/>
                  <a:gd name="T33" fmla="*/ 250 h 561"/>
                  <a:gd name="T34" fmla="*/ 348 w 475"/>
                  <a:gd name="T35" fmla="*/ 288 h 561"/>
                  <a:gd name="T36" fmla="*/ 354 w 475"/>
                  <a:gd name="T37" fmla="*/ 330 h 561"/>
                  <a:gd name="T38" fmla="*/ 350 w 475"/>
                  <a:gd name="T39" fmla="*/ 373 h 561"/>
                  <a:gd name="T40" fmla="*/ 348 w 475"/>
                  <a:gd name="T41" fmla="*/ 396 h 561"/>
                  <a:gd name="T42" fmla="*/ 359 w 475"/>
                  <a:gd name="T43" fmla="*/ 425 h 561"/>
                  <a:gd name="T44" fmla="*/ 365 w 475"/>
                  <a:gd name="T45" fmla="*/ 432 h 561"/>
                  <a:gd name="T46" fmla="*/ 371 w 475"/>
                  <a:gd name="T47" fmla="*/ 426 h 561"/>
                  <a:gd name="T48" fmla="*/ 398 w 475"/>
                  <a:gd name="T49" fmla="*/ 436 h 561"/>
                  <a:gd name="T50" fmla="*/ 371 w 475"/>
                  <a:gd name="T51" fmla="*/ 463 h 561"/>
                  <a:gd name="T52" fmla="*/ 354 w 475"/>
                  <a:gd name="T53" fmla="*/ 467 h 561"/>
                  <a:gd name="T54" fmla="*/ 342 w 475"/>
                  <a:gd name="T55" fmla="*/ 494 h 561"/>
                  <a:gd name="T56" fmla="*/ 319 w 475"/>
                  <a:gd name="T57" fmla="*/ 517 h 561"/>
                  <a:gd name="T58" fmla="*/ 307 w 475"/>
                  <a:gd name="T59" fmla="*/ 499 h 561"/>
                  <a:gd name="T60" fmla="*/ 305 w 475"/>
                  <a:gd name="T61" fmla="*/ 486 h 561"/>
                  <a:gd name="T62" fmla="*/ 279 w 475"/>
                  <a:gd name="T63" fmla="*/ 490 h 561"/>
                  <a:gd name="T64" fmla="*/ 259 w 475"/>
                  <a:gd name="T65" fmla="*/ 492 h 561"/>
                  <a:gd name="T66" fmla="*/ 227 w 475"/>
                  <a:gd name="T67" fmla="*/ 511 h 561"/>
                  <a:gd name="T68" fmla="*/ 231 w 475"/>
                  <a:gd name="T69" fmla="*/ 515 h 561"/>
                  <a:gd name="T70" fmla="*/ 234 w 475"/>
                  <a:gd name="T71" fmla="*/ 528 h 561"/>
                  <a:gd name="T72" fmla="*/ 206 w 475"/>
                  <a:gd name="T73" fmla="*/ 544 h 561"/>
                  <a:gd name="T74" fmla="*/ 186 w 475"/>
                  <a:gd name="T75" fmla="*/ 561 h 561"/>
                  <a:gd name="T76" fmla="*/ 163 w 475"/>
                  <a:gd name="T77" fmla="*/ 526 h 561"/>
                  <a:gd name="T78" fmla="*/ 121 w 475"/>
                  <a:gd name="T79" fmla="*/ 530 h 561"/>
                  <a:gd name="T80" fmla="*/ 115 w 475"/>
                  <a:gd name="T81" fmla="*/ 496 h 561"/>
                  <a:gd name="T82" fmla="*/ 110 w 475"/>
                  <a:gd name="T83" fmla="*/ 451 h 561"/>
                  <a:gd name="T84" fmla="*/ 58 w 475"/>
                  <a:gd name="T85" fmla="*/ 426 h 561"/>
                  <a:gd name="T86" fmla="*/ 38 w 475"/>
                  <a:gd name="T87" fmla="*/ 421 h 561"/>
                  <a:gd name="T88" fmla="*/ 27 w 475"/>
                  <a:gd name="T89" fmla="*/ 380 h 561"/>
                  <a:gd name="T90" fmla="*/ 8 w 475"/>
                  <a:gd name="T91" fmla="*/ 336 h 561"/>
                  <a:gd name="T92" fmla="*/ 10 w 475"/>
                  <a:gd name="T93" fmla="*/ 301 h 561"/>
                  <a:gd name="T94" fmla="*/ 37 w 475"/>
                  <a:gd name="T95" fmla="*/ 280 h 561"/>
                  <a:gd name="T96" fmla="*/ 52 w 475"/>
                  <a:gd name="T97" fmla="*/ 273 h 561"/>
                  <a:gd name="T98" fmla="*/ 65 w 475"/>
                  <a:gd name="T99" fmla="*/ 246 h 561"/>
                  <a:gd name="T100" fmla="*/ 94 w 475"/>
                  <a:gd name="T101" fmla="*/ 238 h 561"/>
                  <a:gd name="T102" fmla="*/ 135 w 475"/>
                  <a:gd name="T103" fmla="*/ 203 h 561"/>
                  <a:gd name="T104" fmla="*/ 123 w 475"/>
                  <a:gd name="T105" fmla="*/ 165 h 561"/>
                  <a:gd name="T106" fmla="*/ 115 w 475"/>
                  <a:gd name="T107" fmla="*/ 109 h 561"/>
                  <a:gd name="T108" fmla="*/ 123 w 475"/>
                  <a:gd name="T109" fmla="*/ 73 h 561"/>
                  <a:gd name="T110" fmla="*/ 159 w 475"/>
                  <a:gd name="T111" fmla="*/ 57 h 561"/>
                  <a:gd name="T112" fmla="*/ 194 w 475"/>
                  <a:gd name="T113" fmla="*/ 36 h 561"/>
                  <a:gd name="T114" fmla="*/ 208 w 475"/>
                  <a:gd name="T115" fmla="*/ 3 h 561"/>
                  <a:gd name="T116" fmla="*/ 236 w 475"/>
                  <a:gd name="T117" fmla="*/ 28 h 561"/>
                  <a:gd name="T118" fmla="*/ 277 w 475"/>
                  <a:gd name="T119" fmla="*/ 27 h 561"/>
                  <a:gd name="T120" fmla="*/ 315 w 475"/>
                  <a:gd name="T121" fmla="*/ 21 h 561"/>
                  <a:gd name="T122" fmla="*/ 352 w 475"/>
                  <a:gd name="T123" fmla="*/ 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5" h="561">
                    <a:moveTo>
                      <a:pt x="359" y="7"/>
                    </a:moveTo>
                    <a:lnTo>
                      <a:pt x="359" y="5"/>
                    </a:lnTo>
                    <a:lnTo>
                      <a:pt x="361" y="7"/>
                    </a:lnTo>
                    <a:lnTo>
                      <a:pt x="363" y="7"/>
                    </a:lnTo>
                    <a:lnTo>
                      <a:pt x="365" y="7"/>
                    </a:lnTo>
                    <a:lnTo>
                      <a:pt x="365" y="9"/>
                    </a:lnTo>
                    <a:lnTo>
                      <a:pt x="367" y="9"/>
                    </a:lnTo>
                    <a:lnTo>
                      <a:pt x="367" y="11"/>
                    </a:lnTo>
                    <a:lnTo>
                      <a:pt x="367" y="13"/>
                    </a:lnTo>
                    <a:lnTo>
                      <a:pt x="367" y="15"/>
                    </a:lnTo>
                    <a:lnTo>
                      <a:pt x="369" y="15"/>
                    </a:lnTo>
                    <a:lnTo>
                      <a:pt x="369" y="17"/>
                    </a:lnTo>
                    <a:lnTo>
                      <a:pt x="371" y="17"/>
                    </a:lnTo>
                    <a:lnTo>
                      <a:pt x="373" y="17"/>
                    </a:lnTo>
                    <a:lnTo>
                      <a:pt x="375" y="17"/>
                    </a:lnTo>
                    <a:lnTo>
                      <a:pt x="377" y="17"/>
                    </a:lnTo>
                    <a:lnTo>
                      <a:pt x="379" y="17"/>
                    </a:lnTo>
                    <a:lnTo>
                      <a:pt x="379" y="19"/>
                    </a:lnTo>
                    <a:lnTo>
                      <a:pt x="380" y="19"/>
                    </a:lnTo>
                    <a:lnTo>
                      <a:pt x="380" y="21"/>
                    </a:lnTo>
                    <a:lnTo>
                      <a:pt x="382" y="21"/>
                    </a:lnTo>
                    <a:lnTo>
                      <a:pt x="384" y="21"/>
                    </a:lnTo>
                    <a:lnTo>
                      <a:pt x="382" y="23"/>
                    </a:lnTo>
                    <a:lnTo>
                      <a:pt x="382" y="25"/>
                    </a:lnTo>
                    <a:lnTo>
                      <a:pt x="382" y="27"/>
                    </a:lnTo>
                    <a:lnTo>
                      <a:pt x="380" y="27"/>
                    </a:lnTo>
                    <a:lnTo>
                      <a:pt x="380" y="28"/>
                    </a:lnTo>
                    <a:lnTo>
                      <a:pt x="382" y="28"/>
                    </a:lnTo>
                    <a:lnTo>
                      <a:pt x="382" y="30"/>
                    </a:lnTo>
                    <a:lnTo>
                      <a:pt x="382" y="32"/>
                    </a:lnTo>
                    <a:lnTo>
                      <a:pt x="384" y="32"/>
                    </a:lnTo>
                    <a:lnTo>
                      <a:pt x="384" y="34"/>
                    </a:lnTo>
                    <a:lnTo>
                      <a:pt x="384" y="36"/>
                    </a:lnTo>
                    <a:lnTo>
                      <a:pt x="382" y="38"/>
                    </a:lnTo>
                    <a:lnTo>
                      <a:pt x="380" y="36"/>
                    </a:lnTo>
                    <a:lnTo>
                      <a:pt x="380" y="38"/>
                    </a:lnTo>
                    <a:lnTo>
                      <a:pt x="380" y="40"/>
                    </a:lnTo>
                    <a:lnTo>
                      <a:pt x="379" y="40"/>
                    </a:lnTo>
                    <a:lnTo>
                      <a:pt x="380" y="40"/>
                    </a:lnTo>
                    <a:lnTo>
                      <a:pt x="379" y="40"/>
                    </a:lnTo>
                    <a:lnTo>
                      <a:pt x="379" y="42"/>
                    </a:lnTo>
                    <a:lnTo>
                      <a:pt x="379" y="44"/>
                    </a:lnTo>
                    <a:lnTo>
                      <a:pt x="380" y="46"/>
                    </a:lnTo>
                    <a:lnTo>
                      <a:pt x="382" y="46"/>
                    </a:lnTo>
                    <a:lnTo>
                      <a:pt x="382" y="48"/>
                    </a:lnTo>
                    <a:lnTo>
                      <a:pt x="384" y="48"/>
                    </a:lnTo>
                    <a:lnTo>
                      <a:pt x="384" y="50"/>
                    </a:lnTo>
                    <a:lnTo>
                      <a:pt x="386" y="50"/>
                    </a:lnTo>
                    <a:lnTo>
                      <a:pt x="388" y="50"/>
                    </a:lnTo>
                    <a:lnTo>
                      <a:pt x="388" y="52"/>
                    </a:lnTo>
                    <a:lnTo>
                      <a:pt x="390" y="52"/>
                    </a:lnTo>
                    <a:lnTo>
                      <a:pt x="390" y="53"/>
                    </a:lnTo>
                    <a:lnTo>
                      <a:pt x="392" y="53"/>
                    </a:lnTo>
                    <a:lnTo>
                      <a:pt x="392" y="55"/>
                    </a:lnTo>
                    <a:lnTo>
                      <a:pt x="390" y="55"/>
                    </a:lnTo>
                    <a:lnTo>
                      <a:pt x="390" y="57"/>
                    </a:lnTo>
                    <a:lnTo>
                      <a:pt x="388" y="59"/>
                    </a:lnTo>
                    <a:lnTo>
                      <a:pt x="388" y="61"/>
                    </a:lnTo>
                    <a:lnTo>
                      <a:pt x="390" y="61"/>
                    </a:lnTo>
                    <a:lnTo>
                      <a:pt x="392" y="61"/>
                    </a:lnTo>
                    <a:lnTo>
                      <a:pt x="392" y="63"/>
                    </a:lnTo>
                    <a:lnTo>
                      <a:pt x="392" y="65"/>
                    </a:lnTo>
                    <a:lnTo>
                      <a:pt x="394" y="65"/>
                    </a:lnTo>
                    <a:lnTo>
                      <a:pt x="396" y="65"/>
                    </a:lnTo>
                    <a:lnTo>
                      <a:pt x="394" y="63"/>
                    </a:lnTo>
                    <a:lnTo>
                      <a:pt x="396" y="63"/>
                    </a:lnTo>
                    <a:lnTo>
                      <a:pt x="398" y="63"/>
                    </a:lnTo>
                    <a:lnTo>
                      <a:pt x="398" y="65"/>
                    </a:lnTo>
                    <a:lnTo>
                      <a:pt x="400" y="65"/>
                    </a:lnTo>
                    <a:lnTo>
                      <a:pt x="402" y="65"/>
                    </a:lnTo>
                    <a:lnTo>
                      <a:pt x="403" y="65"/>
                    </a:lnTo>
                    <a:lnTo>
                      <a:pt x="403" y="67"/>
                    </a:lnTo>
                    <a:lnTo>
                      <a:pt x="405" y="69"/>
                    </a:lnTo>
                    <a:lnTo>
                      <a:pt x="405" y="71"/>
                    </a:lnTo>
                    <a:lnTo>
                      <a:pt x="407" y="73"/>
                    </a:lnTo>
                    <a:lnTo>
                      <a:pt x="409" y="73"/>
                    </a:lnTo>
                    <a:lnTo>
                      <a:pt x="409" y="75"/>
                    </a:lnTo>
                    <a:lnTo>
                      <a:pt x="409" y="77"/>
                    </a:lnTo>
                    <a:lnTo>
                      <a:pt x="409" y="78"/>
                    </a:lnTo>
                    <a:lnTo>
                      <a:pt x="407" y="78"/>
                    </a:lnTo>
                    <a:lnTo>
                      <a:pt x="407" y="80"/>
                    </a:lnTo>
                    <a:lnTo>
                      <a:pt x="407" y="82"/>
                    </a:lnTo>
                    <a:lnTo>
                      <a:pt x="405" y="82"/>
                    </a:lnTo>
                    <a:lnTo>
                      <a:pt x="405" y="84"/>
                    </a:lnTo>
                    <a:lnTo>
                      <a:pt x="407" y="84"/>
                    </a:lnTo>
                    <a:lnTo>
                      <a:pt x="409" y="84"/>
                    </a:lnTo>
                    <a:lnTo>
                      <a:pt x="411" y="84"/>
                    </a:lnTo>
                    <a:lnTo>
                      <a:pt x="411" y="86"/>
                    </a:lnTo>
                    <a:lnTo>
                      <a:pt x="413" y="88"/>
                    </a:lnTo>
                    <a:lnTo>
                      <a:pt x="415" y="88"/>
                    </a:lnTo>
                    <a:lnTo>
                      <a:pt x="415" y="90"/>
                    </a:lnTo>
                    <a:lnTo>
                      <a:pt x="417" y="92"/>
                    </a:lnTo>
                    <a:lnTo>
                      <a:pt x="415" y="94"/>
                    </a:lnTo>
                    <a:lnTo>
                      <a:pt x="415" y="96"/>
                    </a:lnTo>
                    <a:lnTo>
                      <a:pt x="413" y="96"/>
                    </a:lnTo>
                    <a:lnTo>
                      <a:pt x="413" y="98"/>
                    </a:lnTo>
                    <a:lnTo>
                      <a:pt x="415" y="98"/>
                    </a:lnTo>
                    <a:lnTo>
                      <a:pt x="415" y="100"/>
                    </a:lnTo>
                    <a:lnTo>
                      <a:pt x="413" y="100"/>
                    </a:lnTo>
                    <a:lnTo>
                      <a:pt x="413" y="102"/>
                    </a:lnTo>
                    <a:lnTo>
                      <a:pt x="411" y="102"/>
                    </a:lnTo>
                    <a:lnTo>
                      <a:pt x="411" y="103"/>
                    </a:lnTo>
                    <a:lnTo>
                      <a:pt x="411" y="105"/>
                    </a:lnTo>
                    <a:lnTo>
                      <a:pt x="413" y="107"/>
                    </a:lnTo>
                    <a:lnTo>
                      <a:pt x="413" y="109"/>
                    </a:lnTo>
                    <a:lnTo>
                      <a:pt x="415" y="109"/>
                    </a:lnTo>
                    <a:lnTo>
                      <a:pt x="415" y="111"/>
                    </a:lnTo>
                    <a:lnTo>
                      <a:pt x="417" y="113"/>
                    </a:lnTo>
                    <a:lnTo>
                      <a:pt x="417" y="115"/>
                    </a:lnTo>
                    <a:lnTo>
                      <a:pt x="419" y="113"/>
                    </a:lnTo>
                    <a:lnTo>
                      <a:pt x="421" y="113"/>
                    </a:lnTo>
                    <a:lnTo>
                      <a:pt x="423" y="113"/>
                    </a:lnTo>
                    <a:lnTo>
                      <a:pt x="425" y="113"/>
                    </a:lnTo>
                    <a:lnTo>
                      <a:pt x="428" y="113"/>
                    </a:lnTo>
                    <a:lnTo>
                      <a:pt x="430" y="115"/>
                    </a:lnTo>
                    <a:lnTo>
                      <a:pt x="434" y="117"/>
                    </a:lnTo>
                    <a:lnTo>
                      <a:pt x="436" y="115"/>
                    </a:lnTo>
                    <a:lnTo>
                      <a:pt x="438" y="115"/>
                    </a:lnTo>
                    <a:lnTo>
                      <a:pt x="438" y="117"/>
                    </a:lnTo>
                    <a:lnTo>
                      <a:pt x="440" y="119"/>
                    </a:lnTo>
                    <a:lnTo>
                      <a:pt x="440" y="121"/>
                    </a:lnTo>
                    <a:lnTo>
                      <a:pt x="438" y="121"/>
                    </a:lnTo>
                    <a:lnTo>
                      <a:pt x="440" y="123"/>
                    </a:lnTo>
                    <a:lnTo>
                      <a:pt x="440" y="125"/>
                    </a:lnTo>
                    <a:lnTo>
                      <a:pt x="442" y="125"/>
                    </a:lnTo>
                    <a:lnTo>
                      <a:pt x="444" y="127"/>
                    </a:lnTo>
                    <a:lnTo>
                      <a:pt x="446" y="127"/>
                    </a:lnTo>
                    <a:lnTo>
                      <a:pt x="448" y="130"/>
                    </a:lnTo>
                    <a:lnTo>
                      <a:pt x="450" y="130"/>
                    </a:lnTo>
                    <a:lnTo>
                      <a:pt x="450" y="132"/>
                    </a:lnTo>
                    <a:lnTo>
                      <a:pt x="452" y="132"/>
                    </a:lnTo>
                    <a:lnTo>
                      <a:pt x="452" y="134"/>
                    </a:lnTo>
                    <a:lnTo>
                      <a:pt x="453" y="134"/>
                    </a:lnTo>
                    <a:lnTo>
                      <a:pt x="453" y="136"/>
                    </a:lnTo>
                    <a:lnTo>
                      <a:pt x="453" y="138"/>
                    </a:lnTo>
                    <a:lnTo>
                      <a:pt x="453" y="140"/>
                    </a:lnTo>
                    <a:lnTo>
                      <a:pt x="452" y="140"/>
                    </a:lnTo>
                    <a:lnTo>
                      <a:pt x="450" y="140"/>
                    </a:lnTo>
                    <a:lnTo>
                      <a:pt x="450" y="142"/>
                    </a:lnTo>
                    <a:lnTo>
                      <a:pt x="450" y="144"/>
                    </a:lnTo>
                    <a:lnTo>
                      <a:pt x="448" y="144"/>
                    </a:lnTo>
                    <a:lnTo>
                      <a:pt x="448" y="146"/>
                    </a:lnTo>
                    <a:lnTo>
                      <a:pt x="448" y="148"/>
                    </a:lnTo>
                    <a:lnTo>
                      <a:pt x="448" y="150"/>
                    </a:lnTo>
                    <a:lnTo>
                      <a:pt x="446" y="150"/>
                    </a:lnTo>
                    <a:lnTo>
                      <a:pt x="446" y="152"/>
                    </a:lnTo>
                    <a:lnTo>
                      <a:pt x="446" y="153"/>
                    </a:lnTo>
                    <a:lnTo>
                      <a:pt x="448" y="153"/>
                    </a:lnTo>
                    <a:lnTo>
                      <a:pt x="450" y="153"/>
                    </a:lnTo>
                    <a:lnTo>
                      <a:pt x="452" y="153"/>
                    </a:lnTo>
                    <a:lnTo>
                      <a:pt x="453" y="153"/>
                    </a:lnTo>
                    <a:lnTo>
                      <a:pt x="453" y="152"/>
                    </a:lnTo>
                    <a:lnTo>
                      <a:pt x="455" y="152"/>
                    </a:lnTo>
                    <a:lnTo>
                      <a:pt x="457" y="152"/>
                    </a:lnTo>
                    <a:lnTo>
                      <a:pt x="457" y="153"/>
                    </a:lnTo>
                    <a:lnTo>
                      <a:pt x="459" y="153"/>
                    </a:lnTo>
                    <a:lnTo>
                      <a:pt x="459" y="155"/>
                    </a:lnTo>
                    <a:lnTo>
                      <a:pt x="461" y="157"/>
                    </a:lnTo>
                    <a:lnTo>
                      <a:pt x="461" y="159"/>
                    </a:lnTo>
                    <a:lnTo>
                      <a:pt x="459" y="159"/>
                    </a:lnTo>
                    <a:lnTo>
                      <a:pt x="457" y="159"/>
                    </a:lnTo>
                    <a:lnTo>
                      <a:pt x="457" y="161"/>
                    </a:lnTo>
                    <a:lnTo>
                      <a:pt x="457" y="163"/>
                    </a:lnTo>
                    <a:lnTo>
                      <a:pt x="459" y="163"/>
                    </a:lnTo>
                    <a:lnTo>
                      <a:pt x="461" y="163"/>
                    </a:lnTo>
                    <a:lnTo>
                      <a:pt x="463" y="165"/>
                    </a:lnTo>
                    <a:lnTo>
                      <a:pt x="463" y="167"/>
                    </a:lnTo>
                    <a:lnTo>
                      <a:pt x="465" y="165"/>
                    </a:lnTo>
                    <a:lnTo>
                      <a:pt x="465" y="167"/>
                    </a:lnTo>
                    <a:lnTo>
                      <a:pt x="467" y="167"/>
                    </a:lnTo>
                    <a:lnTo>
                      <a:pt x="467" y="169"/>
                    </a:lnTo>
                    <a:lnTo>
                      <a:pt x="467" y="171"/>
                    </a:lnTo>
                    <a:lnTo>
                      <a:pt x="469" y="171"/>
                    </a:lnTo>
                    <a:lnTo>
                      <a:pt x="469" y="169"/>
                    </a:lnTo>
                    <a:lnTo>
                      <a:pt x="471" y="171"/>
                    </a:lnTo>
                    <a:lnTo>
                      <a:pt x="471" y="173"/>
                    </a:lnTo>
                    <a:lnTo>
                      <a:pt x="473" y="173"/>
                    </a:lnTo>
                    <a:lnTo>
                      <a:pt x="471" y="175"/>
                    </a:lnTo>
                    <a:lnTo>
                      <a:pt x="471" y="177"/>
                    </a:lnTo>
                    <a:lnTo>
                      <a:pt x="473" y="177"/>
                    </a:lnTo>
                    <a:lnTo>
                      <a:pt x="473" y="178"/>
                    </a:lnTo>
                    <a:lnTo>
                      <a:pt x="471" y="178"/>
                    </a:lnTo>
                    <a:lnTo>
                      <a:pt x="471" y="180"/>
                    </a:lnTo>
                    <a:lnTo>
                      <a:pt x="473" y="178"/>
                    </a:lnTo>
                    <a:lnTo>
                      <a:pt x="473" y="180"/>
                    </a:lnTo>
                    <a:lnTo>
                      <a:pt x="473" y="182"/>
                    </a:lnTo>
                    <a:lnTo>
                      <a:pt x="473" y="184"/>
                    </a:lnTo>
                    <a:lnTo>
                      <a:pt x="473" y="182"/>
                    </a:lnTo>
                    <a:lnTo>
                      <a:pt x="471" y="184"/>
                    </a:lnTo>
                    <a:lnTo>
                      <a:pt x="473" y="184"/>
                    </a:lnTo>
                    <a:lnTo>
                      <a:pt x="473" y="186"/>
                    </a:lnTo>
                    <a:lnTo>
                      <a:pt x="473" y="188"/>
                    </a:lnTo>
                    <a:lnTo>
                      <a:pt x="473" y="190"/>
                    </a:lnTo>
                    <a:lnTo>
                      <a:pt x="473" y="192"/>
                    </a:lnTo>
                    <a:lnTo>
                      <a:pt x="475" y="192"/>
                    </a:lnTo>
                    <a:lnTo>
                      <a:pt x="473" y="192"/>
                    </a:lnTo>
                    <a:lnTo>
                      <a:pt x="473" y="194"/>
                    </a:lnTo>
                    <a:lnTo>
                      <a:pt x="475" y="194"/>
                    </a:lnTo>
                    <a:lnTo>
                      <a:pt x="473" y="194"/>
                    </a:lnTo>
                    <a:lnTo>
                      <a:pt x="473" y="196"/>
                    </a:lnTo>
                    <a:lnTo>
                      <a:pt x="475" y="196"/>
                    </a:lnTo>
                    <a:lnTo>
                      <a:pt x="475" y="198"/>
                    </a:lnTo>
                    <a:lnTo>
                      <a:pt x="473" y="198"/>
                    </a:lnTo>
                    <a:lnTo>
                      <a:pt x="471" y="198"/>
                    </a:lnTo>
                    <a:lnTo>
                      <a:pt x="471" y="196"/>
                    </a:lnTo>
                    <a:lnTo>
                      <a:pt x="471" y="198"/>
                    </a:lnTo>
                    <a:lnTo>
                      <a:pt x="471" y="196"/>
                    </a:lnTo>
                    <a:lnTo>
                      <a:pt x="469" y="196"/>
                    </a:lnTo>
                    <a:lnTo>
                      <a:pt x="471" y="196"/>
                    </a:lnTo>
                    <a:lnTo>
                      <a:pt x="471" y="198"/>
                    </a:lnTo>
                    <a:lnTo>
                      <a:pt x="473" y="200"/>
                    </a:lnTo>
                    <a:lnTo>
                      <a:pt x="473" y="202"/>
                    </a:lnTo>
                    <a:lnTo>
                      <a:pt x="471" y="202"/>
                    </a:lnTo>
                    <a:lnTo>
                      <a:pt x="471" y="200"/>
                    </a:lnTo>
                    <a:lnTo>
                      <a:pt x="471" y="202"/>
                    </a:lnTo>
                    <a:lnTo>
                      <a:pt x="471" y="203"/>
                    </a:lnTo>
                    <a:lnTo>
                      <a:pt x="473" y="203"/>
                    </a:lnTo>
                    <a:lnTo>
                      <a:pt x="473" y="205"/>
                    </a:lnTo>
                    <a:lnTo>
                      <a:pt x="471" y="205"/>
                    </a:lnTo>
                    <a:lnTo>
                      <a:pt x="473" y="205"/>
                    </a:lnTo>
                    <a:lnTo>
                      <a:pt x="471" y="205"/>
                    </a:lnTo>
                    <a:lnTo>
                      <a:pt x="471" y="207"/>
                    </a:lnTo>
                    <a:lnTo>
                      <a:pt x="471" y="209"/>
                    </a:lnTo>
                    <a:lnTo>
                      <a:pt x="471" y="211"/>
                    </a:lnTo>
                    <a:lnTo>
                      <a:pt x="469" y="211"/>
                    </a:lnTo>
                    <a:lnTo>
                      <a:pt x="471" y="211"/>
                    </a:lnTo>
                    <a:lnTo>
                      <a:pt x="471" y="213"/>
                    </a:lnTo>
                    <a:lnTo>
                      <a:pt x="473" y="213"/>
                    </a:lnTo>
                    <a:lnTo>
                      <a:pt x="471" y="213"/>
                    </a:lnTo>
                    <a:lnTo>
                      <a:pt x="473" y="213"/>
                    </a:lnTo>
                    <a:lnTo>
                      <a:pt x="471" y="213"/>
                    </a:lnTo>
                    <a:lnTo>
                      <a:pt x="473" y="213"/>
                    </a:lnTo>
                    <a:lnTo>
                      <a:pt x="473" y="215"/>
                    </a:lnTo>
                    <a:lnTo>
                      <a:pt x="471" y="215"/>
                    </a:lnTo>
                    <a:lnTo>
                      <a:pt x="469" y="215"/>
                    </a:lnTo>
                    <a:lnTo>
                      <a:pt x="471" y="215"/>
                    </a:lnTo>
                    <a:lnTo>
                      <a:pt x="471" y="217"/>
                    </a:lnTo>
                    <a:lnTo>
                      <a:pt x="471" y="219"/>
                    </a:lnTo>
                    <a:lnTo>
                      <a:pt x="469" y="219"/>
                    </a:lnTo>
                    <a:lnTo>
                      <a:pt x="471" y="219"/>
                    </a:lnTo>
                    <a:lnTo>
                      <a:pt x="469" y="219"/>
                    </a:lnTo>
                    <a:lnTo>
                      <a:pt x="471" y="219"/>
                    </a:lnTo>
                    <a:lnTo>
                      <a:pt x="473" y="219"/>
                    </a:lnTo>
                    <a:lnTo>
                      <a:pt x="473" y="221"/>
                    </a:lnTo>
                    <a:lnTo>
                      <a:pt x="471" y="221"/>
                    </a:lnTo>
                    <a:lnTo>
                      <a:pt x="471" y="223"/>
                    </a:lnTo>
                    <a:lnTo>
                      <a:pt x="471" y="225"/>
                    </a:lnTo>
                    <a:lnTo>
                      <a:pt x="473" y="225"/>
                    </a:lnTo>
                    <a:lnTo>
                      <a:pt x="471" y="225"/>
                    </a:lnTo>
                    <a:lnTo>
                      <a:pt x="471" y="227"/>
                    </a:lnTo>
                    <a:lnTo>
                      <a:pt x="471" y="228"/>
                    </a:lnTo>
                    <a:lnTo>
                      <a:pt x="471" y="227"/>
                    </a:lnTo>
                    <a:lnTo>
                      <a:pt x="469" y="227"/>
                    </a:lnTo>
                    <a:lnTo>
                      <a:pt x="469" y="228"/>
                    </a:lnTo>
                    <a:lnTo>
                      <a:pt x="471" y="228"/>
                    </a:lnTo>
                    <a:lnTo>
                      <a:pt x="471" y="230"/>
                    </a:lnTo>
                    <a:lnTo>
                      <a:pt x="471" y="232"/>
                    </a:lnTo>
                    <a:lnTo>
                      <a:pt x="471" y="234"/>
                    </a:lnTo>
                    <a:lnTo>
                      <a:pt x="471" y="236"/>
                    </a:lnTo>
                    <a:lnTo>
                      <a:pt x="471" y="238"/>
                    </a:lnTo>
                    <a:lnTo>
                      <a:pt x="469" y="238"/>
                    </a:lnTo>
                    <a:lnTo>
                      <a:pt x="471" y="238"/>
                    </a:lnTo>
                    <a:lnTo>
                      <a:pt x="471" y="240"/>
                    </a:lnTo>
                    <a:lnTo>
                      <a:pt x="469" y="240"/>
                    </a:lnTo>
                    <a:lnTo>
                      <a:pt x="469" y="242"/>
                    </a:lnTo>
                    <a:lnTo>
                      <a:pt x="471" y="242"/>
                    </a:lnTo>
                    <a:lnTo>
                      <a:pt x="471" y="244"/>
                    </a:lnTo>
                    <a:lnTo>
                      <a:pt x="471" y="246"/>
                    </a:lnTo>
                    <a:lnTo>
                      <a:pt x="471" y="248"/>
                    </a:lnTo>
                    <a:lnTo>
                      <a:pt x="473" y="248"/>
                    </a:lnTo>
                    <a:lnTo>
                      <a:pt x="473" y="250"/>
                    </a:lnTo>
                    <a:lnTo>
                      <a:pt x="473" y="251"/>
                    </a:lnTo>
                    <a:lnTo>
                      <a:pt x="473" y="253"/>
                    </a:lnTo>
                    <a:lnTo>
                      <a:pt x="475" y="253"/>
                    </a:lnTo>
                    <a:lnTo>
                      <a:pt x="473" y="253"/>
                    </a:lnTo>
                    <a:lnTo>
                      <a:pt x="471" y="253"/>
                    </a:lnTo>
                    <a:lnTo>
                      <a:pt x="471" y="251"/>
                    </a:lnTo>
                    <a:lnTo>
                      <a:pt x="469" y="253"/>
                    </a:lnTo>
                    <a:lnTo>
                      <a:pt x="469" y="251"/>
                    </a:lnTo>
                    <a:lnTo>
                      <a:pt x="469" y="253"/>
                    </a:lnTo>
                    <a:lnTo>
                      <a:pt x="469" y="255"/>
                    </a:lnTo>
                    <a:lnTo>
                      <a:pt x="471" y="255"/>
                    </a:lnTo>
                    <a:lnTo>
                      <a:pt x="469" y="255"/>
                    </a:lnTo>
                    <a:lnTo>
                      <a:pt x="469" y="257"/>
                    </a:lnTo>
                    <a:lnTo>
                      <a:pt x="469" y="255"/>
                    </a:lnTo>
                    <a:lnTo>
                      <a:pt x="469" y="257"/>
                    </a:lnTo>
                    <a:lnTo>
                      <a:pt x="467" y="255"/>
                    </a:lnTo>
                    <a:lnTo>
                      <a:pt x="467" y="257"/>
                    </a:lnTo>
                    <a:lnTo>
                      <a:pt x="467" y="259"/>
                    </a:lnTo>
                    <a:lnTo>
                      <a:pt x="467" y="261"/>
                    </a:lnTo>
                    <a:lnTo>
                      <a:pt x="465" y="261"/>
                    </a:lnTo>
                    <a:lnTo>
                      <a:pt x="465" y="259"/>
                    </a:lnTo>
                    <a:lnTo>
                      <a:pt x="465" y="257"/>
                    </a:lnTo>
                    <a:lnTo>
                      <a:pt x="463" y="257"/>
                    </a:lnTo>
                    <a:lnTo>
                      <a:pt x="463" y="259"/>
                    </a:lnTo>
                    <a:lnTo>
                      <a:pt x="463" y="261"/>
                    </a:lnTo>
                    <a:lnTo>
                      <a:pt x="465" y="261"/>
                    </a:lnTo>
                    <a:lnTo>
                      <a:pt x="465" y="263"/>
                    </a:lnTo>
                    <a:lnTo>
                      <a:pt x="467" y="263"/>
                    </a:lnTo>
                    <a:lnTo>
                      <a:pt x="465" y="265"/>
                    </a:lnTo>
                    <a:lnTo>
                      <a:pt x="465" y="267"/>
                    </a:lnTo>
                    <a:lnTo>
                      <a:pt x="467" y="267"/>
                    </a:lnTo>
                    <a:lnTo>
                      <a:pt x="467" y="269"/>
                    </a:lnTo>
                    <a:lnTo>
                      <a:pt x="465" y="269"/>
                    </a:lnTo>
                    <a:lnTo>
                      <a:pt x="465" y="271"/>
                    </a:lnTo>
                    <a:lnTo>
                      <a:pt x="465" y="273"/>
                    </a:lnTo>
                    <a:lnTo>
                      <a:pt x="465" y="271"/>
                    </a:lnTo>
                    <a:lnTo>
                      <a:pt x="463" y="271"/>
                    </a:lnTo>
                    <a:lnTo>
                      <a:pt x="463" y="269"/>
                    </a:lnTo>
                    <a:lnTo>
                      <a:pt x="461" y="269"/>
                    </a:lnTo>
                    <a:lnTo>
                      <a:pt x="461" y="267"/>
                    </a:lnTo>
                    <a:lnTo>
                      <a:pt x="463" y="267"/>
                    </a:lnTo>
                    <a:lnTo>
                      <a:pt x="463" y="265"/>
                    </a:lnTo>
                    <a:lnTo>
                      <a:pt x="461" y="265"/>
                    </a:lnTo>
                    <a:lnTo>
                      <a:pt x="461" y="263"/>
                    </a:lnTo>
                    <a:lnTo>
                      <a:pt x="461" y="261"/>
                    </a:lnTo>
                    <a:lnTo>
                      <a:pt x="459" y="261"/>
                    </a:lnTo>
                    <a:lnTo>
                      <a:pt x="459" y="259"/>
                    </a:lnTo>
                    <a:lnTo>
                      <a:pt x="457" y="259"/>
                    </a:lnTo>
                    <a:lnTo>
                      <a:pt x="455" y="259"/>
                    </a:lnTo>
                    <a:lnTo>
                      <a:pt x="455" y="257"/>
                    </a:lnTo>
                    <a:lnTo>
                      <a:pt x="457" y="257"/>
                    </a:lnTo>
                    <a:lnTo>
                      <a:pt x="455" y="257"/>
                    </a:lnTo>
                    <a:lnTo>
                      <a:pt x="455" y="255"/>
                    </a:lnTo>
                    <a:lnTo>
                      <a:pt x="453" y="255"/>
                    </a:lnTo>
                    <a:lnTo>
                      <a:pt x="453" y="253"/>
                    </a:lnTo>
                    <a:lnTo>
                      <a:pt x="455" y="253"/>
                    </a:lnTo>
                    <a:lnTo>
                      <a:pt x="453" y="253"/>
                    </a:lnTo>
                    <a:lnTo>
                      <a:pt x="453" y="251"/>
                    </a:lnTo>
                    <a:lnTo>
                      <a:pt x="455" y="253"/>
                    </a:lnTo>
                    <a:lnTo>
                      <a:pt x="455" y="251"/>
                    </a:lnTo>
                    <a:lnTo>
                      <a:pt x="455" y="253"/>
                    </a:lnTo>
                    <a:lnTo>
                      <a:pt x="455" y="251"/>
                    </a:lnTo>
                    <a:lnTo>
                      <a:pt x="457" y="251"/>
                    </a:lnTo>
                    <a:lnTo>
                      <a:pt x="455" y="251"/>
                    </a:lnTo>
                    <a:lnTo>
                      <a:pt x="457" y="251"/>
                    </a:lnTo>
                    <a:lnTo>
                      <a:pt x="457" y="250"/>
                    </a:lnTo>
                    <a:lnTo>
                      <a:pt x="455" y="250"/>
                    </a:lnTo>
                    <a:lnTo>
                      <a:pt x="455" y="251"/>
                    </a:lnTo>
                    <a:lnTo>
                      <a:pt x="455" y="250"/>
                    </a:lnTo>
                    <a:lnTo>
                      <a:pt x="455" y="251"/>
                    </a:lnTo>
                    <a:lnTo>
                      <a:pt x="455" y="250"/>
                    </a:lnTo>
                    <a:lnTo>
                      <a:pt x="453" y="250"/>
                    </a:lnTo>
                    <a:lnTo>
                      <a:pt x="455" y="250"/>
                    </a:lnTo>
                    <a:lnTo>
                      <a:pt x="453" y="250"/>
                    </a:lnTo>
                    <a:lnTo>
                      <a:pt x="453" y="248"/>
                    </a:lnTo>
                    <a:lnTo>
                      <a:pt x="453" y="246"/>
                    </a:lnTo>
                    <a:lnTo>
                      <a:pt x="453" y="244"/>
                    </a:lnTo>
                    <a:lnTo>
                      <a:pt x="453" y="242"/>
                    </a:lnTo>
                    <a:lnTo>
                      <a:pt x="452" y="242"/>
                    </a:lnTo>
                    <a:lnTo>
                      <a:pt x="452" y="244"/>
                    </a:lnTo>
                    <a:lnTo>
                      <a:pt x="450" y="244"/>
                    </a:lnTo>
                    <a:lnTo>
                      <a:pt x="452" y="244"/>
                    </a:lnTo>
                    <a:lnTo>
                      <a:pt x="450" y="246"/>
                    </a:lnTo>
                    <a:lnTo>
                      <a:pt x="450" y="244"/>
                    </a:lnTo>
                    <a:lnTo>
                      <a:pt x="450" y="246"/>
                    </a:lnTo>
                    <a:lnTo>
                      <a:pt x="448" y="246"/>
                    </a:lnTo>
                    <a:lnTo>
                      <a:pt x="448" y="248"/>
                    </a:lnTo>
                    <a:lnTo>
                      <a:pt x="446" y="248"/>
                    </a:lnTo>
                    <a:lnTo>
                      <a:pt x="446" y="250"/>
                    </a:lnTo>
                    <a:lnTo>
                      <a:pt x="446" y="251"/>
                    </a:lnTo>
                    <a:lnTo>
                      <a:pt x="446" y="253"/>
                    </a:lnTo>
                    <a:lnTo>
                      <a:pt x="444" y="253"/>
                    </a:lnTo>
                    <a:lnTo>
                      <a:pt x="446" y="253"/>
                    </a:lnTo>
                    <a:lnTo>
                      <a:pt x="446" y="255"/>
                    </a:lnTo>
                    <a:lnTo>
                      <a:pt x="444" y="255"/>
                    </a:lnTo>
                    <a:lnTo>
                      <a:pt x="446" y="257"/>
                    </a:lnTo>
                    <a:lnTo>
                      <a:pt x="444" y="257"/>
                    </a:lnTo>
                    <a:lnTo>
                      <a:pt x="444" y="259"/>
                    </a:lnTo>
                    <a:lnTo>
                      <a:pt x="444" y="257"/>
                    </a:lnTo>
                    <a:lnTo>
                      <a:pt x="444" y="259"/>
                    </a:lnTo>
                    <a:lnTo>
                      <a:pt x="442" y="259"/>
                    </a:lnTo>
                    <a:lnTo>
                      <a:pt x="442" y="257"/>
                    </a:lnTo>
                    <a:lnTo>
                      <a:pt x="440" y="257"/>
                    </a:lnTo>
                    <a:lnTo>
                      <a:pt x="442" y="257"/>
                    </a:lnTo>
                    <a:lnTo>
                      <a:pt x="440" y="257"/>
                    </a:lnTo>
                    <a:lnTo>
                      <a:pt x="442" y="255"/>
                    </a:lnTo>
                    <a:lnTo>
                      <a:pt x="440" y="255"/>
                    </a:lnTo>
                    <a:lnTo>
                      <a:pt x="442" y="255"/>
                    </a:lnTo>
                    <a:lnTo>
                      <a:pt x="440" y="255"/>
                    </a:lnTo>
                    <a:lnTo>
                      <a:pt x="442" y="255"/>
                    </a:lnTo>
                    <a:lnTo>
                      <a:pt x="440" y="255"/>
                    </a:lnTo>
                    <a:lnTo>
                      <a:pt x="442" y="255"/>
                    </a:lnTo>
                    <a:lnTo>
                      <a:pt x="440" y="253"/>
                    </a:lnTo>
                    <a:lnTo>
                      <a:pt x="442" y="253"/>
                    </a:lnTo>
                    <a:lnTo>
                      <a:pt x="440" y="253"/>
                    </a:lnTo>
                    <a:lnTo>
                      <a:pt x="442" y="253"/>
                    </a:lnTo>
                    <a:lnTo>
                      <a:pt x="442" y="251"/>
                    </a:lnTo>
                    <a:lnTo>
                      <a:pt x="440" y="251"/>
                    </a:lnTo>
                    <a:lnTo>
                      <a:pt x="440" y="250"/>
                    </a:lnTo>
                    <a:lnTo>
                      <a:pt x="440" y="248"/>
                    </a:lnTo>
                    <a:lnTo>
                      <a:pt x="440" y="246"/>
                    </a:lnTo>
                    <a:lnTo>
                      <a:pt x="438" y="246"/>
                    </a:lnTo>
                    <a:lnTo>
                      <a:pt x="436" y="244"/>
                    </a:lnTo>
                    <a:lnTo>
                      <a:pt x="434" y="244"/>
                    </a:lnTo>
                    <a:lnTo>
                      <a:pt x="432" y="244"/>
                    </a:lnTo>
                    <a:lnTo>
                      <a:pt x="432" y="242"/>
                    </a:lnTo>
                    <a:lnTo>
                      <a:pt x="434" y="242"/>
                    </a:lnTo>
                    <a:lnTo>
                      <a:pt x="432" y="242"/>
                    </a:lnTo>
                    <a:lnTo>
                      <a:pt x="434" y="242"/>
                    </a:lnTo>
                    <a:lnTo>
                      <a:pt x="432" y="242"/>
                    </a:lnTo>
                    <a:lnTo>
                      <a:pt x="432" y="240"/>
                    </a:lnTo>
                    <a:lnTo>
                      <a:pt x="430" y="240"/>
                    </a:lnTo>
                    <a:lnTo>
                      <a:pt x="430" y="242"/>
                    </a:lnTo>
                    <a:lnTo>
                      <a:pt x="430" y="244"/>
                    </a:lnTo>
                    <a:lnTo>
                      <a:pt x="428" y="244"/>
                    </a:lnTo>
                    <a:lnTo>
                      <a:pt x="428" y="242"/>
                    </a:lnTo>
                    <a:lnTo>
                      <a:pt x="428" y="244"/>
                    </a:lnTo>
                    <a:lnTo>
                      <a:pt x="428" y="242"/>
                    </a:lnTo>
                    <a:lnTo>
                      <a:pt x="428" y="240"/>
                    </a:lnTo>
                    <a:lnTo>
                      <a:pt x="430" y="240"/>
                    </a:lnTo>
                    <a:lnTo>
                      <a:pt x="430" y="238"/>
                    </a:lnTo>
                    <a:lnTo>
                      <a:pt x="430" y="240"/>
                    </a:lnTo>
                    <a:lnTo>
                      <a:pt x="432" y="240"/>
                    </a:lnTo>
                    <a:lnTo>
                      <a:pt x="430" y="240"/>
                    </a:lnTo>
                    <a:lnTo>
                      <a:pt x="432" y="240"/>
                    </a:lnTo>
                    <a:lnTo>
                      <a:pt x="432" y="238"/>
                    </a:lnTo>
                    <a:lnTo>
                      <a:pt x="432" y="236"/>
                    </a:lnTo>
                    <a:lnTo>
                      <a:pt x="432" y="238"/>
                    </a:lnTo>
                    <a:lnTo>
                      <a:pt x="430" y="238"/>
                    </a:lnTo>
                    <a:lnTo>
                      <a:pt x="432" y="238"/>
                    </a:lnTo>
                    <a:lnTo>
                      <a:pt x="430" y="238"/>
                    </a:lnTo>
                    <a:lnTo>
                      <a:pt x="428" y="238"/>
                    </a:lnTo>
                    <a:lnTo>
                      <a:pt x="428" y="236"/>
                    </a:lnTo>
                    <a:lnTo>
                      <a:pt x="428" y="234"/>
                    </a:lnTo>
                    <a:lnTo>
                      <a:pt x="427" y="234"/>
                    </a:lnTo>
                    <a:lnTo>
                      <a:pt x="428" y="234"/>
                    </a:lnTo>
                    <a:lnTo>
                      <a:pt x="428" y="232"/>
                    </a:lnTo>
                    <a:lnTo>
                      <a:pt x="430" y="232"/>
                    </a:lnTo>
                    <a:lnTo>
                      <a:pt x="430" y="230"/>
                    </a:lnTo>
                    <a:lnTo>
                      <a:pt x="430" y="232"/>
                    </a:lnTo>
                    <a:lnTo>
                      <a:pt x="428" y="232"/>
                    </a:lnTo>
                    <a:lnTo>
                      <a:pt x="428" y="230"/>
                    </a:lnTo>
                    <a:lnTo>
                      <a:pt x="428" y="228"/>
                    </a:lnTo>
                    <a:lnTo>
                      <a:pt x="428" y="227"/>
                    </a:lnTo>
                    <a:lnTo>
                      <a:pt x="427" y="227"/>
                    </a:lnTo>
                    <a:lnTo>
                      <a:pt x="427" y="228"/>
                    </a:lnTo>
                    <a:lnTo>
                      <a:pt x="427" y="227"/>
                    </a:lnTo>
                    <a:lnTo>
                      <a:pt x="427" y="225"/>
                    </a:lnTo>
                    <a:lnTo>
                      <a:pt x="427" y="223"/>
                    </a:lnTo>
                    <a:lnTo>
                      <a:pt x="428" y="223"/>
                    </a:lnTo>
                    <a:lnTo>
                      <a:pt x="428" y="221"/>
                    </a:lnTo>
                    <a:lnTo>
                      <a:pt x="427" y="221"/>
                    </a:lnTo>
                    <a:lnTo>
                      <a:pt x="428" y="221"/>
                    </a:lnTo>
                    <a:lnTo>
                      <a:pt x="428" y="219"/>
                    </a:lnTo>
                    <a:lnTo>
                      <a:pt x="427" y="219"/>
                    </a:lnTo>
                    <a:lnTo>
                      <a:pt x="427" y="217"/>
                    </a:lnTo>
                    <a:lnTo>
                      <a:pt x="425" y="217"/>
                    </a:lnTo>
                    <a:lnTo>
                      <a:pt x="427" y="217"/>
                    </a:lnTo>
                    <a:lnTo>
                      <a:pt x="425" y="217"/>
                    </a:lnTo>
                    <a:lnTo>
                      <a:pt x="425" y="215"/>
                    </a:lnTo>
                    <a:lnTo>
                      <a:pt x="425" y="213"/>
                    </a:lnTo>
                    <a:lnTo>
                      <a:pt x="425" y="211"/>
                    </a:lnTo>
                    <a:lnTo>
                      <a:pt x="423" y="211"/>
                    </a:lnTo>
                    <a:lnTo>
                      <a:pt x="423" y="213"/>
                    </a:lnTo>
                    <a:lnTo>
                      <a:pt x="421" y="211"/>
                    </a:lnTo>
                    <a:lnTo>
                      <a:pt x="423" y="211"/>
                    </a:lnTo>
                    <a:lnTo>
                      <a:pt x="423" y="209"/>
                    </a:lnTo>
                    <a:lnTo>
                      <a:pt x="423" y="207"/>
                    </a:lnTo>
                    <a:lnTo>
                      <a:pt x="423" y="205"/>
                    </a:lnTo>
                    <a:lnTo>
                      <a:pt x="421" y="205"/>
                    </a:lnTo>
                    <a:lnTo>
                      <a:pt x="421" y="203"/>
                    </a:lnTo>
                    <a:lnTo>
                      <a:pt x="419" y="203"/>
                    </a:lnTo>
                    <a:lnTo>
                      <a:pt x="419" y="205"/>
                    </a:lnTo>
                    <a:lnTo>
                      <a:pt x="419" y="203"/>
                    </a:lnTo>
                    <a:lnTo>
                      <a:pt x="419" y="202"/>
                    </a:lnTo>
                    <a:lnTo>
                      <a:pt x="417" y="202"/>
                    </a:lnTo>
                    <a:lnTo>
                      <a:pt x="417" y="200"/>
                    </a:lnTo>
                    <a:lnTo>
                      <a:pt x="415" y="200"/>
                    </a:lnTo>
                    <a:lnTo>
                      <a:pt x="415" y="198"/>
                    </a:lnTo>
                    <a:lnTo>
                      <a:pt x="415" y="200"/>
                    </a:lnTo>
                    <a:lnTo>
                      <a:pt x="415" y="198"/>
                    </a:lnTo>
                    <a:lnTo>
                      <a:pt x="413" y="198"/>
                    </a:lnTo>
                    <a:lnTo>
                      <a:pt x="415" y="198"/>
                    </a:lnTo>
                    <a:lnTo>
                      <a:pt x="415" y="196"/>
                    </a:lnTo>
                    <a:lnTo>
                      <a:pt x="413" y="196"/>
                    </a:lnTo>
                    <a:lnTo>
                      <a:pt x="413" y="194"/>
                    </a:lnTo>
                    <a:lnTo>
                      <a:pt x="415" y="194"/>
                    </a:lnTo>
                    <a:lnTo>
                      <a:pt x="415" y="192"/>
                    </a:lnTo>
                    <a:lnTo>
                      <a:pt x="413" y="192"/>
                    </a:lnTo>
                    <a:lnTo>
                      <a:pt x="415" y="192"/>
                    </a:lnTo>
                    <a:lnTo>
                      <a:pt x="415" y="194"/>
                    </a:lnTo>
                    <a:lnTo>
                      <a:pt x="413" y="194"/>
                    </a:lnTo>
                    <a:lnTo>
                      <a:pt x="413" y="196"/>
                    </a:lnTo>
                    <a:lnTo>
                      <a:pt x="415" y="196"/>
                    </a:lnTo>
                    <a:lnTo>
                      <a:pt x="415" y="198"/>
                    </a:lnTo>
                    <a:lnTo>
                      <a:pt x="413" y="198"/>
                    </a:lnTo>
                    <a:lnTo>
                      <a:pt x="415" y="198"/>
                    </a:lnTo>
                    <a:lnTo>
                      <a:pt x="413" y="198"/>
                    </a:lnTo>
                    <a:lnTo>
                      <a:pt x="413" y="200"/>
                    </a:lnTo>
                    <a:lnTo>
                      <a:pt x="411" y="202"/>
                    </a:lnTo>
                    <a:lnTo>
                      <a:pt x="413" y="202"/>
                    </a:lnTo>
                    <a:lnTo>
                      <a:pt x="413" y="203"/>
                    </a:lnTo>
                    <a:lnTo>
                      <a:pt x="411" y="203"/>
                    </a:lnTo>
                    <a:lnTo>
                      <a:pt x="411" y="205"/>
                    </a:lnTo>
                    <a:lnTo>
                      <a:pt x="411" y="207"/>
                    </a:lnTo>
                    <a:lnTo>
                      <a:pt x="411" y="209"/>
                    </a:lnTo>
                    <a:lnTo>
                      <a:pt x="411" y="211"/>
                    </a:lnTo>
                    <a:lnTo>
                      <a:pt x="411" y="213"/>
                    </a:lnTo>
                    <a:lnTo>
                      <a:pt x="413" y="213"/>
                    </a:lnTo>
                    <a:lnTo>
                      <a:pt x="411" y="213"/>
                    </a:lnTo>
                    <a:lnTo>
                      <a:pt x="411" y="215"/>
                    </a:lnTo>
                    <a:lnTo>
                      <a:pt x="413" y="215"/>
                    </a:lnTo>
                    <a:lnTo>
                      <a:pt x="413" y="217"/>
                    </a:lnTo>
                    <a:lnTo>
                      <a:pt x="411" y="217"/>
                    </a:lnTo>
                    <a:lnTo>
                      <a:pt x="413" y="217"/>
                    </a:lnTo>
                    <a:lnTo>
                      <a:pt x="413" y="219"/>
                    </a:lnTo>
                    <a:lnTo>
                      <a:pt x="411" y="219"/>
                    </a:lnTo>
                    <a:lnTo>
                      <a:pt x="409" y="219"/>
                    </a:lnTo>
                    <a:lnTo>
                      <a:pt x="411" y="219"/>
                    </a:lnTo>
                    <a:lnTo>
                      <a:pt x="411" y="221"/>
                    </a:lnTo>
                    <a:lnTo>
                      <a:pt x="409" y="221"/>
                    </a:lnTo>
                    <a:lnTo>
                      <a:pt x="407" y="221"/>
                    </a:lnTo>
                    <a:lnTo>
                      <a:pt x="409" y="221"/>
                    </a:lnTo>
                    <a:lnTo>
                      <a:pt x="409" y="223"/>
                    </a:lnTo>
                    <a:lnTo>
                      <a:pt x="407" y="223"/>
                    </a:lnTo>
                    <a:lnTo>
                      <a:pt x="407" y="225"/>
                    </a:lnTo>
                    <a:lnTo>
                      <a:pt x="407" y="227"/>
                    </a:lnTo>
                    <a:lnTo>
                      <a:pt x="405" y="227"/>
                    </a:lnTo>
                    <a:lnTo>
                      <a:pt x="405" y="225"/>
                    </a:lnTo>
                    <a:lnTo>
                      <a:pt x="403" y="225"/>
                    </a:lnTo>
                    <a:lnTo>
                      <a:pt x="403" y="223"/>
                    </a:lnTo>
                    <a:lnTo>
                      <a:pt x="403" y="221"/>
                    </a:lnTo>
                    <a:lnTo>
                      <a:pt x="402" y="221"/>
                    </a:lnTo>
                    <a:lnTo>
                      <a:pt x="402" y="219"/>
                    </a:lnTo>
                    <a:lnTo>
                      <a:pt x="402" y="217"/>
                    </a:lnTo>
                    <a:lnTo>
                      <a:pt x="400" y="219"/>
                    </a:lnTo>
                    <a:lnTo>
                      <a:pt x="402" y="219"/>
                    </a:lnTo>
                    <a:lnTo>
                      <a:pt x="400" y="221"/>
                    </a:lnTo>
                    <a:lnTo>
                      <a:pt x="402" y="221"/>
                    </a:lnTo>
                    <a:lnTo>
                      <a:pt x="402" y="223"/>
                    </a:lnTo>
                    <a:lnTo>
                      <a:pt x="400" y="223"/>
                    </a:lnTo>
                    <a:lnTo>
                      <a:pt x="400" y="221"/>
                    </a:lnTo>
                    <a:lnTo>
                      <a:pt x="400" y="223"/>
                    </a:lnTo>
                    <a:lnTo>
                      <a:pt x="398" y="223"/>
                    </a:lnTo>
                    <a:lnTo>
                      <a:pt x="398" y="221"/>
                    </a:lnTo>
                    <a:lnTo>
                      <a:pt x="396" y="221"/>
                    </a:lnTo>
                    <a:lnTo>
                      <a:pt x="396" y="219"/>
                    </a:lnTo>
                    <a:lnTo>
                      <a:pt x="394" y="217"/>
                    </a:lnTo>
                    <a:lnTo>
                      <a:pt x="392" y="217"/>
                    </a:lnTo>
                    <a:lnTo>
                      <a:pt x="390" y="219"/>
                    </a:lnTo>
                    <a:lnTo>
                      <a:pt x="388" y="219"/>
                    </a:lnTo>
                    <a:lnTo>
                      <a:pt x="386" y="221"/>
                    </a:lnTo>
                    <a:lnTo>
                      <a:pt x="384" y="221"/>
                    </a:lnTo>
                    <a:lnTo>
                      <a:pt x="384" y="223"/>
                    </a:lnTo>
                    <a:lnTo>
                      <a:pt x="384" y="225"/>
                    </a:lnTo>
                    <a:lnTo>
                      <a:pt x="382" y="225"/>
                    </a:lnTo>
                    <a:lnTo>
                      <a:pt x="382" y="227"/>
                    </a:lnTo>
                    <a:lnTo>
                      <a:pt x="382" y="228"/>
                    </a:lnTo>
                    <a:lnTo>
                      <a:pt x="384" y="228"/>
                    </a:lnTo>
                    <a:lnTo>
                      <a:pt x="382" y="228"/>
                    </a:lnTo>
                    <a:lnTo>
                      <a:pt x="384" y="228"/>
                    </a:lnTo>
                    <a:lnTo>
                      <a:pt x="384" y="230"/>
                    </a:lnTo>
                    <a:lnTo>
                      <a:pt x="384" y="232"/>
                    </a:lnTo>
                    <a:lnTo>
                      <a:pt x="384" y="230"/>
                    </a:lnTo>
                    <a:lnTo>
                      <a:pt x="382" y="230"/>
                    </a:lnTo>
                    <a:lnTo>
                      <a:pt x="382" y="232"/>
                    </a:lnTo>
                    <a:lnTo>
                      <a:pt x="380" y="232"/>
                    </a:lnTo>
                    <a:lnTo>
                      <a:pt x="379" y="232"/>
                    </a:lnTo>
                    <a:lnTo>
                      <a:pt x="379" y="234"/>
                    </a:lnTo>
                    <a:lnTo>
                      <a:pt x="377" y="234"/>
                    </a:lnTo>
                    <a:lnTo>
                      <a:pt x="377" y="236"/>
                    </a:lnTo>
                    <a:lnTo>
                      <a:pt x="377" y="238"/>
                    </a:lnTo>
                    <a:lnTo>
                      <a:pt x="375" y="238"/>
                    </a:lnTo>
                    <a:lnTo>
                      <a:pt x="373" y="238"/>
                    </a:lnTo>
                    <a:lnTo>
                      <a:pt x="371" y="240"/>
                    </a:lnTo>
                    <a:lnTo>
                      <a:pt x="371" y="242"/>
                    </a:lnTo>
                    <a:lnTo>
                      <a:pt x="371" y="244"/>
                    </a:lnTo>
                    <a:lnTo>
                      <a:pt x="371" y="246"/>
                    </a:lnTo>
                    <a:lnTo>
                      <a:pt x="369" y="246"/>
                    </a:lnTo>
                    <a:lnTo>
                      <a:pt x="371" y="246"/>
                    </a:lnTo>
                    <a:lnTo>
                      <a:pt x="371" y="248"/>
                    </a:lnTo>
                    <a:lnTo>
                      <a:pt x="369" y="248"/>
                    </a:lnTo>
                    <a:lnTo>
                      <a:pt x="371" y="248"/>
                    </a:lnTo>
                    <a:lnTo>
                      <a:pt x="369" y="248"/>
                    </a:lnTo>
                    <a:lnTo>
                      <a:pt x="371" y="248"/>
                    </a:lnTo>
                    <a:lnTo>
                      <a:pt x="369" y="248"/>
                    </a:lnTo>
                    <a:lnTo>
                      <a:pt x="369" y="250"/>
                    </a:lnTo>
                    <a:lnTo>
                      <a:pt x="367" y="250"/>
                    </a:lnTo>
                    <a:lnTo>
                      <a:pt x="365" y="250"/>
                    </a:lnTo>
                    <a:lnTo>
                      <a:pt x="363" y="250"/>
                    </a:lnTo>
                    <a:lnTo>
                      <a:pt x="361" y="250"/>
                    </a:lnTo>
                    <a:lnTo>
                      <a:pt x="359" y="251"/>
                    </a:lnTo>
                    <a:lnTo>
                      <a:pt x="359" y="253"/>
                    </a:lnTo>
                    <a:lnTo>
                      <a:pt x="357" y="253"/>
                    </a:lnTo>
                    <a:lnTo>
                      <a:pt x="355" y="253"/>
                    </a:lnTo>
                    <a:lnTo>
                      <a:pt x="355" y="255"/>
                    </a:lnTo>
                    <a:lnTo>
                      <a:pt x="354" y="255"/>
                    </a:lnTo>
                    <a:lnTo>
                      <a:pt x="354" y="257"/>
                    </a:lnTo>
                    <a:lnTo>
                      <a:pt x="354" y="259"/>
                    </a:lnTo>
                    <a:lnTo>
                      <a:pt x="354" y="261"/>
                    </a:lnTo>
                    <a:lnTo>
                      <a:pt x="355" y="261"/>
                    </a:lnTo>
                    <a:lnTo>
                      <a:pt x="355" y="263"/>
                    </a:lnTo>
                    <a:lnTo>
                      <a:pt x="354" y="263"/>
                    </a:lnTo>
                    <a:lnTo>
                      <a:pt x="354" y="265"/>
                    </a:lnTo>
                    <a:lnTo>
                      <a:pt x="352" y="265"/>
                    </a:lnTo>
                    <a:lnTo>
                      <a:pt x="352" y="267"/>
                    </a:lnTo>
                    <a:lnTo>
                      <a:pt x="350" y="269"/>
                    </a:lnTo>
                    <a:lnTo>
                      <a:pt x="350" y="271"/>
                    </a:lnTo>
                    <a:lnTo>
                      <a:pt x="350" y="273"/>
                    </a:lnTo>
                    <a:lnTo>
                      <a:pt x="350" y="275"/>
                    </a:lnTo>
                    <a:lnTo>
                      <a:pt x="350" y="276"/>
                    </a:lnTo>
                    <a:lnTo>
                      <a:pt x="350" y="278"/>
                    </a:lnTo>
                    <a:lnTo>
                      <a:pt x="350" y="280"/>
                    </a:lnTo>
                    <a:lnTo>
                      <a:pt x="348" y="282"/>
                    </a:lnTo>
                    <a:lnTo>
                      <a:pt x="346" y="282"/>
                    </a:lnTo>
                    <a:lnTo>
                      <a:pt x="346" y="284"/>
                    </a:lnTo>
                    <a:lnTo>
                      <a:pt x="346" y="282"/>
                    </a:lnTo>
                    <a:lnTo>
                      <a:pt x="346" y="284"/>
                    </a:lnTo>
                    <a:lnTo>
                      <a:pt x="346" y="286"/>
                    </a:lnTo>
                    <a:lnTo>
                      <a:pt x="348" y="286"/>
                    </a:lnTo>
                    <a:lnTo>
                      <a:pt x="348" y="288"/>
                    </a:lnTo>
                    <a:lnTo>
                      <a:pt x="348" y="290"/>
                    </a:lnTo>
                    <a:lnTo>
                      <a:pt x="350" y="290"/>
                    </a:lnTo>
                    <a:lnTo>
                      <a:pt x="350" y="292"/>
                    </a:lnTo>
                    <a:lnTo>
                      <a:pt x="352" y="294"/>
                    </a:lnTo>
                    <a:lnTo>
                      <a:pt x="354" y="296"/>
                    </a:lnTo>
                    <a:lnTo>
                      <a:pt x="354" y="298"/>
                    </a:lnTo>
                    <a:lnTo>
                      <a:pt x="355" y="298"/>
                    </a:lnTo>
                    <a:lnTo>
                      <a:pt x="355" y="300"/>
                    </a:lnTo>
                    <a:lnTo>
                      <a:pt x="357" y="300"/>
                    </a:lnTo>
                    <a:lnTo>
                      <a:pt x="355" y="300"/>
                    </a:lnTo>
                    <a:lnTo>
                      <a:pt x="357" y="300"/>
                    </a:lnTo>
                    <a:lnTo>
                      <a:pt x="357" y="301"/>
                    </a:lnTo>
                    <a:lnTo>
                      <a:pt x="355" y="301"/>
                    </a:lnTo>
                    <a:lnTo>
                      <a:pt x="354" y="303"/>
                    </a:lnTo>
                    <a:lnTo>
                      <a:pt x="354" y="305"/>
                    </a:lnTo>
                    <a:lnTo>
                      <a:pt x="354" y="307"/>
                    </a:lnTo>
                    <a:lnTo>
                      <a:pt x="354" y="309"/>
                    </a:lnTo>
                    <a:lnTo>
                      <a:pt x="354" y="311"/>
                    </a:lnTo>
                    <a:lnTo>
                      <a:pt x="354" y="313"/>
                    </a:lnTo>
                    <a:lnTo>
                      <a:pt x="354" y="315"/>
                    </a:lnTo>
                    <a:lnTo>
                      <a:pt x="352" y="317"/>
                    </a:lnTo>
                    <a:lnTo>
                      <a:pt x="352" y="319"/>
                    </a:lnTo>
                    <a:lnTo>
                      <a:pt x="352" y="321"/>
                    </a:lnTo>
                    <a:lnTo>
                      <a:pt x="352" y="323"/>
                    </a:lnTo>
                    <a:lnTo>
                      <a:pt x="352" y="325"/>
                    </a:lnTo>
                    <a:lnTo>
                      <a:pt x="352" y="326"/>
                    </a:lnTo>
                    <a:lnTo>
                      <a:pt x="352" y="325"/>
                    </a:lnTo>
                    <a:lnTo>
                      <a:pt x="352" y="326"/>
                    </a:lnTo>
                    <a:lnTo>
                      <a:pt x="352" y="328"/>
                    </a:lnTo>
                    <a:lnTo>
                      <a:pt x="354" y="328"/>
                    </a:lnTo>
                    <a:lnTo>
                      <a:pt x="352" y="328"/>
                    </a:lnTo>
                    <a:lnTo>
                      <a:pt x="354" y="328"/>
                    </a:lnTo>
                    <a:lnTo>
                      <a:pt x="352" y="330"/>
                    </a:lnTo>
                    <a:lnTo>
                      <a:pt x="354" y="330"/>
                    </a:lnTo>
                    <a:lnTo>
                      <a:pt x="354" y="332"/>
                    </a:lnTo>
                    <a:lnTo>
                      <a:pt x="354" y="334"/>
                    </a:lnTo>
                    <a:lnTo>
                      <a:pt x="355" y="334"/>
                    </a:lnTo>
                    <a:lnTo>
                      <a:pt x="354" y="334"/>
                    </a:lnTo>
                    <a:lnTo>
                      <a:pt x="355" y="334"/>
                    </a:lnTo>
                    <a:lnTo>
                      <a:pt x="355" y="336"/>
                    </a:lnTo>
                    <a:lnTo>
                      <a:pt x="355" y="338"/>
                    </a:lnTo>
                    <a:lnTo>
                      <a:pt x="357" y="338"/>
                    </a:lnTo>
                    <a:lnTo>
                      <a:pt x="357" y="340"/>
                    </a:lnTo>
                    <a:lnTo>
                      <a:pt x="359" y="340"/>
                    </a:lnTo>
                    <a:lnTo>
                      <a:pt x="357" y="340"/>
                    </a:lnTo>
                    <a:lnTo>
                      <a:pt x="355" y="340"/>
                    </a:lnTo>
                    <a:lnTo>
                      <a:pt x="355" y="342"/>
                    </a:lnTo>
                    <a:lnTo>
                      <a:pt x="355" y="344"/>
                    </a:lnTo>
                    <a:lnTo>
                      <a:pt x="355" y="346"/>
                    </a:lnTo>
                    <a:lnTo>
                      <a:pt x="355" y="348"/>
                    </a:lnTo>
                    <a:lnTo>
                      <a:pt x="354" y="348"/>
                    </a:lnTo>
                    <a:lnTo>
                      <a:pt x="354" y="350"/>
                    </a:lnTo>
                    <a:lnTo>
                      <a:pt x="354" y="351"/>
                    </a:lnTo>
                    <a:lnTo>
                      <a:pt x="354" y="353"/>
                    </a:lnTo>
                    <a:lnTo>
                      <a:pt x="354" y="355"/>
                    </a:lnTo>
                    <a:lnTo>
                      <a:pt x="355" y="357"/>
                    </a:lnTo>
                    <a:lnTo>
                      <a:pt x="354" y="357"/>
                    </a:lnTo>
                    <a:lnTo>
                      <a:pt x="355" y="359"/>
                    </a:lnTo>
                    <a:lnTo>
                      <a:pt x="354" y="359"/>
                    </a:lnTo>
                    <a:lnTo>
                      <a:pt x="352" y="359"/>
                    </a:lnTo>
                    <a:lnTo>
                      <a:pt x="352" y="361"/>
                    </a:lnTo>
                    <a:lnTo>
                      <a:pt x="352" y="363"/>
                    </a:lnTo>
                    <a:lnTo>
                      <a:pt x="352" y="365"/>
                    </a:lnTo>
                    <a:lnTo>
                      <a:pt x="352" y="367"/>
                    </a:lnTo>
                    <a:lnTo>
                      <a:pt x="352" y="369"/>
                    </a:lnTo>
                    <a:lnTo>
                      <a:pt x="352" y="371"/>
                    </a:lnTo>
                    <a:lnTo>
                      <a:pt x="350" y="371"/>
                    </a:lnTo>
                    <a:lnTo>
                      <a:pt x="350" y="373"/>
                    </a:lnTo>
                    <a:lnTo>
                      <a:pt x="350" y="375"/>
                    </a:lnTo>
                    <a:lnTo>
                      <a:pt x="348" y="375"/>
                    </a:lnTo>
                    <a:lnTo>
                      <a:pt x="348" y="376"/>
                    </a:lnTo>
                    <a:lnTo>
                      <a:pt x="348" y="378"/>
                    </a:lnTo>
                    <a:lnTo>
                      <a:pt x="348" y="380"/>
                    </a:lnTo>
                    <a:lnTo>
                      <a:pt x="348" y="384"/>
                    </a:lnTo>
                    <a:lnTo>
                      <a:pt x="350" y="386"/>
                    </a:lnTo>
                    <a:lnTo>
                      <a:pt x="350" y="388"/>
                    </a:lnTo>
                    <a:lnTo>
                      <a:pt x="348" y="388"/>
                    </a:lnTo>
                    <a:lnTo>
                      <a:pt x="348" y="386"/>
                    </a:lnTo>
                    <a:lnTo>
                      <a:pt x="350" y="388"/>
                    </a:lnTo>
                    <a:lnTo>
                      <a:pt x="350" y="386"/>
                    </a:lnTo>
                    <a:lnTo>
                      <a:pt x="348" y="386"/>
                    </a:lnTo>
                    <a:lnTo>
                      <a:pt x="350" y="386"/>
                    </a:lnTo>
                    <a:lnTo>
                      <a:pt x="348" y="386"/>
                    </a:lnTo>
                    <a:lnTo>
                      <a:pt x="348" y="388"/>
                    </a:lnTo>
                    <a:lnTo>
                      <a:pt x="348" y="390"/>
                    </a:lnTo>
                    <a:lnTo>
                      <a:pt x="348" y="388"/>
                    </a:lnTo>
                    <a:lnTo>
                      <a:pt x="348" y="390"/>
                    </a:lnTo>
                    <a:lnTo>
                      <a:pt x="350" y="394"/>
                    </a:lnTo>
                    <a:lnTo>
                      <a:pt x="350" y="398"/>
                    </a:lnTo>
                    <a:lnTo>
                      <a:pt x="350" y="400"/>
                    </a:lnTo>
                    <a:lnTo>
                      <a:pt x="350" y="401"/>
                    </a:lnTo>
                    <a:lnTo>
                      <a:pt x="352" y="401"/>
                    </a:lnTo>
                    <a:lnTo>
                      <a:pt x="352" y="403"/>
                    </a:lnTo>
                    <a:lnTo>
                      <a:pt x="352" y="405"/>
                    </a:lnTo>
                    <a:lnTo>
                      <a:pt x="354" y="407"/>
                    </a:lnTo>
                    <a:lnTo>
                      <a:pt x="354" y="405"/>
                    </a:lnTo>
                    <a:lnTo>
                      <a:pt x="352" y="405"/>
                    </a:lnTo>
                    <a:lnTo>
                      <a:pt x="352" y="403"/>
                    </a:lnTo>
                    <a:lnTo>
                      <a:pt x="350" y="401"/>
                    </a:lnTo>
                    <a:lnTo>
                      <a:pt x="350" y="400"/>
                    </a:lnTo>
                    <a:lnTo>
                      <a:pt x="350" y="396"/>
                    </a:lnTo>
                    <a:lnTo>
                      <a:pt x="348" y="396"/>
                    </a:lnTo>
                    <a:lnTo>
                      <a:pt x="350" y="398"/>
                    </a:lnTo>
                    <a:lnTo>
                      <a:pt x="348" y="398"/>
                    </a:lnTo>
                    <a:lnTo>
                      <a:pt x="348" y="400"/>
                    </a:lnTo>
                    <a:lnTo>
                      <a:pt x="346" y="400"/>
                    </a:lnTo>
                    <a:lnTo>
                      <a:pt x="346" y="401"/>
                    </a:lnTo>
                    <a:lnTo>
                      <a:pt x="348" y="401"/>
                    </a:lnTo>
                    <a:lnTo>
                      <a:pt x="348" y="403"/>
                    </a:lnTo>
                    <a:lnTo>
                      <a:pt x="350" y="403"/>
                    </a:lnTo>
                    <a:lnTo>
                      <a:pt x="350" y="405"/>
                    </a:lnTo>
                    <a:lnTo>
                      <a:pt x="352" y="405"/>
                    </a:lnTo>
                    <a:lnTo>
                      <a:pt x="354" y="407"/>
                    </a:lnTo>
                    <a:lnTo>
                      <a:pt x="354" y="409"/>
                    </a:lnTo>
                    <a:lnTo>
                      <a:pt x="354" y="407"/>
                    </a:lnTo>
                    <a:lnTo>
                      <a:pt x="355" y="409"/>
                    </a:lnTo>
                    <a:lnTo>
                      <a:pt x="354" y="411"/>
                    </a:lnTo>
                    <a:lnTo>
                      <a:pt x="354" y="409"/>
                    </a:lnTo>
                    <a:lnTo>
                      <a:pt x="355" y="409"/>
                    </a:lnTo>
                    <a:lnTo>
                      <a:pt x="354" y="409"/>
                    </a:lnTo>
                    <a:lnTo>
                      <a:pt x="352" y="409"/>
                    </a:lnTo>
                    <a:lnTo>
                      <a:pt x="352" y="411"/>
                    </a:lnTo>
                    <a:lnTo>
                      <a:pt x="350" y="411"/>
                    </a:lnTo>
                    <a:lnTo>
                      <a:pt x="350" y="413"/>
                    </a:lnTo>
                    <a:lnTo>
                      <a:pt x="350" y="415"/>
                    </a:lnTo>
                    <a:lnTo>
                      <a:pt x="348" y="415"/>
                    </a:lnTo>
                    <a:lnTo>
                      <a:pt x="350" y="415"/>
                    </a:lnTo>
                    <a:lnTo>
                      <a:pt x="348" y="415"/>
                    </a:lnTo>
                    <a:lnTo>
                      <a:pt x="350" y="415"/>
                    </a:lnTo>
                    <a:lnTo>
                      <a:pt x="350" y="417"/>
                    </a:lnTo>
                    <a:lnTo>
                      <a:pt x="352" y="417"/>
                    </a:lnTo>
                    <a:lnTo>
                      <a:pt x="352" y="419"/>
                    </a:lnTo>
                    <a:lnTo>
                      <a:pt x="354" y="421"/>
                    </a:lnTo>
                    <a:lnTo>
                      <a:pt x="355" y="423"/>
                    </a:lnTo>
                    <a:lnTo>
                      <a:pt x="357" y="425"/>
                    </a:lnTo>
                    <a:lnTo>
                      <a:pt x="359" y="425"/>
                    </a:lnTo>
                    <a:lnTo>
                      <a:pt x="359" y="426"/>
                    </a:lnTo>
                    <a:lnTo>
                      <a:pt x="361" y="426"/>
                    </a:lnTo>
                    <a:lnTo>
                      <a:pt x="363" y="428"/>
                    </a:lnTo>
                    <a:lnTo>
                      <a:pt x="361" y="428"/>
                    </a:lnTo>
                    <a:lnTo>
                      <a:pt x="361" y="426"/>
                    </a:lnTo>
                    <a:lnTo>
                      <a:pt x="359" y="426"/>
                    </a:lnTo>
                    <a:lnTo>
                      <a:pt x="359" y="425"/>
                    </a:lnTo>
                    <a:lnTo>
                      <a:pt x="357" y="425"/>
                    </a:lnTo>
                    <a:lnTo>
                      <a:pt x="357" y="426"/>
                    </a:lnTo>
                    <a:lnTo>
                      <a:pt x="357" y="428"/>
                    </a:lnTo>
                    <a:lnTo>
                      <a:pt x="359" y="428"/>
                    </a:lnTo>
                    <a:lnTo>
                      <a:pt x="359" y="430"/>
                    </a:lnTo>
                    <a:lnTo>
                      <a:pt x="359" y="432"/>
                    </a:lnTo>
                    <a:lnTo>
                      <a:pt x="359" y="434"/>
                    </a:lnTo>
                    <a:lnTo>
                      <a:pt x="359" y="436"/>
                    </a:lnTo>
                    <a:lnTo>
                      <a:pt x="357" y="436"/>
                    </a:lnTo>
                    <a:lnTo>
                      <a:pt x="359" y="436"/>
                    </a:lnTo>
                    <a:lnTo>
                      <a:pt x="359" y="438"/>
                    </a:lnTo>
                    <a:lnTo>
                      <a:pt x="361" y="438"/>
                    </a:lnTo>
                    <a:lnTo>
                      <a:pt x="363" y="440"/>
                    </a:lnTo>
                    <a:lnTo>
                      <a:pt x="361" y="440"/>
                    </a:lnTo>
                    <a:lnTo>
                      <a:pt x="363" y="440"/>
                    </a:lnTo>
                    <a:lnTo>
                      <a:pt x="363" y="442"/>
                    </a:lnTo>
                    <a:lnTo>
                      <a:pt x="363" y="444"/>
                    </a:lnTo>
                    <a:lnTo>
                      <a:pt x="363" y="442"/>
                    </a:lnTo>
                    <a:lnTo>
                      <a:pt x="363" y="440"/>
                    </a:lnTo>
                    <a:lnTo>
                      <a:pt x="363" y="438"/>
                    </a:lnTo>
                    <a:lnTo>
                      <a:pt x="363" y="440"/>
                    </a:lnTo>
                    <a:lnTo>
                      <a:pt x="365" y="438"/>
                    </a:lnTo>
                    <a:lnTo>
                      <a:pt x="367" y="438"/>
                    </a:lnTo>
                    <a:lnTo>
                      <a:pt x="367" y="436"/>
                    </a:lnTo>
                    <a:lnTo>
                      <a:pt x="367" y="434"/>
                    </a:lnTo>
                    <a:lnTo>
                      <a:pt x="367" y="432"/>
                    </a:lnTo>
                    <a:lnTo>
                      <a:pt x="365" y="432"/>
                    </a:lnTo>
                    <a:lnTo>
                      <a:pt x="367" y="430"/>
                    </a:lnTo>
                    <a:lnTo>
                      <a:pt x="365" y="430"/>
                    </a:lnTo>
                    <a:lnTo>
                      <a:pt x="367" y="430"/>
                    </a:lnTo>
                    <a:lnTo>
                      <a:pt x="367" y="432"/>
                    </a:lnTo>
                    <a:lnTo>
                      <a:pt x="369" y="432"/>
                    </a:lnTo>
                    <a:lnTo>
                      <a:pt x="367" y="432"/>
                    </a:lnTo>
                    <a:lnTo>
                      <a:pt x="367" y="434"/>
                    </a:lnTo>
                    <a:lnTo>
                      <a:pt x="369" y="434"/>
                    </a:lnTo>
                    <a:lnTo>
                      <a:pt x="371" y="434"/>
                    </a:lnTo>
                    <a:lnTo>
                      <a:pt x="371" y="436"/>
                    </a:lnTo>
                    <a:lnTo>
                      <a:pt x="373" y="436"/>
                    </a:lnTo>
                    <a:lnTo>
                      <a:pt x="373" y="438"/>
                    </a:lnTo>
                    <a:lnTo>
                      <a:pt x="373" y="436"/>
                    </a:lnTo>
                    <a:lnTo>
                      <a:pt x="371" y="436"/>
                    </a:lnTo>
                    <a:lnTo>
                      <a:pt x="373" y="436"/>
                    </a:lnTo>
                    <a:lnTo>
                      <a:pt x="373" y="434"/>
                    </a:lnTo>
                    <a:lnTo>
                      <a:pt x="373" y="436"/>
                    </a:lnTo>
                    <a:lnTo>
                      <a:pt x="373" y="434"/>
                    </a:lnTo>
                    <a:lnTo>
                      <a:pt x="375" y="434"/>
                    </a:lnTo>
                    <a:lnTo>
                      <a:pt x="373" y="434"/>
                    </a:lnTo>
                    <a:lnTo>
                      <a:pt x="375" y="432"/>
                    </a:lnTo>
                    <a:lnTo>
                      <a:pt x="373" y="432"/>
                    </a:lnTo>
                    <a:lnTo>
                      <a:pt x="373" y="434"/>
                    </a:lnTo>
                    <a:lnTo>
                      <a:pt x="371" y="432"/>
                    </a:lnTo>
                    <a:lnTo>
                      <a:pt x="369" y="432"/>
                    </a:lnTo>
                    <a:lnTo>
                      <a:pt x="369" y="430"/>
                    </a:lnTo>
                    <a:lnTo>
                      <a:pt x="367" y="430"/>
                    </a:lnTo>
                    <a:lnTo>
                      <a:pt x="365" y="428"/>
                    </a:lnTo>
                    <a:lnTo>
                      <a:pt x="367" y="428"/>
                    </a:lnTo>
                    <a:lnTo>
                      <a:pt x="369" y="428"/>
                    </a:lnTo>
                    <a:lnTo>
                      <a:pt x="371" y="428"/>
                    </a:lnTo>
                    <a:lnTo>
                      <a:pt x="371" y="426"/>
                    </a:lnTo>
                    <a:lnTo>
                      <a:pt x="373" y="426"/>
                    </a:lnTo>
                    <a:lnTo>
                      <a:pt x="371" y="426"/>
                    </a:lnTo>
                    <a:lnTo>
                      <a:pt x="373" y="426"/>
                    </a:lnTo>
                    <a:lnTo>
                      <a:pt x="373" y="425"/>
                    </a:lnTo>
                    <a:lnTo>
                      <a:pt x="373" y="426"/>
                    </a:lnTo>
                    <a:lnTo>
                      <a:pt x="375" y="426"/>
                    </a:lnTo>
                    <a:lnTo>
                      <a:pt x="377" y="426"/>
                    </a:lnTo>
                    <a:lnTo>
                      <a:pt x="379" y="426"/>
                    </a:lnTo>
                    <a:lnTo>
                      <a:pt x="380" y="426"/>
                    </a:lnTo>
                    <a:lnTo>
                      <a:pt x="380" y="425"/>
                    </a:lnTo>
                    <a:lnTo>
                      <a:pt x="382" y="425"/>
                    </a:lnTo>
                    <a:lnTo>
                      <a:pt x="380" y="425"/>
                    </a:lnTo>
                    <a:lnTo>
                      <a:pt x="380" y="423"/>
                    </a:lnTo>
                    <a:lnTo>
                      <a:pt x="382" y="423"/>
                    </a:lnTo>
                    <a:lnTo>
                      <a:pt x="384" y="423"/>
                    </a:lnTo>
                    <a:lnTo>
                      <a:pt x="384" y="425"/>
                    </a:lnTo>
                    <a:lnTo>
                      <a:pt x="386" y="425"/>
                    </a:lnTo>
                    <a:lnTo>
                      <a:pt x="388" y="425"/>
                    </a:lnTo>
                    <a:lnTo>
                      <a:pt x="388" y="426"/>
                    </a:lnTo>
                    <a:lnTo>
                      <a:pt x="390" y="426"/>
                    </a:lnTo>
                    <a:lnTo>
                      <a:pt x="392" y="425"/>
                    </a:lnTo>
                    <a:lnTo>
                      <a:pt x="392" y="426"/>
                    </a:lnTo>
                    <a:lnTo>
                      <a:pt x="392" y="425"/>
                    </a:lnTo>
                    <a:lnTo>
                      <a:pt x="392" y="426"/>
                    </a:lnTo>
                    <a:lnTo>
                      <a:pt x="394" y="426"/>
                    </a:lnTo>
                    <a:lnTo>
                      <a:pt x="394" y="428"/>
                    </a:lnTo>
                    <a:lnTo>
                      <a:pt x="396" y="428"/>
                    </a:lnTo>
                    <a:lnTo>
                      <a:pt x="394" y="428"/>
                    </a:lnTo>
                    <a:lnTo>
                      <a:pt x="394" y="430"/>
                    </a:lnTo>
                    <a:lnTo>
                      <a:pt x="396" y="430"/>
                    </a:lnTo>
                    <a:lnTo>
                      <a:pt x="396" y="432"/>
                    </a:lnTo>
                    <a:lnTo>
                      <a:pt x="398" y="432"/>
                    </a:lnTo>
                    <a:lnTo>
                      <a:pt x="398" y="434"/>
                    </a:lnTo>
                    <a:lnTo>
                      <a:pt x="396" y="434"/>
                    </a:lnTo>
                    <a:lnTo>
                      <a:pt x="398" y="434"/>
                    </a:lnTo>
                    <a:lnTo>
                      <a:pt x="398" y="436"/>
                    </a:lnTo>
                    <a:lnTo>
                      <a:pt x="400" y="436"/>
                    </a:lnTo>
                    <a:lnTo>
                      <a:pt x="398" y="436"/>
                    </a:lnTo>
                    <a:lnTo>
                      <a:pt x="396" y="438"/>
                    </a:lnTo>
                    <a:lnTo>
                      <a:pt x="396" y="440"/>
                    </a:lnTo>
                    <a:lnTo>
                      <a:pt x="394" y="438"/>
                    </a:lnTo>
                    <a:lnTo>
                      <a:pt x="394" y="440"/>
                    </a:lnTo>
                    <a:lnTo>
                      <a:pt x="392" y="440"/>
                    </a:lnTo>
                    <a:lnTo>
                      <a:pt x="390" y="442"/>
                    </a:lnTo>
                    <a:lnTo>
                      <a:pt x="390" y="444"/>
                    </a:lnTo>
                    <a:lnTo>
                      <a:pt x="392" y="446"/>
                    </a:lnTo>
                    <a:lnTo>
                      <a:pt x="390" y="446"/>
                    </a:lnTo>
                    <a:lnTo>
                      <a:pt x="388" y="446"/>
                    </a:lnTo>
                    <a:lnTo>
                      <a:pt x="386" y="446"/>
                    </a:lnTo>
                    <a:lnTo>
                      <a:pt x="384" y="446"/>
                    </a:lnTo>
                    <a:lnTo>
                      <a:pt x="382" y="446"/>
                    </a:lnTo>
                    <a:lnTo>
                      <a:pt x="380" y="446"/>
                    </a:lnTo>
                    <a:lnTo>
                      <a:pt x="379" y="448"/>
                    </a:lnTo>
                    <a:lnTo>
                      <a:pt x="379" y="450"/>
                    </a:lnTo>
                    <a:lnTo>
                      <a:pt x="377" y="450"/>
                    </a:lnTo>
                    <a:lnTo>
                      <a:pt x="379" y="450"/>
                    </a:lnTo>
                    <a:lnTo>
                      <a:pt x="379" y="451"/>
                    </a:lnTo>
                    <a:lnTo>
                      <a:pt x="380" y="451"/>
                    </a:lnTo>
                    <a:lnTo>
                      <a:pt x="380" y="453"/>
                    </a:lnTo>
                    <a:lnTo>
                      <a:pt x="380" y="455"/>
                    </a:lnTo>
                    <a:lnTo>
                      <a:pt x="380" y="453"/>
                    </a:lnTo>
                    <a:lnTo>
                      <a:pt x="380" y="455"/>
                    </a:lnTo>
                    <a:lnTo>
                      <a:pt x="380" y="457"/>
                    </a:lnTo>
                    <a:lnTo>
                      <a:pt x="379" y="457"/>
                    </a:lnTo>
                    <a:lnTo>
                      <a:pt x="377" y="459"/>
                    </a:lnTo>
                    <a:lnTo>
                      <a:pt x="377" y="461"/>
                    </a:lnTo>
                    <a:lnTo>
                      <a:pt x="377" y="463"/>
                    </a:lnTo>
                    <a:lnTo>
                      <a:pt x="375" y="463"/>
                    </a:lnTo>
                    <a:lnTo>
                      <a:pt x="373" y="463"/>
                    </a:lnTo>
                    <a:lnTo>
                      <a:pt x="371" y="463"/>
                    </a:lnTo>
                    <a:lnTo>
                      <a:pt x="369" y="463"/>
                    </a:lnTo>
                    <a:lnTo>
                      <a:pt x="371" y="463"/>
                    </a:lnTo>
                    <a:lnTo>
                      <a:pt x="369" y="463"/>
                    </a:lnTo>
                    <a:lnTo>
                      <a:pt x="369" y="461"/>
                    </a:lnTo>
                    <a:lnTo>
                      <a:pt x="367" y="461"/>
                    </a:lnTo>
                    <a:lnTo>
                      <a:pt x="367" y="459"/>
                    </a:lnTo>
                    <a:lnTo>
                      <a:pt x="365" y="459"/>
                    </a:lnTo>
                    <a:lnTo>
                      <a:pt x="365" y="461"/>
                    </a:lnTo>
                    <a:lnTo>
                      <a:pt x="363" y="461"/>
                    </a:lnTo>
                    <a:lnTo>
                      <a:pt x="361" y="461"/>
                    </a:lnTo>
                    <a:lnTo>
                      <a:pt x="361" y="459"/>
                    </a:lnTo>
                    <a:lnTo>
                      <a:pt x="363" y="459"/>
                    </a:lnTo>
                    <a:lnTo>
                      <a:pt x="361" y="459"/>
                    </a:lnTo>
                    <a:lnTo>
                      <a:pt x="363" y="459"/>
                    </a:lnTo>
                    <a:lnTo>
                      <a:pt x="361" y="457"/>
                    </a:lnTo>
                    <a:lnTo>
                      <a:pt x="361" y="459"/>
                    </a:lnTo>
                    <a:lnTo>
                      <a:pt x="359" y="459"/>
                    </a:lnTo>
                    <a:lnTo>
                      <a:pt x="361" y="459"/>
                    </a:lnTo>
                    <a:lnTo>
                      <a:pt x="361" y="461"/>
                    </a:lnTo>
                    <a:lnTo>
                      <a:pt x="359" y="461"/>
                    </a:lnTo>
                    <a:lnTo>
                      <a:pt x="359" y="463"/>
                    </a:lnTo>
                    <a:lnTo>
                      <a:pt x="357" y="461"/>
                    </a:lnTo>
                    <a:lnTo>
                      <a:pt x="355" y="461"/>
                    </a:lnTo>
                    <a:lnTo>
                      <a:pt x="355" y="463"/>
                    </a:lnTo>
                    <a:lnTo>
                      <a:pt x="354" y="463"/>
                    </a:lnTo>
                    <a:lnTo>
                      <a:pt x="354" y="465"/>
                    </a:lnTo>
                    <a:lnTo>
                      <a:pt x="352" y="465"/>
                    </a:lnTo>
                    <a:lnTo>
                      <a:pt x="354" y="465"/>
                    </a:lnTo>
                    <a:lnTo>
                      <a:pt x="354" y="463"/>
                    </a:lnTo>
                    <a:lnTo>
                      <a:pt x="352" y="463"/>
                    </a:lnTo>
                    <a:lnTo>
                      <a:pt x="352" y="465"/>
                    </a:lnTo>
                    <a:lnTo>
                      <a:pt x="354" y="465"/>
                    </a:lnTo>
                    <a:lnTo>
                      <a:pt x="352" y="467"/>
                    </a:lnTo>
                    <a:lnTo>
                      <a:pt x="354" y="467"/>
                    </a:lnTo>
                    <a:lnTo>
                      <a:pt x="354" y="469"/>
                    </a:lnTo>
                    <a:lnTo>
                      <a:pt x="354" y="471"/>
                    </a:lnTo>
                    <a:lnTo>
                      <a:pt x="354" y="469"/>
                    </a:lnTo>
                    <a:lnTo>
                      <a:pt x="354" y="471"/>
                    </a:lnTo>
                    <a:lnTo>
                      <a:pt x="354" y="469"/>
                    </a:lnTo>
                    <a:lnTo>
                      <a:pt x="354" y="471"/>
                    </a:lnTo>
                    <a:lnTo>
                      <a:pt x="354" y="473"/>
                    </a:lnTo>
                    <a:lnTo>
                      <a:pt x="354" y="471"/>
                    </a:lnTo>
                    <a:lnTo>
                      <a:pt x="354" y="473"/>
                    </a:lnTo>
                    <a:lnTo>
                      <a:pt x="354" y="471"/>
                    </a:lnTo>
                    <a:lnTo>
                      <a:pt x="355" y="471"/>
                    </a:lnTo>
                    <a:lnTo>
                      <a:pt x="355" y="473"/>
                    </a:lnTo>
                    <a:lnTo>
                      <a:pt x="355" y="471"/>
                    </a:lnTo>
                    <a:lnTo>
                      <a:pt x="355" y="473"/>
                    </a:lnTo>
                    <a:lnTo>
                      <a:pt x="355" y="475"/>
                    </a:lnTo>
                    <a:lnTo>
                      <a:pt x="354" y="475"/>
                    </a:lnTo>
                    <a:lnTo>
                      <a:pt x="354" y="476"/>
                    </a:lnTo>
                    <a:lnTo>
                      <a:pt x="352" y="476"/>
                    </a:lnTo>
                    <a:lnTo>
                      <a:pt x="350" y="476"/>
                    </a:lnTo>
                    <a:lnTo>
                      <a:pt x="350" y="478"/>
                    </a:lnTo>
                    <a:lnTo>
                      <a:pt x="350" y="480"/>
                    </a:lnTo>
                    <a:lnTo>
                      <a:pt x="350" y="482"/>
                    </a:lnTo>
                    <a:lnTo>
                      <a:pt x="350" y="484"/>
                    </a:lnTo>
                    <a:lnTo>
                      <a:pt x="350" y="486"/>
                    </a:lnTo>
                    <a:lnTo>
                      <a:pt x="350" y="488"/>
                    </a:lnTo>
                    <a:lnTo>
                      <a:pt x="352" y="488"/>
                    </a:lnTo>
                    <a:lnTo>
                      <a:pt x="352" y="490"/>
                    </a:lnTo>
                    <a:lnTo>
                      <a:pt x="350" y="490"/>
                    </a:lnTo>
                    <a:lnTo>
                      <a:pt x="350" y="492"/>
                    </a:lnTo>
                    <a:lnTo>
                      <a:pt x="348" y="492"/>
                    </a:lnTo>
                    <a:lnTo>
                      <a:pt x="348" y="494"/>
                    </a:lnTo>
                    <a:lnTo>
                      <a:pt x="346" y="494"/>
                    </a:lnTo>
                    <a:lnTo>
                      <a:pt x="344" y="494"/>
                    </a:lnTo>
                    <a:lnTo>
                      <a:pt x="342" y="494"/>
                    </a:lnTo>
                    <a:lnTo>
                      <a:pt x="340" y="494"/>
                    </a:lnTo>
                    <a:lnTo>
                      <a:pt x="340" y="492"/>
                    </a:lnTo>
                    <a:lnTo>
                      <a:pt x="338" y="492"/>
                    </a:lnTo>
                    <a:lnTo>
                      <a:pt x="336" y="492"/>
                    </a:lnTo>
                    <a:lnTo>
                      <a:pt x="334" y="492"/>
                    </a:lnTo>
                    <a:lnTo>
                      <a:pt x="332" y="492"/>
                    </a:lnTo>
                    <a:lnTo>
                      <a:pt x="334" y="492"/>
                    </a:lnTo>
                    <a:lnTo>
                      <a:pt x="332" y="492"/>
                    </a:lnTo>
                    <a:lnTo>
                      <a:pt x="332" y="494"/>
                    </a:lnTo>
                    <a:lnTo>
                      <a:pt x="334" y="494"/>
                    </a:lnTo>
                    <a:lnTo>
                      <a:pt x="332" y="494"/>
                    </a:lnTo>
                    <a:lnTo>
                      <a:pt x="332" y="496"/>
                    </a:lnTo>
                    <a:lnTo>
                      <a:pt x="332" y="498"/>
                    </a:lnTo>
                    <a:lnTo>
                      <a:pt x="330" y="498"/>
                    </a:lnTo>
                    <a:lnTo>
                      <a:pt x="330" y="499"/>
                    </a:lnTo>
                    <a:lnTo>
                      <a:pt x="330" y="501"/>
                    </a:lnTo>
                    <a:lnTo>
                      <a:pt x="332" y="501"/>
                    </a:lnTo>
                    <a:lnTo>
                      <a:pt x="332" y="503"/>
                    </a:lnTo>
                    <a:lnTo>
                      <a:pt x="332" y="505"/>
                    </a:lnTo>
                    <a:lnTo>
                      <a:pt x="330" y="505"/>
                    </a:lnTo>
                    <a:lnTo>
                      <a:pt x="330" y="507"/>
                    </a:lnTo>
                    <a:lnTo>
                      <a:pt x="329" y="507"/>
                    </a:lnTo>
                    <a:lnTo>
                      <a:pt x="329" y="509"/>
                    </a:lnTo>
                    <a:lnTo>
                      <a:pt x="327" y="509"/>
                    </a:lnTo>
                    <a:lnTo>
                      <a:pt x="327" y="511"/>
                    </a:lnTo>
                    <a:lnTo>
                      <a:pt x="327" y="509"/>
                    </a:lnTo>
                    <a:lnTo>
                      <a:pt x="327" y="511"/>
                    </a:lnTo>
                    <a:lnTo>
                      <a:pt x="325" y="511"/>
                    </a:lnTo>
                    <a:lnTo>
                      <a:pt x="325" y="513"/>
                    </a:lnTo>
                    <a:lnTo>
                      <a:pt x="325" y="515"/>
                    </a:lnTo>
                    <a:lnTo>
                      <a:pt x="323" y="515"/>
                    </a:lnTo>
                    <a:lnTo>
                      <a:pt x="321" y="515"/>
                    </a:lnTo>
                    <a:lnTo>
                      <a:pt x="319" y="515"/>
                    </a:lnTo>
                    <a:lnTo>
                      <a:pt x="319" y="517"/>
                    </a:lnTo>
                    <a:lnTo>
                      <a:pt x="317" y="517"/>
                    </a:lnTo>
                    <a:lnTo>
                      <a:pt x="317" y="519"/>
                    </a:lnTo>
                    <a:lnTo>
                      <a:pt x="315" y="519"/>
                    </a:lnTo>
                    <a:lnTo>
                      <a:pt x="315" y="521"/>
                    </a:lnTo>
                    <a:lnTo>
                      <a:pt x="313" y="519"/>
                    </a:lnTo>
                    <a:lnTo>
                      <a:pt x="311" y="519"/>
                    </a:lnTo>
                    <a:lnTo>
                      <a:pt x="311" y="517"/>
                    </a:lnTo>
                    <a:lnTo>
                      <a:pt x="309" y="517"/>
                    </a:lnTo>
                    <a:lnTo>
                      <a:pt x="307" y="517"/>
                    </a:lnTo>
                    <a:lnTo>
                      <a:pt x="307" y="515"/>
                    </a:lnTo>
                    <a:lnTo>
                      <a:pt x="305" y="515"/>
                    </a:lnTo>
                    <a:lnTo>
                      <a:pt x="305" y="513"/>
                    </a:lnTo>
                    <a:lnTo>
                      <a:pt x="304" y="513"/>
                    </a:lnTo>
                    <a:lnTo>
                      <a:pt x="302" y="513"/>
                    </a:lnTo>
                    <a:lnTo>
                      <a:pt x="302" y="511"/>
                    </a:lnTo>
                    <a:lnTo>
                      <a:pt x="300" y="511"/>
                    </a:lnTo>
                    <a:lnTo>
                      <a:pt x="300" y="509"/>
                    </a:lnTo>
                    <a:lnTo>
                      <a:pt x="298" y="509"/>
                    </a:lnTo>
                    <a:lnTo>
                      <a:pt x="300" y="509"/>
                    </a:lnTo>
                    <a:lnTo>
                      <a:pt x="302" y="509"/>
                    </a:lnTo>
                    <a:lnTo>
                      <a:pt x="302" y="507"/>
                    </a:lnTo>
                    <a:lnTo>
                      <a:pt x="304" y="507"/>
                    </a:lnTo>
                    <a:lnTo>
                      <a:pt x="304" y="505"/>
                    </a:lnTo>
                    <a:lnTo>
                      <a:pt x="305" y="505"/>
                    </a:lnTo>
                    <a:lnTo>
                      <a:pt x="305" y="503"/>
                    </a:lnTo>
                    <a:lnTo>
                      <a:pt x="304" y="503"/>
                    </a:lnTo>
                    <a:lnTo>
                      <a:pt x="304" y="501"/>
                    </a:lnTo>
                    <a:lnTo>
                      <a:pt x="305" y="501"/>
                    </a:lnTo>
                    <a:lnTo>
                      <a:pt x="304" y="501"/>
                    </a:lnTo>
                    <a:lnTo>
                      <a:pt x="305" y="501"/>
                    </a:lnTo>
                    <a:lnTo>
                      <a:pt x="305" y="499"/>
                    </a:lnTo>
                    <a:lnTo>
                      <a:pt x="305" y="501"/>
                    </a:lnTo>
                    <a:lnTo>
                      <a:pt x="305" y="499"/>
                    </a:lnTo>
                    <a:lnTo>
                      <a:pt x="307" y="499"/>
                    </a:lnTo>
                    <a:lnTo>
                      <a:pt x="309" y="499"/>
                    </a:lnTo>
                    <a:lnTo>
                      <a:pt x="309" y="498"/>
                    </a:lnTo>
                    <a:lnTo>
                      <a:pt x="311" y="498"/>
                    </a:lnTo>
                    <a:lnTo>
                      <a:pt x="313" y="498"/>
                    </a:lnTo>
                    <a:lnTo>
                      <a:pt x="315" y="498"/>
                    </a:lnTo>
                    <a:lnTo>
                      <a:pt x="315" y="496"/>
                    </a:lnTo>
                    <a:lnTo>
                      <a:pt x="317" y="496"/>
                    </a:lnTo>
                    <a:lnTo>
                      <a:pt x="319" y="496"/>
                    </a:lnTo>
                    <a:lnTo>
                      <a:pt x="319" y="494"/>
                    </a:lnTo>
                    <a:lnTo>
                      <a:pt x="319" y="492"/>
                    </a:lnTo>
                    <a:lnTo>
                      <a:pt x="321" y="492"/>
                    </a:lnTo>
                    <a:lnTo>
                      <a:pt x="323" y="492"/>
                    </a:lnTo>
                    <a:lnTo>
                      <a:pt x="323" y="490"/>
                    </a:lnTo>
                    <a:lnTo>
                      <a:pt x="323" y="488"/>
                    </a:lnTo>
                    <a:lnTo>
                      <a:pt x="323" y="486"/>
                    </a:lnTo>
                    <a:lnTo>
                      <a:pt x="325" y="486"/>
                    </a:lnTo>
                    <a:lnTo>
                      <a:pt x="325" y="484"/>
                    </a:lnTo>
                    <a:lnTo>
                      <a:pt x="327" y="484"/>
                    </a:lnTo>
                    <a:lnTo>
                      <a:pt x="325" y="482"/>
                    </a:lnTo>
                    <a:lnTo>
                      <a:pt x="323" y="482"/>
                    </a:lnTo>
                    <a:lnTo>
                      <a:pt x="321" y="482"/>
                    </a:lnTo>
                    <a:lnTo>
                      <a:pt x="319" y="482"/>
                    </a:lnTo>
                    <a:lnTo>
                      <a:pt x="319" y="480"/>
                    </a:lnTo>
                    <a:lnTo>
                      <a:pt x="319" y="482"/>
                    </a:lnTo>
                    <a:lnTo>
                      <a:pt x="317" y="482"/>
                    </a:lnTo>
                    <a:lnTo>
                      <a:pt x="317" y="484"/>
                    </a:lnTo>
                    <a:lnTo>
                      <a:pt x="315" y="484"/>
                    </a:lnTo>
                    <a:lnTo>
                      <a:pt x="315" y="486"/>
                    </a:lnTo>
                    <a:lnTo>
                      <a:pt x="313" y="486"/>
                    </a:lnTo>
                    <a:lnTo>
                      <a:pt x="311" y="486"/>
                    </a:lnTo>
                    <a:lnTo>
                      <a:pt x="309" y="486"/>
                    </a:lnTo>
                    <a:lnTo>
                      <a:pt x="307" y="488"/>
                    </a:lnTo>
                    <a:lnTo>
                      <a:pt x="305" y="488"/>
                    </a:lnTo>
                    <a:lnTo>
                      <a:pt x="305" y="486"/>
                    </a:lnTo>
                    <a:lnTo>
                      <a:pt x="307" y="486"/>
                    </a:lnTo>
                    <a:lnTo>
                      <a:pt x="305" y="484"/>
                    </a:lnTo>
                    <a:lnTo>
                      <a:pt x="304" y="484"/>
                    </a:lnTo>
                    <a:lnTo>
                      <a:pt x="304" y="482"/>
                    </a:lnTo>
                    <a:lnTo>
                      <a:pt x="302" y="482"/>
                    </a:lnTo>
                    <a:lnTo>
                      <a:pt x="300" y="480"/>
                    </a:lnTo>
                    <a:lnTo>
                      <a:pt x="298" y="480"/>
                    </a:lnTo>
                    <a:lnTo>
                      <a:pt x="296" y="480"/>
                    </a:lnTo>
                    <a:lnTo>
                      <a:pt x="294" y="480"/>
                    </a:lnTo>
                    <a:lnTo>
                      <a:pt x="292" y="480"/>
                    </a:lnTo>
                    <a:lnTo>
                      <a:pt x="292" y="478"/>
                    </a:lnTo>
                    <a:lnTo>
                      <a:pt x="290" y="478"/>
                    </a:lnTo>
                    <a:lnTo>
                      <a:pt x="292" y="478"/>
                    </a:lnTo>
                    <a:lnTo>
                      <a:pt x="290" y="478"/>
                    </a:lnTo>
                    <a:lnTo>
                      <a:pt x="290" y="476"/>
                    </a:lnTo>
                    <a:lnTo>
                      <a:pt x="288" y="476"/>
                    </a:lnTo>
                    <a:lnTo>
                      <a:pt x="286" y="478"/>
                    </a:lnTo>
                    <a:lnTo>
                      <a:pt x="288" y="478"/>
                    </a:lnTo>
                    <a:lnTo>
                      <a:pt x="288" y="480"/>
                    </a:lnTo>
                    <a:lnTo>
                      <a:pt x="286" y="480"/>
                    </a:lnTo>
                    <a:lnTo>
                      <a:pt x="288" y="480"/>
                    </a:lnTo>
                    <a:lnTo>
                      <a:pt x="286" y="480"/>
                    </a:lnTo>
                    <a:lnTo>
                      <a:pt x="286" y="482"/>
                    </a:lnTo>
                    <a:lnTo>
                      <a:pt x="284" y="482"/>
                    </a:lnTo>
                    <a:lnTo>
                      <a:pt x="282" y="482"/>
                    </a:lnTo>
                    <a:lnTo>
                      <a:pt x="281" y="482"/>
                    </a:lnTo>
                    <a:lnTo>
                      <a:pt x="281" y="484"/>
                    </a:lnTo>
                    <a:lnTo>
                      <a:pt x="279" y="484"/>
                    </a:lnTo>
                    <a:lnTo>
                      <a:pt x="279" y="486"/>
                    </a:lnTo>
                    <a:lnTo>
                      <a:pt x="279" y="488"/>
                    </a:lnTo>
                    <a:lnTo>
                      <a:pt x="277" y="488"/>
                    </a:lnTo>
                    <a:lnTo>
                      <a:pt x="277" y="486"/>
                    </a:lnTo>
                    <a:lnTo>
                      <a:pt x="277" y="488"/>
                    </a:lnTo>
                    <a:lnTo>
                      <a:pt x="279" y="490"/>
                    </a:lnTo>
                    <a:lnTo>
                      <a:pt x="281" y="490"/>
                    </a:lnTo>
                    <a:lnTo>
                      <a:pt x="279" y="490"/>
                    </a:lnTo>
                    <a:lnTo>
                      <a:pt x="279" y="492"/>
                    </a:lnTo>
                    <a:lnTo>
                      <a:pt x="281" y="492"/>
                    </a:lnTo>
                    <a:lnTo>
                      <a:pt x="282" y="494"/>
                    </a:lnTo>
                    <a:lnTo>
                      <a:pt x="281" y="494"/>
                    </a:lnTo>
                    <a:lnTo>
                      <a:pt x="279" y="494"/>
                    </a:lnTo>
                    <a:lnTo>
                      <a:pt x="279" y="496"/>
                    </a:lnTo>
                    <a:lnTo>
                      <a:pt x="279" y="498"/>
                    </a:lnTo>
                    <a:lnTo>
                      <a:pt x="277" y="498"/>
                    </a:lnTo>
                    <a:lnTo>
                      <a:pt x="277" y="496"/>
                    </a:lnTo>
                    <a:lnTo>
                      <a:pt x="277" y="494"/>
                    </a:lnTo>
                    <a:lnTo>
                      <a:pt x="275" y="494"/>
                    </a:lnTo>
                    <a:lnTo>
                      <a:pt x="275" y="496"/>
                    </a:lnTo>
                    <a:lnTo>
                      <a:pt x="273" y="496"/>
                    </a:lnTo>
                    <a:lnTo>
                      <a:pt x="271" y="498"/>
                    </a:lnTo>
                    <a:lnTo>
                      <a:pt x="269" y="498"/>
                    </a:lnTo>
                    <a:lnTo>
                      <a:pt x="269" y="496"/>
                    </a:lnTo>
                    <a:lnTo>
                      <a:pt x="271" y="496"/>
                    </a:lnTo>
                    <a:lnTo>
                      <a:pt x="271" y="494"/>
                    </a:lnTo>
                    <a:lnTo>
                      <a:pt x="273" y="494"/>
                    </a:lnTo>
                    <a:lnTo>
                      <a:pt x="273" y="492"/>
                    </a:lnTo>
                    <a:lnTo>
                      <a:pt x="275" y="492"/>
                    </a:lnTo>
                    <a:lnTo>
                      <a:pt x="275" y="490"/>
                    </a:lnTo>
                    <a:lnTo>
                      <a:pt x="273" y="490"/>
                    </a:lnTo>
                    <a:lnTo>
                      <a:pt x="271" y="492"/>
                    </a:lnTo>
                    <a:lnTo>
                      <a:pt x="271" y="494"/>
                    </a:lnTo>
                    <a:lnTo>
                      <a:pt x="269" y="494"/>
                    </a:lnTo>
                    <a:lnTo>
                      <a:pt x="267" y="494"/>
                    </a:lnTo>
                    <a:lnTo>
                      <a:pt x="265" y="494"/>
                    </a:lnTo>
                    <a:lnTo>
                      <a:pt x="265" y="492"/>
                    </a:lnTo>
                    <a:lnTo>
                      <a:pt x="263" y="492"/>
                    </a:lnTo>
                    <a:lnTo>
                      <a:pt x="261" y="492"/>
                    </a:lnTo>
                    <a:lnTo>
                      <a:pt x="259" y="492"/>
                    </a:lnTo>
                    <a:lnTo>
                      <a:pt x="257" y="492"/>
                    </a:lnTo>
                    <a:lnTo>
                      <a:pt x="259" y="492"/>
                    </a:lnTo>
                    <a:lnTo>
                      <a:pt x="257" y="492"/>
                    </a:lnTo>
                    <a:lnTo>
                      <a:pt x="256" y="494"/>
                    </a:lnTo>
                    <a:lnTo>
                      <a:pt x="254" y="494"/>
                    </a:lnTo>
                    <a:lnTo>
                      <a:pt x="250" y="494"/>
                    </a:lnTo>
                    <a:lnTo>
                      <a:pt x="252" y="494"/>
                    </a:lnTo>
                    <a:lnTo>
                      <a:pt x="254" y="494"/>
                    </a:lnTo>
                    <a:lnTo>
                      <a:pt x="252" y="494"/>
                    </a:lnTo>
                    <a:lnTo>
                      <a:pt x="250" y="494"/>
                    </a:lnTo>
                    <a:lnTo>
                      <a:pt x="248" y="494"/>
                    </a:lnTo>
                    <a:lnTo>
                      <a:pt x="246" y="496"/>
                    </a:lnTo>
                    <a:lnTo>
                      <a:pt x="244" y="496"/>
                    </a:lnTo>
                    <a:lnTo>
                      <a:pt x="242" y="496"/>
                    </a:lnTo>
                    <a:lnTo>
                      <a:pt x="240" y="496"/>
                    </a:lnTo>
                    <a:lnTo>
                      <a:pt x="238" y="498"/>
                    </a:lnTo>
                    <a:lnTo>
                      <a:pt x="236" y="498"/>
                    </a:lnTo>
                    <a:lnTo>
                      <a:pt x="234" y="498"/>
                    </a:lnTo>
                    <a:lnTo>
                      <a:pt x="234" y="499"/>
                    </a:lnTo>
                    <a:lnTo>
                      <a:pt x="232" y="501"/>
                    </a:lnTo>
                    <a:lnTo>
                      <a:pt x="232" y="499"/>
                    </a:lnTo>
                    <a:lnTo>
                      <a:pt x="231" y="499"/>
                    </a:lnTo>
                    <a:lnTo>
                      <a:pt x="231" y="501"/>
                    </a:lnTo>
                    <a:lnTo>
                      <a:pt x="231" y="503"/>
                    </a:lnTo>
                    <a:lnTo>
                      <a:pt x="231" y="501"/>
                    </a:lnTo>
                    <a:lnTo>
                      <a:pt x="232" y="501"/>
                    </a:lnTo>
                    <a:lnTo>
                      <a:pt x="232" y="503"/>
                    </a:lnTo>
                    <a:lnTo>
                      <a:pt x="231" y="503"/>
                    </a:lnTo>
                    <a:lnTo>
                      <a:pt x="231" y="505"/>
                    </a:lnTo>
                    <a:lnTo>
                      <a:pt x="231" y="507"/>
                    </a:lnTo>
                    <a:lnTo>
                      <a:pt x="229" y="509"/>
                    </a:lnTo>
                    <a:lnTo>
                      <a:pt x="229" y="511"/>
                    </a:lnTo>
                    <a:lnTo>
                      <a:pt x="229" y="513"/>
                    </a:lnTo>
                    <a:lnTo>
                      <a:pt x="227" y="511"/>
                    </a:lnTo>
                    <a:lnTo>
                      <a:pt x="227" y="513"/>
                    </a:lnTo>
                    <a:lnTo>
                      <a:pt x="227" y="511"/>
                    </a:lnTo>
                    <a:lnTo>
                      <a:pt x="225" y="511"/>
                    </a:lnTo>
                    <a:lnTo>
                      <a:pt x="223" y="511"/>
                    </a:lnTo>
                    <a:lnTo>
                      <a:pt x="221" y="511"/>
                    </a:lnTo>
                    <a:lnTo>
                      <a:pt x="219" y="509"/>
                    </a:lnTo>
                    <a:lnTo>
                      <a:pt x="219" y="511"/>
                    </a:lnTo>
                    <a:lnTo>
                      <a:pt x="219" y="509"/>
                    </a:lnTo>
                    <a:lnTo>
                      <a:pt x="217" y="509"/>
                    </a:lnTo>
                    <a:lnTo>
                      <a:pt x="217" y="507"/>
                    </a:lnTo>
                    <a:lnTo>
                      <a:pt x="215" y="507"/>
                    </a:lnTo>
                    <a:lnTo>
                      <a:pt x="215" y="509"/>
                    </a:lnTo>
                    <a:lnTo>
                      <a:pt x="215" y="511"/>
                    </a:lnTo>
                    <a:lnTo>
                      <a:pt x="213" y="511"/>
                    </a:lnTo>
                    <a:lnTo>
                      <a:pt x="215" y="511"/>
                    </a:lnTo>
                    <a:lnTo>
                      <a:pt x="215" y="509"/>
                    </a:lnTo>
                    <a:lnTo>
                      <a:pt x="215" y="511"/>
                    </a:lnTo>
                    <a:lnTo>
                      <a:pt x="215" y="509"/>
                    </a:lnTo>
                    <a:lnTo>
                      <a:pt x="217" y="509"/>
                    </a:lnTo>
                    <a:lnTo>
                      <a:pt x="219" y="509"/>
                    </a:lnTo>
                    <a:lnTo>
                      <a:pt x="219" y="511"/>
                    </a:lnTo>
                    <a:lnTo>
                      <a:pt x="221" y="511"/>
                    </a:lnTo>
                    <a:lnTo>
                      <a:pt x="223" y="511"/>
                    </a:lnTo>
                    <a:lnTo>
                      <a:pt x="225" y="511"/>
                    </a:lnTo>
                    <a:lnTo>
                      <a:pt x="227" y="513"/>
                    </a:lnTo>
                    <a:lnTo>
                      <a:pt x="229" y="513"/>
                    </a:lnTo>
                    <a:lnTo>
                      <a:pt x="227" y="513"/>
                    </a:lnTo>
                    <a:lnTo>
                      <a:pt x="227" y="515"/>
                    </a:lnTo>
                    <a:lnTo>
                      <a:pt x="229" y="515"/>
                    </a:lnTo>
                    <a:lnTo>
                      <a:pt x="229" y="513"/>
                    </a:lnTo>
                    <a:lnTo>
                      <a:pt x="229" y="515"/>
                    </a:lnTo>
                    <a:lnTo>
                      <a:pt x="229" y="513"/>
                    </a:lnTo>
                    <a:lnTo>
                      <a:pt x="229" y="515"/>
                    </a:lnTo>
                    <a:lnTo>
                      <a:pt x="231" y="515"/>
                    </a:lnTo>
                    <a:lnTo>
                      <a:pt x="229" y="515"/>
                    </a:lnTo>
                    <a:lnTo>
                      <a:pt x="231" y="515"/>
                    </a:lnTo>
                    <a:lnTo>
                      <a:pt x="231" y="517"/>
                    </a:lnTo>
                    <a:lnTo>
                      <a:pt x="232" y="517"/>
                    </a:lnTo>
                    <a:lnTo>
                      <a:pt x="234" y="517"/>
                    </a:lnTo>
                    <a:lnTo>
                      <a:pt x="236" y="517"/>
                    </a:lnTo>
                    <a:lnTo>
                      <a:pt x="236" y="519"/>
                    </a:lnTo>
                    <a:lnTo>
                      <a:pt x="236" y="521"/>
                    </a:lnTo>
                    <a:lnTo>
                      <a:pt x="234" y="521"/>
                    </a:lnTo>
                    <a:lnTo>
                      <a:pt x="232" y="521"/>
                    </a:lnTo>
                    <a:lnTo>
                      <a:pt x="232" y="523"/>
                    </a:lnTo>
                    <a:lnTo>
                      <a:pt x="231" y="524"/>
                    </a:lnTo>
                    <a:lnTo>
                      <a:pt x="229" y="524"/>
                    </a:lnTo>
                    <a:lnTo>
                      <a:pt x="227" y="524"/>
                    </a:lnTo>
                    <a:lnTo>
                      <a:pt x="227" y="523"/>
                    </a:lnTo>
                    <a:lnTo>
                      <a:pt x="227" y="521"/>
                    </a:lnTo>
                    <a:lnTo>
                      <a:pt x="225" y="521"/>
                    </a:lnTo>
                    <a:lnTo>
                      <a:pt x="225" y="523"/>
                    </a:lnTo>
                    <a:lnTo>
                      <a:pt x="225" y="524"/>
                    </a:lnTo>
                    <a:lnTo>
                      <a:pt x="225" y="526"/>
                    </a:lnTo>
                    <a:lnTo>
                      <a:pt x="225" y="528"/>
                    </a:lnTo>
                    <a:lnTo>
                      <a:pt x="225" y="530"/>
                    </a:lnTo>
                    <a:lnTo>
                      <a:pt x="227" y="532"/>
                    </a:lnTo>
                    <a:lnTo>
                      <a:pt x="227" y="534"/>
                    </a:lnTo>
                    <a:lnTo>
                      <a:pt x="229" y="534"/>
                    </a:lnTo>
                    <a:lnTo>
                      <a:pt x="231" y="532"/>
                    </a:lnTo>
                    <a:lnTo>
                      <a:pt x="231" y="534"/>
                    </a:lnTo>
                    <a:lnTo>
                      <a:pt x="231" y="532"/>
                    </a:lnTo>
                    <a:lnTo>
                      <a:pt x="231" y="530"/>
                    </a:lnTo>
                    <a:lnTo>
                      <a:pt x="232" y="530"/>
                    </a:lnTo>
                    <a:lnTo>
                      <a:pt x="232" y="532"/>
                    </a:lnTo>
                    <a:lnTo>
                      <a:pt x="234" y="530"/>
                    </a:lnTo>
                    <a:lnTo>
                      <a:pt x="232" y="530"/>
                    </a:lnTo>
                    <a:lnTo>
                      <a:pt x="234" y="528"/>
                    </a:lnTo>
                    <a:lnTo>
                      <a:pt x="234" y="530"/>
                    </a:lnTo>
                    <a:lnTo>
                      <a:pt x="234" y="532"/>
                    </a:lnTo>
                    <a:lnTo>
                      <a:pt x="234" y="534"/>
                    </a:lnTo>
                    <a:lnTo>
                      <a:pt x="236" y="534"/>
                    </a:lnTo>
                    <a:lnTo>
                      <a:pt x="236" y="536"/>
                    </a:lnTo>
                    <a:lnTo>
                      <a:pt x="238" y="536"/>
                    </a:lnTo>
                    <a:lnTo>
                      <a:pt x="238" y="538"/>
                    </a:lnTo>
                    <a:lnTo>
                      <a:pt x="236" y="538"/>
                    </a:lnTo>
                    <a:lnTo>
                      <a:pt x="234" y="536"/>
                    </a:lnTo>
                    <a:lnTo>
                      <a:pt x="232" y="536"/>
                    </a:lnTo>
                    <a:lnTo>
                      <a:pt x="232" y="538"/>
                    </a:lnTo>
                    <a:lnTo>
                      <a:pt x="232" y="540"/>
                    </a:lnTo>
                    <a:lnTo>
                      <a:pt x="232" y="542"/>
                    </a:lnTo>
                    <a:lnTo>
                      <a:pt x="231" y="540"/>
                    </a:lnTo>
                    <a:lnTo>
                      <a:pt x="229" y="542"/>
                    </a:lnTo>
                    <a:lnTo>
                      <a:pt x="229" y="544"/>
                    </a:lnTo>
                    <a:lnTo>
                      <a:pt x="227" y="544"/>
                    </a:lnTo>
                    <a:lnTo>
                      <a:pt x="225" y="544"/>
                    </a:lnTo>
                    <a:lnTo>
                      <a:pt x="223" y="546"/>
                    </a:lnTo>
                    <a:lnTo>
                      <a:pt x="223" y="544"/>
                    </a:lnTo>
                    <a:lnTo>
                      <a:pt x="223" y="542"/>
                    </a:lnTo>
                    <a:lnTo>
                      <a:pt x="221" y="542"/>
                    </a:lnTo>
                    <a:lnTo>
                      <a:pt x="221" y="540"/>
                    </a:lnTo>
                    <a:lnTo>
                      <a:pt x="219" y="540"/>
                    </a:lnTo>
                    <a:lnTo>
                      <a:pt x="219" y="538"/>
                    </a:lnTo>
                    <a:lnTo>
                      <a:pt x="217" y="538"/>
                    </a:lnTo>
                    <a:lnTo>
                      <a:pt x="215" y="538"/>
                    </a:lnTo>
                    <a:lnTo>
                      <a:pt x="213" y="538"/>
                    </a:lnTo>
                    <a:lnTo>
                      <a:pt x="213" y="540"/>
                    </a:lnTo>
                    <a:lnTo>
                      <a:pt x="211" y="540"/>
                    </a:lnTo>
                    <a:lnTo>
                      <a:pt x="209" y="542"/>
                    </a:lnTo>
                    <a:lnTo>
                      <a:pt x="209" y="544"/>
                    </a:lnTo>
                    <a:lnTo>
                      <a:pt x="208" y="544"/>
                    </a:lnTo>
                    <a:lnTo>
                      <a:pt x="206" y="544"/>
                    </a:lnTo>
                    <a:lnTo>
                      <a:pt x="206" y="546"/>
                    </a:lnTo>
                    <a:lnTo>
                      <a:pt x="204" y="546"/>
                    </a:lnTo>
                    <a:lnTo>
                      <a:pt x="204" y="548"/>
                    </a:lnTo>
                    <a:lnTo>
                      <a:pt x="204" y="549"/>
                    </a:lnTo>
                    <a:lnTo>
                      <a:pt x="202" y="549"/>
                    </a:lnTo>
                    <a:lnTo>
                      <a:pt x="204" y="549"/>
                    </a:lnTo>
                    <a:lnTo>
                      <a:pt x="206" y="551"/>
                    </a:lnTo>
                    <a:lnTo>
                      <a:pt x="206" y="549"/>
                    </a:lnTo>
                    <a:lnTo>
                      <a:pt x="206" y="551"/>
                    </a:lnTo>
                    <a:lnTo>
                      <a:pt x="208" y="551"/>
                    </a:lnTo>
                    <a:lnTo>
                      <a:pt x="208" y="553"/>
                    </a:lnTo>
                    <a:lnTo>
                      <a:pt x="208" y="555"/>
                    </a:lnTo>
                    <a:lnTo>
                      <a:pt x="206" y="555"/>
                    </a:lnTo>
                    <a:lnTo>
                      <a:pt x="204" y="555"/>
                    </a:lnTo>
                    <a:lnTo>
                      <a:pt x="204" y="553"/>
                    </a:lnTo>
                    <a:lnTo>
                      <a:pt x="202" y="553"/>
                    </a:lnTo>
                    <a:lnTo>
                      <a:pt x="200" y="555"/>
                    </a:lnTo>
                    <a:lnTo>
                      <a:pt x="200" y="557"/>
                    </a:lnTo>
                    <a:lnTo>
                      <a:pt x="200" y="559"/>
                    </a:lnTo>
                    <a:lnTo>
                      <a:pt x="202" y="559"/>
                    </a:lnTo>
                    <a:lnTo>
                      <a:pt x="200" y="559"/>
                    </a:lnTo>
                    <a:lnTo>
                      <a:pt x="200" y="561"/>
                    </a:lnTo>
                    <a:lnTo>
                      <a:pt x="200" y="559"/>
                    </a:lnTo>
                    <a:lnTo>
                      <a:pt x="200" y="561"/>
                    </a:lnTo>
                    <a:lnTo>
                      <a:pt x="198" y="561"/>
                    </a:lnTo>
                    <a:lnTo>
                      <a:pt x="198" y="559"/>
                    </a:lnTo>
                    <a:lnTo>
                      <a:pt x="196" y="559"/>
                    </a:lnTo>
                    <a:lnTo>
                      <a:pt x="194" y="559"/>
                    </a:lnTo>
                    <a:lnTo>
                      <a:pt x="192" y="559"/>
                    </a:lnTo>
                    <a:lnTo>
                      <a:pt x="192" y="557"/>
                    </a:lnTo>
                    <a:lnTo>
                      <a:pt x="190" y="557"/>
                    </a:lnTo>
                    <a:lnTo>
                      <a:pt x="190" y="559"/>
                    </a:lnTo>
                    <a:lnTo>
                      <a:pt x="188" y="561"/>
                    </a:lnTo>
                    <a:lnTo>
                      <a:pt x="186" y="561"/>
                    </a:lnTo>
                    <a:lnTo>
                      <a:pt x="186" y="559"/>
                    </a:lnTo>
                    <a:lnTo>
                      <a:pt x="184" y="559"/>
                    </a:lnTo>
                    <a:lnTo>
                      <a:pt x="184" y="561"/>
                    </a:lnTo>
                    <a:lnTo>
                      <a:pt x="184" y="559"/>
                    </a:lnTo>
                    <a:lnTo>
                      <a:pt x="184" y="561"/>
                    </a:lnTo>
                    <a:lnTo>
                      <a:pt x="184" y="559"/>
                    </a:lnTo>
                    <a:lnTo>
                      <a:pt x="183" y="559"/>
                    </a:lnTo>
                    <a:lnTo>
                      <a:pt x="183" y="561"/>
                    </a:lnTo>
                    <a:lnTo>
                      <a:pt x="183" y="559"/>
                    </a:lnTo>
                    <a:lnTo>
                      <a:pt x="183" y="561"/>
                    </a:lnTo>
                    <a:lnTo>
                      <a:pt x="181" y="561"/>
                    </a:lnTo>
                    <a:lnTo>
                      <a:pt x="181" y="559"/>
                    </a:lnTo>
                    <a:lnTo>
                      <a:pt x="183" y="557"/>
                    </a:lnTo>
                    <a:lnTo>
                      <a:pt x="184" y="557"/>
                    </a:lnTo>
                    <a:lnTo>
                      <a:pt x="183" y="555"/>
                    </a:lnTo>
                    <a:lnTo>
                      <a:pt x="181" y="549"/>
                    </a:lnTo>
                    <a:lnTo>
                      <a:pt x="179" y="548"/>
                    </a:lnTo>
                    <a:lnTo>
                      <a:pt x="179" y="546"/>
                    </a:lnTo>
                    <a:lnTo>
                      <a:pt x="179" y="544"/>
                    </a:lnTo>
                    <a:lnTo>
                      <a:pt x="177" y="542"/>
                    </a:lnTo>
                    <a:lnTo>
                      <a:pt x="175" y="540"/>
                    </a:lnTo>
                    <a:lnTo>
                      <a:pt x="175" y="538"/>
                    </a:lnTo>
                    <a:lnTo>
                      <a:pt x="175" y="536"/>
                    </a:lnTo>
                    <a:lnTo>
                      <a:pt x="173" y="534"/>
                    </a:lnTo>
                    <a:lnTo>
                      <a:pt x="171" y="534"/>
                    </a:lnTo>
                    <a:lnTo>
                      <a:pt x="171" y="532"/>
                    </a:lnTo>
                    <a:lnTo>
                      <a:pt x="171" y="530"/>
                    </a:lnTo>
                    <a:lnTo>
                      <a:pt x="169" y="530"/>
                    </a:lnTo>
                    <a:lnTo>
                      <a:pt x="167" y="528"/>
                    </a:lnTo>
                    <a:lnTo>
                      <a:pt x="165" y="528"/>
                    </a:lnTo>
                    <a:lnTo>
                      <a:pt x="163" y="528"/>
                    </a:lnTo>
                    <a:lnTo>
                      <a:pt x="165" y="528"/>
                    </a:lnTo>
                    <a:lnTo>
                      <a:pt x="165" y="526"/>
                    </a:lnTo>
                    <a:lnTo>
                      <a:pt x="163" y="526"/>
                    </a:lnTo>
                    <a:lnTo>
                      <a:pt x="161" y="528"/>
                    </a:lnTo>
                    <a:lnTo>
                      <a:pt x="159" y="530"/>
                    </a:lnTo>
                    <a:lnTo>
                      <a:pt x="159" y="532"/>
                    </a:lnTo>
                    <a:lnTo>
                      <a:pt x="158" y="532"/>
                    </a:lnTo>
                    <a:lnTo>
                      <a:pt x="156" y="530"/>
                    </a:lnTo>
                    <a:lnTo>
                      <a:pt x="154" y="530"/>
                    </a:lnTo>
                    <a:lnTo>
                      <a:pt x="154" y="528"/>
                    </a:lnTo>
                    <a:lnTo>
                      <a:pt x="152" y="528"/>
                    </a:lnTo>
                    <a:lnTo>
                      <a:pt x="152" y="526"/>
                    </a:lnTo>
                    <a:lnTo>
                      <a:pt x="150" y="524"/>
                    </a:lnTo>
                    <a:lnTo>
                      <a:pt x="150" y="523"/>
                    </a:lnTo>
                    <a:lnTo>
                      <a:pt x="148" y="523"/>
                    </a:lnTo>
                    <a:lnTo>
                      <a:pt x="148" y="524"/>
                    </a:lnTo>
                    <a:lnTo>
                      <a:pt x="146" y="526"/>
                    </a:lnTo>
                    <a:lnTo>
                      <a:pt x="146" y="524"/>
                    </a:lnTo>
                    <a:lnTo>
                      <a:pt x="144" y="524"/>
                    </a:lnTo>
                    <a:lnTo>
                      <a:pt x="142" y="523"/>
                    </a:lnTo>
                    <a:lnTo>
                      <a:pt x="142" y="521"/>
                    </a:lnTo>
                    <a:lnTo>
                      <a:pt x="140" y="521"/>
                    </a:lnTo>
                    <a:lnTo>
                      <a:pt x="138" y="521"/>
                    </a:lnTo>
                    <a:lnTo>
                      <a:pt x="136" y="519"/>
                    </a:lnTo>
                    <a:lnTo>
                      <a:pt x="135" y="521"/>
                    </a:lnTo>
                    <a:lnTo>
                      <a:pt x="135" y="523"/>
                    </a:lnTo>
                    <a:lnTo>
                      <a:pt x="133" y="523"/>
                    </a:lnTo>
                    <a:lnTo>
                      <a:pt x="133" y="524"/>
                    </a:lnTo>
                    <a:lnTo>
                      <a:pt x="131" y="526"/>
                    </a:lnTo>
                    <a:lnTo>
                      <a:pt x="129" y="526"/>
                    </a:lnTo>
                    <a:lnTo>
                      <a:pt x="129" y="528"/>
                    </a:lnTo>
                    <a:lnTo>
                      <a:pt x="127" y="528"/>
                    </a:lnTo>
                    <a:lnTo>
                      <a:pt x="127" y="530"/>
                    </a:lnTo>
                    <a:lnTo>
                      <a:pt x="125" y="532"/>
                    </a:lnTo>
                    <a:lnTo>
                      <a:pt x="125" y="530"/>
                    </a:lnTo>
                    <a:lnTo>
                      <a:pt x="123" y="530"/>
                    </a:lnTo>
                    <a:lnTo>
                      <a:pt x="121" y="530"/>
                    </a:lnTo>
                    <a:lnTo>
                      <a:pt x="119" y="530"/>
                    </a:lnTo>
                    <a:lnTo>
                      <a:pt x="117" y="528"/>
                    </a:lnTo>
                    <a:lnTo>
                      <a:pt x="115" y="528"/>
                    </a:lnTo>
                    <a:lnTo>
                      <a:pt x="113" y="526"/>
                    </a:lnTo>
                    <a:lnTo>
                      <a:pt x="111" y="528"/>
                    </a:lnTo>
                    <a:lnTo>
                      <a:pt x="111" y="526"/>
                    </a:lnTo>
                    <a:lnTo>
                      <a:pt x="111" y="524"/>
                    </a:lnTo>
                    <a:lnTo>
                      <a:pt x="113" y="524"/>
                    </a:lnTo>
                    <a:lnTo>
                      <a:pt x="113" y="523"/>
                    </a:lnTo>
                    <a:lnTo>
                      <a:pt x="111" y="521"/>
                    </a:lnTo>
                    <a:lnTo>
                      <a:pt x="110" y="523"/>
                    </a:lnTo>
                    <a:lnTo>
                      <a:pt x="110" y="521"/>
                    </a:lnTo>
                    <a:lnTo>
                      <a:pt x="108" y="521"/>
                    </a:lnTo>
                    <a:lnTo>
                      <a:pt x="108" y="519"/>
                    </a:lnTo>
                    <a:lnTo>
                      <a:pt x="106" y="517"/>
                    </a:lnTo>
                    <a:lnTo>
                      <a:pt x="108" y="517"/>
                    </a:lnTo>
                    <a:lnTo>
                      <a:pt x="108" y="515"/>
                    </a:lnTo>
                    <a:lnTo>
                      <a:pt x="108" y="513"/>
                    </a:lnTo>
                    <a:lnTo>
                      <a:pt x="108" y="511"/>
                    </a:lnTo>
                    <a:lnTo>
                      <a:pt x="108" y="509"/>
                    </a:lnTo>
                    <a:lnTo>
                      <a:pt x="108" y="507"/>
                    </a:lnTo>
                    <a:lnTo>
                      <a:pt x="110" y="507"/>
                    </a:lnTo>
                    <a:lnTo>
                      <a:pt x="111" y="507"/>
                    </a:lnTo>
                    <a:lnTo>
                      <a:pt x="111" y="505"/>
                    </a:lnTo>
                    <a:lnTo>
                      <a:pt x="113" y="505"/>
                    </a:lnTo>
                    <a:lnTo>
                      <a:pt x="113" y="503"/>
                    </a:lnTo>
                    <a:lnTo>
                      <a:pt x="111" y="503"/>
                    </a:lnTo>
                    <a:lnTo>
                      <a:pt x="111" y="501"/>
                    </a:lnTo>
                    <a:lnTo>
                      <a:pt x="113" y="501"/>
                    </a:lnTo>
                    <a:lnTo>
                      <a:pt x="113" y="499"/>
                    </a:lnTo>
                    <a:lnTo>
                      <a:pt x="113" y="498"/>
                    </a:lnTo>
                    <a:lnTo>
                      <a:pt x="113" y="496"/>
                    </a:lnTo>
                    <a:lnTo>
                      <a:pt x="113" y="494"/>
                    </a:lnTo>
                    <a:lnTo>
                      <a:pt x="115" y="496"/>
                    </a:lnTo>
                    <a:lnTo>
                      <a:pt x="117" y="496"/>
                    </a:lnTo>
                    <a:lnTo>
                      <a:pt x="119" y="496"/>
                    </a:lnTo>
                    <a:lnTo>
                      <a:pt x="121" y="496"/>
                    </a:lnTo>
                    <a:lnTo>
                      <a:pt x="123" y="496"/>
                    </a:lnTo>
                    <a:lnTo>
                      <a:pt x="123" y="492"/>
                    </a:lnTo>
                    <a:lnTo>
                      <a:pt x="123" y="490"/>
                    </a:lnTo>
                    <a:lnTo>
                      <a:pt x="121" y="490"/>
                    </a:lnTo>
                    <a:lnTo>
                      <a:pt x="121" y="488"/>
                    </a:lnTo>
                    <a:lnTo>
                      <a:pt x="121" y="486"/>
                    </a:lnTo>
                    <a:lnTo>
                      <a:pt x="121" y="484"/>
                    </a:lnTo>
                    <a:lnTo>
                      <a:pt x="121" y="482"/>
                    </a:lnTo>
                    <a:lnTo>
                      <a:pt x="119" y="482"/>
                    </a:lnTo>
                    <a:lnTo>
                      <a:pt x="119" y="480"/>
                    </a:lnTo>
                    <a:lnTo>
                      <a:pt x="117" y="480"/>
                    </a:lnTo>
                    <a:lnTo>
                      <a:pt x="117" y="478"/>
                    </a:lnTo>
                    <a:lnTo>
                      <a:pt x="117" y="476"/>
                    </a:lnTo>
                    <a:lnTo>
                      <a:pt x="119" y="476"/>
                    </a:lnTo>
                    <a:lnTo>
                      <a:pt x="121" y="475"/>
                    </a:lnTo>
                    <a:lnTo>
                      <a:pt x="121" y="473"/>
                    </a:lnTo>
                    <a:lnTo>
                      <a:pt x="121" y="471"/>
                    </a:lnTo>
                    <a:lnTo>
                      <a:pt x="119" y="471"/>
                    </a:lnTo>
                    <a:lnTo>
                      <a:pt x="119" y="469"/>
                    </a:lnTo>
                    <a:lnTo>
                      <a:pt x="117" y="469"/>
                    </a:lnTo>
                    <a:lnTo>
                      <a:pt x="117" y="467"/>
                    </a:lnTo>
                    <a:lnTo>
                      <a:pt x="117" y="465"/>
                    </a:lnTo>
                    <a:lnTo>
                      <a:pt x="117" y="463"/>
                    </a:lnTo>
                    <a:lnTo>
                      <a:pt x="115" y="461"/>
                    </a:lnTo>
                    <a:lnTo>
                      <a:pt x="115" y="459"/>
                    </a:lnTo>
                    <a:lnTo>
                      <a:pt x="113" y="459"/>
                    </a:lnTo>
                    <a:lnTo>
                      <a:pt x="113" y="457"/>
                    </a:lnTo>
                    <a:lnTo>
                      <a:pt x="111" y="457"/>
                    </a:lnTo>
                    <a:lnTo>
                      <a:pt x="111" y="455"/>
                    </a:lnTo>
                    <a:lnTo>
                      <a:pt x="110" y="453"/>
                    </a:lnTo>
                    <a:lnTo>
                      <a:pt x="110" y="451"/>
                    </a:lnTo>
                    <a:lnTo>
                      <a:pt x="110" y="450"/>
                    </a:lnTo>
                    <a:lnTo>
                      <a:pt x="108" y="450"/>
                    </a:lnTo>
                    <a:lnTo>
                      <a:pt x="108" y="448"/>
                    </a:lnTo>
                    <a:lnTo>
                      <a:pt x="106" y="448"/>
                    </a:lnTo>
                    <a:lnTo>
                      <a:pt x="106" y="450"/>
                    </a:lnTo>
                    <a:lnTo>
                      <a:pt x="106" y="446"/>
                    </a:lnTo>
                    <a:lnTo>
                      <a:pt x="104" y="444"/>
                    </a:lnTo>
                    <a:lnTo>
                      <a:pt x="102" y="444"/>
                    </a:lnTo>
                    <a:lnTo>
                      <a:pt x="100" y="444"/>
                    </a:lnTo>
                    <a:lnTo>
                      <a:pt x="98" y="442"/>
                    </a:lnTo>
                    <a:lnTo>
                      <a:pt x="98" y="440"/>
                    </a:lnTo>
                    <a:lnTo>
                      <a:pt x="96" y="436"/>
                    </a:lnTo>
                    <a:lnTo>
                      <a:pt x="94" y="436"/>
                    </a:lnTo>
                    <a:lnTo>
                      <a:pt x="90" y="436"/>
                    </a:lnTo>
                    <a:lnTo>
                      <a:pt x="90" y="434"/>
                    </a:lnTo>
                    <a:lnTo>
                      <a:pt x="88" y="432"/>
                    </a:lnTo>
                    <a:lnTo>
                      <a:pt x="86" y="432"/>
                    </a:lnTo>
                    <a:lnTo>
                      <a:pt x="85" y="432"/>
                    </a:lnTo>
                    <a:lnTo>
                      <a:pt x="85" y="430"/>
                    </a:lnTo>
                    <a:lnTo>
                      <a:pt x="83" y="428"/>
                    </a:lnTo>
                    <a:lnTo>
                      <a:pt x="81" y="428"/>
                    </a:lnTo>
                    <a:lnTo>
                      <a:pt x="79" y="426"/>
                    </a:lnTo>
                    <a:lnTo>
                      <a:pt x="77" y="426"/>
                    </a:lnTo>
                    <a:lnTo>
                      <a:pt x="75" y="426"/>
                    </a:lnTo>
                    <a:lnTo>
                      <a:pt x="73" y="426"/>
                    </a:lnTo>
                    <a:lnTo>
                      <a:pt x="71" y="426"/>
                    </a:lnTo>
                    <a:lnTo>
                      <a:pt x="69" y="425"/>
                    </a:lnTo>
                    <a:lnTo>
                      <a:pt x="67" y="425"/>
                    </a:lnTo>
                    <a:lnTo>
                      <a:pt x="65" y="425"/>
                    </a:lnTo>
                    <a:lnTo>
                      <a:pt x="65" y="426"/>
                    </a:lnTo>
                    <a:lnTo>
                      <a:pt x="63" y="426"/>
                    </a:lnTo>
                    <a:lnTo>
                      <a:pt x="62" y="426"/>
                    </a:lnTo>
                    <a:lnTo>
                      <a:pt x="60" y="426"/>
                    </a:lnTo>
                    <a:lnTo>
                      <a:pt x="58" y="426"/>
                    </a:lnTo>
                    <a:lnTo>
                      <a:pt x="60" y="428"/>
                    </a:lnTo>
                    <a:lnTo>
                      <a:pt x="62" y="430"/>
                    </a:lnTo>
                    <a:lnTo>
                      <a:pt x="60" y="432"/>
                    </a:lnTo>
                    <a:lnTo>
                      <a:pt x="58" y="434"/>
                    </a:lnTo>
                    <a:lnTo>
                      <a:pt x="56" y="432"/>
                    </a:lnTo>
                    <a:lnTo>
                      <a:pt x="56" y="434"/>
                    </a:lnTo>
                    <a:lnTo>
                      <a:pt x="54" y="434"/>
                    </a:lnTo>
                    <a:lnTo>
                      <a:pt x="52" y="434"/>
                    </a:lnTo>
                    <a:lnTo>
                      <a:pt x="52" y="436"/>
                    </a:lnTo>
                    <a:lnTo>
                      <a:pt x="50" y="438"/>
                    </a:lnTo>
                    <a:lnTo>
                      <a:pt x="48" y="438"/>
                    </a:lnTo>
                    <a:lnTo>
                      <a:pt x="48" y="436"/>
                    </a:lnTo>
                    <a:lnTo>
                      <a:pt x="46" y="438"/>
                    </a:lnTo>
                    <a:lnTo>
                      <a:pt x="44" y="438"/>
                    </a:lnTo>
                    <a:lnTo>
                      <a:pt x="44" y="436"/>
                    </a:lnTo>
                    <a:lnTo>
                      <a:pt x="42" y="436"/>
                    </a:lnTo>
                    <a:lnTo>
                      <a:pt x="40" y="436"/>
                    </a:lnTo>
                    <a:lnTo>
                      <a:pt x="38" y="436"/>
                    </a:lnTo>
                    <a:lnTo>
                      <a:pt x="38" y="438"/>
                    </a:lnTo>
                    <a:lnTo>
                      <a:pt x="37" y="440"/>
                    </a:lnTo>
                    <a:lnTo>
                      <a:pt x="35" y="438"/>
                    </a:lnTo>
                    <a:lnTo>
                      <a:pt x="35" y="436"/>
                    </a:lnTo>
                    <a:lnTo>
                      <a:pt x="37" y="434"/>
                    </a:lnTo>
                    <a:lnTo>
                      <a:pt x="37" y="432"/>
                    </a:lnTo>
                    <a:lnTo>
                      <a:pt x="37" y="430"/>
                    </a:lnTo>
                    <a:lnTo>
                      <a:pt x="38" y="430"/>
                    </a:lnTo>
                    <a:lnTo>
                      <a:pt x="38" y="428"/>
                    </a:lnTo>
                    <a:lnTo>
                      <a:pt x="38" y="426"/>
                    </a:lnTo>
                    <a:lnTo>
                      <a:pt x="37" y="426"/>
                    </a:lnTo>
                    <a:lnTo>
                      <a:pt x="37" y="425"/>
                    </a:lnTo>
                    <a:lnTo>
                      <a:pt x="38" y="425"/>
                    </a:lnTo>
                    <a:lnTo>
                      <a:pt x="38" y="423"/>
                    </a:lnTo>
                    <a:lnTo>
                      <a:pt x="40" y="423"/>
                    </a:lnTo>
                    <a:lnTo>
                      <a:pt x="38" y="421"/>
                    </a:lnTo>
                    <a:lnTo>
                      <a:pt x="40" y="421"/>
                    </a:lnTo>
                    <a:lnTo>
                      <a:pt x="40" y="419"/>
                    </a:lnTo>
                    <a:lnTo>
                      <a:pt x="38" y="419"/>
                    </a:lnTo>
                    <a:lnTo>
                      <a:pt x="40" y="419"/>
                    </a:lnTo>
                    <a:lnTo>
                      <a:pt x="38" y="419"/>
                    </a:lnTo>
                    <a:lnTo>
                      <a:pt x="38" y="417"/>
                    </a:lnTo>
                    <a:lnTo>
                      <a:pt x="37" y="417"/>
                    </a:lnTo>
                    <a:lnTo>
                      <a:pt x="37" y="415"/>
                    </a:lnTo>
                    <a:lnTo>
                      <a:pt x="35" y="413"/>
                    </a:lnTo>
                    <a:lnTo>
                      <a:pt x="35" y="411"/>
                    </a:lnTo>
                    <a:lnTo>
                      <a:pt x="33" y="409"/>
                    </a:lnTo>
                    <a:lnTo>
                      <a:pt x="35" y="409"/>
                    </a:lnTo>
                    <a:lnTo>
                      <a:pt x="35" y="407"/>
                    </a:lnTo>
                    <a:lnTo>
                      <a:pt x="35" y="405"/>
                    </a:lnTo>
                    <a:lnTo>
                      <a:pt x="35" y="403"/>
                    </a:lnTo>
                    <a:lnTo>
                      <a:pt x="35" y="405"/>
                    </a:lnTo>
                    <a:lnTo>
                      <a:pt x="37" y="405"/>
                    </a:lnTo>
                    <a:lnTo>
                      <a:pt x="38" y="405"/>
                    </a:lnTo>
                    <a:lnTo>
                      <a:pt x="38" y="403"/>
                    </a:lnTo>
                    <a:lnTo>
                      <a:pt x="38" y="401"/>
                    </a:lnTo>
                    <a:lnTo>
                      <a:pt x="38" y="400"/>
                    </a:lnTo>
                    <a:lnTo>
                      <a:pt x="37" y="400"/>
                    </a:lnTo>
                    <a:lnTo>
                      <a:pt x="35" y="398"/>
                    </a:lnTo>
                    <a:lnTo>
                      <a:pt x="35" y="396"/>
                    </a:lnTo>
                    <a:lnTo>
                      <a:pt x="33" y="394"/>
                    </a:lnTo>
                    <a:lnTo>
                      <a:pt x="33" y="392"/>
                    </a:lnTo>
                    <a:lnTo>
                      <a:pt x="31" y="392"/>
                    </a:lnTo>
                    <a:lnTo>
                      <a:pt x="29" y="392"/>
                    </a:lnTo>
                    <a:lnTo>
                      <a:pt x="29" y="390"/>
                    </a:lnTo>
                    <a:lnTo>
                      <a:pt x="29" y="388"/>
                    </a:lnTo>
                    <a:lnTo>
                      <a:pt x="27" y="386"/>
                    </a:lnTo>
                    <a:lnTo>
                      <a:pt x="27" y="384"/>
                    </a:lnTo>
                    <a:lnTo>
                      <a:pt x="27" y="382"/>
                    </a:lnTo>
                    <a:lnTo>
                      <a:pt x="27" y="380"/>
                    </a:lnTo>
                    <a:lnTo>
                      <a:pt x="25" y="380"/>
                    </a:lnTo>
                    <a:lnTo>
                      <a:pt x="23" y="380"/>
                    </a:lnTo>
                    <a:lnTo>
                      <a:pt x="23" y="378"/>
                    </a:lnTo>
                    <a:lnTo>
                      <a:pt x="21" y="378"/>
                    </a:lnTo>
                    <a:lnTo>
                      <a:pt x="21" y="376"/>
                    </a:lnTo>
                    <a:lnTo>
                      <a:pt x="19" y="376"/>
                    </a:lnTo>
                    <a:lnTo>
                      <a:pt x="17" y="376"/>
                    </a:lnTo>
                    <a:lnTo>
                      <a:pt x="19" y="375"/>
                    </a:lnTo>
                    <a:lnTo>
                      <a:pt x="17" y="373"/>
                    </a:lnTo>
                    <a:lnTo>
                      <a:pt x="15" y="371"/>
                    </a:lnTo>
                    <a:lnTo>
                      <a:pt x="13" y="371"/>
                    </a:lnTo>
                    <a:lnTo>
                      <a:pt x="13" y="369"/>
                    </a:lnTo>
                    <a:lnTo>
                      <a:pt x="13" y="367"/>
                    </a:lnTo>
                    <a:lnTo>
                      <a:pt x="12" y="365"/>
                    </a:lnTo>
                    <a:lnTo>
                      <a:pt x="12" y="363"/>
                    </a:lnTo>
                    <a:lnTo>
                      <a:pt x="12" y="361"/>
                    </a:lnTo>
                    <a:lnTo>
                      <a:pt x="12" y="359"/>
                    </a:lnTo>
                    <a:lnTo>
                      <a:pt x="13" y="359"/>
                    </a:lnTo>
                    <a:lnTo>
                      <a:pt x="12" y="359"/>
                    </a:lnTo>
                    <a:lnTo>
                      <a:pt x="12" y="357"/>
                    </a:lnTo>
                    <a:lnTo>
                      <a:pt x="12" y="355"/>
                    </a:lnTo>
                    <a:lnTo>
                      <a:pt x="12" y="357"/>
                    </a:lnTo>
                    <a:lnTo>
                      <a:pt x="12" y="355"/>
                    </a:lnTo>
                    <a:lnTo>
                      <a:pt x="12" y="353"/>
                    </a:lnTo>
                    <a:lnTo>
                      <a:pt x="12" y="351"/>
                    </a:lnTo>
                    <a:lnTo>
                      <a:pt x="10" y="351"/>
                    </a:lnTo>
                    <a:lnTo>
                      <a:pt x="10" y="350"/>
                    </a:lnTo>
                    <a:lnTo>
                      <a:pt x="10" y="348"/>
                    </a:lnTo>
                    <a:lnTo>
                      <a:pt x="8" y="346"/>
                    </a:lnTo>
                    <a:lnTo>
                      <a:pt x="8" y="344"/>
                    </a:lnTo>
                    <a:lnTo>
                      <a:pt x="8" y="342"/>
                    </a:lnTo>
                    <a:lnTo>
                      <a:pt x="8" y="340"/>
                    </a:lnTo>
                    <a:lnTo>
                      <a:pt x="8" y="338"/>
                    </a:lnTo>
                    <a:lnTo>
                      <a:pt x="8" y="336"/>
                    </a:lnTo>
                    <a:lnTo>
                      <a:pt x="8" y="334"/>
                    </a:lnTo>
                    <a:lnTo>
                      <a:pt x="8" y="332"/>
                    </a:lnTo>
                    <a:lnTo>
                      <a:pt x="6" y="334"/>
                    </a:lnTo>
                    <a:lnTo>
                      <a:pt x="6" y="332"/>
                    </a:lnTo>
                    <a:lnTo>
                      <a:pt x="6" y="330"/>
                    </a:lnTo>
                    <a:lnTo>
                      <a:pt x="4" y="330"/>
                    </a:lnTo>
                    <a:lnTo>
                      <a:pt x="4" y="328"/>
                    </a:lnTo>
                    <a:lnTo>
                      <a:pt x="2" y="328"/>
                    </a:lnTo>
                    <a:lnTo>
                      <a:pt x="0" y="328"/>
                    </a:lnTo>
                    <a:lnTo>
                      <a:pt x="0" y="326"/>
                    </a:lnTo>
                    <a:lnTo>
                      <a:pt x="2" y="326"/>
                    </a:lnTo>
                    <a:lnTo>
                      <a:pt x="2" y="325"/>
                    </a:lnTo>
                    <a:lnTo>
                      <a:pt x="4" y="325"/>
                    </a:lnTo>
                    <a:lnTo>
                      <a:pt x="4" y="323"/>
                    </a:lnTo>
                    <a:lnTo>
                      <a:pt x="4" y="321"/>
                    </a:lnTo>
                    <a:lnTo>
                      <a:pt x="6" y="321"/>
                    </a:lnTo>
                    <a:lnTo>
                      <a:pt x="4" y="321"/>
                    </a:lnTo>
                    <a:lnTo>
                      <a:pt x="6" y="321"/>
                    </a:lnTo>
                    <a:lnTo>
                      <a:pt x="6" y="319"/>
                    </a:lnTo>
                    <a:lnTo>
                      <a:pt x="8" y="319"/>
                    </a:lnTo>
                    <a:lnTo>
                      <a:pt x="8" y="317"/>
                    </a:lnTo>
                    <a:lnTo>
                      <a:pt x="10" y="317"/>
                    </a:lnTo>
                    <a:lnTo>
                      <a:pt x="10" y="315"/>
                    </a:lnTo>
                    <a:lnTo>
                      <a:pt x="12" y="315"/>
                    </a:lnTo>
                    <a:lnTo>
                      <a:pt x="12" y="313"/>
                    </a:lnTo>
                    <a:lnTo>
                      <a:pt x="12" y="311"/>
                    </a:lnTo>
                    <a:lnTo>
                      <a:pt x="12" y="309"/>
                    </a:lnTo>
                    <a:lnTo>
                      <a:pt x="10" y="309"/>
                    </a:lnTo>
                    <a:lnTo>
                      <a:pt x="10" y="307"/>
                    </a:lnTo>
                    <a:lnTo>
                      <a:pt x="12" y="307"/>
                    </a:lnTo>
                    <a:lnTo>
                      <a:pt x="12" y="305"/>
                    </a:lnTo>
                    <a:lnTo>
                      <a:pt x="12" y="303"/>
                    </a:lnTo>
                    <a:lnTo>
                      <a:pt x="10" y="303"/>
                    </a:lnTo>
                    <a:lnTo>
                      <a:pt x="10" y="301"/>
                    </a:lnTo>
                    <a:lnTo>
                      <a:pt x="10" y="300"/>
                    </a:lnTo>
                    <a:lnTo>
                      <a:pt x="10" y="298"/>
                    </a:lnTo>
                    <a:lnTo>
                      <a:pt x="8" y="298"/>
                    </a:lnTo>
                    <a:lnTo>
                      <a:pt x="8" y="296"/>
                    </a:lnTo>
                    <a:lnTo>
                      <a:pt x="10" y="296"/>
                    </a:lnTo>
                    <a:lnTo>
                      <a:pt x="8" y="296"/>
                    </a:lnTo>
                    <a:lnTo>
                      <a:pt x="10" y="296"/>
                    </a:lnTo>
                    <a:lnTo>
                      <a:pt x="10" y="294"/>
                    </a:lnTo>
                    <a:lnTo>
                      <a:pt x="12" y="294"/>
                    </a:lnTo>
                    <a:lnTo>
                      <a:pt x="13" y="294"/>
                    </a:lnTo>
                    <a:lnTo>
                      <a:pt x="15" y="294"/>
                    </a:lnTo>
                    <a:lnTo>
                      <a:pt x="17" y="294"/>
                    </a:lnTo>
                    <a:lnTo>
                      <a:pt x="19" y="294"/>
                    </a:lnTo>
                    <a:lnTo>
                      <a:pt x="19" y="292"/>
                    </a:lnTo>
                    <a:lnTo>
                      <a:pt x="21" y="292"/>
                    </a:lnTo>
                    <a:lnTo>
                      <a:pt x="23" y="292"/>
                    </a:lnTo>
                    <a:lnTo>
                      <a:pt x="25" y="290"/>
                    </a:lnTo>
                    <a:lnTo>
                      <a:pt x="27" y="290"/>
                    </a:lnTo>
                    <a:lnTo>
                      <a:pt x="27" y="292"/>
                    </a:lnTo>
                    <a:lnTo>
                      <a:pt x="27" y="290"/>
                    </a:lnTo>
                    <a:lnTo>
                      <a:pt x="29" y="290"/>
                    </a:lnTo>
                    <a:lnTo>
                      <a:pt x="29" y="292"/>
                    </a:lnTo>
                    <a:lnTo>
                      <a:pt x="31" y="292"/>
                    </a:lnTo>
                    <a:lnTo>
                      <a:pt x="33" y="292"/>
                    </a:lnTo>
                    <a:lnTo>
                      <a:pt x="35" y="294"/>
                    </a:lnTo>
                    <a:lnTo>
                      <a:pt x="35" y="292"/>
                    </a:lnTo>
                    <a:lnTo>
                      <a:pt x="35" y="290"/>
                    </a:lnTo>
                    <a:lnTo>
                      <a:pt x="35" y="288"/>
                    </a:lnTo>
                    <a:lnTo>
                      <a:pt x="33" y="288"/>
                    </a:lnTo>
                    <a:lnTo>
                      <a:pt x="33" y="286"/>
                    </a:lnTo>
                    <a:lnTo>
                      <a:pt x="35" y="284"/>
                    </a:lnTo>
                    <a:lnTo>
                      <a:pt x="37" y="284"/>
                    </a:lnTo>
                    <a:lnTo>
                      <a:pt x="37" y="282"/>
                    </a:lnTo>
                    <a:lnTo>
                      <a:pt x="37" y="280"/>
                    </a:lnTo>
                    <a:lnTo>
                      <a:pt x="38" y="280"/>
                    </a:lnTo>
                    <a:lnTo>
                      <a:pt x="38" y="278"/>
                    </a:lnTo>
                    <a:lnTo>
                      <a:pt x="38" y="280"/>
                    </a:lnTo>
                    <a:lnTo>
                      <a:pt x="40" y="280"/>
                    </a:lnTo>
                    <a:lnTo>
                      <a:pt x="42" y="280"/>
                    </a:lnTo>
                    <a:lnTo>
                      <a:pt x="42" y="282"/>
                    </a:lnTo>
                    <a:lnTo>
                      <a:pt x="42" y="284"/>
                    </a:lnTo>
                    <a:lnTo>
                      <a:pt x="42" y="286"/>
                    </a:lnTo>
                    <a:lnTo>
                      <a:pt x="44" y="286"/>
                    </a:lnTo>
                    <a:lnTo>
                      <a:pt x="42" y="286"/>
                    </a:lnTo>
                    <a:lnTo>
                      <a:pt x="44" y="286"/>
                    </a:lnTo>
                    <a:lnTo>
                      <a:pt x="44" y="288"/>
                    </a:lnTo>
                    <a:lnTo>
                      <a:pt x="46" y="288"/>
                    </a:lnTo>
                    <a:lnTo>
                      <a:pt x="46" y="286"/>
                    </a:lnTo>
                    <a:lnTo>
                      <a:pt x="48" y="286"/>
                    </a:lnTo>
                    <a:lnTo>
                      <a:pt x="48" y="288"/>
                    </a:lnTo>
                    <a:lnTo>
                      <a:pt x="48" y="290"/>
                    </a:lnTo>
                    <a:lnTo>
                      <a:pt x="50" y="290"/>
                    </a:lnTo>
                    <a:lnTo>
                      <a:pt x="50" y="288"/>
                    </a:lnTo>
                    <a:lnTo>
                      <a:pt x="52" y="286"/>
                    </a:lnTo>
                    <a:lnTo>
                      <a:pt x="52" y="288"/>
                    </a:lnTo>
                    <a:lnTo>
                      <a:pt x="54" y="288"/>
                    </a:lnTo>
                    <a:lnTo>
                      <a:pt x="56" y="288"/>
                    </a:lnTo>
                    <a:lnTo>
                      <a:pt x="54" y="286"/>
                    </a:lnTo>
                    <a:lnTo>
                      <a:pt x="56" y="284"/>
                    </a:lnTo>
                    <a:lnTo>
                      <a:pt x="54" y="284"/>
                    </a:lnTo>
                    <a:lnTo>
                      <a:pt x="54" y="282"/>
                    </a:lnTo>
                    <a:lnTo>
                      <a:pt x="56" y="282"/>
                    </a:lnTo>
                    <a:lnTo>
                      <a:pt x="56" y="280"/>
                    </a:lnTo>
                    <a:lnTo>
                      <a:pt x="54" y="278"/>
                    </a:lnTo>
                    <a:lnTo>
                      <a:pt x="54" y="276"/>
                    </a:lnTo>
                    <a:lnTo>
                      <a:pt x="54" y="275"/>
                    </a:lnTo>
                    <a:lnTo>
                      <a:pt x="54" y="273"/>
                    </a:lnTo>
                    <a:lnTo>
                      <a:pt x="52" y="273"/>
                    </a:lnTo>
                    <a:lnTo>
                      <a:pt x="54" y="273"/>
                    </a:lnTo>
                    <a:lnTo>
                      <a:pt x="54" y="271"/>
                    </a:lnTo>
                    <a:lnTo>
                      <a:pt x="52" y="271"/>
                    </a:lnTo>
                    <a:lnTo>
                      <a:pt x="52" y="269"/>
                    </a:lnTo>
                    <a:lnTo>
                      <a:pt x="52" y="267"/>
                    </a:lnTo>
                    <a:lnTo>
                      <a:pt x="50" y="267"/>
                    </a:lnTo>
                    <a:lnTo>
                      <a:pt x="48" y="265"/>
                    </a:lnTo>
                    <a:lnTo>
                      <a:pt x="48" y="263"/>
                    </a:lnTo>
                    <a:lnTo>
                      <a:pt x="46" y="263"/>
                    </a:lnTo>
                    <a:lnTo>
                      <a:pt x="44" y="263"/>
                    </a:lnTo>
                    <a:lnTo>
                      <a:pt x="42" y="261"/>
                    </a:lnTo>
                    <a:lnTo>
                      <a:pt x="42" y="263"/>
                    </a:lnTo>
                    <a:lnTo>
                      <a:pt x="42" y="261"/>
                    </a:lnTo>
                    <a:lnTo>
                      <a:pt x="40" y="261"/>
                    </a:lnTo>
                    <a:lnTo>
                      <a:pt x="40" y="259"/>
                    </a:lnTo>
                    <a:lnTo>
                      <a:pt x="42" y="259"/>
                    </a:lnTo>
                    <a:lnTo>
                      <a:pt x="42" y="257"/>
                    </a:lnTo>
                    <a:lnTo>
                      <a:pt x="42" y="253"/>
                    </a:lnTo>
                    <a:lnTo>
                      <a:pt x="42" y="251"/>
                    </a:lnTo>
                    <a:lnTo>
                      <a:pt x="42" y="250"/>
                    </a:lnTo>
                    <a:lnTo>
                      <a:pt x="44" y="250"/>
                    </a:lnTo>
                    <a:lnTo>
                      <a:pt x="46" y="250"/>
                    </a:lnTo>
                    <a:lnTo>
                      <a:pt x="48" y="250"/>
                    </a:lnTo>
                    <a:lnTo>
                      <a:pt x="50" y="251"/>
                    </a:lnTo>
                    <a:lnTo>
                      <a:pt x="52" y="251"/>
                    </a:lnTo>
                    <a:lnTo>
                      <a:pt x="54" y="251"/>
                    </a:lnTo>
                    <a:lnTo>
                      <a:pt x="56" y="251"/>
                    </a:lnTo>
                    <a:lnTo>
                      <a:pt x="58" y="250"/>
                    </a:lnTo>
                    <a:lnTo>
                      <a:pt x="60" y="250"/>
                    </a:lnTo>
                    <a:lnTo>
                      <a:pt x="60" y="248"/>
                    </a:lnTo>
                    <a:lnTo>
                      <a:pt x="62" y="248"/>
                    </a:lnTo>
                    <a:lnTo>
                      <a:pt x="62" y="246"/>
                    </a:lnTo>
                    <a:lnTo>
                      <a:pt x="63" y="246"/>
                    </a:lnTo>
                    <a:lnTo>
                      <a:pt x="65" y="246"/>
                    </a:lnTo>
                    <a:lnTo>
                      <a:pt x="65" y="244"/>
                    </a:lnTo>
                    <a:lnTo>
                      <a:pt x="67" y="244"/>
                    </a:lnTo>
                    <a:lnTo>
                      <a:pt x="67" y="246"/>
                    </a:lnTo>
                    <a:lnTo>
                      <a:pt x="69" y="246"/>
                    </a:lnTo>
                    <a:lnTo>
                      <a:pt x="71" y="246"/>
                    </a:lnTo>
                    <a:lnTo>
                      <a:pt x="71" y="244"/>
                    </a:lnTo>
                    <a:lnTo>
                      <a:pt x="69" y="242"/>
                    </a:lnTo>
                    <a:lnTo>
                      <a:pt x="71" y="242"/>
                    </a:lnTo>
                    <a:lnTo>
                      <a:pt x="73" y="242"/>
                    </a:lnTo>
                    <a:lnTo>
                      <a:pt x="73" y="240"/>
                    </a:lnTo>
                    <a:lnTo>
                      <a:pt x="73" y="238"/>
                    </a:lnTo>
                    <a:lnTo>
                      <a:pt x="75" y="238"/>
                    </a:lnTo>
                    <a:lnTo>
                      <a:pt x="73" y="238"/>
                    </a:lnTo>
                    <a:lnTo>
                      <a:pt x="73" y="236"/>
                    </a:lnTo>
                    <a:lnTo>
                      <a:pt x="75" y="234"/>
                    </a:lnTo>
                    <a:lnTo>
                      <a:pt x="75" y="232"/>
                    </a:lnTo>
                    <a:lnTo>
                      <a:pt x="75" y="230"/>
                    </a:lnTo>
                    <a:lnTo>
                      <a:pt x="75" y="228"/>
                    </a:lnTo>
                    <a:lnTo>
                      <a:pt x="77" y="228"/>
                    </a:lnTo>
                    <a:lnTo>
                      <a:pt x="77" y="227"/>
                    </a:lnTo>
                    <a:lnTo>
                      <a:pt x="79" y="227"/>
                    </a:lnTo>
                    <a:lnTo>
                      <a:pt x="81" y="227"/>
                    </a:lnTo>
                    <a:lnTo>
                      <a:pt x="83" y="228"/>
                    </a:lnTo>
                    <a:lnTo>
                      <a:pt x="85" y="228"/>
                    </a:lnTo>
                    <a:lnTo>
                      <a:pt x="86" y="228"/>
                    </a:lnTo>
                    <a:lnTo>
                      <a:pt x="86" y="230"/>
                    </a:lnTo>
                    <a:lnTo>
                      <a:pt x="86" y="232"/>
                    </a:lnTo>
                    <a:lnTo>
                      <a:pt x="88" y="234"/>
                    </a:lnTo>
                    <a:lnTo>
                      <a:pt x="88" y="236"/>
                    </a:lnTo>
                    <a:lnTo>
                      <a:pt x="90" y="238"/>
                    </a:lnTo>
                    <a:lnTo>
                      <a:pt x="92" y="238"/>
                    </a:lnTo>
                    <a:lnTo>
                      <a:pt x="92" y="240"/>
                    </a:lnTo>
                    <a:lnTo>
                      <a:pt x="92" y="238"/>
                    </a:lnTo>
                    <a:lnTo>
                      <a:pt x="94" y="238"/>
                    </a:lnTo>
                    <a:lnTo>
                      <a:pt x="96" y="240"/>
                    </a:lnTo>
                    <a:lnTo>
                      <a:pt x="98" y="240"/>
                    </a:lnTo>
                    <a:lnTo>
                      <a:pt x="100" y="238"/>
                    </a:lnTo>
                    <a:lnTo>
                      <a:pt x="104" y="238"/>
                    </a:lnTo>
                    <a:lnTo>
                      <a:pt x="108" y="238"/>
                    </a:lnTo>
                    <a:lnTo>
                      <a:pt x="108" y="236"/>
                    </a:lnTo>
                    <a:lnTo>
                      <a:pt x="106" y="234"/>
                    </a:lnTo>
                    <a:lnTo>
                      <a:pt x="106" y="232"/>
                    </a:lnTo>
                    <a:lnTo>
                      <a:pt x="104" y="228"/>
                    </a:lnTo>
                    <a:lnTo>
                      <a:pt x="102" y="228"/>
                    </a:lnTo>
                    <a:lnTo>
                      <a:pt x="104" y="227"/>
                    </a:lnTo>
                    <a:lnTo>
                      <a:pt x="106" y="227"/>
                    </a:lnTo>
                    <a:lnTo>
                      <a:pt x="108" y="225"/>
                    </a:lnTo>
                    <a:lnTo>
                      <a:pt x="111" y="223"/>
                    </a:lnTo>
                    <a:lnTo>
                      <a:pt x="111" y="221"/>
                    </a:lnTo>
                    <a:lnTo>
                      <a:pt x="113" y="219"/>
                    </a:lnTo>
                    <a:lnTo>
                      <a:pt x="115" y="217"/>
                    </a:lnTo>
                    <a:lnTo>
                      <a:pt x="117" y="217"/>
                    </a:lnTo>
                    <a:lnTo>
                      <a:pt x="117" y="215"/>
                    </a:lnTo>
                    <a:lnTo>
                      <a:pt x="119" y="217"/>
                    </a:lnTo>
                    <a:lnTo>
                      <a:pt x="121" y="217"/>
                    </a:lnTo>
                    <a:lnTo>
                      <a:pt x="119" y="215"/>
                    </a:lnTo>
                    <a:lnTo>
                      <a:pt x="119" y="213"/>
                    </a:lnTo>
                    <a:lnTo>
                      <a:pt x="119" y="209"/>
                    </a:lnTo>
                    <a:lnTo>
                      <a:pt x="121" y="209"/>
                    </a:lnTo>
                    <a:lnTo>
                      <a:pt x="125" y="203"/>
                    </a:lnTo>
                    <a:lnTo>
                      <a:pt x="127" y="202"/>
                    </a:lnTo>
                    <a:lnTo>
                      <a:pt x="127" y="200"/>
                    </a:lnTo>
                    <a:lnTo>
                      <a:pt x="129" y="202"/>
                    </a:lnTo>
                    <a:lnTo>
                      <a:pt x="129" y="200"/>
                    </a:lnTo>
                    <a:lnTo>
                      <a:pt x="131" y="200"/>
                    </a:lnTo>
                    <a:lnTo>
                      <a:pt x="133" y="202"/>
                    </a:lnTo>
                    <a:lnTo>
                      <a:pt x="133" y="203"/>
                    </a:lnTo>
                    <a:lnTo>
                      <a:pt x="135" y="203"/>
                    </a:lnTo>
                    <a:lnTo>
                      <a:pt x="136" y="205"/>
                    </a:lnTo>
                    <a:lnTo>
                      <a:pt x="138" y="203"/>
                    </a:lnTo>
                    <a:lnTo>
                      <a:pt x="138" y="202"/>
                    </a:lnTo>
                    <a:lnTo>
                      <a:pt x="140" y="200"/>
                    </a:lnTo>
                    <a:lnTo>
                      <a:pt x="142" y="198"/>
                    </a:lnTo>
                    <a:lnTo>
                      <a:pt x="140" y="198"/>
                    </a:lnTo>
                    <a:lnTo>
                      <a:pt x="142" y="196"/>
                    </a:lnTo>
                    <a:lnTo>
                      <a:pt x="140" y="196"/>
                    </a:lnTo>
                    <a:lnTo>
                      <a:pt x="138" y="196"/>
                    </a:lnTo>
                    <a:lnTo>
                      <a:pt x="136" y="194"/>
                    </a:lnTo>
                    <a:lnTo>
                      <a:pt x="135" y="194"/>
                    </a:lnTo>
                    <a:lnTo>
                      <a:pt x="135" y="192"/>
                    </a:lnTo>
                    <a:lnTo>
                      <a:pt x="136" y="190"/>
                    </a:lnTo>
                    <a:lnTo>
                      <a:pt x="136" y="188"/>
                    </a:lnTo>
                    <a:lnTo>
                      <a:pt x="138" y="188"/>
                    </a:lnTo>
                    <a:lnTo>
                      <a:pt x="138" y="186"/>
                    </a:lnTo>
                    <a:lnTo>
                      <a:pt x="138" y="184"/>
                    </a:lnTo>
                    <a:lnTo>
                      <a:pt x="138" y="182"/>
                    </a:lnTo>
                    <a:lnTo>
                      <a:pt x="140" y="182"/>
                    </a:lnTo>
                    <a:lnTo>
                      <a:pt x="138" y="180"/>
                    </a:lnTo>
                    <a:lnTo>
                      <a:pt x="140" y="180"/>
                    </a:lnTo>
                    <a:lnTo>
                      <a:pt x="140" y="178"/>
                    </a:lnTo>
                    <a:lnTo>
                      <a:pt x="140" y="177"/>
                    </a:lnTo>
                    <a:lnTo>
                      <a:pt x="138" y="177"/>
                    </a:lnTo>
                    <a:lnTo>
                      <a:pt x="136" y="175"/>
                    </a:lnTo>
                    <a:lnTo>
                      <a:pt x="135" y="173"/>
                    </a:lnTo>
                    <a:lnTo>
                      <a:pt x="133" y="173"/>
                    </a:lnTo>
                    <a:lnTo>
                      <a:pt x="131" y="175"/>
                    </a:lnTo>
                    <a:lnTo>
                      <a:pt x="129" y="175"/>
                    </a:lnTo>
                    <a:lnTo>
                      <a:pt x="129" y="173"/>
                    </a:lnTo>
                    <a:lnTo>
                      <a:pt x="127" y="171"/>
                    </a:lnTo>
                    <a:lnTo>
                      <a:pt x="125" y="171"/>
                    </a:lnTo>
                    <a:lnTo>
                      <a:pt x="123" y="167"/>
                    </a:lnTo>
                    <a:lnTo>
                      <a:pt x="123" y="165"/>
                    </a:lnTo>
                    <a:lnTo>
                      <a:pt x="123" y="163"/>
                    </a:lnTo>
                    <a:lnTo>
                      <a:pt x="123" y="161"/>
                    </a:lnTo>
                    <a:lnTo>
                      <a:pt x="123" y="159"/>
                    </a:lnTo>
                    <a:lnTo>
                      <a:pt x="121" y="159"/>
                    </a:lnTo>
                    <a:lnTo>
                      <a:pt x="121" y="157"/>
                    </a:lnTo>
                    <a:lnTo>
                      <a:pt x="119" y="155"/>
                    </a:lnTo>
                    <a:lnTo>
                      <a:pt x="119" y="153"/>
                    </a:lnTo>
                    <a:lnTo>
                      <a:pt x="119" y="152"/>
                    </a:lnTo>
                    <a:lnTo>
                      <a:pt x="119" y="150"/>
                    </a:lnTo>
                    <a:lnTo>
                      <a:pt x="121" y="150"/>
                    </a:lnTo>
                    <a:lnTo>
                      <a:pt x="121" y="148"/>
                    </a:lnTo>
                    <a:lnTo>
                      <a:pt x="123" y="146"/>
                    </a:lnTo>
                    <a:lnTo>
                      <a:pt x="125" y="144"/>
                    </a:lnTo>
                    <a:lnTo>
                      <a:pt x="127" y="142"/>
                    </a:lnTo>
                    <a:lnTo>
                      <a:pt x="127" y="140"/>
                    </a:lnTo>
                    <a:lnTo>
                      <a:pt x="129" y="134"/>
                    </a:lnTo>
                    <a:lnTo>
                      <a:pt x="131" y="132"/>
                    </a:lnTo>
                    <a:lnTo>
                      <a:pt x="131" y="130"/>
                    </a:lnTo>
                    <a:lnTo>
                      <a:pt x="131" y="128"/>
                    </a:lnTo>
                    <a:lnTo>
                      <a:pt x="129" y="127"/>
                    </a:lnTo>
                    <a:lnTo>
                      <a:pt x="127" y="127"/>
                    </a:lnTo>
                    <a:lnTo>
                      <a:pt x="125" y="127"/>
                    </a:lnTo>
                    <a:lnTo>
                      <a:pt x="125" y="125"/>
                    </a:lnTo>
                    <a:lnTo>
                      <a:pt x="123" y="123"/>
                    </a:lnTo>
                    <a:lnTo>
                      <a:pt x="123" y="121"/>
                    </a:lnTo>
                    <a:lnTo>
                      <a:pt x="121" y="119"/>
                    </a:lnTo>
                    <a:lnTo>
                      <a:pt x="121" y="117"/>
                    </a:lnTo>
                    <a:lnTo>
                      <a:pt x="119" y="117"/>
                    </a:lnTo>
                    <a:lnTo>
                      <a:pt x="119" y="115"/>
                    </a:lnTo>
                    <a:lnTo>
                      <a:pt x="119" y="113"/>
                    </a:lnTo>
                    <a:lnTo>
                      <a:pt x="117" y="113"/>
                    </a:lnTo>
                    <a:lnTo>
                      <a:pt x="117" y="111"/>
                    </a:lnTo>
                    <a:lnTo>
                      <a:pt x="115" y="111"/>
                    </a:lnTo>
                    <a:lnTo>
                      <a:pt x="115" y="109"/>
                    </a:lnTo>
                    <a:lnTo>
                      <a:pt x="115" y="107"/>
                    </a:lnTo>
                    <a:lnTo>
                      <a:pt x="117" y="105"/>
                    </a:lnTo>
                    <a:lnTo>
                      <a:pt x="117" y="103"/>
                    </a:lnTo>
                    <a:lnTo>
                      <a:pt x="117" y="102"/>
                    </a:lnTo>
                    <a:lnTo>
                      <a:pt x="121" y="102"/>
                    </a:lnTo>
                    <a:lnTo>
                      <a:pt x="121" y="100"/>
                    </a:lnTo>
                    <a:lnTo>
                      <a:pt x="123" y="100"/>
                    </a:lnTo>
                    <a:lnTo>
                      <a:pt x="123" y="98"/>
                    </a:lnTo>
                    <a:lnTo>
                      <a:pt x="125" y="98"/>
                    </a:lnTo>
                    <a:lnTo>
                      <a:pt x="127" y="98"/>
                    </a:lnTo>
                    <a:lnTo>
                      <a:pt x="129" y="100"/>
                    </a:lnTo>
                    <a:lnTo>
                      <a:pt x="129" y="102"/>
                    </a:lnTo>
                    <a:lnTo>
                      <a:pt x="131" y="100"/>
                    </a:lnTo>
                    <a:lnTo>
                      <a:pt x="131" y="98"/>
                    </a:lnTo>
                    <a:lnTo>
                      <a:pt x="133" y="98"/>
                    </a:lnTo>
                    <a:lnTo>
                      <a:pt x="133" y="96"/>
                    </a:lnTo>
                    <a:lnTo>
                      <a:pt x="131" y="96"/>
                    </a:lnTo>
                    <a:lnTo>
                      <a:pt x="131" y="94"/>
                    </a:lnTo>
                    <a:lnTo>
                      <a:pt x="131" y="92"/>
                    </a:lnTo>
                    <a:lnTo>
                      <a:pt x="131" y="90"/>
                    </a:lnTo>
                    <a:lnTo>
                      <a:pt x="131" y="88"/>
                    </a:lnTo>
                    <a:lnTo>
                      <a:pt x="129" y="86"/>
                    </a:lnTo>
                    <a:lnTo>
                      <a:pt x="129" y="84"/>
                    </a:lnTo>
                    <a:lnTo>
                      <a:pt x="127" y="84"/>
                    </a:lnTo>
                    <a:lnTo>
                      <a:pt x="125" y="84"/>
                    </a:lnTo>
                    <a:lnTo>
                      <a:pt x="123" y="86"/>
                    </a:lnTo>
                    <a:lnTo>
                      <a:pt x="123" y="84"/>
                    </a:lnTo>
                    <a:lnTo>
                      <a:pt x="123" y="82"/>
                    </a:lnTo>
                    <a:lnTo>
                      <a:pt x="123" y="80"/>
                    </a:lnTo>
                    <a:lnTo>
                      <a:pt x="123" y="78"/>
                    </a:lnTo>
                    <a:lnTo>
                      <a:pt x="121" y="77"/>
                    </a:lnTo>
                    <a:lnTo>
                      <a:pt x="121" y="75"/>
                    </a:lnTo>
                    <a:lnTo>
                      <a:pt x="123" y="75"/>
                    </a:lnTo>
                    <a:lnTo>
                      <a:pt x="123" y="73"/>
                    </a:lnTo>
                    <a:lnTo>
                      <a:pt x="123" y="71"/>
                    </a:lnTo>
                    <a:lnTo>
                      <a:pt x="125" y="71"/>
                    </a:lnTo>
                    <a:lnTo>
                      <a:pt x="125" y="73"/>
                    </a:lnTo>
                    <a:lnTo>
                      <a:pt x="127" y="73"/>
                    </a:lnTo>
                    <a:lnTo>
                      <a:pt x="129" y="71"/>
                    </a:lnTo>
                    <a:lnTo>
                      <a:pt x="131" y="71"/>
                    </a:lnTo>
                    <a:lnTo>
                      <a:pt x="131" y="69"/>
                    </a:lnTo>
                    <a:lnTo>
                      <a:pt x="133" y="71"/>
                    </a:lnTo>
                    <a:lnTo>
                      <a:pt x="135" y="71"/>
                    </a:lnTo>
                    <a:lnTo>
                      <a:pt x="135" y="73"/>
                    </a:lnTo>
                    <a:lnTo>
                      <a:pt x="136" y="71"/>
                    </a:lnTo>
                    <a:lnTo>
                      <a:pt x="136" y="69"/>
                    </a:lnTo>
                    <a:lnTo>
                      <a:pt x="138" y="69"/>
                    </a:lnTo>
                    <a:lnTo>
                      <a:pt x="136" y="69"/>
                    </a:lnTo>
                    <a:lnTo>
                      <a:pt x="136" y="67"/>
                    </a:lnTo>
                    <a:lnTo>
                      <a:pt x="136" y="65"/>
                    </a:lnTo>
                    <a:lnTo>
                      <a:pt x="138" y="67"/>
                    </a:lnTo>
                    <a:lnTo>
                      <a:pt x="138" y="65"/>
                    </a:lnTo>
                    <a:lnTo>
                      <a:pt x="138" y="63"/>
                    </a:lnTo>
                    <a:lnTo>
                      <a:pt x="140" y="63"/>
                    </a:lnTo>
                    <a:lnTo>
                      <a:pt x="142" y="63"/>
                    </a:lnTo>
                    <a:lnTo>
                      <a:pt x="144" y="63"/>
                    </a:lnTo>
                    <a:lnTo>
                      <a:pt x="146" y="63"/>
                    </a:lnTo>
                    <a:lnTo>
                      <a:pt x="146" y="61"/>
                    </a:lnTo>
                    <a:lnTo>
                      <a:pt x="148" y="61"/>
                    </a:lnTo>
                    <a:lnTo>
                      <a:pt x="150" y="61"/>
                    </a:lnTo>
                    <a:lnTo>
                      <a:pt x="150" y="57"/>
                    </a:lnTo>
                    <a:lnTo>
                      <a:pt x="152" y="55"/>
                    </a:lnTo>
                    <a:lnTo>
                      <a:pt x="154" y="55"/>
                    </a:lnTo>
                    <a:lnTo>
                      <a:pt x="156" y="57"/>
                    </a:lnTo>
                    <a:lnTo>
                      <a:pt x="156" y="55"/>
                    </a:lnTo>
                    <a:lnTo>
                      <a:pt x="156" y="57"/>
                    </a:lnTo>
                    <a:lnTo>
                      <a:pt x="158" y="57"/>
                    </a:lnTo>
                    <a:lnTo>
                      <a:pt x="159" y="57"/>
                    </a:lnTo>
                    <a:lnTo>
                      <a:pt x="161" y="57"/>
                    </a:lnTo>
                    <a:lnTo>
                      <a:pt x="161" y="55"/>
                    </a:lnTo>
                    <a:lnTo>
                      <a:pt x="163" y="55"/>
                    </a:lnTo>
                    <a:lnTo>
                      <a:pt x="165" y="53"/>
                    </a:lnTo>
                    <a:lnTo>
                      <a:pt x="167" y="53"/>
                    </a:lnTo>
                    <a:lnTo>
                      <a:pt x="169" y="53"/>
                    </a:lnTo>
                    <a:lnTo>
                      <a:pt x="169" y="52"/>
                    </a:lnTo>
                    <a:lnTo>
                      <a:pt x="169" y="50"/>
                    </a:lnTo>
                    <a:lnTo>
                      <a:pt x="169" y="48"/>
                    </a:lnTo>
                    <a:lnTo>
                      <a:pt x="169" y="46"/>
                    </a:lnTo>
                    <a:lnTo>
                      <a:pt x="171" y="44"/>
                    </a:lnTo>
                    <a:lnTo>
                      <a:pt x="169" y="42"/>
                    </a:lnTo>
                    <a:lnTo>
                      <a:pt x="171" y="42"/>
                    </a:lnTo>
                    <a:lnTo>
                      <a:pt x="173" y="42"/>
                    </a:lnTo>
                    <a:lnTo>
                      <a:pt x="175" y="44"/>
                    </a:lnTo>
                    <a:lnTo>
                      <a:pt x="177" y="44"/>
                    </a:lnTo>
                    <a:lnTo>
                      <a:pt x="179" y="44"/>
                    </a:lnTo>
                    <a:lnTo>
                      <a:pt x="181" y="44"/>
                    </a:lnTo>
                    <a:lnTo>
                      <a:pt x="183" y="46"/>
                    </a:lnTo>
                    <a:lnTo>
                      <a:pt x="184" y="46"/>
                    </a:lnTo>
                    <a:lnTo>
                      <a:pt x="184" y="48"/>
                    </a:lnTo>
                    <a:lnTo>
                      <a:pt x="186" y="48"/>
                    </a:lnTo>
                    <a:lnTo>
                      <a:pt x="188" y="48"/>
                    </a:lnTo>
                    <a:lnTo>
                      <a:pt x="190" y="48"/>
                    </a:lnTo>
                    <a:lnTo>
                      <a:pt x="192" y="48"/>
                    </a:lnTo>
                    <a:lnTo>
                      <a:pt x="192" y="46"/>
                    </a:lnTo>
                    <a:lnTo>
                      <a:pt x="194" y="46"/>
                    </a:lnTo>
                    <a:lnTo>
                      <a:pt x="196" y="44"/>
                    </a:lnTo>
                    <a:lnTo>
                      <a:pt x="196" y="42"/>
                    </a:lnTo>
                    <a:lnTo>
                      <a:pt x="194" y="42"/>
                    </a:lnTo>
                    <a:lnTo>
                      <a:pt x="192" y="40"/>
                    </a:lnTo>
                    <a:lnTo>
                      <a:pt x="192" y="38"/>
                    </a:lnTo>
                    <a:lnTo>
                      <a:pt x="194" y="38"/>
                    </a:lnTo>
                    <a:lnTo>
                      <a:pt x="194" y="36"/>
                    </a:lnTo>
                    <a:lnTo>
                      <a:pt x="196" y="36"/>
                    </a:lnTo>
                    <a:lnTo>
                      <a:pt x="196" y="34"/>
                    </a:lnTo>
                    <a:lnTo>
                      <a:pt x="196" y="32"/>
                    </a:lnTo>
                    <a:lnTo>
                      <a:pt x="194" y="30"/>
                    </a:lnTo>
                    <a:lnTo>
                      <a:pt x="196" y="30"/>
                    </a:lnTo>
                    <a:lnTo>
                      <a:pt x="194" y="30"/>
                    </a:lnTo>
                    <a:lnTo>
                      <a:pt x="196" y="28"/>
                    </a:lnTo>
                    <a:lnTo>
                      <a:pt x="200" y="27"/>
                    </a:lnTo>
                    <a:lnTo>
                      <a:pt x="200" y="25"/>
                    </a:lnTo>
                    <a:lnTo>
                      <a:pt x="202" y="25"/>
                    </a:lnTo>
                    <a:lnTo>
                      <a:pt x="202" y="23"/>
                    </a:lnTo>
                    <a:lnTo>
                      <a:pt x="202" y="21"/>
                    </a:lnTo>
                    <a:lnTo>
                      <a:pt x="204" y="21"/>
                    </a:lnTo>
                    <a:lnTo>
                      <a:pt x="206" y="21"/>
                    </a:lnTo>
                    <a:lnTo>
                      <a:pt x="208" y="21"/>
                    </a:lnTo>
                    <a:lnTo>
                      <a:pt x="208" y="19"/>
                    </a:lnTo>
                    <a:lnTo>
                      <a:pt x="209" y="19"/>
                    </a:lnTo>
                    <a:lnTo>
                      <a:pt x="211" y="19"/>
                    </a:lnTo>
                    <a:lnTo>
                      <a:pt x="211" y="17"/>
                    </a:lnTo>
                    <a:lnTo>
                      <a:pt x="209" y="17"/>
                    </a:lnTo>
                    <a:lnTo>
                      <a:pt x="209" y="15"/>
                    </a:lnTo>
                    <a:lnTo>
                      <a:pt x="208" y="15"/>
                    </a:lnTo>
                    <a:lnTo>
                      <a:pt x="208" y="13"/>
                    </a:lnTo>
                    <a:lnTo>
                      <a:pt x="206" y="13"/>
                    </a:lnTo>
                    <a:lnTo>
                      <a:pt x="204" y="13"/>
                    </a:lnTo>
                    <a:lnTo>
                      <a:pt x="206" y="13"/>
                    </a:lnTo>
                    <a:lnTo>
                      <a:pt x="206" y="11"/>
                    </a:lnTo>
                    <a:lnTo>
                      <a:pt x="204" y="11"/>
                    </a:lnTo>
                    <a:lnTo>
                      <a:pt x="204" y="9"/>
                    </a:lnTo>
                    <a:lnTo>
                      <a:pt x="204" y="7"/>
                    </a:lnTo>
                    <a:lnTo>
                      <a:pt x="204" y="5"/>
                    </a:lnTo>
                    <a:lnTo>
                      <a:pt x="204" y="3"/>
                    </a:lnTo>
                    <a:lnTo>
                      <a:pt x="206" y="3"/>
                    </a:lnTo>
                    <a:lnTo>
                      <a:pt x="208" y="3"/>
                    </a:lnTo>
                    <a:lnTo>
                      <a:pt x="209" y="3"/>
                    </a:lnTo>
                    <a:lnTo>
                      <a:pt x="211" y="3"/>
                    </a:lnTo>
                    <a:lnTo>
                      <a:pt x="213" y="3"/>
                    </a:lnTo>
                    <a:lnTo>
                      <a:pt x="215" y="3"/>
                    </a:lnTo>
                    <a:lnTo>
                      <a:pt x="217" y="2"/>
                    </a:lnTo>
                    <a:lnTo>
                      <a:pt x="219" y="2"/>
                    </a:lnTo>
                    <a:lnTo>
                      <a:pt x="221" y="0"/>
                    </a:lnTo>
                    <a:lnTo>
                      <a:pt x="223" y="2"/>
                    </a:lnTo>
                    <a:lnTo>
                      <a:pt x="225" y="2"/>
                    </a:lnTo>
                    <a:lnTo>
                      <a:pt x="225" y="3"/>
                    </a:lnTo>
                    <a:lnTo>
                      <a:pt x="225" y="5"/>
                    </a:lnTo>
                    <a:lnTo>
                      <a:pt x="225" y="7"/>
                    </a:lnTo>
                    <a:lnTo>
                      <a:pt x="227" y="7"/>
                    </a:lnTo>
                    <a:lnTo>
                      <a:pt x="225" y="9"/>
                    </a:lnTo>
                    <a:lnTo>
                      <a:pt x="227" y="9"/>
                    </a:lnTo>
                    <a:lnTo>
                      <a:pt x="225" y="9"/>
                    </a:lnTo>
                    <a:lnTo>
                      <a:pt x="225" y="11"/>
                    </a:lnTo>
                    <a:lnTo>
                      <a:pt x="227" y="11"/>
                    </a:lnTo>
                    <a:lnTo>
                      <a:pt x="227" y="13"/>
                    </a:lnTo>
                    <a:lnTo>
                      <a:pt x="227" y="15"/>
                    </a:lnTo>
                    <a:lnTo>
                      <a:pt x="227" y="17"/>
                    </a:lnTo>
                    <a:lnTo>
                      <a:pt x="229" y="17"/>
                    </a:lnTo>
                    <a:lnTo>
                      <a:pt x="227" y="17"/>
                    </a:lnTo>
                    <a:lnTo>
                      <a:pt x="229" y="17"/>
                    </a:lnTo>
                    <a:lnTo>
                      <a:pt x="229" y="19"/>
                    </a:lnTo>
                    <a:lnTo>
                      <a:pt x="229" y="21"/>
                    </a:lnTo>
                    <a:lnTo>
                      <a:pt x="229" y="23"/>
                    </a:lnTo>
                    <a:lnTo>
                      <a:pt x="231" y="23"/>
                    </a:lnTo>
                    <a:lnTo>
                      <a:pt x="231" y="25"/>
                    </a:lnTo>
                    <a:lnTo>
                      <a:pt x="231" y="27"/>
                    </a:lnTo>
                    <a:lnTo>
                      <a:pt x="232" y="27"/>
                    </a:lnTo>
                    <a:lnTo>
                      <a:pt x="232" y="28"/>
                    </a:lnTo>
                    <a:lnTo>
                      <a:pt x="234" y="28"/>
                    </a:lnTo>
                    <a:lnTo>
                      <a:pt x="236" y="28"/>
                    </a:lnTo>
                    <a:lnTo>
                      <a:pt x="238" y="28"/>
                    </a:lnTo>
                    <a:lnTo>
                      <a:pt x="238" y="27"/>
                    </a:lnTo>
                    <a:lnTo>
                      <a:pt x="240" y="27"/>
                    </a:lnTo>
                    <a:lnTo>
                      <a:pt x="240" y="28"/>
                    </a:lnTo>
                    <a:lnTo>
                      <a:pt x="242" y="27"/>
                    </a:lnTo>
                    <a:lnTo>
                      <a:pt x="244" y="27"/>
                    </a:lnTo>
                    <a:lnTo>
                      <a:pt x="246" y="27"/>
                    </a:lnTo>
                    <a:lnTo>
                      <a:pt x="248" y="27"/>
                    </a:lnTo>
                    <a:lnTo>
                      <a:pt x="248" y="25"/>
                    </a:lnTo>
                    <a:lnTo>
                      <a:pt x="250" y="25"/>
                    </a:lnTo>
                    <a:lnTo>
                      <a:pt x="252" y="25"/>
                    </a:lnTo>
                    <a:lnTo>
                      <a:pt x="252" y="23"/>
                    </a:lnTo>
                    <a:lnTo>
                      <a:pt x="252" y="25"/>
                    </a:lnTo>
                    <a:lnTo>
                      <a:pt x="254" y="25"/>
                    </a:lnTo>
                    <a:lnTo>
                      <a:pt x="254" y="23"/>
                    </a:lnTo>
                    <a:lnTo>
                      <a:pt x="254" y="25"/>
                    </a:lnTo>
                    <a:lnTo>
                      <a:pt x="256" y="25"/>
                    </a:lnTo>
                    <a:lnTo>
                      <a:pt x="256" y="23"/>
                    </a:lnTo>
                    <a:lnTo>
                      <a:pt x="257" y="25"/>
                    </a:lnTo>
                    <a:lnTo>
                      <a:pt x="257" y="23"/>
                    </a:lnTo>
                    <a:lnTo>
                      <a:pt x="257" y="25"/>
                    </a:lnTo>
                    <a:lnTo>
                      <a:pt x="259" y="25"/>
                    </a:lnTo>
                    <a:lnTo>
                      <a:pt x="261" y="25"/>
                    </a:lnTo>
                    <a:lnTo>
                      <a:pt x="263" y="23"/>
                    </a:lnTo>
                    <a:lnTo>
                      <a:pt x="265" y="21"/>
                    </a:lnTo>
                    <a:lnTo>
                      <a:pt x="267" y="21"/>
                    </a:lnTo>
                    <a:lnTo>
                      <a:pt x="267" y="23"/>
                    </a:lnTo>
                    <a:lnTo>
                      <a:pt x="269" y="23"/>
                    </a:lnTo>
                    <a:lnTo>
                      <a:pt x="269" y="21"/>
                    </a:lnTo>
                    <a:lnTo>
                      <a:pt x="271" y="23"/>
                    </a:lnTo>
                    <a:lnTo>
                      <a:pt x="273" y="23"/>
                    </a:lnTo>
                    <a:lnTo>
                      <a:pt x="273" y="25"/>
                    </a:lnTo>
                    <a:lnTo>
                      <a:pt x="275" y="27"/>
                    </a:lnTo>
                    <a:lnTo>
                      <a:pt x="277" y="27"/>
                    </a:lnTo>
                    <a:lnTo>
                      <a:pt x="279" y="27"/>
                    </a:lnTo>
                    <a:lnTo>
                      <a:pt x="281" y="27"/>
                    </a:lnTo>
                    <a:lnTo>
                      <a:pt x="281" y="28"/>
                    </a:lnTo>
                    <a:lnTo>
                      <a:pt x="281" y="27"/>
                    </a:lnTo>
                    <a:lnTo>
                      <a:pt x="281" y="28"/>
                    </a:lnTo>
                    <a:lnTo>
                      <a:pt x="282" y="28"/>
                    </a:lnTo>
                    <a:lnTo>
                      <a:pt x="282" y="27"/>
                    </a:lnTo>
                    <a:lnTo>
                      <a:pt x="282" y="28"/>
                    </a:lnTo>
                    <a:lnTo>
                      <a:pt x="284" y="28"/>
                    </a:lnTo>
                    <a:lnTo>
                      <a:pt x="284" y="30"/>
                    </a:lnTo>
                    <a:lnTo>
                      <a:pt x="286" y="30"/>
                    </a:lnTo>
                    <a:lnTo>
                      <a:pt x="286" y="28"/>
                    </a:lnTo>
                    <a:lnTo>
                      <a:pt x="288" y="30"/>
                    </a:lnTo>
                    <a:lnTo>
                      <a:pt x="290" y="30"/>
                    </a:lnTo>
                    <a:lnTo>
                      <a:pt x="292" y="30"/>
                    </a:lnTo>
                    <a:lnTo>
                      <a:pt x="294" y="30"/>
                    </a:lnTo>
                    <a:lnTo>
                      <a:pt x="294" y="28"/>
                    </a:lnTo>
                    <a:lnTo>
                      <a:pt x="296" y="28"/>
                    </a:lnTo>
                    <a:lnTo>
                      <a:pt x="296" y="27"/>
                    </a:lnTo>
                    <a:lnTo>
                      <a:pt x="298" y="27"/>
                    </a:lnTo>
                    <a:lnTo>
                      <a:pt x="298" y="25"/>
                    </a:lnTo>
                    <a:lnTo>
                      <a:pt x="300" y="25"/>
                    </a:lnTo>
                    <a:lnTo>
                      <a:pt x="300" y="23"/>
                    </a:lnTo>
                    <a:lnTo>
                      <a:pt x="302" y="23"/>
                    </a:lnTo>
                    <a:lnTo>
                      <a:pt x="302" y="21"/>
                    </a:lnTo>
                    <a:lnTo>
                      <a:pt x="304" y="21"/>
                    </a:lnTo>
                    <a:lnTo>
                      <a:pt x="305" y="21"/>
                    </a:lnTo>
                    <a:lnTo>
                      <a:pt x="305" y="19"/>
                    </a:lnTo>
                    <a:lnTo>
                      <a:pt x="307" y="19"/>
                    </a:lnTo>
                    <a:lnTo>
                      <a:pt x="309" y="19"/>
                    </a:lnTo>
                    <a:lnTo>
                      <a:pt x="311" y="19"/>
                    </a:lnTo>
                    <a:lnTo>
                      <a:pt x="311" y="21"/>
                    </a:lnTo>
                    <a:lnTo>
                      <a:pt x="313" y="21"/>
                    </a:lnTo>
                    <a:lnTo>
                      <a:pt x="315" y="21"/>
                    </a:lnTo>
                    <a:lnTo>
                      <a:pt x="315" y="19"/>
                    </a:lnTo>
                    <a:lnTo>
                      <a:pt x="317" y="21"/>
                    </a:lnTo>
                    <a:lnTo>
                      <a:pt x="317" y="19"/>
                    </a:lnTo>
                    <a:lnTo>
                      <a:pt x="319" y="19"/>
                    </a:lnTo>
                    <a:lnTo>
                      <a:pt x="321" y="19"/>
                    </a:lnTo>
                    <a:lnTo>
                      <a:pt x="321" y="21"/>
                    </a:lnTo>
                    <a:lnTo>
                      <a:pt x="323" y="21"/>
                    </a:lnTo>
                    <a:lnTo>
                      <a:pt x="323" y="23"/>
                    </a:lnTo>
                    <a:lnTo>
                      <a:pt x="325" y="23"/>
                    </a:lnTo>
                    <a:lnTo>
                      <a:pt x="327" y="23"/>
                    </a:lnTo>
                    <a:lnTo>
                      <a:pt x="327" y="25"/>
                    </a:lnTo>
                    <a:lnTo>
                      <a:pt x="329" y="25"/>
                    </a:lnTo>
                    <a:lnTo>
                      <a:pt x="329" y="27"/>
                    </a:lnTo>
                    <a:lnTo>
                      <a:pt x="330" y="27"/>
                    </a:lnTo>
                    <a:lnTo>
                      <a:pt x="330" y="25"/>
                    </a:lnTo>
                    <a:lnTo>
                      <a:pt x="332" y="25"/>
                    </a:lnTo>
                    <a:lnTo>
                      <a:pt x="334" y="25"/>
                    </a:lnTo>
                    <a:lnTo>
                      <a:pt x="336" y="25"/>
                    </a:lnTo>
                    <a:lnTo>
                      <a:pt x="336" y="23"/>
                    </a:lnTo>
                    <a:lnTo>
                      <a:pt x="338" y="23"/>
                    </a:lnTo>
                    <a:lnTo>
                      <a:pt x="340" y="21"/>
                    </a:lnTo>
                    <a:lnTo>
                      <a:pt x="340" y="23"/>
                    </a:lnTo>
                    <a:lnTo>
                      <a:pt x="342" y="23"/>
                    </a:lnTo>
                    <a:lnTo>
                      <a:pt x="342" y="21"/>
                    </a:lnTo>
                    <a:lnTo>
                      <a:pt x="342" y="23"/>
                    </a:lnTo>
                    <a:lnTo>
                      <a:pt x="342" y="21"/>
                    </a:lnTo>
                    <a:lnTo>
                      <a:pt x="344" y="23"/>
                    </a:lnTo>
                    <a:lnTo>
                      <a:pt x="344" y="21"/>
                    </a:lnTo>
                    <a:lnTo>
                      <a:pt x="344" y="19"/>
                    </a:lnTo>
                    <a:lnTo>
                      <a:pt x="346" y="19"/>
                    </a:lnTo>
                    <a:lnTo>
                      <a:pt x="348" y="17"/>
                    </a:lnTo>
                    <a:lnTo>
                      <a:pt x="350" y="17"/>
                    </a:lnTo>
                    <a:lnTo>
                      <a:pt x="352" y="17"/>
                    </a:lnTo>
                    <a:lnTo>
                      <a:pt x="352" y="19"/>
                    </a:lnTo>
                    <a:lnTo>
                      <a:pt x="354" y="19"/>
                    </a:lnTo>
                    <a:lnTo>
                      <a:pt x="355" y="19"/>
                    </a:lnTo>
                    <a:lnTo>
                      <a:pt x="355" y="17"/>
                    </a:lnTo>
                    <a:lnTo>
                      <a:pt x="357" y="17"/>
                    </a:lnTo>
                    <a:lnTo>
                      <a:pt x="359" y="15"/>
                    </a:lnTo>
                    <a:lnTo>
                      <a:pt x="361" y="15"/>
                    </a:lnTo>
                    <a:lnTo>
                      <a:pt x="361" y="13"/>
                    </a:lnTo>
                    <a:lnTo>
                      <a:pt x="363" y="13"/>
                    </a:lnTo>
                    <a:lnTo>
                      <a:pt x="361" y="13"/>
                    </a:lnTo>
                    <a:lnTo>
                      <a:pt x="361" y="11"/>
                    </a:lnTo>
                    <a:lnTo>
                      <a:pt x="361" y="9"/>
                    </a:lnTo>
                    <a:lnTo>
                      <a:pt x="359" y="9"/>
                    </a:lnTo>
                    <a:lnTo>
                      <a:pt x="359"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5" name="Freeform 62"/>
              <p:cNvSpPr>
                <a:spLocks noEditPoints="1"/>
              </p:cNvSpPr>
              <p:nvPr/>
            </p:nvSpPr>
            <p:spPr bwMode="auto">
              <a:xfrm>
                <a:off x="6627132" y="1753962"/>
                <a:ext cx="397465" cy="490379"/>
              </a:xfrm>
              <a:custGeom>
                <a:avLst/>
                <a:gdLst>
                  <a:gd name="T0" fmla="*/ 75 w 231"/>
                  <a:gd name="T1" fmla="*/ 260 h 285"/>
                  <a:gd name="T2" fmla="*/ 75 w 231"/>
                  <a:gd name="T3" fmla="*/ 264 h 285"/>
                  <a:gd name="T4" fmla="*/ 71 w 231"/>
                  <a:gd name="T5" fmla="*/ 267 h 285"/>
                  <a:gd name="T6" fmla="*/ 71 w 231"/>
                  <a:gd name="T7" fmla="*/ 265 h 285"/>
                  <a:gd name="T8" fmla="*/ 69 w 231"/>
                  <a:gd name="T9" fmla="*/ 264 h 285"/>
                  <a:gd name="T10" fmla="*/ 71 w 231"/>
                  <a:gd name="T11" fmla="*/ 260 h 285"/>
                  <a:gd name="T12" fmla="*/ 71 w 231"/>
                  <a:gd name="T13" fmla="*/ 260 h 285"/>
                  <a:gd name="T14" fmla="*/ 71 w 231"/>
                  <a:gd name="T15" fmla="*/ 256 h 285"/>
                  <a:gd name="T16" fmla="*/ 75 w 231"/>
                  <a:gd name="T17" fmla="*/ 256 h 285"/>
                  <a:gd name="T18" fmla="*/ 75 w 231"/>
                  <a:gd name="T19" fmla="*/ 258 h 285"/>
                  <a:gd name="T20" fmla="*/ 29 w 231"/>
                  <a:gd name="T21" fmla="*/ 277 h 285"/>
                  <a:gd name="T22" fmla="*/ 29 w 231"/>
                  <a:gd name="T23" fmla="*/ 279 h 285"/>
                  <a:gd name="T24" fmla="*/ 29 w 231"/>
                  <a:gd name="T25" fmla="*/ 281 h 285"/>
                  <a:gd name="T26" fmla="*/ 29 w 231"/>
                  <a:gd name="T27" fmla="*/ 285 h 285"/>
                  <a:gd name="T28" fmla="*/ 27 w 231"/>
                  <a:gd name="T29" fmla="*/ 285 h 285"/>
                  <a:gd name="T30" fmla="*/ 27 w 231"/>
                  <a:gd name="T31" fmla="*/ 283 h 285"/>
                  <a:gd name="T32" fmla="*/ 27 w 231"/>
                  <a:gd name="T33" fmla="*/ 281 h 285"/>
                  <a:gd name="T34" fmla="*/ 27 w 231"/>
                  <a:gd name="T35" fmla="*/ 279 h 285"/>
                  <a:gd name="T36" fmla="*/ 27 w 231"/>
                  <a:gd name="T37" fmla="*/ 279 h 285"/>
                  <a:gd name="T38" fmla="*/ 192 w 231"/>
                  <a:gd name="T39" fmla="*/ 169 h 285"/>
                  <a:gd name="T40" fmla="*/ 192 w 231"/>
                  <a:gd name="T41" fmla="*/ 169 h 285"/>
                  <a:gd name="T42" fmla="*/ 192 w 231"/>
                  <a:gd name="T43" fmla="*/ 169 h 285"/>
                  <a:gd name="T44" fmla="*/ 23 w 231"/>
                  <a:gd name="T45" fmla="*/ 273 h 285"/>
                  <a:gd name="T46" fmla="*/ 25 w 231"/>
                  <a:gd name="T47" fmla="*/ 271 h 285"/>
                  <a:gd name="T48" fmla="*/ 190 w 231"/>
                  <a:gd name="T49" fmla="*/ 162 h 285"/>
                  <a:gd name="T50" fmla="*/ 188 w 231"/>
                  <a:gd name="T51" fmla="*/ 162 h 285"/>
                  <a:gd name="T52" fmla="*/ 187 w 231"/>
                  <a:gd name="T53" fmla="*/ 164 h 285"/>
                  <a:gd name="T54" fmla="*/ 188 w 231"/>
                  <a:gd name="T55" fmla="*/ 162 h 285"/>
                  <a:gd name="T56" fmla="*/ 75 w 231"/>
                  <a:gd name="T57" fmla="*/ 219 h 285"/>
                  <a:gd name="T58" fmla="*/ 75 w 231"/>
                  <a:gd name="T59" fmla="*/ 221 h 285"/>
                  <a:gd name="T60" fmla="*/ 48 w 231"/>
                  <a:gd name="T61" fmla="*/ 237 h 285"/>
                  <a:gd name="T62" fmla="*/ 48 w 231"/>
                  <a:gd name="T63" fmla="*/ 235 h 285"/>
                  <a:gd name="T64" fmla="*/ 12 w 231"/>
                  <a:gd name="T65" fmla="*/ 252 h 285"/>
                  <a:gd name="T66" fmla="*/ 10 w 231"/>
                  <a:gd name="T67" fmla="*/ 252 h 285"/>
                  <a:gd name="T68" fmla="*/ 10 w 231"/>
                  <a:gd name="T69" fmla="*/ 252 h 285"/>
                  <a:gd name="T70" fmla="*/ 4 w 231"/>
                  <a:gd name="T71" fmla="*/ 252 h 285"/>
                  <a:gd name="T72" fmla="*/ 4 w 231"/>
                  <a:gd name="T73" fmla="*/ 250 h 285"/>
                  <a:gd name="T74" fmla="*/ 2 w 231"/>
                  <a:gd name="T75" fmla="*/ 250 h 285"/>
                  <a:gd name="T76" fmla="*/ 2 w 231"/>
                  <a:gd name="T77" fmla="*/ 250 h 285"/>
                  <a:gd name="T78" fmla="*/ 2 w 231"/>
                  <a:gd name="T79" fmla="*/ 250 h 285"/>
                  <a:gd name="T80" fmla="*/ 0 w 231"/>
                  <a:gd name="T81" fmla="*/ 250 h 285"/>
                  <a:gd name="T82" fmla="*/ 0 w 231"/>
                  <a:gd name="T83" fmla="*/ 250 h 285"/>
                  <a:gd name="T84" fmla="*/ 0 w 231"/>
                  <a:gd name="T85" fmla="*/ 250 h 285"/>
                  <a:gd name="T86" fmla="*/ 2 w 231"/>
                  <a:gd name="T87" fmla="*/ 250 h 285"/>
                  <a:gd name="T88" fmla="*/ 2 w 231"/>
                  <a:gd name="T89" fmla="*/ 250 h 285"/>
                  <a:gd name="T90" fmla="*/ 2 w 231"/>
                  <a:gd name="T91" fmla="*/ 250 h 285"/>
                  <a:gd name="T92" fmla="*/ 0 w 231"/>
                  <a:gd name="T93" fmla="*/ 250 h 285"/>
                  <a:gd name="T94" fmla="*/ 0 w 231"/>
                  <a:gd name="T95" fmla="*/ 250 h 285"/>
                  <a:gd name="T96" fmla="*/ 2 w 231"/>
                  <a:gd name="T97" fmla="*/ 248 h 285"/>
                  <a:gd name="T98" fmla="*/ 0 w 231"/>
                  <a:gd name="T99" fmla="*/ 248 h 285"/>
                  <a:gd name="T100" fmla="*/ 139 w 231"/>
                  <a:gd name="T101" fmla="*/ 154 h 285"/>
                  <a:gd name="T102" fmla="*/ 139 w 231"/>
                  <a:gd name="T103" fmla="*/ 152 h 285"/>
                  <a:gd name="T104" fmla="*/ 135 w 231"/>
                  <a:gd name="T105" fmla="*/ 144 h 285"/>
                  <a:gd name="T106" fmla="*/ 135 w 231"/>
                  <a:gd name="T107" fmla="*/ 144 h 285"/>
                  <a:gd name="T108" fmla="*/ 229 w 231"/>
                  <a:gd name="T109" fmla="*/ 2 h 285"/>
                  <a:gd name="T110" fmla="*/ 229 w 231"/>
                  <a:gd name="T111"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1" h="285">
                    <a:moveTo>
                      <a:pt x="75" y="258"/>
                    </a:moveTo>
                    <a:lnTo>
                      <a:pt x="75" y="258"/>
                    </a:lnTo>
                    <a:lnTo>
                      <a:pt x="75" y="258"/>
                    </a:lnTo>
                    <a:lnTo>
                      <a:pt x="75" y="260"/>
                    </a:lnTo>
                    <a:lnTo>
                      <a:pt x="75" y="260"/>
                    </a:lnTo>
                    <a:lnTo>
                      <a:pt x="75" y="260"/>
                    </a:lnTo>
                    <a:lnTo>
                      <a:pt x="75" y="260"/>
                    </a:lnTo>
                    <a:lnTo>
                      <a:pt x="75" y="260"/>
                    </a:lnTo>
                    <a:lnTo>
                      <a:pt x="75" y="260"/>
                    </a:lnTo>
                    <a:lnTo>
                      <a:pt x="75" y="262"/>
                    </a:lnTo>
                    <a:lnTo>
                      <a:pt x="75" y="262"/>
                    </a:lnTo>
                    <a:lnTo>
                      <a:pt x="75" y="262"/>
                    </a:lnTo>
                    <a:lnTo>
                      <a:pt x="75" y="264"/>
                    </a:lnTo>
                    <a:lnTo>
                      <a:pt x="75" y="264"/>
                    </a:lnTo>
                    <a:lnTo>
                      <a:pt x="75" y="264"/>
                    </a:lnTo>
                    <a:lnTo>
                      <a:pt x="73" y="265"/>
                    </a:lnTo>
                    <a:lnTo>
                      <a:pt x="73" y="265"/>
                    </a:lnTo>
                    <a:lnTo>
                      <a:pt x="73" y="265"/>
                    </a:lnTo>
                    <a:lnTo>
                      <a:pt x="73" y="265"/>
                    </a:lnTo>
                    <a:lnTo>
                      <a:pt x="71" y="265"/>
                    </a:lnTo>
                    <a:lnTo>
                      <a:pt x="71" y="267"/>
                    </a:lnTo>
                    <a:lnTo>
                      <a:pt x="71" y="267"/>
                    </a:lnTo>
                    <a:lnTo>
                      <a:pt x="71" y="267"/>
                    </a:lnTo>
                    <a:lnTo>
                      <a:pt x="71" y="267"/>
                    </a:lnTo>
                    <a:lnTo>
                      <a:pt x="71" y="267"/>
                    </a:lnTo>
                    <a:lnTo>
                      <a:pt x="71" y="265"/>
                    </a:lnTo>
                    <a:lnTo>
                      <a:pt x="71" y="265"/>
                    </a:lnTo>
                    <a:lnTo>
                      <a:pt x="71" y="265"/>
                    </a:lnTo>
                    <a:lnTo>
                      <a:pt x="71" y="265"/>
                    </a:lnTo>
                    <a:lnTo>
                      <a:pt x="69" y="264"/>
                    </a:lnTo>
                    <a:lnTo>
                      <a:pt x="69" y="264"/>
                    </a:lnTo>
                    <a:lnTo>
                      <a:pt x="69" y="264"/>
                    </a:lnTo>
                    <a:lnTo>
                      <a:pt x="69" y="264"/>
                    </a:lnTo>
                    <a:lnTo>
                      <a:pt x="69" y="264"/>
                    </a:lnTo>
                    <a:lnTo>
                      <a:pt x="69" y="264"/>
                    </a:lnTo>
                    <a:lnTo>
                      <a:pt x="71" y="262"/>
                    </a:lnTo>
                    <a:lnTo>
                      <a:pt x="71" y="262"/>
                    </a:lnTo>
                    <a:lnTo>
                      <a:pt x="71" y="260"/>
                    </a:lnTo>
                    <a:lnTo>
                      <a:pt x="71" y="260"/>
                    </a:lnTo>
                    <a:lnTo>
                      <a:pt x="71" y="260"/>
                    </a:lnTo>
                    <a:lnTo>
                      <a:pt x="71" y="260"/>
                    </a:lnTo>
                    <a:lnTo>
                      <a:pt x="71" y="260"/>
                    </a:lnTo>
                    <a:lnTo>
                      <a:pt x="71" y="260"/>
                    </a:lnTo>
                    <a:lnTo>
                      <a:pt x="71" y="260"/>
                    </a:lnTo>
                    <a:lnTo>
                      <a:pt x="71" y="260"/>
                    </a:lnTo>
                    <a:lnTo>
                      <a:pt x="71" y="260"/>
                    </a:lnTo>
                    <a:lnTo>
                      <a:pt x="71" y="260"/>
                    </a:lnTo>
                    <a:lnTo>
                      <a:pt x="73" y="260"/>
                    </a:lnTo>
                    <a:lnTo>
                      <a:pt x="71" y="260"/>
                    </a:lnTo>
                    <a:lnTo>
                      <a:pt x="71" y="258"/>
                    </a:lnTo>
                    <a:lnTo>
                      <a:pt x="71" y="258"/>
                    </a:lnTo>
                    <a:lnTo>
                      <a:pt x="73" y="258"/>
                    </a:lnTo>
                    <a:lnTo>
                      <a:pt x="71" y="258"/>
                    </a:lnTo>
                    <a:lnTo>
                      <a:pt x="71" y="256"/>
                    </a:lnTo>
                    <a:lnTo>
                      <a:pt x="71" y="256"/>
                    </a:lnTo>
                    <a:lnTo>
                      <a:pt x="71" y="256"/>
                    </a:lnTo>
                    <a:lnTo>
                      <a:pt x="71" y="256"/>
                    </a:lnTo>
                    <a:lnTo>
                      <a:pt x="71" y="256"/>
                    </a:lnTo>
                    <a:lnTo>
                      <a:pt x="73" y="256"/>
                    </a:lnTo>
                    <a:lnTo>
                      <a:pt x="73" y="256"/>
                    </a:lnTo>
                    <a:lnTo>
                      <a:pt x="73" y="256"/>
                    </a:lnTo>
                    <a:lnTo>
                      <a:pt x="73" y="256"/>
                    </a:lnTo>
                    <a:lnTo>
                      <a:pt x="75" y="256"/>
                    </a:lnTo>
                    <a:lnTo>
                      <a:pt x="75" y="256"/>
                    </a:lnTo>
                    <a:lnTo>
                      <a:pt x="75" y="256"/>
                    </a:lnTo>
                    <a:lnTo>
                      <a:pt x="75" y="256"/>
                    </a:lnTo>
                    <a:lnTo>
                      <a:pt x="75" y="256"/>
                    </a:lnTo>
                    <a:lnTo>
                      <a:pt x="75" y="256"/>
                    </a:lnTo>
                    <a:lnTo>
                      <a:pt x="75" y="258"/>
                    </a:lnTo>
                    <a:lnTo>
                      <a:pt x="75" y="258"/>
                    </a:lnTo>
                    <a:lnTo>
                      <a:pt x="75" y="258"/>
                    </a:lnTo>
                    <a:lnTo>
                      <a:pt x="75" y="258"/>
                    </a:lnTo>
                    <a:lnTo>
                      <a:pt x="75" y="258"/>
                    </a:lnTo>
                    <a:close/>
                    <a:moveTo>
                      <a:pt x="29" y="277"/>
                    </a:moveTo>
                    <a:lnTo>
                      <a:pt x="29" y="277"/>
                    </a:lnTo>
                    <a:lnTo>
                      <a:pt x="29" y="277"/>
                    </a:lnTo>
                    <a:lnTo>
                      <a:pt x="29" y="277"/>
                    </a:lnTo>
                    <a:lnTo>
                      <a:pt x="29" y="277"/>
                    </a:lnTo>
                    <a:lnTo>
                      <a:pt x="29" y="277"/>
                    </a:lnTo>
                    <a:lnTo>
                      <a:pt x="29" y="277"/>
                    </a:lnTo>
                    <a:lnTo>
                      <a:pt x="29" y="277"/>
                    </a:lnTo>
                    <a:lnTo>
                      <a:pt x="29" y="279"/>
                    </a:lnTo>
                    <a:lnTo>
                      <a:pt x="29" y="279"/>
                    </a:lnTo>
                    <a:lnTo>
                      <a:pt x="29" y="279"/>
                    </a:lnTo>
                    <a:lnTo>
                      <a:pt x="29" y="279"/>
                    </a:lnTo>
                    <a:lnTo>
                      <a:pt x="29" y="279"/>
                    </a:lnTo>
                    <a:lnTo>
                      <a:pt x="29" y="281"/>
                    </a:lnTo>
                    <a:lnTo>
                      <a:pt x="29" y="281"/>
                    </a:lnTo>
                    <a:lnTo>
                      <a:pt x="29" y="281"/>
                    </a:lnTo>
                    <a:lnTo>
                      <a:pt x="29" y="281"/>
                    </a:lnTo>
                    <a:lnTo>
                      <a:pt x="29" y="281"/>
                    </a:lnTo>
                    <a:lnTo>
                      <a:pt x="27" y="283"/>
                    </a:lnTo>
                    <a:lnTo>
                      <a:pt x="27" y="283"/>
                    </a:lnTo>
                    <a:lnTo>
                      <a:pt x="27" y="283"/>
                    </a:lnTo>
                    <a:lnTo>
                      <a:pt x="29" y="285"/>
                    </a:lnTo>
                    <a:lnTo>
                      <a:pt x="29" y="285"/>
                    </a:lnTo>
                    <a:lnTo>
                      <a:pt x="29" y="285"/>
                    </a:lnTo>
                    <a:lnTo>
                      <a:pt x="29" y="285"/>
                    </a:lnTo>
                    <a:lnTo>
                      <a:pt x="27" y="285"/>
                    </a:lnTo>
                    <a:lnTo>
                      <a:pt x="27" y="285"/>
                    </a:lnTo>
                    <a:lnTo>
                      <a:pt x="27" y="285"/>
                    </a:lnTo>
                    <a:lnTo>
                      <a:pt x="27" y="285"/>
                    </a:lnTo>
                    <a:lnTo>
                      <a:pt x="27" y="285"/>
                    </a:lnTo>
                    <a:lnTo>
                      <a:pt x="27" y="285"/>
                    </a:lnTo>
                    <a:lnTo>
                      <a:pt x="27" y="285"/>
                    </a:lnTo>
                    <a:lnTo>
                      <a:pt x="27" y="285"/>
                    </a:lnTo>
                    <a:lnTo>
                      <a:pt x="27" y="285"/>
                    </a:lnTo>
                    <a:lnTo>
                      <a:pt x="27" y="283"/>
                    </a:lnTo>
                    <a:lnTo>
                      <a:pt x="27" y="283"/>
                    </a:lnTo>
                    <a:lnTo>
                      <a:pt x="27" y="283"/>
                    </a:lnTo>
                    <a:lnTo>
                      <a:pt x="27" y="283"/>
                    </a:lnTo>
                    <a:lnTo>
                      <a:pt x="27" y="283"/>
                    </a:lnTo>
                    <a:lnTo>
                      <a:pt x="27" y="283"/>
                    </a:lnTo>
                    <a:lnTo>
                      <a:pt x="27" y="283"/>
                    </a:lnTo>
                    <a:lnTo>
                      <a:pt x="27" y="283"/>
                    </a:lnTo>
                    <a:lnTo>
                      <a:pt x="27" y="283"/>
                    </a:lnTo>
                    <a:lnTo>
                      <a:pt x="27" y="281"/>
                    </a:lnTo>
                    <a:lnTo>
                      <a:pt x="27" y="281"/>
                    </a:lnTo>
                    <a:lnTo>
                      <a:pt x="27" y="281"/>
                    </a:lnTo>
                    <a:lnTo>
                      <a:pt x="27" y="281"/>
                    </a:lnTo>
                    <a:lnTo>
                      <a:pt x="27" y="281"/>
                    </a:lnTo>
                    <a:lnTo>
                      <a:pt x="27" y="279"/>
                    </a:lnTo>
                    <a:lnTo>
                      <a:pt x="27" y="279"/>
                    </a:lnTo>
                    <a:lnTo>
                      <a:pt x="27" y="279"/>
                    </a:lnTo>
                    <a:lnTo>
                      <a:pt x="27" y="279"/>
                    </a:lnTo>
                    <a:lnTo>
                      <a:pt x="27" y="279"/>
                    </a:lnTo>
                    <a:lnTo>
                      <a:pt x="27" y="279"/>
                    </a:lnTo>
                    <a:lnTo>
                      <a:pt x="27" y="279"/>
                    </a:lnTo>
                    <a:lnTo>
                      <a:pt x="27" y="279"/>
                    </a:lnTo>
                    <a:lnTo>
                      <a:pt x="27" y="279"/>
                    </a:lnTo>
                    <a:lnTo>
                      <a:pt x="27" y="279"/>
                    </a:lnTo>
                    <a:lnTo>
                      <a:pt x="27" y="279"/>
                    </a:lnTo>
                    <a:lnTo>
                      <a:pt x="27" y="279"/>
                    </a:lnTo>
                    <a:lnTo>
                      <a:pt x="27" y="277"/>
                    </a:lnTo>
                    <a:lnTo>
                      <a:pt x="27" y="277"/>
                    </a:lnTo>
                    <a:lnTo>
                      <a:pt x="27" y="277"/>
                    </a:lnTo>
                    <a:lnTo>
                      <a:pt x="29" y="277"/>
                    </a:lnTo>
                    <a:close/>
                    <a:moveTo>
                      <a:pt x="192" y="169"/>
                    </a:move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lnTo>
                      <a:pt x="192" y="169"/>
                    </a:lnTo>
                    <a:close/>
                    <a:moveTo>
                      <a:pt x="25" y="271"/>
                    </a:moveTo>
                    <a:lnTo>
                      <a:pt x="25" y="273"/>
                    </a:lnTo>
                    <a:lnTo>
                      <a:pt x="23" y="273"/>
                    </a:lnTo>
                    <a:lnTo>
                      <a:pt x="23" y="273"/>
                    </a:lnTo>
                    <a:lnTo>
                      <a:pt x="23" y="273"/>
                    </a:lnTo>
                    <a:lnTo>
                      <a:pt x="23" y="273"/>
                    </a:lnTo>
                    <a:lnTo>
                      <a:pt x="23" y="273"/>
                    </a:lnTo>
                    <a:lnTo>
                      <a:pt x="23" y="273"/>
                    </a:lnTo>
                    <a:lnTo>
                      <a:pt x="23" y="271"/>
                    </a:lnTo>
                    <a:lnTo>
                      <a:pt x="23" y="271"/>
                    </a:lnTo>
                    <a:lnTo>
                      <a:pt x="23" y="271"/>
                    </a:lnTo>
                    <a:lnTo>
                      <a:pt x="23" y="271"/>
                    </a:lnTo>
                    <a:lnTo>
                      <a:pt x="25" y="271"/>
                    </a:lnTo>
                    <a:lnTo>
                      <a:pt x="25" y="271"/>
                    </a:lnTo>
                    <a:close/>
                    <a:moveTo>
                      <a:pt x="188" y="162"/>
                    </a:moveTo>
                    <a:lnTo>
                      <a:pt x="188" y="162"/>
                    </a:lnTo>
                    <a:lnTo>
                      <a:pt x="188" y="162"/>
                    </a:lnTo>
                    <a:lnTo>
                      <a:pt x="188" y="162"/>
                    </a:lnTo>
                    <a:lnTo>
                      <a:pt x="188" y="162"/>
                    </a:lnTo>
                    <a:lnTo>
                      <a:pt x="188" y="162"/>
                    </a:lnTo>
                    <a:lnTo>
                      <a:pt x="190" y="162"/>
                    </a:lnTo>
                    <a:lnTo>
                      <a:pt x="190" y="162"/>
                    </a:lnTo>
                    <a:lnTo>
                      <a:pt x="188" y="162"/>
                    </a:lnTo>
                    <a:lnTo>
                      <a:pt x="188" y="162"/>
                    </a:lnTo>
                    <a:lnTo>
                      <a:pt x="188" y="162"/>
                    </a:lnTo>
                    <a:lnTo>
                      <a:pt x="188" y="162"/>
                    </a:lnTo>
                    <a:lnTo>
                      <a:pt x="188" y="162"/>
                    </a:lnTo>
                    <a:lnTo>
                      <a:pt x="188" y="162"/>
                    </a:lnTo>
                    <a:lnTo>
                      <a:pt x="188" y="164"/>
                    </a:lnTo>
                    <a:lnTo>
                      <a:pt x="188" y="164"/>
                    </a:lnTo>
                    <a:lnTo>
                      <a:pt x="188" y="164"/>
                    </a:lnTo>
                    <a:lnTo>
                      <a:pt x="187" y="164"/>
                    </a:lnTo>
                    <a:lnTo>
                      <a:pt x="187" y="164"/>
                    </a:lnTo>
                    <a:lnTo>
                      <a:pt x="187" y="164"/>
                    </a:lnTo>
                    <a:lnTo>
                      <a:pt x="187" y="164"/>
                    </a:lnTo>
                    <a:lnTo>
                      <a:pt x="187" y="162"/>
                    </a:lnTo>
                    <a:lnTo>
                      <a:pt x="187" y="162"/>
                    </a:lnTo>
                    <a:lnTo>
                      <a:pt x="187" y="162"/>
                    </a:lnTo>
                    <a:lnTo>
                      <a:pt x="187" y="162"/>
                    </a:lnTo>
                    <a:lnTo>
                      <a:pt x="188" y="162"/>
                    </a:lnTo>
                    <a:lnTo>
                      <a:pt x="188" y="162"/>
                    </a:lnTo>
                    <a:lnTo>
                      <a:pt x="188" y="162"/>
                    </a:lnTo>
                    <a:lnTo>
                      <a:pt x="188" y="162"/>
                    </a:lnTo>
                    <a:lnTo>
                      <a:pt x="188" y="160"/>
                    </a:lnTo>
                    <a:lnTo>
                      <a:pt x="188" y="162"/>
                    </a:lnTo>
                    <a:lnTo>
                      <a:pt x="188" y="162"/>
                    </a:lnTo>
                    <a:lnTo>
                      <a:pt x="188" y="162"/>
                    </a:lnTo>
                    <a:close/>
                    <a:moveTo>
                      <a:pt x="75" y="221"/>
                    </a:moveTo>
                    <a:lnTo>
                      <a:pt x="75" y="219"/>
                    </a:lnTo>
                    <a:lnTo>
                      <a:pt x="75" y="219"/>
                    </a:lnTo>
                    <a:lnTo>
                      <a:pt x="75" y="219"/>
                    </a:lnTo>
                    <a:lnTo>
                      <a:pt x="75" y="219"/>
                    </a:lnTo>
                    <a:lnTo>
                      <a:pt x="75" y="219"/>
                    </a:lnTo>
                    <a:lnTo>
                      <a:pt x="75" y="219"/>
                    </a:lnTo>
                    <a:lnTo>
                      <a:pt x="73" y="221"/>
                    </a:lnTo>
                    <a:lnTo>
                      <a:pt x="75" y="221"/>
                    </a:lnTo>
                    <a:close/>
                    <a:moveTo>
                      <a:pt x="48" y="237"/>
                    </a:moveTo>
                    <a:lnTo>
                      <a:pt x="48" y="237"/>
                    </a:lnTo>
                    <a:lnTo>
                      <a:pt x="48" y="237"/>
                    </a:lnTo>
                    <a:lnTo>
                      <a:pt x="48" y="237"/>
                    </a:lnTo>
                    <a:lnTo>
                      <a:pt x="48" y="237"/>
                    </a:lnTo>
                    <a:lnTo>
                      <a:pt x="48" y="237"/>
                    </a:lnTo>
                    <a:lnTo>
                      <a:pt x="48" y="237"/>
                    </a:lnTo>
                    <a:lnTo>
                      <a:pt x="48" y="235"/>
                    </a:lnTo>
                    <a:lnTo>
                      <a:pt x="48" y="235"/>
                    </a:lnTo>
                    <a:lnTo>
                      <a:pt x="48" y="235"/>
                    </a:lnTo>
                    <a:lnTo>
                      <a:pt x="48" y="235"/>
                    </a:lnTo>
                    <a:lnTo>
                      <a:pt x="48" y="235"/>
                    </a:lnTo>
                    <a:lnTo>
                      <a:pt x="48" y="235"/>
                    </a:lnTo>
                    <a:lnTo>
                      <a:pt x="48" y="235"/>
                    </a:lnTo>
                    <a:lnTo>
                      <a:pt x="48" y="237"/>
                    </a:lnTo>
                    <a:lnTo>
                      <a:pt x="48" y="237"/>
                    </a:lnTo>
                    <a:close/>
                    <a:moveTo>
                      <a:pt x="12" y="254"/>
                    </a:moveTo>
                    <a:lnTo>
                      <a:pt x="12" y="254"/>
                    </a:lnTo>
                    <a:lnTo>
                      <a:pt x="12" y="254"/>
                    </a:lnTo>
                    <a:lnTo>
                      <a:pt x="12" y="252"/>
                    </a:lnTo>
                    <a:lnTo>
                      <a:pt x="12" y="252"/>
                    </a:lnTo>
                    <a:lnTo>
                      <a:pt x="12" y="252"/>
                    </a:lnTo>
                    <a:lnTo>
                      <a:pt x="12" y="254"/>
                    </a:lnTo>
                    <a:lnTo>
                      <a:pt x="12" y="254"/>
                    </a:lnTo>
                    <a:lnTo>
                      <a:pt x="12" y="254"/>
                    </a:lnTo>
                    <a:lnTo>
                      <a:pt x="12" y="254"/>
                    </a:lnTo>
                    <a:lnTo>
                      <a:pt x="12" y="254"/>
                    </a:lnTo>
                    <a:close/>
                    <a:moveTo>
                      <a:pt x="10" y="252"/>
                    </a:moveTo>
                    <a:lnTo>
                      <a:pt x="10" y="252"/>
                    </a:lnTo>
                    <a:lnTo>
                      <a:pt x="10" y="252"/>
                    </a:lnTo>
                    <a:lnTo>
                      <a:pt x="8" y="252"/>
                    </a:lnTo>
                    <a:lnTo>
                      <a:pt x="8" y="252"/>
                    </a:lnTo>
                    <a:lnTo>
                      <a:pt x="8" y="252"/>
                    </a:lnTo>
                    <a:lnTo>
                      <a:pt x="8" y="252"/>
                    </a:lnTo>
                    <a:lnTo>
                      <a:pt x="10" y="252"/>
                    </a:lnTo>
                    <a:lnTo>
                      <a:pt x="10" y="252"/>
                    </a:lnTo>
                    <a:close/>
                    <a:moveTo>
                      <a:pt x="6" y="252"/>
                    </a:moveTo>
                    <a:lnTo>
                      <a:pt x="6" y="252"/>
                    </a:lnTo>
                    <a:lnTo>
                      <a:pt x="6" y="252"/>
                    </a:lnTo>
                    <a:lnTo>
                      <a:pt x="4" y="252"/>
                    </a:lnTo>
                    <a:lnTo>
                      <a:pt x="4" y="252"/>
                    </a:lnTo>
                    <a:lnTo>
                      <a:pt x="4" y="252"/>
                    </a:lnTo>
                    <a:lnTo>
                      <a:pt x="4" y="252"/>
                    </a:lnTo>
                    <a:lnTo>
                      <a:pt x="4" y="252"/>
                    </a:lnTo>
                    <a:lnTo>
                      <a:pt x="4" y="252"/>
                    </a:lnTo>
                    <a:lnTo>
                      <a:pt x="4" y="252"/>
                    </a:lnTo>
                    <a:lnTo>
                      <a:pt x="6" y="252"/>
                    </a:lnTo>
                    <a:close/>
                    <a:moveTo>
                      <a:pt x="4" y="250"/>
                    </a:moveTo>
                    <a:lnTo>
                      <a:pt x="4" y="250"/>
                    </a:lnTo>
                    <a:lnTo>
                      <a:pt x="4" y="250"/>
                    </a:lnTo>
                    <a:lnTo>
                      <a:pt x="4" y="250"/>
                    </a:lnTo>
                    <a:lnTo>
                      <a:pt x="4" y="250"/>
                    </a:lnTo>
                    <a:lnTo>
                      <a:pt x="4" y="250"/>
                    </a:lnTo>
                    <a:lnTo>
                      <a:pt x="4" y="250"/>
                    </a:lnTo>
                    <a:close/>
                    <a:moveTo>
                      <a:pt x="2" y="250"/>
                    </a:moveTo>
                    <a:lnTo>
                      <a:pt x="2" y="250"/>
                    </a:lnTo>
                    <a:lnTo>
                      <a:pt x="2" y="250"/>
                    </a:lnTo>
                    <a:lnTo>
                      <a:pt x="2" y="250"/>
                    </a:lnTo>
                    <a:lnTo>
                      <a:pt x="2" y="250"/>
                    </a:lnTo>
                    <a:lnTo>
                      <a:pt x="2" y="250"/>
                    </a:lnTo>
                    <a:lnTo>
                      <a:pt x="2" y="250"/>
                    </a:lnTo>
                    <a:lnTo>
                      <a:pt x="2" y="250"/>
                    </a:lnTo>
                    <a:close/>
                    <a:moveTo>
                      <a:pt x="2" y="250"/>
                    </a:moveTo>
                    <a:lnTo>
                      <a:pt x="2" y="250"/>
                    </a:lnTo>
                    <a:lnTo>
                      <a:pt x="2" y="250"/>
                    </a:lnTo>
                    <a:lnTo>
                      <a:pt x="2" y="250"/>
                    </a:lnTo>
                    <a:lnTo>
                      <a:pt x="2" y="250"/>
                    </a:lnTo>
                    <a:lnTo>
                      <a:pt x="2" y="250"/>
                    </a:lnTo>
                    <a:lnTo>
                      <a:pt x="2" y="250"/>
                    </a:lnTo>
                    <a:lnTo>
                      <a:pt x="2" y="250"/>
                    </a:lnTo>
                    <a:lnTo>
                      <a:pt x="2" y="250"/>
                    </a:lnTo>
                    <a:lnTo>
                      <a:pt x="2" y="250"/>
                    </a:lnTo>
                    <a:lnTo>
                      <a:pt x="2" y="250"/>
                    </a:lnTo>
                    <a:close/>
                    <a:moveTo>
                      <a:pt x="0" y="250"/>
                    </a:moveTo>
                    <a:lnTo>
                      <a:pt x="0" y="250"/>
                    </a:lnTo>
                    <a:lnTo>
                      <a:pt x="0" y="250"/>
                    </a:lnTo>
                    <a:lnTo>
                      <a:pt x="0" y="250"/>
                    </a:lnTo>
                    <a:lnTo>
                      <a:pt x="0" y="250"/>
                    </a:lnTo>
                    <a:lnTo>
                      <a:pt x="0" y="250"/>
                    </a:lnTo>
                    <a:lnTo>
                      <a:pt x="0" y="250"/>
                    </a:lnTo>
                    <a:lnTo>
                      <a:pt x="0" y="250"/>
                    </a:lnTo>
                    <a:lnTo>
                      <a:pt x="0" y="250"/>
                    </a:lnTo>
                    <a:lnTo>
                      <a:pt x="0" y="250"/>
                    </a:lnTo>
                    <a:lnTo>
                      <a:pt x="0" y="250"/>
                    </a:lnTo>
                    <a:lnTo>
                      <a:pt x="0" y="250"/>
                    </a:lnTo>
                    <a:lnTo>
                      <a:pt x="0" y="250"/>
                    </a:lnTo>
                    <a:lnTo>
                      <a:pt x="0" y="250"/>
                    </a:lnTo>
                    <a:close/>
                    <a:moveTo>
                      <a:pt x="0" y="250"/>
                    </a:moveTo>
                    <a:lnTo>
                      <a:pt x="0" y="250"/>
                    </a:lnTo>
                    <a:lnTo>
                      <a:pt x="0" y="250"/>
                    </a:lnTo>
                    <a:lnTo>
                      <a:pt x="0" y="250"/>
                    </a:lnTo>
                    <a:lnTo>
                      <a:pt x="2" y="250"/>
                    </a:lnTo>
                    <a:lnTo>
                      <a:pt x="2" y="248"/>
                    </a:lnTo>
                    <a:lnTo>
                      <a:pt x="2" y="248"/>
                    </a:lnTo>
                    <a:lnTo>
                      <a:pt x="2" y="248"/>
                    </a:lnTo>
                    <a:lnTo>
                      <a:pt x="2" y="248"/>
                    </a:lnTo>
                    <a:lnTo>
                      <a:pt x="2" y="248"/>
                    </a:lnTo>
                    <a:lnTo>
                      <a:pt x="2" y="250"/>
                    </a:lnTo>
                    <a:lnTo>
                      <a:pt x="2" y="250"/>
                    </a:lnTo>
                    <a:lnTo>
                      <a:pt x="2" y="250"/>
                    </a:lnTo>
                    <a:lnTo>
                      <a:pt x="4" y="250"/>
                    </a:lnTo>
                    <a:lnTo>
                      <a:pt x="2" y="250"/>
                    </a:lnTo>
                    <a:lnTo>
                      <a:pt x="2" y="250"/>
                    </a:lnTo>
                    <a:lnTo>
                      <a:pt x="2" y="250"/>
                    </a:lnTo>
                    <a:lnTo>
                      <a:pt x="2" y="250"/>
                    </a:lnTo>
                    <a:lnTo>
                      <a:pt x="2" y="250"/>
                    </a:lnTo>
                    <a:lnTo>
                      <a:pt x="2" y="250"/>
                    </a:lnTo>
                    <a:lnTo>
                      <a:pt x="2" y="250"/>
                    </a:lnTo>
                    <a:lnTo>
                      <a:pt x="2" y="250"/>
                    </a:lnTo>
                    <a:lnTo>
                      <a:pt x="2" y="250"/>
                    </a:lnTo>
                    <a:lnTo>
                      <a:pt x="2" y="250"/>
                    </a:lnTo>
                    <a:lnTo>
                      <a:pt x="2" y="250"/>
                    </a:lnTo>
                    <a:lnTo>
                      <a:pt x="2" y="250"/>
                    </a:lnTo>
                    <a:lnTo>
                      <a:pt x="0" y="250"/>
                    </a:lnTo>
                    <a:lnTo>
                      <a:pt x="2" y="250"/>
                    </a:lnTo>
                    <a:lnTo>
                      <a:pt x="0" y="250"/>
                    </a:lnTo>
                    <a:lnTo>
                      <a:pt x="0" y="250"/>
                    </a:lnTo>
                    <a:lnTo>
                      <a:pt x="0" y="250"/>
                    </a:lnTo>
                    <a:lnTo>
                      <a:pt x="0" y="250"/>
                    </a:lnTo>
                    <a:lnTo>
                      <a:pt x="0" y="250"/>
                    </a:lnTo>
                    <a:close/>
                    <a:moveTo>
                      <a:pt x="0" y="250"/>
                    </a:moveTo>
                    <a:lnTo>
                      <a:pt x="0" y="250"/>
                    </a:lnTo>
                    <a:lnTo>
                      <a:pt x="0" y="250"/>
                    </a:lnTo>
                    <a:lnTo>
                      <a:pt x="0" y="250"/>
                    </a:lnTo>
                    <a:lnTo>
                      <a:pt x="0" y="250"/>
                    </a:lnTo>
                    <a:lnTo>
                      <a:pt x="0" y="250"/>
                    </a:lnTo>
                    <a:lnTo>
                      <a:pt x="0" y="250"/>
                    </a:lnTo>
                    <a:lnTo>
                      <a:pt x="0" y="250"/>
                    </a:lnTo>
                    <a:lnTo>
                      <a:pt x="0" y="250"/>
                    </a:lnTo>
                    <a:lnTo>
                      <a:pt x="0" y="250"/>
                    </a:lnTo>
                    <a:lnTo>
                      <a:pt x="0" y="250"/>
                    </a:lnTo>
                    <a:close/>
                    <a:moveTo>
                      <a:pt x="2" y="248"/>
                    </a:moveTo>
                    <a:lnTo>
                      <a:pt x="2" y="248"/>
                    </a:lnTo>
                    <a:lnTo>
                      <a:pt x="0" y="250"/>
                    </a:lnTo>
                    <a:lnTo>
                      <a:pt x="0" y="250"/>
                    </a:lnTo>
                    <a:lnTo>
                      <a:pt x="0" y="248"/>
                    </a:lnTo>
                    <a:lnTo>
                      <a:pt x="0" y="248"/>
                    </a:lnTo>
                    <a:lnTo>
                      <a:pt x="0" y="248"/>
                    </a:lnTo>
                    <a:lnTo>
                      <a:pt x="0" y="248"/>
                    </a:lnTo>
                    <a:lnTo>
                      <a:pt x="0" y="248"/>
                    </a:lnTo>
                    <a:lnTo>
                      <a:pt x="2" y="248"/>
                    </a:lnTo>
                    <a:close/>
                    <a:moveTo>
                      <a:pt x="140" y="156"/>
                    </a:moveTo>
                    <a:lnTo>
                      <a:pt x="140" y="156"/>
                    </a:lnTo>
                    <a:lnTo>
                      <a:pt x="140" y="156"/>
                    </a:lnTo>
                    <a:lnTo>
                      <a:pt x="140" y="154"/>
                    </a:lnTo>
                    <a:lnTo>
                      <a:pt x="139" y="154"/>
                    </a:lnTo>
                    <a:lnTo>
                      <a:pt x="139" y="154"/>
                    </a:lnTo>
                    <a:lnTo>
                      <a:pt x="139" y="154"/>
                    </a:lnTo>
                    <a:lnTo>
                      <a:pt x="139" y="152"/>
                    </a:lnTo>
                    <a:lnTo>
                      <a:pt x="139" y="152"/>
                    </a:lnTo>
                    <a:lnTo>
                      <a:pt x="139" y="152"/>
                    </a:lnTo>
                    <a:lnTo>
                      <a:pt x="139" y="152"/>
                    </a:lnTo>
                    <a:lnTo>
                      <a:pt x="139" y="152"/>
                    </a:lnTo>
                    <a:lnTo>
                      <a:pt x="139" y="152"/>
                    </a:lnTo>
                    <a:lnTo>
                      <a:pt x="140" y="154"/>
                    </a:lnTo>
                    <a:lnTo>
                      <a:pt x="140" y="154"/>
                    </a:lnTo>
                    <a:lnTo>
                      <a:pt x="140" y="156"/>
                    </a:lnTo>
                    <a:close/>
                    <a:moveTo>
                      <a:pt x="135" y="144"/>
                    </a:moveTo>
                    <a:lnTo>
                      <a:pt x="135" y="144"/>
                    </a:lnTo>
                    <a:lnTo>
                      <a:pt x="135" y="144"/>
                    </a:lnTo>
                    <a:lnTo>
                      <a:pt x="135" y="144"/>
                    </a:lnTo>
                    <a:lnTo>
                      <a:pt x="135" y="144"/>
                    </a:lnTo>
                    <a:lnTo>
                      <a:pt x="135" y="144"/>
                    </a:lnTo>
                    <a:lnTo>
                      <a:pt x="135" y="144"/>
                    </a:lnTo>
                    <a:lnTo>
                      <a:pt x="135" y="144"/>
                    </a:lnTo>
                    <a:lnTo>
                      <a:pt x="135" y="144"/>
                    </a:lnTo>
                    <a:lnTo>
                      <a:pt x="135" y="144"/>
                    </a:lnTo>
                    <a:lnTo>
                      <a:pt x="135" y="144"/>
                    </a:lnTo>
                    <a:close/>
                    <a:moveTo>
                      <a:pt x="229" y="0"/>
                    </a:moveTo>
                    <a:lnTo>
                      <a:pt x="231" y="0"/>
                    </a:lnTo>
                    <a:lnTo>
                      <a:pt x="231" y="2"/>
                    </a:lnTo>
                    <a:lnTo>
                      <a:pt x="231" y="2"/>
                    </a:lnTo>
                    <a:lnTo>
                      <a:pt x="231" y="2"/>
                    </a:lnTo>
                    <a:lnTo>
                      <a:pt x="229" y="2"/>
                    </a:lnTo>
                    <a:lnTo>
                      <a:pt x="229" y="2"/>
                    </a:lnTo>
                    <a:lnTo>
                      <a:pt x="229" y="2"/>
                    </a:lnTo>
                    <a:lnTo>
                      <a:pt x="229" y="0"/>
                    </a:lnTo>
                    <a:lnTo>
                      <a:pt x="229" y="0"/>
                    </a:lnTo>
                    <a:lnTo>
                      <a:pt x="229" y="0"/>
                    </a:lnTo>
                    <a:lnTo>
                      <a:pt x="229" y="0"/>
                    </a:lnTo>
                    <a:lnTo>
                      <a:pt x="229" y="0"/>
                    </a:lnTo>
                    <a:lnTo>
                      <a:pt x="229" y="0"/>
                    </a:lnTo>
                    <a:lnTo>
                      <a:pt x="229" y="0"/>
                    </a:lnTo>
                    <a:lnTo>
                      <a:pt x="229" y="0"/>
                    </a:lnTo>
                    <a:lnTo>
                      <a:pt x="229" y="0"/>
                    </a:lnTo>
                    <a:lnTo>
                      <a:pt x="229" y="0"/>
                    </a:lnTo>
                    <a:lnTo>
                      <a:pt x="229"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6" name="Freeform 63"/>
              <p:cNvSpPr>
                <a:spLocks noEditPoints="1"/>
              </p:cNvSpPr>
              <p:nvPr/>
            </p:nvSpPr>
            <p:spPr bwMode="auto">
              <a:xfrm>
                <a:off x="6630573" y="1728152"/>
                <a:ext cx="416391" cy="481775"/>
              </a:xfrm>
              <a:custGeom>
                <a:avLst/>
                <a:gdLst>
                  <a:gd name="T0" fmla="*/ 98 w 242"/>
                  <a:gd name="T1" fmla="*/ 252 h 280"/>
                  <a:gd name="T2" fmla="*/ 96 w 242"/>
                  <a:gd name="T3" fmla="*/ 252 h 280"/>
                  <a:gd name="T4" fmla="*/ 98 w 242"/>
                  <a:gd name="T5" fmla="*/ 252 h 280"/>
                  <a:gd name="T6" fmla="*/ 183 w 242"/>
                  <a:gd name="T7" fmla="*/ 188 h 280"/>
                  <a:gd name="T8" fmla="*/ 183 w 242"/>
                  <a:gd name="T9" fmla="*/ 190 h 280"/>
                  <a:gd name="T10" fmla="*/ 183 w 242"/>
                  <a:gd name="T11" fmla="*/ 188 h 280"/>
                  <a:gd name="T12" fmla="*/ 156 w 242"/>
                  <a:gd name="T13" fmla="*/ 192 h 280"/>
                  <a:gd name="T14" fmla="*/ 156 w 242"/>
                  <a:gd name="T15" fmla="*/ 194 h 280"/>
                  <a:gd name="T16" fmla="*/ 156 w 242"/>
                  <a:gd name="T17" fmla="*/ 192 h 280"/>
                  <a:gd name="T18" fmla="*/ 15 w 242"/>
                  <a:gd name="T19" fmla="*/ 280 h 280"/>
                  <a:gd name="T20" fmla="*/ 14 w 242"/>
                  <a:gd name="T21" fmla="*/ 280 h 280"/>
                  <a:gd name="T22" fmla="*/ 15 w 242"/>
                  <a:gd name="T23" fmla="*/ 280 h 280"/>
                  <a:gd name="T24" fmla="*/ 64 w 242"/>
                  <a:gd name="T25" fmla="*/ 246 h 280"/>
                  <a:gd name="T26" fmla="*/ 64 w 242"/>
                  <a:gd name="T27" fmla="*/ 248 h 280"/>
                  <a:gd name="T28" fmla="*/ 64 w 242"/>
                  <a:gd name="T29" fmla="*/ 246 h 280"/>
                  <a:gd name="T30" fmla="*/ 71 w 242"/>
                  <a:gd name="T31" fmla="*/ 236 h 280"/>
                  <a:gd name="T32" fmla="*/ 73 w 242"/>
                  <a:gd name="T33" fmla="*/ 236 h 280"/>
                  <a:gd name="T34" fmla="*/ 71 w 242"/>
                  <a:gd name="T35" fmla="*/ 236 h 280"/>
                  <a:gd name="T36" fmla="*/ 142 w 242"/>
                  <a:gd name="T37" fmla="*/ 184 h 280"/>
                  <a:gd name="T38" fmla="*/ 140 w 242"/>
                  <a:gd name="T39" fmla="*/ 184 h 280"/>
                  <a:gd name="T40" fmla="*/ 142 w 242"/>
                  <a:gd name="T41" fmla="*/ 184 h 280"/>
                  <a:gd name="T42" fmla="*/ 10 w 242"/>
                  <a:gd name="T43" fmla="*/ 269 h 280"/>
                  <a:gd name="T44" fmla="*/ 12 w 242"/>
                  <a:gd name="T45" fmla="*/ 269 h 280"/>
                  <a:gd name="T46" fmla="*/ 10 w 242"/>
                  <a:gd name="T47" fmla="*/ 269 h 280"/>
                  <a:gd name="T48" fmla="*/ 15 w 242"/>
                  <a:gd name="T49" fmla="*/ 259 h 280"/>
                  <a:gd name="T50" fmla="*/ 15 w 242"/>
                  <a:gd name="T51" fmla="*/ 257 h 280"/>
                  <a:gd name="T52" fmla="*/ 15 w 242"/>
                  <a:gd name="T53" fmla="*/ 259 h 280"/>
                  <a:gd name="T54" fmla="*/ 14 w 242"/>
                  <a:gd name="T55" fmla="*/ 257 h 280"/>
                  <a:gd name="T56" fmla="*/ 14 w 242"/>
                  <a:gd name="T57" fmla="*/ 259 h 280"/>
                  <a:gd name="T58" fmla="*/ 14 w 242"/>
                  <a:gd name="T59" fmla="*/ 257 h 280"/>
                  <a:gd name="T60" fmla="*/ 2 w 242"/>
                  <a:gd name="T61" fmla="*/ 265 h 280"/>
                  <a:gd name="T62" fmla="*/ 0 w 242"/>
                  <a:gd name="T63" fmla="*/ 265 h 280"/>
                  <a:gd name="T64" fmla="*/ 2 w 242"/>
                  <a:gd name="T65" fmla="*/ 265 h 280"/>
                  <a:gd name="T66" fmla="*/ 138 w 242"/>
                  <a:gd name="T67" fmla="*/ 167 h 280"/>
                  <a:gd name="T68" fmla="*/ 137 w 242"/>
                  <a:gd name="T69" fmla="*/ 167 h 280"/>
                  <a:gd name="T70" fmla="*/ 138 w 242"/>
                  <a:gd name="T71" fmla="*/ 165 h 280"/>
                  <a:gd name="T72" fmla="*/ 138 w 242"/>
                  <a:gd name="T73" fmla="*/ 167 h 280"/>
                  <a:gd name="T74" fmla="*/ 135 w 242"/>
                  <a:gd name="T75" fmla="*/ 161 h 280"/>
                  <a:gd name="T76" fmla="*/ 135 w 242"/>
                  <a:gd name="T77" fmla="*/ 159 h 280"/>
                  <a:gd name="T78" fmla="*/ 135 w 242"/>
                  <a:gd name="T79" fmla="*/ 161 h 280"/>
                  <a:gd name="T80" fmla="*/ 135 w 242"/>
                  <a:gd name="T81" fmla="*/ 159 h 280"/>
                  <a:gd name="T82" fmla="*/ 133 w 242"/>
                  <a:gd name="T83" fmla="*/ 159 h 280"/>
                  <a:gd name="T84" fmla="*/ 133 w 242"/>
                  <a:gd name="T85" fmla="*/ 157 h 280"/>
                  <a:gd name="T86" fmla="*/ 135 w 242"/>
                  <a:gd name="T87" fmla="*/ 159 h 280"/>
                  <a:gd name="T88" fmla="*/ 133 w 242"/>
                  <a:gd name="T89" fmla="*/ 157 h 280"/>
                  <a:gd name="T90" fmla="*/ 133 w 242"/>
                  <a:gd name="T91" fmla="*/ 159 h 280"/>
                  <a:gd name="T92" fmla="*/ 133 w 242"/>
                  <a:gd name="T93" fmla="*/ 157 h 280"/>
                  <a:gd name="T94" fmla="*/ 133 w 242"/>
                  <a:gd name="T95" fmla="*/ 159 h 280"/>
                  <a:gd name="T96" fmla="*/ 133 w 242"/>
                  <a:gd name="T97" fmla="*/ 157 h 280"/>
                  <a:gd name="T98" fmla="*/ 133 w 242"/>
                  <a:gd name="T99" fmla="*/ 159 h 280"/>
                  <a:gd name="T100" fmla="*/ 133 w 242"/>
                  <a:gd name="T101" fmla="*/ 157 h 280"/>
                  <a:gd name="T102" fmla="*/ 131 w 242"/>
                  <a:gd name="T103" fmla="*/ 142 h 280"/>
                  <a:gd name="T104" fmla="*/ 131 w 242"/>
                  <a:gd name="T105" fmla="*/ 144 h 280"/>
                  <a:gd name="T106" fmla="*/ 131 w 242"/>
                  <a:gd name="T107" fmla="*/ 142 h 280"/>
                  <a:gd name="T108" fmla="*/ 242 w 242"/>
                  <a:gd name="T109" fmla="*/ 15 h 280"/>
                  <a:gd name="T110" fmla="*/ 242 w 242"/>
                  <a:gd name="T111" fmla="*/ 17 h 280"/>
                  <a:gd name="T112" fmla="*/ 242 w 242"/>
                  <a:gd name="T113" fmla="*/ 15 h 280"/>
                  <a:gd name="T114" fmla="*/ 236 w 242"/>
                  <a:gd name="T115" fmla="*/ 4 h 280"/>
                  <a:gd name="T116" fmla="*/ 236 w 242"/>
                  <a:gd name="T117" fmla="*/ 6 h 280"/>
                  <a:gd name="T118" fmla="*/ 236 w 242"/>
                  <a:gd name="T119" fmla="*/ 4 h 280"/>
                  <a:gd name="T120" fmla="*/ 211 w 242"/>
                  <a:gd name="T121" fmla="*/ 2 h 280"/>
                  <a:gd name="T122" fmla="*/ 211 w 242"/>
                  <a:gd name="T123" fmla="*/ 0 h 280"/>
                  <a:gd name="T124" fmla="*/ 211 w 242"/>
                  <a:gd name="T125" fmla="*/ 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2" h="280">
                    <a:moveTo>
                      <a:pt x="98" y="252"/>
                    </a:moveTo>
                    <a:lnTo>
                      <a:pt x="96" y="252"/>
                    </a:lnTo>
                    <a:lnTo>
                      <a:pt x="98" y="252"/>
                    </a:lnTo>
                    <a:close/>
                    <a:moveTo>
                      <a:pt x="183" y="188"/>
                    </a:moveTo>
                    <a:lnTo>
                      <a:pt x="183" y="190"/>
                    </a:lnTo>
                    <a:lnTo>
                      <a:pt x="183" y="188"/>
                    </a:lnTo>
                    <a:close/>
                    <a:moveTo>
                      <a:pt x="156" y="192"/>
                    </a:moveTo>
                    <a:lnTo>
                      <a:pt x="156" y="194"/>
                    </a:lnTo>
                    <a:lnTo>
                      <a:pt x="156" y="192"/>
                    </a:lnTo>
                    <a:close/>
                    <a:moveTo>
                      <a:pt x="15" y="280"/>
                    </a:moveTo>
                    <a:lnTo>
                      <a:pt x="14" y="280"/>
                    </a:lnTo>
                    <a:lnTo>
                      <a:pt x="15" y="280"/>
                    </a:lnTo>
                    <a:close/>
                    <a:moveTo>
                      <a:pt x="64" y="246"/>
                    </a:moveTo>
                    <a:lnTo>
                      <a:pt x="64" y="248"/>
                    </a:lnTo>
                    <a:lnTo>
                      <a:pt x="64" y="246"/>
                    </a:lnTo>
                    <a:close/>
                    <a:moveTo>
                      <a:pt x="71" y="236"/>
                    </a:moveTo>
                    <a:lnTo>
                      <a:pt x="73" y="236"/>
                    </a:lnTo>
                    <a:lnTo>
                      <a:pt x="71" y="236"/>
                    </a:lnTo>
                    <a:close/>
                    <a:moveTo>
                      <a:pt x="142" y="184"/>
                    </a:moveTo>
                    <a:lnTo>
                      <a:pt x="140" y="184"/>
                    </a:lnTo>
                    <a:lnTo>
                      <a:pt x="142" y="184"/>
                    </a:lnTo>
                    <a:close/>
                    <a:moveTo>
                      <a:pt x="10" y="269"/>
                    </a:moveTo>
                    <a:lnTo>
                      <a:pt x="12" y="269"/>
                    </a:lnTo>
                    <a:lnTo>
                      <a:pt x="10" y="269"/>
                    </a:lnTo>
                    <a:close/>
                    <a:moveTo>
                      <a:pt x="15" y="259"/>
                    </a:moveTo>
                    <a:lnTo>
                      <a:pt x="15" y="257"/>
                    </a:lnTo>
                    <a:lnTo>
                      <a:pt x="15" y="259"/>
                    </a:lnTo>
                    <a:close/>
                    <a:moveTo>
                      <a:pt x="14" y="257"/>
                    </a:moveTo>
                    <a:lnTo>
                      <a:pt x="14" y="259"/>
                    </a:lnTo>
                    <a:lnTo>
                      <a:pt x="14" y="257"/>
                    </a:lnTo>
                    <a:close/>
                    <a:moveTo>
                      <a:pt x="2" y="265"/>
                    </a:moveTo>
                    <a:lnTo>
                      <a:pt x="0" y="265"/>
                    </a:lnTo>
                    <a:lnTo>
                      <a:pt x="2" y="265"/>
                    </a:lnTo>
                    <a:close/>
                    <a:moveTo>
                      <a:pt x="138" y="167"/>
                    </a:moveTo>
                    <a:lnTo>
                      <a:pt x="137" y="167"/>
                    </a:lnTo>
                    <a:lnTo>
                      <a:pt x="138" y="165"/>
                    </a:lnTo>
                    <a:lnTo>
                      <a:pt x="138" y="167"/>
                    </a:lnTo>
                    <a:close/>
                    <a:moveTo>
                      <a:pt x="135" y="161"/>
                    </a:moveTo>
                    <a:lnTo>
                      <a:pt x="135" y="159"/>
                    </a:lnTo>
                    <a:lnTo>
                      <a:pt x="135" y="161"/>
                    </a:lnTo>
                    <a:close/>
                    <a:moveTo>
                      <a:pt x="135" y="159"/>
                    </a:moveTo>
                    <a:lnTo>
                      <a:pt x="133" y="159"/>
                    </a:lnTo>
                    <a:lnTo>
                      <a:pt x="133" y="157"/>
                    </a:lnTo>
                    <a:lnTo>
                      <a:pt x="135" y="159"/>
                    </a:lnTo>
                    <a:close/>
                    <a:moveTo>
                      <a:pt x="133" y="157"/>
                    </a:moveTo>
                    <a:lnTo>
                      <a:pt x="133" y="159"/>
                    </a:lnTo>
                    <a:lnTo>
                      <a:pt x="133" y="157"/>
                    </a:lnTo>
                    <a:lnTo>
                      <a:pt x="133" y="159"/>
                    </a:lnTo>
                    <a:lnTo>
                      <a:pt x="133" y="157"/>
                    </a:lnTo>
                    <a:lnTo>
                      <a:pt x="133" y="159"/>
                    </a:lnTo>
                    <a:lnTo>
                      <a:pt x="133" y="157"/>
                    </a:lnTo>
                    <a:close/>
                    <a:moveTo>
                      <a:pt x="131" y="142"/>
                    </a:moveTo>
                    <a:lnTo>
                      <a:pt x="131" y="144"/>
                    </a:lnTo>
                    <a:lnTo>
                      <a:pt x="131" y="142"/>
                    </a:lnTo>
                    <a:close/>
                    <a:moveTo>
                      <a:pt x="242" y="15"/>
                    </a:moveTo>
                    <a:lnTo>
                      <a:pt x="242" y="17"/>
                    </a:lnTo>
                    <a:lnTo>
                      <a:pt x="242" y="15"/>
                    </a:lnTo>
                    <a:close/>
                    <a:moveTo>
                      <a:pt x="236" y="4"/>
                    </a:moveTo>
                    <a:lnTo>
                      <a:pt x="236" y="6"/>
                    </a:lnTo>
                    <a:lnTo>
                      <a:pt x="236" y="4"/>
                    </a:lnTo>
                    <a:close/>
                    <a:moveTo>
                      <a:pt x="211" y="2"/>
                    </a:moveTo>
                    <a:lnTo>
                      <a:pt x="211" y="0"/>
                    </a:lnTo>
                    <a:lnTo>
                      <a:pt x="211"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7" name="Freeform 64"/>
              <p:cNvSpPr>
                <a:spLocks noEditPoints="1"/>
              </p:cNvSpPr>
              <p:nvPr/>
            </p:nvSpPr>
            <p:spPr bwMode="auto">
              <a:xfrm>
                <a:off x="749476" y="2337253"/>
                <a:ext cx="254653" cy="320036"/>
              </a:xfrm>
              <a:custGeom>
                <a:avLst/>
                <a:gdLst>
                  <a:gd name="T0" fmla="*/ 135 w 148"/>
                  <a:gd name="T1" fmla="*/ 46 h 186"/>
                  <a:gd name="T2" fmla="*/ 127 w 148"/>
                  <a:gd name="T3" fmla="*/ 59 h 186"/>
                  <a:gd name="T4" fmla="*/ 123 w 148"/>
                  <a:gd name="T5" fmla="*/ 73 h 186"/>
                  <a:gd name="T6" fmla="*/ 119 w 148"/>
                  <a:gd name="T7" fmla="*/ 82 h 186"/>
                  <a:gd name="T8" fmla="*/ 129 w 148"/>
                  <a:gd name="T9" fmla="*/ 96 h 186"/>
                  <a:gd name="T10" fmla="*/ 127 w 148"/>
                  <a:gd name="T11" fmla="*/ 100 h 186"/>
                  <a:gd name="T12" fmla="*/ 133 w 148"/>
                  <a:gd name="T13" fmla="*/ 107 h 186"/>
                  <a:gd name="T14" fmla="*/ 137 w 148"/>
                  <a:gd name="T15" fmla="*/ 111 h 186"/>
                  <a:gd name="T16" fmla="*/ 146 w 148"/>
                  <a:gd name="T17" fmla="*/ 119 h 186"/>
                  <a:gd name="T18" fmla="*/ 144 w 148"/>
                  <a:gd name="T19" fmla="*/ 134 h 186"/>
                  <a:gd name="T20" fmla="*/ 141 w 148"/>
                  <a:gd name="T21" fmla="*/ 148 h 186"/>
                  <a:gd name="T22" fmla="*/ 125 w 148"/>
                  <a:gd name="T23" fmla="*/ 151 h 186"/>
                  <a:gd name="T24" fmla="*/ 116 w 148"/>
                  <a:gd name="T25" fmla="*/ 159 h 186"/>
                  <a:gd name="T26" fmla="*/ 104 w 148"/>
                  <a:gd name="T27" fmla="*/ 163 h 186"/>
                  <a:gd name="T28" fmla="*/ 93 w 148"/>
                  <a:gd name="T29" fmla="*/ 169 h 186"/>
                  <a:gd name="T30" fmla="*/ 81 w 148"/>
                  <a:gd name="T31" fmla="*/ 169 h 186"/>
                  <a:gd name="T32" fmla="*/ 73 w 148"/>
                  <a:gd name="T33" fmla="*/ 167 h 186"/>
                  <a:gd name="T34" fmla="*/ 70 w 148"/>
                  <a:gd name="T35" fmla="*/ 176 h 186"/>
                  <a:gd name="T36" fmla="*/ 60 w 148"/>
                  <a:gd name="T37" fmla="*/ 180 h 186"/>
                  <a:gd name="T38" fmla="*/ 54 w 148"/>
                  <a:gd name="T39" fmla="*/ 176 h 186"/>
                  <a:gd name="T40" fmla="*/ 56 w 148"/>
                  <a:gd name="T41" fmla="*/ 169 h 186"/>
                  <a:gd name="T42" fmla="*/ 66 w 148"/>
                  <a:gd name="T43" fmla="*/ 161 h 186"/>
                  <a:gd name="T44" fmla="*/ 58 w 148"/>
                  <a:gd name="T45" fmla="*/ 151 h 186"/>
                  <a:gd name="T46" fmla="*/ 58 w 148"/>
                  <a:gd name="T47" fmla="*/ 142 h 186"/>
                  <a:gd name="T48" fmla="*/ 46 w 148"/>
                  <a:gd name="T49" fmla="*/ 140 h 186"/>
                  <a:gd name="T50" fmla="*/ 43 w 148"/>
                  <a:gd name="T51" fmla="*/ 128 h 186"/>
                  <a:gd name="T52" fmla="*/ 39 w 148"/>
                  <a:gd name="T53" fmla="*/ 119 h 186"/>
                  <a:gd name="T54" fmla="*/ 45 w 148"/>
                  <a:gd name="T55" fmla="*/ 109 h 186"/>
                  <a:gd name="T56" fmla="*/ 43 w 148"/>
                  <a:gd name="T57" fmla="*/ 96 h 186"/>
                  <a:gd name="T58" fmla="*/ 37 w 148"/>
                  <a:gd name="T59" fmla="*/ 90 h 186"/>
                  <a:gd name="T60" fmla="*/ 31 w 148"/>
                  <a:gd name="T61" fmla="*/ 84 h 186"/>
                  <a:gd name="T62" fmla="*/ 20 w 148"/>
                  <a:gd name="T63" fmla="*/ 84 h 186"/>
                  <a:gd name="T64" fmla="*/ 14 w 148"/>
                  <a:gd name="T65" fmla="*/ 71 h 186"/>
                  <a:gd name="T66" fmla="*/ 0 w 148"/>
                  <a:gd name="T67" fmla="*/ 63 h 186"/>
                  <a:gd name="T68" fmla="*/ 10 w 148"/>
                  <a:gd name="T69" fmla="*/ 50 h 186"/>
                  <a:gd name="T70" fmla="*/ 18 w 148"/>
                  <a:gd name="T71" fmla="*/ 40 h 186"/>
                  <a:gd name="T72" fmla="*/ 23 w 148"/>
                  <a:gd name="T73" fmla="*/ 25 h 186"/>
                  <a:gd name="T74" fmla="*/ 35 w 148"/>
                  <a:gd name="T75" fmla="*/ 19 h 186"/>
                  <a:gd name="T76" fmla="*/ 45 w 148"/>
                  <a:gd name="T77" fmla="*/ 13 h 186"/>
                  <a:gd name="T78" fmla="*/ 50 w 148"/>
                  <a:gd name="T79" fmla="*/ 1 h 186"/>
                  <a:gd name="T80" fmla="*/ 56 w 148"/>
                  <a:gd name="T81" fmla="*/ 5 h 186"/>
                  <a:gd name="T82" fmla="*/ 64 w 148"/>
                  <a:gd name="T83" fmla="*/ 15 h 186"/>
                  <a:gd name="T84" fmla="*/ 75 w 148"/>
                  <a:gd name="T85" fmla="*/ 17 h 186"/>
                  <a:gd name="T86" fmla="*/ 94 w 148"/>
                  <a:gd name="T87" fmla="*/ 19 h 186"/>
                  <a:gd name="T88" fmla="*/ 102 w 148"/>
                  <a:gd name="T89" fmla="*/ 25 h 186"/>
                  <a:gd name="T90" fmla="*/ 110 w 148"/>
                  <a:gd name="T91" fmla="*/ 15 h 186"/>
                  <a:gd name="T92" fmla="*/ 121 w 148"/>
                  <a:gd name="T93" fmla="*/ 15 h 186"/>
                  <a:gd name="T94" fmla="*/ 135 w 148"/>
                  <a:gd name="T95" fmla="*/ 21 h 186"/>
                  <a:gd name="T96" fmla="*/ 139 w 148"/>
                  <a:gd name="T97" fmla="*/ 34 h 186"/>
                  <a:gd name="T98" fmla="*/ 81 w 148"/>
                  <a:gd name="T99" fmla="*/ 61 h 186"/>
                  <a:gd name="T100" fmla="*/ 81 w 148"/>
                  <a:gd name="T101" fmla="*/ 65 h 186"/>
                  <a:gd name="T102" fmla="*/ 77 w 148"/>
                  <a:gd name="T103" fmla="*/ 73 h 186"/>
                  <a:gd name="T104" fmla="*/ 71 w 148"/>
                  <a:gd name="T105" fmla="*/ 82 h 186"/>
                  <a:gd name="T106" fmla="*/ 71 w 148"/>
                  <a:gd name="T107" fmla="*/ 94 h 186"/>
                  <a:gd name="T108" fmla="*/ 89 w 148"/>
                  <a:gd name="T109" fmla="*/ 88 h 186"/>
                  <a:gd name="T110" fmla="*/ 91 w 148"/>
                  <a:gd name="T111" fmla="*/ 75 h 186"/>
                  <a:gd name="T112" fmla="*/ 83 w 148"/>
                  <a:gd name="T113" fmla="*/ 65 h 186"/>
                  <a:gd name="T114" fmla="*/ 68 w 148"/>
                  <a:gd name="T115" fmla="*/ 8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86">
                    <a:moveTo>
                      <a:pt x="139" y="32"/>
                    </a:moveTo>
                    <a:lnTo>
                      <a:pt x="139" y="34"/>
                    </a:lnTo>
                    <a:lnTo>
                      <a:pt x="139" y="36"/>
                    </a:lnTo>
                    <a:lnTo>
                      <a:pt x="137" y="36"/>
                    </a:lnTo>
                    <a:lnTo>
                      <a:pt x="137" y="38"/>
                    </a:lnTo>
                    <a:lnTo>
                      <a:pt x="137" y="40"/>
                    </a:lnTo>
                    <a:lnTo>
                      <a:pt x="137" y="42"/>
                    </a:lnTo>
                    <a:lnTo>
                      <a:pt x="135" y="42"/>
                    </a:lnTo>
                    <a:lnTo>
                      <a:pt x="137" y="42"/>
                    </a:lnTo>
                    <a:lnTo>
                      <a:pt x="137" y="44"/>
                    </a:lnTo>
                    <a:lnTo>
                      <a:pt x="135" y="44"/>
                    </a:lnTo>
                    <a:lnTo>
                      <a:pt x="135" y="46"/>
                    </a:lnTo>
                    <a:lnTo>
                      <a:pt x="133" y="46"/>
                    </a:lnTo>
                    <a:lnTo>
                      <a:pt x="131" y="48"/>
                    </a:lnTo>
                    <a:lnTo>
                      <a:pt x="131" y="50"/>
                    </a:lnTo>
                    <a:lnTo>
                      <a:pt x="129" y="50"/>
                    </a:lnTo>
                    <a:lnTo>
                      <a:pt x="129" y="51"/>
                    </a:lnTo>
                    <a:lnTo>
                      <a:pt x="129" y="53"/>
                    </a:lnTo>
                    <a:lnTo>
                      <a:pt x="131" y="53"/>
                    </a:lnTo>
                    <a:lnTo>
                      <a:pt x="131" y="55"/>
                    </a:lnTo>
                    <a:lnTo>
                      <a:pt x="129" y="55"/>
                    </a:lnTo>
                    <a:lnTo>
                      <a:pt x="129" y="57"/>
                    </a:lnTo>
                    <a:lnTo>
                      <a:pt x="129" y="59"/>
                    </a:lnTo>
                    <a:lnTo>
                      <a:pt x="127" y="59"/>
                    </a:lnTo>
                    <a:lnTo>
                      <a:pt x="127" y="61"/>
                    </a:lnTo>
                    <a:lnTo>
                      <a:pt x="125" y="61"/>
                    </a:lnTo>
                    <a:lnTo>
                      <a:pt x="125" y="63"/>
                    </a:lnTo>
                    <a:lnTo>
                      <a:pt x="125" y="65"/>
                    </a:lnTo>
                    <a:lnTo>
                      <a:pt x="123" y="63"/>
                    </a:lnTo>
                    <a:lnTo>
                      <a:pt x="123" y="65"/>
                    </a:lnTo>
                    <a:lnTo>
                      <a:pt x="123" y="67"/>
                    </a:lnTo>
                    <a:lnTo>
                      <a:pt x="121" y="69"/>
                    </a:lnTo>
                    <a:lnTo>
                      <a:pt x="123" y="69"/>
                    </a:lnTo>
                    <a:lnTo>
                      <a:pt x="125" y="71"/>
                    </a:lnTo>
                    <a:lnTo>
                      <a:pt x="123" y="71"/>
                    </a:lnTo>
                    <a:lnTo>
                      <a:pt x="123" y="73"/>
                    </a:lnTo>
                    <a:lnTo>
                      <a:pt x="123" y="75"/>
                    </a:lnTo>
                    <a:lnTo>
                      <a:pt x="121" y="75"/>
                    </a:lnTo>
                    <a:lnTo>
                      <a:pt x="121" y="76"/>
                    </a:lnTo>
                    <a:lnTo>
                      <a:pt x="121" y="78"/>
                    </a:lnTo>
                    <a:lnTo>
                      <a:pt x="119" y="78"/>
                    </a:lnTo>
                    <a:lnTo>
                      <a:pt x="121" y="78"/>
                    </a:lnTo>
                    <a:lnTo>
                      <a:pt x="119" y="78"/>
                    </a:lnTo>
                    <a:lnTo>
                      <a:pt x="121" y="80"/>
                    </a:lnTo>
                    <a:lnTo>
                      <a:pt x="119" y="80"/>
                    </a:lnTo>
                    <a:lnTo>
                      <a:pt x="119" y="82"/>
                    </a:lnTo>
                    <a:lnTo>
                      <a:pt x="119" y="84"/>
                    </a:lnTo>
                    <a:lnTo>
                      <a:pt x="119" y="82"/>
                    </a:lnTo>
                    <a:lnTo>
                      <a:pt x="119" y="84"/>
                    </a:lnTo>
                    <a:lnTo>
                      <a:pt x="118" y="84"/>
                    </a:lnTo>
                    <a:lnTo>
                      <a:pt x="119" y="84"/>
                    </a:lnTo>
                    <a:lnTo>
                      <a:pt x="121" y="86"/>
                    </a:lnTo>
                    <a:lnTo>
                      <a:pt x="121" y="88"/>
                    </a:lnTo>
                    <a:lnTo>
                      <a:pt x="123" y="90"/>
                    </a:lnTo>
                    <a:lnTo>
                      <a:pt x="123" y="92"/>
                    </a:lnTo>
                    <a:lnTo>
                      <a:pt x="125" y="92"/>
                    </a:lnTo>
                    <a:lnTo>
                      <a:pt x="125" y="94"/>
                    </a:lnTo>
                    <a:lnTo>
                      <a:pt x="127" y="94"/>
                    </a:lnTo>
                    <a:lnTo>
                      <a:pt x="129" y="94"/>
                    </a:lnTo>
                    <a:lnTo>
                      <a:pt x="129" y="96"/>
                    </a:lnTo>
                    <a:lnTo>
                      <a:pt x="129" y="94"/>
                    </a:lnTo>
                    <a:lnTo>
                      <a:pt x="127" y="94"/>
                    </a:lnTo>
                    <a:lnTo>
                      <a:pt x="129" y="96"/>
                    </a:lnTo>
                    <a:lnTo>
                      <a:pt x="127" y="96"/>
                    </a:lnTo>
                    <a:lnTo>
                      <a:pt x="129" y="96"/>
                    </a:lnTo>
                    <a:lnTo>
                      <a:pt x="127" y="96"/>
                    </a:lnTo>
                    <a:lnTo>
                      <a:pt x="127" y="98"/>
                    </a:lnTo>
                    <a:lnTo>
                      <a:pt x="129" y="98"/>
                    </a:lnTo>
                    <a:lnTo>
                      <a:pt x="127" y="98"/>
                    </a:lnTo>
                    <a:lnTo>
                      <a:pt x="129" y="98"/>
                    </a:lnTo>
                    <a:lnTo>
                      <a:pt x="127" y="98"/>
                    </a:lnTo>
                    <a:lnTo>
                      <a:pt x="127" y="100"/>
                    </a:lnTo>
                    <a:lnTo>
                      <a:pt x="127" y="101"/>
                    </a:lnTo>
                    <a:lnTo>
                      <a:pt x="129" y="101"/>
                    </a:lnTo>
                    <a:lnTo>
                      <a:pt x="131" y="103"/>
                    </a:lnTo>
                    <a:lnTo>
                      <a:pt x="133" y="103"/>
                    </a:lnTo>
                    <a:lnTo>
                      <a:pt x="133" y="105"/>
                    </a:lnTo>
                    <a:lnTo>
                      <a:pt x="133" y="103"/>
                    </a:lnTo>
                    <a:lnTo>
                      <a:pt x="133" y="105"/>
                    </a:lnTo>
                    <a:lnTo>
                      <a:pt x="133" y="103"/>
                    </a:lnTo>
                    <a:lnTo>
                      <a:pt x="135" y="105"/>
                    </a:lnTo>
                    <a:lnTo>
                      <a:pt x="133" y="105"/>
                    </a:lnTo>
                    <a:lnTo>
                      <a:pt x="131" y="107"/>
                    </a:lnTo>
                    <a:lnTo>
                      <a:pt x="133" y="107"/>
                    </a:lnTo>
                    <a:lnTo>
                      <a:pt x="131" y="107"/>
                    </a:lnTo>
                    <a:lnTo>
                      <a:pt x="131" y="109"/>
                    </a:lnTo>
                    <a:lnTo>
                      <a:pt x="133" y="109"/>
                    </a:lnTo>
                    <a:lnTo>
                      <a:pt x="133" y="111"/>
                    </a:lnTo>
                    <a:lnTo>
                      <a:pt x="133" y="109"/>
                    </a:lnTo>
                    <a:lnTo>
                      <a:pt x="133" y="111"/>
                    </a:lnTo>
                    <a:lnTo>
                      <a:pt x="135" y="111"/>
                    </a:lnTo>
                    <a:lnTo>
                      <a:pt x="135" y="113"/>
                    </a:lnTo>
                    <a:lnTo>
                      <a:pt x="135" y="115"/>
                    </a:lnTo>
                    <a:lnTo>
                      <a:pt x="135" y="113"/>
                    </a:lnTo>
                    <a:lnTo>
                      <a:pt x="137" y="113"/>
                    </a:lnTo>
                    <a:lnTo>
                      <a:pt x="137" y="111"/>
                    </a:lnTo>
                    <a:lnTo>
                      <a:pt x="139" y="113"/>
                    </a:lnTo>
                    <a:lnTo>
                      <a:pt x="141" y="113"/>
                    </a:lnTo>
                    <a:lnTo>
                      <a:pt x="141" y="115"/>
                    </a:lnTo>
                    <a:lnTo>
                      <a:pt x="143" y="115"/>
                    </a:lnTo>
                    <a:lnTo>
                      <a:pt x="143" y="113"/>
                    </a:lnTo>
                    <a:lnTo>
                      <a:pt x="144" y="113"/>
                    </a:lnTo>
                    <a:lnTo>
                      <a:pt x="146" y="113"/>
                    </a:lnTo>
                    <a:lnTo>
                      <a:pt x="146" y="115"/>
                    </a:lnTo>
                    <a:lnTo>
                      <a:pt x="148" y="115"/>
                    </a:lnTo>
                    <a:lnTo>
                      <a:pt x="148" y="117"/>
                    </a:lnTo>
                    <a:lnTo>
                      <a:pt x="148" y="119"/>
                    </a:lnTo>
                    <a:lnTo>
                      <a:pt x="146" y="119"/>
                    </a:lnTo>
                    <a:lnTo>
                      <a:pt x="146" y="121"/>
                    </a:lnTo>
                    <a:lnTo>
                      <a:pt x="146" y="123"/>
                    </a:lnTo>
                    <a:lnTo>
                      <a:pt x="146" y="125"/>
                    </a:lnTo>
                    <a:lnTo>
                      <a:pt x="146" y="126"/>
                    </a:lnTo>
                    <a:lnTo>
                      <a:pt x="146" y="128"/>
                    </a:lnTo>
                    <a:lnTo>
                      <a:pt x="146" y="130"/>
                    </a:lnTo>
                    <a:lnTo>
                      <a:pt x="146" y="132"/>
                    </a:lnTo>
                    <a:lnTo>
                      <a:pt x="144" y="134"/>
                    </a:lnTo>
                    <a:lnTo>
                      <a:pt x="144" y="132"/>
                    </a:lnTo>
                    <a:lnTo>
                      <a:pt x="144" y="134"/>
                    </a:lnTo>
                    <a:lnTo>
                      <a:pt x="143" y="134"/>
                    </a:lnTo>
                    <a:lnTo>
                      <a:pt x="144" y="134"/>
                    </a:lnTo>
                    <a:lnTo>
                      <a:pt x="143" y="136"/>
                    </a:lnTo>
                    <a:lnTo>
                      <a:pt x="144" y="136"/>
                    </a:lnTo>
                    <a:lnTo>
                      <a:pt x="144" y="138"/>
                    </a:lnTo>
                    <a:lnTo>
                      <a:pt x="146" y="138"/>
                    </a:lnTo>
                    <a:lnTo>
                      <a:pt x="144" y="138"/>
                    </a:lnTo>
                    <a:lnTo>
                      <a:pt x="144" y="140"/>
                    </a:lnTo>
                    <a:lnTo>
                      <a:pt x="146" y="140"/>
                    </a:lnTo>
                    <a:lnTo>
                      <a:pt x="144" y="142"/>
                    </a:lnTo>
                    <a:lnTo>
                      <a:pt x="143" y="142"/>
                    </a:lnTo>
                    <a:lnTo>
                      <a:pt x="141" y="144"/>
                    </a:lnTo>
                    <a:lnTo>
                      <a:pt x="141" y="146"/>
                    </a:lnTo>
                    <a:lnTo>
                      <a:pt x="141" y="148"/>
                    </a:lnTo>
                    <a:lnTo>
                      <a:pt x="141" y="149"/>
                    </a:lnTo>
                    <a:lnTo>
                      <a:pt x="139" y="149"/>
                    </a:lnTo>
                    <a:lnTo>
                      <a:pt x="139" y="151"/>
                    </a:lnTo>
                    <a:lnTo>
                      <a:pt x="137" y="151"/>
                    </a:lnTo>
                    <a:lnTo>
                      <a:pt x="137" y="153"/>
                    </a:lnTo>
                    <a:lnTo>
                      <a:pt x="135" y="153"/>
                    </a:lnTo>
                    <a:lnTo>
                      <a:pt x="133" y="153"/>
                    </a:lnTo>
                    <a:lnTo>
                      <a:pt x="131" y="153"/>
                    </a:lnTo>
                    <a:lnTo>
                      <a:pt x="129" y="153"/>
                    </a:lnTo>
                    <a:lnTo>
                      <a:pt x="127" y="153"/>
                    </a:lnTo>
                    <a:lnTo>
                      <a:pt x="127" y="151"/>
                    </a:lnTo>
                    <a:lnTo>
                      <a:pt x="125" y="151"/>
                    </a:lnTo>
                    <a:lnTo>
                      <a:pt x="123" y="151"/>
                    </a:lnTo>
                    <a:lnTo>
                      <a:pt x="121" y="151"/>
                    </a:lnTo>
                    <a:lnTo>
                      <a:pt x="121" y="153"/>
                    </a:lnTo>
                    <a:lnTo>
                      <a:pt x="119" y="153"/>
                    </a:lnTo>
                    <a:lnTo>
                      <a:pt x="118" y="153"/>
                    </a:lnTo>
                    <a:lnTo>
                      <a:pt x="119" y="155"/>
                    </a:lnTo>
                    <a:lnTo>
                      <a:pt x="121" y="153"/>
                    </a:lnTo>
                    <a:lnTo>
                      <a:pt x="121" y="155"/>
                    </a:lnTo>
                    <a:lnTo>
                      <a:pt x="121" y="157"/>
                    </a:lnTo>
                    <a:lnTo>
                      <a:pt x="118" y="161"/>
                    </a:lnTo>
                    <a:lnTo>
                      <a:pt x="116" y="161"/>
                    </a:lnTo>
                    <a:lnTo>
                      <a:pt x="116" y="159"/>
                    </a:lnTo>
                    <a:lnTo>
                      <a:pt x="116" y="161"/>
                    </a:lnTo>
                    <a:lnTo>
                      <a:pt x="114" y="159"/>
                    </a:lnTo>
                    <a:lnTo>
                      <a:pt x="114" y="157"/>
                    </a:lnTo>
                    <a:lnTo>
                      <a:pt x="112" y="157"/>
                    </a:lnTo>
                    <a:lnTo>
                      <a:pt x="110" y="159"/>
                    </a:lnTo>
                    <a:lnTo>
                      <a:pt x="108" y="159"/>
                    </a:lnTo>
                    <a:lnTo>
                      <a:pt x="108" y="157"/>
                    </a:lnTo>
                    <a:lnTo>
                      <a:pt x="108" y="159"/>
                    </a:lnTo>
                    <a:lnTo>
                      <a:pt x="106" y="159"/>
                    </a:lnTo>
                    <a:lnTo>
                      <a:pt x="104" y="159"/>
                    </a:lnTo>
                    <a:lnTo>
                      <a:pt x="104" y="161"/>
                    </a:lnTo>
                    <a:lnTo>
                      <a:pt x="104" y="163"/>
                    </a:lnTo>
                    <a:lnTo>
                      <a:pt x="102" y="161"/>
                    </a:lnTo>
                    <a:lnTo>
                      <a:pt x="102" y="163"/>
                    </a:lnTo>
                    <a:lnTo>
                      <a:pt x="100" y="163"/>
                    </a:lnTo>
                    <a:lnTo>
                      <a:pt x="98" y="163"/>
                    </a:lnTo>
                    <a:lnTo>
                      <a:pt x="98" y="165"/>
                    </a:lnTo>
                    <a:lnTo>
                      <a:pt x="96" y="165"/>
                    </a:lnTo>
                    <a:lnTo>
                      <a:pt x="96" y="167"/>
                    </a:lnTo>
                    <a:lnTo>
                      <a:pt x="94" y="167"/>
                    </a:lnTo>
                    <a:lnTo>
                      <a:pt x="93" y="167"/>
                    </a:lnTo>
                    <a:lnTo>
                      <a:pt x="93" y="169"/>
                    </a:lnTo>
                    <a:lnTo>
                      <a:pt x="94" y="169"/>
                    </a:lnTo>
                    <a:lnTo>
                      <a:pt x="93" y="169"/>
                    </a:lnTo>
                    <a:lnTo>
                      <a:pt x="93" y="171"/>
                    </a:lnTo>
                    <a:lnTo>
                      <a:pt x="93" y="169"/>
                    </a:lnTo>
                    <a:lnTo>
                      <a:pt x="91" y="169"/>
                    </a:lnTo>
                    <a:lnTo>
                      <a:pt x="89" y="169"/>
                    </a:lnTo>
                    <a:lnTo>
                      <a:pt x="89" y="171"/>
                    </a:lnTo>
                    <a:lnTo>
                      <a:pt x="89" y="173"/>
                    </a:lnTo>
                    <a:lnTo>
                      <a:pt x="87" y="173"/>
                    </a:lnTo>
                    <a:lnTo>
                      <a:pt x="85" y="173"/>
                    </a:lnTo>
                    <a:lnTo>
                      <a:pt x="85" y="171"/>
                    </a:lnTo>
                    <a:lnTo>
                      <a:pt x="83" y="171"/>
                    </a:lnTo>
                    <a:lnTo>
                      <a:pt x="81" y="171"/>
                    </a:lnTo>
                    <a:lnTo>
                      <a:pt x="81" y="169"/>
                    </a:lnTo>
                    <a:lnTo>
                      <a:pt x="81" y="171"/>
                    </a:lnTo>
                    <a:lnTo>
                      <a:pt x="81" y="169"/>
                    </a:lnTo>
                    <a:lnTo>
                      <a:pt x="79" y="169"/>
                    </a:lnTo>
                    <a:lnTo>
                      <a:pt x="79" y="171"/>
                    </a:lnTo>
                    <a:lnTo>
                      <a:pt x="77" y="171"/>
                    </a:lnTo>
                    <a:lnTo>
                      <a:pt x="77" y="169"/>
                    </a:lnTo>
                    <a:lnTo>
                      <a:pt x="79" y="169"/>
                    </a:lnTo>
                    <a:lnTo>
                      <a:pt x="79" y="167"/>
                    </a:lnTo>
                    <a:lnTo>
                      <a:pt x="77" y="169"/>
                    </a:lnTo>
                    <a:lnTo>
                      <a:pt x="77" y="167"/>
                    </a:lnTo>
                    <a:lnTo>
                      <a:pt x="75" y="167"/>
                    </a:lnTo>
                    <a:lnTo>
                      <a:pt x="73" y="167"/>
                    </a:lnTo>
                    <a:lnTo>
                      <a:pt x="73" y="169"/>
                    </a:lnTo>
                    <a:lnTo>
                      <a:pt x="73" y="167"/>
                    </a:lnTo>
                    <a:lnTo>
                      <a:pt x="71" y="169"/>
                    </a:lnTo>
                    <a:lnTo>
                      <a:pt x="71" y="171"/>
                    </a:lnTo>
                    <a:lnTo>
                      <a:pt x="71" y="173"/>
                    </a:lnTo>
                    <a:lnTo>
                      <a:pt x="70" y="173"/>
                    </a:lnTo>
                    <a:lnTo>
                      <a:pt x="68" y="173"/>
                    </a:lnTo>
                    <a:lnTo>
                      <a:pt x="68" y="174"/>
                    </a:lnTo>
                    <a:lnTo>
                      <a:pt x="70" y="174"/>
                    </a:lnTo>
                    <a:lnTo>
                      <a:pt x="70" y="176"/>
                    </a:lnTo>
                    <a:lnTo>
                      <a:pt x="68" y="176"/>
                    </a:lnTo>
                    <a:lnTo>
                      <a:pt x="70" y="176"/>
                    </a:lnTo>
                    <a:lnTo>
                      <a:pt x="70" y="178"/>
                    </a:lnTo>
                    <a:lnTo>
                      <a:pt x="71" y="178"/>
                    </a:lnTo>
                    <a:lnTo>
                      <a:pt x="70" y="180"/>
                    </a:lnTo>
                    <a:lnTo>
                      <a:pt x="68" y="180"/>
                    </a:lnTo>
                    <a:lnTo>
                      <a:pt x="68" y="182"/>
                    </a:lnTo>
                    <a:lnTo>
                      <a:pt x="66" y="182"/>
                    </a:lnTo>
                    <a:lnTo>
                      <a:pt x="66" y="180"/>
                    </a:lnTo>
                    <a:lnTo>
                      <a:pt x="68" y="180"/>
                    </a:lnTo>
                    <a:lnTo>
                      <a:pt x="66" y="180"/>
                    </a:lnTo>
                    <a:lnTo>
                      <a:pt x="64" y="180"/>
                    </a:lnTo>
                    <a:lnTo>
                      <a:pt x="62" y="180"/>
                    </a:lnTo>
                    <a:lnTo>
                      <a:pt x="60" y="180"/>
                    </a:lnTo>
                    <a:lnTo>
                      <a:pt x="60" y="182"/>
                    </a:lnTo>
                    <a:lnTo>
                      <a:pt x="60" y="184"/>
                    </a:lnTo>
                    <a:lnTo>
                      <a:pt x="58" y="184"/>
                    </a:lnTo>
                    <a:lnTo>
                      <a:pt x="60" y="184"/>
                    </a:lnTo>
                    <a:lnTo>
                      <a:pt x="58" y="184"/>
                    </a:lnTo>
                    <a:lnTo>
                      <a:pt x="58" y="186"/>
                    </a:lnTo>
                    <a:lnTo>
                      <a:pt x="58" y="184"/>
                    </a:lnTo>
                    <a:lnTo>
                      <a:pt x="56" y="184"/>
                    </a:lnTo>
                    <a:lnTo>
                      <a:pt x="56" y="182"/>
                    </a:lnTo>
                    <a:lnTo>
                      <a:pt x="54" y="180"/>
                    </a:lnTo>
                    <a:lnTo>
                      <a:pt x="54" y="178"/>
                    </a:lnTo>
                    <a:lnTo>
                      <a:pt x="54" y="176"/>
                    </a:lnTo>
                    <a:lnTo>
                      <a:pt x="56" y="176"/>
                    </a:lnTo>
                    <a:lnTo>
                      <a:pt x="54" y="176"/>
                    </a:lnTo>
                    <a:lnTo>
                      <a:pt x="56" y="176"/>
                    </a:lnTo>
                    <a:lnTo>
                      <a:pt x="56" y="174"/>
                    </a:lnTo>
                    <a:lnTo>
                      <a:pt x="58" y="174"/>
                    </a:lnTo>
                    <a:lnTo>
                      <a:pt x="56" y="173"/>
                    </a:lnTo>
                    <a:lnTo>
                      <a:pt x="56" y="171"/>
                    </a:lnTo>
                    <a:lnTo>
                      <a:pt x="58" y="171"/>
                    </a:lnTo>
                    <a:lnTo>
                      <a:pt x="56" y="171"/>
                    </a:lnTo>
                    <a:lnTo>
                      <a:pt x="56" y="169"/>
                    </a:lnTo>
                    <a:lnTo>
                      <a:pt x="58" y="169"/>
                    </a:lnTo>
                    <a:lnTo>
                      <a:pt x="56" y="169"/>
                    </a:lnTo>
                    <a:lnTo>
                      <a:pt x="56" y="167"/>
                    </a:lnTo>
                    <a:lnTo>
                      <a:pt x="58" y="167"/>
                    </a:lnTo>
                    <a:lnTo>
                      <a:pt x="58" y="165"/>
                    </a:lnTo>
                    <a:lnTo>
                      <a:pt x="58" y="163"/>
                    </a:lnTo>
                    <a:lnTo>
                      <a:pt x="60" y="165"/>
                    </a:lnTo>
                    <a:lnTo>
                      <a:pt x="60" y="163"/>
                    </a:lnTo>
                    <a:lnTo>
                      <a:pt x="60" y="165"/>
                    </a:lnTo>
                    <a:lnTo>
                      <a:pt x="62" y="163"/>
                    </a:lnTo>
                    <a:lnTo>
                      <a:pt x="62" y="165"/>
                    </a:lnTo>
                    <a:lnTo>
                      <a:pt x="62" y="163"/>
                    </a:lnTo>
                    <a:lnTo>
                      <a:pt x="64" y="163"/>
                    </a:lnTo>
                    <a:lnTo>
                      <a:pt x="66" y="161"/>
                    </a:lnTo>
                    <a:lnTo>
                      <a:pt x="64" y="161"/>
                    </a:lnTo>
                    <a:lnTo>
                      <a:pt x="66" y="161"/>
                    </a:lnTo>
                    <a:lnTo>
                      <a:pt x="66" y="159"/>
                    </a:lnTo>
                    <a:lnTo>
                      <a:pt x="66" y="157"/>
                    </a:lnTo>
                    <a:lnTo>
                      <a:pt x="64" y="159"/>
                    </a:lnTo>
                    <a:lnTo>
                      <a:pt x="64" y="157"/>
                    </a:lnTo>
                    <a:lnTo>
                      <a:pt x="62" y="157"/>
                    </a:lnTo>
                    <a:lnTo>
                      <a:pt x="64" y="155"/>
                    </a:lnTo>
                    <a:lnTo>
                      <a:pt x="62" y="155"/>
                    </a:lnTo>
                    <a:lnTo>
                      <a:pt x="62" y="153"/>
                    </a:lnTo>
                    <a:lnTo>
                      <a:pt x="60" y="153"/>
                    </a:lnTo>
                    <a:lnTo>
                      <a:pt x="58" y="151"/>
                    </a:lnTo>
                    <a:lnTo>
                      <a:pt x="60" y="151"/>
                    </a:lnTo>
                    <a:lnTo>
                      <a:pt x="60" y="149"/>
                    </a:lnTo>
                    <a:lnTo>
                      <a:pt x="58" y="149"/>
                    </a:lnTo>
                    <a:lnTo>
                      <a:pt x="58" y="151"/>
                    </a:lnTo>
                    <a:lnTo>
                      <a:pt x="58" y="149"/>
                    </a:lnTo>
                    <a:lnTo>
                      <a:pt x="58" y="148"/>
                    </a:lnTo>
                    <a:lnTo>
                      <a:pt x="56" y="148"/>
                    </a:lnTo>
                    <a:lnTo>
                      <a:pt x="56" y="146"/>
                    </a:lnTo>
                    <a:lnTo>
                      <a:pt x="58" y="144"/>
                    </a:lnTo>
                    <a:lnTo>
                      <a:pt x="58" y="142"/>
                    </a:lnTo>
                    <a:lnTo>
                      <a:pt x="56" y="142"/>
                    </a:lnTo>
                    <a:lnTo>
                      <a:pt x="58" y="142"/>
                    </a:lnTo>
                    <a:lnTo>
                      <a:pt x="58" y="140"/>
                    </a:lnTo>
                    <a:lnTo>
                      <a:pt x="58" y="138"/>
                    </a:lnTo>
                    <a:lnTo>
                      <a:pt x="56" y="136"/>
                    </a:lnTo>
                    <a:lnTo>
                      <a:pt x="52" y="136"/>
                    </a:lnTo>
                    <a:lnTo>
                      <a:pt x="52" y="134"/>
                    </a:lnTo>
                    <a:lnTo>
                      <a:pt x="52" y="136"/>
                    </a:lnTo>
                    <a:lnTo>
                      <a:pt x="50" y="136"/>
                    </a:lnTo>
                    <a:lnTo>
                      <a:pt x="52" y="138"/>
                    </a:lnTo>
                    <a:lnTo>
                      <a:pt x="50" y="138"/>
                    </a:lnTo>
                    <a:lnTo>
                      <a:pt x="50" y="140"/>
                    </a:lnTo>
                    <a:lnTo>
                      <a:pt x="48" y="140"/>
                    </a:lnTo>
                    <a:lnTo>
                      <a:pt x="46" y="140"/>
                    </a:lnTo>
                    <a:lnTo>
                      <a:pt x="45" y="138"/>
                    </a:lnTo>
                    <a:lnTo>
                      <a:pt x="45" y="136"/>
                    </a:lnTo>
                    <a:lnTo>
                      <a:pt x="43" y="136"/>
                    </a:lnTo>
                    <a:lnTo>
                      <a:pt x="45" y="136"/>
                    </a:lnTo>
                    <a:lnTo>
                      <a:pt x="45" y="134"/>
                    </a:lnTo>
                    <a:lnTo>
                      <a:pt x="43" y="134"/>
                    </a:lnTo>
                    <a:lnTo>
                      <a:pt x="43" y="132"/>
                    </a:lnTo>
                    <a:lnTo>
                      <a:pt x="45" y="132"/>
                    </a:lnTo>
                    <a:lnTo>
                      <a:pt x="45" y="130"/>
                    </a:lnTo>
                    <a:lnTo>
                      <a:pt x="43" y="128"/>
                    </a:lnTo>
                    <a:lnTo>
                      <a:pt x="45" y="128"/>
                    </a:lnTo>
                    <a:lnTo>
                      <a:pt x="43" y="128"/>
                    </a:lnTo>
                    <a:lnTo>
                      <a:pt x="43" y="126"/>
                    </a:lnTo>
                    <a:lnTo>
                      <a:pt x="41" y="126"/>
                    </a:lnTo>
                    <a:lnTo>
                      <a:pt x="39" y="126"/>
                    </a:lnTo>
                    <a:lnTo>
                      <a:pt x="39" y="125"/>
                    </a:lnTo>
                    <a:lnTo>
                      <a:pt x="37" y="125"/>
                    </a:lnTo>
                    <a:lnTo>
                      <a:pt x="39" y="125"/>
                    </a:lnTo>
                    <a:lnTo>
                      <a:pt x="37" y="123"/>
                    </a:lnTo>
                    <a:lnTo>
                      <a:pt x="37" y="125"/>
                    </a:lnTo>
                    <a:lnTo>
                      <a:pt x="37" y="123"/>
                    </a:lnTo>
                    <a:lnTo>
                      <a:pt x="37" y="121"/>
                    </a:lnTo>
                    <a:lnTo>
                      <a:pt x="39" y="121"/>
                    </a:lnTo>
                    <a:lnTo>
                      <a:pt x="39" y="119"/>
                    </a:lnTo>
                    <a:lnTo>
                      <a:pt x="41" y="119"/>
                    </a:lnTo>
                    <a:lnTo>
                      <a:pt x="39" y="119"/>
                    </a:lnTo>
                    <a:lnTo>
                      <a:pt x="41" y="119"/>
                    </a:lnTo>
                    <a:lnTo>
                      <a:pt x="41" y="117"/>
                    </a:lnTo>
                    <a:lnTo>
                      <a:pt x="39" y="117"/>
                    </a:lnTo>
                    <a:lnTo>
                      <a:pt x="41" y="117"/>
                    </a:lnTo>
                    <a:lnTo>
                      <a:pt x="41" y="115"/>
                    </a:lnTo>
                    <a:lnTo>
                      <a:pt x="41" y="113"/>
                    </a:lnTo>
                    <a:lnTo>
                      <a:pt x="41" y="111"/>
                    </a:lnTo>
                    <a:lnTo>
                      <a:pt x="43" y="111"/>
                    </a:lnTo>
                    <a:lnTo>
                      <a:pt x="43" y="109"/>
                    </a:lnTo>
                    <a:lnTo>
                      <a:pt x="45" y="109"/>
                    </a:lnTo>
                    <a:lnTo>
                      <a:pt x="45" y="107"/>
                    </a:lnTo>
                    <a:lnTo>
                      <a:pt x="45" y="105"/>
                    </a:lnTo>
                    <a:lnTo>
                      <a:pt x="43" y="105"/>
                    </a:lnTo>
                    <a:lnTo>
                      <a:pt x="45" y="105"/>
                    </a:lnTo>
                    <a:lnTo>
                      <a:pt x="45" y="103"/>
                    </a:lnTo>
                    <a:lnTo>
                      <a:pt x="45" y="101"/>
                    </a:lnTo>
                    <a:lnTo>
                      <a:pt x="45" y="100"/>
                    </a:lnTo>
                    <a:lnTo>
                      <a:pt x="45" y="98"/>
                    </a:lnTo>
                    <a:lnTo>
                      <a:pt x="45" y="96"/>
                    </a:lnTo>
                    <a:lnTo>
                      <a:pt x="45" y="98"/>
                    </a:lnTo>
                    <a:lnTo>
                      <a:pt x="45" y="96"/>
                    </a:lnTo>
                    <a:lnTo>
                      <a:pt x="43" y="96"/>
                    </a:lnTo>
                    <a:lnTo>
                      <a:pt x="43" y="98"/>
                    </a:lnTo>
                    <a:lnTo>
                      <a:pt x="41" y="96"/>
                    </a:lnTo>
                    <a:lnTo>
                      <a:pt x="41" y="98"/>
                    </a:lnTo>
                    <a:lnTo>
                      <a:pt x="39" y="96"/>
                    </a:lnTo>
                    <a:lnTo>
                      <a:pt x="41" y="96"/>
                    </a:lnTo>
                    <a:lnTo>
                      <a:pt x="41" y="94"/>
                    </a:lnTo>
                    <a:lnTo>
                      <a:pt x="41" y="92"/>
                    </a:lnTo>
                    <a:lnTo>
                      <a:pt x="39" y="92"/>
                    </a:lnTo>
                    <a:lnTo>
                      <a:pt x="39" y="90"/>
                    </a:lnTo>
                    <a:lnTo>
                      <a:pt x="39" y="88"/>
                    </a:lnTo>
                    <a:lnTo>
                      <a:pt x="39" y="90"/>
                    </a:lnTo>
                    <a:lnTo>
                      <a:pt x="37" y="90"/>
                    </a:lnTo>
                    <a:lnTo>
                      <a:pt x="37" y="88"/>
                    </a:lnTo>
                    <a:lnTo>
                      <a:pt x="39" y="86"/>
                    </a:lnTo>
                    <a:lnTo>
                      <a:pt x="39" y="84"/>
                    </a:lnTo>
                    <a:lnTo>
                      <a:pt x="39" y="82"/>
                    </a:lnTo>
                    <a:lnTo>
                      <a:pt x="37" y="82"/>
                    </a:lnTo>
                    <a:lnTo>
                      <a:pt x="37" y="84"/>
                    </a:lnTo>
                    <a:lnTo>
                      <a:pt x="35" y="86"/>
                    </a:lnTo>
                    <a:lnTo>
                      <a:pt x="35" y="84"/>
                    </a:lnTo>
                    <a:lnTo>
                      <a:pt x="33" y="84"/>
                    </a:lnTo>
                    <a:lnTo>
                      <a:pt x="33" y="82"/>
                    </a:lnTo>
                    <a:lnTo>
                      <a:pt x="31" y="82"/>
                    </a:lnTo>
                    <a:lnTo>
                      <a:pt x="31" y="84"/>
                    </a:lnTo>
                    <a:lnTo>
                      <a:pt x="29" y="84"/>
                    </a:lnTo>
                    <a:lnTo>
                      <a:pt x="29" y="86"/>
                    </a:lnTo>
                    <a:lnTo>
                      <a:pt x="27" y="84"/>
                    </a:lnTo>
                    <a:lnTo>
                      <a:pt x="27" y="86"/>
                    </a:lnTo>
                    <a:lnTo>
                      <a:pt x="25" y="86"/>
                    </a:lnTo>
                    <a:lnTo>
                      <a:pt x="25" y="88"/>
                    </a:lnTo>
                    <a:lnTo>
                      <a:pt x="25" y="86"/>
                    </a:lnTo>
                    <a:lnTo>
                      <a:pt x="23" y="86"/>
                    </a:lnTo>
                    <a:lnTo>
                      <a:pt x="23" y="84"/>
                    </a:lnTo>
                    <a:lnTo>
                      <a:pt x="21" y="84"/>
                    </a:lnTo>
                    <a:lnTo>
                      <a:pt x="20" y="86"/>
                    </a:lnTo>
                    <a:lnTo>
                      <a:pt x="20" y="84"/>
                    </a:lnTo>
                    <a:lnTo>
                      <a:pt x="20" y="82"/>
                    </a:lnTo>
                    <a:lnTo>
                      <a:pt x="21" y="82"/>
                    </a:lnTo>
                    <a:lnTo>
                      <a:pt x="20" y="82"/>
                    </a:lnTo>
                    <a:lnTo>
                      <a:pt x="20" y="80"/>
                    </a:lnTo>
                    <a:lnTo>
                      <a:pt x="18" y="80"/>
                    </a:lnTo>
                    <a:lnTo>
                      <a:pt x="18" y="78"/>
                    </a:lnTo>
                    <a:lnTo>
                      <a:pt x="18" y="76"/>
                    </a:lnTo>
                    <a:lnTo>
                      <a:pt x="16" y="76"/>
                    </a:lnTo>
                    <a:lnTo>
                      <a:pt x="14" y="76"/>
                    </a:lnTo>
                    <a:lnTo>
                      <a:pt x="14" y="75"/>
                    </a:lnTo>
                    <a:lnTo>
                      <a:pt x="14" y="73"/>
                    </a:lnTo>
                    <a:lnTo>
                      <a:pt x="14" y="71"/>
                    </a:lnTo>
                    <a:lnTo>
                      <a:pt x="12" y="71"/>
                    </a:lnTo>
                    <a:lnTo>
                      <a:pt x="10" y="69"/>
                    </a:lnTo>
                    <a:lnTo>
                      <a:pt x="10" y="67"/>
                    </a:lnTo>
                    <a:lnTo>
                      <a:pt x="8" y="69"/>
                    </a:lnTo>
                    <a:lnTo>
                      <a:pt x="8" y="71"/>
                    </a:lnTo>
                    <a:lnTo>
                      <a:pt x="6" y="69"/>
                    </a:lnTo>
                    <a:lnTo>
                      <a:pt x="4" y="69"/>
                    </a:lnTo>
                    <a:lnTo>
                      <a:pt x="2" y="69"/>
                    </a:lnTo>
                    <a:lnTo>
                      <a:pt x="2" y="67"/>
                    </a:lnTo>
                    <a:lnTo>
                      <a:pt x="2" y="65"/>
                    </a:lnTo>
                    <a:lnTo>
                      <a:pt x="0" y="65"/>
                    </a:lnTo>
                    <a:lnTo>
                      <a:pt x="0" y="63"/>
                    </a:lnTo>
                    <a:lnTo>
                      <a:pt x="2" y="63"/>
                    </a:lnTo>
                    <a:lnTo>
                      <a:pt x="2" y="61"/>
                    </a:lnTo>
                    <a:lnTo>
                      <a:pt x="2" y="59"/>
                    </a:lnTo>
                    <a:lnTo>
                      <a:pt x="4" y="59"/>
                    </a:lnTo>
                    <a:lnTo>
                      <a:pt x="4" y="57"/>
                    </a:lnTo>
                    <a:lnTo>
                      <a:pt x="6" y="57"/>
                    </a:lnTo>
                    <a:lnTo>
                      <a:pt x="6" y="55"/>
                    </a:lnTo>
                    <a:lnTo>
                      <a:pt x="8" y="55"/>
                    </a:lnTo>
                    <a:lnTo>
                      <a:pt x="8" y="53"/>
                    </a:lnTo>
                    <a:lnTo>
                      <a:pt x="8" y="51"/>
                    </a:lnTo>
                    <a:lnTo>
                      <a:pt x="10" y="51"/>
                    </a:lnTo>
                    <a:lnTo>
                      <a:pt x="10" y="50"/>
                    </a:lnTo>
                    <a:lnTo>
                      <a:pt x="12" y="50"/>
                    </a:lnTo>
                    <a:lnTo>
                      <a:pt x="12" y="48"/>
                    </a:lnTo>
                    <a:lnTo>
                      <a:pt x="12" y="46"/>
                    </a:lnTo>
                    <a:lnTo>
                      <a:pt x="14" y="46"/>
                    </a:lnTo>
                    <a:lnTo>
                      <a:pt x="14" y="48"/>
                    </a:lnTo>
                    <a:lnTo>
                      <a:pt x="16" y="48"/>
                    </a:lnTo>
                    <a:lnTo>
                      <a:pt x="18" y="46"/>
                    </a:lnTo>
                    <a:lnTo>
                      <a:pt x="18" y="44"/>
                    </a:lnTo>
                    <a:lnTo>
                      <a:pt x="16" y="44"/>
                    </a:lnTo>
                    <a:lnTo>
                      <a:pt x="18" y="44"/>
                    </a:lnTo>
                    <a:lnTo>
                      <a:pt x="18" y="42"/>
                    </a:lnTo>
                    <a:lnTo>
                      <a:pt x="18" y="40"/>
                    </a:lnTo>
                    <a:lnTo>
                      <a:pt x="20" y="40"/>
                    </a:lnTo>
                    <a:lnTo>
                      <a:pt x="18" y="40"/>
                    </a:lnTo>
                    <a:lnTo>
                      <a:pt x="20" y="38"/>
                    </a:lnTo>
                    <a:lnTo>
                      <a:pt x="21" y="38"/>
                    </a:lnTo>
                    <a:lnTo>
                      <a:pt x="21" y="36"/>
                    </a:lnTo>
                    <a:lnTo>
                      <a:pt x="21" y="34"/>
                    </a:lnTo>
                    <a:lnTo>
                      <a:pt x="21" y="32"/>
                    </a:lnTo>
                    <a:lnTo>
                      <a:pt x="21" y="30"/>
                    </a:lnTo>
                    <a:lnTo>
                      <a:pt x="21" y="28"/>
                    </a:lnTo>
                    <a:lnTo>
                      <a:pt x="23" y="28"/>
                    </a:lnTo>
                    <a:lnTo>
                      <a:pt x="23" y="26"/>
                    </a:lnTo>
                    <a:lnTo>
                      <a:pt x="23" y="25"/>
                    </a:lnTo>
                    <a:lnTo>
                      <a:pt x="23" y="23"/>
                    </a:lnTo>
                    <a:lnTo>
                      <a:pt x="23" y="21"/>
                    </a:lnTo>
                    <a:lnTo>
                      <a:pt x="25" y="23"/>
                    </a:lnTo>
                    <a:lnTo>
                      <a:pt x="25" y="21"/>
                    </a:lnTo>
                    <a:lnTo>
                      <a:pt x="27" y="21"/>
                    </a:lnTo>
                    <a:lnTo>
                      <a:pt x="29" y="21"/>
                    </a:lnTo>
                    <a:lnTo>
                      <a:pt x="29" y="19"/>
                    </a:lnTo>
                    <a:lnTo>
                      <a:pt x="31" y="19"/>
                    </a:lnTo>
                    <a:lnTo>
                      <a:pt x="31" y="21"/>
                    </a:lnTo>
                    <a:lnTo>
                      <a:pt x="31" y="19"/>
                    </a:lnTo>
                    <a:lnTo>
                      <a:pt x="33" y="19"/>
                    </a:lnTo>
                    <a:lnTo>
                      <a:pt x="35" y="19"/>
                    </a:lnTo>
                    <a:lnTo>
                      <a:pt x="33" y="17"/>
                    </a:lnTo>
                    <a:lnTo>
                      <a:pt x="33" y="15"/>
                    </a:lnTo>
                    <a:lnTo>
                      <a:pt x="35" y="17"/>
                    </a:lnTo>
                    <a:lnTo>
                      <a:pt x="35" y="15"/>
                    </a:lnTo>
                    <a:lnTo>
                      <a:pt x="37" y="15"/>
                    </a:lnTo>
                    <a:lnTo>
                      <a:pt x="37" y="13"/>
                    </a:lnTo>
                    <a:lnTo>
                      <a:pt x="39" y="13"/>
                    </a:lnTo>
                    <a:lnTo>
                      <a:pt x="39" y="11"/>
                    </a:lnTo>
                    <a:lnTo>
                      <a:pt x="41" y="11"/>
                    </a:lnTo>
                    <a:lnTo>
                      <a:pt x="43" y="11"/>
                    </a:lnTo>
                    <a:lnTo>
                      <a:pt x="43" y="13"/>
                    </a:lnTo>
                    <a:lnTo>
                      <a:pt x="45" y="13"/>
                    </a:lnTo>
                    <a:lnTo>
                      <a:pt x="45" y="11"/>
                    </a:lnTo>
                    <a:lnTo>
                      <a:pt x="46" y="11"/>
                    </a:lnTo>
                    <a:lnTo>
                      <a:pt x="46" y="9"/>
                    </a:lnTo>
                    <a:lnTo>
                      <a:pt x="46" y="7"/>
                    </a:lnTo>
                    <a:lnTo>
                      <a:pt x="48" y="7"/>
                    </a:lnTo>
                    <a:lnTo>
                      <a:pt x="48" y="5"/>
                    </a:lnTo>
                    <a:lnTo>
                      <a:pt x="50" y="5"/>
                    </a:lnTo>
                    <a:lnTo>
                      <a:pt x="50" y="3"/>
                    </a:lnTo>
                    <a:lnTo>
                      <a:pt x="48" y="5"/>
                    </a:lnTo>
                    <a:lnTo>
                      <a:pt x="48" y="3"/>
                    </a:lnTo>
                    <a:lnTo>
                      <a:pt x="48" y="1"/>
                    </a:lnTo>
                    <a:lnTo>
                      <a:pt x="50" y="1"/>
                    </a:lnTo>
                    <a:lnTo>
                      <a:pt x="50" y="0"/>
                    </a:lnTo>
                    <a:lnTo>
                      <a:pt x="52" y="0"/>
                    </a:lnTo>
                    <a:lnTo>
                      <a:pt x="52" y="1"/>
                    </a:lnTo>
                    <a:lnTo>
                      <a:pt x="50" y="1"/>
                    </a:lnTo>
                    <a:lnTo>
                      <a:pt x="52" y="3"/>
                    </a:lnTo>
                    <a:lnTo>
                      <a:pt x="52" y="1"/>
                    </a:lnTo>
                    <a:lnTo>
                      <a:pt x="54" y="1"/>
                    </a:lnTo>
                    <a:lnTo>
                      <a:pt x="54" y="3"/>
                    </a:lnTo>
                    <a:lnTo>
                      <a:pt x="54" y="1"/>
                    </a:lnTo>
                    <a:lnTo>
                      <a:pt x="56" y="1"/>
                    </a:lnTo>
                    <a:lnTo>
                      <a:pt x="56" y="3"/>
                    </a:lnTo>
                    <a:lnTo>
                      <a:pt x="56" y="5"/>
                    </a:lnTo>
                    <a:lnTo>
                      <a:pt x="56" y="7"/>
                    </a:lnTo>
                    <a:lnTo>
                      <a:pt x="56" y="9"/>
                    </a:lnTo>
                    <a:lnTo>
                      <a:pt x="58" y="9"/>
                    </a:lnTo>
                    <a:lnTo>
                      <a:pt x="58" y="11"/>
                    </a:lnTo>
                    <a:lnTo>
                      <a:pt x="60" y="11"/>
                    </a:lnTo>
                    <a:lnTo>
                      <a:pt x="58" y="11"/>
                    </a:lnTo>
                    <a:lnTo>
                      <a:pt x="60" y="11"/>
                    </a:lnTo>
                    <a:lnTo>
                      <a:pt x="60" y="13"/>
                    </a:lnTo>
                    <a:lnTo>
                      <a:pt x="62" y="15"/>
                    </a:lnTo>
                    <a:lnTo>
                      <a:pt x="64" y="15"/>
                    </a:lnTo>
                    <a:lnTo>
                      <a:pt x="64" y="17"/>
                    </a:lnTo>
                    <a:lnTo>
                      <a:pt x="64" y="15"/>
                    </a:lnTo>
                    <a:lnTo>
                      <a:pt x="64" y="17"/>
                    </a:lnTo>
                    <a:lnTo>
                      <a:pt x="62" y="17"/>
                    </a:lnTo>
                    <a:lnTo>
                      <a:pt x="62" y="19"/>
                    </a:lnTo>
                    <a:lnTo>
                      <a:pt x="64" y="17"/>
                    </a:lnTo>
                    <a:lnTo>
                      <a:pt x="64" y="19"/>
                    </a:lnTo>
                    <a:lnTo>
                      <a:pt x="64" y="17"/>
                    </a:lnTo>
                    <a:lnTo>
                      <a:pt x="66" y="17"/>
                    </a:lnTo>
                    <a:lnTo>
                      <a:pt x="68" y="17"/>
                    </a:lnTo>
                    <a:lnTo>
                      <a:pt x="68" y="15"/>
                    </a:lnTo>
                    <a:lnTo>
                      <a:pt x="71" y="17"/>
                    </a:lnTo>
                    <a:lnTo>
                      <a:pt x="73" y="17"/>
                    </a:lnTo>
                    <a:lnTo>
                      <a:pt x="75" y="17"/>
                    </a:lnTo>
                    <a:lnTo>
                      <a:pt x="77" y="17"/>
                    </a:lnTo>
                    <a:lnTo>
                      <a:pt x="79" y="17"/>
                    </a:lnTo>
                    <a:lnTo>
                      <a:pt x="81" y="19"/>
                    </a:lnTo>
                    <a:lnTo>
                      <a:pt x="83" y="19"/>
                    </a:lnTo>
                    <a:lnTo>
                      <a:pt x="85" y="19"/>
                    </a:lnTo>
                    <a:lnTo>
                      <a:pt x="87" y="19"/>
                    </a:lnTo>
                    <a:lnTo>
                      <a:pt x="89" y="19"/>
                    </a:lnTo>
                    <a:lnTo>
                      <a:pt x="91" y="19"/>
                    </a:lnTo>
                    <a:lnTo>
                      <a:pt x="93" y="19"/>
                    </a:lnTo>
                    <a:lnTo>
                      <a:pt x="93" y="17"/>
                    </a:lnTo>
                    <a:lnTo>
                      <a:pt x="93" y="19"/>
                    </a:lnTo>
                    <a:lnTo>
                      <a:pt x="94" y="19"/>
                    </a:lnTo>
                    <a:lnTo>
                      <a:pt x="94" y="21"/>
                    </a:lnTo>
                    <a:lnTo>
                      <a:pt x="96" y="21"/>
                    </a:lnTo>
                    <a:lnTo>
                      <a:pt x="96" y="23"/>
                    </a:lnTo>
                    <a:lnTo>
                      <a:pt x="94" y="23"/>
                    </a:lnTo>
                    <a:lnTo>
                      <a:pt x="96" y="25"/>
                    </a:lnTo>
                    <a:lnTo>
                      <a:pt x="96" y="26"/>
                    </a:lnTo>
                    <a:lnTo>
                      <a:pt x="98" y="26"/>
                    </a:lnTo>
                    <a:lnTo>
                      <a:pt x="98" y="25"/>
                    </a:lnTo>
                    <a:lnTo>
                      <a:pt x="98" y="26"/>
                    </a:lnTo>
                    <a:lnTo>
                      <a:pt x="98" y="25"/>
                    </a:lnTo>
                    <a:lnTo>
                      <a:pt x="100" y="25"/>
                    </a:lnTo>
                    <a:lnTo>
                      <a:pt x="102" y="25"/>
                    </a:lnTo>
                    <a:lnTo>
                      <a:pt x="102" y="23"/>
                    </a:lnTo>
                    <a:lnTo>
                      <a:pt x="102" y="21"/>
                    </a:lnTo>
                    <a:lnTo>
                      <a:pt x="104" y="21"/>
                    </a:lnTo>
                    <a:lnTo>
                      <a:pt x="104" y="19"/>
                    </a:lnTo>
                    <a:lnTo>
                      <a:pt x="106" y="19"/>
                    </a:lnTo>
                    <a:lnTo>
                      <a:pt x="106" y="17"/>
                    </a:lnTo>
                    <a:lnTo>
                      <a:pt x="106" y="15"/>
                    </a:lnTo>
                    <a:lnTo>
                      <a:pt x="108" y="15"/>
                    </a:lnTo>
                    <a:lnTo>
                      <a:pt x="110" y="15"/>
                    </a:lnTo>
                    <a:lnTo>
                      <a:pt x="112" y="13"/>
                    </a:lnTo>
                    <a:lnTo>
                      <a:pt x="112" y="15"/>
                    </a:lnTo>
                    <a:lnTo>
                      <a:pt x="110" y="15"/>
                    </a:lnTo>
                    <a:lnTo>
                      <a:pt x="110" y="17"/>
                    </a:lnTo>
                    <a:lnTo>
                      <a:pt x="112" y="17"/>
                    </a:lnTo>
                    <a:lnTo>
                      <a:pt x="112" y="15"/>
                    </a:lnTo>
                    <a:lnTo>
                      <a:pt x="112" y="17"/>
                    </a:lnTo>
                    <a:lnTo>
                      <a:pt x="114" y="17"/>
                    </a:lnTo>
                    <a:lnTo>
                      <a:pt x="116" y="17"/>
                    </a:lnTo>
                    <a:lnTo>
                      <a:pt x="118" y="17"/>
                    </a:lnTo>
                    <a:lnTo>
                      <a:pt x="118" y="19"/>
                    </a:lnTo>
                    <a:lnTo>
                      <a:pt x="119" y="19"/>
                    </a:lnTo>
                    <a:lnTo>
                      <a:pt x="119" y="17"/>
                    </a:lnTo>
                    <a:lnTo>
                      <a:pt x="121" y="17"/>
                    </a:lnTo>
                    <a:lnTo>
                      <a:pt x="121" y="15"/>
                    </a:lnTo>
                    <a:lnTo>
                      <a:pt x="123" y="15"/>
                    </a:lnTo>
                    <a:lnTo>
                      <a:pt x="123" y="13"/>
                    </a:lnTo>
                    <a:lnTo>
                      <a:pt x="125" y="13"/>
                    </a:lnTo>
                    <a:lnTo>
                      <a:pt x="127" y="13"/>
                    </a:lnTo>
                    <a:lnTo>
                      <a:pt x="129" y="13"/>
                    </a:lnTo>
                    <a:lnTo>
                      <a:pt x="131" y="13"/>
                    </a:lnTo>
                    <a:lnTo>
                      <a:pt x="131" y="15"/>
                    </a:lnTo>
                    <a:lnTo>
                      <a:pt x="131" y="17"/>
                    </a:lnTo>
                    <a:lnTo>
                      <a:pt x="133" y="17"/>
                    </a:lnTo>
                    <a:lnTo>
                      <a:pt x="133" y="19"/>
                    </a:lnTo>
                    <a:lnTo>
                      <a:pt x="133" y="21"/>
                    </a:lnTo>
                    <a:lnTo>
                      <a:pt x="135" y="21"/>
                    </a:lnTo>
                    <a:lnTo>
                      <a:pt x="133" y="23"/>
                    </a:lnTo>
                    <a:lnTo>
                      <a:pt x="135" y="23"/>
                    </a:lnTo>
                    <a:lnTo>
                      <a:pt x="133" y="25"/>
                    </a:lnTo>
                    <a:lnTo>
                      <a:pt x="133" y="26"/>
                    </a:lnTo>
                    <a:lnTo>
                      <a:pt x="131" y="28"/>
                    </a:lnTo>
                    <a:lnTo>
                      <a:pt x="133" y="28"/>
                    </a:lnTo>
                    <a:lnTo>
                      <a:pt x="133" y="30"/>
                    </a:lnTo>
                    <a:lnTo>
                      <a:pt x="135" y="30"/>
                    </a:lnTo>
                    <a:lnTo>
                      <a:pt x="135" y="32"/>
                    </a:lnTo>
                    <a:lnTo>
                      <a:pt x="137" y="32"/>
                    </a:lnTo>
                    <a:lnTo>
                      <a:pt x="137" y="34"/>
                    </a:lnTo>
                    <a:lnTo>
                      <a:pt x="139" y="34"/>
                    </a:lnTo>
                    <a:lnTo>
                      <a:pt x="139" y="32"/>
                    </a:lnTo>
                    <a:close/>
                    <a:moveTo>
                      <a:pt x="81" y="57"/>
                    </a:moveTo>
                    <a:lnTo>
                      <a:pt x="81" y="55"/>
                    </a:lnTo>
                    <a:lnTo>
                      <a:pt x="79" y="55"/>
                    </a:lnTo>
                    <a:lnTo>
                      <a:pt x="79" y="57"/>
                    </a:lnTo>
                    <a:lnTo>
                      <a:pt x="79" y="59"/>
                    </a:lnTo>
                    <a:lnTo>
                      <a:pt x="77" y="59"/>
                    </a:lnTo>
                    <a:lnTo>
                      <a:pt x="79" y="59"/>
                    </a:lnTo>
                    <a:lnTo>
                      <a:pt x="79" y="61"/>
                    </a:lnTo>
                    <a:lnTo>
                      <a:pt x="79" y="59"/>
                    </a:lnTo>
                    <a:lnTo>
                      <a:pt x="81" y="59"/>
                    </a:lnTo>
                    <a:lnTo>
                      <a:pt x="81" y="61"/>
                    </a:lnTo>
                    <a:lnTo>
                      <a:pt x="83" y="61"/>
                    </a:lnTo>
                    <a:lnTo>
                      <a:pt x="83" y="59"/>
                    </a:lnTo>
                    <a:lnTo>
                      <a:pt x="81" y="59"/>
                    </a:lnTo>
                    <a:lnTo>
                      <a:pt x="83" y="59"/>
                    </a:lnTo>
                    <a:lnTo>
                      <a:pt x="81" y="57"/>
                    </a:lnTo>
                    <a:close/>
                    <a:moveTo>
                      <a:pt x="87" y="65"/>
                    </a:moveTo>
                    <a:lnTo>
                      <a:pt x="87" y="63"/>
                    </a:lnTo>
                    <a:lnTo>
                      <a:pt x="85" y="63"/>
                    </a:lnTo>
                    <a:lnTo>
                      <a:pt x="85" y="65"/>
                    </a:lnTo>
                    <a:lnTo>
                      <a:pt x="83" y="63"/>
                    </a:lnTo>
                    <a:lnTo>
                      <a:pt x="83" y="65"/>
                    </a:lnTo>
                    <a:lnTo>
                      <a:pt x="81" y="65"/>
                    </a:lnTo>
                    <a:lnTo>
                      <a:pt x="83" y="65"/>
                    </a:lnTo>
                    <a:lnTo>
                      <a:pt x="81" y="65"/>
                    </a:lnTo>
                    <a:lnTo>
                      <a:pt x="83" y="65"/>
                    </a:lnTo>
                    <a:lnTo>
                      <a:pt x="83" y="67"/>
                    </a:lnTo>
                    <a:lnTo>
                      <a:pt x="81" y="67"/>
                    </a:lnTo>
                    <a:lnTo>
                      <a:pt x="81" y="69"/>
                    </a:lnTo>
                    <a:lnTo>
                      <a:pt x="81" y="71"/>
                    </a:lnTo>
                    <a:lnTo>
                      <a:pt x="81" y="69"/>
                    </a:lnTo>
                    <a:lnTo>
                      <a:pt x="79" y="69"/>
                    </a:lnTo>
                    <a:lnTo>
                      <a:pt x="79" y="71"/>
                    </a:lnTo>
                    <a:lnTo>
                      <a:pt x="79" y="73"/>
                    </a:lnTo>
                    <a:lnTo>
                      <a:pt x="77" y="73"/>
                    </a:lnTo>
                    <a:lnTo>
                      <a:pt x="75" y="73"/>
                    </a:lnTo>
                    <a:lnTo>
                      <a:pt x="75" y="75"/>
                    </a:lnTo>
                    <a:lnTo>
                      <a:pt x="75" y="73"/>
                    </a:lnTo>
                    <a:lnTo>
                      <a:pt x="75" y="75"/>
                    </a:lnTo>
                    <a:lnTo>
                      <a:pt x="77" y="73"/>
                    </a:lnTo>
                    <a:lnTo>
                      <a:pt x="77" y="75"/>
                    </a:lnTo>
                    <a:lnTo>
                      <a:pt x="75" y="76"/>
                    </a:lnTo>
                    <a:lnTo>
                      <a:pt x="75" y="78"/>
                    </a:lnTo>
                    <a:lnTo>
                      <a:pt x="75" y="80"/>
                    </a:lnTo>
                    <a:lnTo>
                      <a:pt x="73" y="80"/>
                    </a:lnTo>
                    <a:lnTo>
                      <a:pt x="71" y="80"/>
                    </a:lnTo>
                    <a:lnTo>
                      <a:pt x="71" y="82"/>
                    </a:lnTo>
                    <a:lnTo>
                      <a:pt x="73" y="82"/>
                    </a:lnTo>
                    <a:lnTo>
                      <a:pt x="75" y="82"/>
                    </a:lnTo>
                    <a:lnTo>
                      <a:pt x="73" y="82"/>
                    </a:lnTo>
                    <a:lnTo>
                      <a:pt x="73" y="84"/>
                    </a:lnTo>
                    <a:lnTo>
                      <a:pt x="73" y="86"/>
                    </a:lnTo>
                    <a:lnTo>
                      <a:pt x="75" y="88"/>
                    </a:lnTo>
                    <a:lnTo>
                      <a:pt x="73" y="88"/>
                    </a:lnTo>
                    <a:lnTo>
                      <a:pt x="73" y="90"/>
                    </a:lnTo>
                    <a:lnTo>
                      <a:pt x="71" y="90"/>
                    </a:lnTo>
                    <a:lnTo>
                      <a:pt x="71" y="92"/>
                    </a:lnTo>
                    <a:lnTo>
                      <a:pt x="73" y="92"/>
                    </a:lnTo>
                    <a:lnTo>
                      <a:pt x="71" y="94"/>
                    </a:lnTo>
                    <a:lnTo>
                      <a:pt x="73" y="94"/>
                    </a:lnTo>
                    <a:lnTo>
                      <a:pt x="73" y="92"/>
                    </a:lnTo>
                    <a:lnTo>
                      <a:pt x="75" y="90"/>
                    </a:lnTo>
                    <a:lnTo>
                      <a:pt x="77" y="92"/>
                    </a:lnTo>
                    <a:lnTo>
                      <a:pt x="79" y="92"/>
                    </a:lnTo>
                    <a:lnTo>
                      <a:pt x="81" y="92"/>
                    </a:lnTo>
                    <a:lnTo>
                      <a:pt x="81" y="90"/>
                    </a:lnTo>
                    <a:lnTo>
                      <a:pt x="83" y="90"/>
                    </a:lnTo>
                    <a:lnTo>
                      <a:pt x="85" y="90"/>
                    </a:lnTo>
                    <a:lnTo>
                      <a:pt x="87" y="88"/>
                    </a:lnTo>
                    <a:lnTo>
                      <a:pt x="87" y="86"/>
                    </a:lnTo>
                    <a:lnTo>
                      <a:pt x="89" y="88"/>
                    </a:lnTo>
                    <a:lnTo>
                      <a:pt x="91" y="88"/>
                    </a:lnTo>
                    <a:lnTo>
                      <a:pt x="91" y="86"/>
                    </a:lnTo>
                    <a:lnTo>
                      <a:pt x="89" y="86"/>
                    </a:lnTo>
                    <a:lnTo>
                      <a:pt x="91" y="84"/>
                    </a:lnTo>
                    <a:lnTo>
                      <a:pt x="91" y="86"/>
                    </a:lnTo>
                    <a:lnTo>
                      <a:pt x="91" y="84"/>
                    </a:lnTo>
                    <a:lnTo>
                      <a:pt x="89" y="84"/>
                    </a:lnTo>
                    <a:lnTo>
                      <a:pt x="91" y="82"/>
                    </a:lnTo>
                    <a:lnTo>
                      <a:pt x="91" y="80"/>
                    </a:lnTo>
                    <a:lnTo>
                      <a:pt x="93" y="80"/>
                    </a:lnTo>
                    <a:lnTo>
                      <a:pt x="91" y="78"/>
                    </a:lnTo>
                    <a:lnTo>
                      <a:pt x="91" y="75"/>
                    </a:lnTo>
                    <a:lnTo>
                      <a:pt x="91" y="73"/>
                    </a:lnTo>
                    <a:lnTo>
                      <a:pt x="89" y="73"/>
                    </a:lnTo>
                    <a:lnTo>
                      <a:pt x="89" y="71"/>
                    </a:lnTo>
                    <a:lnTo>
                      <a:pt x="87" y="69"/>
                    </a:lnTo>
                    <a:lnTo>
                      <a:pt x="89" y="69"/>
                    </a:lnTo>
                    <a:lnTo>
                      <a:pt x="89" y="67"/>
                    </a:lnTo>
                    <a:lnTo>
                      <a:pt x="87" y="67"/>
                    </a:lnTo>
                    <a:lnTo>
                      <a:pt x="87" y="69"/>
                    </a:lnTo>
                    <a:lnTo>
                      <a:pt x="85" y="69"/>
                    </a:lnTo>
                    <a:lnTo>
                      <a:pt x="83" y="69"/>
                    </a:lnTo>
                    <a:lnTo>
                      <a:pt x="83" y="67"/>
                    </a:lnTo>
                    <a:lnTo>
                      <a:pt x="83" y="65"/>
                    </a:lnTo>
                    <a:lnTo>
                      <a:pt x="83" y="67"/>
                    </a:lnTo>
                    <a:lnTo>
                      <a:pt x="83" y="65"/>
                    </a:lnTo>
                    <a:lnTo>
                      <a:pt x="85" y="65"/>
                    </a:lnTo>
                    <a:lnTo>
                      <a:pt x="87" y="65"/>
                    </a:lnTo>
                    <a:close/>
                    <a:moveTo>
                      <a:pt x="93" y="80"/>
                    </a:moveTo>
                    <a:lnTo>
                      <a:pt x="91" y="80"/>
                    </a:lnTo>
                    <a:lnTo>
                      <a:pt x="93" y="80"/>
                    </a:lnTo>
                    <a:lnTo>
                      <a:pt x="93" y="82"/>
                    </a:lnTo>
                    <a:lnTo>
                      <a:pt x="93" y="80"/>
                    </a:lnTo>
                    <a:close/>
                    <a:moveTo>
                      <a:pt x="70" y="80"/>
                    </a:moveTo>
                    <a:lnTo>
                      <a:pt x="68" y="80"/>
                    </a:lnTo>
                    <a:lnTo>
                      <a:pt x="68" y="82"/>
                    </a:lnTo>
                    <a:lnTo>
                      <a:pt x="66" y="82"/>
                    </a:lnTo>
                    <a:lnTo>
                      <a:pt x="68" y="82"/>
                    </a:lnTo>
                    <a:lnTo>
                      <a:pt x="70" y="82"/>
                    </a:lnTo>
                    <a:lnTo>
                      <a:pt x="70" y="80"/>
                    </a:lnTo>
                    <a:close/>
                    <a:moveTo>
                      <a:pt x="68" y="80"/>
                    </a:moveTo>
                    <a:lnTo>
                      <a:pt x="66" y="80"/>
                    </a:lnTo>
                    <a:lnTo>
                      <a:pt x="68" y="80"/>
                    </a:lnTo>
                    <a:close/>
                    <a:moveTo>
                      <a:pt x="77" y="73"/>
                    </a:moveTo>
                    <a:lnTo>
                      <a:pt x="79" y="73"/>
                    </a:lnTo>
                    <a:lnTo>
                      <a:pt x="77"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8" name="Freeform 65"/>
              <p:cNvSpPr>
                <a:spLocks noEditPoints="1"/>
              </p:cNvSpPr>
              <p:nvPr/>
            </p:nvSpPr>
            <p:spPr bwMode="auto">
              <a:xfrm>
                <a:off x="863037" y="2431888"/>
                <a:ext cx="46458" cy="67105"/>
              </a:xfrm>
              <a:custGeom>
                <a:avLst/>
                <a:gdLst>
                  <a:gd name="T0" fmla="*/ 4 w 27"/>
                  <a:gd name="T1" fmla="*/ 27 h 39"/>
                  <a:gd name="T2" fmla="*/ 0 w 27"/>
                  <a:gd name="T3" fmla="*/ 27 h 39"/>
                  <a:gd name="T4" fmla="*/ 2 w 27"/>
                  <a:gd name="T5" fmla="*/ 25 h 39"/>
                  <a:gd name="T6" fmla="*/ 2 w 27"/>
                  <a:gd name="T7" fmla="*/ 25 h 39"/>
                  <a:gd name="T8" fmla="*/ 2 w 27"/>
                  <a:gd name="T9" fmla="*/ 25 h 39"/>
                  <a:gd name="T10" fmla="*/ 13 w 27"/>
                  <a:gd name="T11" fmla="*/ 18 h 39"/>
                  <a:gd name="T12" fmla="*/ 27 w 27"/>
                  <a:gd name="T13" fmla="*/ 25 h 39"/>
                  <a:gd name="T14" fmla="*/ 27 w 27"/>
                  <a:gd name="T15" fmla="*/ 25 h 39"/>
                  <a:gd name="T16" fmla="*/ 27 w 27"/>
                  <a:gd name="T17" fmla="*/ 25 h 39"/>
                  <a:gd name="T18" fmla="*/ 19 w 27"/>
                  <a:gd name="T19" fmla="*/ 10 h 39"/>
                  <a:gd name="T20" fmla="*/ 17 w 27"/>
                  <a:gd name="T21" fmla="*/ 12 h 39"/>
                  <a:gd name="T22" fmla="*/ 17 w 27"/>
                  <a:gd name="T23" fmla="*/ 12 h 39"/>
                  <a:gd name="T24" fmla="*/ 19 w 27"/>
                  <a:gd name="T25" fmla="*/ 14 h 39"/>
                  <a:gd name="T26" fmla="*/ 21 w 27"/>
                  <a:gd name="T27" fmla="*/ 12 h 39"/>
                  <a:gd name="T28" fmla="*/ 23 w 27"/>
                  <a:gd name="T29" fmla="*/ 14 h 39"/>
                  <a:gd name="T30" fmla="*/ 23 w 27"/>
                  <a:gd name="T31" fmla="*/ 16 h 39"/>
                  <a:gd name="T32" fmla="*/ 25 w 27"/>
                  <a:gd name="T33" fmla="*/ 18 h 39"/>
                  <a:gd name="T34" fmla="*/ 25 w 27"/>
                  <a:gd name="T35" fmla="*/ 23 h 39"/>
                  <a:gd name="T36" fmla="*/ 25 w 27"/>
                  <a:gd name="T37" fmla="*/ 25 h 39"/>
                  <a:gd name="T38" fmla="*/ 23 w 27"/>
                  <a:gd name="T39" fmla="*/ 29 h 39"/>
                  <a:gd name="T40" fmla="*/ 25 w 27"/>
                  <a:gd name="T41" fmla="*/ 31 h 39"/>
                  <a:gd name="T42" fmla="*/ 23 w 27"/>
                  <a:gd name="T43" fmla="*/ 31 h 39"/>
                  <a:gd name="T44" fmla="*/ 25 w 27"/>
                  <a:gd name="T45" fmla="*/ 33 h 39"/>
                  <a:gd name="T46" fmla="*/ 21 w 27"/>
                  <a:gd name="T47" fmla="*/ 31 h 39"/>
                  <a:gd name="T48" fmla="*/ 19 w 27"/>
                  <a:gd name="T49" fmla="*/ 35 h 39"/>
                  <a:gd name="T50" fmla="*/ 15 w 27"/>
                  <a:gd name="T51" fmla="*/ 35 h 39"/>
                  <a:gd name="T52" fmla="*/ 13 w 27"/>
                  <a:gd name="T53" fmla="*/ 37 h 39"/>
                  <a:gd name="T54" fmla="*/ 9 w 27"/>
                  <a:gd name="T55" fmla="*/ 35 h 39"/>
                  <a:gd name="T56" fmla="*/ 7 w 27"/>
                  <a:gd name="T57" fmla="*/ 39 h 39"/>
                  <a:gd name="T58" fmla="*/ 7 w 27"/>
                  <a:gd name="T59" fmla="*/ 37 h 39"/>
                  <a:gd name="T60" fmla="*/ 5 w 27"/>
                  <a:gd name="T61" fmla="*/ 35 h 39"/>
                  <a:gd name="T62" fmla="*/ 7 w 27"/>
                  <a:gd name="T63" fmla="*/ 33 h 39"/>
                  <a:gd name="T64" fmla="*/ 7 w 27"/>
                  <a:gd name="T65" fmla="*/ 31 h 39"/>
                  <a:gd name="T66" fmla="*/ 7 w 27"/>
                  <a:gd name="T67" fmla="*/ 27 h 39"/>
                  <a:gd name="T68" fmla="*/ 7 w 27"/>
                  <a:gd name="T69" fmla="*/ 27 h 39"/>
                  <a:gd name="T70" fmla="*/ 5 w 27"/>
                  <a:gd name="T71" fmla="*/ 25 h 39"/>
                  <a:gd name="T72" fmla="*/ 9 w 27"/>
                  <a:gd name="T73" fmla="*/ 25 h 39"/>
                  <a:gd name="T74" fmla="*/ 9 w 27"/>
                  <a:gd name="T75" fmla="*/ 21 h 39"/>
                  <a:gd name="T76" fmla="*/ 11 w 27"/>
                  <a:gd name="T77" fmla="*/ 18 h 39"/>
                  <a:gd name="T78" fmla="*/ 9 w 27"/>
                  <a:gd name="T79" fmla="*/ 18 h 39"/>
                  <a:gd name="T80" fmla="*/ 9 w 27"/>
                  <a:gd name="T81" fmla="*/ 18 h 39"/>
                  <a:gd name="T82" fmla="*/ 13 w 27"/>
                  <a:gd name="T83" fmla="*/ 18 h 39"/>
                  <a:gd name="T84" fmla="*/ 13 w 27"/>
                  <a:gd name="T85" fmla="*/ 14 h 39"/>
                  <a:gd name="T86" fmla="*/ 15 w 27"/>
                  <a:gd name="T87" fmla="*/ 16 h 39"/>
                  <a:gd name="T88" fmla="*/ 15 w 27"/>
                  <a:gd name="T89" fmla="*/ 12 h 39"/>
                  <a:gd name="T90" fmla="*/ 17 w 27"/>
                  <a:gd name="T91" fmla="*/ 10 h 39"/>
                  <a:gd name="T92" fmla="*/ 17 w 27"/>
                  <a:gd name="T93" fmla="*/ 10 h 39"/>
                  <a:gd name="T94" fmla="*/ 17 w 27"/>
                  <a:gd name="T95" fmla="*/ 10 h 39"/>
                  <a:gd name="T96" fmla="*/ 19 w 27"/>
                  <a:gd name="T97" fmla="*/ 10 h 39"/>
                  <a:gd name="T98" fmla="*/ 21 w 27"/>
                  <a:gd name="T99" fmla="*/ 8 h 39"/>
                  <a:gd name="T100" fmla="*/ 15 w 27"/>
                  <a:gd name="T101" fmla="*/ 2 h 39"/>
                  <a:gd name="T102" fmla="*/ 15 w 27"/>
                  <a:gd name="T103" fmla="*/ 4 h 39"/>
                  <a:gd name="T104" fmla="*/ 17 w 27"/>
                  <a:gd name="T105" fmla="*/ 6 h 39"/>
                  <a:gd name="T106" fmla="*/ 15 w 27"/>
                  <a:gd name="T107" fmla="*/ 4 h 39"/>
                  <a:gd name="T108" fmla="*/ 13 w 27"/>
                  <a:gd name="T109" fmla="*/ 6 h 39"/>
                  <a:gd name="T110" fmla="*/ 11 w 27"/>
                  <a:gd name="T111" fmla="*/ 4 h 39"/>
                  <a:gd name="T112" fmla="*/ 13 w 27"/>
                  <a:gd name="T113" fmla="*/ 2 h 39"/>
                  <a:gd name="T114" fmla="*/ 15 w 27"/>
                  <a:gd name="T11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 h="39">
                    <a:moveTo>
                      <a:pt x="4" y="25"/>
                    </a:moveTo>
                    <a:lnTo>
                      <a:pt x="4" y="27"/>
                    </a:lnTo>
                    <a:lnTo>
                      <a:pt x="2" y="27"/>
                    </a:lnTo>
                    <a:lnTo>
                      <a:pt x="0" y="27"/>
                    </a:lnTo>
                    <a:lnTo>
                      <a:pt x="2" y="27"/>
                    </a:lnTo>
                    <a:lnTo>
                      <a:pt x="2" y="25"/>
                    </a:lnTo>
                    <a:lnTo>
                      <a:pt x="4" y="25"/>
                    </a:lnTo>
                    <a:close/>
                    <a:moveTo>
                      <a:pt x="2" y="25"/>
                    </a:moveTo>
                    <a:lnTo>
                      <a:pt x="0" y="25"/>
                    </a:lnTo>
                    <a:lnTo>
                      <a:pt x="2" y="25"/>
                    </a:lnTo>
                    <a:close/>
                    <a:moveTo>
                      <a:pt x="11" y="18"/>
                    </a:moveTo>
                    <a:lnTo>
                      <a:pt x="13" y="18"/>
                    </a:lnTo>
                    <a:lnTo>
                      <a:pt x="11" y="18"/>
                    </a:lnTo>
                    <a:close/>
                    <a:moveTo>
                      <a:pt x="27" y="25"/>
                    </a:moveTo>
                    <a:lnTo>
                      <a:pt x="27" y="27"/>
                    </a:lnTo>
                    <a:lnTo>
                      <a:pt x="27" y="25"/>
                    </a:lnTo>
                    <a:lnTo>
                      <a:pt x="25" y="25"/>
                    </a:lnTo>
                    <a:lnTo>
                      <a:pt x="27" y="25"/>
                    </a:lnTo>
                    <a:close/>
                    <a:moveTo>
                      <a:pt x="21" y="10"/>
                    </a:moveTo>
                    <a:lnTo>
                      <a:pt x="19" y="10"/>
                    </a:lnTo>
                    <a:lnTo>
                      <a:pt x="17" y="10"/>
                    </a:lnTo>
                    <a:lnTo>
                      <a:pt x="17" y="12"/>
                    </a:lnTo>
                    <a:lnTo>
                      <a:pt x="17" y="10"/>
                    </a:lnTo>
                    <a:lnTo>
                      <a:pt x="17" y="12"/>
                    </a:lnTo>
                    <a:lnTo>
                      <a:pt x="17" y="14"/>
                    </a:lnTo>
                    <a:lnTo>
                      <a:pt x="19" y="14"/>
                    </a:lnTo>
                    <a:lnTo>
                      <a:pt x="21" y="14"/>
                    </a:lnTo>
                    <a:lnTo>
                      <a:pt x="21" y="12"/>
                    </a:lnTo>
                    <a:lnTo>
                      <a:pt x="23" y="12"/>
                    </a:lnTo>
                    <a:lnTo>
                      <a:pt x="23" y="14"/>
                    </a:lnTo>
                    <a:lnTo>
                      <a:pt x="21" y="14"/>
                    </a:lnTo>
                    <a:lnTo>
                      <a:pt x="23" y="16"/>
                    </a:lnTo>
                    <a:lnTo>
                      <a:pt x="23" y="18"/>
                    </a:lnTo>
                    <a:lnTo>
                      <a:pt x="25" y="18"/>
                    </a:lnTo>
                    <a:lnTo>
                      <a:pt x="25" y="20"/>
                    </a:lnTo>
                    <a:lnTo>
                      <a:pt x="25" y="23"/>
                    </a:lnTo>
                    <a:lnTo>
                      <a:pt x="27" y="25"/>
                    </a:lnTo>
                    <a:lnTo>
                      <a:pt x="25" y="25"/>
                    </a:lnTo>
                    <a:lnTo>
                      <a:pt x="25" y="27"/>
                    </a:lnTo>
                    <a:lnTo>
                      <a:pt x="23" y="29"/>
                    </a:lnTo>
                    <a:lnTo>
                      <a:pt x="25" y="29"/>
                    </a:lnTo>
                    <a:lnTo>
                      <a:pt x="25" y="31"/>
                    </a:lnTo>
                    <a:lnTo>
                      <a:pt x="25" y="29"/>
                    </a:lnTo>
                    <a:lnTo>
                      <a:pt x="23" y="31"/>
                    </a:lnTo>
                    <a:lnTo>
                      <a:pt x="25" y="31"/>
                    </a:lnTo>
                    <a:lnTo>
                      <a:pt x="25" y="33"/>
                    </a:lnTo>
                    <a:lnTo>
                      <a:pt x="23" y="33"/>
                    </a:lnTo>
                    <a:lnTo>
                      <a:pt x="21" y="31"/>
                    </a:lnTo>
                    <a:lnTo>
                      <a:pt x="21" y="33"/>
                    </a:lnTo>
                    <a:lnTo>
                      <a:pt x="19" y="35"/>
                    </a:lnTo>
                    <a:lnTo>
                      <a:pt x="17" y="35"/>
                    </a:lnTo>
                    <a:lnTo>
                      <a:pt x="15" y="35"/>
                    </a:lnTo>
                    <a:lnTo>
                      <a:pt x="15" y="37"/>
                    </a:lnTo>
                    <a:lnTo>
                      <a:pt x="13" y="37"/>
                    </a:lnTo>
                    <a:lnTo>
                      <a:pt x="11" y="37"/>
                    </a:lnTo>
                    <a:lnTo>
                      <a:pt x="9" y="35"/>
                    </a:lnTo>
                    <a:lnTo>
                      <a:pt x="7" y="37"/>
                    </a:lnTo>
                    <a:lnTo>
                      <a:pt x="7" y="39"/>
                    </a:lnTo>
                    <a:lnTo>
                      <a:pt x="5" y="39"/>
                    </a:lnTo>
                    <a:lnTo>
                      <a:pt x="7" y="37"/>
                    </a:lnTo>
                    <a:lnTo>
                      <a:pt x="5" y="37"/>
                    </a:lnTo>
                    <a:lnTo>
                      <a:pt x="5" y="35"/>
                    </a:lnTo>
                    <a:lnTo>
                      <a:pt x="7" y="35"/>
                    </a:lnTo>
                    <a:lnTo>
                      <a:pt x="7" y="33"/>
                    </a:lnTo>
                    <a:lnTo>
                      <a:pt x="9" y="33"/>
                    </a:lnTo>
                    <a:lnTo>
                      <a:pt x="7" y="31"/>
                    </a:lnTo>
                    <a:lnTo>
                      <a:pt x="7" y="29"/>
                    </a:lnTo>
                    <a:lnTo>
                      <a:pt x="7" y="27"/>
                    </a:lnTo>
                    <a:lnTo>
                      <a:pt x="9" y="27"/>
                    </a:lnTo>
                    <a:lnTo>
                      <a:pt x="7" y="27"/>
                    </a:lnTo>
                    <a:lnTo>
                      <a:pt x="5" y="27"/>
                    </a:lnTo>
                    <a:lnTo>
                      <a:pt x="5" y="25"/>
                    </a:lnTo>
                    <a:lnTo>
                      <a:pt x="7" y="25"/>
                    </a:lnTo>
                    <a:lnTo>
                      <a:pt x="9" y="25"/>
                    </a:lnTo>
                    <a:lnTo>
                      <a:pt x="9" y="23"/>
                    </a:lnTo>
                    <a:lnTo>
                      <a:pt x="9" y="21"/>
                    </a:lnTo>
                    <a:lnTo>
                      <a:pt x="11" y="20"/>
                    </a:lnTo>
                    <a:lnTo>
                      <a:pt x="11" y="18"/>
                    </a:lnTo>
                    <a:lnTo>
                      <a:pt x="9" y="20"/>
                    </a:lnTo>
                    <a:lnTo>
                      <a:pt x="9" y="18"/>
                    </a:lnTo>
                    <a:lnTo>
                      <a:pt x="9" y="20"/>
                    </a:lnTo>
                    <a:lnTo>
                      <a:pt x="9" y="18"/>
                    </a:lnTo>
                    <a:lnTo>
                      <a:pt x="11" y="18"/>
                    </a:lnTo>
                    <a:lnTo>
                      <a:pt x="13" y="18"/>
                    </a:lnTo>
                    <a:lnTo>
                      <a:pt x="13" y="16"/>
                    </a:lnTo>
                    <a:lnTo>
                      <a:pt x="13" y="14"/>
                    </a:lnTo>
                    <a:lnTo>
                      <a:pt x="15" y="14"/>
                    </a:lnTo>
                    <a:lnTo>
                      <a:pt x="15" y="16"/>
                    </a:lnTo>
                    <a:lnTo>
                      <a:pt x="15" y="14"/>
                    </a:lnTo>
                    <a:lnTo>
                      <a:pt x="15" y="12"/>
                    </a:lnTo>
                    <a:lnTo>
                      <a:pt x="17" y="12"/>
                    </a:lnTo>
                    <a:lnTo>
                      <a:pt x="17" y="10"/>
                    </a:lnTo>
                    <a:lnTo>
                      <a:pt x="15" y="10"/>
                    </a:lnTo>
                    <a:lnTo>
                      <a:pt x="17" y="10"/>
                    </a:lnTo>
                    <a:lnTo>
                      <a:pt x="15" y="10"/>
                    </a:lnTo>
                    <a:lnTo>
                      <a:pt x="17" y="10"/>
                    </a:lnTo>
                    <a:lnTo>
                      <a:pt x="17" y="8"/>
                    </a:lnTo>
                    <a:lnTo>
                      <a:pt x="19" y="10"/>
                    </a:lnTo>
                    <a:lnTo>
                      <a:pt x="19" y="8"/>
                    </a:lnTo>
                    <a:lnTo>
                      <a:pt x="21" y="8"/>
                    </a:lnTo>
                    <a:lnTo>
                      <a:pt x="21" y="10"/>
                    </a:lnTo>
                    <a:close/>
                    <a:moveTo>
                      <a:pt x="15" y="2"/>
                    </a:moveTo>
                    <a:lnTo>
                      <a:pt x="17" y="4"/>
                    </a:lnTo>
                    <a:lnTo>
                      <a:pt x="15" y="4"/>
                    </a:lnTo>
                    <a:lnTo>
                      <a:pt x="17" y="4"/>
                    </a:lnTo>
                    <a:lnTo>
                      <a:pt x="17" y="6"/>
                    </a:lnTo>
                    <a:lnTo>
                      <a:pt x="15" y="6"/>
                    </a:lnTo>
                    <a:lnTo>
                      <a:pt x="15" y="4"/>
                    </a:lnTo>
                    <a:lnTo>
                      <a:pt x="13" y="4"/>
                    </a:lnTo>
                    <a:lnTo>
                      <a:pt x="13" y="6"/>
                    </a:lnTo>
                    <a:lnTo>
                      <a:pt x="13" y="4"/>
                    </a:lnTo>
                    <a:lnTo>
                      <a:pt x="11" y="4"/>
                    </a:lnTo>
                    <a:lnTo>
                      <a:pt x="13" y="4"/>
                    </a:lnTo>
                    <a:lnTo>
                      <a:pt x="13" y="2"/>
                    </a:lnTo>
                    <a:lnTo>
                      <a:pt x="13" y="0"/>
                    </a:lnTo>
                    <a:lnTo>
                      <a:pt x="15" y="0"/>
                    </a:lnTo>
                    <a:lnTo>
                      <a:pt x="15"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89" name="Freeform 66"/>
              <p:cNvSpPr>
                <a:spLocks/>
              </p:cNvSpPr>
              <p:nvPr/>
            </p:nvSpPr>
            <p:spPr bwMode="auto">
              <a:xfrm>
                <a:off x="1272546" y="1007211"/>
                <a:ext cx="481775" cy="531673"/>
              </a:xfrm>
              <a:custGeom>
                <a:avLst/>
                <a:gdLst>
                  <a:gd name="T0" fmla="*/ 167 w 280"/>
                  <a:gd name="T1" fmla="*/ 44 h 309"/>
                  <a:gd name="T2" fmla="*/ 173 w 280"/>
                  <a:gd name="T3" fmla="*/ 50 h 309"/>
                  <a:gd name="T4" fmla="*/ 169 w 280"/>
                  <a:gd name="T5" fmla="*/ 57 h 309"/>
                  <a:gd name="T6" fmla="*/ 179 w 280"/>
                  <a:gd name="T7" fmla="*/ 65 h 309"/>
                  <a:gd name="T8" fmla="*/ 173 w 280"/>
                  <a:gd name="T9" fmla="*/ 71 h 309"/>
                  <a:gd name="T10" fmla="*/ 159 w 280"/>
                  <a:gd name="T11" fmla="*/ 75 h 309"/>
                  <a:gd name="T12" fmla="*/ 134 w 280"/>
                  <a:gd name="T13" fmla="*/ 75 h 309"/>
                  <a:gd name="T14" fmla="*/ 144 w 280"/>
                  <a:gd name="T15" fmla="*/ 77 h 309"/>
                  <a:gd name="T16" fmla="*/ 165 w 280"/>
                  <a:gd name="T17" fmla="*/ 73 h 309"/>
                  <a:gd name="T18" fmla="*/ 179 w 280"/>
                  <a:gd name="T19" fmla="*/ 69 h 309"/>
                  <a:gd name="T20" fmla="*/ 188 w 280"/>
                  <a:gd name="T21" fmla="*/ 71 h 309"/>
                  <a:gd name="T22" fmla="*/ 198 w 280"/>
                  <a:gd name="T23" fmla="*/ 82 h 309"/>
                  <a:gd name="T24" fmla="*/ 207 w 280"/>
                  <a:gd name="T25" fmla="*/ 96 h 309"/>
                  <a:gd name="T26" fmla="*/ 215 w 280"/>
                  <a:gd name="T27" fmla="*/ 98 h 309"/>
                  <a:gd name="T28" fmla="*/ 217 w 280"/>
                  <a:gd name="T29" fmla="*/ 109 h 309"/>
                  <a:gd name="T30" fmla="*/ 227 w 280"/>
                  <a:gd name="T31" fmla="*/ 115 h 309"/>
                  <a:gd name="T32" fmla="*/ 234 w 280"/>
                  <a:gd name="T33" fmla="*/ 130 h 309"/>
                  <a:gd name="T34" fmla="*/ 242 w 280"/>
                  <a:gd name="T35" fmla="*/ 154 h 309"/>
                  <a:gd name="T36" fmla="*/ 246 w 280"/>
                  <a:gd name="T37" fmla="*/ 177 h 309"/>
                  <a:gd name="T38" fmla="*/ 248 w 280"/>
                  <a:gd name="T39" fmla="*/ 182 h 309"/>
                  <a:gd name="T40" fmla="*/ 253 w 280"/>
                  <a:gd name="T41" fmla="*/ 186 h 309"/>
                  <a:gd name="T42" fmla="*/ 255 w 280"/>
                  <a:gd name="T43" fmla="*/ 198 h 309"/>
                  <a:gd name="T44" fmla="*/ 263 w 280"/>
                  <a:gd name="T45" fmla="*/ 213 h 309"/>
                  <a:gd name="T46" fmla="*/ 271 w 280"/>
                  <a:gd name="T47" fmla="*/ 225 h 309"/>
                  <a:gd name="T48" fmla="*/ 271 w 280"/>
                  <a:gd name="T49" fmla="*/ 240 h 309"/>
                  <a:gd name="T50" fmla="*/ 278 w 280"/>
                  <a:gd name="T51" fmla="*/ 248 h 309"/>
                  <a:gd name="T52" fmla="*/ 271 w 280"/>
                  <a:gd name="T53" fmla="*/ 267 h 309"/>
                  <a:gd name="T54" fmla="*/ 269 w 280"/>
                  <a:gd name="T55" fmla="*/ 284 h 309"/>
                  <a:gd name="T56" fmla="*/ 253 w 280"/>
                  <a:gd name="T57" fmla="*/ 273 h 309"/>
                  <a:gd name="T58" fmla="*/ 261 w 280"/>
                  <a:gd name="T59" fmla="*/ 292 h 309"/>
                  <a:gd name="T60" fmla="*/ 244 w 280"/>
                  <a:gd name="T61" fmla="*/ 302 h 309"/>
                  <a:gd name="T62" fmla="*/ 223 w 280"/>
                  <a:gd name="T63" fmla="*/ 307 h 309"/>
                  <a:gd name="T64" fmla="*/ 186 w 280"/>
                  <a:gd name="T65" fmla="*/ 305 h 309"/>
                  <a:gd name="T66" fmla="*/ 169 w 280"/>
                  <a:gd name="T67" fmla="*/ 296 h 309"/>
                  <a:gd name="T68" fmla="*/ 150 w 280"/>
                  <a:gd name="T69" fmla="*/ 271 h 309"/>
                  <a:gd name="T70" fmla="*/ 144 w 280"/>
                  <a:gd name="T71" fmla="*/ 263 h 309"/>
                  <a:gd name="T72" fmla="*/ 125 w 280"/>
                  <a:gd name="T73" fmla="*/ 246 h 309"/>
                  <a:gd name="T74" fmla="*/ 109 w 280"/>
                  <a:gd name="T75" fmla="*/ 217 h 309"/>
                  <a:gd name="T76" fmla="*/ 107 w 280"/>
                  <a:gd name="T77" fmla="*/ 211 h 309"/>
                  <a:gd name="T78" fmla="*/ 102 w 280"/>
                  <a:gd name="T79" fmla="*/ 205 h 309"/>
                  <a:gd name="T80" fmla="*/ 102 w 280"/>
                  <a:gd name="T81" fmla="*/ 200 h 309"/>
                  <a:gd name="T82" fmla="*/ 96 w 280"/>
                  <a:gd name="T83" fmla="*/ 188 h 309"/>
                  <a:gd name="T84" fmla="*/ 90 w 280"/>
                  <a:gd name="T85" fmla="*/ 194 h 309"/>
                  <a:gd name="T86" fmla="*/ 84 w 280"/>
                  <a:gd name="T87" fmla="*/ 171 h 309"/>
                  <a:gd name="T88" fmla="*/ 81 w 280"/>
                  <a:gd name="T89" fmla="*/ 152 h 309"/>
                  <a:gd name="T90" fmla="*/ 77 w 280"/>
                  <a:gd name="T91" fmla="*/ 155 h 309"/>
                  <a:gd name="T92" fmla="*/ 77 w 280"/>
                  <a:gd name="T93" fmla="*/ 169 h 309"/>
                  <a:gd name="T94" fmla="*/ 77 w 280"/>
                  <a:gd name="T95" fmla="*/ 178 h 309"/>
                  <a:gd name="T96" fmla="*/ 77 w 280"/>
                  <a:gd name="T97" fmla="*/ 186 h 309"/>
                  <a:gd name="T98" fmla="*/ 75 w 280"/>
                  <a:gd name="T99" fmla="*/ 194 h 309"/>
                  <a:gd name="T100" fmla="*/ 50 w 280"/>
                  <a:gd name="T101" fmla="*/ 192 h 309"/>
                  <a:gd name="T102" fmla="*/ 21 w 280"/>
                  <a:gd name="T103" fmla="*/ 105 h 309"/>
                  <a:gd name="T104" fmla="*/ 54 w 280"/>
                  <a:gd name="T105" fmla="*/ 27 h 309"/>
                  <a:gd name="T106" fmla="*/ 98 w 280"/>
                  <a:gd name="T107" fmla="*/ 5 h 309"/>
                  <a:gd name="T108" fmla="*/ 127 w 280"/>
                  <a:gd name="T109" fmla="*/ 2 h 309"/>
                  <a:gd name="T110" fmla="*/ 146 w 280"/>
                  <a:gd name="T111" fmla="*/ 7 h 309"/>
                  <a:gd name="T112" fmla="*/ 154 w 280"/>
                  <a:gd name="T113" fmla="*/ 17 h 309"/>
                  <a:gd name="T114" fmla="*/ 156 w 280"/>
                  <a:gd name="T115" fmla="*/ 19 h 309"/>
                  <a:gd name="T116" fmla="*/ 169 w 280"/>
                  <a:gd name="T117" fmla="*/ 19 h 309"/>
                  <a:gd name="T118" fmla="*/ 177 w 280"/>
                  <a:gd name="T119" fmla="*/ 21 h 309"/>
                  <a:gd name="T120" fmla="*/ 182 w 280"/>
                  <a:gd name="T121" fmla="*/ 32 h 309"/>
                  <a:gd name="T122" fmla="*/ 173 w 280"/>
                  <a:gd name="T123" fmla="*/ 38 h 309"/>
                  <a:gd name="T124" fmla="*/ 161 w 280"/>
                  <a:gd name="T125" fmla="*/ 29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 h="309">
                    <a:moveTo>
                      <a:pt x="167" y="44"/>
                    </a:moveTo>
                    <a:lnTo>
                      <a:pt x="167" y="42"/>
                    </a:lnTo>
                    <a:lnTo>
                      <a:pt x="165" y="42"/>
                    </a:lnTo>
                    <a:lnTo>
                      <a:pt x="163" y="42"/>
                    </a:lnTo>
                    <a:lnTo>
                      <a:pt x="165" y="44"/>
                    </a:lnTo>
                    <a:lnTo>
                      <a:pt x="163" y="44"/>
                    </a:lnTo>
                    <a:lnTo>
                      <a:pt x="163" y="42"/>
                    </a:lnTo>
                    <a:lnTo>
                      <a:pt x="161" y="42"/>
                    </a:lnTo>
                    <a:lnTo>
                      <a:pt x="159" y="42"/>
                    </a:lnTo>
                    <a:lnTo>
                      <a:pt x="157" y="42"/>
                    </a:lnTo>
                    <a:lnTo>
                      <a:pt x="159" y="42"/>
                    </a:lnTo>
                    <a:lnTo>
                      <a:pt x="159" y="44"/>
                    </a:lnTo>
                    <a:lnTo>
                      <a:pt x="159" y="42"/>
                    </a:lnTo>
                    <a:lnTo>
                      <a:pt x="161" y="42"/>
                    </a:lnTo>
                    <a:lnTo>
                      <a:pt x="161" y="44"/>
                    </a:lnTo>
                    <a:lnTo>
                      <a:pt x="163" y="44"/>
                    </a:lnTo>
                    <a:lnTo>
                      <a:pt x="161" y="44"/>
                    </a:lnTo>
                    <a:lnTo>
                      <a:pt x="163" y="44"/>
                    </a:lnTo>
                    <a:lnTo>
                      <a:pt x="165" y="44"/>
                    </a:lnTo>
                    <a:lnTo>
                      <a:pt x="165" y="42"/>
                    </a:lnTo>
                    <a:lnTo>
                      <a:pt x="165" y="44"/>
                    </a:lnTo>
                    <a:lnTo>
                      <a:pt x="167" y="44"/>
                    </a:lnTo>
                    <a:lnTo>
                      <a:pt x="165" y="44"/>
                    </a:lnTo>
                    <a:lnTo>
                      <a:pt x="167" y="44"/>
                    </a:lnTo>
                    <a:lnTo>
                      <a:pt x="165" y="44"/>
                    </a:lnTo>
                    <a:lnTo>
                      <a:pt x="167" y="44"/>
                    </a:lnTo>
                    <a:lnTo>
                      <a:pt x="169" y="44"/>
                    </a:lnTo>
                    <a:lnTo>
                      <a:pt x="167" y="44"/>
                    </a:lnTo>
                    <a:lnTo>
                      <a:pt x="167" y="46"/>
                    </a:lnTo>
                    <a:lnTo>
                      <a:pt x="167" y="44"/>
                    </a:lnTo>
                    <a:lnTo>
                      <a:pt x="167" y="46"/>
                    </a:lnTo>
                    <a:lnTo>
                      <a:pt x="167" y="48"/>
                    </a:lnTo>
                    <a:lnTo>
                      <a:pt x="167" y="46"/>
                    </a:lnTo>
                    <a:lnTo>
                      <a:pt x="169" y="46"/>
                    </a:lnTo>
                    <a:lnTo>
                      <a:pt x="171" y="46"/>
                    </a:lnTo>
                    <a:lnTo>
                      <a:pt x="169" y="46"/>
                    </a:lnTo>
                    <a:lnTo>
                      <a:pt x="171" y="46"/>
                    </a:lnTo>
                    <a:lnTo>
                      <a:pt x="171" y="48"/>
                    </a:lnTo>
                    <a:lnTo>
                      <a:pt x="171" y="46"/>
                    </a:lnTo>
                    <a:lnTo>
                      <a:pt x="171" y="48"/>
                    </a:lnTo>
                    <a:lnTo>
                      <a:pt x="173" y="48"/>
                    </a:lnTo>
                    <a:lnTo>
                      <a:pt x="173" y="50"/>
                    </a:lnTo>
                    <a:lnTo>
                      <a:pt x="173" y="48"/>
                    </a:lnTo>
                    <a:lnTo>
                      <a:pt x="173" y="50"/>
                    </a:lnTo>
                    <a:lnTo>
                      <a:pt x="171" y="50"/>
                    </a:lnTo>
                    <a:lnTo>
                      <a:pt x="171" y="52"/>
                    </a:lnTo>
                    <a:lnTo>
                      <a:pt x="169" y="52"/>
                    </a:lnTo>
                    <a:lnTo>
                      <a:pt x="169" y="54"/>
                    </a:lnTo>
                    <a:lnTo>
                      <a:pt x="169" y="52"/>
                    </a:lnTo>
                    <a:lnTo>
                      <a:pt x="171" y="52"/>
                    </a:lnTo>
                    <a:lnTo>
                      <a:pt x="173" y="52"/>
                    </a:lnTo>
                    <a:lnTo>
                      <a:pt x="175" y="52"/>
                    </a:lnTo>
                    <a:lnTo>
                      <a:pt x="177" y="52"/>
                    </a:lnTo>
                    <a:lnTo>
                      <a:pt x="177" y="54"/>
                    </a:lnTo>
                    <a:lnTo>
                      <a:pt x="175" y="54"/>
                    </a:lnTo>
                    <a:lnTo>
                      <a:pt x="173" y="54"/>
                    </a:lnTo>
                    <a:lnTo>
                      <a:pt x="171" y="54"/>
                    </a:lnTo>
                    <a:lnTo>
                      <a:pt x="171" y="55"/>
                    </a:lnTo>
                    <a:lnTo>
                      <a:pt x="169" y="55"/>
                    </a:lnTo>
                    <a:lnTo>
                      <a:pt x="167" y="55"/>
                    </a:lnTo>
                    <a:lnTo>
                      <a:pt x="167" y="57"/>
                    </a:lnTo>
                    <a:lnTo>
                      <a:pt x="165" y="57"/>
                    </a:lnTo>
                    <a:lnTo>
                      <a:pt x="167" y="57"/>
                    </a:lnTo>
                    <a:lnTo>
                      <a:pt x="167" y="59"/>
                    </a:lnTo>
                    <a:lnTo>
                      <a:pt x="167" y="57"/>
                    </a:lnTo>
                    <a:lnTo>
                      <a:pt x="169" y="57"/>
                    </a:lnTo>
                    <a:lnTo>
                      <a:pt x="169" y="55"/>
                    </a:lnTo>
                    <a:lnTo>
                      <a:pt x="171" y="57"/>
                    </a:lnTo>
                    <a:lnTo>
                      <a:pt x="171" y="55"/>
                    </a:lnTo>
                    <a:lnTo>
                      <a:pt x="173" y="55"/>
                    </a:lnTo>
                    <a:lnTo>
                      <a:pt x="175" y="55"/>
                    </a:lnTo>
                    <a:lnTo>
                      <a:pt x="177" y="55"/>
                    </a:lnTo>
                    <a:lnTo>
                      <a:pt x="177" y="57"/>
                    </a:lnTo>
                    <a:lnTo>
                      <a:pt x="179" y="57"/>
                    </a:lnTo>
                    <a:lnTo>
                      <a:pt x="180" y="57"/>
                    </a:lnTo>
                    <a:lnTo>
                      <a:pt x="180" y="59"/>
                    </a:lnTo>
                    <a:lnTo>
                      <a:pt x="180" y="57"/>
                    </a:lnTo>
                    <a:lnTo>
                      <a:pt x="180" y="59"/>
                    </a:lnTo>
                    <a:lnTo>
                      <a:pt x="182" y="59"/>
                    </a:lnTo>
                    <a:lnTo>
                      <a:pt x="182" y="61"/>
                    </a:lnTo>
                    <a:lnTo>
                      <a:pt x="180" y="61"/>
                    </a:lnTo>
                    <a:lnTo>
                      <a:pt x="180" y="63"/>
                    </a:lnTo>
                    <a:lnTo>
                      <a:pt x="180" y="65"/>
                    </a:lnTo>
                    <a:lnTo>
                      <a:pt x="179" y="65"/>
                    </a:lnTo>
                    <a:lnTo>
                      <a:pt x="180" y="65"/>
                    </a:lnTo>
                    <a:lnTo>
                      <a:pt x="179" y="65"/>
                    </a:lnTo>
                    <a:lnTo>
                      <a:pt x="180" y="65"/>
                    </a:lnTo>
                    <a:lnTo>
                      <a:pt x="179" y="65"/>
                    </a:lnTo>
                    <a:lnTo>
                      <a:pt x="177" y="65"/>
                    </a:lnTo>
                    <a:lnTo>
                      <a:pt x="175" y="65"/>
                    </a:lnTo>
                    <a:lnTo>
                      <a:pt x="175" y="63"/>
                    </a:lnTo>
                    <a:lnTo>
                      <a:pt x="175" y="65"/>
                    </a:lnTo>
                    <a:lnTo>
                      <a:pt x="175" y="63"/>
                    </a:lnTo>
                    <a:lnTo>
                      <a:pt x="175" y="65"/>
                    </a:lnTo>
                    <a:lnTo>
                      <a:pt x="173" y="65"/>
                    </a:lnTo>
                    <a:lnTo>
                      <a:pt x="173" y="63"/>
                    </a:lnTo>
                    <a:lnTo>
                      <a:pt x="173" y="65"/>
                    </a:lnTo>
                    <a:lnTo>
                      <a:pt x="175" y="65"/>
                    </a:lnTo>
                    <a:lnTo>
                      <a:pt x="177" y="65"/>
                    </a:lnTo>
                    <a:lnTo>
                      <a:pt x="177" y="67"/>
                    </a:lnTo>
                    <a:lnTo>
                      <a:pt x="177" y="69"/>
                    </a:lnTo>
                    <a:lnTo>
                      <a:pt x="177" y="67"/>
                    </a:lnTo>
                    <a:lnTo>
                      <a:pt x="177" y="69"/>
                    </a:lnTo>
                    <a:lnTo>
                      <a:pt x="175" y="69"/>
                    </a:lnTo>
                    <a:lnTo>
                      <a:pt x="175" y="67"/>
                    </a:lnTo>
                    <a:lnTo>
                      <a:pt x="173" y="67"/>
                    </a:lnTo>
                    <a:lnTo>
                      <a:pt x="175" y="67"/>
                    </a:lnTo>
                    <a:lnTo>
                      <a:pt x="175" y="69"/>
                    </a:lnTo>
                    <a:lnTo>
                      <a:pt x="173" y="69"/>
                    </a:lnTo>
                    <a:lnTo>
                      <a:pt x="173" y="71"/>
                    </a:lnTo>
                    <a:lnTo>
                      <a:pt x="173" y="69"/>
                    </a:lnTo>
                    <a:lnTo>
                      <a:pt x="173" y="71"/>
                    </a:lnTo>
                    <a:lnTo>
                      <a:pt x="175" y="69"/>
                    </a:lnTo>
                    <a:lnTo>
                      <a:pt x="175" y="71"/>
                    </a:lnTo>
                    <a:lnTo>
                      <a:pt x="177" y="71"/>
                    </a:lnTo>
                    <a:lnTo>
                      <a:pt x="175" y="71"/>
                    </a:lnTo>
                    <a:lnTo>
                      <a:pt x="175" y="73"/>
                    </a:lnTo>
                    <a:lnTo>
                      <a:pt x="173" y="73"/>
                    </a:lnTo>
                    <a:lnTo>
                      <a:pt x="171" y="73"/>
                    </a:lnTo>
                    <a:lnTo>
                      <a:pt x="169" y="73"/>
                    </a:lnTo>
                    <a:lnTo>
                      <a:pt x="167" y="73"/>
                    </a:lnTo>
                    <a:lnTo>
                      <a:pt x="165" y="73"/>
                    </a:lnTo>
                    <a:lnTo>
                      <a:pt x="165" y="71"/>
                    </a:lnTo>
                    <a:lnTo>
                      <a:pt x="163" y="71"/>
                    </a:lnTo>
                    <a:lnTo>
                      <a:pt x="161" y="71"/>
                    </a:lnTo>
                    <a:lnTo>
                      <a:pt x="161" y="73"/>
                    </a:lnTo>
                    <a:lnTo>
                      <a:pt x="161" y="71"/>
                    </a:lnTo>
                    <a:lnTo>
                      <a:pt x="159" y="71"/>
                    </a:lnTo>
                    <a:lnTo>
                      <a:pt x="161" y="71"/>
                    </a:lnTo>
                    <a:lnTo>
                      <a:pt x="161" y="73"/>
                    </a:lnTo>
                    <a:lnTo>
                      <a:pt x="159" y="73"/>
                    </a:lnTo>
                    <a:lnTo>
                      <a:pt x="159" y="75"/>
                    </a:lnTo>
                    <a:lnTo>
                      <a:pt x="157" y="75"/>
                    </a:lnTo>
                    <a:lnTo>
                      <a:pt x="157" y="77"/>
                    </a:lnTo>
                    <a:lnTo>
                      <a:pt x="157" y="79"/>
                    </a:lnTo>
                    <a:lnTo>
                      <a:pt x="156" y="79"/>
                    </a:lnTo>
                    <a:lnTo>
                      <a:pt x="154" y="79"/>
                    </a:lnTo>
                    <a:lnTo>
                      <a:pt x="152" y="79"/>
                    </a:lnTo>
                    <a:lnTo>
                      <a:pt x="150" y="79"/>
                    </a:lnTo>
                    <a:lnTo>
                      <a:pt x="148" y="79"/>
                    </a:lnTo>
                    <a:lnTo>
                      <a:pt x="146" y="79"/>
                    </a:lnTo>
                    <a:lnTo>
                      <a:pt x="146" y="77"/>
                    </a:lnTo>
                    <a:lnTo>
                      <a:pt x="146" y="79"/>
                    </a:lnTo>
                    <a:lnTo>
                      <a:pt x="146" y="77"/>
                    </a:lnTo>
                    <a:lnTo>
                      <a:pt x="144" y="77"/>
                    </a:lnTo>
                    <a:lnTo>
                      <a:pt x="142" y="77"/>
                    </a:lnTo>
                    <a:lnTo>
                      <a:pt x="140" y="77"/>
                    </a:lnTo>
                    <a:lnTo>
                      <a:pt x="140" y="75"/>
                    </a:lnTo>
                    <a:lnTo>
                      <a:pt x="140" y="77"/>
                    </a:lnTo>
                    <a:lnTo>
                      <a:pt x="138" y="75"/>
                    </a:lnTo>
                    <a:lnTo>
                      <a:pt x="138" y="77"/>
                    </a:lnTo>
                    <a:lnTo>
                      <a:pt x="138" y="75"/>
                    </a:lnTo>
                    <a:lnTo>
                      <a:pt x="136" y="75"/>
                    </a:lnTo>
                    <a:lnTo>
                      <a:pt x="134" y="75"/>
                    </a:lnTo>
                    <a:lnTo>
                      <a:pt x="132" y="75"/>
                    </a:lnTo>
                    <a:lnTo>
                      <a:pt x="131" y="75"/>
                    </a:lnTo>
                    <a:lnTo>
                      <a:pt x="129" y="75"/>
                    </a:lnTo>
                    <a:lnTo>
                      <a:pt x="127" y="75"/>
                    </a:lnTo>
                    <a:lnTo>
                      <a:pt x="127" y="73"/>
                    </a:lnTo>
                    <a:lnTo>
                      <a:pt x="127" y="75"/>
                    </a:lnTo>
                    <a:lnTo>
                      <a:pt x="125" y="75"/>
                    </a:lnTo>
                    <a:lnTo>
                      <a:pt x="127" y="75"/>
                    </a:lnTo>
                    <a:lnTo>
                      <a:pt x="125" y="75"/>
                    </a:lnTo>
                    <a:lnTo>
                      <a:pt x="127" y="75"/>
                    </a:lnTo>
                    <a:lnTo>
                      <a:pt x="127" y="73"/>
                    </a:lnTo>
                    <a:lnTo>
                      <a:pt x="127" y="75"/>
                    </a:lnTo>
                    <a:lnTo>
                      <a:pt x="129" y="75"/>
                    </a:lnTo>
                    <a:lnTo>
                      <a:pt x="131" y="75"/>
                    </a:lnTo>
                    <a:lnTo>
                      <a:pt x="132" y="75"/>
                    </a:lnTo>
                    <a:lnTo>
                      <a:pt x="134" y="75"/>
                    </a:lnTo>
                    <a:lnTo>
                      <a:pt x="136" y="75"/>
                    </a:lnTo>
                    <a:lnTo>
                      <a:pt x="138" y="75"/>
                    </a:lnTo>
                    <a:lnTo>
                      <a:pt x="138" y="77"/>
                    </a:lnTo>
                    <a:lnTo>
                      <a:pt x="140" y="77"/>
                    </a:lnTo>
                    <a:lnTo>
                      <a:pt x="142" y="77"/>
                    </a:lnTo>
                    <a:lnTo>
                      <a:pt x="144" y="77"/>
                    </a:lnTo>
                    <a:lnTo>
                      <a:pt x="144" y="79"/>
                    </a:lnTo>
                    <a:lnTo>
                      <a:pt x="146" y="79"/>
                    </a:lnTo>
                    <a:lnTo>
                      <a:pt x="148" y="79"/>
                    </a:lnTo>
                    <a:lnTo>
                      <a:pt x="150" y="79"/>
                    </a:lnTo>
                    <a:lnTo>
                      <a:pt x="152" y="79"/>
                    </a:lnTo>
                    <a:lnTo>
                      <a:pt x="152" y="80"/>
                    </a:lnTo>
                    <a:lnTo>
                      <a:pt x="152" y="79"/>
                    </a:lnTo>
                    <a:lnTo>
                      <a:pt x="154" y="80"/>
                    </a:lnTo>
                    <a:lnTo>
                      <a:pt x="154" y="79"/>
                    </a:lnTo>
                    <a:lnTo>
                      <a:pt x="156" y="79"/>
                    </a:lnTo>
                    <a:lnTo>
                      <a:pt x="156" y="80"/>
                    </a:lnTo>
                    <a:lnTo>
                      <a:pt x="156" y="79"/>
                    </a:lnTo>
                    <a:lnTo>
                      <a:pt x="157" y="79"/>
                    </a:lnTo>
                    <a:lnTo>
                      <a:pt x="157" y="77"/>
                    </a:lnTo>
                    <a:lnTo>
                      <a:pt x="159" y="77"/>
                    </a:lnTo>
                    <a:lnTo>
                      <a:pt x="159" y="75"/>
                    </a:lnTo>
                    <a:lnTo>
                      <a:pt x="159" y="77"/>
                    </a:lnTo>
                    <a:lnTo>
                      <a:pt x="159" y="75"/>
                    </a:lnTo>
                    <a:lnTo>
                      <a:pt x="161" y="75"/>
                    </a:lnTo>
                    <a:lnTo>
                      <a:pt x="161" y="73"/>
                    </a:lnTo>
                    <a:lnTo>
                      <a:pt x="163" y="73"/>
                    </a:lnTo>
                    <a:lnTo>
                      <a:pt x="165" y="73"/>
                    </a:lnTo>
                    <a:lnTo>
                      <a:pt x="167" y="73"/>
                    </a:lnTo>
                    <a:lnTo>
                      <a:pt x="165" y="75"/>
                    </a:lnTo>
                    <a:lnTo>
                      <a:pt x="167" y="75"/>
                    </a:lnTo>
                    <a:lnTo>
                      <a:pt x="167" y="73"/>
                    </a:lnTo>
                    <a:lnTo>
                      <a:pt x="167" y="75"/>
                    </a:lnTo>
                    <a:lnTo>
                      <a:pt x="169" y="75"/>
                    </a:lnTo>
                    <a:lnTo>
                      <a:pt x="171" y="75"/>
                    </a:lnTo>
                    <a:lnTo>
                      <a:pt x="171" y="77"/>
                    </a:lnTo>
                    <a:lnTo>
                      <a:pt x="171" y="75"/>
                    </a:lnTo>
                    <a:lnTo>
                      <a:pt x="173" y="75"/>
                    </a:lnTo>
                    <a:lnTo>
                      <a:pt x="175" y="75"/>
                    </a:lnTo>
                    <a:lnTo>
                      <a:pt x="175" y="73"/>
                    </a:lnTo>
                    <a:lnTo>
                      <a:pt x="175" y="75"/>
                    </a:lnTo>
                    <a:lnTo>
                      <a:pt x="177" y="75"/>
                    </a:lnTo>
                    <a:lnTo>
                      <a:pt x="175" y="75"/>
                    </a:lnTo>
                    <a:lnTo>
                      <a:pt x="177" y="75"/>
                    </a:lnTo>
                    <a:lnTo>
                      <a:pt x="177" y="73"/>
                    </a:lnTo>
                    <a:lnTo>
                      <a:pt x="179" y="73"/>
                    </a:lnTo>
                    <a:lnTo>
                      <a:pt x="179" y="75"/>
                    </a:lnTo>
                    <a:lnTo>
                      <a:pt x="179" y="73"/>
                    </a:lnTo>
                    <a:lnTo>
                      <a:pt x="179" y="71"/>
                    </a:lnTo>
                    <a:lnTo>
                      <a:pt x="179" y="69"/>
                    </a:lnTo>
                    <a:lnTo>
                      <a:pt x="180" y="69"/>
                    </a:lnTo>
                    <a:lnTo>
                      <a:pt x="179" y="69"/>
                    </a:lnTo>
                    <a:lnTo>
                      <a:pt x="180" y="69"/>
                    </a:lnTo>
                    <a:lnTo>
                      <a:pt x="180" y="67"/>
                    </a:lnTo>
                    <a:lnTo>
                      <a:pt x="182" y="67"/>
                    </a:lnTo>
                    <a:lnTo>
                      <a:pt x="182" y="69"/>
                    </a:lnTo>
                    <a:lnTo>
                      <a:pt x="184" y="69"/>
                    </a:lnTo>
                    <a:lnTo>
                      <a:pt x="182" y="69"/>
                    </a:lnTo>
                    <a:lnTo>
                      <a:pt x="182" y="71"/>
                    </a:lnTo>
                    <a:lnTo>
                      <a:pt x="182" y="69"/>
                    </a:lnTo>
                    <a:lnTo>
                      <a:pt x="182" y="71"/>
                    </a:lnTo>
                    <a:lnTo>
                      <a:pt x="184" y="71"/>
                    </a:lnTo>
                    <a:lnTo>
                      <a:pt x="186" y="71"/>
                    </a:lnTo>
                    <a:lnTo>
                      <a:pt x="184" y="71"/>
                    </a:lnTo>
                    <a:lnTo>
                      <a:pt x="186" y="71"/>
                    </a:lnTo>
                    <a:lnTo>
                      <a:pt x="186" y="73"/>
                    </a:lnTo>
                    <a:lnTo>
                      <a:pt x="184" y="73"/>
                    </a:lnTo>
                    <a:lnTo>
                      <a:pt x="186" y="73"/>
                    </a:lnTo>
                    <a:lnTo>
                      <a:pt x="184" y="73"/>
                    </a:lnTo>
                    <a:lnTo>
                      <a:pt x="186" y="73"/>
                    </a:lnTo>
                    <a:lnTo>
                      <a:pt x="186" y="71"/>
                    </a:lnTo>
                    <a:lnTo>
                      <a:pt x="188" y="71"/>
                    </a:lnTo>
                    <a:lnTo>
                      <a:pt x="186" y="71"/>
                    </a:lnTo>
                    <a:lnTo>
                      <a:pt x="188" y="73"/>
                    </a:lnTo>
                    <a:lnTo>
                      <a:pt x="188" y="71"/>
                    </a:lnTo>
                    <a:lnTo>
                      <a:pt x="188" y="73"/>
                    </a:lnTo>
                    <a:lnTo>
                      <a:pt x="188" y="71"/>
                    </a:lnTo>
                    <a:lnTo>
                      <a:pt x="188" y="73"/>
                    </a:lnTo>
                    <a:lnTo>
                      <a:pt x="190" y="73"/>
                    </a:lnTo>
                    <a:lnTo>
                      <a:pt x="190" y="75"/>
                    </a:lnTo>
                    <a:lnTo>
                      <a:pt x="192" y="75"/>
                    </a:lnTo>
                    <a:lnTo>
                      <a:pt x="190" y="75"/>
                    </a:lnTo>
                    <a:lnTo>
                      <a:pt x="192" y="75"/>
                    </a:lnTo>
                    <a:lnTo>
                      <a:pt x="194" y="75"/>
                    </a:lnTo>
                    <a:lnTo>
                      <a:pt x="194" y="77"/>
                    </a:lnTo>
                    <a:lnTo>
                      <a:pt x="196" y="77"/>
                    </a:lnTo>
                    <a:lnTo>
                      <a:pt x="196" y="79"/>
                    </a:lnTo>
                    <a:lnTo>
                      <a:pt x="198" y="79"/>
                    </a:lnTo>
                    <a:lnTo>
                      <a:pt x="196" y="79"/>
                    </a:lnTo>
                    <a:lnTo>
                      <a:pt x="196" y="80"/>
                    </a:lnTo>
                    <a:lnTo>
                      <a:pt x="198" y="80"/>
                    </a:lnTo>
                    <a:lnTo>
                      <a:pt x="198" y="82"/>
                    </a:lnTo>
                    <a:lnTo>
                      <a:pt x="200" y="82"/>
                    </a:lnTo>
                    <a:lnTo>
                      <a:pt x="198" y="82"/>
                    </a:lnTo>
                    <a:lnTo>
                      <a:pt x="200" y="82"/>
                    </a:lnTo>
                    <a:lnTo>
                      <a:pt x="200" y="84"/>
                    </a:lnTo>
                    <a:lnTo>
                      <a:pt x="200" y="86"/>
                    </a:lnTo>
                    <a:lnTo>
                      <a:pt x="200" y="84"/>
                    </a:lnTo>
                    <a:lnTo>
                      <a:pt x="202" y="84"/>
                    </a:lnTo>
                    <a:lnTo>
                      <a:pt x="202" y="86"/>
                    </a:lnTo>
                    <a:lnTo>
                      <a:pt x="202" y="88"/>
                    </a:lnTo>
                    <a:lnTo>
                      <a:pt x="204" y="88"/>
                    </a:lnTo>
                    <a:lnTo>
                      <a:pt x="202" y="88"/>
                    </a:lnTo>
                    <a:lnTo>
                      <a:pt x="204" y="88"/>
                    </a:lnTo>
                    <a:lnTo>
                      <a:pt x="202" y="88"/>
                    </a:lnTo>
                    <a:lnTo>
                      <a:pt x="204" y="88"/>
                    </a:lnTo>
                    <a:lnTo>
                      <a:pt x="205" y="90"/>
                    </a:lnTo>
                    <a:lnTo>
                      <a:pt x="204" y="90"/>
                    </a:lnTo>
                    <a:lnTo>
                      <a:pt x="205" y="90"/>
                    </a:lnTo>
                    <a:lnTo>
                      <a:pt x="205" y="92"/>
                    </a:lnTo>
                    <a:lnTo>
                      <a:pt x="204" y="92"/>
                    </a:lnTo>
                    <a:lnTo>
                      <a:pt x="205" y="92"/>
                    </a:lnTo>
                    <a:lnTo>
                      <a:pt x="207" y="92"/>
                    </a:lnTo>
                    <a:lnTo>
                      <a:pt x="209" y="94"/>
                    </a:lnTo>
                    <a:lnTo>
                      <a:pt x="207" y="94"/>
                    </a:lnTo>
                    <a:lnTo>
                      <a:pt x="207" y="96"/>
                    </a:lnTo>
                    <a:lnTo>
                      <a:pt x="207" y="98"/>
                    </a:lnTo>
                    <a:lnTo>
                      <a:pt x="207" y="96"/>
                    </a:lnTo>
                    <a:lnTo>
                      <a:pt x="207" y="98"/>
                    </a:lnTo>
                    <a:lnTo>
                      <a:pt x="205" y="98"/>
                    </a:lnTo>
                    <a:lnTo>
                      <a:pt x="207" y="98"/>
                    </a:lnTo>
                    <a:lnTo>
                      <a:pt x="207" y="96"/>
                    </a:lnTo>
                    <a:lnTo>
                      <a:pt x="209" y="96"/>
                    </a:lnTo>
                    <a:lnTo>
                      <a:pt x="207" y="94"/>
                    </a:lnTo>
                    <a:lnTo>
                      <a:pt x="209" y="94"/>
                    </a:lnTo>
                    <a:lnTo>
                      <a:pt x="209" y="96"/>
                    </a:lnTo>
                    <a:lnTo>
                      <a:pt x="209" y="94"/>
                    </a:lnTo>
                    <a:lnTo>
                      <a:pt x="209" y="96"/>
                    </a:lnTo>
                    <a:lnTo>
                      <a:pt x="211" y="96"/>
                    </a:lnTo>
                    <a:lnTo>
                      <a:pt x="211" y="94"/>
                    </a:lnTo>
                    <a:lnTo>
                      <a:pt x="211" y="92"/>
                    </a:lnTo>
                    <a:lnTo>
                      <a:pt x="213" y="92"/>
                    </a:lnTo>
                    <a:lnTo>
                      <a:pt x="213" y="94"/>
                    </a:lnTo>
                    <a:lnTo>
                      <a:pt x="213" y="96"/>
                    </a:lnTo>
                    <a:lnTo>
                      <a:pt x="215" y="96"/>
                    </a:lnTo>
                    <a:lnTo>
                      <a:pt x="215" y="98"/>
                    </a:lnTo>
                    <a:lnTo>
                      <a:pt x="217" y="98"/>
                    </a:lnTo>
                    <a:lnTo>
                      <a:pt x="215" y="98"/>
                    </a:lnTo>
                    <a:lnTo>
                      <a:pt x="217" y="98"/>
                    </a:lnTo>
                    <a:lnTo>
                      <a:pt x="217" y="100"/>
                    </a:lnTo>
                    <a:lnTo>
                      <a:pt x="219" y="100"/>
                    </a:lnTo>
                    <a:lnTo>
                      <a:pt x="219" y="102"/>
                    </a:lnTo>
                    <a:lnTo>
                      <a:pt x="219" y="100"/>
                    </a:lnTo>
                    <a:lnTo>
                      <a:pt x="219" y="102"/>
                    </a:lnTo>
                    <a:lnTo>
                      <a:pt x="221" y="102"/>
                    </a:lnTo>
                    <a:lnTo>
                      <a:pt x="219" y="102"/>
                    </a:lnTo>
                    <a:lnTo>
                      <a:pt x="221" y="102"/>
                    </a:lnTo>
                    <a:lnTo>
                      <a:pt x="219" y="102"/>
                    </a:lnTo>
                    <a:lnTo>
                      <a:pt x="221" y="102"/>
                    </a:lnTo>
                    <a:lnTo>
                      <a:pt x="221" y="104"/>
                    </a:lnTo>
                    <a:lnTo>
                      <a:pt x="221" y="105"/>
                    </a:lnTo>
                    <a:lnTo>
                      <a:pt x="221" y="104"/>
                    </a:lnTo>
                    <a:lnTo>
                      <a:pt x="219" y="105"/>
                    </a:lnTo>
                    <a:lnTo>
                      <a:pt x="217" y="105"/>
                    </a:lnTo>
                    <a:lnTo>
                      <a:pt x="217" y="107"/>
                    </a:lnTo>
                    <a:lnTo>
                      <a:pt x="217" y="109"/>
                    </a:lnTo>
                    <a:lnTo>
                      <a:pt x="215" y="109"/>
                    </a:lnTo>
                    <a:lnTo>
                      <a:pt x="215" y="111"/>
                    </a:lnTo>
                    <a:lnTo>
                      <a:pt x="215" y="109"/>
                    </a:lnTo>
                    <a:lnTo>
                      <a:pt x="217" y="109"/>
                    </a:lnTo>
                    <a:lnTo>
                      <a:pt x="217" y="107"/>
                    </a:lnTo>
                    <a:lnTo>
                      <a:pt x="219" y="107"/>
                    </a:lnTo>
                    <a:lnTo>
                      <a:pt x="217" y="107"/>
                    </a:lnTo>
                    <a:lnTo>
                      <a:pt x="219" y="107"/>
                    </a:lnTo>
                    <a:lnTo>
                      <a:pt x="219" y="105"/>
                    </a:lnTo>
                    <a:lnTo>
                      <a:pt x="221" y="105"/>
                    </a:lnTo>
                    <a:lnTo>
                      <a:pt x="221" y="104"/>
                    </a:lnTo>
                    <a:lnTo>
                      <a:pt x="223" y="104"/>
                    </a:lnTo>
                    <a:lnTo>
                      <a:pt x="223" y="105"/>
                    </a:lnTo>
                    <a:lnTo>
                      <a:pt x="223" y="107"/>
                    </a:lnTo>
                    <a:lnTo>
                      <a:pt x="223" y="109"/>
                    </a:lnTo>
                    <a:lnTo>
                      <a:pt x="223" y="111"/>
                    </a:lnTo>
                    <a:lnTo>
                      <a:pt x="225" y="111"/>
                    </a:lnTo>
                    <a:lnTo>
                      <a:pt x="225" y="109"/>
                    </a:lnTo>
                    <a:lnTo>
                      <a:pt x="225" y="111"/>
                    </a:lnTo>
                    <a:lnTo>
                      <a:pt x="227" y="111"/>
                    </a:lnTo>
                    <a:lnTo>
                      <a:pt x="225" y="111"/>
                    </a:lnTo>
                    <a:lnTo>
                      <a:pt x="227" y="111"/>
                    </a:lnTo>
                    <a:lnTo>
                      <a:pt x="227" y="113"/>
                    </a:lnTo>
                    <a:lnTo>
                      <a:pt x="229" y="113"/>
                    </a:lnTo>
                    <a:lnTo>
                      <a:pt x="229" y="115"/>
                    </a:lnTo>
                    <a:lnTo>
                      <a:pt x="227" y="115"/>
                    </a:lnTo>
                    <a:lnTo>
                      <a:pt x="229" y="115"/>
                    </a:lnTo>
                    <a:lnTo>
                      <a:pt x="227" y="115"/>
                    </a:lnTo>
                    <a:lnTo>
                      <a:pt x="227" y="117"/>
                    </a:lnTo>
                    <a:lnTo>
                      <a:pt x="227" y="119"/>
                    </a:lnTo>
                    <a:lnTo>
                      <a:pt x="227" y="117"/>
                    </a:lnTo>
                    <a:lnTo>
                      <a:pt x="229" y="119"/>
                    </a:lnTo>
                    <a:lnTo>
                      <a:pt x="229" y="117"/>
                    </a:lnTo>
                    <a:lnTo>
                      <a:pt x="229" y="119"/>
                    </a:lnTo>
                    <a:lnTo>
                      <a:pt x="229" y="121"/>
                    </a:lnTo>
                    <a:lnTo>
                      <a:pt x="230" y="121"/>
                    </a:lnTo>
                    <a:lnTo>
                      <a:pt x="229" y="121"/>
                    </a:lnTo>
                    <a:lnTo>
                      <a:pt x="230" y="121"/>
                    </a:lnTo>
                    <a:lnTo>
                      <a:pt x="230" y="123"/>
                    </a:lnTo>
                    <a:lnTo>
                      <a:pt x="229" y="123"/>
                    </a:lnTo>
                    <a:lnTo>
                      <a:pt x="230" y="123"/>
                    </a:lnTo>
                    <a:lnTo>
                      <a:pt x="232" y="123"/>
                    </a:lnTo>
                    <a:lnTo>
                      <a:pt x="230" y="125"/>
                    </a:lnTo>
                    <a:lnTo>
                      <a:pt x="232" y="125"/>
                    </a:lnTo>
                    <a:lnTo>
                      <a:pt x="232" y="127"/>
                    </a:lnTo>
                    <a:lnTo>
                      <a:pt x="232" y="129"/>
                    </a:lnTo>
                    <a:lnTo>
                      <a:pt x="232" y="130"/>
                    </a:lnTo>
                    <a:lnTo>
                      <a:pt x="234" y="130"/>
                    </a:lnTo>
                    <a:lnTo>
                      <a:pt x="234" y="132"/>
                    </a:lnTo>
                    <a:lnTo>
                      <a:pt x="234" y="134"/>
                    </a:lnTo>
                    <a:lnTo>
                      <a:pt x="234" y="136"/>
                    </a:lnTo>
                    <a:lnTo>
                      <a:pt x="236" y="136"/>
                    </a:lnTo>
                    <a:lnTo>
                      <a:pt x="234" y="136"/>
                    </a:lnTo>
                    <a:lnTo>
                      <a:pt x="236" y="136"/>
                    </a:lnTo>
                    <a:lnTo>
                      <a:pt x="236" y="138"/>
                    </a:lnTo>
                    <a:lnTo>
                      <a:pt x="236" y="140"/>
                    </a:lnTo>
                    <a:lnTo>
                      <a:pt x="238" y="140"/>
                    </a:lnTo>
                    <a:lnTo>
                      <a:pt x="238" y="142"/>
                    </a:lnTo>
                    <a:lnTo>
                      <a:pt x="238" y="144"/>
                    </a:lnTo>
                    <a:lnTo>
                      <a:pt x="238" y="146"/>
                    </a:lnTo>
                    <a:lnTo>
                      <a:pt x="240" y="146"/>
                    </a:lnTo>
                    <a:lnTo>
                      <a:pt x="240" y="148"/>
                    </a:lnTo>
                    <a:lnTo>
                      <a:pt x="240" y="150"/>
                    </a:lnTo>
                    <a:lnTo>
                      <a:pt x="242" y="150"/>
                    </a:lnTo>
                    <a:lnTo>
                      <a:pt x="242" y="152"/>
                    </a:lnTo>
                    <a:lnTo>
                      <a:pt x="240" y="152"/>
                    </a:lnTo>
                    <a:lnTo>
                      <a:pt x="242" y="152"/>
                    </a:lnTo>
                    <a:lnTo>
                      <a:pt x="240" y="152"/>
                    </a:lnTo>
                    <a:lnTo>
                      <a:pt x="242" y="152"/>
                    </a:lnTo>
                    <a:lnTo>
                      <a:pt x="242" y="154"/>
                    </a:lnTo>
                    <a:lnTo>
                      <a:pt x="242" y="155"/>
                    </a:lnTo>
                    <a:lnTo>
                      <a:pt x="244" y="155"/>
                    </a:lnTo>
                    <a:lnTo>
                      <a:pt x="244" y="157"/>
                    </a:lnTo>
                    <a:lnTo>
                      <a:pt x="242" y="157"/>
                    </a:lnTo>
                    <a:lnTo>
                      <a:pt x="244" y="157"/>
                    </a:lnTo>
                    <a:lnTo>
                      <a:pt x="244" y="159"/>
                    </a:lnTo>
                    <a:lnTo>
                      <a:pt x="242" y="159"/>
                    </a:lnTo>
                    <a:lnTo>
                      <a:pt x="244" y="159"/>
                    </a:lnTo>
                    <a:lnTo>
                      <a:pt x="244" y="161"/>
                    </a:lnTo>
                    <a:lnTo>
                      <a:pt x="244" y="163"/>
                    </a:lnTo>
                    <a:lnTo>
                      <a:pt x="244" y="165"/>
                    </a:lnTo>
                    <a:lnTo>
                      <a:pt x="244" y="167"/>
                    </a:lnTo>
                    <a:lnTo>
                      <a:pt x="246" y="167"/>
                    </a:lnTo>
                    <a:lnTo>
                      <a:pt x="244" y="167"/>
                    </a:lnTo>
                    <a:lnTo>
                      <a:pt x="244" y="169"/>
                    </a:lnTo>
                    <a:lnTo>
                      <a:pt x="244" y="171"/>
                    </a:lnTo>
                    <a:lnTo>
                      <a:pt x="246" y="171"/>
                    </a:lnTo>
                    <a:lnTo>
                      <a:pt x="246" y="173"/>
                    </a:lnTo>
                    <a:lnTo>
                      <a:pt x="246" y="175"/>
                    </a:lnTo>
                    <a:lnTo>
                      <a:pt x="248" y="175"/>
                    </a:lnTo>
                    <a:lnTo>
                      <a:pt x="248" y="177"/>
                    </a:lnTo>
                    <a:lnTo>
                      <a:pt x="246" y="177"/>
                    </a:lnTo>
                    <a:lnTo>
                      <a:pt x="248" y="177"/>
                    </a:lnTo>
                    <a:lnTo>
                      <a:pt x="248" y="178"/>
                    </a:lnTo>
                    <a:lnTo>
                      <a:pt x="246" y="178"/>
                    </a:lnTo>
                    <a:lnTo>
                      <a:pt x="244" y="178"/>
                    </a:lnTo>
                    <a:lnTo>
                      <a:pt x="246" y="178"/>
                    </a:lnTo>
                    <a:lnTo>
                      <a:pt x="248" y="178"/>
                    </a:lnTo>
                    <a:lnTo>
                      <a:pt x="248" y="180"/>
                    </a:lnTo>
                    <a:lnTo>
                      <a:pt x="246" y="180"/>
                    </a:lnTo>
                    <a:lnTo>
                      <a:pt x="248" y="180"/>
                    </a:lnTo>
                    <a:lnTo>
                      <a:pt x="246" y="180"/>
                    </a:lnTo>
                    <a:lnTo>
                      <a:pt x="248" y="180"/>
                    </a:lnTo>
                    <a:lnTo>
                      <a:pt x="246" y="180"/>
                    </a:lnTo>
                    <a:lnTo>
                      <a:pt x="246" y="182"/>
                    </a:lnTo>
                    <a:lnTo>
                      <a:pt x="246" y="184"/>
                    </a:lnTo>
                    <a:lnTo>
                      <a:pt x="246" y="182"/>
                    </a:lnTo>
                    <a:lnTo>
                      <a:pt x="246" y="184"/>
                    </a:lnTo>
                    <a:lnTo>
                      <a:pt x="246" y="182"/>
                    </a:lnTo>
                    <a:lnTo>
                      <a:pt x="246" y="180"/>
                    </a:lnTo>
                    <a:lnTo>
                      <a:pt x="248" y="180"/>
                    </a:lnTo>
                    <a:lnTo>
                      <a:pt x="248" y="182"/>
                    </a:lnTo>
                    <a:lnTo>
                      <a:pt x="248" y="180"/>
                    </a:lnTo>
                    <a:lnTo>
                      <a:pt x="248" y="182"/>
                    </a:lnTo>
                    <a:lnTo>
                      <a:pt x="248" y="184"/>
                    </a:lnTo>
                    <a:lnTo>
                      <a:pt x="250" y="184"/>
                    </a:lnTo>
                    <a:lnTo>
                      <a:pt x="250" y="186"/>
                    </a:lnTo>
                    <a:lnTo>
                      <a:pt x="250" y="188"/>
                    </a:lnTo>
                    <a:lnTo>
                      <a:pt x="250" y="190"/>
                    </a:lnTo>
                    <a:lnTo>
                      <a:pt x="252" y="190"/>
                    </a:lnTo>
                    <a:lnTo>
                      <a:pt x="252" y="188"/>
                    </a:lnTo>
                    <a:lnTo>
                      <a:pt x="250" y="188"/>
                    </a:lnTo>
                    <a:lnTo>
                      <a:pt x="252" y="188"/>
                    </a:lnTo>
                    <a:lnTo>
                      <a:pt x="252" y="186"/>
                    </a:lnTo>
                    <a:lnTo>
                      <a:pt x="250" y="186"/>
                    </a:lnTo>
                    <a:lnTo>
                      <a:pt x="250" y="184"/>
                    </a:lnTo>
                    <a:lnTo>
                      <a:pt x="248" y="182"/>
                    </a:lnTo>
                    <a:lnTo>
                      <a:pt x="248" y="180"/>
                    </a:lnTo>
                    <a:lnTo>
                      <a:pt x="250" y="180"/>
                    </a:lnTo>
                    <a:lnTo>
                      <a:pt x="250" y="182"/>
                    </a:lnTo>
                    <a:lnTo>
                      <a:pt x="250" y="184"/>
                    </a:lnTo>
                    <a:lnTo>
                      <a:pt x="252" y="184"/>
                    </a:lnTo>
                    <a:lnTo>
                      <a:pt x="252" y="182"/>
                    </a:lnTo>
                    <a:lnTo>
                      <a:pt x="252" y="184"/>
                    </a:lnTo>
                    <a:lnTo>
                      <a:pt x="252" y="186"/>
                    </a:lnTo>
                    <a:lnTo>
                      <a:pt x="253" y="186"/>
                    </a:lnTo>
                    <a:lnTo>
                      <a:pt x="252" y="186"/>
                    </a:lnTo>
                    <a:lnTo>
                      <a:pt x="253" y="186"/>
                    </a:lnTo>
                    <a:lnTo>
                      <a:pt x="253" y="188"/>
                    </a:lnTo>
                    <a:lnTo>
                      <a:pt x="255" y="188"/>
                    </a:lnTo>
                    <a:lnTo>
                      <a:pt x="253" y="188"/>
                    </a:lnTo>
                    <a:lnTo>
                      <a:pt x="255" y="190"/>
                    </a:lnTo>
                    <a:lnTo>
                      <a:pt x="253" y="190"/>
                    </a:lnTo>
                    <a:lnTo>
                      <a:pt x="255" y="190"/>
                    </a:lnTo>
                    <a:lnTo>
                      <a:pt x="255" y="192"/>
                    </a:lnTo>
                    <a:lnTo>
                      <a:pt x="255" y="190"/>
                    </a:lnTo>
                    <a:lnTo>
                      <a:pt x="255" y="192"/>
                    </a:lnTo>
                    <a:lnTo>
                      <a:pt x="253" y="192"/>
                    </a:lnTo>
                    <a:lnTo>
                      <a:pt x="255" y="192"/>
                    </a:lnTo>
                    <a:lnTo>
                      <a:pt x="253" y="192"/>
                    </a:lnTo>
                    <a:lnTo>
                      <a:pt x="255" y="192"/>
                    </a:lnTo>
                    <a:lnTo>
                      <a:pt x="253" y="192"/>
                    </a:lnTo>
                    <a:lnTo>
                      <a:pt x="255" y="192"/>
                    </a:lnTo>
                    <a:lnTo>
                      <a:pt x="253" y="192"/>
                    </a:lnTo>
                    <a:lnTo>
                      <a:pt x="255" y="192"/>
                    </a:lnTo>
                    <a:lnTo>
                      <a:pt x="255" y="194"/>
                    </a:lnTo>
                    <a:lnTo>
                      <a:pt x="255" y="196"/>
                    </a:lnTo>
                    <a:lnTo>
                      <a:pt x="255" y="198"/>
                    </a:lnTo>
                    <a:lnTo>
                      <a:pt x="257" y="198"/>
                    </a:lnTo>
                    <a:lnTo>
                      <a:pt x="257" y="200"/>
                    </a:lnTo>
                    <a:lnTo>
                      <a:pt x="257" y="202"/>
                    </a:lnTo>
                    <a:lnTo>
                      <a:pt x="257" y="203"/>
                    </a:lnTo>
                    <a:lnTo>
                      <a:pt x="259" y="203"/>
                    </a:lnTo>
                    <a:lnTo>
                      <a:pt x="259" y="205"/>
                    </a:lnTo>
                    <a:lnTo>
                      <a:pt x="259" y="207"/>
                    </a:lnTo>
                    <a:lnTo>
                      <a:pt x="259" y="209"/>
                    </a:lnTo>
                    <a:lnTo>
                      <a:pt x="261" y="209"/>
                    </a:lnTo>
                    <a:lnTo>
                      <a:pt x="259" y="209"/>
                    </a:lnTo>
                    <a:lnTo>
                      <a:pt x="261" y="209"/>
                    </a:lnTo>
                    <a:lnTo>
                      <a:pt x="259" y="209"/>
                    </a:lnTo>
                    <a:lnTo>
                      <a:pt x="259" y="211"/>
                    </a:lnTo>
                    <a:lnTo>
                      <a:pt x="261" y="211"/>
                    </a:lnTo>
                    <a:lnTo>
                      <a:pt x="261" y="213"/>
                    </a:lnTo>
                    <a:lnTo>
                      <a:pt x="261" y="215"/>
                    </a:lnTo>
                    <a:lnTo>
                      <a:pt x="263" y="215"/>
                    </a:lnTo>
                    <a:lnTo>
                      <a:pt x="261" y="213"/>
                    </a:lnTo>
                    <a:lnTo>
                      <a:pt x="263" y="211"/>
                    </a:lnTo>
                    <a:lnTo>
                      <a:pt x="263" y="213"/>
                    </a:lnTo>
                    <a:lnTo>
                      <a:pt x="263" y="211"/>
                    </a:lnTo>
                    <a:lnTo>
                      <a:pt x="263" y="213"/>
                    </a:lnTo>
                    <a:lnTo>
                      <a:pt x="263" y="215"/>
                    </a:lnTo>
                    <a:lnTo>
                      <a:pt x="265" y="215"/>
                    </a:lnTo>
                    <a:lnTo>
                      <a:pt x="267" y="215"/>
                    </a:lnTo>
                    <a:lnTo>
                      <a:pt x="267" y="213"/>
                    </a:lnTo>
                    <a:lnTo>
                      <a:pt x="267" y="211"/>
                    </a:lnTo>
                    <a:lnTo>
                      <a:pt x="267" y="209"/>
                    </a:lnTo>
                    <a:lnTo>
                      <a:pt x="267" y="207"/>
                    </a:lnTo>
                    <a:lnTo>
                      <a:pt x="269" y="207"/>
                    </a:lnTo>
                    <a:lnTo>
                      <a:pt x="267" y="207"/>
                    </a:lnTo>
                    <a:lnTo>
                      <a:pt x="269" y="207"/>
                    </a:lnTo>
                    <a:lnTo>
                      <a:pt x="269" y="209"/>
                    </a:lnTo>
                    <a:lnTo>
                      <a:pt x="269" y="211"/>
                    </a:lnTo>
                    <a:lnTo>
                      <a:pt x="269" y="213"/>
                    </a:lnTo>
                    <a:lnTo>
                      <a:pt x="269" y="215"/>
                    </a:lnTo>
                    <a:lnTo>
                      <a:pt x="269" y="217"/>
                    </a:lnTo>
                    <a:lnTo>
                      <a:pt x="269" y="219"/>
                    </a:lnTo>
                    <a:lnTo>
                      <a:pt x="269" y="221"/>
                    </a:lnTo>
                    <a:lnTo>
                      <a:pt x="269" y="223"/>
                    </a:lnTo>
                    <a:lnTo>
                      <a:pt x="269" y="225"/>
                    </a:lnTo>
                    <a:lnTo>
                      <a:pt x="271" y="225"/>
                    </a:lnTo>
                    <a:lnTo>
                      <a:pt x="269" y="225"/>
                    </a:lnTo>
                    <a:lnTo>
                      <a:pt x="271" y="225"/>
                    </a:lnTo>
                    <a:lnTo>
                      <a:pt x="271" y="227"/>
                    </a:lnTo>
                    <a:lnTo>
                      <a:pt x="271" y="228"/>
                    </a:lnTo>
                    <a:lnTo>
                      <a:pt x="271" y="227"/>
                    </a:lnTo>
                    <a:lnTo>
                      <a:pt x="271" y="228"/>
                    </a:lnTo>
                    <a:lnTo>
                      <a:pt x="273" y="228"/>
                    </a:lnTo>
                    <a:lnTo>
                      <a:pt x="273" y="230"/>
                    </a:lnTo>
                    <a:lnTo>
                      <a:pt x="271" y="230"/>
                    </a:lnTo>
                    <a:lnTo>
                      <a:pt x="273" y="230"/>
                    </a:lnTo>
                    <a:lnTo>
                      <a:pt x="273" y="232"/>
                    </a:lnTo>
                    <a:lnTo>
                      <a:pt x="271" y="232"/>
                    </a:lnTo>
                    <a:lnTo>
                      <a:pt x="271" y="230"/>
                    </a:lnTo>
                    <a:lnTo>
                      <a:pt x="269" y="230"/>
                    </a:lnTo>
                    <a:lnTo>
                      <a:pt x="269" y="232"/>
                    </a:lnTo>
                    <a:lnTo>
                      <a:pt x="269" y="230"/>
                    </a:lnTo>
                    <a:lnTo>
                      <a:pt x="269" y="232"/>
                    </a:lnTo>
                    <a:lnTo>
                      <a:pt x="269" y="234"/>
                    </a:lnTo>
                    <a:lnTo>
                      <a:pt x="269" y="236"/>
                    </a:lnTo>
                    <a:lnTo>
                      <a:pt x="269" y="238"/>
                    </a:lnTo>
                    <a:lnTo>
                      <a:pt x="271" y="238"/>
                    </a:lnTo>
                    <a:lnTo>
                      <a:pt x="271" y="240"/>
                    </a:lnTo>
                    <a:lnTo>
                      <a:pt x="269" y="240"/>
                    </a:lnTo>
                    <a:lnTo>
                      <a:pt x="271" y="240"/>
                    </a:lnTo>
                    <a:lnTo>
                      <a:pt x="273" y="240"/>
                    </a:lnTo>
                    <a:lnTo>
                      <a:pt x="273" y="238"/>
                    </a:lnTo>
                    <a:lnTo>
                      <a:pt x="273" y="236"/>
                    </a:lnTo>
                    <a:lnTo>
                      <a:pt x="275" y="236"/>
                    </a:lnTo>
                    <a:lnTo>
                      <a:pt x="275" y="238"/>
                    </a:lnTo>
                    <a:lnTo>
                      <a:pt x="277" y="238"/>
                    </a:lnTo>
                    <a:lnTo>
                      <a:pt x="277" y="240"/>
                    </a:lnTo>
                    <a:lnTo>
                      <a:pt x="275" y="240"/>
                    </a:lnTo>
                    <a:lnTo>
                      <a:pt x="277" y="240"/>
                    </a:lnTo>
                    <a:lnTo>
                      <a:pt x="275" y="240"/>
                    </a:lnTo>
                    <a:lnTo>
                      <a:pt x="275" y="242"/>
                    </a:lnTo>
                    <a:lnTo>
                      <a:pt x="277" y="242"/>
                    </a:lnTo>
                    <a:lnTo>
                      <a:pt x="277" y="244"/>
                    </a:lnTo>
                    <a:lnTo>
                      <a:pt x="278" y="244"/>
                    </a:lnTo>
                    <a:lnTo>
                      <a:pt x="278" y="246"/>
                    </a:lnTo>
                    <a:lnTo>
                      <a:pt x="278" y="244"/>
                    </a:lnTo>
                    <a:lnTo>
                      <a:pt x="278" y="246"/>
                    </a:lnTo>
                    <a:lnTo>
                      <a:pt x="278" y="248"/>
                    </a:lnTo>
                    <a:lnTo>
                      <a:pt x="280" y="248"/>
                    </a:lnTo>
                    <a:lnTo>
                      <a:pt x="278" y="248"/>
                    </a:lnTo>
                    <a:lnTo>
                      <a:pt x="280" y="248"/>
                    </a:lnTo>
                    <a:lnTo>
                      <a:pt x="278" y="248"/>
                    </a:lnTo>
                    <a:lnTo>
                      <a:pt x="280" y="248"/>
                    </a:lnTo>
                    <a:lnTo>
                      <a:pt x="278" y="248"/>
                    </a:lnTo>
                    <a:lnTo>
                      <a:pt x="278" y="250"/>
                    </a:lnTo>
                    <a:lnTo>
                      <a:pt x="278" y="252"/>
                    </a:lnTo>
                    <a:lnTo>
                      <a:pt x="278" y="253"/>
                    </a:lnTo>
                    <a:lnTo>
                      <a:pt x="277" y="253"/>
                    </a:lnTo>
                    <a:lnTo>
                      <a:pt x="277" y="255"/>
                    </a:lnTo>
                    <a:lnTo>
                      <a:pt x="275" y="255"/>
                    </a:lnTo>
                    <a:lnTo>
                      <a:pt x="275" y="257"/>
                    </a:lnTo>
                    <a:lnTo>
                      <a:pt x="275" y="259"/>
                    </a:lnTo>
                    <a:lnTo>
                      <a:pt x="273" y="257"/>
                    </a:lnTo>
                    <a:lnTo>
                      <a:pt x="273" y="259"/>
                    </a:lnTo>
                    <a:lnTo>
                      <a:pt x="271" y="259"/>
                    </a:lnTo>
                    <a:lnTo>
                      <a:pt x="271" y="261"/>
                    </a:lnTo>
                    <a:lnTo>
                      <a:pt x="273" y="261"/>
                    </a:lnTo>
                    <a:lnTo>
                      <a:pt x="273" y="259"/>
                    </a:lnTo>
                    <a:lnTo>
                      <a:pt x="273" y="261"/>
                    </a:lnTo>
                    <a:lnTo>
                      <a:pt x="275" y="261"/>
                    </a:lnTo>
                    <a:lnTo>
                      <a:pt x="275" y="263"/>
                    </a:lnTo>
                    <a:lnTo>
                      <a:pt x="273" y="263"/>
                    </a:lnTo>
                    <a:lnTo>
                      <a:pt x="273" y="265"/>
                    </a:lnTo>
                    <a:lnTo>
                      <a:pt x="271" y="267"/>
                    </a:lnTo>
                    <a:lnTo>
                      <a:pt x="271" y="269"/>
                    </a:lnTo>
                    <a:lnTo>
                      <a:pt x="269" y="269"/>
                    </a:lnTo>
                    <a:lnTo>
                      <a:pt x="269" y="271"/>
                    </a:lnTo>
                    <a:lnTo>
                      <a:pt x="269" y="269"/>
                    </a:lnTo>
                    <a:lnTo>
                      <a:pt x="269" y="271"/>
                    </a:lnTo>
                    <a:lnTo>
                      <a:pt x="267" y="271"/>
                    </a:lnTo>
                    <a:lnTo>
                      <a:pt x="269" y="271"/>
                    </a:lnTo>
                    <a:lnTo>
                      <a:pt x="267" y="271"/>
                    </a:lnTo>
                    <a:lnTo>
                      <a:pt x="267" y="273"/>
                    </a:lnTo>
                    <a:lnTo>
                      <a:pt x="267" y="271"/>
                    </a:lnTo>
                    <a:lnTo>
                      <a:pt x="267" y="273"/>
                    </a:lnTo>
                    <a:lnTo>
                      <a:pt x="267" y="275"/>
                    </a:lnTo>
                    <a:lnTo>
                      <a:pt x="269" y="275"/>
                    </a:lnTo>
                    <a:lnTo>
                      <a:pt x="269" y="277"/>
                    </a:lnTo>
                    <a:lnTo>
                      <a:pt x="271" y="277"/>
                    </a:lnTo>
                    <a:lnTo>
                      <a:pt x="271" y="278"/>
                    </a:lnTo>
                    <a:lnTo>
                      <a:pt x="271" y="280"/>
                    </a:lnTo>
                    <a:lnTo>
                      <a:pt x="269" y="280"/>
                    </a:lnTo>
                    <a:lnTo>
                      <a:pt x="269" y="282"/>
                    </a:lnTo>
                    <a:lnTo>
                      <a:pt x="269" y="284"/>
                    </a:lnTo>
                    <a:lnTo>
                      <a:pt x="271" y="284"/>
                    </a:lnTo>
                    <a:lnTo>
                      <a:pt x="269" y="284"/>
                    </a:lnTo>
                    <a:lnTo>
                      <a:pt x="267" y="284"/>
                    </a:lnTo>
                    <a:lnTo>
                      <a:pt x="267" y="286"/>
                    </a:lnTo>
                    <a:lnTo>
                      <a:pt x="267" y="288"/>
                    </a:lnTo>
                    <a:lnTo>
                      <a:pt x="265" y="288"/>
                    </a:lnTo>
                    <a:lnTo>
                      <a:pt x="267" y="288"/>
                    </a:lnTo>
                    <a:lnTo>
                      <a:pt x="265" y="288"/>
                    </a:lnTo>
                    <a:lnTo>
                      <a:pt x="265" y="290"/>
                    </a:lnTo>
                    <a:lnTo>
                      <a:pt x="263" y="290"/>
                    </a:lnTo>
                    <a:lnTo>
                      <a:pt x="263" y="288"/>
                    </a:lnTo>
                    <a:lnTo>
                      <a:pt x="263" y="286"/>
                    </a:lnTo>
                    <a:lnTo>
                      <a:pt x="263" y="284"/>
                    </a:lnTo>
                    <a:lnTo>
                      <a:pt x="263" y="282"/>
                    </a:lnTo>
                    <a:lnTo>
                      <a:pt x="263" y="280"/>
                    </a:lnTo>
                    <a:lnTo>
                      <a:pt x="263" y="278"/>
                    </a:lnTo>
                    <a:lnTo>
                      <a:pt x="263" y="277"/>
                    </a:lnTo>
                    <a:lnTo>
                      <a:pt x="261" y="277"/>
                    </a:lnTo>
                    <a:lnTo>
                      <a:pt x="259" y="277"/>
                    </a:lnTo>
                    <a:lnTo>
                      <a:pt x="257" y="277"/>
                    </a:lnTo>
                    <a:lnTo>
                      <a:pt x="257" y="275"/>
                    </a:lnTo>
                    <a:lnTo>
                      <a:pt x="255" y="275"/>
                    </a:lnTo>
                    <a:lnTo>
                      <a:pt x="255" y="273"/>
                    </a:lnTo>
                    <a:lnTo>
                      <a:pt x="253" y="273"/>
                    </a:lnTo>
                    <a:lnTo>
                      <a:pt x="253" y="271"/>
                    </a:lnTo>
                    <a:lnTo>
                      <a:pt x="252" y="271"/>
                    </a:lnTo>
                    <a:lnTo>
                      <a:pt x="252" y="273"/>
                    </a:lnTo>
                    <a:lnTo>
                      <a:pt x="252" y="271"/>
                    </a:lnTo>
                    <a:lnTo>
                      <a:pt x="252" y="273"/>
                    </a:lnTo>
                    <a:lnTo>
                      <a:pt x="252" y="271"/>
                    </a:lnTo>
                    <a:lnTo>
                      <a:pt x="253" y="273"/>
                    </a:lnTo>
                    <a:lnTo>
                      <a:pt x="255" y="273"/>
                    </a:lnTo>
                    <a:lnTo>
                      <a:pt x="255" y="275"/>
                    </a:lnTo>
                    <a:lnTo>
                      <a:pt x="257" y="275"/>
                    </a:lnTo>
                    <a:lnTo>
                      <a:pt x="257" y="277"/>
                    </a:lnTo>
                    <a:lnTo>
                      <a:pt x="259" y="277"/>
                    </a:lnTo>
                    <a:lnTo>
                      <a:pt x="261" y="277"/>
                    </a:lnTo>
                    <a:lnTo>
                      <a:pt x="263" y="277"/>
                    </a:lnTo>
                    <a:lnTo>
                      <a:pt x="263" y="278"/>
                    </a:lnTo>
                    <a:lnTo>
                      <a:pt x="263" y="280"/>
                    </a:lnTo>
                    <a:lnTo>
                      <a:pt x="263" y="282"/>
                    </a:lnTo>
                    <a:lnTo>
                      <a:pt x="263" y="284"/>
                    </a:lnTo>
                    <a:lnTo>
                      <a:pt x="263" y="286"/>
                    </a:lnTo>
                    <a:lnTo>
                      <a:pt x="263" y="288"/>
                    </a:lnTo>
                    <a:lnTo>
                      <a:pt x="263" y="290"/>
                    </a:lnTo>
                    <a:lnTo>
                      <a:pt x="261" y="292"/>
                    </a:lnTo>
                    <a:lnTo>
                      <a:pt x="259" y="294"/>
                    </a:lnTo>
                    <a:lnTo>
                      <a:pt x="259" y="296"/>
                    </a:lnTo>
                    <a:lnTo>
                      <a:pt x="257" y="296"/>
                    </a:lnTo>
                    <a:lnTo>
                      <a:pt x="255" y="296"/>
                    </a:lnTo>
                    <a:lnTo>
                      <a:pt x="255" y="298"/>
                    </a:lnTo>
                    <a:lnTo>
                      <a:pt x="253" y="298"/>
                    </a:lnTo>
                    <a:lnTo>
                      <a:pt x="252" y="298"/>
                    </a:lnTo>
                    <a:lnTo>
                      <a:pt x="252" y="300"/>
                    </a:lnTo>
                    <a:lnTo>
                      <a:pt x="250" y="300"/>
                    </a:lnTo>
                    <a:lnTo>
                      <a:pt x="250" y="298"/>
                    </a:lnTo>
                    <a:lnTo>
                      <a:pt x="250" y="300"/>
                    </a:lnTo>
                    <a:lnTo>
                      <a:pt x="248" y="300"/>
                    </a:lnTo>
                    <a:lnTo>
                      <a:pt x="248" y="298"/>
                    </a:lnTo>
                    <a:lnTo>
                      <a:pt x="248" y="300"/>
                    </a:lnTo>
                    <a:lnTo>
                      <a:pt x="246" y="300"/>
                    </a:lnTo>
                    <a:lnTo>
                      <a:pt x="246" y="302"/>
                    </a:lnTo>
                    <a:lnTo>
                      <a:pt x="246" y="300"/>
                    </a:lnTo>
                    <a:lnTo>
                      <a:pt x="246" y="302"/>
                    </a:lnTo>
                    <a:lnTo>
                      <a:pt x="246" y="300"/>
                    </a:lnTo>
                    <a:lnTo>
                      <a:pt x="246" y="302"/>
                    </a:lnTo>
                    <a:lnTo>
                      <a:pt x="246" y="300"/>
                    </a:lnTo>
                    <a:lnTo>
                      <a:pt x="244" y="302"/>
                    </a:lnTo>
                    <a:lnTo>
                      <a:pt x="242" y="302"/>
                    </a:lnTo>
                    <a:lnTo>
                      <a:pt x="244" y="302"/>
                    </a:lnTo>
                    <a:lnTo>
                      <a:pt x="242" y="302"/>
                    </a:lnTo>
                    <a:lnTo>
                      <a:pt x="240" y="302"/>
                    </a:lnTo>
                    <a:lnTo>
                      <a:pt x="240" y="303"/>
                    </a:lnTo>
                    <a:lnTo>
                      <a:pt x="240" y="302"/>
                    </a:lnTo>
                    <a:lnTo>
                      <a:pt x="238" y="302"/>
                    </a:lnTo>
                    <a:lnTo>
                      <a:pt x="236" y="303"/>
                    </a:lnTo>
                    <a:lnTo>
                      <a:pt x="236" y="305"/>
                    </a:lnTo>
                    <a:lnTo>
                      <a:pt x="234" y="305"/>
                    </a:lnTo>
                    <a:lnTo>
                      <a:pt x="232" y="305"/>
                    </a:lnTo>
                    <a:lnTo>
                      <a:pt x="232" y="303"/>
                    </a:lnTo>
                    <a:lnTo>
                      <a:pt x="232" y="305"/>
                    </a:lnTo>
                    <a:lnTo>
                      <a:pt x="230" y="305"/>
                    </a:lnTo>
                    <a:lnTo>
                      <a:pt x="232" y="305"/>
                    </a:lnTo>
                    <a:lnTo>
                      <a:pt x="230" y="305"/>
                    </a:lnTo>
                    <a:lnTo>
                      <a:pt x="230" y="307"/>
                    </a:lnTo>
                    <a:lnTo>
                      <a:pt x="229" y="307"/>
                    </a:lnTo>
                    <a:lnTo>
                      <a:pt x="227" y="307"/>
                    </a:lnTo>
                    <a:lnTo>
                      <a:pt x="225" y="307"/>
                    </a:lnTo>
                    <a:lnTo>
                      <a:pt x="225" y="309"/>
                    </a:lnTo>
                    <a:lnTo>
                      <a:pt x="223" y="307"/>
                    </a:lnTo>
                    <a:lnTo>
                      <a:pt x="221" y="307"/>
                    </a:lnTo>
                    <a:lnTo>
                      <a:pt x="219" y="307"/>
                    </a:lnTo>
                    <a:lnTo>
                      <a:pt x="219" y="309"/>
                    </a:lnTo>
                    <a:lnTo>
                      <a:pt x="217" y="309"/>
                    </a:lnTo>
                    <a:lnTo>
                      <a:pt x="215" y="309"/>
                    </a:lnTo>
                    <a:lnTo>
                      <a:pt x="213" y="309"/>
                    </a:lnTo>
                    <a:lnTo>
                      <a:pt x="211" y="309"/>
                    </a:lnTo>
                    <a:lnTo>
                      <a:pt x="209" y="309"/>
                    </a:lnTo>
                    <a:lnTo>
                      <a:pt x="207" y="309"/>
                    </a:lnTo>
                    <a:lnTo>
                      <a:pt x="205" y="309"/>
                    </a:lnTo>
                    <a:lnTo>
                      <a:pt x="204" y="309"/>
                    </a:lnTo>
                    <a:lnTo>
                      <a:pt x="202" y="307"/>
                    </a:lnTo>
                    <a:lnTo>
                      <a:pt x="200" y="307"/>
                    </a:lnTo>
                    <a:lnTo>
                      <a:pt x="198" y="307"/>
                    </a:lnTo>
                    <a:lnTo>
                      <a:pt x="198" y="305"/>
                    </a:lnTo>
                    <a:lnTo>
                      <a:pt x="196" y="305"/>
                    </a:lnTo>
                    <a:lnTo>
                      <a:pt x="196" y="307"/>
                    </a:lnTo>
                    <a:lnTo>
                      <a:pt x="194" y="305"/>
                    </a:lnTo>
                    <a:lnTo>
                      <a:pt x="192" y="305"/>
                    </a:lnTo>
                    <a:lnTo>
                      <a:pt x="190" y="305"/>
                    </a:lnTo>
                    <a:lnTo>
                      <a:pt x="188" y="305"/>
                    </a:lnTo>
                    <a:lnTo>
                      <a:pt x="186" y="305"/>
                    </a:lnTo>
                    <a:lnTo>
                      <a:pt x="186" y="303"/>
                    </a:lnTo>
                    <a:lnTo>
                      <a:pt x="184" y="303"/>
                    </a:lnTo>
                    <a:lnTo>
                      <a:pt x="182" y="303"/>
                    </a:lnTo>
                    <a:lnTo>
                      <a:pt x="182" y="302"/>
                    </a:lnTo>
                    <a:lnTo>
                      <a:pt x="180" y="302"/>
                    </a:lnTo>
                    <a:lnTo>
                      <a:pt x="179" y="302"/>
                    </a:lnTo>
                    <a:lnTo>
                      <a:pt x="177" y="302"/>
                    </a:lnTo>
                    <a:lnTo>
                      <a:pt x="175" y="302"/>
                    </a:lnTo>
                    <a:lnTo>
                      <a:pt x="177" y="302"/>
                    </a:lnTo>
                    <a:lnTo>
                      <a:pt x="175" y="300"/>
                    </a:lnTo>
                    <a:lnTo>
                      <a:pt x="177" y="300"/>
                    </a:lnTo>
                    <a:lnTo>
                      <a:pt x="175" y="302"/>
                    </a:lnTo>
                    <a:lnTo>
                      <a:pt x="175" y="300"/>
                    </a:lnTo>
                    <a:lnTo>
                      <a:pt x="173" y="300"/>
                    </a:lnTo>
                    <a:lnTo>
                      <a:pt x="173" y="298"/>
                    </a:lnTo>
                    <a:lnTo>
                      <a:pt x="173" y="300"/>
                    </a:lnTo>
                    <a:lnTo>
                      <a:pt x="173" y="298"/>
                    </a:lnTo>
                    <a:lnTo>
                      <a:pt x="173" y="300"/>
                    </a:lnTo>
                    <a:lnTo>
                      <a:pt x="171" y="300"/>
                    </a:lnTo>
                    <a:lnTo>
                      <a:pt x="171" y="298"/>
                    </a:lnTo>
                    <a:lnTo>
                      <a:pt x="169" y="298"/>
                    </a:lnTo>
                    <a:lnTo>
                      <a:pt x="169" y="296"/>
                    </a:lnTo>
                    <a:lnTo>
                      <a:pt x="169" y="298"/>
                    </a:lnTo>
                    <a:lnTo>
                      <a:pt x="169" y="296"/>
                    </a:lnTo>
                    <a:lnTo>
                      <a:pt x="167" y="296"/>
                    </a:lnTo>
                    <a:lnTo>
                      <a:pt x="165" y="294"/>
                    </a:lnTo>
                    <a:lnTo>
                      <a:pt x="165" y="292"/>
                    </a:lnTo>
                    <a:lnTo>
                      <a:pt x="163" y="292"/>
                    </a:lnTo>
                    <a:lnTo>
                      <a:pt x="163" y="290"/>
                    </a:lnTo>
                    <a:lnTo>
                      <a:pt x="161" y="290"/>
                    </a:lnTo>
                    <a:lnTo>
                      <a:pt x="159" y="288"/>
                    </a:lnTo>
                    <a:lnTo>
                      <a:pt x="159" y="286"/>
                    </a:lnTo>
                    <a:lnTo>
                      <a:pt x="157" y="286"/>
                    </a:lnTo>
                    <a:lnTo>
                      <a:pt x="157" y="284"/>
                    </a:lnTo>
                    <a:lnTo>
                      <a:pt x="156" y="284"/>
                    </a:lnTo>
                    <a:lnTo>
                      <a:pt x="156" y="282"/>
                    </a:lnTo>
                    <a:lnTo>
                      <a:pt x="154" y="282"/>
                    </a:lnTo>
                    <a:lnTo>
                      <a:pt x="154" y="280"/>
                    </a:lnTo>
                    <a:lnTo>
                      <a:pt x="154" y="278"/>
                    </a:lnTo>
                    <a:lnTo>
                      <a:pt x="154" y="277"/>
                    </a:lnTo>
                    <a:lnTo>
                      <a:pt x="152" y="277"/>
                    </a:lnTo>
                    <a:lnTo>
                      <a:pt x="152" y="275"/>
                    </a:lnTo>
                    <a:lnTo>
                      <a:pt x="150" y="273"/>
                    </a:lnTo>
                    <a:lnTo>
                      <a:pt x="150" y="271"/>
                    </a:lnTo>
                    <a:lnTo>
                      <a:pt x="148" y="271"/>
                    </a:lnTo>
                    <a:lnTo>
                      <a:pt x="148" y="269"/>
                    </a:lnTo>
                    <a:lnTo>
                      <a:pt x="146" y="267"/>
                    </a:lnTo>
                    <a:lnTo>
                      <a:pt x="146" y="265"/>
                    </a:lnTo>
                    <a:lnTo>
                      <a:pt x="146" y="263"/>
                    </a:lnTo>
                    <a:lnTo>
                      <a:pt x="144" y="263"/>
                    </a:lnTo>
                    <a:lnTo>
                      <a:pt x="144" y="261"/>
                    </a:lnTo>
                    <a:lnTo>
                      <a:pt x="144" y="259"/>
                    </a:lnTo>
                    <a:lnTo>
                      <a:pt x="142" y="259"/>
                    </a:lnTo>
                    <a:lnTo>
                      <a:pt x="142" y="257"/>
                    </a:lnTo>
                    <a:lnTo>
                      <a:pt x="144" y="257"/>
                    </a:lnTo>
                    <a:lnTo>
                      <a:pt x="144" y="255"/>
                    </a:lnTo>
                    <a:lnTo>
                      <a:pt x="144" y="253"/>
                    </a:lnTo>
                    <a:lnTo>
                      <a:pt x="142" y="253"/>
                    </a:lnTo>
                    <a:lnTo>
                      <a:pt x="144" y="253"/>
                    </a:lnTo>
                    <a:lnTo>
                      <a:pt x="144" y="255"/>
                    </a:lnTo>
                    <a:lnTo>
                      <a:pt x="144" y="257"/>
                    </a:lnTo>
                    <a:lnTo>
                      <a:pt x="142" y="257"/>
                    </a:lnTo>
                    <a:lnTo>
                      <a:pt x="142" y="259"/>
                    </a:lnTo>
                    <a:lnTo>
                      <a:pt x="142" y="261"/>
                    </a:lnTo>
                    <a:lnTo>
                      <a:pt x="144" y="261"/>
                    </a:lnTo>
                    <a:lnTo>
                      <a:pt x="144" y="263"/>
                    </a:lnTo>
                    <a:lnTo>
                      <a:pt x="142" y="263"/>
                    </a:lnTo>
                    <a:lnTo>
                      <a:pt x="144" y="263"/>
                    </a:lnTo>
                    <a:lnTo>
                      <a:pt x="144" y="265"/>
                    </a:lnTo>
                    <a:lnTo>
                      <a:pt x="146" y="265"/>
                    </a:lnTo>
                    <a:lnTo>
                      <a:pt x="144" y="265"/>
                    </a:lnTo>
                    <a:lnTo>
                      <a:pt x="144" y="263"/>
                    </a:lnTo>
                    <a:lnTo>
                      <a:pt x="142" y="263"/>
                    </a:lnTo>
                    <a:lnTo>
                      <a:pt x="140" y="261"/>
                    </a:lnTo>
                    <a:lnTo>
                      <a:pt x="138" y="261"/>
                    </a:lnTo>
                    <a:lnTo>
                      <a:pt x="138" y="259"/>
                    </a:lnTo>
                    <a:lnTo>
                      <a:pt x="136" y="259"/>
                    </a:lnTo>
                    <a:lnTo>
                      <a:pt x="136" y="257"/>
                    </a:lnTo>
                    <a:lnTo>
                      <a:pt x="134" y="257"/>
                    </a:lnTo>
                    <a:lnTo>
                      <a:pt x="134" y="255"/>
                    </a:lnTo>
                    <a:lnTo>
                      <a:pt x="132" y="255"/>
                    </a:lnTo>
                    <a:lnTo>
                      <a:pt x="132" y="253"/>
                    </a:lnTo>
                    <a:lnTo>
                      <a:pt x="131" y="252"/>
                    </a:lnTo>
                    <a:lnTo>
                      <a:pt x="129" y="250"/>
                    </a:lnTo>
                    <a:lnTo>
                      <a:pt x="129" y="248"/>
                    </a:lnTo>
                    <a:lnTo>
                      <a:pt x="127" y="248"/>
                    </a:lnTo>
                    <a:lnTo>
                      <a:pt x="127" y="246"/>
                    </a:lnTo>
                    <a:lnTo>
                      <a:pt x="125" y="246"/>
                    </a:lnTo>
                    <a:lnTo>
                      <a:pt x="125" y="244"/>
                    </a:lnTo>
                    <a:lnTo>
                      <a:pt x="123" y="244"/>
                    </a:lnTo>
                    <a:lnTo>
                      <a:pt x="123" y="242"/>
                    </a:lnTo>
                    <a:lnTo>
                      <a:pt x="121" y="242"/>
                    </a:lnTo>
                    <a:lnTo>
                      <a:pt x="121" y="240"/>
                    </a:lnTo>
                    <a:lnTo>
                      <a:pt x="119" y="240"/>
                    </a:lnTo>
                    <a:lnTo>
                      <a:pt x="119" y="238"/>
                    </a:lnTo>
                    <a:lnTo>
                      <a:pt x="119" y="236"/>
                    </a:lnTo>
                    <a:lnTo>
                      <a:pt x="117" y="236"/>
                    </a:lnTo>
                    <a:lnTo>
                      <a:pt x="117" y="234"/>
                    </a:lnTo>
                    <a:lnTo>
                      <a:pt x="117" y="232"/>
                    </a:lnTo>
                    <a:lnTo>
                      <a:pt x="117" y="230"/>
                    </a:lnTo>
                    <a:lnTo>
                      <a:pt x="115" y="230"/>
                    </a:lnTo>
                    <a:lnTo>
                      <a:pt x="115" y="228"/>
                    </a:lnTo>
                    <a:lnTo>
                      <a:pt x="115" y="227"/>
                    </a:lnTo>
                    <a:lnTo>
                      <a:pt x="115" y="225"/>
                    </a:lnTo>
                    <a:lnTo>
                      <a:pt x="113" y="223"/>
                    </a:lnTo>
                    <a:lnTo>
                      <a:pt x="113" y="221"/>
                    </a:lnTo>
                    <a:lnTo>
                      <a:pt x="113" y="219"/>
                    </a:lnTo>
                    <a:lnTo>
                      <a:pt x="111" y="219"/>
                    </a:lnTo>
                    <a:lnTo>
                      <a:pt x="111" y="217"/>
                    </a:lnTo>
                    <a:lnTo>
                      <a:pt x="109" y="217"/>
                    </a:lnTo>
                    <a:lnTo>
                      <a:pt x="107" y="217"/>
                    </a:lnTo>
                    <a:lnTo>
                      <a:pt x="109" y="217"/>
                    </a:lnTo>
                    <a:lnTo>
                      <a:pt x="107" y="217"/>
                    </a:lnTo>
                    <a:lnTo>
                      <a:pt x="109" y="217"/>
                    </a:lnTo>
                    <a:lnTo>
                      <a:pt x="107" y="217"/>
                    </a:lnTo>
                    <a:lnTo>
                      <a:pt x="107" y="219"/>
                    </a:lnTo>
                    <a:lnTo>
                      <a:pt x="107" y="217"/>
                    </a:lnTo>
                    <a:lnTo>
                      <a:pt x="106" y="217"/>
                    </a:lnTo>
                    <a:lnTo>
                      <a:pt x="104" y="217"/>
                    </a:lnTo>
                    <a:lnTo>
                      <a:pt x="102" y="217"/>
                    </a:lnTo>
                    <a:lnTo>
                      <a:pt x="102" y="215"/>
                    </a:lnTo>
                    <a:lnTo>
                      <a:pt x="102" y="213"/>
                    </a:lnTo>
                    <a:lnTo>
                      <a:pt x="102" y="211"/>
                    </a:lnTo>
                    <a:lnTo>
                      <a:pt x="104" y="211"/>
                    </a:lnTo>
                    <a:lnTo>
                      <a:pt x="104" y="209"/>
                    </a:lnTo>
                    <a:lnTo>
                      <a:pt x="104" y="211"/>
                    </a:lnTo>
                    <a:lnTo>
                      <a:pt x="106" y="211"/>
                    </a:lnTo>
                    <a:lnTo>
                      <a:pt x="107" y="211"/>
                    </a:lnTo>
                    <a:lnTo>
                      <a:pt x="107" y="213"/>
                    </a:lnTo>
                    <a:lnTo>
                      <a:pt x="107" y="211"/>
                    </a:lnTo>
                    <a:lnTo>
                      <a:pt x="107" y="209"/>
                    </a:lnTo>
                    <a:lnTo>
                      <a:pt x="107" y="211"/>
                    </a:lnTo>
                    <a:lnTo>
                      <a:pt x="106" y="211"/>
                    </a:lnTo>
                    <a:lnTo>
                      <a:pt x="106" y="209"/>
                    </a:lnTo>
                    <a:lnTo>
                      <a:pt x="104" y="209"/>
                    </a:lnTo>
                    <a:lnTo>
                      <a:pt x="106" y="209"/>
                    </a:lnTo>
                    <a:lnTo>
                      <a:pt x="104" y="209"/>
                    </a:lnTo>
                    <a:lnTo>
                      <a:pt x="106" y="209"/>
                    </a:lnTo>
                    <a:lnTo>
                      <a:pt x="104" y="209"/>
                    </a:lnTo>
                    <a:lnTo>
                      <a:pt x="104" y="207"/>
                    </a:lnTo>
                    <a:lnTo>
                      <a:pt x="106" y="207"/>
                    </a:lnTo>
                    <a:lnTo>
                      <a:pt x="106" y="205"/>
                    </a:lnTo>
                    <a:lnTo>
                      <a:pt x="106" y="207"/>
                    </a:lnTo>
                    <a:lnTo>
                      <a:pt x="104" y="207"/>
                    </a:lnTo>
                    <a:lnTo>
                      <a:pt x="106" y="207"/>
                    </a:lnTo>
                    <a:lnTo>
                      <a:pt x="106" y="205"/>
                    </a:lnTo>
                    <a:lnTo>
                      <a:pt x="106" y="207"/>
                    </a:lnTo>
                    <a:lnTo>
                      <a:pt x="104" y="207"/>
                    </a:lnTo>
                    <a:lnTo>
                      <a:pt x="102" y="207"/>
                    </a:lnTo>
                    <a:lnTo>
                      <a:pt x="102" y="205"/>
                    </a:lnTo>
                    <a:lnTo>
                      <a:pt x="104" y="205"/>
                    </a:lnTo>
                    <a:lnTo>
                      <a:pt x="104" y="203"/>
                    </a:lnTo>
                    <a:lnTo>
                      <a:pt x="104" y="205"/>
                    </a:lnTo>
                    <a:lnTo>
                      <a:pt x="102" y="205"/>
                    </a:lnTo>
                    <a:lnTo>
                      <a:pt x="102" y="203"/>
                    </a:lnTo>
                    <a:lnTo>
                      <a:pt x="102" y="205"/>
                    </a:lnTo>
                    <a:lnTo>
                      <a:pt x="102" y="203"/>
                    </a:lnTo>
                    <a:lnTo>
                      <a:pt x="100" y="203"/>
                    </a:lnTo>
                    <a:lnTo>
                      <a:pt x="102" y="203"/>
                    </a:lnTo>
                    <a:lnTo>
                      <a:pt x="100" y="203"/>
                    </a:lnTo>
                    <a:lnTo>
                      <a:pt x="102" y="203"/>
                    </a:lnTo>
                    <a:lnTo>
                      <a:pt x="102" y="202"/>
                    </a:lnTo>
                    <a:lnTo>
                      <a:pt x="104" y="202"/>
                    </a:lnTo>
                    <a:lnTo>
                      <a:pt x="104" y="200"/>
                    </a:lnTo>
                    <a:lnTo>
                      <a:pt x="104" y="198"/>
                    </a:lnTo>
                    <a:lnTo>
                      <a:pt x="104" y="200"/>
                    </a:lnTo>
                    <a:lnTo>
                      <a:pt x="104" y="202"/>
                    </a:lnTo>
                    <a:lnTo>
                      <a:pt x="102" y="202"/>
                    </a:lnTo>
                    <a:lnTo>
                      <a:pt x="102" y="203"/>
                    </a:lnTo>
                    <a:lnTo>
                      <a:pt x="102" y="202"/>
                    </a:lnTo>
                    <a:lnTo>
                      <a:pt x="100" y="203"/>
                    </a:lnTo>
                    <a:lnTo>
                      <a:pt x="100" y="202"/>
                    </a:lnTo>
                    <a:lnTo>
                      <a:pt x="100" y="203"/>
                    </a:lnTo>
                    <a:lnTo>
                      <a:pt x="100" y="202"/>
                    </a:lnTo>
                    <a:lnTo>
                      <a:pt x="100" y="200"/>
                    </a:lnTo>
                    <a:lnTo>
                      <a:pt x="102" y="200"/>
                    </a:lnTo>
                    <a:lnTo>
                      <a:pt x="102" y="198"/>
                    </a:lnTo>
                    <a:lnTo>
                      <a:pt x="102" y="200"/>
                    </a:lnTo>
                    <a:lnTo>
                      <a:pt x="102" y="198"/>
                    </a:lnTo>
                    <a:lnTo>
                      <a:pt x="100" y="200"/>
                    </a:lnTo>
                    <a:lnTo>
                      <a:pt x="100" y="198"/>
                    </a:lnTo>
                    <a:lnTo>
                      <a:pt x="100" y="200"/>
                    </a:lnTo>
                    <a:lnTo>
                      <a:pt x="100" y="202"/>
                    </a:lnTo>
                    <a:lnTo>
                      <a:pt x="98" y="202"/>
                    </a:lnTo>
                    <a:lnTo>
                      <a:pt x="96" y="202"/>
                    </a:lnTo>
                    <a:lnTo>
                      <a:pt x="96" y="200"/>
                    </a:lnTo>
                    <a:lnTo>
                      <a:pt x="96" y="198"/>
                    </a:lnTo>
                    <a:lnTo>
                      <a:pt x="96" y="200"/>
                    </a:lnTo>
                    <a:lnTo>
                      <a:pt x="96" y="198"/>
                    </a:lnTo>
                    <a:lnTo>
                      <a:pt x="96" y="196"/>
                    </a:lnTo>
                    <a:lnTo>
                      <a:pt x="98" y="196"/>
                    </a:lnTo>
                    <a:lnTo>
                      <a:pt x="96" y="196"/>
                    </a:lnTo>
                    <a:lnTo>
                      <a:pt x="96" y="194"/>
                    </a:lnTo>
                    <a:lnTo>
                      <a:pt x="96" y="192"/>
                    </a:lnTo>
                    <a:lnTo>
                      <a:pt x="96" y="190"/>
                    </a:lnTo>
                    <a:lnTo>
                      <a:pt x="94" y="190"/>
                    </a:lnTo>
                    <a:lnTo>
                      <a:pt x="94" y="188"/>
                    </a:lnTo>
                    <a:lnTo>
                      <a:pt x="96" y="188"/>
                    </a:lnTo>
                    <a:lnTo>
                      <a:pt x="96" y="186"/>
                    </a:lnTo>
                    <a:lnTo>
                      <a:pt x="96" y="188"/>
                    </a:lnTo>
                    <a:lnTo>
                      <a:pt x="94" y="188"/>
                    </a:lnTo>
                    <a:lnTo>
                      <a:pt x="94" y="190"/>
                    </a:lnTo>
                    <a:lnTo>
                      <a:pt x="94" y="188"/>
                    </a:lnTo>
                    <a:lnTo>
                      <a:pt x="94" y="190"/>
                    </a:lnTo>
                    <a:lnTo>
                      <a:pt x="92" y="190"/>
                    </a:lnTo>
                    <a:lnTo>
                      <a:pt x="94" y="190"/>
                    </a:lnTo>
                    <a:lnTo>
                      <a:pt x="94" y="188"/>
                    </a:lnTo>
                    <a:lnTo>
                      <a:pt x="92" y="188"/>
                    </a:lnTo>
                    <a:lnTo>
                      <a:pt x="92" y="190"/>
                    </a:lnTo>
                    <a:lnTo>
                      <a:pt x="92" y="188"/>
                    </a:lnTo>
                    <a:lnTo>
                      <a:pt x="92" y="190"/>
                    </a:lnTo>
                    <a:lnTo>
                      <a:pt x="92" y="192"/>
                    </a:lnTo>
                    <a:lnTo>
                      <a:pt x="92" y="194"/>
                    </a:lnTo>
                    <a:lnTo>
                      <a:pt x="92" y="192"/>
                    </a:lnTo>
                    <a:lnTo>
                      <a:pt x="92" y="190"/>
                    </a:lnTo>
                    <a:lnTo>
                      <a:pt x="92" y="192"/>
                    </a:lnTo>
                    <a:lnTo>
                      <a:pt x="90" y="192"/>
                    </a:lnTo>
                    <a:lnTo>
                      <a:pt x="92" y="192"/>
                    </a:lnTo>
                    <a:lnTo>
                      <a:pt x="92" y="194"/>
                    </a:lnTo>
                    <a:lnTo>
                      <a:pt x="90" y="194"/>
                    </a:lnTo>
                    <a:lnTo>
                      <a:pt x="90" y="192"/>
                    </a:lnTo>
                    <a:lnTo>
                      <a:pt x="90" y="194"/>
                    </a:lnTo>
                    <a:lnTo>
                      <a:pt x="90" y="196"/>
                    </a:lnTo>
                    <a:lnTo>
                      <a:pt x="90" y="194"/>
                    </a:lnTo>
                    <a:lnTo>
                      <a:pt x="90" y="192"/>
                    </a:lnTo>
                    <a:lnTo>
                      <a:pt x="90" y="194"/>
                    </a:lnTo>
                    <a:lnTo>
                      <a:pt x="88" y="192"/>
                    </a:lnTo>
                    <a:lnTo>
                      <a:pt x="88" y="190"/>
                    </a:lnTo>
                    <a:lnTo>
                      <a:pt x="88" y="188"/>
                    </a:lnTo>
                    <a:lnTo>
                      <a:pt x="86" y="188"/>
                    </a:lnTo>
                    <a:lnTo>
                      <a:pt x="86" y="186"/>
                    </a:lnTo>
                    <a:lnTo>
                      <a:pt x="86" y="184"/>
                    </a:lnTo>
                    <a:lnTo>
                      <a:pt x="86" y="182"/>
                    </a:lnTo>
                    <a:lnTo>
                      <a:pt x="84" y="182"/>
                    </a:lnTo>
                    <a:lnTo>
                      <a:pt x="86" y="182"/>
                    </a:lnTo>
                    <a:lnTo>
                      <a:pt x="86" y="180"/>
                    </a:lnTo>
                    <a:lnTo>
                      <a:pt x="86" y="178"/>
                    </a:lnTo>
                    <a:lnTo>
                      <a:pt x="84" y="178"/>
                    </a:lnTo>
                    <a:lnTo>
                      <a:pt x="84" y="177"/>
                    </a:lnTo>
                    <a:lnTo>
                      <a:pt x="84" y="175"/>
                    </a:lnTo>
                    <a:lnTo>
                      <a:pt x="84" y="173"/>
                    </a:lnTo>
                    <a:lnTo>
                      <a:pt x="84" y="171"/>
                    </a:lnTo>
                    <a:lnTo>
                      <a:pt x="84" y="169"/>
                    </a:lnTo>
                    <a:lnTo>
                      <a:pt x="84" y="167"/>
                    </a:lnTo>
                    <a:lnTo>
                      <a:pt x="84" y="165"/>
                    </a:lnTo>
                    <a:lnTo>
                      <a:pt x="86" y="165"/>
                    </a:lnTo>
                    <a:lnTo>
                      <a:pt x="88" y="165"/>
                    </a:lnTo>
                    <a:lnTo>
                      <a:pt x="90" y="165"/>
                    </a:lnTo>
                    <a:lnTo>
                      <a:pt x="90" y="167"/>
                    </a:lnTo>
                    <a:lnTo>
                      <a:pt x="92" y="167"/>
                    </a:lnTo>
                    <a:lnTo>
                      <a:pt x="90" y="167"/>
                    </a:lnTo>
                    <a:lnTo>
                      <a:pt x="90" y="165"/>
                    </a:lnTo>
                    <a:lnTo>
                      <a:pt x="88" y="165"/>
                    </a:lnTo>
                    <a:lnTo>
                      <a:pt x="86" y="163"/>
                    </a:lnTo>
                    <a:lnTo>
                      <a:pt x="86" y="161"/>
                    </a:lnTo>
                    <a:lnTo>
                      <a:pt x="84" y="159"/>
                    </a:lnTo>
                    <a:lnTo>
                      <a:pt x="84" y="157"/>
                    </a:lnTo>
                    <a:lnTo>
                      <a:pt x="83" y="157"/>
                    </a:lnTo>
                    <a:lnTo>
                      <a:pt x="83" y="159"/>
                    </a:lnTo>
                    <a:lnTo>
                      <a:pt x="83" y="157"/>
                    </a:lnTo>
                    <a:lnTo>
                      <a:pt x="81" y="157"/>
                    </a:lnTo>
                    <a:lnTo>
                      <a:pt x="81" y="155"/>
                    </a:lnTo>
                    <a:lnTo>
                      <a:pt x="81" y="154"/>
                    </a:lnTo>
                    <a:lnTo>
                      <a:pt x="81" y="152"/>
                    </a:lnTo>
                    <a:lnTo>
                      <a:pt x="81" y="154"/>
                    </a:lnTo>
                    <a:lnTo>
                      <a:pt x="81" y="152"/>
                    </a:lnTo>
                    <a:lnTo>
                      <a:pt x="81" y="154"/>
                    </a:lnTo>
                    <a:lnTo>
                      <a:pt x="79" y="154"/>
                    </a:lnTo>
                    <a:lnTo>
                      <a:pt x="77" y="154"/>
                    </a:lnTo>
                    <a:lnTo>
                      <a:pt x="77" y="152"/>
                    </a:lnTo>
                    <a:lnTo>
                      <a:pt x="77" y="154"/>
                    </a:lnTo>
                    <a:lnTo>
                      <a:pt x="77" y="152"/>
                    </a:lnTo>
                    <a:lnTo>
                      <a:pt x="75" y="152"/>
                    </a:lnTo>
                    <a:lnTo>
                      <a:pt x="75" y="154"/>
                    </a:lnTo>
                    <a:lnTo>
                      <a:pt x="75" y="152"/>
                    </a:lnTo>
                    <a:lnTo>
                      <a:pt x="77" y="152"/>
                    </a:lnTo>
                    <a:lnTo>
                      <a:pt x="75" y="152"/>
                    </a:lnTo>
                    <a:lnTo>
                      <a:pt x="77" y="152"/>
                    </a:lnTo>
                    <a:lnTo>
                      <a:pt x="75" y="152"/>
                    </a:lnTo>
                    <a:lnTo>
                      <a:pt x="77" y="152"/>
                    </a:lnTo>
                    <a:lnTo>
                      <a:pt x="77" y="154"/>
                    </a:lnTo>
                    <a:lnTo>
                      <a:pt x="75" y="154"/>
                    </a:lnTo>
                    <a:lnTo>
                      <a:pt x="77" y="154"/>
                    </a:lnTo>
                    <a:lnTo>
                      <a:pt x="77" y="155"/>
                    </a:lnTo>
                    <a:lnTo>
                      <a:pt x="77" y="157"/>
                    </a:lnTo>
                    <a:lnTo>
                      <a:pt x="77" y="155"/>
                    </a:lnTo>
                    <a:lnTo>
                      <a:pt x="77" y="157"/>
                    </a:lnTo>
                    <a:lnTo>
                      <a:pt x="77" y="159"/>
                    </a:lnTo>
                    <a:lnTo>
                      <a:pt x="75" y="159"/>
                    </a:lnTo>
                    <a:lnTo>
                      <a:pt x="77" y="159"/>
                    </a:lnTo>
                    <a:lnTo>
                      <a:pt x="79" y="159"/>
                    </a:lnTo>
                    <a:lnTo>
                      <a:pt x="79" y="161"/>
                    </a:lnTo>
                    <a:lnTo>
                      <a:pt x="79" y="163"/>
                    </a:lnTo>
                    <a:lnTo>
                      <a:pt x="79" y="165"/>
                    </a:lnTo>
                    <a:lnTo>
                      <a:pt x="79" y="167"/>
                    </a:lnTo>
                    <a:lnTo>
                      <a:pt x="79" y="165"/>
                    </a:lnTo>
                    <a:lnTo>
                      <a:pt x="79" y="167"/>
                    </a:lnTo>
                    <a:lnTo>
                      <a:pt x="77" y="165"/>
                    </a:lnTo>
                    <a:lnTo>
                      <a:pt x="75" y="165"/>
                    </a:lnTo>
                    <a:lnTo>
                      <a:pt x="77" y="165"/>
                    </a:lnTo>
                    <a:lnTo>
                      <a:pt x="75" y="165"/>
                    </a:lnTo>
                    <a:lnTo>
                      <a:pt x="77" y="165"/>
                    </a:lnTo>
                    <a:lnTo>
                      <a:pt x="77" y="167"/>
                    </a:lnTo>
                    <a:lnTo>
                      <a:pt x="75" y="167"/>
                    </a:lnTo>
                    <a:lnTo>
                      <a:pt x="75" y="165"/>
                    </a:lnTo>
                    <a:lnTo>
                      <a:pt x="75" y="167"/>
                    </a:lnTo>
                    <a:lnTo>
                      <a:pt x="77" y="167"/>
                    </a:lnTo>
                    <a:lnTo>
                      <a:pt x="77" y="169"/>
                    </a:lnTo>
                    <a:lnTo>
                      <a:pt x="75" y="169"/>
                    </a:lnTo>
                    <a:lnTo>
                      <a:pt x="75" y="167"/>
                    </a:lnTo>
                    <a:lnTo>
                      <a:pt x="75" y="169"/>
                    </a:lnTo>
                    <a:lnTo>
                      <a:pt x="75" y="167"/>
                    </a:lnTo>
                    <a:lnTo>
                      <a:pt x="75" y="169"/>
                    </a:lnTo>
                    <a:lnTo>
                      <a:pt x="75" y="167"/>
                    </a:lnTo>
                    <a:lnTo>
                      <a:pt x="75" y="169"/>
                    </a:lnTo>
                    <a:lnTo>
                      <a:pt x="73" y="167"/>
                    </a:lnTo>
                    <a:lnTo>
                      <a:pt x="73" y="169"/>
                    </a:lnTo>
                    <a:lnTo>
                      <a:pt x="73" y="167"/>
                    </a:lnTo>
                    <a:lnTo>
                      <a:pt x="71" y="169"/>
                    </a:lnTo>
                    <a:lnTo>
                      <a:pt x="73" y="169"/>
                    </a:lnTo>
                    <a:lnTo>
                      <a:pt x="75" y="171"/>
                    </a:lnTo>
                    <a:lnTo>
                      <a:pt x="75" y="173"/>
                    </a:lnTo>
                    <a:lnTo>
                      <a:pt x="75" y="175"/>
                    </a:lnTo>
                    <a:lnTo>
                      <a:pt x="75" y="177"/>
                    </a:lnTo>
                    <a:lnTo>
                      <a:pt x="75" y="175"/>
                    </a:lnTo>
                    <a:lnTo>
                      <a:pt x="75" y="177"/>
                    </a:lnTo>
                    <a:lnTo>
                      <a:pt x="75" y="178"/>
                    </a:lnTo>
                    <a:lnTo>
                      <a:pt x="77" y="178"/>
                    </a:lnTo>
                    <a:lnTo>
                      <a:pt x="77" y="180"/>
                    </a:lnTo>
                    <a:lnTo>
                      <a:pt x="77" y="178"/>
                    </a:lnTo>
                    <a:lnTo>
                      <a:pt x="77" y="180"/>
                    </a:lnTo>
                    <a:lnTo>
                      <a:pt x="77" y="182"/>
                    </a:lnTo>
                    <a:lnTo>
                      <a:pt x="77" y="184"/>
                    </a:lnTo>
                    <a:lnTo>
                      <a:pt x="77" y="182"/>
                    </a:lnTo>
                    <a:lnTo>
                      <a:pt x="75" y="182"/>
                    </a:lnTo>
                    <a:lnTo>
                      <a:pt x="75" y="180"/>
                    </a:lnTo>
                    <a:lnTo>
                      <a:pt x="75" y="182"/>
                    </a:lnTo>
                    <a:lnTo>
                      <a:pt x="75" y="180"/>
                    </a:lnTo>
                    <a:lnTo>
                      <a:pt x="75" y="178"/>
                    </a:lnTo>
                    <a:lnTo>
                      <a:pt x="73" y="178"/>
                    </a:lnTo>
                    <a:lnTo>
                      <a:pt x="73" y="180"/>
                    </a:lnTo>
                    <a:lnTo>
                      <a:pt x="75" y="180"/>
                    </a:lnTo>
                    <a:lnTo>
                      <a:pt x="73" y="180"/>
                    </a:lnTo>
                    <a:lnTo>
                      <a:pt x="75" y="180"/>
                    </a:lnTo>
                    <a:lnTo>
                      <a:pt x="75" y="182"/>
                    </a:lnTo>
                    <a:lnTo>
                      <a:pt x="75" y="184"/>
                    </a:lnTo>
                    <a:lnTo>
                      <a:pt x="73" y="184"/>
                    </a:lnTo>
                    <a:lnTo>
                      <a:pt x="75" y="184"/>
                    </a:lnTo>
                    <a:lnTo>
                      <a:pt x="73" y="184"/>
                    </a:lnTo>
                    <a:lnTo>
                      <a:pt x="75" y="184"/>
                    </a:lnTo>
                    <a:lnTo>
                      <a:pt x="75" y="186"/>
                    </a:lnTo>
                    <a:lnTo>
                      <a:pt x="77" y="186"/>
                    </a:lnTo>
                    <a:lnTo>
                      <a:pt x="77" y="188"/>
                    </a:lnTo>
                    <a:lnTo>
                      <a:pt x="79" y="188"/>
                    </a:lnTo>
                    <a:lnTo>
                      <a:pt x="79" y="190"/>
                    </a:lnTo>
                    <a:lnTo>
                      <a:pt x="81" y="190"/>
                    </a:lnTo>
                    <a:lnTo>
                      <a:pt x="81" y="192"/>
                    </a:lnTo>
                    <a:lnTo>
                      <a:pt x="83" y="194"/>
                    </a:lnTo>
                    <a:lnTo>
                      <a:pt x="81" y="194"/>
                    </a:lnTo>
                    <a:lnTo>
                      <a:pt x="81" y="196"/>
                    </a:lnTo>
                    <a:lnTo>
                      <a:pt x="81" y="194"/>
                    </a:lnTo>
                    <a:lnTo>
                      <a:pt x="81" y="192"/>
                    </a:lnTo>
                    <a:lnTo>
                      <a:pt x="79" y="192"/>
                    </a:lnTo>
                    <a:lnTo>
                      <a:pt x="81" y="192"/>
                    </a:lnTo>
                    <a:lnTo>
                      <a:pt x="79" y="192"/>
                    </a:lnTo>
                    <a:lnTo>
                      <a:pt x="79" y="190"/>
                    </a:lnTo>
                    <a:lnTo>
                      <a:pt x="79" y="192"/>
                    </a:lnTo>
                    <a:lnTo>
                      <a:pt x="79" y="190"/>
                    </a:lnTo>
                    <a:lnTo>
                      <a:pt x="77" y="190"/>
                    </a:lnTo>
                    <a:lnTo>
                      <a:pt x="79" y="190"/>
                    </a:lnTo>
                    <a:lnTo>
                      <a:pt x="79" y="192"/>
                    </a:lnTo>
                    <a:lnTo>
                      <a:pt x="77" y="192"/>
                    </a:lnTo>
                    <a:lnTo>
                      <a:pt x="75" y="192"/>
                    </a:lnTo>
                    <a:lnTo>
                      <a:pt x="75" y="194"/>
                    </a:lnTo>
                    <a:lnTo>
                      <a:pt x="75" y="192"/>
                    </a:lnTo>
                    <a:lnTo>
                      <a:pt x="73" y="192"/>
                    </a:lnTo>
                    <a:lnTo>
                      <a:pt x="75" y="192"/>
                    </a:lnTo>
                    <a:lnTo>
                      <a:pt x="73" y="192"/>
                    </a:lnTo>
                    <a:lnTo>
                      <a:pt x="73" y="190"/>
                    </a:lnTo>
                    <a:lnTo>
                      <a:pt x="71" y="190"/>
                    </a:lnTo>
                    <a:lnTo>
                      <a:pt x="71" y="188"/>
                    </a:lnTo>
                    <a:lnTo>
                      <a:pt x="71" y="190"/>
                    </a:lnTo>
                    <a:lnTo>
                      <a:pt x="71" y="188"/>
                    </a:lnTo>
                    <a:lnTo>
                      <a:pt x="69" y="188"/>
                    </a:lnTo>
                    <a:lnTo>
                      <a:pt x="69" y="186"/>
                    </a:lnTo>
                    <a:lnTo>
                      <a:pt x="67" y="186"/>
                    </a:lnTo>
                    <a:lnTo>
                      <a:pt x="65" y="186"/>
                    </a:lnTo>
                    <a:lnTo>
                      <a:pt x="63" y="184"/>
                    </a:lnTo>
                    <a:lnTo>
                      <a:pt x="59" y="190"/>
                    </a:lnTo>
                    <a:lnTo>
                      <a:pt x="59" y="188"/>
                    </a:lnTo>
                    <a:lnTo>
                      <a:pt x="58" y="188"/>
                    </a:lnTo>
                    <a:lnTo>
                      <a:pt x="56" y="188"/>
                    </a:lnTo>
                    <a:lnTo>
                      <a:pt x="56" y="186"/>
                    </a:lnTo>
                    <a:lnTo>
                      <a:pt x="54" y="188"/>
                    </a:lnTo>
                    <a:lnTo>
                      <a:pt x="54" y="190"/>
                    </a:lnTo>
                    <a:lnTo>
                      <a:pt x="50" y="192"/>
                    </a:lnTo>
                    <a:lnTo>
                      <a:pt x="42" y="186"/>
                    </a:lnTo>
                    <a:lnTo>
                      <a:pt x="40" y="184"/>
                    </a:lnTo>
                    <a:lnTo>
                      <a:pt x="44" y="177"/>
                    </a:lnTo>
                    <a:lnTo>
                      <a:pt x="42" y="175"/>
                    </a:lnTo>
                    <a:lnTo>
                      <a:pt x="46" y="167"/>
                    </a:lnTo>
                    <a:lnTo>
                      <a:pt x="46" y="165"/>
                    </a:lnTo>
                    <a:lnTo>
                      <a:pt x="42" y="163"/>
                    </a:lnTo>
                    <a:lnTo>
                      <a:pt x="36" y="157"/>
                    </a:lnTo>
                    <a:lnTo>
                      <a:pt x="33" y="154"/>
                    </a:lnTo>
                    <a:lnTo>
                      <a:pt x="27" y="152"/>
                    </a:lnTo>
                    <a:lnTo>
                      <a:pt x="13" y="142"/>
                    </a:lnTo>
                    <a:lnTo>
                      <a:pt x="0" y="132"/>
                    </a:lnTo>
                    <a:lnTo>
                      <a:pt x="2" y="127"/>
                    </a:lnTo>
                    <a:lnTo>
                      <a:pt x="2" y="123"/>
                    </a:lnTo>
                    <a:lnTo>
                      <a:pt x="2" y="121"/>
                    </a:lnTo>
                    <a:lnTo>
                      <a:pt x="4" y="117"/>
                    </a:lnTo>
                    <a:lnTo>
                      <a:pt x="4" y="113"/>
                    </a:lnTo>
                    <a:lnTo>
                      <a:pt x="6" y="113"/>
                    </a:lnTo>
                    <a:lnTo>
                      <a:pt x="6" y="111"/>
                    </a:lnTo>
                    <a:lnTo>
                      <a:pt x="8" y="111"/>
                    </a:lnTo>
                    <a:lnTo>
                      <a:pt x="10" y="109"/>
                    </a:lnTo>
                    <a:lnTo>
                      <a:pt x="21" y="105"/>
                    </a:lnTo>
                    <a:lnTo>
                      <a:pt x="27" y="104"/>
                    </a:lnTo>
                    <a:lnTo>
                      <a:pt x="29" y="104"/>
                    </a:lnTo>
                    <a:lnTo>
                      <a:pt x="29" y="102"/>
                    </a:lnTo>
                    <a:lnTo>
                      <a:pt x="31" y="102"/>
                    </a:lnTo>
                    <a:lnTo>
                      <a:pt x="31" y="104"/>
                    </a:lnTo>
                    <a:lnTo>
                      <a:pt x="31" y="102"/>
                    </a:lnTo>
                    <a:lnTo>
                      <a:pt x="33" y="104"/>
                    </a:lnTo>
                    <a:lnTo>
                      <a:pt x="33" y="102"/>
                    </a:lnTo>
                    <a:lnTo>
                      <a:pt x="34" y="102"/>
                    </a:lnTo>
                    <a:lnTo>
                      <a:pt x="36" y="102"/>
                    </a:lnTo>
                    <a:lnTo>
                      <a:pt x="38" y="100"/>
                    </a:lnTo>
                    <a:lnTo>
                      <a:pt x="42" y="100"/>
                    </a:lnTo>
                    <a:lnTo>
                      <a:pt x="46" y="98"/>
                    </a:lnTo>
                    <a:lnTo>
                      <a:pt x="50" y="94"/>
                    </a:lnTo>
                    <a:lnTo>
                      <a:pt x="54" y="92"/>
                    </a:lnTo>
                    <a:lnTo>
                      <a:pt x="50" y="82"/>
                    </a:lnTo>
                    <a:lnTo>
                      <a:pt x="50" y="80"/>
                    </a:lnTo>
                    <a:lnTo>
                      <a:pt x="54" y="63"/>
                    </a:lnTo>
                    <a:lnTo>
                      <a:pt x="46" y="48"/>
                    </a:lnTo>
                    <a:lnTo>
                      <a:pt x="46" y="46"/>
                    </a:lnTo>
                    <a:lnTo>
                      <a:pt x="48" y="44"/>
                    </a:lnTo>
                    <a:lnTo>
                      <a:pt x="54" y="27"/>
                    </a:lnTo>
                    <a:lnTo>
                      <a:pt x="59" y="25"/>
                    </a:lnTo>
                    <a:lnTo>
                      <a:pt x="63" y="23"/>
                    </a:lnTo>
                    <a:lnTo>
                      <a:pt x="67" y="23"/>
                    </a:lnTo>
                    <a:lnTo>
                      <a:pt x="73" y="17"/>
                    </a:lnTo>
                    <a:lnTo>
                      <a:pt x="71" y="15"/>
                    </a:lnTo>
                    <a:lnTo>
                      <a:pt x="67" y="11"/>
                    </a:lnTo>
                    <a:lnTo>
                      <a:pt x="67" y="9"/>
                    </a:lnTo>
                    <a:lnTo>
                      <a:pt x="71" y="9"/>
                    </a:lnTo>
                    <a:lnTo>
                      <a:pt x="79" y="11"/>
                    </a:lnTo>
                    <a:lnTo>
                      <a:pt x="83" y="11"/>
                    </a:lnTo>
                    <a:lnTo>
                      <a:pt x="83" y="13"/>
                    </a:lnTo>
                    <a:lnTo>
                      <a:pt x="84" y="13"/>
                    </a:lnTo>
                    <a:lnTo>
                      <a:pt x="84" y="15"/>
                    </a:lnTo>
                    <a:lnTo>
                      <a:pt x="86" y="13"/>
                    </a:lnTo>
                    <a:lnTo>
                      <a:pt x="88" y="13"/>
                    </a:lnTo>
                    <a:lnTo>
                      <a:pt x="90" y="13"/>
                    </a:lnTo>
                    <a:lnTo>
                      <a:pt x="92" y="13"/>
                    </a:lnTo>
                    <a:lnTo>
                      <a:pt x="92" y="11"/>
                    </a:lnTo>
                    <a:lnTo>
                      <a:pt x="94" y="11"/>
                    </a:lnTo>
                    <a:lnTo>
                      <a:pt x="96" y="9"/>
                    </a:lnTo>
                    <a:lnTo>
                      <a:pt x="96" y="7"/>
                    </a:lnTo>
                    <a:lnTo>
                      <a:pt x="98" y="5"/>
                    </a:lnTo>
                    <a:lnTo>
                      <a:pt x="100" y="5"/>
                    </a:lnTo>
                    <a:lnTo>
                      <a:pt x="102" y="5"/>
                    </a:lnTo>
                    <a:lnTo>
                      <a:pt x="104" y="7"/>
                    </a:lnTo>
                    <a:lnTo>
                      <a:pt x="106" y="7"/>
                    </a:lnTo>
                    <a:lnTo>
                      <a:pt x="107" y="7"/>
                    </a:lnTo>
                    <a:lnTo>
                      <a:pt x="109" y="7"/>
                    </a:lnTo>
                    <a:lnTo>
                      <a:pt x="111" y="7"/>
                    </a:lnTo>
                    <a:lnTo>
                      <a:pt x="113" y="7"/>
                    </a:lnTo>
                    <a:lnTo>
                      <a:pt x="115" y="9"/>
                    </a:lnTo>
                    <a:lnTo>
                      <a:pt x="117" y="9"/>
                    </a:lnTo>
                    <a:lnTo>
                      <a:pt x="119" y="9"/>
                    </a:lnTo>
                    <a:lnTo>
                      <a:pt x="121" y="9"/>
                    </a:lnTo>
                    <a:lnTo>
                      <a:pt x="121" y="7"/>
                    </a:lnTo>
                    <a:lnTo>
                      <a:pt x="123" y="7"/>
                    </a:lnTo>
                    <a:lnTo>
                      <a:pt x="125" y="7"/>
                    </a:lnTo>
                    <a:lnTo>
                      <a:pt x="125" y="5"/>
                    </a:lnTo>
                    <a:lnTo>
                      <a:pt x="127" y="4"/>
                    </a:lnTo>
                    <a:lnTo>
                      <a:pt x="127" y="2"/>
                    </a:lnTo>
                    <a:lnTo>
                      <a:pt x="127" y="0"/>
                    </a:lnTo>
                    <a:lnTo>
                      <a:pt x="129" y="0"/>
                    </a:lnTo>
                    <a:lnTo>
                      <a:pt x="127" y="0"/>
                    </a:lnTo>
                    <a:lnTo>
                      <a:pt x="127" y="2"/>
                    </a:lnTo>
                    <a:lnTo>
                      <a:pt x="129" y="2"/>
                    </a:lnTo>
                    <a:lnTo>
                      <a:pt x="129" y="0"/>
                    </a:lnTo>
                    <a:lnTo>
                      <a:pt x="129" y="2"/>
                    </a:lnTo>
                    <a:lnTo>
                      <a:pt x="131" y="4"/>
                    </a:lnTo>
                    <a:lnTo>
                      <a:pt x="131" y="5"/>
                    </a:lnTo>
                    <a:lnTo>
                      <a:pt x="131" y="7"/>
                    </a:lnTo>
                    <a:lnTo>
                      <a:pt x="131" y="11"/>
                    </a:lnTo>
                    <a:lnTo>
                      <a:pt x="132" y="13"/>
                    </a:lnTo>
                    <a:lnTo>
                      <a:pt x="134" y="15"/>
                    </a:lnTo>
                    <a:lnTo>
                      <a:pt x="136" y="17"/>
                    </a:lnTo>
                    <a:lnTo>
                      <a:pt x="138" y="17"/>
                    </a:lnTo>
                    <a:lnTo>
                      <a:pt x="140" y="17"/>
                    </a:lnTo>
                    <a:lnTo>
                      <a:pt x="140" y="15"/>
                    </a:lnTo>
                    <a:lnTo>
                      <a:pt x="142" y="15"/>
                    </a:lnTo>
                    <a:lnTo>
                      <a:pt x="142" y="13"/>
                    </a:lnTo>
                    <a:lnTo>
                      <a:pt x="142" y="11"/>
                    </a:lnTo>
                    <a:lnTo>
                      <a:pt x="144" y="11"/>
                    </a:lnTo>
                    <a:lnTo>
                      <a:pt x="144" y="9"/>
                    </a:lnTo>
                    <a:lnTo>
                      <a:pt x="144" y="7"/>
                    </a:lnTo>
                    <a:lnTo>
                      <a:pt x="146" y="7"/>
                    </a:lnTo>
                    <a:lnTo>
                      <a:pt x="144" y="7"/>
                    </a:lnTo>
                    <a:lnTo>
                      <a:pt x="146" y="7"/>
                    </a:lnTo>
                    <a:lnTo>
                      <a:pt x="144" y="7"/>
                    </a:lnTo>
                    <a:lnTo>
                      <a:pt x="146" y="5"/>
                    </a:lnTo>
                    <a:lnTo>
                      <a:pt x="148" y="5"/>
                    </a:lnTo>
                    <a:lnTo>
                      <a:pt x="146" y="7"/>
                    </a:lnTo>
                    <a:lnTo>
                      <a:pt x="148" y="7"/>
                    </a:lnTo>
                    <a:lnTo>
                      <a:pt x="146" y="7"/>
                    </a:lnTo>
                    <a:lnTo>
                      <a:pt x="148" y="7"/>
                    </a:lnTo>
                    <a:lnTo>
                      <a:pt x="148" y="9"/>
                    </a:lnTo>
                    <a:lnTo>
                      <a:pt x="150" y="9"/>
                    </a:lnTo>
                    <a:lnTo>
                      <a:pt x="150" y="11"/>
                    </a:lnTo>
                    <a:lnTo>
                      <a:pt x="152" y="11"/>
                    </a:lnTo>
                    <a:lnTo>
                      <a:pt x="150" y="13"/>
                    </a:lnTo>
                    <a:lnTo>
                      <a:pt x="152" y="13"/>
                    </a:lnTo>
                    <a:lnTo>
                      <a:pt x="150" y="13"/>
                    </a:lnTo>
                    <a:lnTo>
                      <a:pt x="150" y="15"/>
                    </a:lnTo>
                    <a:lnTo>
                      <a:pt x="150" y="13"/>
                    </a:lnTo>
                    <a:lnTo>
                      <a:pt x="152" y="13"/>
                    </a:lnTo>
                    <a:lnTo>
                      <a:pt x="152" y="15"/>
                    </a:lnTo>
                    <a:lnTo>
                      <a:pt x="154" y="15"/>
                    </a:lnTo>
                    <a:lnTo>
                      <a:pt x="152" y="15"/>
                    </a:lnTo>
                    <a:lnTo>
                      <a:pt x="154" y="15"/>
                    </a:lnTo>
                    <a:lnTo>
                      <a:pt x="154" y="17"/>
                    </a:lnTo>
                    <a:lnTo>
                      <a:pt x="154" y="19"/>
                    </a:lnTo>
                    <a:lnTo>
                      <a:pt x="152" y="19"/>
                    </a:lnTo>
                    <a:lnTo>
                      <a:pt x="150" y="19"/>
                    </a:lnTo>
                    <a:lnTo>
                      <a:pt x="150" y="21"/>
                    </a:lnTo>
                    <a:lnTo>
                      <a:pt x="148" y="21"/>
                    </a:lnTo>
                    <a:lnTo>
                      <a:pt x="146" y="21"/>
                    </a:lnTo>
                    <a:lnTo>
                      <a:pt x="144" y="21"/>
                    </a:lnTo>
                    <a:lnTo>
                      <a:pt x="146" y="23"/>
                    </a:lnTo>
                    <a:lnTo>
                      <a:pt x="146" y="21"/>
                    </a:lnTo>
                    <a:lnTo>
                      <a:pt x="148" y="21"/>
                    </a:lnTo>
                    <a:lnTo>
                      <a:pt x="150" y="21"/>
                    </a:lnTo>
                    <a:lnTo>
                      <a:pt x="152" y="19"/>
                    </a:lnTo>
                    <a:lnTo>
                      <a:pt x="152" y="21"/>
                    </a:lnTo>
                    <a:lnTo>
                      <a:pt x="154" y="21"/>
                    </a:lnTo>
                    <a:lnTo>
                      <a:pt x="154" y="19"/>
                    </a:lnTo>
                    <a:lnTo>
                      <a:pt x="154" y="21"/>
                    </a:lnTo>
                    <a:lnTo>
                      <a:pt x="154" y="19"/>
                    </a:lnTo>
                    <a:lnTo>
                      <a:pt x="154" y="21"/>
                    </a:lnTo>
                    <a:lnTo>
                      <a:pt x="154" y="23"/>
                    </a:lnTo>
                    <a:lnTo>
                      <a:pt x="154" y="21"/>
                    </a:lnTo>
                    <a:lnTo>
                      <a:pt x="154" y="19"/>
                    </a:lnTo>
                    <a:lnTo>
                      <a:pt x="156" y="19"/>
                    </a:lnTo>
                    <a:lnTo>
                      <a:pt x="154" y="21"/>
                    </a:lnTo>
                    <a:lnTo>
                      <a:pt x="156" y="21"/>
                    </a:lnTo>
                    <a:lnTo>
                      <a:pt x="157" y="21"/>
                    </a:lnTo>
                    <a:lnTo>
                      <a:pt x="157" y="23"/>
                    </a:lnTo>
                    <a:lnTo>
                      <a:pt x="157" y="25"/>
                    </a:lnTo>
                    <a:lnTo>
                      <a:pt x="159" y="25"/>
                    </a:lnTo>
                    <a:lnTo>
                      <a:pt x="159" y="23"/>
                    </a:lnTo>
                    <a:lnTo>
                      <a:pt x="159" y="21"/>
                    </a:lnTo>
                    <a:lnTo>
                      <a:pt x="161" y="21"/>
                    </a:lnTo>
                    <a:lnTo>
                      <a:pt x="161" y="19"/>
                    </a:lnTo>
                    <a:lnTo>
                      <a:pt x="161" y="17"/>
                    </a:lnTo>
                    <a:lnTo>
                      <a:pt x="163" y="17"/>
                    </a:lnTo>
                    <a:lnTo>
                      <a:pt x="165" y="17"/>
                    </a:lnTo>
                    <a:lnTo>
                      <a:pt x="165" y="19"/>
                    </a:lnTo>
                    <a:lnTo>
                      <a:pt x="167" y="21"/>
                    </a:lnTo>
                    <a:lnTo>
                      <a:pt x="167" y="23"/>
                    </a:lnTo>
                    <a:lnTo>
                      <a:pt x="167" y="25"/>
                    </a:lnTo>
                    <a:lnTo>
                      <a:pt x="167" y="23"/>
                    </a:lnTo>
                    <a:lnTo>
                      <a:pt x="169" y="25"/>
                    </a:lnTo>
                    <a:lnTo>
                      <a:pt x="169" y="23"/>
                    </a:lnTo>
                    <a:lnTo>
                      <a:pt x="169" y="21"/>
                    </a:lnTo>
                    <a:lnTo>
                      <a:pt x="169" y="19"/>
                    </a:lnTo>
                    <a:lnTo>
                      <a:pt x="169" y="17"/>
                    </a:lnTo>
                    <a:lnTo>
                      <a:pt x="169" y="19"/>
                    </a:lnTo>
                    <a:lnTo>
                      <a:pt x="169" y="17"/>
                    </a:lnTo>
                    <a:lnTo>
                      <a:pt x="171" y="17"/>
                    </a:lnTo>
                    <a:lnTo>
                      <a:pt x="171" y="15"/>
                    </a:lnTo>
                    <a:lnTo>
                      <a:pt x="169" y="15"/>
                    </a:lnTo>
                    <a:lnTo>
                      <a:pt x="171" y="15"/>
                    </a:lnTo>
                    <a:lnTo>
                      <a:pt x="169" y="15"/>
                    </a:lnTo>
                    <a:lnTo>
                      <a:pt x="171" y="15"/>
                    </a:lnTo>
                    <a:lnTo>
                      <a:pt x="171" y="13"/>
                    </a:lnTo>
                    <a:lnTo>
                      <a:pt x="173" y="13"/>
                    </a:lnTo>
                    <a:lnTo>
                      <a:pt x="173" y="15"/>
                    </a:lnTo>
                    <a:lnTo>
                      <a:pt x="173" y="13"/>
                    </a:lnTo>
                    <a:lnTo>
                      <a:pt x="173" y="15"/>
                    </a:lnTo>
                    <a:lnTo>
                      <a:pt x="175" y="15"/>
                    </a:lnTo>
                    <a:lnTo>
                      <a:pt x="173" y="15"/>
                    </a:lnTo>
                    <a:lnTo>
                      <a:pt x="175" y="15"/>
                    </a:lnTo>
                    <a:lnTo>
                      <a:pt x="175" y="17"/>
                    </a:lnTo>
                    <a:lnTo>
                      <a:pt x="175" y="19"/>
                    </a:lnTo>
                    <a:lnTo>
                      <a:pt x="177" y="19"/>
                    </a:lnTo>
                    <a:lnTo>
                      <a:pt x="175" y="21"/>
                    </a:lnTo>
                    <a:lnTo>
                      <a:pt x="177" y="21"/>
                    </a:lnTo>
                    <a:lnTo>
                      <a:pt x="177" y="23"/>
                    </a:lnTo>
                    <a:lnTo>
                      <a:pt x="177" y="21"/>
                    </a:lnTo>
                    <a:lnTo>
                      <a:pt x="177" y="23"/>
                    </a:lnTo>
                    <a:lnTo>
                      <a:pt x="179" y="23"/>
                    </a:lnTo>
                    <a:lnTo>
                      <a:pt x="179" y="25"/>
                    </a:lnTo>
                    <a:lnTo>
                      <a:pt x="177" y="23"/>
                    </a:lnTo>
                    <a:lnTo>
                      <a:pt x="179" y="25"/>
                    </a:lnTo>
                    <a:lnTo>
                      <a:pt x="179" y="27"/>
                    </a:lnTo>
                    <a:lnTo>
                      <a:pt x="177" y="27"/>
                    </a:lnTo>
                    <a:lnTo>
                      <a:pt x="179" y="29"/>
                    </a:lnTo>
                    <a:lnTo>
                      <a:pt x="177" y="29"/>
                    </a:lnTo>
                    <a:lnTo>
                      <a:pt x="179" y="29"/>
                    </a:lnTo>
                    <a:lnTo>
                      <a:pt x="179" y="30"/>
                    </a:lnTo>
                    <a:lnTo>
                      <a:pt x="179" y="32"/>
                    </a:lnTo>
                    <a:lnTo>
                      <a:pt x="180" y="32"/>
                    </a:lnTo>
                    <a:lnTo>
                      <a:pt x="180" y="30"/>
                    </a:lnTo>
                    <a:lnTo>
                      <a:pt x="180" y="32"/>
                    </a:lnTo>
                    <a:lnTo>
                      <a:pt x="180" y="30"/>
                    </a:lnTo>
                    <a:lnTo>
                      <a:pt x="180" y="32"/>
                    </a:lnTo>
                    <a:lnTo>
                      <a:pt x="180" y="30"/>
                    </a:lnTo>
                    <a:lnTo>
                      <a:pt x="180" y="32"/>
                    </a:lnTo>
                    <a:lnTo>
                      <a:pt x="182" y="32"/>
                    </a:lnTo>
                    <a:lnTo>
                      <a:pt x="182" y="34"/>
                    </a:lnTo>
                    <a:lnTo>
                      <a:pt x="184" y="34"/>
                    </a:lnTo>
                    <a:lnTo>
                      <a:pt x="184" y="36"/>
                    </a:lnTo>
                    <a:lnTo>
                      <a:pt x="186" y="38"/>
                    </a:lnTo>
                    <a:lnTo>
                      <a:pt x="186" y="40"/>
                    </a:lnTo>
                    <a:lnTo>
                      <a:pt x="186" y="38"/>
                    </a:lnTo>
                    <a:lnTo>
                      <a:pt x="186" y="40"/>
                    </a:lnTo>
                    <a:lnTo>
                      <a:pt x="186" y="38"/>
                    </a:lnTo>
                    <a:lnTo>
                      <a:pt x="186" y="40"/>
                    </a:lnTo>
                    <a:lnTo>
                      <a:pt x="186" y="42"/>
                    </a:lnTo>
                    <a:lnTo>
                      <a:pt x="186" y="40"/>
                    </a:lnTo>
                    <a:lnTo>
                      <a:pt x="186" y="42"/>
                    </a:lnTo>
                    <a:lnTo>
                      <a:pt x="184" y="42"/>
                    </a:lnTo>
                    <a:lnTo>
                      <a:pt x="184" y="44"/>
                    </a:lnTo>
                    <a:lnTo>
                      <a:pt x="182" y="44"/>
                    </a:lnTo>
                    <a:lnTo>
                      <a:pt x="180" y="44"/>
                    </a:lnTo>
                    <a:lnTo>
                      <a:pt x="179" y="44"/>
                    </a:lnTo>
                    <a:lnTo>
                      <a:pt x="177" y="44"/>
                    </a:lnTo>
                    <a:lnTo>
                      <a:pt x="175" y="44"/>
                    </a:lnTo>
                    <a:lnTo>
                      <a:pt x="175" y="42"/>
                    </a:lnTo>
                    <a:lnTo>
                      <a:pt x="173" y="40"/>
                    </a:lnTo>
                    <a:lnTo>
                      <a:pt x="173" y="38"/>
                    </a:lnTo>
                    <a:lnTo>
                      <a:pt x="171" y="38"/>
                    </a:lnTo>
                    <a:lnTo>
                      <a:pt x="171" y="36"/>
                    </a:lnTo>
                    <a:lnTo>
                      <a:pt x="171" y="34"/>
                    </a:lnTo>
                    <a:lnTo>
                      <a:pt x="169" y="34"/>
                    </a:lnTo>
                    <a:lnTo>
                      <a:pt x="167" y="34"/>
                    </a:lnTo>
                    <a:lnTo>
                      <a:pt x="167" y="32"/>
                    </a:lnTo>
                    <a:lnTo>
                      <a:pt x="165" y="32"/>
                    </a:lnTo>
                    <a:lnTo>
                      <a:pt x="165" y="30"/>
                    </a:lnTo>
                    <a:lnTo>
                      <a:pt x="167" y="30"/>
                    </a:lnTo>
                    <a:lnTo>
                      <a:pt x="167" y="29"/>
                    </a:lnTo>
                    <a:lnTo>
                      <a:pt x="169" y="29"/>
                    </a:lnTo>
                    <a:lnTo>
                      <a:pt x="169" y="27"/>
                    </a:lnTo>
                    <a:lnTo>
                      <a:pt x="169" y="25"/>
                    </a:lnTo>
                    <a:lnTo>
                      <a:pt x="167" y="25"/>
                    </a:lnTo>
                    <a:lnTo>
                      <a:pt x="167" y="27"/>
                    </a:lnTo>
                    <a:lnTo>
                      <a:pt x="167" y="25"/>
                    </a:lnTo>
                    <a:lnTo>
                      <a:pt x="167" y="27"/>
                    </a:lnTo>
                    <a:lnTo>
                      <a:pt x="167" y="29"/>
                    </a:lnTo>
                    <a:lnTo>
                      <a:pt x="165" y="29"/>
                    </a:lnTo>
                    <a:lnTo>
                      <a:pt x="163" y="30"/>
                    </a:lnTo>
                    <a:lnTo>
                      <a:pt x="163" y="29"/>
                    </a:lnTo>
                    <a:lnTo>
                      <a:pt x="161" y="29"/>
                    </a:lnTo>
                    <a:lnTo>
                      <a:pt x="161" y="30"/>
                    </a:lnTo>
                    <a:lnTo>
                      <a:pt x="161" y="32"/>
                    </a:lnTo>
                    <a:lnTo>
                      <a:pt x="159" y="32"/>
                    </a:lnTo>
                    <a:lnTo>
                      <a:pt x="159" y="34"/>
                    </a:lnTo>
                    <a:lnTo>
                      <a:pt x="159" y="32"/>
                    </a:lnTo>
                    <a:lnTo>
                      <a:pt x="161" y="34"/>
                    </a:lnTo>
                    <a:lnTo>
                      <a:pt x="161" y="32"/>
                    </a:lnTo>
                    <a:lnTo>
                      <a:pt x="163" y="32"/>
                    </a:lnTo>
                    <a:lnTo>
                      <a:pt x="163" y="34"/>
                    </a:lnTo>
                    <a:lnTo>
                      <a:pt x="163" y="32"/>
                    </a:lnTo>
                    <a:lnTo>
                      <a:pt x="163" y="34"/>
                    </a:lnTo>
                    <a:lnTo>
                      <a:pt x="165" y="34"/>
                    </a:lnTo>
                    <a:lnTo>
                      <a:pt x="165" y="36"/>
                    </a:lnTo>
                    <a:lnTo>
                      <a:pt x="167" y="38"/>
                    </a:lnTo>
                    <a:lnTo>
                      <a:pt x="167" y="40"/>
                    </a:lnTo>
                    <a:lnTo>
                      <a:pt x="165" y="40"/>
                    </a:lnTo>
                    <a:lnTo>
                      <a:pt x="167" y="40"/>
                    </a:lnTo>
                    <a:lnTo>
                      <a:pt x="165" y="40"/>
                    </a:lnTo>
                    <a:lnTo>
                      <a:pt x="167" y="40"/>
                    </a:lnTo>
                    <a:lnTo>
                      <a:pt x="167" y="42"/>
                    </a:lnTo>
                    <a:lnTo>
                      <a:pt x="167" y="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0" name="Freeform 67"/>
              <p:cNvSpPr>
                <a:spLocks noEditPoints="1"/>
              </p:cNvSpPr>
              <p:nvPr/>
            </p:nvSpPr>
            <p:spPr bwMode="auto">
              <a:xfrm>
                <a:off x="1401592" y="1033019"/>
                <a:ext cx="344125" cy="469732"/>
              </a:xfrm>
              <a:custGeom>
                <a:avLst/>
                <a:gdLst>
                  <a:gd name="T0" fmla="*/ 6 w 200"/>
                  <a:gd name="T1" fmla="*/ 179 h 273"/>
                  <a:gd name="T2" fmla="*/ 6 w 200"/>
                  <a:gd name="T3" fmla="*/ 183 h 273"/>
                  <a:gd name="T4" fmla="*/ 8 w 200"/>
                  <a:gd name="T5" fmla="*/ 185 h 273"/>
                  <a:gd name="T6" fmla="*/ 6 w 200"/>
                  <a:gd name="T7" fmla="*/ 185 h 273"/>
                  <a:gd name="T8" fmla="*/ 6 w 200"/>
                  <a:gd name="T9" fmla="*/ 188 h 273"/>
                  <a:gd name="T10" fmla="*/ 2 w 200"/>
                  <a:gd name="T11" fmla="*/ 183 h 273"/>
                  <a:gd name="T12" fmla="*/ 0 w 200"/>
                  <a:gd name="T13" fmla="*/ 179 h 273"/>
                  <a:gd name="T14" fmla="*/ 0 w 200"/>
                  <a:gd name="T15" fmla="*/ 179 h 273"/>
                  <a:gd name="T16" fmla="*/ 2 w 200"/>
                  <a:gd name="T17" fmla="*/ 181 h 273"/>
                  <a:gd name="T18" fmla="*/ 4 w 200"/>
                  <a:gd name="T19" fmla="*/ 179 h 273"/>
                  <a:gd name="T20" fmla="*/ 29 w 200"/>
                  <a:gd name="T21" fmla="*/ 194 h 273"/>
                  <a:gd name="T22" fmla="*/ 2 w 200"/>
                  <a:gd name="T23" fmla="*/ 171 h 273"/>
                  <a:gd name="T24" fmla="*/ 4 w 200"/>
                  <a:gd name="T25" fmla="*/ 171 h 273"/>
                  <a:gd name="T26" fmla="*/ 17 w 200"/>
                  <a:gd name="T27" fmla="*/ 181 h 273"/>
                  <a:gd name="T28" fmla="*/ 17 w 200"/>
                  <a:gd name="T29" fmla="*/ 179 h 273"/>
                  <a:gd name="T30" fmla="*/ 2 w 200"/>
                  <a:gd name="T31" fmla="*/ 162 h 273"/>
                  <a:gd name="T32" fmla="*/ 6 w 200"/>
                  <a:gd name="T33" fmla="*/ 152 h 273"/>
                  <a:gd name="T34" fmla="*/ 4 w 200"/>
                  <a:gd name="T35" fmla="*/ 152 h 273"/>
                  <a:gd name="T36" fmla="*/ 4 w 200"/>
                  <a:gd name="T37" fmla="*/ 152 h 273"/>
                  <a:gd name="T38" fmla="*/ 192 w 200"/>
                  <a:gd name="T39" fmla="*/ 273 h 273"/>
                  <a:gd name="T40" fmla="*/ 6 w 200"/>
                  <a:gd name="T41" fmla="*/ 150 h 273"/>
                  <a:gd name="T42" fmla="*/ 6 w 200"/>
                  <a:gd name="T43" fmla="*/ 148 h 273"/>
                  <a:gd name="T44" fmla="*/ 4 w 200"/>
                  <a:gd name="T45" fmla="*/ 148 h 273"/>
                  <a:gd name="T46" fmla="*/ 6 w 200"/>
                  <a:gd name="T47" fmla="*/ 148 h 273"/>
                  <a:gd name="T48" fmla="*/ 9 w 200"/>
                  <a:gd name="T49" fmla="*/ 146 h 273"/>
                  <a:gd name="T50" fmla="*/ 9 w 200"/>
                  <a:gd name="T51" fmla="*/ 146 h 273"/>
                  <a:gd name="T52" fmla="*/ 8 w 200"/>
                  <a:gd name="T53" fmla="*/ 144 h 273"/>
                  <a:gd name="T54" fmla="*/ 6 w 200"/>
                  <a:gd name="T55" fmla="*/ 140 h 273"/>
                  <a:gd name="T56" fmla="*/ 4 w 200"/>
                  <a:gd name="T57" fmla="*/ 140 h 273"/>
                  <a:gd name="T58" fmla="*/ 196 w 200"/>
                  <a:gd name="T59" fmla="*/ 269 h 273"/>
                  <a:gd name="T60" fmla="*/ 4 w 200"/>
                  <a:gd name="T61" fmla="*/ 140 h 273"/>
                  <a:gd name="T62" fmla="*/ 2 w 200"/>
                  <a:gd name="T63" fmla="*/ 139 h 273"/>
                  <a:gd name="T64" fmla="*/ 198 w 200"/>
                  <a:gd name="T65" fmla="*/ 221 h 273"/>
                  <a:gd name="T66" fmla="*/ 200 w 200"/>
                  <a:gd name="T67" fmla="*/ 219 h 273"/>
                  <a:gd name="T68" fmla="*/ 188 w 200"/>
                  <a:gd name="T69" fmla="*/ 196 h 273"/>
                  <a:gd name="T70" fmla="*/ 186 w 200"/>
                  <a:gd name="T71" fmla="*/ 194 h 273"/>
                  <a:gd name="T72" fmla="*/ 184 w 200"/>
                  <a:gd name="T73" fmla="*/ 192 h 273"/>
                  <a:gd name="T74" fmla="*/ 173 w 200"/>
                  <a:gd name="T75" fmla="*/ 165 h 273"/>
                  <a:gd name="T76" fmla="*/ 167 w 200"/>
                  <a:gd name="T77" fmla="*/ 133 h 273"/>
                  <a:gd name="T78" fmla="*/ 165 w 200"/>
                  <a:gd name="T79" fmla="*/ 131 h 273"/>
                  <a:gd name="T80" fmla="*/ 165 w 200"/>
                  <a:gd name="T81" fmla="*/ 127 h 273"/>
                  <a:gd name="T82" fmla="*/ 155 w 200"/>
                  <a:gd name="T83" fmla="*/ 104 h 273"/>
                  <a:gd name="T84" fmla="*/ 154 w 200"/>
                  <a:gd name="T85" fmla="*/ 102 h 273"/>
                  <a:gd name="T86" fmla="*/ 102 w 200"/>
                  <a:gd name="T87" fmla="*/ 54 h 273"/>
                  <a:gd name="T88" fmla="*/ 102 w 200"/>
                  <a:gd name="T89" fmla="*/ 54 h 273"/>
                  <a:gd name="T90" fmla="*/ 127 w 200"/>
                  <a:gd name="T91" fmla="*/ 69 h 273"/>
                  <a:gd name="T92" fmla="*/ 127 w 200"/>
                  <a:gd name="T93" fmla="*/ 69 h 273"/>
                  <a:gd name="T94" fmla="*/ 94 w 200"/>
                  <a:gd name="T95" fmla="*/ 42 h 273"/>
                  <a:gd name="T96" fmla="*/ 121 w 200"/>
                  <a:gd name="T97" fmla="*/ 58 h 273"/>
                  <a:gd name="T98" fmla="*/ 121 w 200"/>
                  <a:gd name="T99" fmla="*/ 60 h 273"/>
                  <a:gd name="T100" fmla="*/ 117 w 200"/>
                  <a:gd name="T101" fmla="*/ 56 h 273"/>
                  <a:gd name="T102" fmla="*/ 119 w 200"/>
                  <a:gd name="T103" fmla="*/ 56 h 273"/>
                  <a:gd name="T104" fmla="*/ 100 w 200"/>
                  <a:gd name="T105" fmla="*/ 40 h 273"/>
                  <a:gd name="T106" fmla="*/ 98 w 200"/>
                  <a:gd name="T107" fmla="*/ 39 h 273"/>
                  <a:gd name="T108" fmla="*/ 100 w 200"/>
                  <a:gd name="T109" fmla="*/ 39 h 273"/>
                  <a:gd name="T110" fmla="*/ 104 w 200"/>
                  <a:gd name="T111" fmla="*/ 39 h 273"/>
                  <a:gd name="T112" fmla="*/ 90 w 200"/>
                  <a:gd name="T113" fmla="*/ 29 h 273"/>
                  <a:gd name="T114" fmla="*/ 94 w 200"/>
                  <a:gd name="T115" fmla="*/ 27 h 273"/>
                  <a:gd name="T116" fmla="*/ 86 w 200"/>
                  <a:gd name="T117" fmla="*/ 17 h 273"/>
                  <a:gd name="T118" fmla="*/ 86 w 200"/>
                  <a:gd name="T11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0" h="273">
                    <a:moveTo>
                      <a:pt x="69" y="244"/>
                    </a:moveTo>
                    <a:lnTo>
                      <a:pt x="67" y="244"/>
                    </a:lnTo>
                    <a:lnTo>
                      <a:pt x="69" y="244"/>
                    </a:lnTo>
                    <a:close/>
                    <a:moveTo>
                      <a:pt x="6" y="179"/>
                    </a:moveTo>
                    <a:lnTo>
                      <a:pt x="4" y="179"/>
                    </a:lnTo>
                    <a:lnTo>
                      <a:pt x="6" y="179"/>
                    </a:lnTo>
                    <a:lnTo>
                      <a:pt x="6" y="181"/>
                    </a:lnTo>
                    <a:lnTo>
                      <a:pt x="6" y="183"/>
                    </a:lnTo>
                    <a:lnTo>
                      <a:pt x="8" y="183"/>
                    </a:lnTo>
                    <a:lnTo>
                      <a:pt x="6" y="183"/>
                    </a:lnTo>
                    <a:lnTo>
                      <a:pt x="8" y="183"/>
                    </a:lnTo>
                    <a:lnTo>
                      <a:pt x="8" y="185"/>
                    </a:lnTo>
                    <a:lnTo>
                      <a:pt x="6" y="183"/>
                    </a:lnTo>
                    <a:lnTo>
                      <a:pt x="6" y="185"/>
                    </a:lnTo>
                    <a:lnTo>
                      <a:pt x="8" y="185"/>
                    </a:lnTo>
                    <a:lnTo>
                      <a:pt x="6" y="185"/>
                    </a:lnTo>
                    <a:lnTo>
                      <a:pt x="6" y="187"/>
                    </a:lnTo>
                    <a:lnTo>
                      <a:pt x="8" y="187"/>
                    </a:lnTo>
                    <a:lnTo>
                      <a:pt x="8" y="188"/>
                    </a:lnTo>
                    <a:lnTo>
                      <a:pt x="6" y="188"/>
                    </a:lnTo>
                    <a:lnTo>
                      <a:pt x="6" y="187"/>
                    </a:lnTo>
                    <a:lnTo>
                      <a:pt x="4" y="185"/>
                    </a:lnTo>
                    <a:lnTo>
                      <a:pt x="4" y="183"/>
                    </a:lnTo>
                    <a:lnTo>
                      <a:pt x="2" y="183"/>
                    </a:lnTo>
                    <a:lnTo>
                      <a:pt x="2" y="181"/>
                    </a:lnTo>
                    <a:lnTo>
                      <a:pt x="2" y="183"/>
                    </a:lnTo>
                    <a:lnTo>
                      <a:pt x="2" y="181"/>
                    </a:lnTo>
                    <a:lnTo>
                      <a:pt x="0" y="179"/>
                    </a:lnTo>
                    <a:lnTo>
                      <a:pt x="0" y="181"/>
                    </a:lnTo>
                    <a:lnTo>
                      <a:pt x="0" y="179"/>
                    </a:lnTo>
                    <a:lnTo>
                      <a:pt x="2" y="179"/>
                    </a:lnTo>
                    <a:lnTo>
                      <a:pt x="0" y="179"/>
                    </a:lnTo>
                    <a:lnTo>
                      <a:pt x="2" y="179"/>
                    </a:lnTo>
                    <a:lnTo>
                      <a:pt x="2" y="181"/>
                    </a:lnTo>
                    <a:lnTo>
                      <a:pt x="2" y="179"/>
                    </a:lnTo>
                    <a:lnTo>
                      <a:pt x="2" y="181"/>
                    </a:lnTo>
                    <a:lnTo>
                      <a:pt x="4" y="181"/>
                    </a:lnTo>
                    <a:lnTo>
                      <a:pt x="4" y="179"/>
                    </a:lnTo>
                    <a:lnTo>
                      <a:pt x="2" y="179"/>
                    </a:lnTo>
                    <a:lnTo>
                      <a:pt x="4" y="179"/>
                    </a:lnTo>
                    <a:lnTo>
                      <a:pt x="6" y="179"/>
                    </a:lnTo>
                    <a:lnTo>
                      <a:pt x="4" y="179"/>
                    </a:lnTo>
                    <a:lnTo>
                      <a:pt x="6" y="179"/>
                    </a:lnTo>
                    <a:close/>
                    <a:moveTo>
                      <a:pt x="29" y="194"/>
                    </a:moveTo>
                    <a:lnTo>
                      <a:pt x="27" y="196"/>
                    </a:lnTo>
                    <a:lnTo>
                      <a:pt x="27" y="194"/>
                    </a:lnTo>
                    <a:lnTo>
                      <a:pt x="29" y="194"/>
                    </a:lnTo>
                    <a:close/>
                    <a:moveTo>
                      <a:pt x="2" y="171"/>
                    </a:moveTo>
                    <a:lnTo>
                      <a:pt x="2" y="169"/>
                    </a:lnTo>
                    <a:lnTo>
                      <a:pt x="2" y="171"/>
                    </a:lnTo>
                    <a:close/>
                    <a:moveTo>
                      <a:pt x="2" y="171"/>
                    </a:moveTo>
                    <a:lnTo>
                      <a:pt x="4" y="171"/>
                    </a:lnTo>
                    <a:lnTo>
                      <a:pt x="2" y="171"/>
                    </a:lnTo>
                    <a:lnTo>
                      <a:pt x="2" y="169"/>
                    </a:lnTo>
                    <a:lnTo>
                      <a:pt x="2" y="171"/>
                    </a:lnTo>
                    <a:close/>
                    <a:moveTo>
                      <a:pt x="17" y="181"/>
                    </a:moveTo>
                    <a:lnTo>
                      <a:pt x="17" y="179"/>
                    </a:lnTo>
                    <a:lnTo>
                      <a:pt x="17" y="181"/>
                    </a:lnTo>
                    <a:close/>
                    <a:moveTo>
                      <a:pt x="17" y="181"/>
                    </a:moveTo>
                    <a:lnTo>
                      <a:pt x="17" y="179"/>
                    </a:lnTo>
                    <a:lnTo>
                      <a:pt x="17" y="181"/>
                    </a:lnTo>
                    <a:close/>
                    <a:moveTo>
                      <a:pt x="2" y="162"/>
                    </a:moveTo>
                    <a:lnTo>
                      <a:pt x="2" y="160"/>
                    </a:lnTo>
                    <a:lnTo>
                      <a:pt x="2" y="162"/>
                    </a:lnTo>
                    <a:close/>
                    <a:moveTo>
                      <a:pt x="2" y="152"/>
                    </a:moveTo>
                    <a:lnTo>
                      <a:pt x="4" y="152"/>
                    </a:lnTo>
                    <a:lnTo>
                      <a:pt x="2" y="152"/>
                    </a:lnTo>
                    <a:close/>
                    <a:moveTo>
                      <a:pt x="6" y="152"/>
                    </a:moveTo>
                    <a:lnTo>
                      <a:pt x="6" y="154"/>
                    </a:lnTo>
                    <a:lnTo>
                      <a:pt x="6" y="152"/>
                    </a:lnTo>
                    <a:close/>
                    <a:moveTo>
                      <a:pt x="6" y="152"/>
                    </a:moveTo>
                    <a:lnTo>
                      <a:pt x="4" y="152"/>
                    </a:lnTo>
                    <a:lnTo>
                      <a:pt x="6" y="152"/>
                    </a:lnTo>
                    <a:close/>
                    <a:moveTo>
                      <a:pt x="4" y="152"/>
                    </a:moveTo>
                    <a:lnTo>
                      <a:pt x="4" y="150"/>
                    </a:lnTo>
                    <a:lnTo>
                      <a:pt x="4" y="152"/>
                    </a:lnTo>
                    <a:close/>
                    <a:moveTo>
                      <a:pt x="6" y="152"/>
                    </a:moveTo>
                    <a:lnTo>
                      <a:pt x="6" y="150"/>
                    </a:lnTo>
                    <a:lnTo>
                      <a:pt x="6" y="152"/>
                    </a:lnTo>
                    <a:close/>
                    <a:moveTo>
                      <a:pt x="192" y="273"/>
                    </a:moveTo>
                    <a:lnTo>
                      <a:pt x="190" y="273"/>
                    </a:lnTo>
                    <a:lnTo>
                      <a:pt x="192" y="273"/>
                    </a:lnTo>
                    <a:close/>
                    <a:moveTo>
                      <a:pt x="8" y="150"/>
                    </a:moveTo>
                    <a:lnTo>
                      <a:pt x="6" y="150"/>
                    </a:lnTo>
                    <a:lnTo>
                      <a:pt x="6" y="148"/>
                    </a:lnTo>
                    <a:lnTo>
                      <a:pt x="8" y="148"/>
                    </a:lnTo>
                    <a:lnTo>
                      <a:pt x="8" y="150"/>
                    </a:lnTo>
                    <a:close/>
                    <a:moveTo>
                      <a:pt x="6" y="148"/>
                    </a:moveTo>
                    <a:lnTo>
                      <a:pt x="6" y="150"/>
                    </a:lnTo>
                    <a:lnTo>
                      <a:pt x="6" y="148"/>
                    </a:lnTo>
                    <a:lnTo>
                      <a:pt x="6" y="150"/>
                    </a:lnTo>
                    <a:lnTo>
                      <a:pt x="4" y="148"/>
                    </a:lnTo>
                    <a:lnTo>
                      <a:pt x="6" y="148"/>
                    </a:lnTo>
                    <a:close/>
                    <a:moveTo>
                      <a:pt x="6" y="146"/>
                    </a:moveTo>
                    <a:lnTo>
                      <a:pt x="8" y="148"/>
                    </a:lnTo>
                    <a:lnTo>
                      <a:pt x="6" y="148"/>
                    </a:lnTo>
                    <a:lnTo>
                      <a:pt x="6" y="146"/>
                    </a:lnTo>
                    <a:close/>
                    <a:moveTo>
                      <a:pt x="9" y="146"/>
                    </a:moveTo>
                    <a:lnTo>
                      <a:pt x="9" y="148"/>
                    </a:lnTo>
                    <a:lnTo>
                      <a:pt x="9" y="146"/>
                    </a:lnTo>
                    <a:lnTo>
                      <a:pt x="9" y="148"/>
                    </a:lnTo>
                    <a:lnTo>
                      <a:pt x="9" y="146"/>
                    </a:lnTo>
                    <a:lnTo>
                      <a:pt x="11" y="146"/>
                    </a:lnTo>
                    <a:lnTo>
                      <a:pt x="9" y="146"/>
                    </a:lnTo>
                    <a:close/>
                    <a:moveTo>
                      <a:pt x="6" y="142"/>
                    </a:moveTo>
                    <a:lnTo>
                      <a:pt x="6" y="144"/>
                    </a:lnTo>
                    <a:lnTo>
                      <a:pt x="6" y="142"/>
                    </a:lnTo>
                    <a:close/>
                    <a:moveTo>
                      <a:pt x="8" y="144"/>
                    </a:moveTo>
                    <a:lnTo>
                      <a:pt x="8" y="142"/>
                    </a:lnTo>
                    <a:lnTo>
                      <a:pt x="8" y="144"/>
                    </a:lnTo>
                    <a:close/>
                    <a:moveTo>
                      <a:pt x="4" y="140"/>
                    </a:moveTo>
                    <a:lnTo>
                      <a:pt x="6" y="140"/>
                    </a:lnTo>
                    <a:lnTo>
                      <a:pt x="4" y="142"/>
                    </a:lnTo>
                    <a:lnTo>
                      <a:pt x="6" y="142"/>
                    </a:lnTo>
                    <a:lnTo>
                      <a:pt x="4" y="142"/>
                    </a:lnTo>
                    <a:lnTo>
                      <a:pt x="4" y="140"/>
                    </a:lnTo>
                    <a:lnTo>
                      <a:pt x="4" y="142"/>
                    </a:lnTo>
                    <a:lnTo>
                      <a:pt x="4" y="140"/>
                    </a:lnTo>
                    <a:close/>
                    <a:moveTo>
                      <a:pt x="194" y="269"/>
                    </a:moveTo>
                    <a:lnTo>
                      <a:pt x="196" y="269"/>
                    </a:lnTo>
                    <a:lnTo>
                      <a:pt x="194" y="269"/>
                    </a:lnTo>
                    <a:close/>
                    <a:moveTo>
                      <a:pt x="4" y="140"/>
                    </a:moveTo>
                    <a:lnTo>
                      <a:pt x="4" y="139"/>
                    </a:lnTo>
                    <a:lnTo>
                      <a:pt x="4" y="140"/>
                    </a:lnTo>
                    <a:close/>
                    <a:moveTo>
                      <a:pt x="4" y="139"/>
                    </a:moveTo>
                    <a:lnTo>
                      <a:pt x="2" y="139"/>
                    </a:lnTo>
                    <a:lnTo>
                      <a:pt x="4" y="139"/>
                    </a:lnTo>
                    <a:lnTo>
                      <a:pt x="2" y="139"/>
                    </a:lnTo>
                    <a:lnTo>
                      <a:pt x="4" y="139"/>
                    </a:lnTo>
                    <a:close/>
                    <a:moveTo>
                      <a:pt x="200" y="219"/>
                    </a:moveTo>
                    <a:lnTo>
                      <a:pt x="200" y="221"/>
                    </a:lnTo>
                    <a:lnTo>
                      <a:pt x="198" y="221"/>
                    </a:lnTo>
                    <a:lnTo>
                      <a:pt x="198" y="219"/>
                    </a:lnTo>
                    <a:lnTo>
                      <a:pt x="198" y="221"/>
                    </a:lnTo>
                    <a:lnTo>
                      <a:pt x="198" y="219"/>
                    </a:lnTo>
                    <a:lnTo>
                      <a:pt x="200" y="219"/>
                    </a:lnTo>
                    <a:close/>
                    <a:moveTo>
                      <a:pt x="186" y="198"/>
                    </a:moveTo>
                    <a:lnTo>
                      <a:pt x="186" y="196"/>
                    </a:lnTo>
                    <a:lnTo>
                      <a:pt x="186" y="198"/>
                    </a:lnTo>
                    <a:close/>
                    <a:moveTo>
                      <a:pt x="188" y="196"/>
                    </a:moveTo>
                    <a:lnTo>
                      <a:pt x="186" y="196"/>
                    </a:lnTo>
                    <a:lnTo>
                      <a:pt x="188" y="196"/>
                    </a:lnTo>
                    <a:close/>
                    <a:moveTo>
                      <a:pt x="188" y="194"/>
                    </a:moveTo>
                    <a:lnTo>
                      <a:pt x="186" y="194"/>
                    </a:lnTo>
                    <a:lnTo>
                      <a:pt x="188" y="194"/>
                    </a:lnTo>
                    <a:close/>
                    <a:moveTo>
                      <a:pt x="186" y="192"/>
                    </a:moveTo>
                    <a:lnTo>
                      <a:pt x="186" y="194"/>
                    </a:lnTo>
                    <a:lnTo>
                      <a:pt x="184" y="192"/>
                    </a:lnTo>
                    <a:lnTo>
                      <a:pt x="186" y="192"/>
                    </a:lnTo>
                    <a:close/>
                    <a:moveTo>
                      <a:pt x="175" y="163"/>
                    </a:moveTo>
                    <a:lnTo>
                      <a:pt x="175" y="165"/>
                    </a:lnTo>
                    <a:lnTo>
                      <a:pt x="173" y="165"/>
                    </a:lnTo>
                    <a:lnTo>
                      <a:pt x="173" y="163"/>
                    </a:lnTo>
                    <a:lnTo>
                      <a:pt x="175" y="163"/>
                    </a:lnTo>
                    <a:close/>
                    <a:moveTo>
                      <a:pt x="167" y="131"/>
                    </a:moveTo>
                    <a:lnTo>
                      <a:pt x="167" y="133"/>
                    </a:lnTo>
                    <a:lnTo>
                      <a:pt x="167" y="131"/>
                    </a:lnTo>
                    <a:close/>
                    <a:moveTo>
                      <a:pt x="165" y="131"/>
                    </a:moveTo>
                    <a:lnTo>
                      <a:pt x="165" y="129"/>
                    </a:lnTo>
                    <a:lnTo>
                      <a:pt x="165" y="131"/>
                    </a:lnTo>
                    <a:close/>
                    <a:moveTo>
                      <a:pt x="165" y="127"/>
                    </a:moveTo>
                    <a:lnTo>
                      <a:pt x="165" y="129"/>
                    </a:lnTo>
                    <a:lnTo>
                      <a:pt x="163" y="127"/>
                    </a:lnTo>
                    <a:lnTo>
                      <a:pt x="165" y="127"/>
                    </a:lnTo>
                    <a:close/>
                    <a:moveTo>
                      <a:pt x="154" y="102"/>
                    </a:moveTo>
                    <a:lnTo>
                      <a:pt x="154" y="104"/>
                    </a:lnTo>
                    <a:lnTo>
                      <a:pt x="154" y="102"/>
                    </a:lnTo>
                    <a:lnTo>
                      <a:pt x="155" y="104"/>
                    </a:lnTo>
                    <a:lnTo>
                      <a:pt x="154" y="104"/>
                    </a:lnTo>
                    <a:lnTo>
                      <a:pt x="154" y="102"/>
                    </a:lnTo>
                    <a:lnTo>
                      <a:pt x="154" y="100"/>
                    </a:lnTo>
                    <a:lnTo>
                      <a:pt x="154" y="102"/>
                    </a:lnTo>
                    <a:close/>
                    <a:moveTo>
                      <a:pt x="142" y="92"/>
                    </a:moveTo>
                    <a:lnTo>
                      <a:pt x="142" y="94"/>
                    </a:lnTo>
                    <a:lnTo>
                      <a:pt x="142" y="92"/>
                    </a:lnTo>
                    <a:close/>
                    <a:moveTo>
                      <a:pt x="102" y="54"/>
                    </a:moveTo>
                    <a:lnTo>
                      <a:pt x="102" y="56"/>
                    </a:lnTo>
                    <a:lnTo>
                      <a:pt x="102" y="54"/>
                    </a:lnTo>
                    <a:lnTo>
                      <a:pt x="100" y="54"/>
                    </a:lnTo>
                    <a:lnTo>
                      <a:pt x="102" y="54"/>
                    </a:lnTo>
                    <a:close/>
                    <a:moveTo>
                      <a:pt x="98" y="50"/>
                    </a:moveTo>
                    <a:lnTo>
                      <a:pt x="100" y="50"/>
                    </a:lnTo>
                    <a:lnTo>
                      <a:pt x="98" y="50"/>
                    </a:lnTo>
                    <a:close/>
                    <a:moveTo>
                      <a:pt x="127" y="69"/>
                    </a:moveTo>
                    <a:lnTo>
                      <a:pt x="127" y="71"/>
                    </a:lnTo>
                    <a:lnTo>
                      <a:pt x="129" y="71"/>
                    </a:lnTo>
                    <a:lnTo>
                      <a:pt x="127" y="71"/>
                    </a:lnTo>
                    <a:lnTo>
                      <a:pt x="127" y="69"/>
                    </a:lnTo>
                    <a:lnTo>
                      <a:pt x="125" y="69"/>
                    </a:lnTo>
                    <a:lnTo>
                      <a:pt x="127" y="69"/>
                    </a:lnTo>
                    <a:close/>
                    <a:moveTo>
                      <a:pt x="92" y="42"/>
                    </a:moveTo>
                    <a:lnTo>
                      <a:pt x="94" y="42"/>
                    </a:lnTo>
                    <a:lnTo>
                      <a:pt x="92" y="42"/>
                    </a:lnTo>
                    <a:close/>
                    <a:moveTo>
                      <a:pt x="119" y="56"/>
                    </a:moveTo>
                    <a:lnTo>
                      <a:pt x="121" y="56"/>
                    </a:lnTo>
                    <a:lnTo>
                      <a:pt x="121" y="58"/>
                    </a:lnTo>
                    <a:lnTo>
                      <a:pt x="123" y="60"/>
                    </a:lnTo>
                    <a:lnTo>
                      <a:pt x="123" y="62"/>
                    </a:lnTo>
                    <a:lnTo>
                      <a:pt x="121" y="62"/>
                    </a:lnTo>
                    <a:lnTo>
                      <a:pt x="121" y="60"/>
                    </a:lnTo>
                    <a:lnTo>
                      <a:pt x="119" y="60"/>
                    </a:lnTo>
                    <a:lnTo>
                      <a:pt x="117" y="60"/>
                    </a:lnTo>
                    <a:lnTo>
                      <a:pt x="117" y="58"/>
                    </a:lnTo>
                    <a:lnTo>
                      <a:pt x="117" y="56"/>
                    </a:lnTo>
                    <a:lnTo>
                      <a:pt x="115" y="56"/>
                    </a:lnTo>
                    <a:lnTo>
                      <a:pt x="117" y="54"/>
                    </a:lnTo>
                    <a:lnTo>
                      <a:pt x="119" y="54"/>
                    </a:lnTo>
                    <a:lnTo>
                      <a:pt x="119" y="56"/>
                    </a:lnTo>
                    <a:close/>
                    <a:moveTo>
                      <a:pt x="102" y="40"/>
                    </a:moveTo>
                    <a:lnTo>
                      <a:pt x="104" y="40"/>
                    </a:lnTo>
                    <a:lnTo>
                      <a:pt x="102" y="40"/>
                    </a:lnTo>
                    <a:lnTo>
                      <a:pt x="100" y="40"/>
                    </a:lnTo>
                    <a:lnTo>
                      <a:pt x="98" y="40"/>
                    </a:lnTo>
                    <a:lnTo>
                      <a:pt x="98" y="39"/>
                    </a:lnTo>
                    <a:lnTo>
                      <a:pt x="98" y="40"/>
                    </a:lnTo>
                    <a:lnTo>
                      <a:pt x="98" y="39"/>
                    </a:lnTo>
                    <a:lnTo>
                      <a:pt x="100" y="40"/>
                    </a:lnTo>
                    <a:lnTo>
                      <a:pt x="100" y="39"/>
                    </a:lnTo>
                    <a:lnTo>
                      <a:pt x="100" y="40"/>
                    </a:lnTo>
                    <a:lnTo>
                      <a:pt x="100" y="39"/>
                    </a:lnTo>
                    <a:lnTo>
                      <a:pt x="100" y="40"/>
                    </a:lnTo>
                    <a:lnTo>
                      <a:pt x="102" y="40"/>
                    </a:lnTo>
                    <a:lnTo>
                      <a:pt x="102" y="39"/>
                    </a:lnTo>
                    <a:lnTo>
                      <a:pt x="104" y="39"/>
                    </a:lnTo>
                    <a:lnTo>
                      <a:pt x="102" y="40"/>
                    </a:lnTo>
                    <a:close/>
                    <a:moveTo>
                      <a:pt x="90" y="29"/>
                    </a:moveTo>
                    <a:lnTo>
                      <a:pt x="88" y="29"/>
                    </a:lnTo>
                    <a:lnTo>
                      <a:pt x="90" y="29"/>
                    </a:lnTo>
                    <a:close/>
                    <a:moveTo>
                      <a:pt x="100" y="35"/>
                    </a:moveTo>
                    <a:lnTo>
                      <a:pt x="98" y="35"/>
                    </a:lnTo>
                    <a:lnTo>
                      <a:pt x="100" y="35"/>
                    </a:lnTo>
                    <a:close/>
                    <a:moveTo>
                      <a:pt x="94" y="27"/>
                    </a:moveTo>
                    <a:lnTo>
                      <a:pt x="92" y="29"/>
                    </a:lnTo>
                    <a:lnTo>
                      <a:pt x="92" y="27"/>
                    </a:lnTo>
                    <a:lnTo>
                      <a:pt x="94" y="27"/>
                    </a:lnTo>
                    <a:close/>
                    <a:moveTo>
                      <a:pt x="86" y="17"/>
                    </a:moveTo>
                    <a:lnTo>
                      <a:pt x="86" y="15"/>
                    </a:lnTo>
                    <a:lnTo>
                      <a:pt x="88" y="17"/>
                    </a:lnTo>
                    <a:lnTo>
                      <a:pt x="86" y="17"/>
                    </a:lnTo>
                    <a:close/>
                    <a:moveTo>
                      <a:pt x="86" y="0"/>
                    </a:moveTo>
                    <a:lnTo>
                      <a:pt x="88" y="0"/>
                    </a:lnTo>
                    <a:lnTo>
                      <a:pt x="86"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1" name="Freeform 68"/>
              <p:cNvSpPr>
                <a:spLocks noEditPoints="1"/>
              </p:cNvSpPr>
              <p:nvPr/>
            </p:nvSpPr>
            <p:spPr bwMode="auto">
              <a:xfrm>
                <a:off x="1394709" y="1029578"/>
                <a:ext cx="347567" cy="498981"/>
              </a:xfrm>
              <a:custGeom>
                <a:avLst/>
                <a:gdLst>
                  <a:gd name="T0" fmla="*/ 108 w 202"/>
                  <a:gd name="T1" fmla="*/ 289 h 290"/>
                  <a:gd name="T2" fmla="*/ 71 w 202"/>
                  <a:gd name="T3" fmla="*/ 246 h 290"/>
                  <a:gd name="T4" fmla="*/ 12 w 202"/>
                  <a:gd name="T5" fmla="*/ 190 h 290"/>
                  <a:gd name="T6" fmla="*/ 4 w 202"/>
                  <a:gd name="T7" fmla="*/ 179 h 290"/>
                  <a:gd name="T8" fmla="*/ 6 w 202"/>
                  <a:gd name="T9" fmla="*/ 181 h 290"/>
                  <a:gd name="T10" fmla="*/ 12 w 202"/>
                  <a:gd name="T11" fmla="*/ 187 h 290"/>
                  <a:gd name="T12" fmla="*/ 2 w 202"/>
                  <a:gd name="T13" fmla="*/ 177 h 290"/>
                  <a:gd name="T14" fmla="*/ 0 w 202"/>
                  <a:gd name="T15" fmla="*/ 177 h 290"/>
                  <a:gd name="T16" fmla="*/ 0 w 202"/>
                  <a:gd name="T17" fmla="*/ 175 h 290"/>
                  <a:gd name="T18" fmla="*/ 10 w 202"/>
                  <a:gd name="T19" fmla="*/ 179 h 290"/>
                  <a:gd name="T20" fmla="*/ 21 w 202"/>
                  <a:gd name="T21" fmla="*/ 185 h 290"/>
                  <a:gd name="T22" fmla="*/ 29 w 202"/>
                  <a:gd name="T23" fmla="*/ 190 h 290"/>
                  <a:gd name="T24" fmla="*/ 25 w 202"/>
                  <a:gd name="T25" fmla="*/ 187 h 290"/>
                  <a:gd name="T26" fmla="*/ 21 w 202"/>
                  <a:gd name="T27" fmla="*/ 181 h 290"/>
                  <a:gd name="T28" fmla="*/ 19 w 202"/>
                  <a:gd name="T29" fmla="*/ 179 h 290"/>
                  <a:gd name="T30" fmla="*/ 4 w 202"/>
                  <a:gd name="T31" fmla="*/ 169 h 290"/>
                  <a:gd name="T32" fmla="*/ 23 w 202"/>
                  <a:gd name="T33" fmla="*/ 185 h 290"/>
                  <a:gd name="T34" fmla="*/ 4 w 202"/>
                  <a:gd name="T35" fmla="*/ 167 h 290"/>
                  <a:gd name="T36" fmla="*/ 2 w 202"/>
                  <a:gd name="T37" fmla="*/ 165 h 290"/>
                  <a:gd name="T38" fmla="*/ 8 w 202"/>
                  <a:gd name="T39" fmla="*/ 169 h 290"/>
                  <a:gd name="T40" fmla="*/ 2 w 202"/>
                  <a:gd name="T41" fmla="*/ 167 h 290"/>
                  <a:gd name="T42" fmla="*/ 181 w 202"/>
                  <a:gd name="T43" fmla="*/ 287 h 290"/>
                  <a:gd name="T44" fmla="*/ 21 w 202"/>
                  <a:gd name="T45" fmla="*/ 179 h 290"/>
                  <a:gd name="T46" fmla="*/ 23 w 202"/>
                  <a:gd name="T47" fmla="*/ 177 h 290"/>
                  <a:gd name="T48" fmla="*/ 23 w 202"/>
                  <a:gd name="T49" fmla="*/ 179 h 290"/>
                  <a:gd name="T50" fmla="*/ 15 w 202"/>
                  <a:gd name="T51" fmla="*/ 173 h 290"/>
                  <a:gd name="T52" fmla="*/ 23 w 202"/>
                  <a:gd name="T53" fmla="*/ 175 h 290"/>
                  <a:gd name="T54" fmla="*/ 23 w 202"/>
                  <a:gd name="T55" fmla="*/ 175 h 290"/>
                  <a:gd name="T56" fmla="*/ 12 w 202"/>
                  <a:gd name="T57" fmla="*/ 158 h 290"/>
                  <a:gd name="T58" fmla="*/ 8 w 202"/>
                  <a:gd name="T59" fmla="*/ 154 h 290"/>
                  <a:gd name="T60" fmla="*/ 10 w 202"/>
                  <a:gd name="T61" fmla="*/ 154 h 290"/>
                  <a:gd name="T62" fmla="*/ 10 w 202"/>
                  <a:gd name="T63" fmla="*/ 146 h 290"/>
                  <a:gd name="T64" fmla="*/ 8 w 202"/>
                  <a:gd name="T65" fmla="*/ 144 h 290"/>
                  <a:gd name="T66" fmla="*/ 10 w 202"/>
                  <a:gd name="T67" fmla="*/ 146 h 290"/>
                  <a:gd name="T68" fmla="*/ 15 w 202"/>
                  <a:gd name="T69" fmla="*/ 148 h 290"/>
                  <a:gd name="T70" fmla="*/ 15 w 202"/>
                  <a:gd name="T71" fmla="*/ 148 h 290"/>
                  <a:gd name="T72" fmla="*/ 13 w 202"/>
                  <a:gd name="T73" fmla="*/ 148 h 290"/>
                  <a:gd name="T74" fmla="*/ 10 w 202"/>
                  <a:gd name="T75" fmla="*/ 144 h 290"/>
                  <a:gd name="T76" fmla="*/ 10 w 202"/>
                  <a:gd name="T77" fmla="*/ 142 h 290"/>
                  <a:gd name="T78" fmla="*/ 202 w 202"/>
                  <a:gd name="T79" fmla="*/ 215 h 290"/>
                  <a:gd name="T80" fmla="*/ 200 w 202"/>
                  <a:gd name="T81" fmla="*/ 212 h 290"/>
                  <a:gd name="T82" fmla="*/ 192 w 202"/>
                  <a:gd name="T83" fmla="*/ 200 h 290"/>
                  <a:gd name="T84" fmla="*/ 188 w 202"/>
                  <a:gd name="T85" fmla="*/ 194 h 290"/>
                  <a:gd name="T86" fmla="*/ 186 w 202"/>
                  <a:gd name="T87" fmla="*/ 190 h 290"/>
                  <a:gd name="T88" fmla="*/ 184 w 202"/>
                  <a:gd name="T89" fmla="*/ 175 h 290"/>
                  <a:gd name="T90" fmla="*/ 179 w 202"/>
                  <a:gd name="T91" fmla="*/ 165 h 290"/>
                  <a:gd name="T92" fmla="*/ 173 w 202"/>
                  <a:gd name="T93" fmla="*/ 142 h 290"/>
                  <a:gd name="T94" fmla="*/ 60 w 202"/>
                  <a:gd name="T95" fmla="*/ 62 h 290"/>
                  <a:gd name="T96" fmla="*/ 63 w 202"/>
                  <a:gd name="T97" fmla="*/ 62 h 290"/>
                  <a:gd name="T98" fmla="*/ 169 w 202"/>
                  <a:gd name="T99" fmla="*/ 135 h 290"/>
                  <a:gd name="T100" fmla="*/ 171 w 202"/>
                  <a:gd name="T101" fmla="*/ 137 h 290"/>
                  <a:gd name="T102" fmla="*/ 163 w 202"/>
                  <a:gd name="T103" fmla="*/ 117 h 290"/>
                  <a:gd name="T104" fmla="*/ 161 w 202"/>
                  <a:gd name="T105" fmla="*/ 117 h 290"/>
                  <a:gd name="T106" fmla="*/ 158 w 202"/>
                  <a:gd name="T107" fmla="*/ 104 h 290"/>
                  <a:gd name="T108" fmla="*/ 152 w 202"/>
                  <a:gd name="T109" fmla="*/ 94 h 290"/>
                  <a:gd name="T110" fmla="*/ 136 w 202"/>
                  <a:gd name="T111" fmla="*/ 85 h 290"/>
                  <a:gd name="T112" fmla="*/ 152 w 202"/>
                  <a:gd name="T113" fmla="*/ 92 h 290"/>
                  <a:gd name="T114" fmla="*/ 152 w 202"/>
                  <a:gd name="T115" fmla="*/ 91 h 290"/>
                  <a:gd name="T116" fmla="*/ 150 w 202"/>
                  <a:gd name="T117" fmla="*/ 91 h 290"/>
                  <a:gd name="T118" fmla="*/ 108 w 202"/>
                  <a:gd name="T119" fmla="*/ 54 h 290"/>
                  <a:gd name="T120" fmla="*/ 79 w 202"/>
                  <a:gd name="T121" fmla="*/ 2 h 290"/>
                  <a:gd name="T122" fmla="*/ 111 w 202"/>
                  <a:gd name="T123" fmla="*/ 2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2" h="290">
                    <a:moveTo>
                      <a:pt x="108" y="289"/>
                    </a:moveTo>
                    <a:lnTo>
                      <a:pt x="106" y="289"/>
                    </a:lnTo>
                    <a:lnTo>
                      <a:pt x="108" y="289"/>
                    </a:lnTo>
                    <a:close/>
                    <a:moveTo>
                      <a:pt x="108" y="289"/>
                    </a:moveTo>
                    <a:lnTo>
                      <a:pt x="108" y="290"/>
                    </a:lnTo>
                    <a:lnTo>
                      <a:pt x="108" y="289"/>
                    </a:lnTo>
                    <a:close/>
                    <a:moveTo>
                      <a:pt x="71" y="244"/>
                    </a:moveTo>
                    <a:lnTo>
                      <a:pt x="71" y="246"/>
                    </a:lnTo>
                    <a:lnTo>
                      <a:pt x="71" y="244"/>
                    </a:lnTo>
                    <a:close/>
                    <a:moveTo>
                      <a:pt x="12" y="190"/>
                    </a:moveTo>
                    <a:lnTo>
                      <a:pt x="10" y="190"/>
                    </a:lnTo>
                    <a:lnTo>
                      <a:pt x="12" y="190"/>
                    </a:lnTo>
                    <a:close/>
                    <a:moveTo>
                      <a:pt x="12" y="190"/>
                    </a:moveTo>
                    <a:lnTo>
                      <a:pt x="12" y="189"/>
                    </a:lnTo>
                    <a:lnTo>
                      <a:pt x="12" y="190"/>
                    </a:lnTo>
                    <a:close/>
                    <a:moveTo>
                      <a:pt x="4" y="179"/>
                    </a:moveTo>
                    <a:lnTo>
                      <a:pt x="2" y="181"/>
                    </a:lnTo>
                    <a:lnTo>
                      <a:pt x="4" y="179"/>
                    </a:lnTo>
                    <a:close/>
                    <a:moveTo>
                      <a:pt x="6" y="183"/>
                    </a:moveTo>
                    <a:lnTo>
                      <a:pt x="6" y="181"/>
                    </a:lnTo>
                    <a:lnTo>
                      <a:pt x="6" y="183"/>
                    </a:lnTo>
                    <a:close/>
                    <a:moveTo>
                      <a:pt x="12" y="187"/>
                    </a:moveTo>
                    <a:lnTo>
                      <a:pt x="12" y="185"/>
                    </a:lnTo>
                    <a:lnTo>
                      <a:pt x="12" y="187"/>
                    </a:lnTo>
                    <a:close/>
                    <a:moveTo>
                      <a:pt x="8" y="181"/>
                    </a:moveTo>
                    <a:lnTo>
                      <a:pt x="6" y="181"/>
                    </a:lnTo>
                    <a:lnTo>
                      <a:pt x="8" y="181"/>
                    </a:lnTo>
                    <a:close/>
                    <a:moveTo>
                      <a:pt x="2" y="177"/>
                    </a:moveTo>
                    <a:lnTo>
                      <a:pt x="2" y="179"/>
                    </a:lnTo>
                    <a:lnTo>
                      <a:pt x="2" y="177"/>
                    </a:lnTo>
                    <a:close/>
                    <a:moveTo>
                      <a:pt x="0" y="175"/>
                    </a:moveTo>
                    <a:lnTo>
                      <a:pt x="0" y="177"/>
                    </a:lnTo>
                    <a:lnTo>
                      <a:pt x="0" y="175"/>
                    </a:lnTo>
                    <a:close/>
                    <a:moveTo>
                      <a:pt x="0" y="175"/>
                    </a:moveTo>
                    <a:lnTo>
                      <a:pt x="0" y="177"/>
                    </a:lnTo>
                    <a:lnTo>
                      <a:pt x="0" y="175"/>
                    </a:lnTo>
                    <a:close/>
                    <a:moveTo>
                      <a:pt x="6" y="179"/>
                    </a:moveTo>
                    <a:lnTo>
                      <a:pt x="6" y="181"/>
                    </a:lnTo>
                    <a:lnTo>
                      <a:pt x="6" y="179"/>
                    </a:lnTo>
                    <a:close/>
                    <a:moveTo>
                      <a:pt x="10" y="179"/>
                    </a:moveTo>
                    <a:lnTo>
                      <a:pt x="10" y="181"/>
                    </a:lnTo>
                    <a:lnTo>
                      <a:pt x="10" y="179"/>
                    </a:lnTo>
                    <a:close/>
                    <a:moveTo>
                      <a:pt x="21" y="187"/>
                    </a:moveTo>
                    <a:lnTo>
                      <a:pt x="21" y="185"/>
                    </a:lnTo>
                    <a:lnTo>
                      <a:pt x="21" y="187"/>
                    </a:lnTo>
                    <a:close/>
                    <a:moveTo>
                      <a:pt x="31" y="190"/>
                    </a:moveTo>
                    <a:lnTo>
                      <a:pt x="29" y="192"/>
                    </a:lnTo>
                    <a:lnTo>
                      <a:pt x="29" y="190"/>
                    </a:lnTo>
                    <a:lnTo>
                      <a:pt x="31" y="190"/>
                    </a:lnTo>
                    <a:close/>
                    <a:moveTo>
                      <a:pt x="25" y="187"/>
                    </a:moveTo>
                    <a:lnTo>
                      <a:pt x="23" y="187"/>
                    </a:lnTo>
                    <a:lnTo>
                      <a:pt x="25" y="187"/>
                    </a:lnTo>
                    <a:close/>
                    <a:moveTo>
                      <a:pt x="6" y="171"/>
                    </a:moveTo>
                    <a:lnTo>
                      <a:pt x="4" y="171"/>
                    </a:lnTo>
                    <a:lnTo>
                      <a:pt x="6" y="171"/>
                    </a:lnTo>
                    <a:close/>
                    <a:moveTo>
                      <a:pt x="21" y="181"/>
                    </a:moveTo>
                    <a:lnTo>
                      <a:pt x="19" y="183"/>
                    </a:lnTo>
                    <a:lnTo>
                      <a:pt x="19" y="181"/>
                    </a:lnTo>
                    <a:lnTo>
                      <a:pt x="21" y="181"/>
                    </a:lnTo>
                    <a:close/>
                    <a:moveTo>
                      <a:pt x="19" y="179"/>
                    </a:moveTo>
                    <a:lnTo>
                      <a:pt x="17" y="179"/>
                    </a:lnTo>
                    <a:lnTo>
                      <a:pt x="19" y="179"/>
                    </a:lnTo>
                    <a:close/>
                    <a:moveTo>
                      <a:pt x="6" y="169"/>
                    </a:moveTo>
                    <a:lnTo>
                      <a:pt x="4" y="169"/>
                    </a:lnTo>
                    <a:lnTo>
                      <a:pt x="6" y="169"/>
                    </a:lnTo>
                    <a:close/>
                    <a:moveTo>
                      <a:pt x="23" y="185"/>
                    </a:moveTo>
                    <a:lnTo>
                      <a:pt x="23" y="183"/>
                    </a:lnTo>
                    <a:lnTo>
                      <a:pt x="23" y="185"/>
                    </a:lnTo>
                    <a:close/>
                    <a:moveTo>
                      <a:pt x="25" y="185"/>
                    </a:moveTo>
                    <a:lnTo>
                      <a:pt x="25" y="183"/>
                    </a:lnTo>
                    <a:lnTo>
                      <a:pt x="25" y="185"/>
                    </a:lnTo>
                    <a:close/>
                    <a:moveTo>
                      <a:pt x="4" y="167"/>
                    </a:moveTo>
                    <a:lnTo>
                      <a:pt x="2" y="167"/>
                    </a:lnTo>
                    <a:lnTo>
                      <a:pt x="4" y="167"/>
                    </a:lnTo>
                    <a:close/>
                    <a:moveTo>
                      <a:pt x="2" y="167"/>
                    </a:moveTo>
                    <a:lnTo>
                      <a:pt x="2" y="165"/>
                    </a:lnTo>
                    <a:lnTo>
                      <a:pt x="2" y="167"/>
                    </a:lnTo>
                    <a:close/>
                    <a:moveTo>
                      <a:pt x="8" y="169"/>
                    </a:moveTo>
                    <a:lnTo>
                      <a:pt x="8" y="171"/>
                    </a:lnTo>
                    <a:lnTo>
                      <a:pt x="8" y="169"/>
                    </a:lnTo>
                    <a:lnTo>
                      <a:pt x="8" y="171"/>
                    </a:lnTo>
                    <a:lnTo>
                      <a:pt x="8" y="169"/>
                    </a:lnTo>
                    <a:close/>
                    <a:moveTo>
                      <a:pt x="4" y="167"/>
                    </a:moveTo>
                    <a:lnTo>
                      <a:pt x="2" y="167"/>
                    </a:lnTo>
                    <a:lnTo>
                      <a:pt x="2" y="165"/>
                    </a:lnTo>
                    <a:lnTo>
                      <a:pt x="4" y="167"/>
                    </a:lnTo>
                    <a:close/>
                    <a:moveTo>
                      <a:pt x="181" y="285"/>
                    </a:moveTo>
                    <a:lnTo>
                      <a:pt x="181" y="287"/>
                    </a:lnTo>
                    <a:lnTo>
                      <a:pt x="181" y="285"/>
                    </a:lnTo>
                    <a:close/>
                    <a:moveTo>
                      <a:pt x="21" y="179"/>
                    </a:moveTo>
                    <a:lnTo>
                      <a:pt x="21" y="177"/>
                    </a:lnTo>
                    <a:lnTo>
                      <a:pt x="21" y="179"/>
                    </a:lnTo>
                    <a:close/>
                    <a:moveTo>
                      <a:pt x="23" y="177"/>
                    </a:moveTo>
                    <a:lnTo>
                      <a:pt x="21" y="177"/>
                    </a:lnTo>
                    <a:lnTo>
                      <a:pt x="23" y="177"/>
                    </a:lnTo>
                    <a:close/>
                    <a:moveTo>
                      <a:pt x="23" y="177"/>
                    </a:moveTo>
                    <a:lnTo>
                      <a:pt x="23" y="179"/>
                    </a:lnTo>
                    <a:lnTo>
                      <a:pt x="23" y="177"/>
                    </a:lnTo>
                    <a:close/>
                    <a:moveTo>
                      <a:pt x="23" y="177"/>
                    </a:moveTo>
                    <a:lnTo>
                      <a:pt x="23" y="179"/>
                    </a:lnTo>
                    <a:lnTo>
                      <a:pt x="23" y="177"/>
                    </a:lnTo>
                    <a:close/>
                    <a:moveTo>
                      <a:pt x="15" y="173"/>
                    </a:moveTo>
                    <a:lnTo>
                      <a:pt x="15" y="171"/>
                    </a:lnTo>
                    <a:lnTo>
                      <a:pt x="15" y="173"/>
                    </a:lnTo>
                    <a:close/>
                    <a:moveTo>
                      <a:pt x="23" y="177"/>
                    </a:moveTo>
                    <a:lnTo>
                      <a:pt x="21" y="177"/>
                    </a:lnTo>
                    <a:lnTo>
                      <a:pt x="23" y="177"/>
                    </a:lnTo>
                    <a:close/>
                    <a:moveTo>
                      <a:pt x="23" y="175"/>
                    </a:moveTo>
                    <a:lnTo>
                      <a:pt x="21" y="175"/>
                    </a:lnTo>
                    <a:lnTo>
                      <a:pt x="23" y="175"/>
                    </a:lnTo>
                    <a:close/>
                    <a:moveTo>
                      <a:pt x="21" y="175"/>
                    </a:moveTo>
                    <a:lnTo>
                      <a:pt x="23" y="175"/>
                    </a:lnTo>
                    <a:lnTo>
                      <a:pt x="21" y="175"/>
                    </a:lnTo>
                    <a:lnTo>
                      <a:pt x="23" y="175"/>
                    </a:lnTo>
                    <a:lnTo>
                      <a:pt x="21" y="175"/>
                    </a:lnTo>
                    <a:close/>
                    <a:moveTo>
                      <a:pt x="12" y="158"/>
                    </a:moveTo>
                    <a:lnTo>
                      <a:pt x="12" y="160"/>
                    </a:lnTo>
                    <a:lnTo>
                      <a:pt x="12" y="158"/>
                    </a:lnTo>
                    <a:close/>
                    <a:moveTo>
                      <a:pt x="10" y="154"/>
                    </a:moveTo>
                    <a:lnTo>
                      <a:pt x="8" y="154"/>
                    </a:lnTo>
                    <a:lnTo>
                      <a:pt x="10" y="154"/>
                    </a:lnTo>
                    <a:close/>
                    <a:moveTo>
                      <a:pt x="10" y="154"/>
                    </a:moveTo>
                    <a:lnTo>
                      <a:pt x="10" y="152"/>
                    </a:lnTo>
                    <a:lnTo>
                      <a:pt x="10" y="154"/>
                    </a:lnTo>
                    <a:close/>
                    <a:moveTo>
                      <a:pt x="192" y="277"/>
                    </a:moveTo>
                    <a:lnTo>
                      <a:pt x="192" y="275"/>
                    </a:lnTo>
                    <a:lnTo>
                      <a:pt x="192" y="277"/>
                    </a:lnTo>
                    <a:close/>
                    <a:moveTo>
                      <a:pt x="10" y="146"/>
                    </a:moveTo>
                    <a:lnTo>
                      <a:pt x="8" y="146"/>
                    </a:lnTo>
                    <a:lnTo>
                      <a:pt x="10" y="146"/>
                    </a:lnTo>
                    <a:close/>
                    <a:moveTo>
                      <a:pt x="6" y="144"/>
                    </a:moveTo>
                    <a:lnTo>
                      <a:pt x="8" y="144"/>
                    </a:lnTo>
                    <a:lnTo>
                      <a:pt x="6" y="144"/>
                    </a:lnTo>
                    <a:close/>
                    <a:moveTo>
                      <a:pt x="10" y="146"/>
                    </a:moveTo>
                    <a:lnTo>
                      <a:pt x="10" y="144"/>
                    </a:lnTo>
                    <a:lnTo>
                      <a:pt x="10" y="146"/>
                    </a:lnTo>
                    <a:close/>
                    <a:moveTo>
                      <a:pt x="15" y="148"/>
                    </a:moveTo>
                    <a:lnTo>
                      <a:pt x="15" y="150"/>
                    </a:lnTo>
                    <a:lnTo>
                      <a:pt x="15" y="148"/>
                    </a:lnTo>
                    <a:close/>
                    <a:moveTo>
                      <a:pt x="15" y="148"/>
                    </a:moveTo>
                    <a:lnTo>
                      <a:pt x="13" y="148"/>
                    </a:lnTo>
                    <a:lnTo>
                      <a:pt x="15" y="148"/>
                    </a:lnTo>
                    <a:close/>
                    <a:moveTo>
                      <a:pt x="13" y="148"/>
                    </a:moveTo>
                    <a:lnTo>
                      <a:pt x="15" y="148"/>
                    </a:lnTo>
                    <a:lnTo>
                      <a:pt x="13" y="148"/>
                    </a:lnTo>
                    <a:lnTo>
                      <a:pt x="15" y="148"/>
                    </a:lnTo>
                    <a:lnTo>
                      <a:pt x="13" y="148"/>
                    </a:lnTo>
                    <a:close/>
                    <a:moveTo>
                      <a:pt x="13" y="148"/>
                    </a:moveTo>
                    <a:lnTo>
                      <a:pt x="13" y="146"/>
                    </a:lnTo>
                    <a:lnTo>
                      <a:pt x="13" y="148"/>
                    </a:lnTo>
                    <a:close/>
                    <a:moveTo>
                      <a:pt x="10" y="142"/>
                    </a:moveTo>
                    <a:lnTo>
                      <a:pt x="10" y="144"/>
                    </a:lnTo>
                    <a:lnTo>
                      <a:pt x="10" y="142"/>
                    </a:lnTo>
                    <a:close/>
                    <a:moveTo>
                      <a:pt x="10" y="142"/>
                    </a:moveTo>
                    <a:lnTo>
                      <a:pt x="8" y="142"/>
                    </a:lnTo>
                    <a:lnTo>
                      <a:pt x="10" y="142"/>
                    </a:lnTo>
                    <a:close/>
                    <a:moveTo>
                      <a:pt x="6" y="139"/>
                    </a:moveTo>
                    <a:lnTo>
                      <a:pt x="4" y="139"/>
                    </a:lnTo>
                    <a:lnTo>
                      <a:pt x="6" y="139"/>
                    </a:lnTo>
                    <a:close/>
                    <a:moveTo>
                      <a:pt x="202" y="215"/>
                    </a:moveTo>
                    <a:lnTo>
                      <a:pt x="200" y="215"/>
                    </a:lnTo>
                    <a:lnTo>
                      <a:pt x="202" y="215"/>
                    </a:lnTo>
                    <a:close/>
                    <a:moveTo>
                      <a:pt x="200" y="214"/>
                    </a:moveTo>
                    <a:lnTo>
                      <a:pt x="200" y="212"/>
                    </a:lnTo>
                    <a:lnTo>
                      <a:pt x="200" y="214"/>
                    </a:lnTo>
                    <a:close/>
                    <a:moveTo>
                      <a:pt x="192" y="200"/>
                    </a:moveTo>
                    <a:lnTo>
                      <a:pt x="192" y="202"/>
                    </a:lnTo>
                    <a:lnTo>
                      <a:pt x="192" y="200"/>
                    </a:lnTo>
                    <a:close/>
                    <a:moveTo>
                      <a:pt x="192" y="196"/>
                    </a:moveTo>
                    <a:lnTo>
                      <a:pt x="190" y="196"/>
                    </a:lnTo>
                    <a:lnTo>
                      <a:pt x="192" y="196"/>
                    </a:lnTo>
                    <a:close/>
                    <a:moveTo>
                      <a:pt x="188" y="194"/>
                    </a:moveTo>
                    <a:lnTo>
                      <a:pt x="188" y="192"/>
                    </a:lnTo>
                    <a:lnTo>
                      <a:pt x="188" y="194"/>
                    </a:lnTo>
                    <a:close/>
                    <a:moveTo>
                      <a:pt x="188" y="190"/>
                    </a:moveTo>
                    <a:lnTo>
                      <a:pt x="186" y="190"/>
                    </a:lnTo>
                    <a:lnTo>
                      <a:pt x="188" y="190"/>
                    </a:lnTo>
                    <a:close/>
                    <a:moveTo>
                      <a:pt x="184" y="175"/>
                    </a:moveTo>
                    <a:lnTo>
                      <a:pt x="182" y="175"/>
                    </a:lnTo>
                    <a:lnTo>
                      <a:pt x="184" y="175"/>
                    </a:lnTo>
                    <a:close/>
                    <a:moveTo>
                      <a:pt x="179" y="171"/>
                    </a:moveTo>
                    <a:lnTo>
                      <a:pt x="179" y="169"/>
                    </a:lnTo>
                    <a:lnTo>
                      <a:pt x="179" y="171"/>
                    </a:lnTo>
                    <a:close/>
                    <a:moveTo>
                      <a:pt x="179" y="165"/>
                    </a:moveTo>
                    <a:lnTo>
                      <a:pt x="177" y="165"/>
                    </a:lnTo>
                    <a:lnTo>
                      <a:pt x="179" y="165"/>
                    </a:lnTo>
                    <a:close/>
                    <a:moveTo>
                      <a:pt x="173" y="144"/>
                    </a:moveTo>
                    <a:lnTo>
                      <a:pt x="173" y="142"/>
                    </a:lnTo>
                    <a:lnTo>
                      <a:pt x="173" y="144"/>
                    </a:lnTo>
                    <a:close/>
                    <a:moveTo>
                      <a:pt x="60" y="62"/>
                    </a:moveTo>
                    <a:lnTo>
                      <a:pt x="58" y="62"/>
                    </a:lnTo>
                    <a:lnTo>
                      <a:pt x="60" y="62"/>
                    </a:lnTo>
                    <a:close/>
                    <a:moveTo>
                      <a:pt x="173" y="142"/>
                    </a:moveTo>
                    <a:lnTo>
                      <a:pt x="173" y="141"/>
                    </a:lnTo>
                    <a:lnTo>
                      <a:pt x="173" y="142"/>
                    </a:lnTo>
                    <a:close/>
                    <a:moveTo>
                      <a:pt x="63" y="62"/>
                    </a:moveTo>
                    <a:lnTo>
                      <a:pt x="61" y="62"/>
                    </a:lnTo>
                    <a:lnTo>
                      <a:pt x="63" y="62"/>
                    </a:lnTo>
                    <a:close/>
                    <a:moveTo>
                      <a:pt x="169" y="137"/>
                    </a:moveTo>
                    <a:lnTo>
                      <a:pt x="169" y="135"/>
                    </a:lnTo>
                    <a:lnTo>
                      <a:pt x="169" y="137"/>
                    </a:lnTo>
                    <a:close/>
                    <a:moveTo>
                      <a:pt x="171" y="137"/>
                    </a:moveTo>
                    <a:lnTo>
                      <a:pt x="171" y="135"/>
                    </a:lnTo>
                    <a:lnTo>
                      <a:pt x="171" y="137"/>
                    </a:lnTo>
                    <a:close/>
                    <a:moveTo>
                      <a:pt x="171" y="133"/>
                    </a:moveTo>
                    <a:lnTo>
                      <a:pt x="169" y="133"/>
                    </a:lnTo>
                    <a:lnTo>
                      <a:pt x="171" y="133"/>
                    </a:lnTo>
                    <a:close/>
                    <a:moveTo>
                      <a:pt x="163" y="117"/>
                    </a:moveTo>
                    <a:lnTo>
                      <a:pt x="161" y="117"/>
                    </a:lnTo>
                    <a:lnTo>
                      <a:pt x="163" y="117"/>
                    </a:lnTo>
                    <a:close/>
                    <a:moveTo>
                      <a:pt x="163" y="117"/>
                    </a:moveTo>
                    <a:lnTo>
                      <a:pt x="161" y="117"/>
                    </a:lnTo>
                    <a:lnTo>
                      <a:pt x="163" y="117"/>
                    </a:lnTo>
                    <a:close/>
                    <a:moveTo>
                      <a:pt x="158" y="104"/>
                    </a:moveTo>
                    <a:lnTo>
                      <a:pt x="156" y="104"/>
                    </a:lnTo>
                    <a:lnTo>
                      <a:pt x="158" y="104"/>
                    </a:lnTo>
                    <a:close/>
                    <a:moveTo>
                      <a:pt x="154" y="98"/>
                    </a:moveTo>
                    <a:lnTo>
                      <a:pt x="154" y="96"/>
                    </a:lnTo>
                    <a:lnTo>
                      <a:pt x="154" y="98"/>
                    </a:lnTo>
                    <a:close/>
                    <a:moveTo>
                      <a:pt x="152" y="94"/>
                    </a:moveTo>
                    <a:lnTo>
                      <a:pt x="152" y="96"/>
                    </a:lnTo>
                    <a:lnTo>
                      <a:pt x="152" y="94"/>
                    </a:lnTo>
                    <a:close/>
                    <a:moveTo>
                      <a:pt x="136" y="83"/>
                    </a:moveTo>
                    <a:lnTo>
                      <a:pt x="136" y="85"/>
                    </a:lnTo>
                    <a:lnTo>
                      <a:pt x="136" y="83"/>
                    </a:lnTo>
                    <a:close/>
                    <a:moveTo>
                      <a:pt x="152" y="92"/>
                    </a:moveTo>
                    <a:lnTo>
                      <a:pt x="152" y="94"/>
                    </a:lnTo>
                    <a:lnTo>
                      <a:pt x="152" y="92"/>
                    </a:lnTo>
                    <a:close/>
                    <a:moveTo>
                      <a:pt x="150" y="92"/>
                    </a:moveTo>
                    <a:lnTo>
                      <a:pt x="150" y="91"/>
                    </a:lnTo>
                    <a:lnTo>
                      <a:pt x="150" y="92"/>
                    </a:lnTo>
                    <a:close/>
                    <a:moveTo>
                      <a:pt x="152" y="91"/>
                    </a:moveTo>
                    <a:lnTo>
                      <a:pt x="150" y="91"/>
                    </a:lnTo>
                    <a:lnTo>
                      <a:pt x="152" y="91"/>
                    </a:lnTo>
                    <a:close/>
                    <a:moveTo>
                      <a:pt x="152" y="91"/>
                    </a:moveTo>
                    <a:lnTo>
                      <a:pt x="150" y="91"/>
                    </a:lnTo>
                    <a:lnTo>
                      <a:pt x="152" y="91"/>
                    </a:lnTo>
                    <a:close/>
                    <a:moveTo>
                      <a:pt x="108" y="54"/>
                    </a:moveTo>
                    <a:lnTo>
                      <a:pt x="106" y="54"/>
                    </a:lnTo>
                    <a:lnTo>
                      <a:pt x="108" y="54"/>
                    </a:lnTo>
                    <a:close/>
                    <a:moveTo>
                      <a:pt x="96" y="27"/>
                    </a:moveTo>
                    <a:lnTo>
                      <a:pt x="96" y="25"/>
                    </a:lnTo>
                    <a:lnTo>
                      <a:pt x="96" y="27"/>
                    </a:lnTo>
                    <a:close/>
                    <a:moveTo>
                      <a:pt x="79" y="2"/>
                    </a:moveTo>
                    <a:lnTo>
                      <a:pt x="79" y="0"/>
                    </a:lnTo>
                    <a:lnTo>
                      <a:pt x="79" y="2"/>
                    </a:lnTo>
                    <a:close/>
                    <a:moveTo>
                      <a:pt x="111" y="19"/>
                    </a:moveTo>
                    <a:lnTo>
                      <a:pt x="111" y="21"/>
                    </a:lnTo>
                    <a:lnTo>
                      <a:pt x="111"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2" name="Freeform 69"/>
              <p:cNvSpPr>
                <a:spLocks noEditPoints="1"/>
              </p:cNvSpPr>
              <p:nvPr/>
            </p:nvSpPr>
            <p:spPr bwMode="auto">
              <a:xfrm>
                <a:off x="2079518" y="1437367"/>
                <a:ext cx="509305" cy="168621"/>
              </a:xfrm>
              <a:custGeom>
                <a:avLst/>
                <a:gdLst>
                  <a:gd name="T0" fmla="*/ 46 w 296"/>
                  <a:gd name="T1" fmla="*/ 32 h 98"/>
                  <a:gd name="T2" fmla="*/ 44 w 296"/>
                  <a:gd name="T3" fmla="*/ 32 h 98"/>
                  <a:gd name="T4" fmla="*/ 44 w 296"/>
                  <a:gd name="T5" fmla="*/ 32 h 98"/>
                  <a:gd name="T6" fmla="*/ 42 w 296"/>
                  <a:gd name="T7" fmla="*/ 34 h 98"/>
                  <a:gd name="T8" fmla="*/ 40 w 296"/>
                  <a:gd name="T9" fmla="*/ 36 h 98"/>
                  <a:gd name="T10" fmla="*/ 38 w 296"/>
                  <a:gd name="T11" fmla="*/ 38 h 98"/>
                  <a:gd name="T12" fmla="*/ 38 w 296"/>
                  <a:gd name="T13" fmla="*/ 38 h 98"/>
                  <a:gd name="T14" fmla="*/ 32 w 296"/>
                  <a:gd name="T15" fmla="*/ 40 h 98"/>
                  <a:gd name="T16" fmla="*/ 32 w 296"/>
                  <a:gd name="T17" fmla="*/ 40 h 98"/>
                  <a:gd name="T18" fmla="*/ 27 w 296"/>
                  <a:gd name="T19" fmla="*/ 42 h 98"/>
                  <a:gd name="T20" fmla="*/ 23 w 296"/>
                  <a:gd name="T21" fmla="*/ 40 h 98"/>
                  <a:gd name="T22" fmla="*/ 13 w 296"/>
                  <a:gd name="T23" fmla="*/ 40 h 98"/>
                  <a:gd name="T24" fmla="*/ 13 w 296"/>
                  <a:gd name="T25" fmla="*/ 40 h 98"/>
                  <a:gd name="T26" fmla="*/ 11 w 296"/>
                  <a:gd name="T27" fmla="*/ 42 h 98"/>
                  <a:gd name="T28" fmla="*/ 7 w 296"/>
                  <a:gd name="T29" fmla="*/ 40 h 98"/>
                  <a:gd name="T30" fmla="*/ 7 w 296"/>
                  <a:gd name="T31" fmla="*/ 36 h 98"/>
                  <a:gd name="T32" fmla="*/ 5 w 296"/>
                  <a:gd name="T33" fmla="*/ 38 h 98"/>
                  <a:gd name="T34" fmla="*/ 4 w 296"/>
                  <a:gd name="T35" fmla="*/ 34 h 98"/>
                  <a:gd name="T36" fmla="*/ 4 w 296"/>
                  <a:gd name="T37" fmla="*/ 34 h 98"/>
                  <a:gd name="T38" fmla="*/ 4 w 296"/>
                  <a:gd name="T39" fmla="*/ 27 h 98"/>
                  <a:gd name="T40" fmla="*/ 0 w 296"/>
                  <a:gd name="T41" fmla="*/ 30 h 98"/>
                  <a:gd name="T42" fmla="*/ 0 w 296"/>
                  <a:gd name="T43" fmla="*/ 32 h 98"/>
                  <a:gd name="T44" fmla="*/ 2 w 296"/>
                  <a:gd name="T45" fmla="*/ 21 h 98"/>
                  <a:gd name="T46" fmla="*/ 7 w 296"/>
                  <a:gd name="T47" fmla="*/ 11 h 98"/>
                  <a:gd name="T48" fmla="*/ 17 w 296"/>
                  <a:gd name="T49" fmla="*/ 2 h 98"/>
                  <a:gd name="T50" fmla="*/ 28 w 296"/>
                  <a:gd name="T51" fmla="*/ 0 h 98"/>
                  <a:gd name="T52" fmla="*/ 36 w 296"/>
                  <a:gd name="T53" fmla="*/ 2 h 98"/>
                  <a:gd name="T54" fmla="*/ 42 w 296"/>
                  <a:gd name="T55" fmla="*/ 7 h 98"/>
                  <a:gd name="T56" fmla="*/ 46 w 296"/>
                  <a:gd name="T57" fmla="*/ 15 h 98"/>
                  <a:gd name="T58" fmla="*/ 52 w 296"/>
                  <a:gd name="T59" fmla="*/ 23 h 98"/>
                  <a:gd name="T60" fmla="*/ 53 w 296"/>
                  <a:gd name="T61" fmla="*/ 32 h 98"/>
                  <a:gd name="T62" fmla="*/ 46 w 296"/>
                  <a:gd name="T63" fmla="*/ 38 h 98"/>
                  <a:gd name="T64" fmla="*/ 50 w 296"/>
                  <a:gd name="T65" fmla="*/ 32 h 98"/>
                  <a:gd name="T66" fmla="*/ 274 w 296"/>
                  <a:gd name="T67" fmla="*/ 46 h 98"/>
                  <a:gd name="T68" fmla="*/ 280 w 296"/>
                  <a:gd name="T69" fmla="*/ 55 h 98"/>
                  <a:gd name="T70" fmla="*/ 282 w 296"/>
                  <a:gd name="T71" fmla="*/ 65 h 98"/>
                  <a:gd name="T72" fmla="*/ 286 w 296"/>
                  <a:gd name="T73" fmla="*/ 73 h 98"/>
                  <a:gd name="T74" fmla="*/ 290 w 296"/>
                  <a:gd name="T75" fmla="*/ 80 h 98"/>
                  <a:gd name="T76" fmla="*/ 296 w 296"/>
                  <a:gd name="T77" fmla="*/ 88 h 98"/>
                  <a:gd name="T78" fmla="*/ 294 w 296"/>
                  <a:gd name="T79" fmla="*/ 94 h 98"/>
                  <a:gd name="T80" fmla="*/ 288 w 296"/>
                  <a:gd name="T81" fmla="*/ 98 h 98"/>
                  <a:gd name="T82" fmla="*/ 282 w 296"/>
                  <a:gd name="T83" fmla="*/ 96 h 98"/>
                  <a:gd name="T84" fmla="*/ 280 w 296"/>
                  <a:gd name="T85" fmla="*/ 96 h 98"/>
                  <a:gd name="T86" fmla="*/ 272 w 296"/>
                  <a:gd name="T87" fmla="*/ 92 h 98"/>
                  <a:gd name="T88" fmla="*/ 274 w 296"/>
                  <a:gd name="T89" fmla="*/ 86 h 98"/>
                  <a:gd name="T90" fmla="*/ 274 w 296"/>
                  <a:gd name="T91" fmla="*/ 86 h 98"/>
                  <a:gd name="T92" fmla="*/ 271 w 296"/>
                  <a:gd name="T93" fmla="*/ 80 h 98"/>
                  <a:gd name="T94" fmla="*/ 265 w 296"/>
                  <a:gd name="T95" fmla="*/ 77 h 98"/>
                  <a:gd name="T96" fmla="*/ 265 w 296"/>
                  <a:gd name="T97" fmla="*/ 78 h 98"/>
                  <a:gd name="T98" fmla="*/ 261 w 296"/>
                  <a:gd name="T99" fmla="*/ 71 h 98"/>
                  <a:gd name="T100" fmla="*/ 257 w 296"/>
                  <a:gd name="T101" fmla="*/ 63 h 98"/>
                  <a:gd name="T102" fmla="*/ 257 w 296"/>
                  <a:gd name="T103" fmla="*/ 59 h 98"/>
                  <a:gd name="T104" fmla="*/ 259 w 296"/>
                  <a:gd name="T105" fmla="*/ 57 h 98"/>
                  <a:gd name="T106" fmla="*/ 259 w 296"/>
                  <a:gd name="T107" fmla="*/ 57 h 98"/>
                  <a:gd name="T108" fmla="*/ 257 w 296"/>
                  <a:gd name="T109" fmla="*/ 55 h 98"/>
                  <a:gd name="T110" fmla="*/ 257 w 296"/>
                  <a:gd name="T111" fmla="*/ 55 h 98"/>
                  <a:gd name="T112" fmla="*/ 259 w 296"/>
                  <a:gd name="T113" fmla="*/ 53 h 98"/>
                  <a:gd name="T114" fmla="*/ 265 w 296"/>
                  <a:gd name="T115" fmla="*/ 55 h 98"/>
                  <a:gd name="T116" fmla="*/ 259 w 296"/>
                  <a:gd name="T117" fmla="*/ 48 h 98"/>
                  <a:gd name="T118" fmla="*/ 265 w 296"/>
                  <a:gd name="T119" fmla="*/ 50 h 98"/>
                  <a:gd name="T120" fmla="*/ 269 w 296"/>
                  <a:gd name="T121"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6" h="98">
                    <a:moveTo>
                      <a:pt x="48" y="32"/>
                    </a:moveTo>
                    <a:lnTo>
                      <a:pt x="46" y="32"/>
                    </a:lnTo>
                    <a:lnTo>
                      <a:pt x="48" y="32"/>
                    </a:lnTo>
                    <a:lnTo>
                      <a:pt x="46" y="32"/>
                    </a:lnTo>
                    <a:lnTo>
                      <a:pt x="46" y="34"/>
                    </a:lnTo>
                    <a:lnTo>
                      <a:pt x="46" y="32"/>
                    </a:lnTo>
                    <a:lnTo>
                      <a:pt x="46" y="34"/>
                    </a:lnTo>
                    <a:lnTo>
                      <a:pt x="46" y="32"/>
                    </a:lnTo>
                    <a:lnTo>
                      <a:pt x="46" y="34"/>
                    </a:lnTo>
                    <a:lnTo>
                      <a:pt x="46" y="32"/>
                    </a:lnTo>
                    <a:lnTo>
                      <a:pt x="46" y="34"/>
                    </a:lnTo>
                    <a:lnTo>
                      <a:pt x="44" y="32"/>
                    </a:lnTo>
                    <a:lnTo>
                      <a:pt x="44" y="34"/>
                    </a:lnTo>
                    <a:lnTo>
                      <a:pt x="44" y="32"/>
                    </a:lnTo>
                    <a:lnTo>
                      <a:pt x="44" y="34"/>
                    </a:lnTo>
                    <a:lnTo>
                      <a:pt x="44" y="32"/>
                    </a:lnTo>
                    <a:lnTo>
                      <a:pt x="44" y="34"/>
                    </a:lnTo>
                    <a:lnTo>
                      <a:pt x="44" y="32"/>
                    </a:lnTo>
                    <a:lnTo>
                      <a:pt x="44" y="34"/>
                    </a:lnTo>
                    <a:lnTo>
                      <a:pt x="44" y="32"/>
                    </a:lnTo>
                    <a:lnTo>
                      <a:pt x="42" y="32"/>
                    </a:lnTo>
                    <a:lnTo>
                      <a:pt x="42" y="34"/>
                    </a:lnTo>
                    <a:lnTo>
                      <a:pt x="40" y="34"/>
                    </a:lnTo>
                    <a:lnTo>
                      <a:pt x="42" y="34"/>
                    </a:lnTo>
                    <a:lnTo>
                      <a:pt x="42" y="36"/>
                    </a:lnTo>
                    <a:lnTo>
                      <a:pt x="40" y="36"/>
                    </a:lnTo>
                    <a:lnTo>
                      <a:pt x="42" y="36"/>
                    </a:lnTo>
                    <a:lnTo>
                      <a:pt x="40" y="36"/>
                    </a:lnTo>
                    <a:lnTo>
                      <a:pt x="42" y="36"/>
                    </a:lnTo>
                    <a:lnTo>
                      <a:pt x="40" y="36"/>
                    </a:lnTo>
                    <a:lnTo>
                      <a:pt x="40" y="38"/>
                    </a:lnTo>
                    <a:lnTo>
                      <a:pt x="40" y="36"/>
                    </a:lnTo>
                    <a:lnTo>
                      <a:pt x="40" y="38"/>
                    </a:lnTo>
                    <a:lnTo>
                      <a:pt x="38" y="38"/>
                    </a:lnTo>
                    <a:lnTo>
                      <a:pt x="40" y="38"/>
                    </a:lnTo>
                    <a:lnTo>
                      <a:pt x="38" y="38"/>
                    </a:lnTo>
                    <a:lnTo>
                      <a:pt x="38" y="36"/>
                    </a:lnTo>
                    <a:lnTo>
                      <a:pt x="38" y="38"/>
                    </a:lnTo>
                    <a:lnTo>
                      <a:pt x="40" y="38"/>
                    </a:lnTo>
                    <a:lnTo>
                      <a:pt x="40" y="36"/>
                    </a:lnTo>
                    <a:lnTo>
                      <a:pt x="38" y="36"/>
                    </a:lnTo>
                    <a:lnTo>
                      <a:pt x="38" y="38"/>
                    </a:lnTo>
                    <a:lnTo>
                      <a:pt x="36" y="38"/>
                    </a:lnTo>
                    <a:lnTo>
                      <a:pt x="34" y="38"/>
                    </a:lnTo>
                    <a:lnTo>
                      <a:pt x="34" y="40"/>
                    </a:lnTo>
                    <a:lnTo>
                      <a:pt x="34" y="42"/>
                    </a:lnTo>
                    <a:lnTo>
                      <a:pt x="32" y="42"/>
                    </a:lnTo>
                    <a:lnTo>
                      <a:pt x="32" y="40"/>
                    </a:lnTo>
                    <a:lnTo>
                      <a:pt x="32" y="42"/>
                    </a:lnTo>
                    <a:lnTo>
                      <a:pt x="32" y="40"/>
                    </a:lnTo>
                    <a:lnTo>
                      <a:pt x="30" y="40"/>
                    </a:lnTo>
                    <a:lnTo>
                      <a:pt x="30" y="42"/>
                    </a:lnTo>
                    <a:lnTo>
                      <a:pt x="32" y="42"/>
                    </a:lnTo>
                    <a:lnTo>
                      <a:pt x="32" y="40"/>
                    </a:lnTo>
                    <a:lnTo>
                      <a:pt x="32" y="42"/>
                    </a:lnTo>
                    <a:lnTo>
                      <a:pt x="30" y="42"/>
                    </a:lnTo>
                    <a:lnTo>
                      <a:pt x="30" y="40"/>
                    </a:lnTo>
                    <a:lnTo>
                      <a:pt x="30" y="42"/>
                    </a:lnTo>
                    <a:lnTo>
                      <a:pt x="28" y="42"/>
                    </a:lnTo>
                    <a:lnTo>
                      <a:pt x="27" y="42"/>
                    </a:lnTo>
                    <a:lnTo>
                      <a:pt x="28" y="42"/>
                    </a:lnTo>
                    <a:lnTo>
                      <a:pt x="27" y="42"/>
                    </a:lnTo>
                    <a:lnTo>
                      <a:pt x="25" y="42"/>
                    </a:lnTo>
                    <a:lnTo>
                      <a:pt x="23" y="40"/>
                    </a:lnTo>
                    <a:lnTo>
                      <a:pt x="23" y="42"/>
                    </a:lnTo>
                    <a:lnTo>
                      <a:pt x="23" y="40"/>
                    </a:lnTo>
                    <a:lnTo>
                      <a:pt x="21" y="42"/>
                    </a:lnTo>
                    <a:lnTo>
                      <a:pt x="21" y="40"/>
                    </a:lnTo>
                    <a:lnTo>
                      <a:pt x="19" y="40"/>
                    </a:lnTo>
                    <a:lnTo>
                      <a:pt x="17" y="40"/>
                    </a:lnTo>
                    <a:lnTo>
                      <a:pt x="15" y="40"/>
                    </a:lnTo>
                    <a:lnTo>
                      <a:pt x="13" y="40"/>
                    </a:lnTo>
                    <a:lnTo>
                      <a:pt x="11" y="40"/>
                    </a:lnTo>
                    <a:lnTo>
                      <a:pt x="11" y="42"/>
                    </a:lnTo>
                    <a:lnTo>
                      <a:pt x="11" y="40"/>
                    </a:lnTo>
                    <a:lnTo>
                      <a:pt x="11" y="42"/>
                    </a:lnTo>
                    <a:lnTo>
                      <a:pt x="11" y="40"/>
                    </a:lnTo>
                    <a:lnTo>
                      <a:pt x="13" y="40"/>
                    </a:lnTo>
                    <a:lnTo>
                      <a:pt x="11" y="40"/>
                    </a:lnTo>
                    <a:lnTo>
                      <a:pt x="13" y="40"/>
                    </a:lnTo>
                    <a:lnTo>
                      <a:pt x="13" y="42"/>
                    </a:lnTo>
                    <a:lnTo>
                      <a:pt x="11" y="42"/>
                    </a:lnTo>
                    <a:lnTo>
                      <a:pt x="13" y="42"/>
                    </a:lnTo>
                    <a:lnTo>
                      <a:pt x="11" y="42"/>
                    </a:lnTo>
                    <a:lnTo>
                      <a:pt x="13" y="42"/>
                    </a:lnTo>
                    <a:lnTo>
                      <a:pt x="13" y="44"/>
                    </a:lnTo>
                    <a:lnTo>
                      <a:pt x="15" y="44"/>
                    </a:lnTo>
                    <a:lnTo>
                      <a:pt x="13" y="44"/>
                    </a:lnTo>
                    <a:lnTo>
                      <a:pt x="9" y="42"/>
                    </a:lnTo>
                    <a:lnTo>
                      <a:pt x="7" y="40"/>
                    </a:lnTo>
                    <a:lnTo>
                      <a:pt x="7" y="38"/>
                    </a:lnTo>
                    <a:lnTo>
                      <a:pt x="9" y="40"/>
                    </a:lnTo>
                    <a:lnTo>
                      <a:pt x="7" y="38"/>
                    </a:lnTo>
                    <a:lnTo>
                      <a:pt x="9" y="38"/>
                    </a:lnTo>
                    <a:lnTo>
                      <a:pt x="7" y="38"/>
                    </a:lnTo>
                    <a:lnTo>
                      <a:pt x="7" y="36"/>
                    </a:lnTo>
                    <a:lnTo>
                      <a:pt x="9" y="36"/>
                    </a:lnTo>
                    <a:lnTo>
                      <a:pt x="7" y="36"/>
                    </a:lnTo>
                    <a:lnTo>
                      <a:pt x="7" y="38"/>
                    </a:lnTo>
                    <a:lnTo>
                      <a:pt x="7" y="40"/>
                    </a:lnTo>
                    <a:lnTo>
                      <a:pt x="7" y="38"/>
                    </a:lnTo>
                    <a:lnTo>
                      <a:pt x="5" y="38"/>
                    </a:lnTo>
                    <a:lnTo>
                      <a:pt x="4" y="38"/>
                    </a:lnTo>
                    <a:lnTo>
                      <a:pt x="4" y="36"/>
                    </a:lnTo>
                    <a:lnTo>
                      <a:pt x="2" y="36"/>
                    </a:lnTo>
                    <a:lnTo>
                      <a:pt x="2" y="34"/>
                    </a:lnTo>
                    <a:lnTo>
                      <a:pt x="2" y="32"/>
                    </a:lnTo>
                    <a:lnTo>
                      <a:pt x="4" y="34"/>
                    </a:lnTo>
                    <a:lnTo>
                      <a:pt x="4" y="36"/>
                    </a:lnTo>
                    <a:lnTo>
                      <a:pt x="5" y="36"/>
                    </a:lnTo>
                    <a:lnTo>
                      <a:pt x="4" y="36"/>
                    </a:lnTo>
                    <a:lnTo>
                      <a:pt x="5" y="36"/>
                    </a:lnTo>
                    <a:lnTo>
                      <a:pt x="4" y="36"/>
                    </a:lnTo>
                    <a:lnTo>
                      <a:pt x="4" y="34"/>
                    </a:lnTo>
                    <a:lnTo>
                      <a:pt x="4" y="32"/>
                    </a:lnTo>
                    <a:lnTo>
                      <a:pt x="4" y="30"/>
                    </a:lnTo>
                    <a:lnTo>
                      <a:pt x="2" y="30"/>
                    </a:lnTo>
                    <a:lnTo>
                      <a:pt x="2" y="28"/>
                    </a:lnTo>
                    <a:lnTo>
                      <a:pt x="2" y="27"/>
                    </a:lnTo>
                    <a:lnTo>
                      <a:pt x="4" y="27"/>
                    </a:lnTo>
                    <a:lnTo>
                      <a:pt x="2" y="27"/>
                    </a:lnTo>
                    <a:lnTo>
                      <a:pt x="2" y="25"/>
                    </a:lnTo>
                    <a:lnTo>
                      <a:pt x="0" y="25"/>
                    </a:lnTo>
                    <a:lnTo>
                      <a:pt x="0" y="27"/>
                    </a:lnTo>
                    <a:lnTo>
                      <a:pt x="0" y="28"/>
                    </a:lnTo>
                    <a:lnTo>
                      <a:pt x="0" y="30"/>
                    </a:lnTo>
                    <a:lnTo>
                      <a:pt x="0" y="28"/>
                    </a:lnTo>
                    <a:lnTo>
                      <a:pt x="0" y="30"/>
                    </a:lnTo>
                    <a:lnTo>
                      <a:pt x="2" y="30"/>
                    </a:lnTo>
                    <a:lnTo>
                      <a:pt x="2" y="32"/>
                    </a:lnTo>
                    <a:lnTo>
                      <a:pt x="2" y="34"/>
                    </a:lnTo>
                    <a:lnTo>
                      <a:pt x="0" y="32"/>
                    </a:lnTo>
                    <a:lnTo>
                      <a:pt x="0" y="30"/>
                    </a:lnTo>
                    <a:lnTo>
                      <a:pt x="0" y="28"/>
                    </a:lnTo>
                    <a:lnTo>
                      <a:pt x="0" y="27"/>
                    </a:lnTo>
                    <a:lnTo>
                      <a:pt x="2" y="25"/>
                    </a:lnTo>
                    <a:lnTo>
                      <a:pt x="2" y="23"/>
                    </a:lnTo>
                    <a:lnTo>
                      <a:pt x="2" y="21"/>
                    </a:lnTo>
                    <a:lnTo>
                      <a:pt x="4" y="19"/>
                    </a:lnTo>
                    <a:lnTo>
                      <a:pt x="4" y="17"/>
                    </a:lnTo>
                    <a:lnTo>
                      <a:pt x="5" y="15"/>
                    </a:lnTo>
                    <a:lnTo>
                      <a:pt x="5" y="13"/>
                    </a:lnTo>
                    <a:lnTo>
                      <a:pt x="7" y="13"/>
                    </a:lnTo>
                    <a:lnTo>
                      <a:pt x="7" y="11"/>
                    </a:lnTo>
                    <a:lnTo>
                      <a:pt x="9" y="11"/>
                    </a:lnTo>
                    <a:lnTo>
                      <a:pt x="11" y="7"/>
                    </a:lnTo>
                    <a:lnTo>
                      <a:pt x="13" y="7"/>
                    </a:lnTo>
                    <a:lnTo>
                      <a:pt x="13" y="5"/>
                    </a:lnTo>
                    <a:lnTo>
                      <a:pt x="15" y="3"/>
                    </a:lnTo>
                    <a:lnTo>
                      <a:pt x="17" y="2"/>
                    </a:lnTo>
                    <a:lnTo>
                      <a:pt x="19" y="2"/>
                    </a:lnTo>
                    <a:lnTo>
                      <a:pt x="21" y="2"/>
                    </a:lnTo>
                    <a:lnTo>
                      <a:pt x="23" y="0"/>
                    </a:lnTo>
                    <a:lnTo>
                      <a:pt x="25" y="0"/>
                    </a:lnTo>
                    <a:lnTo>
                      <a:pt x="27" y="0"/>
                    </a:lnTo>
                    <a:lnTo>
                      <a:pt x="28" y="0"/>
                    </a:lnTo>
                    <a:lnTo>
                      <a:pt x="30" y="0"/>
                    </a:lnTo>
                    <a:lnTo>
                      <a:pt x="32" y="0"/>
                    </a:lnTo>
                    <a:lnTo>
                      <a:pt x="34" y="0"/>
                    </a:lnTo>
                    <a:lnTo>
                      <a:pt x="36" y="0"/>
                    </a:lnTo>
                    <a:lnTo>
                      <a:pt x="38" y="2"/>
                    </a:lnTo>
                    <a:lnTo>
                      <a:pt x="36" y="2"/>
                    </a:lnTo>
                    <a:lnTo>
                      <a:pt x="38" y="2"/>
                    </a:lnTo>
                    <a:lnTo>
                      <a:pt x="40" y="2"/>
                    </a:lnTo>
                    <a:lnTo>
                      <a:pt x="40" y="3"/>
                    </a:lnTo>
                    <a:lnTo>
                      <a:pt x="42" y="3"/>
                    </a:lnTo>
                    <a:lnTo>
                      <a:pt x="42" y="5"/>
                    </a:lnTo>
                    <a:lnTo>
                      <a:pt x="42" y="7"/>
                    </a:lnTo>
                    <a:lnTo>
                      <a:pt x="44" y="7"/>
                    </a:lnTo>
                    <a:lnTo>
                      <a:pt x="44" y="9"/>
                    </a:lnTo>
                    <a:lnTo>
                      <a:pt x="44" y="11"/>
                    </a:lnTo>
                    <a:lnTo>
                      <a:pt x="46" y="11"/>
                    </a:lnTo>
                    <a:lnTo>
                      <a:pt x="46" y="13"/>
                    </a:lnTo>
                    <a:lnTo>
                      <a:pt x="46" y="15"/>
                    </a:lnTo>
                    <a:lnTo>
                      <a:pt x="48" y="15"/>
                    </a:lnTo>
                    <a:lnTo>
                      <a:pt x="48" y="17"/>
                    </a:lnTo>
                    <a:lnTo>
                      <a:pt x="50" y="19"/>
                    </a:lnTo>
                    <a:lnTo>
                      <a:pt x="50" y="21"/>
                    </a:lnTo>
                    <a:lnTo>
                      <a:pt x="52" y="21"/>
                    </a:lnTo>
                    <a:lnTo>
                      <a:pt x="52" y="23"/>
                    </a:lnTo>
                    <a:lnTo>
                      <a:pt x="52" y="25"/>
                    </a:lnTo>
                    <a:lnTo>
                      <a:pt x="53" y="25"/>
                    </a:lnTo>
                    <a:lnTo>
                      <a:pt x="53" y="27"/>
                    </a:lnTo>
                    <a:lnTo>
                      <a:pt x="53" y="28"/>
                    </a:lnTo>
                    <a:lnTo>
                      <a:pt x="53" y="30"/>
                    </a:lnTo>
                    <a:lnTo>
                      <a:pt x="53" y="32"/>
                    </a:lnTo>
                    <a:lnTo>
                      <a:pt x="53" y="34"/>
                    </a:lnTo>
                    <a:lnTo>
                      <a:pt x="52" y="34"/>
                    </a:lnTo>
                    <a:lnTo>
                      <a:pt x="52" y="36"/>
                    </a:lnTo>
                    <a:lnTo>
                      <a:pt x="48" y="38"/>
                    </a:lnTo>
                    <a:lnTo>
                      <a:pt x="46" y="40"/>
                    </a:lnTo>
                    <a:lnTo>
                      <a:pt x="46" y="38"/>
                    </a:lnTo>
                    <a:lnTo>
                      <a:pt x="46" y="36"/>
                    </a:lnTo>
                    <a:lnTo>
                      <a:pt x="48" y="36"/>
                    </a:lnTo>
                    <a:lnTo>
                      <a:pt x="50" y="34"/>
                    </a:lnTo>
                    <a:lnTo>
                      <a:pt x="50" y="32"/>
                    </a:lnTo>
                    <a:lnTo>
                      <a:pt x="52" y="32"/>
                    </a:lnTo>
                    <a:lnTo>
                      <a:pt x="50" y="32"/>
                    </a:lnTo>
                    <a:lnTo>
                      <a:pt x="52" y="32"/>
                    </a:lnTo>
                    <a:lnTo>
                      <a:pt x="50" y="32"/>
                    </a:lnTo>
                    <a:lnTo>
                      <a:pt x="48" y="32"/>
                    </a:lnTo>
                    <a:lnTo>
                      <a:pt x="50" y="32"/>
                    </a:lnTo>
                    <a:lnTo>
                      <a:pt x="48" y="32"/>
                    </a:lnTo>
                    <a:close/>
                    <a:moveTo>
                      <a:pt x="274" y="46"/>
                    </a:moveTo>
                    <a:lnTo>
                      <a:pt x="274" y="48"/>
                    </a:lnTo>
                    <a:lnTo>
                      <a:pt x="276" y="48"/>
                    </a:lnTo>
                    <a:lnTo>
                      <a:pt x="276" y="50"/>
                    </a:lnTo>
                    <a:lnTo>
                      <a:pt x="278" y="52"/>
                    </a:lnTo>
                    <a:lnTo>
                      <a:pt x="278" y="53"/>
                    </a:lnTo>
                    <a:lnTo>
                      <a:pt x="280" y="55"/>
                    </a:lnTo>
                    <a:lnTo>
                      <a:pt x="278" y="55"/>
                    </a:lnTo>
                    <a:lnTo>
                      <a:pt x="280" y="57"/>
                    </a:lnTo>
                    <a:lnTo>
                      <a:pt x="280" y="59"/>
                    </a:lnTo>
                    <a:lnTo>
                      <a:pt x="280" y="61"/>
                    </a:lnTo>
                    <a:lnTo>
                      <a:pt x="282" y="63"/>
                    </a:lnTo>
                    <a:lnTo>
                      <a:pt x="282" y="65"/>
                    </a:lnTo>
                    <a:lnTo>
                      <a:pt x="284" y="65"/>
                    </a:lnTo>
                    <a:lnTo>
                      <a:pt x="284" y="67"/>
                    </a:lnTo>
                    <a:lnTo>
                      <a:pt x="284" y="69"/>
                    </a:lnTo>
                    <a:lnTo>
                      <a:pt x="284" y="71"/>
                    </a:lnTo>
                    <a:lnTo>
                      <a:pt x="286" y="71"/>
                    </a:lnTo>
                    <a:lnTo>
                      <a:pt x="286" y="73"/>
                    </a:lnTo>
                    <a:lnTo>
                      <a:pt x="288" y="73"/>
                    </a:lnTo>
                    <a:lnTo>
                      <a:pt x="290" y="75"/>
                    </a:lnTo>
                    <a:lnTo>
                      <a:pt x="288" y="75"/>
                    </a:lnTo>
                    <a:lnTo>
                      <a:pt x="290" y="77"/>
                    </a:lnTo>
                    <a:lnTo>
                      <a:pt x="290" y="78"/>
                    </a:lnTo>
                    <a:lnTo>
                      <a:pt x="290" y="80"/>
                    </a:lnTo>
                    <a:lnTo>
                      <a:pt x="292" y="82"/>
                    </a:lnTo>
                    <a:lnTo>
                      <a:pt x="292" y="84"/>
                    </a:lnTo>
                    <a:lnTo>
                      <a:pt x="294" y="84"/>
                    </a:lnTo>
                    <a:lnTo>
                      <a:pt x="294" y="86"/>
                    </a:lnTo>
                    <a:lnTo>
                      <a:pt x="296" y="86"/>
                    </a:lnTo>
                    <a:lnTo>
                      <a:pt x="296" y="88"/>
                    </a:lnTo>
                    <a:lnTo>
                      <a:pt x="294" y="88"/>
                    </a:lnTo>
                    <a:lnTo>
                      <a:pt x="294" y="90"/>
                    </a:lnTo>
                    <a:lnTo>
                      <a:pt x="294" y="92"/>
                    </a:lnTo>
                    <a:lnTo>
                      <a:pt x="296" y="92"/>
                    </a:lnTo>
                    <a:lnTo>
                      <a:pt x="294" y="92"/>
                    </a:lnTo>
                    <a:lnTo>
                      <a:pt x="294" y="94"/>
                    </a:lnTo>
                    <a:lnTo>
                      <a:pt x="292" y="96"/>
                    </a:lnTo>
                    <a:lnTo>
                      <a:pt x="292" y="98"/>
                    </a:lnTo>
                    <a:lnTo>
                      <a:pt x="290" y="98"/>
                    </a:lnTo>
                    <a:lnTo>
                      <a:pt x="290" y="96"/>
                    </a:lnTo>
                    <a:lnTo>
                      <a:pt x="290" y="98"/>
                    </a:lnTo>
                    <a:lnTo>
                      <a:pt x="288" y="98"/>
                    </a:lnTo>
                    <a:lnTo>
                      <a:pt x="286" y="98"/>
                    </a:lnTo>
                    <a:lnTo>
                      <a:pt x="284" y="98"/>
                    </a:lnTo>
                    <a:lnTo>
                      <a:pt x="284" y="96"/>
                    </a:lnTo>
                    <a:lnTo>
                      <a:pt x="282" y="96"/>
                    </a:lnTo>
                    <a:lnTo>
                      <a:pt x="282" y="94"/>
                    </a:lnTo>
                    <a:lnTo>
                      <a:pt x="282" y="96"/>
                    </a:lnTo>
                    <a:lnTo>
                      <a:pt x="282" y="94"/>
                    </a:lnTo>
                    <a:lnTo>
                      <a:pt x="280" y="94"/>
                    </a:lnTo>
                    <a:lnTo>
                      <a:pt x="280" y="96"/>
                    </a:lnTo>
                    <a:lnTo>
                      <a:pt x="280" y="94"/>
                    </a:lnTo>
                    <a:lnTo>
                      <a:pt x="278" y="94"/>
                    </a:lnTo>
                    <a:lnTo>
                      <a:pt x="280" y="96"/>
                    </a:lnTo>
                    <a:lnTo>
                      <a:pt x="278" y="96"/>
                    </a:lnTo>
                    <a:lnTo>
                      <a:pt x="278" y="94"/>
                    </a:lnTo>
                    <a:lnTo>
                      <a:pt x="276" y="94"/>
                    </a:lnTo>
                    <a:lnTo>
                      <a:pt x="274" y="94"/>
                    </a:lnTo>
                    <a:lnTo>
                      <a:pt x="274" y="92"/>
                    </a:lnTo>
                    <a:lnTo>
                      <a:pt x="272" y="92"/>
                    </a:lnTo>
                    <a:lnTo>
                      <a:pt x="272" y="90"/>
                    </a:lnTo>
                    <a:lnTo>
                      <a:pt x="271" y="90"/>
                    </a:lnTo>
                    <a:lnTo>
                      <a:pt x="272" y="90"/>
                    </a:lnTo>
                    <a:lnTo>
                      <a:pt x="272" y="88"/>
                    </a:lnTo>
                    <a:lnTo>
                      <a:pt x="272" y="86"/>
                    </a:lnTo>
                    <a:lnTo>
                      <a:pt x="274" y="86"/>
                    </a:lnTo>
                    <a:lnTo>
                      <a:pt x="274" y="88"/>
                    </a:lnTo>
                    <a:lnTo>
                      <a:pt x="276" y="88"/>
                    </a:lnTo>
                    <a:lnTo>
                      <a:pt x="276" y="86"/>
                    </a:lnTo>
                    <a:lnTo>
                      <a:pt x="274" y="86"/>
                    </a:lnTo>
                    <a:lnTo>
                      <a:pt x="274" y="88"/>
                    </a:lnTo>
                    <a:lnTo>
                      <a:pt x="274" y="86"/>
                    </a:lnTo>
                    <a:lnTo>
                      <a:pt x="274" y="84"/>
                    </a:lnTo>
                    <a:lnTo>
                      <a:pt x="274" y="82"/>
                    </a:lnTo>
                    <a:lnTo>
                      <a:pt x="272" y="82"/>
                    </a:lnTo>
                    <a:lnTo>
                      <a:pt x="272" y="80"/>
                    </a:lnTo>
                    <a:lnTo>
                      <a:pt x="271" y="78"/>
                    </a:lnTo>
                    <a:lnTo>
                      <a:pt x="271" y="80"/>
                    </a:lnTo>
                    <a:lnTo>
                      <a:pt x="271" y="78"/>
                    </a:lnTo>
                    <a:lnTo>
                      <a:pt x="269" y="78"/>
                    </a:lnTo>
                    <a:lnTo>
                      <a:pt x="267" y="78"/>
                    </a:lnTo>
                    <a:lnTo>
                      <a:pt x="267" y="77"/>
                    </a:lnTo>
                    <a:lnTo>
                      <a:pt x="267" y="75"/>
                    </a:lnTo>
                    <a:lnTo>
                      <a:pt x="265" y="77"/>
                    </a:lnTo>
                    <a:lnTo>
                      <a:pt x="265" y="75"/>
                    </a:lnTo>
                    <a:lnTo>
                      <a:pt x="263" y="75"/>
                    </a:lnTo>
                    <a:lnTo>
                      <a:pt x="263" y="73"/>
                    </a:lnTo>
                    <a:lnTo>
                      <a:pt x="263" y="75"/>
                    </a:lnTo>
                    <a:lnTo>
                      <a:pt x="265" y="77"/>
                    </a:lnTo>
                    <a:lnTo>
                      <a:pt x="265" y="78"/>
                    </a:lnTo>
                    <a:lnTo>
                      <a:pt x="263" y="78"/>
                    </a:lnTo>
                    <a:lnTo>
                      <a:pt x="263" y="77"/>
                    </a:lnTo>
                    <a:lnTo>
                      <a:pt x="261" y="77"/>
                    </a:lnTo>
                    <a:lnTo>
                      <a:pt x="263" y="75"/>
                    </a:lnTo>
                    <a:lnTo>
                      <a:pt x="261" y="73"/>
                    </a:lnTo>
                    <a:lnTo>
                      <a:pt x="261" y="71"/>
                    </a:lnTo>
                    <a:lnTo>
                      <a:pt x="259" y="71"/>
                    </a:lnTo>
                    <a:lnTo>
                      <a:pt x="259" y="69"/>
                    </a:lnTo>
                    <a:lnTo>
                      <a:pt x="259" y="67"/>
                    </a:lnTo>
                    <a:lnTo>
                      <a:pt x="257" y="67"/>
                    </a:lnTo>
                    <a:lnTo>
                      <a:pt x="257" y="65"/>
                    </a:lnTo>
                    <a:lnTo>
                      <a:pt x="257" y="63"/>
                    </a:lnTo>
                    <a:lnTo>
                      <a:pt x="257" y="61"/>
                    </a:lnTo>
                    <a:lnTo>
                      <a:pt x="259" y="61"/>
                    </a:lnTo>
                    <a:lnTo>
                      <a:pt x="257" y="61"/>
                    </a:lnTo>
                    <a:lnTo>
                      <a:pt x="257" y="59"/>
                    </a:lnTo>
                    <a:lnTo>
                      <a:pt x="257" y="61"/>
                    </a:lnTo>
                    <a:lnTo>
                      <a:pt x="257" y="59"/>
                    </a:lnTo>
                    <a:lnTo>
                      <a:pt x="257" y="61"/>
                    </a:lnTo>
                    <a:lnTo>
                      <a:pt x="257" y="59"/>
                    </a:lnTo>
                    <a:lnTo>
                      <a:pt x="259" y="59"/>
                    </a:lnTo>
                    <a:lnTo>
                      <a:pt x="257" y="59"/>
                    </a:lnTo>
                    <a:lnTo>
                      <a:pt x="257" y="57"/>
                    </a:lnTo>
                    <a:lnTo>
                      <a:pt x="259" y="57"/>
                    </a:lnTo>
                    <a:lnTo>
                      <a:pt x="259" y="59"/>
                    </a:lnTo>
                    <a:lnTo>
                      <a:pt x="259" y="57"/>
                    </a:lnTo>
                    <a:lnTo>
                      <a:pt x="257" y="57"/>
                    </a:lnTo>
                    <a:lnTo>
                      <a:pt x="259" y="57"/>
                    </a:lnTo>
                    <a:lnTo>
                      <a:pt x="257" y="57"/>
                    </a:lnTo>
                    <a:lnTo>
                      <a:pt x="259" y="57"/>
                    </a:lnTo>
                    <a:lnTo>
                      <a:pt x="257" y="57"/>
                    </a:lnTo>
                    <a:lnTo>
                      <a:pt x="257" y="55"/>
                    </a:lnTo>
                    <a:lnTo>
                      <a:pt x="257" y="57"/>
                    </a:lnTo>
                    <a:lnTo>
                      <a:pt x="257" y="55"/>
                    </a:lnTo>
                    <a:lnTo>
                      <a:pt x="255" y="55"/>
                    </a:lnTo>
                    <a:lnTo>
                      <a:pt x="257" y="55"/>
                    </a:lnTo>
                    <a:lnTo>
                      <a:pt x="259" y="55"/>
                    </a:lnTo>
                    <a:lnTo>
                      <a:pt x="259" y="53"/>
                    </a:lnTo>
                    <a:lnTo>
                      <a:pt x="257" y="53"/>
                    </a:lnTo>
                    <a:lnTo>
                      <a:pt x="257" y="55"/>
                    </a:lnTo>
                    <a:lnTo>
                      <a:pt x="257" y="53"/>
                    </a:lnTo>
                    <a:lnTo>
                      <a:pt x="257" y="55"/>
                    </a:lnTo>
                    <a:lnTo>
                      <a:pt x="257" y="53"/>
                    </a:lnTo>
                    <a:lnTo>
                      <a:pt x="257" y="52"/>
                    </a:lnTo>
                    <a:lnTo>
                      <a:pt x="255" y="52"/>
                    </a:lnTo>
                    <a:lnTo>
                      <a:pt x="257" y="52"/>
                    </a:lnTo>
                    <a:lnTo>
                      <a:pt x="259" y="52"/>
                    </a:lnTo>
                    <a:lnTo>
                      <a:pt x="259" y="53"/>
                    </a:lnTo>
                    <a:lnTo>
                      <a:pt x="261" y="53"/>
                    </a:lnTo>
                    <a:lnTo>
                      <a:pt x="261" y="55"/>
                    </a:lnTo>
                    <a:lnTo>
                      <a:pt x="263" y="55"/>
                    </a:lnTo>
                    <a:lnTo>
                      <a:pt x="263" y="57"/>
                    </a:lnTo>
                    <a:lnTo>
                      <a:pt x="265" y="57"/>
                    </a:lnTo>
                    <a:lnTo>
                      <a:pt x="265" y="55"/>
                    </a:lnTo>
                    <a:lnTo>
                      <a:pt x="263" y="53"/>
                    </a:lnTo>
                    <a:lnTo>
                      <a:pt x="263" y="52"/>
                    </a:lnTo>
                    <a:lnTo>
                      <a:pt x="261" y="52"/>
                    </a:lnTo>
                    <a:lnTo>
                      <a:pt x="261" y="50"/>
                    </a:lnTo>
                    <a:lnTo>
                      <a:pt x="261" y="48"/>
                    </a:lnTo>
                    <a:lnTo>
                      <a:pt x="259" y="48"/>
                    </a:lnTo>
                    <a:lnTo>
                      <a:pt x="261" y="48"/>
                    </a:lnTo>
                    <a:lnTo>
                      <a:pt x="261" y="50"/>
                    </a:lnTo>
                    <a:lnTo>
                      <a:pt x="263" y="50"/>
                    </a:lnTo>
                    <a:lnTo>
                      <a:pt x="263" y="48"/>
                    </a:lnTo>
                    <a:lnTo>
                      <a:pt x="265" y="48"/>
                    </a:lnTo>
                    <a:lnTo>
                      <a:pt x="265" y="50"/>
                    </a:lnTo>
                    <a:lnTo>
                      <a:pt x="265" y="48"/>
                    </a:lnTo>
                    <a:lnTo>
                      <a:pt x="267" y="48"/>
                    </a:lnTo>
                    <a:lnTo>
                      <a:pt x="267" y="50"/>
                    </a:lnTo>
                    <a:lnTo>
                      <a:pt x="267" y="48"/>
                    </a:lnTo>
                    <a:lnTo>
                      <a:pt x="267" y="46"/>
                    </a:lnTo>
                    <a:lnTo>
                      <a:pt x="269" y="46"/>
                    </a:lnTo>
                    <a:lnTo>
                      <a:pt x="271" y="46"/>
                    </a:lnTo>
                    <a:lnTo>
                      <a:pt x="272" y="46"/>
                    </a:lnTo>
                    <a:lnTo>
                      <a:pt x="274"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3" name="Freeform 70"/>
              <p:cNvSpPr>
                <a:spLocks noEditPoints="1"/>
              </p:cNvSpPr>
              <p:nvPr/>
            </p:nvSpPr>
            <p:spPr bwMode="auto">
              <a:xfrm>
                <a:off x="1807659" y="1397792"/>
                <a:ext cx="939461" cy="488657"/>
              </a:xfrm>
              <a:custGeom>
                <a:avLst/>
                <a:gdLst>
                  <a:gd name="T0" fmla="*/ 196 w 546"/>
                  <a:gd name="T1" fmla="*/ 175 h 284"/>
                  <a:gd name="T2" fmla="*/ 208 w 546"/>
                  <a:gd name="T3" fmla="*/ 169 h 284"/>
                  <a:gd name="T4" fmla="*/ 238 w 546"/>
                  <a:gd name="T5" fmla="*/ 159 h 284"/>
                  <a:gd name="T6" fmla="*/ 236 w 546"/>
                  <a:gd name="T7" fmla="*/ 157 h 284"/>
                  <a:gd name="T8" fmla="*/ 275 w 546"/>
                  <a:gd name="T9" fmla="*/ 146 h 284"/>
                  <a:gd name="T10" fmla="*/ 244 w 546"/>
                  <a:gd name="T11" fmla="*/ 155 h 284"/>
                  <a:gd name="T12" fmla="*/ 271 w 546"/>
                  <a:gd name="T13" fmla="*/ 146 h 284"/>
                  <a:gd name="T14" fmla="*/ 258 w 546"/>
                  <a:gd name="T15" fmla="*/ 150 h 284"/>
                  <a:gd name="T16" fmla="*/ 250 w 546"/>
                  <a:gd name="T17" fmla="*/ 140 h 284"/>
                  <a:gd name="T18" fmla="*/ 256 w 546"/>
                  <a:gd name="T19" fmla="*/ 140 h 284"/>
                  <a:gd name="T20" fmla="*/ 267 w 546"/>
                  <a:gd name="T21" fmla="*/ 144 h 284"/>
                  <a:gd name="T22" fmla="*/ 279 w 546"/>
                  <a:gd name="T23" fmla="*/ 144 h 284"/>
                  <a:gd name="T24" fmla="*/ 284 w 546"/>
                  <a:gd name="T25" fmla="*/ 111 h 284"/>
                  <a:gd name="T26" fmla="*/ 252 w 546"/>
                  <a:gd name="T27" fmla="*/ 134 h 284"/>
                  <a:gd name="T28" fmla="*/ 221 w 546"/>
                  <a:gd name="T29" fmla="*/ 151 h 284"/>
                  <a:gd name="T30" fmla="*/ 231 w 546"/>
                  <a:gd name="T31" fmla="*/ 155 h 284"/>
                  <a:gd name="T32" fmla="*/ 194 w 546"/>
                  <a:gd name="T33" fmla="*/ 178 h 284"/>
                  <a:gd name="T34" fmla="*/ 200 w 546"/>
                  <a:gd name="T35" fmla="*/ 180 h 284"/>
                  <a:gd name="T36" fmla="*/ 77 w 546"/>
                  <a:gd name="T37" fmla="*/ 198 h 284"/>
                  <a:gd name="T38" fmla="*/ 14 w 546"/>
                  <a:gd name="T39" fmla="*/ 117 h 284"/>
                  <a:gd name="T40" fmla="*/ 19 w 546"/>
                  <a:gd name="T41" fmla="*/ 76 h 284"/>
                  <a:gd name="T42" fmla="*/ 50 w 546"/>
                  <a:gd name="T43" fmla="*/ 53 h 284"/>
                  <a:gd name="T44" fmla="*/ 48 w 546"/>
                  <a:gd name="T45" fmla="*/ 5 h 284"/>
                  <a:gd name="T46" fmla="*/ 100 w 546"/>
                  <a:gd name="T47" fmla="*/ 61 h 284"/>
                  <a:gd name="T48" fmla="*/ 60 w 546"/>
                  <a:gd name="T49" fmla="*/ 76 h 284"/>
                  <a:gd name="T50" fmla="*/ 44 w 546"/>
                  <a:gd name="T51" fmla="*/ 138 h 284"/>
                  <a:gd name="T52" fmla="*/ 56 w 546"/>
                  <a:gd name="T53" fmla="*/ 146 h 284"/>
                  <a:gd name="T54" fmla="*/ 89 w 546"/>
                  <a:gd name="T55" fmla="*/ 151 h 284"/>
                  <a:gd name="T56" fmla="*/ 94 w 546"/>
                  <a:gd name="T57" fmla="*/ 144 h 284"/>
                  <a:gd name="T58" fmla="*/ 121 w 546"/>
                  <a:gd name="T59" fmla="*/ 115 h 284"/>
                  <a:gd name="T60" fmla="*/ 142 w 546"/>
                  <a:gd name="T61" fmla="*/ 123 h 284"/>
                  <a:gd name="T62" fmla="*/ 196 w 546"/>
                  <a:gd name="T63" fmla="*/ 105 h 284"/>
                  <a:gd name="T64" fmla="*/ 235 w 546"/>
                  <a:gd name="T65" fmla="*/ 113 h 284"/>
                  <a:gd name="T66" fmla="*/ 244 w 546"/>
                  <a:gd name="T67" fmla="*/ 107 h 284"/>
                  <a:gd name="T68" fmla="*/ 263 w 546"/>
                  <a:gd name="T69" fmla="*/ 107 h 284"/>
                  <a:gd name="T70" fmla="*/ 200 w 546"/>
                  <a:gd name="T71" fmla="*/ 59 h 284"/>
                  <a:gd name="T72" fmla="*/ 494 w 546"/>
                  <a:gd name="T73" fmla="*/ 140 h 284"/>
                  <a:gd name="T74" fmla="*/ 542 w 546"/>
                  <a:gd name="T75" fmla="*/ 176 h 284"/>
                  <a:gd name="T76" fmla="*/ 528 w 546"/>
                  <a:gd name="T77" fmla="*/ 190 h 284"/>
                  <a:gd name="T78" fmla="*/ 544 w 546"/>
                  <a:gd name="T79" fmla="*/ 219 h 284"/>
                  <a:gd name="T80" fmla="*/ 503 w 546"/>
                  <a:gd name="T81" fmla="*/ 240 h 284"/>
                  <a:gd name="T82" fmla="*/ 457 w 546"/>
                  <a:gd name="T83" fmla="*/ 273 h 284"/>
                  <a:gd name="T84" fmla="*/ 204 w 546"/>
                  <a:gd name="T85" fmla="*/ 178 h 284"/>
                  <a:gd name="T86" fmla="*/ 225 w 546"/>
                  <a:gd name="T87" fmla="*/ 163 h 284"/>
                  <a:gd name="T88" fmla="*/ 229 w 546"/>
                  <a:gd name="T89" fmla="*/ 167 h 284"/>
                  <a:gd name="T90" fmla="*/ 258 w 546"/>
                  <a:gd name="T91" fmla="*/ 157 h 284"/>
                  <a:gd name="T92" fmla="*/ 296 w 546"/>
                  <a:gd name="T93" fmla="*/ 146 h 284"/>
                  <a:gd name="T94" fmla="*/ 336 w 546"/>
                  <a:gd name="T95" fmla="*/ 153 h 284"/>
                  <a:gd name="T96" fmla="*/ 329 w 546"/>
                  <a:gd name="T97" fmla="*/ 173 h 284"/>
                  <a:gd name="T98" fmla="*/ 334 w 546"/>
                  <a:gd name="T99" fmla="*/ 153 h 284"/>
                  <a:gd name="T100" fmla="*/ 357 w 546"/>
                  <a:gd name="T101" fmla="*/ 157 h 284"/>
                  <a:gd name="T102" fmla="*/ 400 w 546"/>
                  <a:gd name="T103" fmla="*/ 151 h 284"/>
                  <a:gd name="T104" fmla="*/ 396 w 546"/>
                  <a:gd name="T105" fmla="*/ 169 h 284"/>
                  <a:gd name="T106" fmla="*/ 390 w 546"/>
                  <a:gd name="T107" fmla="*/ 180 h 284"/>
                  <a:gd name="T108" fmla="*/ 409 w 546"/>
                  <a:gd name="T109" fmla="*/ 190 h 284"/>
                  <a:gd name="T110" fmla="*/ 436 w 546"/>
                  <a:gd name="T111" fmla="*/ 178 h 284"/>
                  <a:gd name="T112" fmla="*/ 448 w 546"/>
                  <a:gd name="T113" fmla="*/ 180 h 284"/>
                  <a:gd name="T114" fmla="*/ 452 w 546"/>
                  <a:gd name="T115" fmla="*/ 182 h 284"/>
                  <a:gd name="T116" fmla="*/ 446 w 546"/>
                  <a:gd name="T117" fmla="*/ 155 h 284"/>
                  <a:gd name="T118" fmla="*/ 442 w 546"/>
                  <a:gd name="T119" fmla="*/ 123 h 284"/>
                  <a:gd name="T120" fmla="*/ 473 w 546"/>
                  <a:gd name="T121" fmla="*/ 157 h 284"/>
                  <a:gd name="T122" fmla="*/ 455 w 546"/>
                  <a:gd name="T123" fmla="*/ 121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6" h="284">
                    <a:moveTo>
                      <a:pt x="200" y="186"/>
                    </a:moveTo>
                    <a:lnTo>
                      <a:pt x="198" y="186"/>
                    </a:lnTo>
                    <a:lnTo>
                      <a:pt x="198" y="188"/>
                    </a:lnTo>
                    <a:lnTo>
                      <a:pt x="198" y="186"/>
                    </a:lnTo>
                    <a:lnTo>
                      <a:pt x="196" y="186"/>
                    </a:lnTo>
                    <a:lnTo>
                      <a:pt x="198" y="186"/>
                    </a:lnTo>
                    <a:lnTo>
                      <a:pt x="196" y="184"/>
                    </a:lnTo>
                    <a:lnTo>
                      <a:pt x="196" y="186"/>
                    </a:lnTo>
                    <a:lnTo>
                      <a:pt x="196" y="184"/>
                    </a:lnTo>
                    <a:lnTo>
                      <a:pt x="198" y="184"/>
                    </a:lnTo>
                    <a:lnTo>
                      <a:pt x="198" y="186"/>
                    </a:lnTo>
                    <a:lnTo>
                      <a:pt x="200" y="186"/>
                    </a:lnTo>
                    <a:lnTo>
                      <a:pt x="198" y="186"/>
                    </a:lnTo>
                    <a:lnTo>
                      <a:pt x="200" y="186"/>
                    </a:lnTo>
                    <a:close/>
                    <a:moveTo>
                      <a:pt x="206" y="188"/>
                    </a:moveTo>
                    <a:lnTo>
                      <a:pt x="206" y="190"/>
                    </a:lnTo>
                    <a:lnTo>
                      <a:pt x="206" y="188"/>
                    </a:lnTo>
                    <a:lnTo>
                      <a:pt x="206" y="190"/>
                    </a:lnTo>
                    <a:lnTo>
                      <a:pt x="206" y="188"/>
                    </a:lnTo>
                    <a:lnTo>
                      <a:pt x="206" y="190"/>
                    </a:lnTo>
                    <a:lnTo>
                      <a:pt x="206" y="188"/>
                    </a:lnTo>
                    <a:close/>
                    <a:moveTo>
                      <a:pt x="204" y="188"/>
                    </a:moveTo>
                    <a:lnTo>
                      <a:pt x="204" y="186"/>
                    </a:lnTo>
                    <a:lnTo>
                      <a:pt x="206" y="188"/>
                    </a:lnTo>
                    <a:lnTo>
                      <a:pt x="204" y="188"/>
                    </a:lnTo>
                    <a:lnTo>
                      <a:pt x="204" y="190"/>
                    </a:lnTo>
                    <a:lnTo>
                      <a:pt x="200" y="186"/>
                    </a:lnTo>
                    <a:lnTo>
                      <a:pt x="200" y="184"/>
                    </a:lnTo>
                    <a:lnTo>
                      <a:pt x="202" y="184"/>
                    </a:lnTo>
                    <a:lnTo>
                      <a:pt x="200" y="184"/>
                    </a:lnTo>
                    <a:lnTo>
                      <a:pt x="202" y="184"/>
                    </a:lnTo>
                    <a:lnTo>
                      <a:pt x="202" y="182"/>
                    </a:lnTo>
                    <a:lnTo>
                      <a:pt x="202" y="180"/>
                    </a:lnTo>
                    <a:lnTo>
                      <a:pt x="202" y="182"/>
                    </a:lnTo>
                    <a:lnTo>
                      <a:pt x="202" y="184"/>
                    </a:lnTo>
                    <a:lnTo>
                      <a:pt x="204" y="184"/>
                    </a:lnTo>
                    <a:lnTo>
                      <a:pt x="204" y="186"/>
                    </a:lnTo>
                    <a:lnTo>
                      <a:pt x="204" y="184"/>
                    </a:lnTo>
                    <a:lnTo>
                      <a:pt x="204" y="186"/>
                    </a:lnTo>
                    <a:lnTo>
                      <a:pt x="204" y="188"/>
                    </a:lnTo>
                    <a:close/>
                    <a:moveTo>
                      <a:pt x="202" y="184"/>
                    </a:moveTo>
                    <a:lnTo>
                      <a:pt x="202" y="182"/>
                    </a:lnTo>
                    <a:lnTo>
                      <a:pt x="202" y="184"/>
                    </a:lnTo>
                    <a:close/>
                    <a:moveTo>
                      <a:pt x="194" y="176"/>
                    </a:moveTo>
                    <a:lnTo>
                      <a:pt x="194" y="175"/>
                    </a:lnTo>
                    <a:lnTo>
                      <a:pt x="194" y="176"/>
                    </a:lnTo>
                    <a:close/>
                    <a:moveTo>
                      <a:pt x="194" y="176"/>
                    </a:moveTo>
                    <a:lnTo>
                      <a:pt x="192" y="176"/>
                    </a:lnTo>
                    <a:lnTo>
                      <a:pt x="192" y="175"/>
                    </a:lnTo>
                    <a:lnTo>
                      <a:pt x="194" y="175"/>
                    </a:lnTo>
                    <a:lnTo>
                      <a:pt x="192" y="175"/>
                    </a:lnTo>
                    <a:lnTo>
                      <a:pt x="194" y="175"/>
                    </a:lnTo>
                    <a:lnTo>
                      <a:pt x="192" y="176"/>
                    </a:lnTo>
                    <a:lnTo>
                      <a:pt x="194" y="176"/>
                    </a:lnTo>
                    <a:close/>
                    <a:moveTo>
                      <a:pt x="196" y="175"/>
                    </a:moveTo>
                    <a:lnTo>
                      <a:pt x="194" y="175"/>
                    </a:lnTo>
                    <a:lnTo>
                      <a:pt x="196" y="175"/>
                    </a:lnTo>
                    <a:close/>
                    <a:moveTo>
                      <a:pt x="196" y="175"/>
                    </a:moveTo>
                    <a:lnTo>
                      <a:pt x="194" y="175"/>
                    </a:lnTo>
                    <a:lnTo>
                      <a:pt x="194" y="173"/>
                    </a:lnTo>
                    <a:lnTo>
                      <a:pt x="196" y="175"/>
                    </a:lnTo>
                    <a:close/>
                    <a:moveTo>
                      <a:pt x="204" y="178"/>
                    </a:moveTo>
                    <a:lnTo>
                      <a:pt x="202" y="176"/>
                    </a:lnTo>
                    <a:lnTo>
                      <a:pt x="204" y="176"/>
                    </a:lnTo>
                    <a:lnTo>
                      <a:pt x="204" y="178"/>
                    </a:lnTo>
                    <a:lnTo>
                      <a:pt x="206" y="178"/>
                    </a:lnTo>
                    <a:lnTo>
                      <a:pt x="206" y="180"/>
                    </a:lnTo>
                    <a:lnTo>
                      <a:pt x="204" y="180"/>
                    </a:lnTo>
                    <a:lnTo>
                      <a:pt x="204" y="178"/>
                    </a:lnTo>
                    <a:close/>
                    <a:moveTo>
                      <a:pt x="206" y="173"/>
                    </a:moveTo>
                    <a:lnTo>
                      <a:pt x="206" y="171"/>
                    </a:lnTo>
                    <a:lnTo>
                      <a:pt x="206" y="173"/>
                    </a:lnTo>
                    <a:close/>
                    <a:moveTo>
                      <a:pt x="210" y="171"/>
                    </a:moveTo>
                    <a:lnTo>
                      <a:pt x="208" y="173"/>
                    </a:lnTo>
                    <a:lnTo>
                      <a:pt x="208" y="171"/>
                    </a:lnTo>
                    <a:lnTo>
                      <a:pt x="210" y="171"/>
                    </a:lnTo>
                    <a:close/>
                    <a:moveTo>
                      <a:pt x="198" y="167"/>
                    </a:moveTo>
                    <a:lnTo>
                      <a:pt x="198" y="165"/>
                    </a:lnTo>
                    <a:lnTo>
                      <a:pt x="198" y="167"/>
                    </a:lnTo>
                    <a:close/>
                    <a:moveTo>
                      <a:pt x="198" y="167"/>
                    </a:moveTo>
                    <a:lnTo>
                      <a:pt x="200" y="167"/>
                    </a:lnTo>
                    <a:lnTo>
                      <a:pt x="198" y="167"/>
                    </a:lnTo>
                    <a:close/>
                    <a:moveTo>
                      <a:pt x="198" y="167"/>
                    </a:moveTo>
                    <a:lnTo>
                      <a:pt x="198" y="165"/>
                    </a:lnTo>
                    <a:lnTo>
                      <a:pt x="198" y="167"/>
                    </a:lnTo>
                    <a:lnTo>
                      <a:pt x="198" y="165"/>
                    </a:lnTo>
                    <a:lnTo>
                      <a:pt x="198" y="167"/>
                    </a:lnTo>
                    <a:lnTo>
                      <a:pt x="198" y="165"/>
                    </a:lnTo>
                    <a:lnTo>
                      <a:pt x="198" y="167"/>
                    </a:lnTo>
                    <a:close/>
                    <a:moveTo>
                      <a:pt x="210" y="171"/>
                    </a:moveTo>
                    <a:lnTo>
                      <a:pt x="208" y="171"/>
                    </a:lnTo>
                    <a:lnTo>
                      <a:pt x="208" y="173"/>
                    </a:lnTo>
                    <a:lnTo>
                      <a:pt x="206" y="173"/>
                    </a:lnTo>
                    <a:lnTo>
                      <a:pt x="208" y="171"/>
                    </a:lnTo>
                    <a:lnTo>
                      <a:pt x="210" y="171"/>
                    </a:lnTo>
                    <a:lnTo>
                      <a:pt x="208" y="171"/>
                    </a:lnTo>
                    <a:lnTo>
                      <a:pt x="210" y="171"/>
                    </a:lnTo>
                    <a:close/>
                    <a:moveTo>
                      <a:pt x="202" y="163"/>
                    </a:moveTo>
                    <a:lnTo>
                      <a:pt x="202" y="165"/>
                    </a:lnTo>
                    <a:lnTo>
                      <a:pt x="202" y="163"/>
                    </a:lnTo>
                    <a:lnTo>
                      <a:pt x="202" y="165"/>
                    </a:lnTo>
                    <a:lnTo>
                      <a:pt x="202" y="163"/>
                    </a:lnTo>
                    <a:close/>
                    <a:moveTo>
                      <a:pt x="208" y="161"/>
                    </a:moveTo>
                    <a:lnTo>
                      <a:pt x="208" y="163"/>
                    </a:lnTo>
                    <a:lnTo>
                      <a:pt x="208" y="161"/>
                    </a:lnTo>
                    <a:lnTo>
                      <a:pt x="208" y="163"/>
                    </a:lnTo>
                    <a:lnTo>
                      <a:pt x="208" y="161"/>
                    </a:lnTo>
                    <a:lnTo>
                      <a:pt x="208" y="163"/>
                    </a:lnTo>
                    <a:lnTo>
                      <a:pt x="208" y="161"/>
                    </a:lnTo>
                    <a:lnTo>
                      <a:pt x="208" y="163"/>
                    </a:lnTo>
                    <a:lnTo>
                      <a:pt x="208" y="161"/>
                    </a:lnTo>
                    <a:close/>
                    <a:moveTo>
                      <a:pt x="210" y="167"/>
                    </a:moveTo>
                    <a:lnTo>
                      <a:pt x="210" y="169"/>
                    </a:lnTo>
                    <a:lnTo>
                      <a:pt x="208" y="169"/>
                    </a:lnTo>
                    <a:lnTo>
                      <a:pt x="208" y="171"/>
                    </a:lnTo>
                    <a:lnTo>
                      <a:pt x="206" y="171"/>
                    </a:lnTo>
                    <a:lnTo>
                      <a:pt x="204" y="173"/>
                    </a:lnTo>
                    <a:lnTo>
                      <a:pt x="202" y="173"/>
                    </a:lnTo>
                    <a:lnTo>
                      <a:pt x="200" y="173"/>
                    </a:lnTo>
                    <a:lnTo>
                      <a:pt x="200" y="171"/>
                    </a:lnTo>
                    <a:lnTo>
                      <a:pt x="200" y="169"/>
                    </a:lnTo>
                    <a:lnTo>
                      <a:pt x="202" y="169"/>
                    </a:lnTo>
                    <a:lnTo>
                      <a:pt x="200" y="171"/>
                    </a:lnTo>
                    <a:lnTo>
                      <a:pt x="202" y="171"/>
                    </a:lnTo>
                    <a:lnTo>
                      <a:pt x="202" y="169"/>
                    </a:lnTo>
                    <a:lnTo>
                      <a:pt x="200" y="169"/>
                    </a:lnTo>
                    <a:lnTo>
                      <a:pt x="200" y="167"/>
                    </a:lnTo>
                    <a:lnTo>
                      <a:pt x="202" y="167"/>
                    </a:lnTo>
                    <a:lnTo>
                      <a:pt x="202" y="165"/>
                    </a:lnTo>
                    <a:lnTo>
                      <a:pt x="202" y="163"/>
                    </a:lnTo>
                    <a:lnTo>
                      <a:pt x="204" y="163"/>
                    </a:lnTo>
                    <a:lnTo>
                      <a:pt x="204" y="161"/>
                    </a:lnTo>
                    <a:lnTo>
                      <a:pt x="204" y="163"/>
                    </a:lnTo>
                    <a:lnTo>
                      <a:pt x="206" y="161"/>
                    </a:lnTo>
                    <a:lnTo>
                      <a:pt x="206" y="159"/>
                    </a:lnTo>
                    <a:lnTo>
                      <a:pt x="208" y="159"/>
                    </a:lnTo>
                    <a:lnTo>
                      <a:pt x="208" y="161"/>
                    </a:lnTo>
                    <a:lnTo>
                      <a:pt x="208" y="159"/>
                    </a:lnTo>
                    <a:lnTo>
                      <a:pt x="208" y="161"/>
                    </a:lnTo>
                    <a:lnTo>
                      <a:pt x="208" y="159"/>
                    </a:lnTo>
                    <a:lnTo>
                      <a:pt x="208" y="161"/>
                    </a:lnTo>
                    <a:lnTo>
                      <a:pt x="208" y="163"/>
                    </a:lnTo>
                    <a:lnTo>
                      <a:pt x="208" y="161"/>
                    </a:lnTo>
                    <a:lnTo>
                      <a:pt x="210" y="159"/>
                    </a:lnTo>
                    <a:lnTo>
                      <a:pt x="210" y="161"/>
                    </a:lnTo>
                    <a:lnTo>
                      <a:pt x="210" y="159"/>
                    </a:lnTo>
                    <a:lnTo>
                      <a:pt x="210" y="161"/>
                    </a:lnTo>
                    <a:lnTo>
                      <a:pt x="210" y="159"/>
                    </a:lnTo>
                    <a:lnTo>
                      <a:pt x="210" y="161"/>
                    </a:lnTo>
                    <a:lnTo>
                      <a:pt x="211" y="161"/>
                    </a:lnTo>
                    <a:lnTo>
                      <a:pt x="210" y="161"/>
                    </a:lnTo>
                    <a:lnTo>
                      <a:pt x="210" y="163"/>
                    </a:lnTo>
                    <a:lnTo>
                      <a:pt x="210" y="165"/>
                    </a:lnTo>
                    <a:lnTo>
                      <a:pt x="208" y="165"/>
                    </a:lnTo>
                    <a:lnTo>
                      <a:pt x="208" y="167"/>
                    </a:lnTo>
                    <a:lnTo>
                      <a:pt x="210" y="167"/>
                    </a:lnTo>
                    <a:close/>
                    <a:moveTo>
                      <a:pt x="204" y="165"/>
                    </a:moveTo>
                    <a:lnTo>
                      <a:pt x="206" y="165"/>
                    </a:lnTo>
                    <a:lnTo>
                      <a:pt x="204" y="163"/>
                    </a:lnTo>
                    <a:lnTo>
                      <a:pt x="206" y="163"/>
                    </a:lnTo>
                    <a:lnTo>
                      <a:pt x="204" y="163"/>
                    </a:lnTo>
                    <a:lnTo>
                      <a:pt x="204" y="165"/>
                    </a:lnTo>
                    <a:close/>
                    <a:moveTo>
                      <a:pt x="208" y="163"/>
                    </a:moveTo>
                    <a:lnTo>
                      <a:pt x="208" y="161"/>
                    </a:lnTo>
                    <a:lnTo>
                      <a:pt x="208" y="163"/>
                    </a:lnTo>
                    <a:close/>
                    <a:moveTo>
                      <a:pt x="231" y="163"/>
                    </a:moveTo>
                    <a:lnTo>
                      <a:pt x="229" y="161"/>
                    </a:lnTo>
                    <a:lnTo>
                      <a:pt x="231" y="161"/>
                    </a:lnTo>
                    <a:lnTo>
                      <a:pt x="231" y="163"/>
                    </a:lnTo>
                    <a:close/>
                    <a:moveTo>
                      <a:pt x="240" y="157"/>
                    </a:moveTo>
                    <a:lnTo>
                      <a:pt x="238" y="159"/>
                    </a:lnTo>
                    <a:lnTo>
                      <a:pt x="240" y="159"/>
                    </a:lnTo>
                    <a:lnTo>
                      <a:pt x="238" y="159"/>
                    </a:lnTo>
                    <a:lnTo>
                      <a:pt x="240" y="159"/>
                    </a:lnTo>
                    <a:lnTo>
                      <a:pt x="240" y="157"/>
                    </a:lnTo>
                    <a:lnTo>
                      <a:pt x="240" y="159"/>
                    </a:lnTo>
                    <a:lnTo>
                      <a:pt x="240" y="157"/>
                    </a:lnTo>
                    <a:lnTo>
                      <a:pt x="242" y="157"/>
                    </a:lnTo>
                    <a:lnTo>
                      <a:pt x="242" y="159"/>
                    </a:lnTo>
                    <a:lnTo>
                      <a:pt x="240" y="159"/>
                    </a:lnTo>
                    <a:lnTo>
                      <a:pt x="238" y="159"/>
                    </a:lnTo>
                    <a:lnTo>
                      <a:pt x="236" y="159"/>
                    </a:lnTo>
                    <a:lnTo>
                      <a:pt x="238" y="159"/>
                    </a:lnTo>
                    <a:lnTo>
                      <a:pt x="240" y="159"/>
                    </a:lnTo>
                    <a:lnTo>
                      <a:pt x="242" y="159"/>
                    </a:lnTo>
                    <a:lnTo>
                      <a:pt x="242" y="157"/>
                    </a:lnTo>
                    <a:lnTo>
                      <a:pt x="244" y="157"/>
                    </a:lnTo>
                    <a:lnTo>
                      <a:pt x="242" y="157"/>
                    </a:lnTo>
                    <a:lnTo>
                      <a:pt x="242" y="159"/>
                    </a:lnTo>
                    <a:lnTo>
                      <a:pt x="240" y="161"/>
                    </a:lnTo>
                    <a:lnTo>
                      <a:pt x="240" y="159"/>
                    </a:lnTo>
                    <a:lnTo>
                      <a:pt x="240" y="161"/>
                    </a:lnTo>
                    <a:lnTo>
                      <a:pt x="238" y="161"/>
                    </a:lnTo>
                    <a:lnTo>
                      <a:pt x="238" y="159"/>
                    </a:lnTo>
                    <a:lnTo>
                      <a:pt x="236" y="161"/>
                    </a:lnTo>
                    <a:lnTo>
                      <a:pt x="238" y="159"/>
                    </a:lnTo>
                    <a:lnTo>
                      <a:pt x="238" y="161"/>
                    </a:lnTo>
                    <a:lnTo>
                      <a:pt x="240" y="161"/>
                    </a:lnTo>
                    <a:lnTo>
                      <a:pt x="238" y="161"/>
                    </a:lnTo>
                    <a:lnTo>
                      <a:pt x="236" y="161"/>
                    </a:lnTo>
                    <a:lnTo>
                      <a:pt x="235" y="163"/>
                    </a:lnTo>
                    <a:lnTo>
                      <a:pt x="236" y="161"/>
                    </a:lnTo>
                    <a:lnTo>
                      <a:pt x="236" y="163"/>
                    </a:lnTo>
                    <a:lnTo>
                      <a:pt x="235" y="163"/>
                    </a:lnTo>
                    <a:lnTo>
                      <a:pt x="233" y="163"/>
                    </a:lnTo>
                    <a:lnTo>
                      <a:pt x="235" y="163"/>
                    </a:lnTo>
                    <a:lnTo>
                      <a:pt x="233" y="163"/>
                    </a:lnTo>
                    <a:lnTo>
                      <a:pt x="231" y="163"/>
                    </a:lnTo>
                    <a:lnTo>
                      <a:pt x="231" y="161"/>
                    </a:lnTo>
                    <a:lnTo>
                      <a:pt x="229" y="161"/>
                    </a:lnTo>
                    <a:lnTo>
                      <a:pt x="229" y="159"/>
                    </a:lnTo>
                    <a:lnTo>
                      <a:pt x="227" y="159"/>
                    </a:lnTo>
                    <a:lnTo>
                      <a:pt x="229" y="159"/>
                    </a:lnTo>
                    <a:lnTo>
                      <a:pt x="231" y="159"/>
                    </a:lnTo>
                    <a:lnTo>
                      <a:pt x="229" y="159"/>
                    </a:lnTo>
                    <a:lnTo>
                      <a:pt x="227" y="159"/>
                    </a:lnTo>
                    <a:lnTo>
                      <a:pt x="225" y="159"/>
                    </a:lnTo>
                    <a:lnTo>
                      <a:pt x="225" y="157"/>
                    </a:lnTo>
                    <a:lnTo>
                      <a:pt x="227" y="157"/>
                    </a:lnTo>
                    <a:lnTo>
                      <a:pt x="227" y="155"/>
                    </a:lnTo>
                    <a:lnTo>
                      <a:pt x="227" y="157"/>
                    </a:lnTo>
                    <a:lnTo>
                      <a:pt x="229" y="157"/>
                    </a:lnTo>
                    <a:lnTo>
                      <a:pt x="231" y="157"/>
                    </a:lnTo>
                    <a:lnTo>
                      <a:pt x="229" y="157"/>
                    </a:lnTo>
                    <a:lnTo>
                      <a:pt x="231" y="157"/>
                    </a:lnTo>
                    <a:lnTo>
                      <a:pt x="233" y="157"/>
                    </a:lnTo>
                    <a:lnTo>
                      <a:pt x="235" y="157"/>
                    </a:lnTo>
                    <a:lnTo>
                      <a:pt x="236" y="157"/>
                    </a:lnTo>
                    <a:lnTo>
                      <a:pt x="238" y="157"/>
                    </a:lnTo>
                    <a:lnTo>
                      <a:pt x="236" y="157"/>
                    </a:lnTo>
                    <a:lnTo>
                      <a:pt x="235" y="157"/>
                    </a:lnTo>
                    <a:lnTo>
                      <a:pt x="235" y="159"/>
                    </a:lnTo>
                    <a:lnTo>
                      <a:pt x="233" y="159"/>
                    </a:lnTo>
                    <a:lnTo>
                      <a:pt x="235" y="159"/>
                    </a:lnTo>
                    <a:lnTo>
                      <a:pt x="235" y="157"/>
                    </a:lnTo>
                    <a:lnTo>
                      <a:pt x="236" y="157"/>
                    </a:lnTo>
                    <a:lnTo>
                      <a:pt x="238" y="157"/>
                    </a:lnTo>
                    <a:lnTo>
                      <a:pt x="240" y="157"/>
                    </a:lnTo>
                    <a:lnTo>
                      <a:pt x="240" y="155"/>
                    </a:lnTo>
                    <a:lnTo>
                      <a:pt x="242" y="155"/>
                    </a:lnTo>
                    <a:lnTo>
                      <a:pt x="244" y="153"/>
                    </a:lnTo>
                    <a:lnTo>
                      <a:pt x="244" y="155"/>
                    </a:lnTo>
                    <a:lnTo>
                      <a:pt x="244" y="157"/>
                    </a:lnTo>
                    <a:lnTo>
                      <a:pt x="242" y="157"/>
                    </a:lnTo>
                    <a:lnTo>
                      <a:pt x="240" y="157"/>
                    </a:lnTo>
                    <a:lnTo>
                      <a:pt x="242" y="157"/>
                    </a:lnTo>
                    <a:lnTo>
                      <a:pt x="240" y="157"/>
                    </a:lnTo>
                    <a:close/>
                    <a:moveTo>
                      <a:pt x="256" y="159"/>
                    </a:moveTo>
                    <a:lnTo>
                      <a:pt x="254" y="157"/>
                    </a:lnTo>
                    <a:lnTo>
                      <a:pt x="256" y="157"/>
                    </a:lnTo>
                    <a:lnTo>
                      <a:pt x="254" y="157"/>
                    </a:lnTo>
                    <a:lnTo>
                      <a:pt x="254" y="159"/>
                    </a:lnTo>
                    <a:lnTo>
                      <a:pt x="254" y="157"/>
                    </a:lnTo>
                    <a:lnTo>
                      <a:pt x="254" y="159"/>
                    </a:lnTo>
                    <a:lnTo>
                      <a:pt x="256" y="159"/>
                    </a:lnTo>
                    <a:lnTo>
                      <a:pt x="254" y="159"/>
                    </a:lnTo>
                    <a:lnTo>
                      <a:pt x="252" y="159"/>
                    </a:lnTo>
                    <a:lnTo>
                      <a:pt x="254" y="159"/>
                    </a:lnTo>
                    <a:lnTo>
                      <a:pt x="256" y="159"/>
                    </a:lnTo>
                    <a:lnTo>
                      <a:pt x="254" y="159"/>
                    </a:lnTo>
                    <a:lnTo>
                      <a:pt x="252" y="159"/>
                    </a:lnTo>
                    <a:lnTo>
                      <a:pt x="250" y="159"/>
                    </a:lnTo>
                    <a:lnTo>
                      <a:pt x="250" y="161"/>
                    </a:lnTo>
                    <a:lnTo>
                      <a:pt x="248" y="161"/>
                    </a:lnTo>
                    <a:lnTo>
                      <a:pt x="248" y="163"/>
                    </a:lnTo>
                    <a:lnTo>
                      <a:pt x="246" y="161"/>
                    </a:lnTo>
                    <a:lnTo>
                      <a:pt x="244" y="161"/>
                    </a:lnTo>
                    <a:lnTo>
                      <a:pt x="242" y="161"/>
                    </a:lnTo>
                    <a:lnTo>
                      <a:pt x="242" y="159"/>
                    </a:lnTo>
                    <a:lnTo>
                      <a:pt x="244" y="159"/>
                    </a:lnTo>
                    <a:lnTo>
                      <a:pt x="244" y="157"/>
                    </a:lnTo>
                    <a:lnTo>
                      <a:pt x="246" y="157"/>
                    </a:lnTo>
                    <a:lnTo>
                      <a:pt x="248" y="157"/>
                    </a:lnTo>
                    <a:lnTo>
                      <a:pt x="250" y="157"/>
                    </a:lnTo>
                    <a:lnTo>
                      <a:pt x="252" y="157"/>
                    </a:lnTo>
                    <a:lnTo>
                      <a:pt x="254" y="157"/>
                    </a:lnTo>
                    <a:lnTo>
                      <a:pt x="256" y="157"/>
                    </a:lnTo>
                    <a:lnTo>
                      <a:pt x="256" y="159"/>
                    </a:lnTo>
                    <a:lnTo>
                      <a:pt x="254" y="159"/>
                    </a:lnTo>
                    <a:lnTo>
                      <a:pt x="256" y="159"/>
                    </a:lnTo>
                    <a:close/>
                    <a:moveTo>
                      <a:pt x="273" y="144"/>
                    </a:moveTo>
                    <a:lnTo>
                      <a:pt x="275" y="144"/>
                    </a:lnTo>
                    <a:lnTo>
                      <a:pt x="275" y="146"/>
                    </a:lnTo>
                    <a:lnTo>
                      <a:pt x="273" y="146"/>
                    </a:lnTo>
                    <a:lnTo>
                      <a:pt x="275" y="146"/>
                    </a:lnTo>
                    <a:lnTo>
                      <a:pt x="273" y="146"/>
                    </a:lnTo>
                    <a:lnTo>
                      <a:pt x="273" y="148"/>
                    </a:lnTo>
                    <a:lnTo>
                      <a:pt x="271" y="150"/>
                    </a:lnTo>
                    <a:lnTo>
                      <a:pt x="271" y="146"/>
                    </a:lnTo>
                    <a:lnTo>
                      <a:pt x="271" y="148"/>
                    </a:lnTo>
                    <a:lnTo>
                      <a:pt x="271" y="146"/>
                    </a:lnTo>
                    <a:lnTo>
                      <a:pt x="273" y="146"/>
                    </a:lnTo>
                    <a:lnTo>
                      <a:pt x="273" y="144"/>
                    </a:lnTo>
                    <a:close/>
                    <a:moveTo>
                      <a:pt x="271" y="148"/>
                    </a:moveTo>
                    <a:lnTo>
                      <a:pt x="271" y="150"/>
                    </a:lnTo>
                    <a:lnTo>
                      <a:pt x="271" y="148"/>
                    </a:lnTo>
                    <a:lnTo>
                      <a:pt x="271" y="150"/>
                    </a:lnTo>
                    <a:lnTo>
                      <a:pt x="269" y="150"/>
                    </a:lnTo>
                    <a:lnTo>
                      <a:pt x="271" y="150"/>
                    </a:lnTo>
                    <a:lnTo>
                      <a:pt x="271" y="151"/>
                    </a:lnTo>
                    <a:lnTo>
                      <a:pt x="267" y="153"/>
                    </a:lnTo>
                    <a:lnTo>
                      <a:pt x="265" y="153"/>
                    </a:lnTo>
                    <a:lnTo>
                      <a:pt x="265" y="155"/>
                    </a:lnTo>
                    <a:lnTo>
                      <a:pt x="263" y="155"/>
                    </a:lnTo>
                    <a:lnTo>
                      <a:pt x="261" y="153"/>
                    </a:lnTo>
                    <a:lnTo>
                      <a:pt x="263" y="155"/>
                    </a:lnTo>
                    <a:lnTo>
                      <a:pt x="261" y="155"/>
                    </a:lnTo>
                    <a:lnTo>
                      <a:pt x="259" y="155"/>
                    </a:lnTo>
                    <a:lnTo>
                      <a:pt x="261" y="153"/>
                    </a:lnTo>
                    <a:lnTo>
                      <a:pt x="259" y="153"/>
                    </a:lnTo>
                    <a:lnTo>
                      <a:pt x="259" y="151"/>
                    </a:lnTo>
                    <a:lnTo>
                      <a:pt x="261" y="151"/>
                    </a:lnTo>
                    <a:lnTo>
                      <a:pt x="261" y="150"/>
                    </a:lnTo>
                    <a:lnTo>
                      <a:pt x="263" y="150"/>
                    </a:lnTo>
                    <a:lnTo>
                      <a:pt x="265" y="150"/>
                    </a:lnTo>
                    <a:lnTo>
                      <a:pt x="267" y="148"/>
                    </a:lnTo>
                    <a:lnTo>
                      <a:pt x="265" y="148"/>
                    </a:lnTo>
                    <a:lnTo>
                      <a:pt x="267" y="148"/>
                    </a:lnTo>
                    <a:lnTo>
                      <a:pt x="267" y="146"/>
                    </a:lnTo>
                    <a:lnTo>
                      <a:pt x="265" y="148"/>
                    </a:lnTo>
                    <a:lnTo>
                      <a:pt x="265" y="150"/>
                    </a:lnTo>
                    <a:lnTo>
                      <a:pt x="263" y="150"/>
                    </a:lnTo>
                    <a:lnTo>
                      <a:pt x="261" y="150"/>
                    </a:lnTo>
                    <a:lnTo>
                      <a:pt x="261" y="151"/>
                    </a:lnTo>
                    <a:lnTo>
                      <a:pt x="259" y="151"/>
                    </a:lnTo>
                    <a:lnTo>
                      <a:pt x="259" y="153"/>
                    </a:lnTo>
                    <a:lnTo>
                      <a:pt x="259" y="155"/>
                    </a:lnTo>
                    <a:lnTo>
                      <a:pt x="259" y="153"/>
                    </a:lnTo>
                    <a:lnTo>
                      <a:pt x="259" y="155"/>
                    </a:lnTo>
                    <a:lnTo>
                      <a:pt x="258" y="155"/>
                    </a:lnTo>
                    <a:lnTo>
                      <a:pt x="256" y="157"/>
                    </a:lnTo>
                    <a:lnTo>
                      <a:pt x="252" y="155"/>
                    </a:lnTo>
                    <a:lnTo>
                      <a:pt x="250" y="155"/>
                    </a:lnTo>
                    <a:lnTo>
                      <a:pt x="248" y="155"/>
                    </a:lnTo>
                    <a:lnTo>
                      <a:pt x="250" y="155"/>
                    </a:lnTo>
                    <a:lnTo>
                      <a:pt x="252" y="155"/>
                    </a:lnTo>
                    <a:lnTo>
                      <a:pt x="250" y="155"/>
                    </a:lnTo>
                    <a:lnTo>
                      <a:pt x="248" y="155"/>
                    </a:lnTo>
                    <a:lnTo>
                      <a:pt x="246" y="155"/>
                    </a:lnTo>
                    <a:lnTo>
                      <a:pt x="244" y="155"/>
                    </a:lnTo>
                    <a:lnTo>
                      <a:pt x="246" y="155"/>
                    </a:lnTo>
                    <a:lnTo>
                      <a:pt x="244" y="155"/>
                    </a:lnTo>
                    <a:lnTo>
                      <a:pt x="246" y="155"/>
                    </a:lnTo>
                    <a:lnTo>
                      <a:pt x="248" y="153"/>
                    </a:lnTo>
                    <a:lnTo>
                      <a:pt x="250" y="153"/>
                    </a:lnTo>
                    <a:lnTo>
                      <a:pt x="250" y="151"/>
                    </a:lnTo>
                    <a:lnTo>
                      <a:pt x="252" y="151"/>
                    </a:lnTo>
                    <a:lnTo>
                      <a:pt x="254" y="151"/>
                    </a:lnTo>
                    <a:lnTo>
                      <a:pt x="256" y="151"/>
                    </a:lnTo>
                    <a:lnTo>
                      <a:pt x="258" y="150"/>
                    </a:lnTo>
                    <a:lnTo>
                      <a:pt x="258" y="148"/>
                    </a:lnTo>
                    <a:lnTo>
                      <a:pt x="258" y="146"/>
                    </a:lnTo>
                    <a:lnTo>
                      <a:pt x="259" y="146"/>
                    </a:lnTo>
                    <a:lnTo>
                      <a:pt x="259" y="148"/>
                    </a:lnTo>
                    <a:lnTo>
                      <a:pt x="259" y="146"/>
                    </a:lnTo>
                    <a:lnTo>
                      <a:pt x="261" y="144"/>
                    </a:lnTo>
                    <a:lnTo>
                      <a:pt x="263" y="144"/>
                    </a:lnTo>
                    <a:lnTo>
                      <a:pt x="265" y="144"/>
                    </a:lnTo>
                    <a:lnTo>
                      <a:pt x="263" y="146"/>
                    </a:lnTo>
                    <a:lnTo>
                      <a:pt x="265" y="144"/>
                    </a:lnTo>
                    <a:lnTo>
                      <a:pt x="265" y="146"/>
                    </a:lnTo>
                    <a:lnTo>
                      <a:pt x="267" y="144"/>
                    </a:lnTo>
                    <a:lnTo>
                      <a:pt x="267" y="146"/>
                    </a:lnTo>
                    <a:lnTo>
                      <a:pt x="267" y="144"/>
                    </a:lnTo>
                    <a:lnTo>
                      <a:pt x="269" y="144"/>
                    </a:lnTo>
                    <a:lnTo>
                      <a:pt x="271" y="144"/>
                    </a:lnTo>
                    <a:lnTo>
                      <a:pt x="269" y="144"/>
                    </a:lnTo>
                    <a:lnTo>
                      <a:pt x="267" y="144"/>
                    </a:lnTo>
                    <a:lnTo>
                      <a:pt x="267" y="146"/>
                    </a:lnTo>
                    <a:lnTo>
                      <a:pt x="269" y="146"/>
                    </a:lnTo>
                    <a:lnTo>
                      <a:pt x="267" y="146"/>
                    </a:lnTo>
                    <a:lnTo>
                      <a:pt x="269" y="146"/>
                    </a:lnTo>
                    <a:lnTo>
                      <a:pt x="267" y="146"/>
                    </a:lnTo>
                    <a:lnTo>
                      <a:pt x="267" y="144"/>
                    </a:lnTo>
                    <a:lnTo>
                      <a:pt x="269" y="144"/>
                    </a:lnTo>
                    <a:lnTo>
                      <a:pt x="271" y="144"/>
                    </a:lnTo>
                    <a:lnTo>
                      <a:pt x="269" y="144"/>
                    </a:lnTo>
                    <a:lnTo>
                      <a:pt x="269" y="146"/>
                    </a:lnTo>
                    <a:lnTo>
                      <a:pt x="267" y="148"/>
                    </a:lnTo>
                    <a:lnTo>
                      <a:pt x="269" y="146"/>
                    </a:lnTo>
                    <a:lnTo>
                      <a:pt x="269" y="148"/>
                    </a:lnTo>
                    <a:lnTo>
                      <a:pt x="267" y="148"/>
                    </a:lnTo>
                    <a:lnTo>
                      <a:pt x="267" y="150"/>
                    </a:lnTo>
                    <a:lnTo>
                      <a:pt x="265" y="150"/>
                    </a:lnTo>
                    <a:lnTo>
                      <a:pt x="265" y="151"/>
                    </a:lnTo>
                    <a:lnTo>
                      <a:pt x="265" y="150"/>
                    </a:lnTo>
                    <a:lnTo>
                      <a:pt x="267" y="150"/>
                    </a:lnTo>
                    <a:lnTo>
                      <a:pt x="267" y="148"/>
                    </a:lnTo>
                    <a:lnTo>
                      <a:pt x="269" y="148"/>
                    </a:lnTo>
                    <a:lnTo>
                      <a:pt x="269" y="146"/>
                    </a:lnTo>
                    <a:lnTo>
                      <a:pt x="269" y="144"/>
                    </a:lnTo>
                    <a:lnTo>
                      <a:pt x="269" y="146"/>
                    </a:lnTo>
                    <a:lnTo>
                      <a:pt x="269" y="148"/>
                    </a:lnTo>
                    <a:lnTo>
                      <a:pt x="269" y="146"/>
                    </a:lnTo>
                    <a:lnTo>
                      <a:pt x="269" y="144"/>
                    </a:lnTo>
                    <a:lnTo>
                      <a:pt x="271" y="144"/>
                    </a:lnTo>
                    <a:lnTo>
                      <a:pt x="271" y="146"/>
                    </a:lnTo>
                    <a:lnTo>
                      <a:pt x="269" y="146"/>
                    </a:lnTo>
                    <a:lnTo>
                      <a:pt x="271" y="146"/>
                    </a:lnTo>
                    <a:lnTo>
                      <a:pt x="271" y="148"/>
                    </a:lnTo>
                    <a:lnTo>
                      <a:pt x="271" y="146"/>
                    </a:lnTo>
                    <a:lnTo>
                      <a:pt x="269" y="146"/>
                    </a:lnTo>
                    <a:lnTo>
                      <a:pt x="271" y="146"/>
                    </a:lnTo>
                    <a:lnTo>
                      <a:pt x="271" y="144"/>
                    </a:lnTo>
                    <a:lnTo>
                      <a:pt x="271" y="146"/>
                    </a:lnTo>
                    <a:lnTo>
                      <a:pt x="271" y="144"/>
                    </a:lnTo>
                    <a:lnTo>
                      <a:pt x="273" y="144"/>
                    </a:lnTo>
                    <a:lnTo>
                      <a:pt x="271" y="144"/>
                    </a:lnTo>
                    <a:lnTo>
                      <a:pt x="273" y="144"/>
                    </a:lnTo>
                    <a:lnTo>
                      <a:pt x="273" y="146"/>
                    </a:lnTo>
                    <a:lnTo>
                      <a:pt x="271" y="146"/>
                    </a:lnTo>
                    <a:lnTo>
                      <a:pt x="271" y="148"/>
                    </a:lnTo>
                    <a:close/>
                    <a:moveTo>
                      <a:pt x="267" y="148"/>
                    </a:moveTo>
                    <a:lnTo>
                      <a:pt x="267" y="150"/>
                    </a:lnTo>
                    <a:lnTo>
                      <a:pt x="267" y="148"/>
                    </a:lnTo>
                    <a:close/>
                    <a:moveTo>
                      <a:pt x="263" y="146"/>
                    </a:moveTo>
                    <a:lnTo>
                      <a:pt x="261" y="144"/>
                    </a:lnTo>
                    <a:lnTo>
                      <a:pt x="263" y="146"/>
                    </a:lnTo>
                    <a:lnTo>
                      <a:pt x="261" y="146"/>
                    </a:lnTo>
                    <a:lnTo>
                      <a:pt x="261" y="148"/>
                    </a:lnTo>
                    <a:lnTo>
                      <a:pt x="263" y="148"/>
                    </a:lnTo>
                    <a:lnTo>
                      <a:pt x="261" y="148"/>
                    </a:lnTo>
                    <a:lnTo>
                      <a:pt x="261" y="146"/>
                    </a:lnTo>
                    <a:lnTo>
                      <a:pt x="263" y="146"/>
                    </a:lnTo>
                    <a:close/>
                    <a:moveTo>
                      <a:pt x="261" y="148"/>
                    </a:moveTo>
                    <a:lnTo>
                      <a:pt x="263" y="148"/>
                    </a:lnTo>
                    <a:lnTo>
                      <a:pt x="261" y="148"/>
                    </a:lnTo>
                    <a:close/>
                    <a:moveTo>
                      <a:pt x="261" y="148"/>
                    </a:moveTo>
                    <a:lnTo>
                      <a:pt x="259" y="148"/>
                    </a:lnTo>
                    <a:lnTo>
                      <a:pt x="261" y="148"/>
                    </a:lnTo>
                    <a:close/>
                    <a:moveTo>
                      <a:pt x="252" y="153"/>
                    </a:moveTo>
                    <a:lnTo>
                      <a:pt x="250" y="153"/>
                    </a:lnTo>
                    <a:lnTo>
                      <a:pt x="252" y="153"/>
                    </a:lnTo>
                    <a:lnTo>
                      <a:pt x="254" y="153"/>
                    </a:lnTo>
                    <a:lnTo>
                      <a:pt x="254" y="151"/>
                    </a:lnTo>
                    <a:lnTo>
                      <a:pt x="252" y="153"/>
                    </a:lnTo>
                    <a:close/>
                    <a:moveTo>
                      <a:pt x="259" y="155"/>
                    </a:moveTo>
                    <a:lnTo>
                      <a:pt x="258" y="155"/>
                    </a:lnTo>
                    <a:lnTo>
                      <a:pt x="259" y="155"/>
                    </a:lnTo>
                    <a:close/>
                    <a:moveTo>
                      <a:pt x="258" y="144"/>
                    </a:moveTo>
                    <a:lnTo>
                      <a:pt x="258" y="142"/>
                    </a:lnTo>
                    <a:lnTo>
                      <a:pt x="258" y="144"/>
                    </a:lnTo>
                    <a:lnTo>
                      <a:pt x="258" y="142"/>
                    </a:lnTo>
                    <a:lnTo>
                      <a:pt x="258" y="144"/>
                    </a:lnTo>
                    <a:lnTo>
                      <a:pt x="258" y="146"/>
                    </a:lnTo>
                    <a:lnTo>
                      <a:pt x="256" y="146"/>
                    </a:lnTo>
                    <a:lnTo>
                      <a:pt x="258" y="146"/>
                    </a:lnTo>
                    <a:lnTo>
                      <a:pt x="258" y="144"/>
                    </a:lnTo>
                    <a:lnTo>
                      <a:pt x="259" y="144"/>
                    </a:lnTo>
                    <a:lnTo>
                      <a:pt x="258" y="144"/>
                    </a:lnTo>
                    <a:lnTo>
                      <a:pt x="259" y="146"/>
                    </a:lnTo>
                    <a:lnTo>
                      <a:pt x="258" y="146"/>
                    </a:lnTo>
                    <a:lnTo>
                      <a:pt x="258" y="148"/>
                    </a:lnTo>
                    <a:lnTo>
                      <a:pt x="256" y="148"/>
                    </a:lnTo>
                    <a:lnTo>
                      <a:pt x="258" y="148"/>
                    </a:lnTo>
                    <a:lnTo>
                      <a:pt x="258" y="150"/>
                    </a:lnTo>
                    <a:lnTo>
                      <a:pt x="256" y="150"/>
                    </a:lnTo>
                    <a:lnTo>
                      <a:pt x="254" y="150"/>
                    </a:lnTo>
                    <a:lnTo>
                      <a:pt x="254" y="151"/>
                    </a:lnTo>
                    <a:lnTo>
                      <a:pt x="252" y="151"/>
                    </a:lnTo>
                    <a:lnTo>
                      <a:pt x="250" y="151"/>
                    </a:lnTo>
                    <a:lnTo>
                      <a:pt x="250" y="150"/>
                    </a:lnTo>
                    <a:lnTo>
                      <a:pt x="250" y="148"/>
                    </a:lnTo>
                    <a:lnTo>
                      <a:pt x="252" y="148"/>
                    </a:lnTo>
                    <a:lnTo>
                      <a:pt x="252" y="146"/>
                    </a:lnTo>
                    <a:lnTo>
                      <a:pt x="252" y="148"/>
                    </a:lnTo>
                    <a:lnTo>
                      <a:pt x="252" y="146"/>
                    </a:lnTo>
                    <a:lnTo>
                      <a:pt x="254" y="146"/>
                    </a:lnTo>
                    <a:lnTo>
                      <a:pt x="252" y="146"/>
                    </a:lnTo>
                    <a:lnTo>
                      <a:pt x="252" y="148"/>
                    </a:lnTo>
                    <a:lnTo>
                      <a:pt x="252" y="146"/>
                    </a:lnTo>
                    <a:lnTo>
                      <a:pt x="252" y="148"/>
                    </a:lnTo>
                    <a:lnTo>
                      <a:pt x="250" y="148"/>
                    </a:lnTo>
                    <a:lnTo>
                      <a:pt x="248" y="148"/>
                    </a:lnTo>
                    <a:lnTo>
                      <a:pt x="248" y="146"/>
                    </a:lnTo>
                    <a:lnTo>
                      <a:pt x="250" y="146"/>
                    </a:lnTo>
                    <a:lnTo>
                      <a:pt x="248" y="146"/>
                    </a:lnTo>
                    <a:lnTo>
                      <a:pt x="248" y="148"/>
                    </a:lnTo>
                    <a:lnTo>
                      <a:pt x="250" y="148"/>
                    </a:lnTo>
                    <a:lnTo>
                      <a:pt x="250" y="150"/>
                    </a:lnTo>
                    <a:lnTo>
                      <a:pt x="250" y="151"/>
                    </a:lnTo>
                    <a:lnTo>
                      <a:pt x="248" y="151"/>
                    </a:lnTo>
                    <a:lnTo>
                      <a:pt x="248" y="153"/>
                    </a:lnTo>
                    <a:lnTo>
                      <a:pt x="246" y="155"/>
                    </a:lnTo>
                    <a:lnTo>
                      <a:pt x="244" y="153"/>
                    </a:lnTo>
                    <a:lnTo>
                      <a:pt x="246" y="153"/>
                    </a:lnTo>
                    <a:lnTo>
                      <a:pt x="246" y="151"/>
                    </a:lnTo>
                    <a:lnTo>
                      <a:pt x="244" y="151"/>
                    </a:lnTo>
                    <a:lnTo>
                      <a:pt x="244" y="150"/>
                    </a:lnTo>
                    <a:lnTo>
                      <a:pt x="242" y="150"/>
                    </a:lnTo>
                    <a:lnTo>
                      <a:pt x="242" y="148"/>
                    </a:lnTo>
                    <a:lnTo>
                      <a:pt x="244" y="148"/>
                    </a:lnTo>
                    <a:lnTo>
                      <a:pt x="244" y="146"/>
                    </a:lnTo>
                    <a:lnTo>
                      <a:pt x="244" y="144"/>
                    </a:lnTo>
                    <a:lnTo>
                      <a:pt x="244" y="146"/>
                    </a:lnTo>
                    <a:lnTo>
                      <a:pt x="244" y="144"/>
                    </a:lnTo>
                    <a:lnTo>
                      <a:pt x="244" y="142"/>
                    </a:lnTo>
                    <a:lnTo>
                      <a:pt x="246" y="142"/>
                    </a:lnTo>
                    <a:lnTo>
                      <a:pt x="244" y="142"/>
                    </a:lnTo>
                    <a:lnTo>
                      <a:pt x="244" y="144"/>
                    </a:lnTo>
                    <a:lnTo>
                      <a:pt x="244" y="142"/>
                    </a:lnTo>
                    <a:lnTo>
                      <a:pt x="246" y="142"/>
                    </a:lnTo>
                    <a:lnTo>
                      <a:pt x="246" y="140"/>
                    </a:lnTo>
                    <a:lnTo>
                      <a:pt x="246" y="142"/>
                    </a:lnTo>
                    <a:lnTo>
                      <a:pt x="246" y="140"/>
                    </a:lnTo>
                    <a:lnTo>
                      <a:pt x="248" y="140"/>
                    </a:lnTo>
                    <a:lnTo>
                      <a:pt x="250" y="140"/>
                    </a:lnTo>
                    <a:lnTo>
                      <a:pt x="248" y="140"/>
                    </a:lnTo>
                    <a:lnTo>
                      <a:pt x="250" y="140"/>
                    </a:lnTo>
                    <a:lnTo>
                      <a:pt x="248" y="140"/>
                    </a:lnTo>
                    <a:lnTo>
                      <a:pt x="250" y="140"/>
                    </a:lnTo>
                    <a:lnTo>
                      <a:pt x="248" y="140"/>
                    </a:lnTo>
                    <a:lnTo>
                      <a:pt x="250" y="140"/>
                    </a:lnTo>
                    <a:lnTo>
                      <a:pt x="252" y="138"/>
                    </a:lnTo>
                    <a:lnTo>
                      <a:pt x="252" y="140"/>
                    </a:lnTo>
                    <a:lnTo>
                      <a:pt x="252" y="138"/>
                    </a:lnTo>
                    <a:lnTo>
                      <a:pt x="252" y="140"/>
                    </a:lnTo>
                    <a:lnTo>
                      <a:pt x="250" y="140"/>
                    </a:lnTo>
                    <a:lnTo>
                      <a:pt x="252" y="140"/>
                    </a:lnTo>
                    <a:lnTo>
                      <a:pt x="252" y="138"/>
                    </a:lnTo>
                    <a:lnTo>
                      <a:pt x="252" y="140"/>
                    </a:lnTo>
                    <a:lnTo>
                      <a:pt x="250" y="140"/>
                    </a:lnTo>
                    <a:lnTo>
                      <a:pt x="250" y="142"/>
                    </a:lnTo>
                    <a:lnTo>
                      <a:pt x="248" y="142"/>
                    </a:lnTo>
                    <a:lnTo>
                      <a:pt x="250" y="142"/>
                    </a:lnTo>
                    <a:lnTo>
                      <a:pt x="248" y="142"/>
                    </a:lnTo>
                    <a:lnTo>
                      <a:pt x="250" y="142"/>
                    </a:lnTo>
                    <a:lnTo>
                      <a:pt x="248" y="144"/>
                    </a:lnTo>
                    <a:lnTo>
                      <a:pt x="250" y="144"/>
                    </a:lnTo>
                    <a:lnTo>
                      <a:pt x="250" y="142"/>
                    </a:lnTo>
                    <a:lnTo>
                      <a:pt x="250" y="140"/>
                    </a:lnTo>
                    <a:lnTo>
                      <a:pt x="252" y="140"/>
                    </a:lnTo>
                    <a:lnTo>
                      <a:pt x="254" y="140"/>
                    </a:lnTo>
                    <a:lnTo>
                      <a:pt x="252" y="140"/>
                    </a:lnTo>
                    <a:lnTo>
                      <a:pt x="252" y="138"/>
                    </a:lnTo>
                    <a:lnTo>
                      <a:pt x="252" y="136"/>
                    </a:lnTo>
                    <a:lnTo>
                      <a:pt x="254" y="136"/>
                    </a:lnTo>
                    <a:lnTo>
                      <a:pt x="256" y="136"/>
                    </a:lnTo>
                    <a:lnTo>
                      <a:pt x="254" y="136"/>
                    </a:lnTo>
                    <a:lnTo>
                      <a:pt x="256" y="136"/>
                    </a:lnTo>
                    <a:lnTo>
                      <a:pt x="254" y="136"/>
                    </a:lnTo>
                    <a:lnTo>
                      <a:pt x="256" y="136"/>
                    </a:lnTo>
                    <a:lnTo>
                      <a:pt x="258" y="136"/>
                    </a:lnTo>
                    <a:lnTo>
                      <a:pt x="258" y="138"/>
                    </a:lnTo>
                    <a:lnTo>
                      <a:pt x="256" y="138"/>
                    </a:lnTo>
                    <a:lnTo>
                      <a:pt x="258" y="138"/>
                    </a:lnTo>
                    <a:lnTo>
                      <a:pt x="258" y="136"/>
                    </a:lnTo>
                    <a:lnTo>
                      <a:pt x="258" y="138"/>
                    </a:lnTo>
                    <a:lnTo>
                      <a:pt x="258" y="136"/>
                    </a:lnTo>
                    <a:lnTo>
                      <a:pt x="258" y="138"/>
                    </a:lnTo>
                    <a:lnTo>
                      <a:pt x="258" y="136"/>
                    </a:lnTo>
                    <a:lnTo>
                      <a:pt x="259" y="136"/>
                    </a:lnTo>
                    <a:lnTo>
                      <a:pt x="259" y="138"/>
                    </a:lnTo>
                    <a:lnTo>
                      <a:pt x="258" y="138"/>
                    </a:lnTo>
                    <a:lnTo>
                      <a:pt x="258" y="140"/>
                    </a:lnTo>
                    <a:lnTo>
                      <a:pt x="258" y="138"/>
                    </a:lnTo>
                    <a:lnTo>
                      <a:pt x="258" y="140"/>
                    </a:lnTo>
                    <a:lnTo>
                      <a:pt x="258" y="138"/>
                    </a:lnTo>
                    <a:lnTo>
                      <a:pt x="258" y="140"/>
                    </a:lnTo>
                    <a:lnTo>
                      <a:pt x="258" y="142"/>
                    </a:lnTo>
                    <a:lnTo>
                      <a:pt x="258" y="144"/>
                    </a:lnTo>
                    <a:close/>
                    <a:moveTo>
                      <a:pt x="254" y="140"/>
                    </a:moveTo>
                    <a:lnTo>
                      <a:pt x="254" y="142"/>
                    </a:lnTo>
                    <a:lnTo>
                      <a:pt x="254" y="140"/>
                    </a:lnTo>
                    <a:close/>
                    <a:moveTo>
                      <a:pt x="256" y="140"/>
                    </a:moveTo>
                    <a:lnTo>
                      <a:pt x="254" y="140"/>
                    </a:lnTo>
                    <a:lnTo>
                      <a:pt x="256" y="140"/>
                    </a:lnTo>
                    <a:close/>
                    <a:moveTo>
                      <a:pt x="256" y="140"/>
                    </a:moveTo>
                    <a:lnTo>
                      <a:pt x="256" y="138"/>
                    </a:lnTo>
                    <a:lnTo>
                      <a:pt x="256" y="140"/>
                    </a:lnTo>
                    <a:lnTo>
                      <a:pt x="256" y="138"/>
                    </a:lnTo>
                    <a:lnTo>
                      <a:pt x="256" y="140"/>
                    </a:lnTo>
                    <a:close/>
                    <a:moveTo>
                      <a:pt x="258" y="138"/>
                    </a:moveTo>
                    <a:lnTo>
                      <a:pt x="258" y="140"/>
                    </a:lnTo>
                    <a:lnTo>
                      <a:pt x="258" y="138"/>
                    </a:lnTo>
                    <a:close/>
                    <a:moveTo>
                      <a:pt x="254" y="144"/>
                    </a:moveTo>
                    <a:lnTo>
                      <a:pt x="254" y="142"/>
                    </a:lnTo>
                    <a:lnTo>
                      <a:pt x="254" y="144"/>
                    </a:lnTo>
                    <a:close/>
                    <a:moveTo>
                      <a:pt x="248" y="146"/>
                    </a:moveTo>
                    <a:lnTo>
                      <a:pt x="250" y="146"/>
                    </a:lnTo>
                    <a:lnTo>
                      <a:pt x="252" y="144"/>
                    </a:lnTo>
                    <a:lnTo>
                      <a:pt x="254" y="144"/>
                    </a:lnTo>
                    <a:lnTo>
                      <a:pt x="252" y="144"/>
                    </a:lnTo>
                    <a:lnTo>
                      <a:pt x="250" y="146"/>
                    </a:lnTo>
                    <a:lnTo>
                      <a:pt x="248" y="146"/>
                    </a:lnTo>
                    <a:close/>
                    <a:moveTo>
                      <a:pt x="256" y="146"/>
                    </a:moveTo>
                    <a:lnTo>
                      <a:pt x="254" y="146"/>
                    </a:lnTo>
                    <a:lnTo>
                      <a:pt x="256" y="146"/>
                    </a:lnTo>
                    <a:close/>
                    <a:moveTo>
                      <a:pt x="248" y="148"/>
                    </a:moveTo>
                    <a:lnTo>
                      <a:pt x="250" y="148"/>
                    </a:lnTo>
                    <a:lnTo>
                      <a:pt x="248" y="148"/>
                    </a:lnTo>
                    <a:lnTo>
                      <a:pt x="248" y="146"/>
                    </a:lnTo>
                    <a:lnTo>
                      <a:pt x="248" y="148"/>
                    </a:lnTo>
                    <a:close/>
                    <a:moveTo>
                      <a:pt x="244" y="146"/>
                    </a:moveTo>
                    <a:lnTo>
                      <a:pt x="246" y="146"/>
                    </a:lnTo>
                    <a:lnTo>
                      <a:pt x="244" y="146"/>
                    </a:lnTo>
                    <a:close/>
                    <a:moveTo>
                      <a:pt x="246" y="148"/>
                    </a:moveTo>
                    <a:lnTo>
                      <a:pt x="244" y="148"/>
                    </a:lnTo>
                    <a:lnTo>
                      <a:pt x="244" y="150"/>
                    </a:lnTo>
                    <a:lnTo>
                      <a:pt x="244" y="148"/>
                    </a:lnTo>
                    <a:lnTo>
                      <a:pt x="246" y="148"/>
                    </a:lnTo>
                    <a:close/>
                    <a:moveTo>
                      <a:pt x="246" y="148"/>
                    </a:moveTo>
                    <a:lnTo>
                      <a:pt x="244" y="148"/>
                    </a:lnTo>
                    <a:lnTo>
                      <a:pt x="246" y="150"/>
                    </a:lnTo>
                    <a:lnTo>
                      <a:pt x="244" y="150"/>
                    </a:lnTo>
                    <a:lnTo>
                      <a:pt x="246" y="150"/>
                    </a:lnTo>
                    <a:lnTo>
                      <a:pt x="246" y="148"/>
                    </a:lnTo>
                    <a:close/>
                    <a:moveTo>
                      <a:pt x="248" y="151"/>
                    </a:moveTo>
                    <a:lnTo>
                      <a:pt x="248" y="153"/>
                    </a:lnTo>
                    <a:lnTo>
                      <a:pt x="246" y="153"/>
                    </a:lnTo>
                    <a:lnTo>
                      <a:pt x="248" y="153"/>
                    </a:lnTo>
                    <a:lnTo>
                      <a:pt x="248" y="151"/>
                    </a:lnTo>
                    <a:lnTo>
                      <a:pt x="250" y="151"/>
                    </a:lnTo>
                    <a:lnTo>
                      <a:pt x="250" y="150"/>
                    </a:lnTo>
                    <a:lnTo>
                      <a:pt x="250" y="151"/>
                    </a:lnTo>
                    <a:lnTo>
                      <a:pt x="248" y="151"/>
                    </a:lnTo>
                    <a:close/>
                    <a:moveTo>
                      <a:pt x="265" y="142"/>
                    </a:moveTo>
                    <a:lnTo>
                      <a:pt x="267" y="142"/>
                    </a:lnTo>
                    <a:lnTo>
                      <a:pt x="265" y="142"/>
                    </a:lnTo>
                    <a:lnTo>
                      <a:pt x="265" y="144"/>
                    </a:lnTo>
                    <a:lnTo>
                      <a:pt x="267" y="144"/>
                    </a:lnTo>
                    <a:lnTo>
                      <a:pt x="267" y="142"/>
                    </a:lnTo>
                    <a:lnTo>
                      <a:pt x="267" y="144"/>
                    </a:lnTo>
                    <a:lnTo>
                      <a:pt x="267" y="142"/>
                    </a:lnTo>
                    <a:lnTo>
                      <a:pt x="267" y="144"/>
                    </a:lnTo>
                    <a:lnTo>
                      <a:pt x="267" y="142"/>
                    </a:lnTo>
                    <a:lnTo>
                      <a:pt x="267" y="144"/>
                    </a:lnTo>
                    <a:lnTo>
                      <a:pt x="265" y="144"/>
                    </a:lnTo>
                    <a:lnTo>
                      <a:pt x="263" y="144"/>
                    </a:lnTo>
                    <a:lnTo>
                      <a:pt x="261" y="144"/>
                    </a:lnTo>
                    <a:lnTo>
                      <a:pt x="261" y="142"/>
                    </a:lnTo>
                    <a:lnTo>
                      <a:pt x="263" y="142"/>
                    </a:lnTo>
                    <a:lnTo>
                      <a:pt x="261" y="142"/>
                    </a:lnTo>
                    <a:lnTo>
                      <a:pt x="261" y="140"/>
                    </a:lnTo>
                    <a:lnTo>
                      <a:pt x="263" y="140"/>
                    </a:lnTo>
                    <a:lnTo>
                      <a:pt x="265" y="140"/>
                    </a:lnTo>
                    <a:lnTo>
                      <a:pt x="265" y="142"/>
                    </a:lnTo>
                    <a:lnTo>
                      <a:pt x="263" y="142"/>
                    </a:lnTo>
                    <a:lnTo>
                      <a:pt x="265" y="142"/>
                    </a:lnTo>
                    <a:lnTo>
                      <a:pt x="265" y="140"/>
                    </a:lnTo>
                    <a:lnTo>
                      <a:pt x="267" y="140"/>
                    </a:lnTo>
                    <a:lnTo>
                      <a:pt x="265" y="140"/>
                    </a:lnTo>
                    <a:lnTo>
                      <a:pt x="267" y="142"/>
                    </a:lnTo>
                    <a:lnTo>
                      <a:pt x="265" y="142"/>
                    </a:lnTo>
                    <a:close/>
                    <a:moveTo>
                      <a:pt x="261" y="140"/>
                    </a:moveTo>
                    <a:lnTo>
                      <a:pt x="259" y="140"/>
                    </a:lnTo>
                    <a:lnTo>
                      <a:pt x="261" y="140"/>
                    </a:lnTo>
                    <a:lnTo>
                      <a:pt x="261" y="138"/>
                    </a:lnTo>
                    <a:lnTo>
                      <a:pt x="261" y="140"/>
                    </a:lnTo>
                    <a:lnTo>
                      <a:pt x="261" y="138"/>
                    </a:lnTo>
                    <a:lnTo>
                      <a:pt x="263" y="140"/>
                    </a:lnTo>
                    <a:lnTo>
                      <a:pt x="263" y="138"/>
                    </a:lnTo>
                    <a:lnTo>
                      <a:pt x="263" y="140"/>
                    </a:lnTo>
                    <a:lnTo>
                      <a:pt x="261" y="140"/>
                    </a:lnTo>
                    <a:lnTo>
                      <a:pt x="259" y="142"/>
                    </a:lnTo>
                    <a:lnTo>
                      <a:pt x="261" y="142"/>
                    </a:lnTo>
                    <a:lnTo>
                      <a:pt x="261" y="144"/>
                    </a:lnTo>
                    <a:lnTo>
                      <a:pt x="261" y="142"/>
                    </a:lnTo>
                    <a:lnTo>
                      <a:pt x="261" y="144"/>
                    </a:lnTo>
                    <a:lnTo>
                      <a:pt x="259" y="146"/>
                    </a:lnTo>
                    <a:lnTo>
                      <a:pt x="259" y="144"/>
                    </a:lnTo>
                    <a:lnTo>
                      <a:pt x="258" y="144"/>
                    </a:lnTo>
                    <a:lnTo>
                      <a:pt x="258" y="142"/>
                    </a:lnTo>
                    <a:lnTo>
                      <a:pt x="259" y="140"/>
                    </a:lnTo>
                    <a:lnTo>
                      <a:pt x="261" y="140"/>
                    </a:lnTo>
                    <a:lnTo>
                      <a:pt x="261" y="138"/>
                    </a:lnTo>
                    <a:lnTo>
                      <a:pt x="261" y="140"/>
                    </a:lnTo>
                    <a:close/>
                    <a:moveTo>
                      <a:pt x="261" y="138"/>
                    </a:moveTo>
                    <a:lnTo>
                      <a:pt x="259" y="140"/>
                    </a:lnTo>
                    <a:lnTo>
                      <a:pt x="259" y="138"/>
                    </a:lnTo>
                    <a:lnTo>
                      <a:pt x="259" y="136"/>
                    </a:lnTo>
                    <a:lnTo>
                      <a:pt x="259" y="138"/>
                    </a:lnTo>
                    <a:lnTo>
                      <a:pt x="261" y="138"/>
                    </a:lnTo>
                    <a:close/>
                    <a:moveTo>
                      <a:pt x="267" y="140"/>
                    </a:moveTo>
                    <a:lnTo>
                      <a:pt x="269" y="140"/>
                    </a:lnTo>
                    <a:lnTo>
                      <a:pt x="267" y="140"/>
                    </a:lnTo>
                    <a:lnTo>
                      <a:pt x="269" y="140"/>
                    </a:lnTo>
                    <a:lnTo>
                      <a:pt x="267" y="142"/>
                    </a:lnTo>
                    <a:lnTo>
                      <a:pt x="267" y="140"/>
                    </a:lnTo>
                    <a:close/>
                    <a:moveTo>
                      <a:pt x="279" y="142"/>
                    </a:moveTo>
                    <a:lnTo>
                      <a:pt x="281" y="142"/>
                    </a:lnTo>
                    <a:lnTo>
                      <a:pt x="279" y="144"/>
                    </a:lnTo>
                    <a:lnTo>
                      <a:pt x="277" y="144"/>
                    </a:lnTo>
                    <a:lnTo>
                      <a:pt x="279" y="144"/>
                    </a:lnTo>
                    <a:lnTo>
                      <a:pt x="277" y="146"/>
                    </a:lnTo>
                    <a:lnTo>
                      <a:pt x="277" y="144"/>
                    </a:lnTo>
                    <a:lnTo>
                      <a:pt x="275" y="144"/>
                    </a:lnTo>
                    <a:lnTo>
                      <a:pt x="275" y="142"/>
                    </a:lnTo>
                    <a:lnTo>
                      <a:pt x="277" y="142"/>
                    </a:lnTo>
                    <a:lnTo>
                      <a:pt x="275" y="144"/>
                    </a:lnTo>
                    <a:lnTo>
                      <a:pt x="277" y="142"/>
                    </a:lnTo>
                    <a:lnTo>
                      <a:pt x="279" y="142"/>
                    </a:lnTo>
                    <a:lnTo>
                      <a:pt x="281" y="142"/>
                    </a:lnTo>
                    <a:lnTo>
                      <a:pt x="279" y="142"/>
                    </a:lnTo>
                    <a:close/>
                    <a:moveTo>
                      <a:pt x="279" y="142"/>
                    </a:moveTo>
                    <a:lnTo>
                      <a:pt x="277" y="142"/>
                    </a:lnTo>
                    <a:lnTo>
                      <a:pt x="279" y="142"/>
                    </a:lnTo>
                    <a:lnTo>
                      <a:pt x="279" y="140"/>
                    </a:lnTo>
                    <a:lnTo>
                      <a:pt x="281" y="140"/>
                    </a:lnTo>
                    <a:lnTo>
                      <a:pt x="281" y="142"/>
                    </a:lnTo>
                    <a:lnTo>
                      <a:pt x="281" y="140"/>
                    </a:lnTo>
                    <a:lnTo>
                      <a:pt x="281" y="142"/>
                    </a:lnTo>
                    <a:lnTo>
                      <a:pt x="279" y="142"/>
                    </a:lnTo>
                    <a:lnTo>
                      <a:pt x="281" y="142"/>
                    </a:lnTo>
                    <a:lnTo>
                      <a:pt x="279" y="142"/>
                    </a:lnTo>
                    <a:close/>
                    <a:moveTo>
                      <a:pt x="238" y="113"/>
                    </a:moveTo>
                    <a:lnTo>
                      <a:pt x="240" y="113"/>
                    </a:lnTo>
                    <a:lnTo>
                      <a:pt x="238" y="113"/>
                    </a:lnTo>
                    <a:close/>
                    <a:moveTo>
                      <a:pt x="394" y="171"/>
                    </a:moveTo>
                    <a:lnTo>
                      <a:pt x="396" y="171"/>
                    </a:lnTo>
                    <a:lnTo>
                      <a:pt x="394" y="171"/>
                    </a:lnTo>
                    <a:close/>
                    <a:moveTo>
                      <a:pt x="396" y="171"/>
                    </a:moveTo>
                    <a:lnTo>
                      <a:pt x="396" y="169"/>
                    </a:lnTo>
                    <a:lnTo>
                      <a:pt x="396" y="171"/>
                    </a:lnTo>
                    <a:lnTo>
                      <a:pt x="396" y="169"/>
                    </a:lnTo>
                    <a:lnTo>
                      <a:pt x="396" y="171"/>
                    </a:lnTo>
                    <a:lnTo>
                      <a:pt x="394" y="171"/>
                    </a:lnTo>
                    <a:lnTo>
                      <a:pt x="396" y="171"/>
                    </a:lnTo>
                    <a:lnTo>
                      <a:pt x="394" y="171"/>
                    </a:lnTo>
                    <a:lnTo>
                      <a:pt x="396" y="169"/>
                    </a:lnTo>
                    <a:lnTo>
                      <a:pt x="396" y="171"/>
                    </a:lnTo>
                    <a:close/>
                    <a:moveTo>
                      <a:pt x="325" y="140"/>
                    </a:moveTo>
                    <a:lnTo>
                      <a:pt x="327" y="140"/>
                    </a:lnTo>
                    <a:lnTo>
                      <a:pt x="325" y="140"/>
                    </a:lnTo>
                    <a:close/>
                    <a:moveTo>
                      <a:pt x="398" y="167"/>
                    </a:moveTo>
                    <a:lnTo>
                      <a:pt x="398" y="169"/>
                    </a:lnTo>
                    <a:lnTo>
                      <a:pt x="398" y="167"/>
                    </a:lnTo>
                    <a:close/>
                    <a:moveTo>
                      <a:pt x="413" y="159"/>
                    </a:moveTo>
                    <a:lnTo>
                      <a:pt x="411" y="159"/>
                    </a:lnTo>
                    <a:lnTo>
                      <a:pt x="413" y="159"/>
                    </a:lnTo>
                    <a:lnTo>
                      <a:pt x="411" y="159"/>
                    </a:lnTo>
                    <a:lnTo>
                      <a:pt x="413" y="159"/>
                    </a:lnTo>
                    <a:close/>
                    <a:moveTo>
                      <a:pt x="411" y="157"/>
                    </a:moveTo>
                    <a:lnTo>
                      <a:pt x="411" y="155"/>
                    </a:lnTo>
                    <a:lnTo>
                      <a:pt x="411" y="157"/>
                    </a:lnTo>
                    <a:close/>
                    <a:moveTo>
                      <a:pt x="279" y="107"/>
                    </a:moveTo>
                    <a:lnTo>
                      <a:pt x="279" y="105"/>
                    </a:lnTo>
                    <a:lnTo>
                      <a:pt x="281" y="105"/>
                    </a:lnTo>
                    <a:lnTo>
                      <a:pt x="283" y="107"/>
                    </a:lnTo>
                    <a:lnTo>
                      <a:pt x="284" y="109"/>
                    </a:lnTo>
                    <a:lnTo>
                      <a:pt x="284" y="111"/>
                    </a:lnTo>
                    <a:lnTo>
                      <a:pt x="284" y="109"/>
                    </a:lnTo>
                    <a:lnTo>
                      <a:pt x="284" y="111"/>
                    </a:lnTo>
                    <a:lnTo>
                      <a:pt x="283" y="111"/>
                    </a:lnTo>
                    <a:lnTo>
                      <a:pt x="281" y="111"/>
                    </a:lnTo>
                    <a:lnTo>
                      <a:pt x="281" y="113"/>
                    </a:lnTo>
                    <a:lnTo>
                      <a:pt x="279" y="113"/>
                    </a:lnTo>
                    <a:lnTo>
                      <a:pt x="279" y="115"/>
                    </a:lnTo>
                    <a:lnTo>
                      <a:pt x="279" y="117"/>
                    </a:lnTo>
                    <a:lnTo>
                      <a:pt x="277" y="117"/>
                    </a:lnTo>
                    <a:lnTo>
                      <a:pt x="275" y="117"/>
                    </a:lnTo>
                    <a:lnTo>
                      <a:pt x="275" y="119"/>
                    </a:lnTo>
                    <a:lnTo>
                      <a:pt x="273" y="119"/>
                    </a:lnTo>
                    <a:lnTo>
                      <a:pt x="273" y="121"/>
                    </a:lnTo>
                    <a:lnTo>
                      <a:pt x="275" y="121"/>
                    </a:lnTo>
                    <a:lnTo>
                      <a:pt x="275" y="123"/>
                    </a:lnTo>
                    <a:lnTo>
                      <a:pt x="273" y="123"/>
                    </a:lnTo>
                    <a:lnTo>
                      <a:pt x="275" y="123"/>
                    </a:lnTo>
                    <a:lnTo>
                      <a:pt x="275" y="125"/>
                    </a:lnTo>
                    <a:lnTo>
                      <a:pt x="275" y="126"/>
                    </a:lnTo>
                    <a:lnTo>
                      <a:pt x="275" y="128"/>
                    </a:lnTo>
                    <a:lnTo>
                      <a:pt x="275" y="130"/>
                    </a:lnTo>
                    <a:lnTo>
                      <a:pt x="273" y="130"/>
                    </a:lnTo>
                    <a:lnTo>
                      <a:pt x="273" y="132"/>
                    </a:lnTo>
                    <a:lnTo>
                      <a:pt x="273" y="134"/>
                    </a:lnTo>
                    <a:lnTo>
                      <a:pt x="271" y="134"/>
                    </a:lnTo>
                    <a:lnTo>
                      <a:pt x="273" y="134"/>
                    </a:lnTo>
                    <a:lnTo>
                      <a:pt x="271" y="134"/>
                    </a:lnTo>
                    <a:lnTo>
                      <a:pt x="273" y="134"/>
                    </a:lnTo>
                    <a:lnTo>
                      <a:pt x="271" y="134"/>
                    </a:lnTo>
                    <a:lnTo>
                      <a:pt x="269" y="134"/>
                    </a:lnTo>
                    <a:lnTo>
                      <a:pt x="269" y="136"/>
                    </a:lnTo>
                    <a:lnTo>
                      <a:pt x="267" y="134"/>
                    </a:lnTo>
                    <a:lnTo>
                      <a:pt x="267" y="132"/>
                    </a:lnTo>
                    <a:lnTo>
                      <a:pt x="267" y="130"/>
                    </a:lnTo>
                    <a:lnTo>
                      <a:pt x="265" y="130"/>
                    </a:lnTo>
                    <a:lnTo>
                      <a:pt x="263" y="130"/>
                    </a:lnTo>
                    <a:lnTo>
                      <a:pt x="265" y="130"/>
                    </a:lnTo>
                    <a:lnTo>
                      <a:pt x="265" y="132"/>
                    </a:lnTo>
                    <a:lnTo>
                      <a:pt x="265" y="134"/>
                    </a:lnTo>
                    <a:lnTo>
                      <a:pt x="263" y="134"/>
                    </a:lnTo>
                    <a:lnTo>
                      <a:pt x="263" y="132"/>
                    </a:lnTo>
                    <a:lnTo>
                      <a:pt x="265" y="132"/>
                    </a:lnTo>
                    <a:lnTo>
                      <a:pt x="263" y="132"/>
                    </a:lnTo>
                    <a:lnTo>
                      <a:pt x="265" y="132"/>
                    </a:lnTo>
                    <a:lnTo>
                      <a:pt x="263" y="132"/>
                    </a:lnTo>
                    <a:lnTo>
                      <a:pt x="261" y="130"/>
                    </a:lnTo>
                    <a:lnTo>
                      <a:pt x="261" y="128"/>
                    </a:lnTo>
                    <a:lnTo>
                      <a:pt x="261" y="130"/>
                    </a:lnTo>
                    <a:lnTo>
                      <a:pt x="259" y="130"/>
                    </a:lnTo>
                    <a:lnTo>
                      <a:pt x="258" y="130"/>
                    </a:lnTo>
                    <a:lnTo>
                      <a:pt x="259" y="130"/>
                    </a:lnTo>
                    <a:lnTo>
                      <a:pt x="258" y="130"/>
                    </a:lnTo>
                    <a:lnTo>
                      <a:pt x="256" y="130"/>
                    </a:lnTo>
                    <a:lnTo>
                      <a:pt x="256" y="132"/>
                    </a:lnTo>
                    <a:lnTo>
                      <a:pt x="254" y="132"/>
                    </a:lnTo>
                    <a:lnTo>
                      <a:pt x="254" y="134"/>
                    </a:lnTo>
                    <a:lnTo>
                      <a:pt x="252" y="134"/>
                    </a:lnTo>
                    <a:lnTo>
                      <a:pt x="252" y="136"/>
                    </a:lnTo>
                    <a:lnTo>
                      <a:pt x="252" y="134"/>
                    </a:lnTo>
                    <a:lnTo>
                      <a:pt x="252" y="136"/>
                    </a:lnTo>
                    <a:lnTo>
                      <a:pt x="250" y="136"/>
                    </a:lnTo>
                    <a:lnTo>
                      <a:pt x="250" y="138"/>
                    </a:lnTo>
                    <a:lnTo>
                      <a:pt x="250" y="136"/>
                    </a:lnTo>
                    <a:lnTo>
                      <a:pt x="248" y="136"/>
                    </a:lnTo>
                    <a:lnTo>
                      <a:pt x="248" y="138"/>
                    </a:lnTo>
                    <a:lnTo>
                      <a:pt x="250" y="138"/>
                    </a:lnTo>
                    <a:lnTo>
                      <a:pt x="250" y="140"/>
                    </a:lnTo>
                    <a:lnTo>
                      <a:pt x="248" y="140"/>
                    </a:lnTo>
                    <a:lnTo>
                      <a:pt x="248" y="138"/>
                    </a:lnTo>
                    <a:lnTo>
                      <a:pt x="248" y="140"/>
                    </a:lnTo>
                    <a:lnTo>
                      <a:pt x="250" y="140"/>
                    </a:lnTo>
                    <a:lnTo>
                      <a:pt x="248" y="140"/>
                    </a:lnTo>
                    <a:lnTo>
                      <a:pt x="246" y="140"/>
                    </a:lnTo>
                    <a:lnTo>
                      <a:pt x="248" y="140"/>
                    </a:lnTo>
                    <a:lnTo>
                      <a:pt x="246" y="140"/>
                    </a:lnTo>
                    <a:lnTo>
                      <a:pt x="244" y="140"/>
                    </a:lnTo>
                    <a:lnTo>
                      <a:pt x="244" y="142"/>
                    </a:lnTo>
                    <a:lnTo>
                      <a:pt x="244" y="140"/>
                    </a:lnTo>
                    <a:lnTo>
                      <a:pt x="246" y="140"/>
                    </a:lnTo>
                    <a:lnTo>
                      <a:pt x="244" y="142"/>
                    </a:lnTo>
                    <a:lnTo>
                      <a:pt x="244" y="144"/>
                    </a:lnTo>
                    <a:lnTo>
                      <a:pt x="242" y="144"/>
                    </a:lnTo>
                    <a:lnTo>
                      <a:pt x="242" y="146"/>
                    </a:lnTo>
                    <a:lnTo>
                      <a:pt x="240" y="146"/>
                    </a:lnTo>
                    <a:lnTo>
                      <a:pt x="240" y="148"/>
                    </a:lnTo>
                    <a:lnTo>
                      <a:pt x="238" y="148"/>
                    </a:lnTo>
                    <a:lnTo>
                      <a:pt x="238" y="146"/>
                    </a:lnTo>
                    <a:lnTo>
                      <a:pt x="240" y="146"/>
                    </a:lnTo>
                    <a:lnTo>
                      <a:pt x="240" y="148"/>
                    </a:lnTo>
                    <a:lnTo>
                      <a:pt x="240" y="146"/>
                    </a:lnTo>
                    <a:lnTo>
                      <a:pt x="238" y="146"/>
                    </a:lnTo>
                    <a:lnTo>
                      <a:pt x="236" y="146"/>
                    </a:lnTo>
                    <a:lnTo>
                      <a:pt x="236" y="148"/>
                    </a:lnTo>
                    <a:lnTo>
                      <a:pt x="235" y="148"/>
                    </a:lnTo>
                    <a:lnTo>
                      <a:pt x="235" y="146"/>
                    </a:lnTo>
                    <a:lnTo>
                      <a:pt x="235" y="148"/>
                    </a:lnTo>
                    <a:lnTo>
                      <a:pt x="233" y="148"/>
                    </a:lnTo>
                    <a:lnTo>
                      <a:pt x="235" y="148"/>
                    </a:lnTo>
                    <a:lnTo>
                      <a:pt x="233" y="148"/>
                    </a:lnTo>
                    <a:lnTo>
                      <a:pt x="233" y="150"/>
                    </a:lnTo>
                    <a:lnTo>
                      <a:pt x="231" y="150"/>
                    </a:lnTo>
                    <a:lnTo>
                      <a:pt x="229" y="150"/>
                    </a:lnTo>
                    <a:lnTo>
                      <a:pt x="227" y="150"/>
                    </a:lnTo>
                    <a:lnTo>
                      <a:pt x="229" y="150"/>
                    </a:lnTo>
                    <a:lnTo>
                      <a:pt x="229" y="151"/>
                    </a:lnTo>
                    <a:lnTo>
                      <a:pt x="227" y="151"/>
                    </a:lnTo>
                    <a:lnTo>
                      <a:pt x="225" y="150"/>
                    </a:lnTo>
                    <a:lnTo>
                      <a:pt x="223" y="150"/>
                    </a:lnTo>
                    <a:lnTo>
                      <a:pt x="221" y="150"/>
                    </a:lnTo>
                    <a:lnTo>
                      <a:pt x="221" y="151"/>
                    </a:lnTo>
                    <a:lnTo>
                      <a:pt x="219" y="151"/>
                    </a:lnTo>
                    <a:lnTo>
                      <a:pt x="221" y="151"/>
                    </a:lnTo>
                    <a:lnTo>
                      <a:pt x="219" y="151"/>
                    </a:lnTo>
                    <a:lnTo>
                      <a:pt x="221" y="151"/>
                    </a:lnTo>
                    <a:lnTo>
                      <a:pt x="223" y="151"/>
                    </a:lnTo>
                    <a:lnTo>
                      <a:pt x="225" y="151"/>
                    </a:lnTo>
                    <a:lnTo>
                      <a:pt x="227" y="151"/>
                    </a:lnTo>
                    <a:lnTo>
                      <a:pt x="229" y="151"/>
                    </a:lnTo>
                    <a:lnTo>
                      <a:pt x="231" y="151"/>
                    </a:lnTo>
                    <a:lnTo>
                      <a:pt x="231" y="150"/>
                    </a:lnTo>
                    <a:lnTo>
                      <a:pt x="233" y="151"/>
                    </a:lnTo>
                    <a:lnTo>
                      <a:pt x="235" y="151"/>
                    </a:lnTo>
                    <a:lnTo>
                      <a:pt x="236" y="151"/>
                    </a:lnTo>
                    <a:lnTo>
                      <a:pt x="238" y="151"/>
                    </a:lnTo>
                    <a:lnTo>
                      <a:pt x="240" y="151"/>
                    </a:lnTo>
                    <a:lnTo>
                      <a:pt x="240" y="150"/>
                    </a:lnTo>
                    <a:lnTo>
                      <a:pt x="240" y="151"/>
                    </a:lnTo>
                    <a:lnTo>
                      <a:pt x="240" y="150"/>
                    </a:lnTo>
                    <a:lnTo>
                      <a:pt x="238" y="150"/>
                    </a:lnTo>
                    <a:lnTo>
                      <a:pt x="240" y="150"/>
                    </a:lnTo>
                    <a:lnTo>
                      <a:pt x="240" y="148"/>
                    </a:lnTo>
                    <a:lnTo>
                      <a:pt x="240" y="150"/>
                    </a:lnTo>
                    <a:lnTo>
                      <a:pt x="240" y="148"/>
                    </a:lnTo>
                    <a:lnTo>
                      <a:pt x="238" y="148"/>
                    </a:lnTo>
                    <a:lnTo>
                      <a:pt x="240" y="148"/>
                    </a:lnTo>
                    <a:lnTo>
                      <a:pt x="238" y="148"/>
                    </a:lnTo>
                    <a:lnTo>
                      <a:pt x="240" y="148"/>
                    </a:lnTo>
                    <a:lnTo>
                      <a:pt x="238" y="148"/>
                    </a:lnTo>
                    <a:lnTo>
                      <a:pt x="240" y="148"/>
                    </a:lnTo>
                    <a:lnTo>
                      <a:pt x="238" y="148"/>
                    </a:lnTo>
                    <a:lnTo>
                      <a:pt x="240" y="148"/>
                    </a:lnTo>
                    <a:lnTo>
                      <a:pt x="242" y="150"/>
                    </a:lnTo>
                    <a:lnTo>
                      <a:pt x="244" y="150"/>
                    </a:lnTo>
                    <a:lnTo>
                      <a:pt x="244" y="151"/>
                    </a:lnTo>
                    <a:lnTo>
                      <a:pt x="244" y="153"/>
                    </a:lnTo>
                    <a:lnTo>
                      <a:pt x="244" y="151"/>
                    </a:lnTo>
                    <a:lnTo>
                      <a:pt x="246" y="151"/>
                    </a:lnTo>
                    <a:lnTo>
                      <a:pt x="246" y="153"/>
                    </a:lnTo>
                    <a:lnTo>
                      <a:pt x="244" y="153"/>
                    </a:lnTo>
                    <a:lnTo>
                      <a:pt x="242" y="153"/>
                    </a:lnTo>
                    <a:lnTo>
                      <a:pt x="242" y="155"/>
                    </a:lnTo>
                    <a:lnTo>
                      <a:pt x="240" y="155"/>
                    </a:lnTo>
                    <a:lnTo>
                      <a:pt x="238" y="155"/>
                    </a:lnTo>
                    <a:lnTo>
                      <a:pt x="236" y="155"/>
                    </a:lnTo>
                    <a:lnTo>
                      <a:pt x="238" y="155"/>
                    </a:lnTo>
                    <a:lnTo>
                      <a:pt x="240" y="155"/>
                    </a:lnTo>
                    <a:lnTo>
                      <a:pt x="238" y="155"/>
                    </a:lnTo>
                    <a:lnTo>
                      <a:pt x="240" y="155"/>
                    </a:lnTo>
                    <a:lnTo>
                      <a:pt x="242" y="155"/>
                    </a:lnTo>
                    <a:lnTo>
                      <a:pt x="240" y="155"/>
                    </a:lnTo>
                    <a:lnTo>
                      <a:pt x="238" y="155"/>
                    </a:lnTo>
                    <a:lnTo>
                      <a:pt x="236" y="155"/>
                    </a:lnTo>
                    <a:lnTo>
                      <a:pt x="238" y="155"/>
                    </a:lnTo>
                    <a:lnTo>
                      <a:pt x="236" y="155"/>
                    </a:lnTo>
                    <a:lnTo>
                      <a:pt x="235" y="155"/>
                    </a:lnTo>
                    <a:lnTo>
                      <a:pt x="233" y="155"/>
                    </a:lnTo>
                    <a:lnTo>
                      <a:pt x="235" y="155"/>
                    </a:lnTo>
                    <a:lnTo>
                      <a:pt x="236" y="155"/>
                    </a:lnTo>
                    <a:lnTo>
                      <a:pt x="235" y="155"/>
                    </a:lnTo>
                    <a:lnTo>
                      <a:pt x="233" y="155"/>
                    </a:lnTo>
                    <a:lnTo>
                      <a:pt x="231" y="155"/>
                    </a:lnTo>
                    <a:lnTo>
                      <a:pt x="229" y="155"/>
                    </a:lnTo>
                    <a:lnTo>
                      <a:pt x="227" y="155"/>
                    </a:lnTo>
                    <a:lnTo>
                      <a:pt x="225" y="155"/>
                    </a:lnTo>
                    <a:lnTo>
                      <a:pt x="225" y="157"/>
                    </a:lnTo>
                    <a:lnTo>
                      <a:pt x="225" y="155"/>
                    </a:lnTo>
                    <a:lnTo>
                      <a:pt x="225" y="157"/>
                    </a:lnTo>
                    <a:lnTo>
                      <a:pt x="223" y="157"/>
                    </a:lnTo>
                    <a:lnTo>
                      <a:pt x="221" y="157"/>
                    </a:lnTo>
                    <a:lnTo>
                      <a:pt x="219" y="157"/>
                    </a:lnTo>
                    <a:lnTo>
                      <a:pt x="217" y="157"/>
                    </a:lnTo>
                    <a:lnTo>
                      <a:pt x="215" y="157"/>
                    </a:lnTo>
                    <a:lnTo>
                      <a:pt x="213" y="159"/>
                    </a:lnTo>
                    <a:lnTo>
                      <a:pt x="211" y="159"/>
                    </a:lnTo>
                    <a:lnTo>
                      <a:pt x="210" y="159"/>
                    </a:lnTo>
                    <a:lnTo>
                      <a:pt x="208" y="159"/>
                    </a:lnTo>
                    <a:lnTo>
                      <a:pt x="206" y="159"/>
                    </a:lnTo>
                    <a:lnTo>
                      <a:pt x="206" y="161"/>
                    </a:lnTo>
                    <a:lnTo>
                      <a:pt x="204" y="161"/>
                    </a:lnTo>
                    <a:lnTo>
                      <a:pt x="204" y="163"/>
                    </a:lnTo>
                    <a:lnTo>
                      <a:pt x="202" y="163"/>
                    </a:lnTo>
                    <a:lnTo>
                      <a:pt x="200" y="163"/>
                    </a:lnTo>
                    <a:lnTo>
                      <a:pt x="200" y="165"/>
                    </a:lnTo>
                    <a:lnTo>
                      <a:pt x="202" y="165"/>
                    </a:lnTo>
                    <a:lnTo>
                      <a:pt x="200" y="165"/>
                    </a:lnTo>
                    <a:lnTo>
                      <a:pt x="202" y="165"/>
                    </a:lnTo>
                    <a:lnTo>
                      <a:pt x="200" y="165"/>
                    </a:lnTo>
                    <a:lnTo>
                      <a:pt x="200" y="163"/>
                    </a:lnTo>
                    <a:lnTo>
                      <a:pt x="202" y="163"/>
                    </a:lnTo>
                    <a:lnTo>
                      <a:pt x="202" y="165"/>
                    </a:lnTo>
                    <a:lnTo>
                      <a:pt x="200" y="165"/>
                    </a:lnTo>
                    <a:lnTo>
                      <a:pt x="200" y="167"/>
                    </a:lnTo>
                    <a:lnTo>
                      <a:pt x="198" y="167"/>
                    </a:lnTo>
                    <a:lnTo>
                      <a:pt x="200" y="165"/>
                    </a:lnTo>
                    <a:lnTo>
                      <a:pt x="198" y="165"/>
                    </a:lnTo>
                    <a:lnTo>
                      <a:pt x="200" y="165"/>
                    </a:lnTo>
                    <a:lnTo>
                      <a:pt x="198" y="165"/>
                    </a:lnTo>
                    <a:lnTo>
                      <a:pt x="198" y="167"/>
                    </a:lnTo>
                    <a:lnTo>
                      <a:pt x="198" y="165"/>
                    </a:lnTo>
                    <a:lnTo>
                      <a:pt x="198" y="167"/>
                    </a:lnTo>
                    <a:lnTo>
                      <a:pt x="198" y="165"/>
                    </a:lnTo>
                    <a:lnTo>
                      <a:pt x="196" y="165"/>
                    </a:lnTo>
                    <a:lnTo>
                      <a:pt x="196" y="167"/>
                    </a:lnTo>
                    <a:lnTo>
                      <a:pt x="194" y="167"/>
                    </a:lnTo>
                    <a:lnTo>
                      <a:pt x="196" y="167"/>
                    </a:lnTo>
                    <a:lnTo>
                      <a:pt x="196" y="169"/>
                    </a:lnTo>
                    <a:lnTo>
                      <a:pt x="194" y="169"/>
                    </a:lnTo>
                    <a:lnTo>
                      <a:pt x="196" y="169"/>
                    </a:lnTo>
                    <a:lnTo>
                      <a:pt x="194" y="169"/>
                    </a:lnTo>
                    <a:lnTo>
                      <a:pt x="194" y="171"/>
                    </a:lnTo>
                    <a:lnTo>
                      <a:pt x="192" y="171"/>
                    </a:lnTo>
                    <a:lnTo>
                      <a:pt x="192" y="173"/>
                    </a:lnTo>
                    <a:lnTo>
                      <a:pt x="192" y="175"/>
                    </a:lnTo>
                    <a:lnTo>
                      <a:pt x="192" y="176"/>
                    </a:lnTo>
                    <a:lnTo>
                      <a:pt x="192" y="178"/>
                    </a:lnTo>
                    <a:lnTo>
                      <a:pt x="192" y="180"/>
                    </a:lnTo>
                    <a:lnTo>
                      <a:pt x="194" y="180"/>
                    </a:lnTo>
                    <a:lnTo>
                      <a:pt x="194" y="178"/>
                    </a:lnTo>
                    <a:lnTo>
                      <a:pt x="194" y="180"/>
                    </a:lnTo>
                    <a:lnTo>
                      <a:pt x="192" y="180"/>
                    </a:lnTo>
                    <a:lnTo>
                      <a:pt x="194" y="180"/>
                    </a:lnTo>
                    <a:lnTo>
                      <a:pt x="194" y="178"/>
                    </a:lnTo>
                    <a:lnTo>
                      <a:pt x="194" y="176"/>
                    </a:lnTo>
                    <a:lnTo>
                      <a:pt x="196" y="176"/>
                    </a:lnTo>
                    <a:lnTo>
                      <a:pt x="198" y="176"/>
                    </a:lnTo>
                    <a:lnTo>
                      <a:pt x="198" y="178"/>
                    </a:lnTo>
                    <a:lnTo>
                      <a:pt x="198" y="176"/>
                    </a:lnTo>
                    <a:lnTo>
                      <a:pt x="198" y="178"/>
                    </a:lnTo>
                    <a:lnTo>
                      <a:pt x="198" y="176"/>
                    </a:lnTo>
                    <a:lnTo>
                      <a:pt x="200" y="176"/>
                    </a:lnTo>
                    <a:lnTo>
                      <a:pt x="198" y="176"/>
                    </a:lnTo>
                    <a:lnTo>
                      <a:pt x="196" y="176"/>
                    </a:lnTo>
                    <a:lnTo>
                      <a:pt x="196" y="175"/>
                    </a:lnTo>
                    <a:lnTo>
                      <a:pt x="198" y="175"/>
                    </a:lnTo>
                    <a:lnTo>
                      <a:pt x="196" y="175"/>
                    </a:lnTo>
                    <a:lnTo>
                      <a:pt x="198" y="175"/>
                    </a:lnTo>
                    <a:lnTo>
                      <a:pt x="196" y="175"/>
                    </a:lnTo>
                    <a:lnTo>
                      <a:pt x="198" y="175"/>
                    </a:lnTo>
                    <a:lnTo>
                      <a:pt x="196" y="175"/>
                    </a:lnTo>
                    <a:lnTo>
                      <a:pt x="196" y="173"/>
                    </a:lnTo>
                    <a:lnTo>
                      <a:pt x="196" y="175"/>
                    </a:lnTo>
                    <a:lnTo>
                      <a:pt x="196" y="173"/>
                    </a:lnTo>
                    <a:lnTo>
                      <a:pt x="194" y="173"/>
                    </a:lnTo>
                    <a:lnTo>
                      <a:pt x="196" y="173"/>
                    </a:lnTo>
                    <a:lnTo>
                      <a:pt x="196" y="175"/>
                    </a:lnTo>
                    <a:lnTo>
                      <a:pt x="196" y="173"/>
                    </a:lnTo>
                    <a:lnTo>
                      <a:pt x="198" y="173"/>
                    </a:lnTo>
                    <a:lnTo>
                      <a:pt x="196" y="173"/>
                    </a:lnTo>
                    <a:lnTo>
                      <a:pt x="196" y="171"/>
                    </a:lnTo>
                    <a:lnTo>
                      <a:pt x="198" y="171"/>
                    </a:lnTo>
                    <a:lnTo>
                      <a:pt x="198" y="173"/>
                    </a:lnTo>
                    <a:lnTo>
                      <a:pt x="198" y="171"/>
                    </a:lnTo>
                    <a:lnTo>
                      <a:pt x="198" y="169"/>
                    </a:lnTo>
                    <a:lnTo>
                      <a:pt x="198" y="171"/>
                    </a:lnTo>
                    <a:lnTo>
                      <a:pt x="198" y="169"/>
                    </a:lnTo>
                    <a:lnTo>
                      <a:pt x="198" y="171"/>
                    </a:lnTo>
                    <a:lnTo>
                      <a:pt x="198" y="169"/>
                    </a:lnTo>
                    <a:lnTo>
                      <a:pt x="200" y="169"/>
                    </a:lnTo>
                    <a:lnTo>
                      <a:pt x="200" y="167"/>
                    </a:lnTo>
                    <a:lnTo>
                      <a:pt x="200" y="165"/>
                    </a:lnTo>
                    <a:lnTo>
                      <a:pt x="202" y="165"/>
                    </a:lnTo>
                    <a:lnTo>
                      <a:pt x="200" y="167"/>
                    </a:lnTo>
                    <a:lnTo>
                      <a:pt x="200" y="169"/>
                    </a:lnTo>
                    <a:lnTo>
                      <a:pt x="200" y="171"/>
                    </a:lnTo>
                    <a:lnTo>
                      <a:pt x="200" y="173"/>
                    </a:lnTo>
                    <a:lnTo>
                      <a:pt x="202" y="173"/>
                    </a:lnTo>
                    <a:lnTo>
                      <a:pt x="200" y="173"/>
                    </a:lnTo>
                    <a:lnTo>
                      <a:pt x="202" y="173"/>
                    </a:lnTo>
                    <a:lnTo>
                      <a:pt x="202" y="175"/>
                    </a:lnTo>
                    <a:lnTo>
                      <a:pt x="202" y="176"/>
                    </a:lnTo>
                    <a:lnTo>
                      <a:pt x="200" y="176"/>
                    </a:lnTo>
                    <a:lnTo>
                      <a:pt x="202" y="176"/>
                    </a:lnTo>
                    <a:lnTo>
                      <a:pt x="202" y="178"/>
                    </a:lnTo>
                    <a:lnTo>
                      <a:pt x="200" y="178"/>
                    </a:lnTo>
                    <a:lnTo>
                      <a:pt x="200" y="180"/>
                    </a:lnTo>
                    <a:lnTo>
                      <a:pt x="200" y="178"/>
                    </a:lnTo>
                    <a:lnTo>
                      <a:pt x="202" y="180"/>
                    </a:lnTo>
                    <a:lnTo>
                      <a:pt x="202" y="182"/>
                    </a:lnTo>
                    <a:lnTo>
                      <a:pt x="200" y="184"/>
                    </a:lnTo>
                    <a:lnTo>
                      <a:pt x="200" y="186"/>
                    </a:lnTo>
                    <a:lnTo>
                      <a:pt x="198" y="186"/>
                    </a:lnTo>
                    <a:lnTo>
                      <a:pt x="198" y="184"/>
                    </a:lnTo>
                    <a:lnTo>
                      <a:pt x="196" y="184"/>
                    </a:lnTo>
                    <a:lnTo>
                      <a:pt x="196" y="186"/>
                    </a:lnTo>
                    <a:lnTo>
                      <a:pt x="198" y="186"/>
                    </a:lnTo>
                    <a:lnTo>
                      <a:pt x="198" y="188"/>
                    </a:lnTo>
                    <a:lnTo>
                      <a:pt x="196" y="188"/>
                    </a:lnTo>
                    <a:lnTo>
                      <a:pt x="196" y="190"/>
                    </a:lnTo>
                    <a:lnTo>
                      <a:pt x="194" y="188"/>
                    </a:lnTo>
                    <a:lnTo>
                      <a:pt x="192" y="188"/>
                    </a:lnTo>
                    <a:lnTo>
                      <a:pt x="192" y="190"/>
                    </a:lnTo>
                    <a:lnTo>
                      <a:pt x="190" y="190"/>
                    </a:lnTo>
                    <a:lnTo>
                      <a:pt x="190" y="188"/>
                    </a:lnTo>
                    <a:lnTo>
                      <a:pt x="190" y="190"/>
                    </a:lnTo>
                    <a:lnTo>
                      <a:pt x="188" y="190"/>
                    </a:lnTo>
                    <a:lnTo>
                      <a:pt x="188" y="192"/>
                    </a:lnTo>
                    <a:lnTo>
                      <a:pt x="188" y="190"/>
                    </a:lnTo>
                    <a:lnTo>
                      <a:pt x="186" y="190"/>
                    </a:lnTo>
                    <a:lnTo>
                      <a:pt x="188" y="192"/>
                    </a:lnTo>
                    <a:lnTo>
                      <a:pt x="186" y="192"/>
                    </a:lnTo>
                    <a:lnTo>
                      <a:pt x="185" y="192"/>
                    </a:lnTo>
                    <a:lnTo>
                      <a:pt x="185" y="190"/>
                    </a:lnTo>
                    <a:lnTo>
                      <a:pt x="183" y="190"/>
                    </a:lnTo>
                    <a:lnTo>
                      <a:pt x="181" y="188"/>
                    </a:lnTo>
                    <a:lnTo>
                      <a:pt x="181" y="190"/>
                    </a:lnTo>
                    <a:lnTo>
                      <a:pt x="179" y="190"/>
                    </a:lnTo>
                    <a:lnTo>
                      <a:pt x="181" y="190"/>
                    </a:lnTo>
                    <a:lnTo>
                      <a:pt x="179" y="190"/>
                    </a:lnTo>
                    <a:lnTo>
                      <a:pt x="179" y="192"/>
                    </a:lnTo>
                    <a:lnTo>
                      <a:pt x="181" y="192"/>
                    </a:lnTo>
                    <a:lnTo>
                      <a:pt x="179" y="192"/>
                    </a:lnTo>
                    <a:lnTo>
                      <a:pt x="179" y="194"/>
                    </a:lnTo>
                    <a:lnTo>
                      <a:pt x="177" y="194"/>
                    </a:lnTo>
                    <a:lnTo>
                      <a:pt x="177" y="196"/>
                    </a:lnTo>
                    <a:lnTo>
                      <a:pt x="177" y="198"/>
                    </a:lnTo>
                    <a:lnTo>
                      <a:pt x="175" y="198"/>
                    </a:lnTo>
                    <a:lnTo>
                      <a:pt x="165" y="198"/>
                    </a:lnTo>
                    <a:lnTo>
                      <a:pt x="150" y="199"/>
                    </a:lnTo>
                    <a:lnTo>
                      <a:pt x="146" y="201"/>
                    </a:lnTo>
                    <a:lnTo>
                      <a:pt x="140" y="201"/>
                    </a:lnTo>
                    <a:lnTo>
                      <a:pt x="135" y="201"/>
                    </a:lnTo>
                    <a:lnTo>
                      <a:pt x="125" y="203"/>
                    </a:lnTo>
                    <a:lnTo>
                      <a:pt x="119" y="203"/>
                    </a:lnTo>
                    <a:lnTo>
                      <a:pt x="108" y="205"/>
                    </a:lnTo>
                    <a:lnTo>
                      <a:pt x="100" y="205"/>
                    </a:lnTo>
                    <a:lnTo>
                      <a:pt x="98" y="203"/>
                    </a:lnTo>
                    <a:lnTo>
                      <a:pt x="94" y="201"/>
                    </a:lnTo>
                    <a:lnTo>
                      <a:pt x="90" y="199"/>
                    </a:lnTo>
                    <a:lnTo>
                      <a:pt x="89" y="199"/>
                    </a:lnTo>
                    <a:lnTo>
                      <a:pt x="85" y="198"/>
                    </a:lnTo>
                    <a:lnTo>
                      <a:pt x="79" y="194"/>
                    </a:lnTo>
                    <a:lnTo>
                      <a:pt x="77" y="198"/>
                    </a:lnTo>
                    <a:lnTo>
                      <a:pt x="75" y="199"/>
                    </a:lnTo>
                    <a:lnTo>
                      <a:pt x="73" y="198"/>
                    </a:lnTo>
                    <a:lnTo>
                      <a:pt x="71" y="198"/>
                    </a:lnTo>
                    <a:lnTo>
                      <a:pt x="69" y="199"/>
                    </a:lnTo>
                    <a:lnTo>
                      <a:pt x="65" y="201"/>
                    </a:lnTo>
                    <a:lnTo>
                      <a:pt x="65" y="205"/>
                    </a:lnTo>
                    <a:lnTo>
                      <a:pt x="62" y="207"/>
                    </a:lnTo>
                    <a:lnTo>
                      <a:pt x="56" y="203"/>
                    </a:lnTo>
                    <a:lnTo>
                      <a:pt x="48" y="199"/>
                    </a:lnTo>
                    <a:lnTo>
                      <a:pt x="46" y="194"/>
                    </a:lnTo>
                    <a:lnTo>
                      <a:pt x="42" y="188"/>
                    </a:lnTo>
                    <a:lnTo>
                      <a:pt x="40" y="184"/>
                    </a:lnTo>
                    <a:lnTo>
                      <a:pt x="39" y="180"/>
                    </a:lnTo>
                    <a:lnTo>
                      <a:pt x="37" y="178"/>
                    </a:lnTo>
                    <a:lnTo>
                      <a:pt x="35" y="176"/>
                    </a:lnTo>
                    <a:lnTo>
                      <a:pt x="33" y="175"/>
                    </a:lnTo>
                    <a:lnTo>
                      <a:pt x="31" y="175"/>
                    </a:lnTo>
                    <a:lnTo>
                      <a:pt x="31" y="173"/>
                    </a:lnTo>
                    <a:lnTo>
                      <a:pt x="29" y="173"/>
                    </a:lnTo>
                    <a:lnTo>
                      <a:pt x="29" y="171"/>
                    </a:lnTo>
                    <a:lnTo>
                      <a:pt x="27" y="169"/>
                    </a:lnTo>
                    <a:lnTo>
                      <a:pt x="23" y="169"/>
                    </a:lnTo>
                    <a:lnTo>
                      <a:pt x="23" y="167"/>
                    </a:lnTo>
                    <a:lnTo>
                      <a:pt x="21" y="165"/>
                    </a:lnTo>
                    <a:lnTo>
                      <a:pt x="19" y="163"/>
                    </a:lnTo>
                    <a:lnTo>
                      <a:pt x="17" y="157"/>
                    </a:lnTo>
                    <a:lnTo>
                      <a:pt x="15" y="155"/>
                    </a:lnTo>
                    <a:lnTo>
                      <a:pt x="12" y="151"/>
                    </a:lnTo>
                    <a:lnTo>
                      <a:pt x="8" y="148"/>
                    </a:lnTo>
                    <a:lnTo>
                      <a:pt x="4" y="142"/>
                    </a:lnTo>
                    <a:lnTo>
                      <a:pt x="4" y="136"/>
                    </a:lnTo>
                    <a:lnTo>
                      <a:pt x="0" y="130"/>
                    </a:lnTo>
                    <a:lnTo>
                      <a:pt x="2" y="128"/>
                    </a:lnTo>
                    <a:lnTo>
                      <a:pt x="4" y="128"/>
                    </a:lnTo>
                    <a:lnTo>
                      <a:pt x="6" y="128"/>
                    </a:lnTo>
                    <a:lnTo>
                      <a:pt x="6" y="126"/>
                    </a:lnTo>
                    <a:lnTo>
                      <a:pt x="8" y="126"/>
                    </a:lnTo>
                    <a:lnTo>
                      <a:pt x="8" y="125"/>
                    </a:lnTo>
                    <a:lnTo>
                      <a:pt x="10" y="123"/>
                    </a:lnTo>
                    <a:lnTo>
                      <a:pt x="12" y="121"/>
                    </a:lnTo>
                    <a:lnTo>
                      <a:pt x="14" y="121"/>
                    </a:lnTo>
                    <a:lnTo>
                      <a:pt x="14" y="123"/>
                    </a:lnTo>
                    <a:lnTo>
                      <a:pt x="15" y="123"/>
                    </a:lnTo>
                    <a:lnTo>
                      <a:pt x="14" y="123"/>
                    </a:lnTo>
                    <a:lnTo>
                      <a:pt x="15" y="123"/>
                    </a:lnTo>
                    <a:lnTo>
                      <a:pt x="15" y="125"/>
                    </a:lnTo>
                    <a:lnTo>
                      <a:pt x="14" y="125"/>
                    </a:lnTo>
                    <a:lnTo>
                      <a:pt x="15" y="125"/>
                    </a:lnTo>
                    <a:lnTo>
                      <a:pt x="15" y="123"/>
                    </a:lnTo>
                    <a:lnTo>
                      <a:pt x="14" y="123"/>
                    </a:lnTo>
                    <a:lnTo>
                      <a:pt x="15" y="123"/>
                    </a:lnTo>
                    <a:lnTo>
                      <a:pt x="14" y="123"/>
                    </a:lnTo>
                    <a:lnTo>
                      <a:pt x="15" y="123"/>
                    </a:lnTo>
                    <a:lnTo>
                      <a:pt x="14" y="123"/>
                    </a:lnTo>
                    <a:lnTo>
                      <a:pt x="14" y="121"/>
                    </a:lnTo>
                    <a:lnTo>
                      <a:pt x="14" y="119"/>
                    </a:lnTo>
                    <a:lnTo>
                      <a:pt x="14" y="117"/>
                    </a:lnTo>
                    <a:lnTo>
                      <a:pt x="14" y="115"/>
                    </a:lnTo>
                    <a:lnTo>
                      <a:pt x="14" y="113"/>
                    </a:lnTo>
                    <a:lnTo>
                      <a:pt x="15" y="113"/>
                    </a:lnTo>
                    <a:lnTo>
                      <a:pt x="15" y="111"/>
                    </a:lnTo>
                    <a:lnTo>
                      <a:pt x="15" y="113"/>
                    </a:lnTo>
                    <a:lnTo>
                      <a:pt x="15" y="111"/>
                    </a:lnTo>
                    <a:lnTo>
                      <a:pt x="17" y="111"/>
                    </a:lnTo>
                    <a:lnTo>
                      <a:pt x="17" y="113"/>
                    </a:lnTo>
                    <a:lnTo>
                      <a:pt x="17" y="111"/>
                    </a:lnTo>
                    <a:lnTo>
                      <a:pt x="17" y="113"/>
                    </a:lnTo>
                    <a:lnTo>
                      <a:pt x="17" y="111"/>
                    </a:lnTo>
                    <a:lnTo>
                      <a:pt x="19" y="111"/>
                    </a:lnTo>
                    <a:lnTo>
                      <a:pt x="17" y="111"/>
                    </a:lnTo>
                    <a:lnTo>
                      <a:pt x="19" y="111"/>
                    </a:lnTo>
                    <a:lnTo>
                      <a:pt x="19" y="109"/>
                    </a:lnTo>
                    <a:lnTo>
                      <a:pt x="19" y="107"/>
                    </a:lnTo>
                    <a:lnTo>
                      <a:pt x="19" y="109"/>
                    </a:lnTo>
                    <a:lnTo>
                      <a:pt x="19" y="107"/>
                    </a:lnTo>
                    <a:lnTo>
                      <a:pt x="21" y="107"/>
                    </a:lnTo>
                    <a:lnTo>
                      <a:pt x="21" y="109"/>
                    </a:lnTo>
                    <a:lnTo>
                      <a:pt x="21" y="107"/>
                    </a:lnTo>
                    <a:lnTo>
                      <a:pt x="21" y="105"/>
                    </a:lnTo>
                    <a:lnTo>
                      <a:pt x="21" y="107"/>
                    </a:lnTo>
                    <a:lnTo>
                      <a:pt x="21" y="105"/>
                    </a:lnTo>
                    <a:lnTo>
                      <a:pt x="21" y="103"/>
                    </a:lnTo>
                    <a:lnTo>
                      <a:pt x="21" y="101"/>
                    </a:lnTo>
                    <a:lnTo>
                      <a:pt x="21" y="100"/>
                    </a:lnTo>
                    <a:lnTo>
                      <a:pt x="21" y="98"/>
                    </a:lnTo>
                    <a:lnTo>
                      <a:pt x="23" y="98"/>
                    </a:lnTo>
                    <a:lnTo>
                      <a:pt x="23" y="96"/>
                    </a:lnTo>
                    <a:lnTo>
                      <a:pt x="25" y="96"/>
                    </a:lnTo>
                    <a:lnTo>
                      <a:pt x="23" y="96"/>
                    </a:lnTo>
                    <a:lnTo>
                      <a:pt x="23" y="98"/>
                    </a:lnTo>
                    <a:lnTo>
                      <a:pt x="21" y="96"/>
                    </a:lnTo>
                    <a:lnTo>
                      <a:pt x="21" y="98"/>
                    </a:lnTo>
                    <a:lnTo>
                      <a:pt x="21" y="96"/>
                    </a:lnTo>
                    <a:lnTo>
                      <a:pt x="21" y="94"/>
                    </a:lnTo>
                    <a:lnTo>
                      <a:pt x="19" y="94"/>
                    </a:lnTo>
                    <a:lnTo>
                      <a:pt x="19" y="92"/>
                    </a:lnTo>
                    <a:lnTo>
                      <a:pt x="21" y="94"/>
                    </a:lnTo>
                    <a:lnTo>
                      <a:pt x="19" y="92"/>
                    </a:lnTo>
                    <a:lnTo>
                      <a:pt x="21" y="92"/>
                    </a:lnTo>
                    <a:lnTo>
                      <a:pt x="19" y="92"/>
                    </a:lnTo>
                    <a:lnTo>
                      <a:pt x="19" y="90"/>
                    </a:lnTo>
                    <a:lnTo>
                      <a:pt x="19" y="88"/>
                    </a:lnTo>
                    <a:lnTo>
                      <a:pt x="17" y="88"/>
                    </a:lnTo>
                    <a:lnTo>
                      <a:pt x="17" y="86"/>
                    </a:lnTo>
                    <a:lnTo>
                      <a:pt x="15" y="88"/>
                    </a:lnTo>
                    <a:lnTo>
                      <a:pt x="15" y="86"/>
                    </a:lnTo>
                    <a:lnTo>
                      <a:pt x="15" y="88"/>
                    </a:lnTo>
                    <a:lnTo>
                      <a:pt x="14" y="84"/>
                    </a:lnTo>
                    <a:lnTo>
                      <a:pt x="14" y="82"/>
                    </a:lnTo>
                    <a:lnTo>
                      <a:pt x="15" y="80"/>
                    </a:lnTo>
                    <a:lnTo>
                      <a:pt x="15" y="78"/>
                    </a:lnTo>
                    <a:lnTo>
                      <a:pt x="17" y="78"/>
                    </a:lnTo>
                    <a:lnTo>
                      <a:pt x="17" y="76"/>
                    </a:lnTo>
                    <a:lnTo>
                      <a:pt x="19" y="76"/>
                    </a:lnTo>
                    <a:lnTo>
                      <a:pt x="19" y="75"/>
                    </a:lnTo>
                    <a:lnTo>
                      <a:pt x="21" y="73"/>
                    </a:lnTo>
                    <a:lnTo>
                      <a:pt x="23" y="71"/>
                    </a:lnTo>
                    <a:lnTo>
                      <a:pt x="25" y="71"/>
                    </a:lnTo>
                    <a:lnTo>
                      <a:pt x="25" y="69"/>
                    </a:lnTo>
                    <a:lnTo>
                      <a:pt x="27" y="69"/>
                    </a:lnTo>
                    <a:lnTo>
                      <a:pt x="27" y="67"/>
                    </a:lnTo>
                    <a:lnTo>
                      <a:pt x="31" y="65"/>
                    </a:lnTo>
                    <a:lnTo>
                      <a:pt x="33" y="63"/>
                    </a:lnTo>
                    <a:lnTo>
                      <a:pt x="35" y="63"/>
                    </a:lnTo>
                    <a:lnTo>
                      <a:pt x="35" y="61"/>
                    </a:lnTo>
                    <a:lnTo>
                      <a:pt x="35" y="63"/>
                    </a:lnTo>
                    <a:lnTo>
                      <a:pt x="37" y="63"/>
                    </a:lnTo>
                    <a:lnTo>
                      <a:pt x="35" y="63"/>
                    </a:lnTo>
                    <a:lnTo>
                      <a:pt x="35" y="65"/>
                    </a:lnTo>
                    <a:lnTo>
                      <a:pt x="33" y="65"/>
                    </a:lnTo>
                    <a:lnTo>
                      <a:pt x="35" y="65"/>
                    </a:lnTo>
                    <a:lnTo>
                      <a:pt x="33" y="65"/>
                    </a:lnTo>
                    <a:lnTo>
                      <a:pt x="33" y="67"/>
                    </a:lnTo>
                    <a:lnTo>
                      <a:pt x="35" y="67"/>
                    </a:lnTo>
                    <a:lnTo>
                      <a:pt x="33" y="67"/>
                    </a:lnTo>
                    <a:lnTo>
                      <a:pt x="35" y="67"/>
                    </a:lnTo>
                    <a:lnTo>
                      <a:pt x="33" y="65"/>
                    </a:lnTo>
                    <a:lnTo>
                      <a:pt x="35" y="65"/>
                    </a:lnTo>
                    <a:lnTo>
                      <a:pt x="33" y="65"/>
                    </a:lnTo>
                    <a:lnTo>
                      <a:pt x="35" y="65"/>
                    </a:lnTo>
                    <a:lnTo>
                      <a:pt x="35" y="63"/>
                    </a:lnTo>
                    <a:lnTo>
                      <a:pt x="37" y="63"/>
                    </a:lnTo>
                    <a:lnTo>
                      <a:pt x="39" y="63"/>
                    </a:lnTo>
                    <a:lnTo>
                      <a:pt x="37" y="63"/>
                    </a:lnTo>
                    <a:lnTo>
                      <a:pt x="37" y="61"/>
                    </a:lnTo>
                    <a:lnTo>
                      <a:pt x="35" y="61"/>
                    </a:lnTo>
                    <a:lnTo>
                      <a:pt x="37" y="59"/>
                    </a:lnTo>
                    <a:lnTo>
                      <a:pt x="39" y="59"/>
                    </a:lnTo>
                    <a:lnTo>
                      <a:pt x="39" y="57"/>
                    </a:lnTo>
                    <a:lnTo>
                      <a:pt x="39" y="59"/>
                    </a:lnTo>
                    <a:lnTo>
                      <a:pt x="39" y="57"/>
                    </a:lnTo>
                    <a:lnTo>
                      <a:pt x="40" y="55"/>
                    </a:lnTo>
                    <a:lnTo>
                      <a:pt x="39" y="55"/>
                    </a:lnTo>
                    <a:lnTo>
                      <a:pt x="40" y="53"/>
                    </a:lnTo>
                    <a:lnTo>
                      <a:pt x="40" y="51"/>
                    </a:lnTo>
                    <a:lnTo>
                      <a:pt x="42" y="51"/>
                    </a:lnTo>
                    <a:lnTo>
                      <a:pt x="44" y="51"/>
                    </a:lnTo>
                    <a:lnTo>
                      <a:pt x="42" y="51"/>
                    </a:lnTo>
                    <a:lnTo>
                      <a:pt x="44" y="51"/>
                    </a:lnTo>
                    <a:lnTo>
                      <a:pt x="44" y="53"/>
                    </a:lnTo>
                    <a:lnTo>
                      <a:pt x="44" y="51"/>
                    </a:lnTo>
                    <a:lnTo>
                      <a:pt x="44" y="53"/>
                    </a:lnTo>
                    <a:lnTo>
                      <a:pt x="44" y="51"/>
                    </a:lnTo>
                    <a:lnTo>
                      <a:pt x="44" y="53"/>
                    </a:lnTo>
                    <a:lnTo>
                      <a:pt x="44" y="51"/>
                    </a:lnTo>
                    <a:lnTo>
                      <a:pt x="46" y="51"/>
                    </a:lnTo>
                    <a:lnTo>
                      <a:pt x="48" y="51"/>
                    </a:lnTo>
                    <a:lnTo>
                      <a:pt x="46" y="53"/>
                    </a:lnTo>
                    <a:lnTo>
                      <a:pt x="48" y="51"/>
                    </a:lnTo>
                    <a:lnTo>
                      <a:pt x="48" y="53"/>
                    </a:lnTo>
                    <a:lnTo>
                      <a:pt x="50" y="53"/>
                    </a:lnTo>
                    <a:lnTo>
                      <a:pt x="48" y="53"/>
                    </a:lnTo>
                    <a:lnTo>
                      <a:pt x="48" y="51"/>
                    </a:lnTo>
                    <a:lnTo>
                      <a:pt x="46" y="51"/>
                    </a:lnTo>
                    <a:lnTo>
                      <a:pt x="46" y="50"/>
                    </a:lnTo>
                    <a:lnTo>
                      <a:pt x="46" y="51"/>
                    </a:lnTo>
                    <a:lnTo>
                      <a:pt x="46" y="50"/>
                    </a:lnTo>
                    <a:lnTo>
                      <a:pt x="46" y="51"/>
                    </a:lnTo>
                    <a:lnTo>
                      <a:pt x="46" y="50"/>
                    </a:lnTo>
                    <a:lnTo>
                      <a:pt x="44" y="51"/>
                    </a:lnTo>
                    <a:lnTo>
                      <a:pt x="44" y="50"/>
                    </a:lnTo>
                    <a:lnTo>
                      <a:pt x="44" y="51"/>
                    </a:lnTo>
                    <a:lnTo>
                      <a:pt x="42" y="51"/>
                    </a:lnTo>
                    <a:lnTo>
                      <a:pt x="42" y="50"/>
                    </a:lnTo>
                    <a:lnTo>
                      <a:pt x="44" y="50"/>
                    </a:lnTo>
                    <a:lnTo>
                      <a:pt x="44" y="48"/>
                    </a:lnTo>
                    <a:lnTo>
                      <a:pt x="46" y="48"/>
                    </a:lnTo>
                    <a:lnTo>
                      <a:pt x="48" y="48"/>
                    </a:lnTo>
                    <a:lnTo>
                      <a:pt x="46" y="48"/>
                    </a:lnTo>
                    <a:lnTo>
                      <a:pt x="48" y="48"/>
                    </a:lnTo>
                    <a:lnTo>
                      <a:pt x="46" y="48"/>
                    </a:lnTo>
                    <a:lnTo>
                      <a:pt x="44" y="48"/>
                    </a:lnTo>
                    <a:lnTo>
                      <a:pt x="46" y="46"/>
                    </a:lnTo>
                    <a:lnTo>
                      <a:pt x="46" y="44"/>
                    </a:lnTo>
                    <a:lnTo>
                      <a:pt x="46" y="46"/>
                    </a:lnTo>
                    <a:lnTo>
                      <a:pt x="48" y="46"/>
                    </a:lnTo>
                    <a:lnTo>
                      <a:pt x="50" y="46"/>
                    </a:lnTo>
                    <a:lnTo>
                      <a:pt x="48" y="46"/>
                    </a:lnTo>
                    <a:lnTo>
                      <a:pt x="48" y="44"/>
                    </a:lnTo>
                    <a:lnTo>
                      <a:pt x="50" y="44"/>
                    </a:lnTo>
                    <a:lnTo>
                      <a:pt x="48" y="44"/>
                    </a:lnTo>
                    <a:lnTo>
                      <a:pt x="50" y="44"/>
                    </a:lnTo>
                    <a:lnTo>
                      <a:pt x="48" y="44"/>
                    </a:lnTo>
                    <a:lnTo>
                      <a:pt x="46" y="44"/>
                    </a:lnTo>
                    <a:lnTo>
                      <a:pt x="48" y="44"/>
                    </a:lnTo>
                    <a:lnTo>
                      <a:pt x="48" y="42"/>
                    </a:lnTo>
                    <a:lnTo>
                      <a:pt x="50" y="42"/>
                    </a:lnTo>
                    <a:lnTo>
                      <a:pt x="50" y="40"/>
                    </a:lnTo>
                    <a:lnTo>
                      <a:pt x="52" y="38"/>
                    </a:lnTo>
                    <a:lnTo>
                      <a:pt x="54" y="36"/>
                    </a:lnTo>
                    <a:lnTo>
                      <a:pt x="54" y="34"/>
                    </a:lnTo>
                    <a:lnTo>
                      <a:pt x="56" y="32"/>
                    </a:lnTo>
                    <a:lnTo>
                      <a:pt x="56" y="30"/>
                    </a:lnTo>
                    <a:lnTo>
                      <a:pt x="56" y="28"/>
                    </a:lnTo>
                    <a:lnTo>
                      <a:pt x="56" y="26"/>
                    </a:lnTo>
                    <a:lnTo>
                      <a:pt x="54" y="25"/>
                    </a:lnTo>
                    <a:lnTo>
                      <a:pt x="54" y="23"/>
                    </a:lnTo>
                    <a:lnTo>
                      <a:pt x="54" y="21"/>
                    </a:lnTo>
                    <a:lnTo>
                      <a:pt x="52" y="19"/>
                    </a:lnTo>
                    <a:lnTo>
                      <a:pt x="52" y="17"/>
                    </a:lnTo>
                    <a:lnTo>
                      <a:pt x="52" y="15"/>
                    </a:lnTo>
                    <a:lnTo>
                      <a:pt x="50" y="15"/>
                    </a:lnTo>
                    <a:lnTo>
                      <a:pt x="50" y="13"/>
                    </a:lnTo>
                    <a:lnTo>
                      <a:pt x="50" y="11"/>
                    </a:lnTo>
                    <a:lnTo>
                      <a:pt x="48" y="11"/>
                    </a:lnTo>
                    <a:lnTo>
                      <a:pt x="48" y="9"/>
                    </a:lnTo>
                    <a:lnTo>
                      <a:pt x="48" y="7"/>
                    </a:lnTo>
                    <a:lnTo>
                      <a:pt x="48" y="5"/>
                    </a:lnTo>
                    <a:lnTo>
                      <a:pt x="46" y="3"/>
                    </a:lnTo>
                    <a:lnTo>
                      <a:pt x="46" y="1"/>
                    </a:lnTo>
                    <a:lnTo>
                      <a:pt x="46" y="0"/>
                    </a:lnTo>
                    <a:lnTo>
                      <a:pt x="48" y="0"/>
                    </a:lnTo>
                    <a:lnTo>
                      <a:pt x="50" y="1"/>
                    </a:lnTo>
                    <a:lnTo>
                      <a:pt x="52" y="1"/>
                    </a:lnTo>
                    <a:lnTo>
                      <a:pt x="52" y="3"/>
                    </a:lnTo>
                    <a:lnTo>
                      <a:pt x="52" y="5"/>
                    </a:lnTo>
                    <a:lnTo>
                      <a:pt x="54" y="5"/>
                    </a:lnTo>
                    <a:lnTo>
                      <a:pt x="54" y="7"/>
                    </a:lnTo>
                    <a:lnTo>
                      <a:pt x="56" y="7"/>
                    </a:lnTo>
                    <a:lnTo>
                      <a:pt x="56" y="9"/>
                    </a:lnTo>
                    <a:lnTo>
                      <a:pt x="56" y="11"/>
                    </a:lnTo>
                    <a:lnTo>
                      <a:pt x="58" y="13"/>
                    </a:lnTo>
                    <a:lnTo>
                      <a:pt x="60" y="15"/>
                    </a:lnTo>
                    <a:lnTo>
                      <a:pt x="60" y="17"/>
                    </a:lnTo>
                    <a:lnTo>
                      <a:pt x="62" y="17"/>
                    </a:lnTo>
                    <a:lnTo>
                      <a:pt x="64" y="19"/>
                    </a:lnTo>
                    <a:lnTo>
                      <a:pt x="65" y="19"/>
                    </a:lnTo>
                    <a:lnTo>
                      <a:pt x="67" y="19"/>
                    </a:lnTo>
                    <a:lnTo>
                      <a:pt x="67" y="21"/>
                    </a:lnTo>
                    <a:lnTo>
                      <a:pt x="69" y="21"/>
                    </a:lnTo>
                    <a:lnTo>
                      <a:pt x="71" y="21"/>
                    </a:lnTo>
                    <a:lnTo>
                      <a:pt x="71" y="23"/>
                    </a:lnTo>
                    <a:lnTo>
                      <a:pt x="73" y="23"/>
                    </a:lnTo>
                    <a:lnTo>
                      <a:pt x="75" y="23"/>
                    </a:lnTo>
                    <a:lnTo>
                      <a:pt x="75" y="25"/>
                    </a:lnTo>
                    <a:lnTo>
                      <a:pt x="77" y="25"/>
                    </a:lnTo>
                    <a:lnTo>
                      <a:pt x="79" y="25"/>
                    </a:lnTo>
                    <a:lnTo>
                      <a:pt x="79" y="26"/>
                    </a:lnTo>
                    <a:lnTo>
                      <a:pt x="81" y="26"/>
                    </a:lnTo>
                    <a:lnTo>
                      <a:pt x="81" y="28"/>
                    </a:lnTo>
                    <a:lnTo>
                      <a:pt x="83" y="28"/>
                    </a:lnTo>
                    <a:lnTo>
                      <a:pt x="87" y="30"/>
                    </a:lnTo>
                    <a:lnTo>
                      <a:pt x="90" y="34"/>
                    </a:lnTo>
                    <a:lnTo>
                      <a:pt x="92" y="36"/>
                    </a:lnTo>
                    <a:lnTo>
                      <a:pt x="94" y="38"/>
                    </a:lnTo>
                    <a:lnTo>
                      <a:pt x="96" y="40"/>
                    </a:lnTo>
                    <a:lnTo>
                      <a:pt x="96" y="42"/>
                    </a:lnTo>
                    <a:lnTo>
                      <a:pt x="98" y="44"/>
                    </a:lnTo>
                    <a:lnTo>
                      <a:pt x="100" y="46"/>
                    </a:lnTo>
                    <a:lnTo>
                      <a:pt x="98" y="46"/>
                    </a:lnTo>
                    <a:lnTo>
                      <a:pt x="98" y="44"/>
                    </a:lnTo>
                    <a:lnTo>
                      <a:pt x="96" y="44"/>
                    </a:lnTo>
                    <a:lnTo>
                      <a:pt x="96" y="46"/>
                    </a:lnTo>
                    <a:lnTo>
                      <a:pt x="96" y="48"/>
                    </a:lnTo>
                    <a:lnTo>
                      <a:pt x="96" y="50"/>
                    </a:lnTo>
                    <a:lnTo>
                      <a:pt x="96" y="51"/>
                    </a:lnTo>
                    <a:lnTo>
                      <a:pt x="94" y="51"/>
                    </a:lnTo>
                    <a:lnTo>
                      <a:pt x="96" y="51"/>
                    </a:lnTo>
                    <a:lnTo>
                      <a:pt x="96" y="53"/>
                    </a:lnTo>
                    <a:lnTo>
                      <a:pt x="98" y="53"/>
                    </a:lnTo>
                    <a:lnTo>
                      <a:pt x="98" y="55"/>
                    </a:lnTo>
                    <a:lnTo>
                      <a:pt x="98" y="57"/>
                    </a:lnTo>
                    <a:lnTo>
                      <a:pt x="98" y="59"/>
                    </a:lnTo>
                    <a:lnTo>
                      <a:pt x="98" y="61"/>
                    </a:lnTo>
                    <a:lnTo>
                      <a:pt x="100" y="61"/>
                    </a:lnTo>
                    <a:lnTo>
                      <a:pt x="100" y="63"/>
                    </a:lnTo>
                    <a:lnTo>
                      <a:pt x="100" y="65"/>
                    </a:lnTo>
                    <a:lnTo>
                      <a:pt x="102" y="67"/>
                    </a:lnTo>
                    <a:lnTo>
                      <a:pt x="102" y="69"/>
                    </a:lnTo>
                    <a:lnTo>
                      <a:pt x="100" y="69"/>
                    </a:lnTo>
                    <a:lnTo>
                      <a:pt x="98" y="69"/>
                    </a:lnTo>
                    <a:lnTo>
                      <a:pt x="98" y="67"/>
                    </a:lnTo>
                    <a:lnTo>
                      <a:pt x="98" y="69"/>
                    </a:lnTo>
                    <a:lnTo>
                      <a:pt x="100" y="69"/>
                    </a:lnTo>
                    <a:lnTo>
                      <a:pt x="100" y="71"/>
                    </a:lnTo>
                    <a:lnTo>
                      <a:pt x="98" y="71"/>
                    </a:lnTo>
                    <a:lnTo>
                      <a:pt x="98" y="73"/>
                    </a:lnTo>
                    <a:lnTo>
                      <a:pt x="98" y="75"/>
                    </a:lnTo>
                    <a:lnTo>
                      <a:pt x="98" y="76"/>
                    </a:lnTo>
                    <a:lnTo>
                      <a:pt x="98" y="78"/>
                    </a:lnTo>
                    <a:lnTo>
                      <a:pt x="98" y="80"/>
                    </a:lnTo>
                    <a:lnTo>
                      <a:pt x="98" y="82"/>
                    </a:lnTo>
                    <a:lnTo>
                      <a:pt x="98" y="84"/>
                    </a:lnTo>
                    <a:lnTo>
                      <a:pt x="96" y="84"/>
                    </a:lnTo>
                    <a:lnTo>
                      <a:pt x="96" y="86"/>
                    </a:lnTo>
                    <a:lnTo>
                      <a:pt x="94" y="86"/>
                    </a:lnTo>
                    <a:lnTo>
                      <a:pt x="94" y="84"/>
                    </a:lnTo>
                    <a:lnTo>
                      <a:pt x="92" y="84"/>
                    </a:lnTo>
                    <a:lnTo>
                      <a:pt x="90" y="84"/>
                    </a:lnTo>
                    <a:lnTo>
                      <a:pt x="90" y="82"/>
                    </a:lnTo>
                    <a:lnTo>
                      <a:pt x="89" y="82"/>
                    </a:lnTo>
                    <a:lnTo>
                      <a:pt x="89" y="80"/>
                    </a:lnTo>
                    <a:lnTo>
                      <a:pt x="87" y="80"/>
                    </a:lnTo>
                    <a:lnTo>
                      <a:pt x="89" y="80"/>
                    </a:lnTo>
                    <a:lnTo>
                      <a:pt x="83" y="80"/>
                    </a:lnTo>
                    <a:lnTo>
                      <a:pt x="81" y="80"/>
                    </a:lnTo>
                    <a:lnTo>
                      <a:pt x="81" y="78"/>
                    </a:lnTo>
                    <a:lnTo>
                      <a:pt x="79" y="78"/>
                    </a:lnTo>
                    <a:lnTo>
                      <a:pt x="81" y="78"/>
                    </a:lnTo>
                    <a:lnTo>
                      <a:pt x="79" y="78"/>
                    </a:lnTo>
                    <a:lnTo>
                      <a:pt x="77" y="78"/>
                    </a:lnTo>
                    <a:lnTo>
                      <a:pt x="75" y="78"/>
                    </a:lnTo>
                    <a:lnTo>
                      <a:pt x="73" y="78"/>
                    </a:lnTo>
                    <a:lnTo>
                      <a:pt x="71" y="76"/>
                    </a:lnTo>
                    <a:lnTo>
                      <a:pt x="73" y="76"/>
                    </a:lnTo>
                    <a:lnTo>
                      <a:pt x="71" y="75"/>
                    </a:lnTo>
                    <a:lnTo>
                      <a:pt x="73" y="76"/>
                    </a:lnTo>
                    <a:lnTo>
                      <a:pt x="71" y="76"/>
                    </a:lnTo>
                    <a:lnTo>
                      <a:pt x="69" y="76"/>
                    </a:lnTo>
                    <a:lnTo>
                      <a:pt x="67" y="75"/>
                    </a:lnTo>
                    <a:lnTo>
                      <a:pt x="64" y="75"/>
                    </a:lnTo>
                    <a:lnTo>
                      <a:pt x="64" y="76"/>
                    </a:lnTo>
                    <a:lnTo>
                      <a:pt x="62" y="76"/>
                    </a:lnTo>
                    <a:lnTo>
                      <a:pt x="62" y="75"/>
                    </a:lnTo>
                    <a:lnTo>
                      <a:pt x="62" y="76"/>
                    </a:lnTo>
                    <a:lnTo>
                      <a:pt x="62" y="75"/>
                    </a:lnTo>
                    <a:lnTo>
                      <a:pt x="62" y="76"/>
                    </a:lnTo>
                    <a:lnTo>
                      <a:pt x="60" y="76"/>
                    </a:lnTo>
                    <a:lnTo>
                      <a:pt x="60" y="75"/>
                    </a:lnTo>
                    <a:lnTo>
                      <a:pt x="60" y="76"/>
                    </a:lnTo>
                    <a:lnTo>
                      <a:pt x="60" y="75"/>
                    </a:lnTo>
                    <a:lnTo>
                      <a:pt x="60" y="76"/>
                    </a:lnTo>
                    <a:lnTo>
                      <a:pt x="62" y="76"/>
                    </a:lnTo>
                    <a:lnTo>
                      <a:pt x="62" y="78"/>
                    </a:lnTo>
                    <a:lnTo>
                      <a:pt x="62" y="80"/>
                    </a:lnTo>
                    <a:lnTo>
                      <a:pt x="60" y="80"/>
                    </a:lnTo>
                    <a:lnTo>
                      <a:pt x="58" y="82"/>
                    </a:lnTo>
                    <a:lnTo>
                      <a:pt x="58" y="80"/>
                    </a:lnTo>
                    <a:lnTo>
                      <a:pt x="56" y="80"/>
                    </a:lnTo>
                    <a:lnTo>
                      <a:pt x="54" y="80"/>
                    </a:lnTo>
                    <a:lnTo>
                      <a:pt x="52" y="82"/>
                    </a:lnTo>
                    <a:lnTo>
                      <a:pt x="50" y="82"/>
                    </a:lnTo>
                    <a:lnTo>
                      <a:pt x="48" y="82"/>
                    </a:lnTo>
                    <a:lnTo>
                      <a:pt x="46" y="84"/>
                    </a:lnTo>
                    <a:lnTo>
                      <a:pt x="46" y="86"/>
                    </a:lnTo>
                    <a:lnTo>
                      <a:pt x="44" y="86"/>
                    </a:lnTo>
                    <a:lnTo>
                      <a:pt x="44" y="88"/>
                    </a:lnTo>
                    <a:lnTo>
                      <a:pt x="42" y="90"/>
                    </a:lnTo>
                    <a:lnTo>
                      <a:pt x="40" y="90"/>
                    </a:lnTo>
                    <a:lnTo>
                      <a:pt x="42" y="90"/>
                    </a:lnTo>
                    <a:lnTo>
                      <a:pt x="42" y="92"/>
                    </a:lnTo>
                    <a:lnTo>
                      <a:pt x="44" y="92"/>
                    </a:lnTo>
                    <a:lnTo>
                      <a:pt x="44" y="94"/>
                    </a:lnTo>
                    <a:lnTo>
                      <a:pt x="44" y="96"/>
                    </a:lnTo>
                    <a:lnTo>
                      <a:pt x="44" y="98"/>
                    </a:lnTo>
                    <a:lnTo>
                      <a:pt x="46" y="98"/>
                    </a:lnTo>
                    <a:lnTo>
                      <a:pt x="46" y="100"/>
                    </a:lnTo>
                    <a:lnTo>
                      <a:pt x="48" y="101"/>
                    </a:lnTo>
                    <a:lnTo>
                      <a:pt x="50" y="103"/>
                    </a:lnTo>
                    <a:lnTo>
                      <a:pt x="52" y="105"/>
                    </a:lnTo>
                    <a:lnTo>
                      <a:pt x="52" y="107"/>
                    </a:lnTo>
                    <a:lnTo>
                      <a:pt x="52" y="109"/>
                    </a:lnTo>
                    <a:lnTo>
                      <a:pt x="52" y="111"/>
                    </a:lnTo>
                    <a:lnTo>
                      <a:pt x="50" y="113"/>
                    </a:lnTo>
                    <a:lnTo>
                      <a:pt x="48" y="113"/>
                    </a:lnTo>
                    <a:lnTo>
                      <a:pt x="50" y="113"/>
                    </a:lnTo>
                    <a:lnTo>
                      <a:pt x="50" y="115"/>
                    </a:lnTo>
                    <a:lnTo>
                      <a:pt x="50" y="117"/>
                    </a:lnTo>
                    <a:lnTo>
                      <a:pt x="50" y="119"/>
                    </a:lnTo>
                    <a:lnTo>
                      <a:pt x="50" y="117"/>
                    </a:lnTo>
                    <a:lnTo>
                      <a:pt x="50" y="119"/>
                    </a:lnTo>
                    <a:lnTo>
                      <a:pt x="50" y="121"/>
                    </a:lnTo>
                    <a:lnTo>
                      <a:pt x="50" y="123"/>
                    </a:lnTo>
                    <a:lnTo>
                      <a:pt x="50" y="125"/>
                    </a:lnTo>
                    <a:lnTo>
                      <a:pt x="50" y="126"/>
                    </a:lnTo>
                    <a:lnTo>
                      <a:pt x="50" y="128"/>
                    </a:lnTo>
                    <a:lnTo>
                      <a:pt x="52" y="128"/>
                    </a:lnTo>
                    <a:lnTo>
                      <a:pt x="52" y="130"/>
                    </a:lnTo>
                    <a:lnTo>
                      <a:pt x="50" y="130"/>
                    </a:lnTo>
                    <a:lnTo>
                      <a:pt x="50" y="132"/>
                    </a:lnTo>
                    <a:lnTo>
                      <a:pt x="48" y="132"/>
                    </a:lnTo>
                    <a:lnTo>
                      <a:pt x="46" y="132"/>
                    </a:lnTo>
                    <a:lnTo>
                      <a:pt x="48" y="134"/>
                    </a:lnTo>
                    <a:lnTo>
                      <a:pt x="46" y="134"/>
                    </a:lnTo>
                    <a:lnTo>
                      <a:pt x="46" y="136"/>
                    </a:lnTo>
                    <a:lnTo>
                      <a:pt x="44" y="136"/>
                    </a:lnTo>
                    <a:lnTo>
                      <a:pt x="46" y="136"/>
                    </a:lnTo>
                    <a:lnTo>
                      <a:pt x="44" y="136"/>
                    </a:lnTo>
                    <a:lnTo>
                      <a:pt x="44" y="138"/>
                    </a:lnTo>
                    <a:lnTo>
                      <a:pt x="44" y="136"/>
                    </a:lnTo>
                    <a:lnTo>
                      <a:pt x="46" y="136"/>
                    </a:lnTo>
                    <a:lnTo>
                      <a:pt x="44" y="136"/>
                    </a:lnTo>
                    <a:lnTo>
                      <a:pt x="46" y="136"/>
                    </a:lnTo>
                    <a:lnTo>
                      <a:pt x="46" y="134"/>
                    </a:lnTo>
                    <a:lnTo>
                      <a:pt x="48" y="134"/>
                    </a:lnTo>
                    <a:lnTo>
                      <a:pt x="46" y="134"/>
                    </a:lnTo>
                    <a:lnTo>
                      <a:pt x="48" y="134"/>
                    </a:lnTo>
                    <a:lnTo>
                      <a:pt x="48" y="132"/>
                    </a:lnTo>
                    <a:lnTo>
                      <a:pt x="50" y="132"/>
                    </a:lnTo>
                    <a:lnTo>
                      <a:pt x="50" y="130"/>
                    </a:lnTo>
                    <a:lnTo>
                      <a:pt x="52" y="132"/>
                    </a:lnTo>
                    <a:lnTo>
                      <a:pt x="52" y="130"/>
                    </a:lnTo>
                    <a:lnTo>
                      <a:pt x="52" y="132"/>
                    </a:lnTo>
                    <a:lnTo>
                      <a:pt x="52" y="130"/>
                    </a:lnTo>
                    <a:lnTo>
                      <a:pt x="52" y="132"/>
                    </a:lnTo>
                    <a:lnTo>
                      <a:pt x="54" y="132"/>
                    </a:lnTo>
                    <a:lnTo>
                      <a:pt x="56" y="132"/>
                    </a:lnTo>
                    <a:lnTo>
                      <a:pt x="58" y="134"/>
                    </a:lnTo>
                    <a:lnTo>
                      <a:pt x="60" y="134"/>
                    </a:lnTo>
                    <a:lnTo>
                      <a:pt x="62" y="134"/>
                    </a:lnTo>
                    <a:lnTo>
                      <a:pt x="64" y="134"/>
                    </a:lnTo>
                    <a:lnTo>
                      <a:pt x="65" y="134"/>
                    </a:lnTo>
                    <a:lnTo>
                      <a:pt x="65" y="136"/>
                    </a:lnTo>
                    <a:lnTo>
                      <a:pt x="65" y="138"/>
                    </a:lnTo>
                    <a:lnTo>
                      <a:pt x="65" y="136"/>
                    </a:lnTo>
                    <a:lnTo>
                      <a:pt x="65" y="138"/>
                    </a:lnTo>
                    <a:lnTo>
                      <a:pt x="65" y="136"/>
                    </a:lnTo>
                    <a:lnTo>
                      <a:pt x="65" y="138"/>
                    </a:lnTo>
                    <a:lnTo>
                      <a:pt x="64" y="138"/>
                    </a:lnTo>
                    <a:lnTo>
                      <a:pt x="62" y="138"/>
                    </a:lnTo>
                    <a:lnTo>
                      <a:pt x="62" y="140"/>
                    </a:lnTo>
                    <a:lnTo>
                      <a:pt x="60" y="138"/>
                    </a:lnTo>
                    <a:lnTo>
                      <a:pt x="60" y="140"/>
                    </a:lnTo>
                    <a:lnTo>
                      <a:pt x="58" y="138"/>
                    </a:lnTo>
                    <a:lnTo>
                      <a:pt x="58" y="140"/>
                    </a:lnTo>
                    <a:lnTo>
                      <a:pt x="58" y="142"/>
                    </a:lnTo>
                    <a:lnTo>
                      <a:pt x="60" y="142"/>
                    </a:lnTo>
                    <a:lnTo>
                      <a:pt x="58" y="142"/>
                    </a:lnTo>
                    <a:lnTo>
                      <a:pt x="56" y="142"/>
                    </a:lnTo>
                    <a:lnTo>
                      <a:pt x="58" y="144"/>
                    </a:lnTo>
                    <a:lnTo>
                      <a:pt x="56" y="144"/>
                    </a:lnTo>
                    <a:lnTo>
                      <a:pt x="56" y="146"/>
                    </a:lnTo>
                    <a:lnTo>
                      <a:pt x="58" y="146"/>
                    </a:lnTo>
                    <a:lnTo>
                      <a:pt x="56" y="146"/>
                    </a:lnTo>
                    <a:lnTo>
                      <a:pt x="56" y="148"/>
                    </a:lnTo>
                    <a:lnTo>
                      <a:pt x="58" y="148"/>
                    </a:lnTo>
                    <a:lnTo>
                      <a:pt x="56" y="148"/>
                    </a:lnTo>
                    <a:lnTo>
                      <a:pt x="56" y="150"/>
                    </a:lnTo>
                    <a:lnTo>
                      <a:pt x="56" y="148"/>
                    </a:lnTo>
                    <a:lnTo>
                      <a:pt x="56" y="150"/>
                    </a:lnTo>
                    <a:lnTo>
                      <a:pt x="56" y="148"/>
                    </a:lnTo>
                    <a:lnTo>
                      <a:pt x="58" y="148"/>
                    </a:lnTo>
                    <a:lnTo>
                      <a:pt x="56" y="148"/>
                    </a:lnTo>
                    <a:lnTo>
                      <a:pt x="56" y="146"/>
                    </a:lnTo>
                    <a:lnTo>
                      <a:pt x="58" y="146"/>
                    </a:lnTo>
                    <a:lnTo>
                      <a:pt x="56" y="146"/>
                    </a:lnTo>
                    <a:lnTo>
                      <a:pt x="56" y="144"/>
                    </a:lnTo>
                    <a:lnTo>
                      <a:pt x="58" y="144"/>
                    </a:lnTo>
                    <a:lnTo>
                      <a:pt x="56" y="142"/>
                    </a:lnTo>
                    <a:lnTo>
                      <a:pt x="58" y="142"/>
                    </a:lnTo>
                    <a:lnTo>
                      <a:pt x="60" y="142"/>
                    </a:lnTo>
                    <a:lnTo>
                      <a:pt x="58" y="142"/>
                    </a:lnTo>
                    <a:lnTo>
                      <a:pt x="58" y="140"/>
                    </a:lnTo>
                    <a:lnTo>
                      <a:pt x="60" y="140"/>
                    </a:lnTo>
                    <a:lnTo>
                      <a:pt x="58" y="140"/>
                    </a:lnTo>
                    <a:lnTo>
                      <a:pt x="60" y="140"/>
                    </a:lnTo>
                    <a:lnTo>
                      <a:pt x="58" y="140"/>
                    </a:lnTo>
                    <a:lnTo>
                      <a:pt x="60" y="140"/>
                    </a:lnTo>
                    <a:lnTo>
                      <a:pt x="62" y="140"/>
                    </a:lnTo>
                    <a:lnTo>
                      <a:pt x="62" y="138"/>
                    </a:lnTo>
                    <a:lnTo>
                      <a:pt x="64" y="140"/>
                    </a:lnTo>
                    <a:lnTo>
                      <a:pt x="64" y="138"/>
                    </a:lnTo>
                    <a:lnTo>
                      <a:pt x="65" y="138"/>
                    </a:lnTo>
                    <a:lnTo>
                      <a:pt x="65" y="140"/>
                    </a:lnTo>
                    <a:lnTo>
                      <a:pt x="67" y="140"/>
                    </a:lnTo>
                    <a:lnTo>
                      <a:pt x="69" y="140"/>
                    </a:lnTo>
                    <a:lnTo>
                      <a:pt x="71" y="140"/>
                    </a:lnTo>
                    <a:lnTo>
                      <a:pt x="73" y="140"/>
                    </a:lnTo>
                    <a:lnTo>
                      <a:pt x="73" y="142"/>
                    </a:lnTo>
                    <a:lnTo>
                      <a:pt x="71" y="142"/>
                    </a:lnTo>
                    <a:lnTo>
                      <a:pt x="71" y="144"/>
                    </a:lnTo>
                    <a:lnTo>
                      <a:pt x="71" y="142"/>
                    </a:lnTo>
                    <a:lnTo>
                      <a:pt x="71" y="144"/>
                    </a:lnTo>
                    <a:lnTo>
                      <a:pt x="73" y="144"/>
                    </a:lnTo>
                    <a:lnTo>
                      <a:pt x="71" y="144"/>
                    </a:lnTo>
                    <a:lnTo>
                      <a:pt x="73" y="144"/>
                    </a:lnTo>
                    <a:lnTo>
                      <a:pt x="71" y="144"/>
                    </a:lnTo>
                    <a:lnTo>
                      <a:pt x="71" y="142"/>
                    </a:lnTo>
                    <a:lnTo>
                      <a:pt x="71" y="144"/>
                    </a:lnTo>
                    <a:lnTo>
                      <a:pt x="71" y="142"/>
                    </a:lnTo>
                    <a:lnTo>
                      <a:pt x="73" y="142"/>
                    </a:lnTo>
                    <a:lnTo>
                      <a:pt x="71" y="142"/>
                    </a:lnTo>
                    <a:lnTo>
                      <a:pt x="73" y="142"/>
                    </a:lnTo>
                    <a:lnTo>
                      <a:pt x="75" y="142"/>
                    </a:lnTo>
                    <a:lnTo>
                      <a:pt x="77" y="142"/>
                    </a:lnTo>
                    <a:lnTo>
                      <a:pt x="79" y="142"/>
                    </a:lnTo>
                    <a:lnTo>
                      <a:pt x="81" y="142"/>
                    </a:lnTo>
                    <a:lnTo>
                      <a:pt x="83" y="142"/>
                    </a:lnTo>
                    <a:lnTo>
                      <a:pt x="85" y="142"/>
                    </a:lnTo>
                    <a:lnTo>
                      <a:pt x="87" y="142"/>
                    </a:lnTo>
                    <a:lnTo>
                      <a:pt x="87" y="144"/>
                    </a:lnTo>
                    <a:lnTo>
                      <a:pt x="89" y="144"/>
                    </a:lnTo>
                    <a:lnTo>
                      <a:pt x="89" y="146"/>
                    </a:lnTo>
                    <a:lnTo>
                      <a:pt x="90" y="148"/>
                    </a:lnTo>
                    <a:lnTo>
                      <a:pt x="89" y="148"/>
                    </a:lnTo>
                    <a:lnTo>
                      <a:pt x="89" y="150"/>
                    </a:lnTo>
                    <a:lnTo>
                      <a:pt x="90" y="150"/>
                    </a:lnTo>
                    <a:lnTo>
                      <a:pt x="89" y="150"/>
                    </a:lnTo>
                    <a:lnTo>
                      <a:pt x="89" y="151"/>
                    </a:lnTo>
                    <a:lnTo>
                      <a:pt x="90" y="151"/>
                    </a:lnTo>
                    <a:lnTo>
                      <a:pt x="90" y="153"/>
                    </a:lnTo>
                    <a:lnTo>
                      <a:pt x="90" y="151"/>
                    </a:lnTo>
                    <a:lnTo>
                      <a:pt x="89" y="151"/>
                    </a:lnTo>
                    <a:lnTo>
                      <a:pt x="90" y="153"/>
                    </a:lnTo>
                    <a:lnTo>
                      <a:pt x="90" y="155"/>
                    </a:lnTo>
                    <a:lnTo>
                      <a:pt x="90" y="153"/>
                    </a:lnTo>
                    <a:lnTo>
                      <a:pt x="89" y="153"/>
                    </a:lnTo>
                    <a:lnTo>
                      <a:pt x="89" y="155"/>
                    </a:lnTo>
                    <a:lnTo>
                      <a:pt x="90" y="155"/>
                    </a:lnTo>
                    <a:lnTo>
                      <a:pt x="92" y="155"/>
                    </a:lnTo>
                    <a:lnTo>
                      <a:pt x="92" y="157"/>
                    </a:lnTo>
                    <a:lnTo>
                      <a:pt x="90" y="157"/>
                    </a:lnTo>
                    <a:lnTo>
                      <a:pt x="90" y="155"/>
                    </a:lnTo>
                    <a:lnTo>
                      <a:pt x="89" y="155"/>
                    </a:lnTo>
                    <a:lnTo>
                      <a:pt x="89" y="157"/>
                    </a:lnTo>
                    <a:lnTo>
                      <a:pt x="90" y="157"/>
                    </a:lnTo>
                    <a:lnTo>
                      <a:pt x="92" y="157"/>
                    </a:lnTo>
                    <a:lnTo>
                      <a:pt x="92" y="159"/>
                    </a:lnTo>
                    <a:lnTo>
                      <a:pt x="90" y="157"/>
                    </a:lnTo>
                    <a:lnTo>
                      <a:pt x="90" y="159"/>
                    </a:lnTo>
                    <a:lnTo>
                      <a:pt x="90" y="157"/>
                    </a:lnTo>
                    <a:lnTo>
                      <a:pt x="89" y="159"/>
                    </a:lnTo>
                    <a:lnTo>
                      <a:pt x="90" y="159"/>
                    </a:lnTo>
                    <a:lnTo>
                      <a:pt x="90" y="161"/>
                    </a:lnTo>
                    <a:lnTo>
                      <a:pt x="92" y="161"/>
                    </a:lnTo>
                    <a:lnTo>
                      <a:pt x="90" y="161"/>
                    </a:lnTo>
                    <a:lnTo>
                      <a:pt x="92" y="161"/>
                    </a:lnTo>
                    <a:lnTo>
                      <a:pt x="90" y="161"/>
                    </a:lnTo>
                    <a:lnTo>
                      <a:pt x="90" y="159"/>
                    </a:lnTo>
                    <a:lnTo>
                      <a:pt x="89" y="159"/>
                    </a:lnTo>
                    <a:lnTo>
                      <a:pt x="90" y="159"/>
                    </a:lnTo>
                    <a:lnTo>
                      <a:pt x="90" y="157"/>
                    </a:lnTo>
                    <a:lnTo>
                      <a:pt x="90" y="159"/>
                    </a:lnTo>
                    <a:lnTo>
                      <a:pt x="90" y="157"/>
                    </a:lnTo>
                    <a:lnTo>
                      <a:pt x="92" y="159"/>
                    </a:lnTo>
                    <a:lnTo>
                      <a:pt x="92" y="157"/>
                    </a:lnTo>
                    <a:lnTo>
                      <a:pt x="90" y="157"/>
                    </a:lnTo>
                    <a:lnTo>
                      <a:pt x="89" y="157"/>
                    </a:lnTo>
                    <a:lnTo>
                      <a:pt x="89" y="155"/>
                    </a:lnTo>
                    <a:lnTo>
                      <a:pt x="90" y="155"/>
                    </a:lnTo>
                    <a:lnTo>
                      <a:pt x="90" y="157"/>
                    </a:lnTo>
                    <a:lnTo>
                      <a:pt x="92" y="157"/>
                    </a:lnTo>
                    <a:lnTo>
                      <a:pt x="92" y="155"/>
                    </a:lnTo>
                    <a:lnTo>
                      <a:pt x="90" y="155"/>
                    </a:lnTo>
                    <a:lnTo>
                      <a:pt x="89" y="155"/>
                    </a:lnTo>
                    <a:lnTo>
                      <a:pt x="90" y="153"/>
                    </a:lnTo>
                    <a:lnTo>
                      <a:pt x="90" y="155"/>
                    </a:lnTo>
                    <a:lnTo>
                      <a:pt x="90" y="153"/>
                    </a:lnTo>
                    <a:lnTo>
                      <a:pt x="90" y="151"/>
                    </a:lnTo>
                    <a:lnTo>
                      <a:pt x="90" y="153"/>
                    </a:lnTo>
                    <a:lnTo>
                      <a:pt x="90" y="151"/>
                    </a:lnTo>
                    <a:lnTo>
                      <a:pt x="89" y="151"/>
                    </a:lnTo>
                    <a:lnTo>
                      <a:pt x="89" y="150"/>
                    </a:lnTo>
                    <a:lnTo>
                      <a:pt x="90" y="150"/>
                    </a:lnTo>
                    <a:lnTo>
                      <a:pt x="89" y="148"/>
                    </a:lnTo>
                    <a:lnTo>
                      <a:pt x="90" y="148"/>
                    </a:lnTo>
                    <a:lnTo>
                      <a:pt x="90" y="146"/>
                    </a:lnTo>
                    <a:lnTo>
                      <a:pt x="90" y="144"/>
                    </a:lnTo>
                    <a:lnTo>
                      <a:pt x="92" y="144"/>
                    </a:lnTo>
                    <a:lnTo>
                      <a:pt x="94" y="144"/>
                    </a:lnTo>
                    <a:lnTo>
                      <a:pt x="94" y="142"/>
                    </a:lnTo>
                    <a:lnTo>
                      <a:pt x="96" y="142"/>
                    </a:lnTo>
                    <a:lnTo>
                      <a:pt x="96" y="140"/>
                    </a:lnTo>
                    <a:lnTo>
                      <a:pt x="98" y="140"/>
                    </a:lnTo>
                    <a:lnTo>
                      <a:pt x="98" y="138"/>
                    </a:lnTo>
                    <a:lnTo>
                      <a:pt x="100" y="136"/>
                    </a:lnTo>
                    <a:lnTo>
                      <a:pt x="100" y="134"/>
                    </a:lnTo>
                    <a:lnTo>
                      <a:pt x="100" y="136"/>
                    </a:lnTo>
                    <a:lnTo>
                      <a:pt x="102" y="136"/>
                    </a:lnTo>
                    <a:lnTo>
                      <a:pt x="102" y="138"/>
                    </a:lnTo>
                    <a:lnTo>
                      <a:pt x="102" y="136"/>
                    </a:lnTo>
                    <a:lnTo>
                      <a:pt x="100" y="134"/>
                    </a:lnTo>
                    <a:lnTo>
                      <a:pt x="100" y="132"/>
                    </a:lnTo>
                    <a:lnTo>
                      <a:pt x="100" y="130"/>
                    </a:lnTo>
                    <a:lnTo>
                      <a:pt x="102" y="130"/>
                    </a:lnTo>
                    <a:lnTo>
                      <a:pt x="104" y="130"/>
                    </a:lnTo>
                    <a:lnTo>
                      <a:pt x="104" y="128"/>
                    </a:lnTo>
                    <a:lnTo>
                      <a:pt x="104" y="126"/>
                    </a:lnTo>
                    <a:lnTo>
                      <a:pt x="106" y="126"/>
                    </a:lnTo>
                    <a:lnTo>
                      <a:pt x="106" y="125"/>
                    </a:lnTo>
                    <a:lnTo>
                      <a:pt x="106" y="126"/>
                    </a:lnTo>
                    <a:lnTo>
                      <a:pt x="108" y="126"/>
                    </a:lnTo>
                    <a:lnTo>
                      <a:pt x="106" y="126"/>
                    </a:lnTo>
                    <a:lnTo>
                      <a:pt x="106" y="125"/>
                    </a:lnTo>
                    <a:lnTo>
                      <a:pt x="108" y="125"/>
                    </a:lnTo>
                    <a:lnTo>
                      <a:pt x="108" y="123"/>
                    </a:lnTo>
                    <a:lnTo>
                      <a:pt x="108" y="125"/>
                    </a:lnTo>
                    <a:lnTo>
                      <a:pt x="110" y="125"/>
                    </a:lnTo>
                    <a:lnTo>
                      <a:pt x="110" y="123"/>
                    </a:lnTo>
                    <a:lnTo>
                      <a:pt x="110" y="125"/>
                    </a:lnTo>
                    <a:lnTo>
                      <a:pt x="110" y="126"/>
                    </a:lnTo>
                    <a:lnTo>
                      <a:pt x="110" y="125"/>
                    </a:lnTo>
                    <a:lnTo>
                      <a:pt x="110" y="123"/>
                    </a:lnTo>
                    <a:lnTo>
                      <a:pt x="112" y="123"/>
                    </a:lnTo>
                    <a:lnTo>
                      <a:pt x="112" y="121"/>
                    </a:lnTo>
                    <a:lnTo>
                      <a:pt x="113" y="121"/>
                    </a:lnTo>
                    <a:lnTo>
                      <a:pt x="113" y="119"/>
                    </a:lnTo>
                    <a:lnTo>
                      <a:pt x="113" y="117"/>
                    </a:lnTo>
                    <a:lnTo>
                      <a:pt x="113" y="119"/>
                    </a:lnTo>
                    <a:lnTo>
                      <a:pt x="115" y="119"/>
                    </a:lnTo>
                    <a:lnTo>
                      <a:pt x="115" y="117"/>
                    </a:lnTo>
                    <a:lnTo>
                      <a:pt x="115" y="119"/>
                    </a:lnTo>
                    <a:lnTo>
                      <a:pt x="113" y="117"/>
                    </a:lnTo>
                    <a:lnTo>
                      <a:pt x="113" y="115"/>
                    </a:lnTo>
                    <a:lnTo>
                      <a:pt x="113" y="113"/>
                    </a:lnTo>
                    <a:lnTo>
                      <a:pt x="115" y="111"/>
                    </a:lnTo>
                    <a:lnTo>
                      <a:pt x="117" y="111"/>
                    </a:lnTo>
                    <a:lnTo>
                      <a:pt x="119" y="111"/>
                    </a:lnTo>
                    <a:lnTo>
                      <a:pt x="121" y="111"/>
                    </a:lnTo>
                    <a:lnTo>
                      <a:pt x="121" y="113"/>
                    </a:lnTo>
                    <a:lnTo>
                      <a:pt x="123" y="113"/>
                    </a:lnTo>
                    <a:lnTo>
                      <a:pt x="121" y="113"/>
                    </a:lnTo>
                    <a:lnTo>
                      <a:pt x="121" y="115"/>
                    </a:lnTo>
                    <a:lnTo>
                      <a:pt x="119" y="115"/>
                    </a:lnTo>
                    <a:lnTo>
                      <a:pt x="121" y="115"/>
                    </a:lnTo>
                    <a:lnTo>
                      <a:pt x="121" y="113"/>
                    </a:lnTo>
                    <a:lnTo>
                      <a:pt x="121" y="115"/>
                    </a:lnTo>
                    <a:lnTo>
                      <a:pt x="121" y="113"/>
                    </a:lnTo>
                    <a:lnTo>
                      <a:pt x="123" y="113"/>
                    </a:lnTo>
                    <a:lnTo>
                      <a:pt x="125" y="113"/>
                    </a:lnTo>
                    <a:lnTo>
                      <a:pt x="127" y="113"/>
                    </a:lnTo>
                    <a:lnTo>
                      <a:pt x="129" y="113"/>
                    </a:lnTo>
                    <a:lnTo>
                      <a:pt x="129" y="115"/>
                    </a:lnTo>
                    <a:lnTo>
                      <a:pt x="131" y="115"/>
                    </a:lnTo>
                    <a:lnTo>
                      <a:pt x="131" y="117"/>
                    </a:lnTo>
                    <a:lnTo>
                      <a:pt x="133" y="117"/>
                    </a:lnTo>
                    <a:lnTo>
                      <a:pt x="133" y="115"/>
                    </a:lnTo>
                    <a:lnTo>
                      <a:pt x="135" y="115"/>
                    </a:lnTo>
                    <a:lnTo>
                      <a:pt x="137" y="115"/>
                    </a:lnTo>
                    <a:lnTo>
                      <a:pt x="137" y="117"/>
                    </a:lnTo>
                    <a:lnTo>
                      <a:pt x="137" y="115"/>
                    </a:lnTo>
                    <a:lnTo>
                      <a:pt x="137" y="117"/>
                    </a:lnTo>
                    <a:lnTo>
                      <a:pt x="138" y="117"/>
                    </a:lnTo>
                    <a:lnTo>
                      <a:pt x="138" y="119"/>
                    </a:lnTo>
                    <a:lnTo>
                      <a:pt x="138" y="117"/>
                    </a:lnTo>
                    <a:lnTo>
                      <a:pt x="140" y="117"/>
                    </a:lnTo>
                    <a:lnTo>
                      <a:pt x="140" y="119"/>
                    </a:lnTo>
                    <a:lnTo>
                      <a:pt x="140" y="117"/>
                    </a:lnTo>
                    <a:lnTo>
                      <a:pt x="140" y="119"/>
                    </a:lnTo>
                    <a:lnTo>
                      <a:pt x="142" y="121"/>
                    </a:lnTo>
                    <a:lnTo>
                      <a:pt x="142" y="123"/>
                    </a:lnTo>
                    <a:lnTo>
                      <a:pt x="142" y="121"/>
                    </a:lnTo>
                    <a:lnTo>
                      <a:pt x="140" y="121"/>
                    </a:lnTo>
                    <a:lnTo>
                      <a:pt x="140" y="123"/>
                    </a:lnTo>
                    <a:lnTo>
                      <a:pt x="140" y="121"/>
                    </a:lnTo>
                    <a:lnTo>
                      <a:pt x="140" y="123"/>
                    </a:lnTo>
                    <a:lnTo>
                      <a:pt x="142" y="123"/>
                    </a:lnTo>
                    <a:lnTo>
                      <a:pt x="142" y="125"/>
                    </a:lnTo>
                    <a:lnTo>
                      <a:pt x="140" y="125"/>
                    </a:lnTo>
                    <a:lnTo>
                      <a:pt x="142" y="125"/>
                    </a:lnTo>
                    <a:lnTo>
                      <a:pt x="140" y="125"/>
                    </a:lnTo>
                    <a:lnTo>
                      <a:pt x="142" y="125"/>
                    </a:lnTo>
                    <a:lnTo>
                      <a:pt x="140" y="125"/>
                    </a:lnTo>
                    <a:lnTo>
                      <a:pt x="142" y="125"/>
                    </a:lnTo>
                    <a:lnTo>
                      <a:pt x="142" y="126"/>
                    </a:lnTo>
                    <a:lnTo>
                      <a:pt x="142" y="125"/>
                    </a:lnTo>
                    <a:lnTo>
                      <a:pt x="142" y="126"/>
                    </a:lnTo>
                    <a:lnTo>
                      <a:pt x="140" y="126"/>
                    </a:lnTo>
                    <a:lnTo>
                      <a:pt x="142" y="126"/>
                    </a:lnTo>
                    <a:lnTo>
                      <a:pt x="142" y="128"/>
                    </a:lnTo>
                    <a:lnTo>
                      <a:pt x="140" y="128"/>
                    </a:lnTo>
                    <a:lnTo>
                      <a:pt x="142" y="130"/>
                    </a:lnTo>
                    <a:lnTo>
                      <a:pt x="144" y="130"/>
                    </a:lnTo>
                    <a:lnTo>
                      <a:pt x="142" y="130"/>
                    </a:lnTo>
                    <a:lnTo>
                      <a:pt x="142" y="128"/>
                    </a:lnTo>
                    <a:lnTo>
                      <a:pt x="140" y="128"/>
                    </a:lnTo>
                    <a:lnTo>
                      <a:pt x="142" y="128"/>
                    </a:lnTo>
                    <a:lnTo>
                      <a:pt x="142" y="126"/>
                    </a:lnTo>
                    <a:lnTo>
                      <a:pt x="142" y="128"/>
                    </a:lnTo>
                    <a:lnTo>
                      <a:pt x="142" y="126"/>
                    </a:lnTo>
                    <a:lnTo>
                      <a:pt x="142" y="125"/>
                    </a:lnTo>
                    <a:lnTo>
                      <a:pt x="144" y="125"/>
                    </a:lnTo>
                    <a:lnTo>
                      <a:pt x="144" y="123"/>
                    </a:lnTo>
                    <a:lnTo>
                      <a:pt x="142" y="123"/>
                    </a:lnTo>
                    <a:lnTo>
                      <a:pt x="144" y="123"/>
                    </a:lnTo>
                    <a:lnTo>
                      <a:pt x="144" y="121"/>
                    </a:lnTo>
                    <a:lnTo>
                      <a:pt x="142" y="121"/>
                    </a:lnTo>
                    <a:lnTo>
                      <a:pt x="142" y="119"/>
                    </a:lnTo>
                    <a:lnTo>
                      <a:pt x="142" y="117"/>
                    </a:lnTo>
                    <a:lnTo>
                      <a:pt x="140" y="117"/>
                    </a:lnTo>
                    <a:lnTo>
                      <a:pt x="140" y="115"/>
                    </a:lnTo>
                    <a:lnTo>
                      <a:pt x="138" y="115"/>
                    </a:lnTo>
                    <a:lnTo>
                      <a:pt x="140" y="113"/>
                    </a:lnTo>
                    <a:lnTo>
                      <a:pt x="142" y="111"/>
                    </a:lnTo>
                    <a:lnTo>
                      <a:pt x="142" y="109"/>
                    </a:lnTo>
                    <a:lnTo>
                      <a:pt x="142" y="107"/>
                    </a:lnTo>
                    <a:lnTo>
                      <a:pt x="142" y="105"/>
                    </a:lnTo>
                    <a:lnTo>
                      <a:pt x="142" y="107"/>
                    </a:lnTo>
                    <a:lnTo>
                      <a:pt x="142" y="105"/>
                    </a:lnTo>
                    <a:lnTo>
                      <a:pt x="140" y="105"/>
                    </a:lnTo>
                    <a:lnTo>
                      <a:pt x="140" y="103"/>
                    </a:lnTo>
                    <a:lnTo>
                      <a:pt x="140" y="101"/>
                    </a:lnTo>
                    <a:lnTo>
                      <a:pt x="140" y="103"/>
                    </a:lnTo>
                    <a:lnTo>
                      <a:pt x="142" y="103"/>
                    </a:lnTo>
                    <a:lnTo>
                      <a:pt x="142" y="105"/>
                    </a:lnTo>
                    <a:lnTo>
                      <a:pt x="142" y="107"/>
                    </a:lnTo>
                    <a:lnTo>
                      <a:pt x="144" y="109"/>
                    </a:lnTo>
                    <a:lnTo>
                      <a:pt x="146" y="111"/>
                    </a:lnTo>
                    <a:lnTo>
                      <a:pt x="148" y="111"/>
                    </a:lnTo>
                    <a:lnTo>
                      <a:pt x="150" y="111"/>
                    </a:lnTo>
                    <a:lnTo>
                      <a:pt x="152" y="113"/>
                    </a:lnTo>
                    <a:lnTo>
                      <a:pt x="158" y="111"/>
                    </a:lnTo>
                    <a:lnTo>
                      <a:pt x="162" y="111"/>
                    </a:lnTo>
                    <a:lnTo>
                      <a:pt x="165" y="111"/>
                    </a:lnTo>
                    <a:lnTo>
                      <a:pt x="171" y="111"/>
                    </a:lnTo>
                    <a:lnTo>
                      <a:pt x="173" y="111"/>
                    </a:lnTo>
                    <a:lnTo>
                      <a:pt x="177" y="109"/>
                    </a:lnTo>
                    <a:lnTo>
                      <a:pt x="179" y="109"/>
                    </a:lnTo>
                    <a:lnTo>
                      <a:pt x="177" y="109"/>
                    </a:lnTo>
                    <a:lnTo>
                      <a:pt x="177" y="111"/>
                    </a:lnTo>
                    <a:lnTo>
                      <a:pt x="175" y="111"/>
                    </a:lnTo>
                    <a:lnTo>
                      <a:pt x="173" y="111"/>
                    </a:lnTo>
                    <a:lnTo>
                      <a:pt x="171" y="111"/>
                    </a:lnTo>
                    <a:lnTo>
                      <a:pt x="171" y="113"/>
                    </a:lnTo>
                    <a:lnTo>
                      <a:pt x="173" y="113"/>
                    </a:lnTo>
                    <a:lnTo>
                      <a:pt x="173" y="111"/>
                    </a:lnTo>
                    <a:lnTo>
                      <a:pt x="173" y="113"/>
                    </a:lnTo>
                    <a:lnTo>
                      <a:pt x="173" y="111"/>
                    </a:lnTo>
                    <a:lnTo>
                      <a:pt x="173" y="113"/>
                    </a:lnTo>
                    <a:lnTo>
                      <a:pt x="175" y="113"/>
                    </a:lnTo>
                    <a:lnTo>
                      <a:pt x="175" y="111"/>
                    </a:lnTo>
                    <a:lnTo>
                      <a:pt x="177" y="111"/>
                    </a:lnTo>
                    <a:lnTo>
                      <a:pt x="177" y="109"/>
                    </a:lnTo>
                    <a:lnTo>
                      <a:pt x="177" y="111"/>
                    </a:lnTo>
                    <a:lnTo>
                      <a:pt x="177" y="109"/>
                    </a:lnTo>
                    <a:lnTo>
                      <a:pt x="179" y="109"/>
                    </a:lnTo>
                    <a:lnTo>
                      <a:pt x="181" y="109"/>
                    </a:lnTo>
                    <a:lnTo>
                      <a:pt x="185" y="107"/>
                    </a:lnTo>
                    <a:lnTo>
                      <a:pt x="186" y="107"/>
                    </a:lnTo>
                    <a:lnTo>
                      <a:pt x="192" y="105"/>
                    </a:lnTo>
                    <a:lnTo>
                      <a:pt x="196" y="105"/>
                    </a:lnTo>
                    <a:lnTo>
                      <a:pt x="198" y="103"/>
                    </a:lnTo>
                    <a:lnTo>
                      <a:pt x="200" y="103"/>
                    </a:lnTo>
                    <a:lnTo>
                      <a:pt x="202" y="103"/>
                    </a:lnTo>
                    <a:lnTo>
                      <a:pt x="202" y="101"/>
                    </a:lnTo>
                    <a:lnTo>
                      <a:pt x="202" y="103"/>
                    </a:lnTo>
                    <a:lnTo>
                      <a:pt x="202" y="105"/>
                    </a:lnTo>
                    <a:lnTo>
                      <a:pt x="204" y="105"/>
                    </a:lnTo>
                    <a:lnTo>
                      <a:pt x="206" y="105"/>
                    </a:lnTo>
                    <a:lnTo>
                      <a:pt x="208" y="105"/>
                    </a:lnTo>
                    <a:lnTo>
                      <a:pt x="208" y="107"/>
                    </a:lnTo>
                    <a:lnTo>
                      <a:pt x="208" y="105"/>
                    </a:lnTo>
                    <a:lnTo>
                      <a:pt x="208" y="107"/>
                    </a:lnTo>
                    <a:lnTo>
                      <a:pt x="208" y="105"/>
                    </a:lnTo>
                    <a:lnTo>
                      <a:pt x="208" y="107"/>
                    </a:lnTo>
                    <a:lnTo>
                      <a:pt x="208" y="105"/>
                    </a:lnTo>
                    <a:lnTo>
                      <a:pt x="210" y="105"/>
                    </a:lnTo>
                    <a:lnTo>
                      <a:pt x="211" y="105"/>
                    </a:lnTo>
                    <a:lnTo>
                      <a:pt x="211" y="107"/>
                    </a:lnTo>
                    <a:lnTo>
                      <a:pt x="213" y="107"/>
                    </a:lnTo>
                    <a:lnTo>
                      <a:pt x="215" y="107"/>
                    </a:lnTo>
                    <a:lnTo>
                      <a:pt x="215" y="105"/>
                    </a:lnTo>
                    <a:lnTo>
                      <a:pt x="217" y="105"/>
                    </a:lnTo>
                    <a:lnTo>
                      <a:pt x="217" y="107"/>
                    </a:lnTo>
                    <a:lnTo>
                      <a:pt x="217" y="105"/>
                    </a:lnTo>
                    <a:lnTo>
                      <a:pt x="219" y="107"/>
                    </a:lnTo>
                    <a:lnTo>
                      <a:pt x="217" y="107"/>
                    </a:lnTo>
                    <a:lnTo>
                      <a:pt x="219" y="107"/>
                    </a:lnTo>
                    <a:lnTo>
                      <a:pt x="217" y="107"/>
                    </a:lnTo>
                    <a:lnTo>
                      <a:pt x="219" y="107"/>
                    </a:lnTo>
                    <a:lnTo>
                      <a:pt x="221" y="107"/>
                    </a:lnTo>
                    <a:lnTo>
                      <a:pt x="221" y="105"/>
                    </a:lnTo>
                    <a:lnTo>
                      <a:pt x="219" y="105"/>
                    </a:lnTo>
                    <a:lnTo>
                      <a:pt x="221" y="105"/>
                    </a:lnTo>
                    <a:lnTo>
                      <a:pt x="219" y="107"/>
                    </a:lnTo>
                    <a:lnTo>
                      <a:pt x="219" y="105"/>
                    </a:lnTo>
                    <a:lnTo>
                      <a:pt x="219" y="107"/>
                    </a:lnTo>
                    <a:lnTo>
                      <a:pt x="219" y="105"/>
                    </a:lnTo>
                    <a:lnTo>
                      <a:pt x="221" y="105"/>
                    </a:lnTo>
                    <a:lnTo>
                      <a:pt x="221" y="103"/>
                    </a:lnTo>
                    <a:lnTo>
                      <a:pt x="225" y="105"/>
                    </a:lnTo>
                    <a:lnTo>
                      <a:pt x="227" y="105"/>
                    </a:lnTo>
                    <a:lnTo>
                      <a:pt x="229" y="105"/>
                    </a:lnTo>
                    <a:lnTo>
                      <a:pt x="231" y="105"/>
                    </a:lnTo>
                    <a:lnTo>
                      <a:pt x="233" y="105"/>
                    </a:lnTo>
                    <a:lnTo>
                      <a:pt x="235" y="105"/>
                    </a:lnTo>
                    <a:lnTo>
                      <a:pt x="238" y="105"/>
                    </a:lnTo>
                    <a:lnTo>
                      <a:pt x="238" y="107"/>
                    </a:lnTo>
                    <a:lnTo>
                      <a:pt x="236" y="107"/>
                    </a:lnTo>
                    <a:lnTo>
                      <a:pt x="236" y="109"/>
                    </a:lnTo>
                    <a:lnTo>
                      <a:pt x="235" y="107"/>
                    </a:lnTo>
                    <a:lnTo>
                      <a:pt x="233" y="107"/>
                    </a:lnTo>
                    <a:lnTo>
                      <a:pt x="233" y="109"/>
                    </a:lnTo>
                    <a:lnTo>
                      <a:pt x="235" y="109"/>
                    </a:lnTo>
                    <a:lnTo>
                      <a:pt x="236" y="109"/>
                    </a:lnTo>
                    <a:lnTo>
                      <a:pt x="236" y="111"/>
                    </a:lnTo>
                    <a:lnTo>
                      <a:pt x="236" y="113"/>
                    </a:lnTo>
                    <a:lnTo>
                      <a:pt x="235" y="113"/>
                    </a:lnTo>
                    <a:lnTo>
                      <a:pt x="236" y="113"/>
                    </a:lnTo>
                    <a:lnTo>
                      <a:pt x="235" y="113"/>
                    </a:lnTo>
                    <a:lnTo>
                      <a:pt x="236" y="113"/>
                    </a:lnTo>
                    <a:lnTo>
                      <a:pt x="238" y="113"/>
                    </a:lnTo>
                    <a:lnTo>
                      <a:pt x="236" y="113"/>
                    </a:lnTo>
                    <a:lnTo>
                      <a:pt x="238" y="113"/>
                    </a:lnTo>
                    <a:lnTo>
                      <a:pt x="236" y="113"/>
                    </a:lnTo>
                    <a:lnTo>
                      <a:pt x="236" y="115"/>
                    </a:lnTo>
                    <a:lnTo>
                      <a:pt x="235" y="115"/>
                    </a:lnTo>
                    <a:lnTo>
                      <a:pt x="233" y="115"/>
                    </a:lnTo>
                    <a:lnTo>
                      <a:pt x="233" y="117"/>
                    </a:lnTo>
                    <a:lnTo>
                      <a:pt x="233" y="119"/>
                    </a:lnTo>
                    <a:lnTo>
                      <a:pt x="233" y="121"/>
                    </a:lnTo>
                    <a:lnTo>
                      <a:pt x="233" y="119"/>
                    </a:lnTo>
                    <a:lnTo>
                      <a:pt x="233" y="121"/>
                    </a:lnTo>
                    <a:lnTo>
                      <a:pt x="235" y="121"/>
                    </a:lnTo>
                    <a:lnTo>
                      <a:pt x="233" y="121"/>
                    </a:lnTo>
                    <a:lnTo>
                      <a:pt x="233" y="123"/>
                    </a:lnTo>
                    <a:lnTo>
                      <a:pt x="235" y="121"/>
                    </a:lnTo>
                    <a:lnTo>
                      <a:pt x="235" y="123"/>
                    </a:lnTo>
                    <a:lnTo>
                      <a:pt x="233" y="123"/>
                    </a:lnTo>
                    <a:lnTo>
                      <a:pt x="235" y="123"/>
                    </a:lnTo>
                    <a:lnTo>
                      <a:pt x="235" y="121"/>
                    </a:lnTo>
                    <a:lnTo>
                      <a:pt x="235" y="123"/>
                    </a:lnTo>
                    <a:lnTo>
                      <a:pt x="235" y="121"/>
                    </a:lnTo>
                    <a:lnTo>
                      <a:pt x="236" y="121"/>
                    </a:lnTo>
                    <a:lnTo>
                      <a:pt x="235" y="121"/>
                    </a:lnTo>
                    <a:lnTo>
                      <a:pt x="236" y="121"/>
                    </a:lnTo>
                    <a:lnTo>
                      <a:pt x="238" y="121"/>
                    </a:lnTo>
                    <a:lnTo>
                      <a:pt x="240" y="121"/>
                    </a:lnTo>
                    <a:lnTo>
                      <a:pt x="242" y="119"/>
                    </a:lnTo>
                    <a:lnTo>
                      <a:pt x="244" y="119"/>
                    </a:lnTo>
                    <a:lnTo>
                      <a:pt x="246" y="119"/>
                    </a:lnTo>
                    <a:lnTo>
                      <a:pt x="248" y="119"/>
                    </a:lnTo>
                    <a:lnTo>
                      <a:pt x="248" y="117"/>
                    </a:lnTo>
                    <a:lnTo>
                      <a:pt x="248" y="115"/>
                    </a:lnTo>
                    <a:lnTo>
                      <a:pt x="246" y="113"/>
                    </a:lnTo>
                    <a:lnTo>
                      <a:pt x="246" y="111"/>
                    </a:lnTo>
                    <a:lnTo>
                      <a:pt x="246" y="109"/>
                    </a:lnTo>
                    <a:lnTo>
                      <a:pt x="244" y="109"/>
                    </a:lnTo>
                    <a:lnTo>
                      <a:pt x="246" y="107"/>
                    </a:lnTo>
                    <a:lnTo>
                      <a:pt x="246" y="109"/>
                    </a:lnTo>
                    <a:lnTo>
                      <a:pt x="246" y="107"/>
                    </a:lnTo>
                    <a:lnTo>
                      <a:pt x="246" y="109"/>
                    </a:lnTo>
                    <a:lnTo>
                      <a:pt x="246" y="107"/>
                    </a:lnTo>
                    <a:lnTo>
                      <a:pt x="248" y="107"/>
                    </a:lnTo>
                    <a:lnTo>
                      <a:pt x="250" y="109"/>
                    </a:lnTo>
                    <a:lnTo>
                      <a:pt x="250" y="107"/>
                    </a:lnTo>
                    <a:lnTo>
                      <a:pt x="248" y="107"/>
                    </a:lnTo>
                    <a:lnTo>
                      <a:pt x="246" y="107"/>
                    </a:lnTo>
                    <a:lnTo>
                      <a:pt x="246" y="105"/>
                    </a:lnTo>
                    <a:lnTo>
                      <a:pt x="248" y="105"/>
                    </a:lnTo>
                    <a:lnTo>
                      <a:pt x="246" y="105"/>
                    </a:lnTo>
                    <a:lnTo>
                      <a:pt x="246" y="107"/>
                    </a:lnTo>
                    <a:lnTo>
                      <a:pt x="246" y="105"/>
                    </a:lnTo>
                    <a:lnTo>
                      <a:pt x="246" y="107"/>
                    </a:lnTo>
                    <a:lnTo>
                      <a:pt x="244" y="107"/>
                    </a:lnTo>
                    <a:lnTo>
                      <a:pt x="242" y="107"/>
                    </a:lnTo>
                    <a:lnTo>
                      <a:pt x="240" y="105"/>
                    </a:lnTo>
                    <a:lnTo>
                      <a:pt x="242" y="105"/>
                    </a:lnTo>
                    <a:lnTo>
                      <a:pt x="248" y="103"/>
                    </a:lnTo>
                    <a:lnTo>
                      <a:pt x="250" y="103"/>
                    </a:lnTo>
                    <a:lnTo>
                      <a:pt x="252" y="103"/>
                    </a:lnTo>
                    <a:lnTo>
                      <a:pt x="258" y="103"/>
                    </a:lnTo>
                    <a:lnTo>
                      <a:pt x="261" y="101"/>
                    </a:lnTo>
                    <a:lnTo>
                      <a:pt x="263" y="101"/>
                    </a:lnTo>
                    <a:lnTo>
                      <a:pt x="263" y="103"/>
                    </a:lnTo>
                    <a:lnTo>
                      <a:pt x="261" y="105"/>
                    </a:lnTo>
                    <a:lnTo>
                      <a:pt x="259" y="105"/>
                    </a:lnTo>
                    <a:lnTo>
                      <a:pt x="259" y="107"/>
                    </a:lnTo>
                    <a:lnTo>
                      <a:pt x="258" y="107"/>
                    </a:lnTo>
                    <a:lnTo>
                      <a:pt x="256" y="107"/>
                    </a:lnTo>
                    <a:lnTo>
                      <a:pt x="256" y="105"/>
                    </a:lnTo>
                    <a:lnTo>
                      <a:pt x="256" y="107"/>
                    </a:lnTo>
                    <a:lnTo>
                      <a:pt x="256" y="109"/>
                    </a:lnTo>
                    <a:lnTo>
                      <a:pt x="258" y="109"/>
                    </a:lnTo>
                    <a:lnTo>
                      <a:pt x="258" y="111"/>
                    </a:lnTo>
                    <a:lnTo>
                      <a:pt x="259" y="111"/>
                    </a:lnTo>
                    <a:lnTo>
                      <a:pt x="258" y="111"/>
                    </a:lnTo>
                    <a:lnTo>
                      <a:pt x="259" y="111"/>
                    </a:lnTo>
                    <a:lnTo>
                      <a:pt x="259" y="113"/>
                    </a:lnTo>
                    <a:lnTo>
                      <a:pt x="258" y="113"/>
                    </a:lnTo>
                    <a:lnTo>
                      <a:pt x="259" y="115"/>
                    </a:lnTo>
                    <a:lnTo>
                      <a:pt x="258" y="115"/>
                    </a:lnTo>
                    <a:lnTo>
                      <a:pt x="259" y="115"/>
                    </a:lnTo>
                    <a:lnTo>
                      <a:pt x="261" y="115"/>
                    </a:lnTo>
                    <a:lnTo>
                      <a:pt x="261" y="113"/>
                    </a:lnTo>
                    <a:lnTo>
                      <a:pt x="263" y="113"/>
                    </a:lnTo>
                    <a:lnTo>
                      <a:pt x="263" y="111"/>
                    </a:lnTo>
                    <a:lnTo>
                      <a:pt x="263" y="113"/>
                    </a:lnTo>
                    <a:lnTo>
                      <a:pt x="261" y="113"/>
                    </a:lnTo>
                    <a:lnTo>
                      <a:pt x="261" y="111"/>
                    </a:lnTo>
                    <a:lnTo>
                      <a:pt x="261" y="113"/>
                    </a:lnTo>
                    <a:lnTo>
                      <a:pt x="259" y="111"/>
                    </a:lnTo>
                    <a:lnTo>
                      <a:pt x="259" y="113"/>
                    </a:lnTo>
                    <a:lnTo>
                      <a:pt x="259" y="111"/>
                    </a:lnTo>
                    <a:lnTo>
                      <a:pt x="261" y="111"/>
                    </a:lnTo>
                    <a:lnTo>
                      <a:pt x="261" y="109"/>
                    </a:lnTo>
                    <a:lnTo>
                      <a:pt x="259" y="109"/>
                    </a:lnTo>
                    <a:lnTo>
                      <a:pt x="259" y="107"/>
                    </a:lnTo>
                    <a:lnTo>
                      <a:pt x="261" y="107"/>
                    </a:lnTo>
                    <a:lnTo>
                      <a:pt x="261" y="105"/>
                    </a:lnTo>
                    <a:lnTo>
                      <a:pt x="261" y="107"/>
                    </a:lnTo>
                    <a:lnTo>
                      <a:pt x="261" y="109"/>
                    </a:lnTo>
                    <a:lnTo>
                      <a:pt x="263" y="109"/>
                    </a:lnTo>
                    <a:lnTo>
                      <a:pt x="263" y="111"/>
                    </a:lnTo>
                    <a:lnTo>
                      <a:pt x="263" y="109"/>
                    </a:lnTo>
                    <a:lnTo>
                      <a:pt x="263" y="107"/>
                    </a:lnTo>
                    <a:lnTo>
                      <a:pt x="261" y="107"/>
                    </a:lnTo>
                    <a:lnTo>
                      <a:pt x="263" y="107"/>
                    </a:lnTo>
                    <a:lnTo>
                      <a:pt x="263" y="105"/>
                    </a:lnTo>
                    <a:lnTo>
                      <a:pt x="263" y="107"/>
                    </a:lnTo>
                    <a:lnTo>
                      <a:pt x="265" y="107"/>
                    </a:lnTo>
                    <a:lnTo>
                      <a:pt x="263" y="107"/>
                    </a:lnTo>
                    <a:lnTo>
                      <a:pt x="265" y="107"/>
                    </a:lnTo>
                    <a:lnTo>
                      <a:pt x="263" y="107"/>
                    </a:lnTo>
                    <a:lnTo>
                      <a:pt x="263" y="105"/>
                    </a:lnTo>
                    <a:lnTo>
                      <a:pt x="265" y="105"/>
                    </a:lnTo>
                    <a:lnTo>
                      <a:pt x="263" y="105"/>
                    </a:lnTo>
                    <a:lnTo>
                      <a:pt x="265" y="105"/>
                    </a:lnTo>
                    <a:lnTo>
                      <a:pt x="263" y="105"/>
                    </a:lnTo>
                    <a:lnTo>
                      <a:pt x="263" y="103"/>
                    </a:lnTo>
                    <a:lnTo>
                      <a:pt x="263" y="101"/>
                    </a:lnTo>
                    <a:lnTo>
                      <a:pt x="271" y="101"/>
                    </a:lnTo>
                    <a:lnTo>
                      <a:pt x="273" y="101"/>
                    </a:lnTo>
                    <a:lnTo>
                      <a:pt x="275" y="101"/>
                    </a:lnTo>
                    <a:lnTo>
                      <a:pt x="279" y="101"/>
                    </a:lnTo>
                    <a:lnTo>
                      <a:pt x="283" y="101"/>
                    </a:lnTo>
                    <a:lnTo>
                      <a:pt x="284" y="101"/>
                    </a:lnTo>
                    <a:lnTo>
                      <a:pt x="286" y="101"/>
                    </a:lnTo>
                    <a:lnTo>
                      <a:pt x="288" y="101"/>
                    </a:lnTo>
                    <a:lnTo>
                      <a:pt x="290" y="103"/>
                    </a:lnTo>
                    <a:lnTo>
                      <a:pt x="292" y="103"/>
                    </a:lnTo>
                    <a:lnTo>
                      <a:pt x="294" y="103"/>
                    </a:lnTo>
                    <a:lnTo>
                      <a:pt x="296" y="105"/>
                    </a:lnTo>
                    <a:lnTo>
                      <a:pt x="298" y="105"/>
                    </a:lnTo>
                    <a:lnTo>
                      <a:pt x="300" y="107"/>
                    </a:lnTo>
                    <a:lnTo>
                      <a:pt x="302" y="107"/>
                    </a:lnTo>
                    <a:lnTo>
                      <a:pt x="300" y="107"/>
                    </a:lnTo>
                    <a:lnTo>
                      <a:pt x="302" y="107"/>
                    </a:lnTo>
                    <a:lnTo>
                      <a:pt x="300" y="107"/>
                    </a:lnTo>
                    <a:lnTo>
                      <a:pt x="298" y="107"/>
                    </a:lnTo>
                    <a:lnTo>
                      <a:pt x="296" y="107"/>
                    </a:lnTo>
                    <a:lnTo>
                      <a:pt x="294" y="107"/>
                    </a:lnTo>
                    <a:lnTo>
                      <a:pt x="292" y="105"/>
                    </a:lnTo>
                    <a:lnTo>
                      <a:pt x="290" y="105"/>
                    </a:lnTo>
                    <a:lnTo>
                      <a:pt x="288" y="105"/>
                    </a:lnTo>
                    <a:lnTo>
                      <a:pt x="286" y="105"/>
                    </a:lnTo>
                    <a:lnTo>
                      <a:pt x="284" y="105"/>
                    </a:lnTo>
                    <a:lnTo>
                      <a:pt x="283" y="103"/>
                    </a:lnTo>
                    <a:lnTo>
                      <a:pt x="281" y="103"/>
                    </a:lnTo>
                    <a:lnTo>
                      <a:pt x="279" y="103"/>
                    </a:lnTo>
                    <a:lnTo>
                      <a:pt x="279" y="101"/>
                    </a:lnTo>
                    <a:lnTo>
                      <a:pt x="279" y="103"/>
                    </a:lnTo>
                    <a:lnTo>
                      <a:pt x="277" y="101"/>
                    </a:lnTo>
                    <a:lnTo>
                      <a:pt x="277" y="103"/>
                    </a:lnTo>
                    <a:lnTo>
                      <a:pt x="279" y="103"/>
                    </a:lnTo>
                    <a:lnTo>
                      <a:pt x="277" y="103"/>
                    </a:lnTo>
                    <a:lnTo>
                      <a:pt x="277" y="105"/>
                    </a:lnTo>
                    <a:lnTo>
                      <a:pt x="279" y="107"/>
                    </a:lnTo>
                    <a:close/>
                    <a:moveTo>
                      <a:pt x="267" y="128"/>
                    </a:moveTo>
                    <a:lnTo>
                      <a:pt x="267" y="130"/>
                    </a:lnTo>
                    <a:lnTo>
                      <a:pt x="267" y="128"/>
                    </a:lnTo>
                    <a:close/>
                    <a:moveTo>
                      <a:pt x="96" y="142"/>
                    </a:moveTo>
                    <a:lnTo>
                      <a:pt x="98" y="142"/>
                    </a:lnTo>
                    <a:lnTo>
                      <a:pt x="96" y="142"/>
                    </a:lnTo>
                    <a:close/>
                    <a:moveTo>
                      <a:pt x="233" y="155"/>
                    </a:moveTo>
                    <a:lnTo>
                      <a:pt x="231" y="155"/>
                    </a:lnTo>
                    <a:lnTo>
                      <a:pt x="233" y="155"/>
                    </a:lnTo>
                    <a:close/>
                    <a:moveTo>
                      <a:pt x="200" y="57"/>
                    </a:moveTo>
                    <a:lnTo>
                      <a:pt x="200" y="59"/>
                    </a:lnTo>
                    <a:lnTo>
                      <a:pt x="200" y="57"/>
                    </a:lnTo>
                    <a:lnTo>
                      <a:pt x="200" y="59"/>
                    </a:lnTo>
                    <a:lnTo>
                      <a:pt x="200" y="57"/>
                    </a:lnTo>
                    <a:lnTo>
                      <a:pt x="200" y="59"/>
                    </a:lnTo>
                    <a:lnTo>
                      <a:pt x="200" y="57"/>
                    </a:lnTo>
                    <a:close/>
                    <a:moveTo>
                      <a:pt x="202" y="57"/>
                    </a:moveTo>
                    <a:lnTo>
                      <a:pt x="202" y="59"/>
                    </a:lnTo>
                    <a:lnTo>
                      <a:pt x="202" y="57"/>
                    </a:lnTo>
                    <a:lnTo>
                      <a:pt x="202" y="59"/>
                    </a:lnTo>
                    <a:lnTo>
                      <a:pt x="202" y="57"/>
                    </a:lnTo>
                    <a:close/>
                    <a:moveTo>
                      <a:pt x="200" y="57"/>
                    </a:moveTo>
                    <a:lnTo>
                      <a:pt x="202" y="57"/>
                    </a:lnTo>
                    <a:lnTo>
                      <a:pt x="200" y="57"/>
                    </a:lnTo>
                    <a:close/>
                    <a:moveTo>
                      <a:pt x="532" y="186"/>
                    </a:moveTo>
                    <a:lnTo>
                      <a:pt x="532" y="188"/>
                    </a:lnTo>
                    <a:lnTo>
                      <a:pt x="532" y="186"/>
                    </a:lnTo>
                    <a:lnTo>
                      <a:pt x="534" y="186"/>
                    </a:lnTo>
                    <a:lnTo>
                      <a:pt x="534" y="188"/>
                    </a:lnTo>
                    <a:lnTo>
                      <a:pt x="532" y="188"/>
                    </a:lnTo>
                    <a:lnTo>
                      <a:pt x="530" y="188"/>
                    </a:lnTo>
                    <a:lnTo>
                      <a:pt x="528" y="188"/>
                    </a:lnTo>
                    <a:lnTo>
                      <a:pt x="530" y="188"/>
                    </a:lnTo>
                    <a:lnTo>
                      <a:pt x="530" y="186"/>
                    </a:lnTo>
                    <a:lnTo>
                      <a:pt x="532" y="186"/>
                    </a:lnTo>
                    <a:lnTo>
                      <a:pt x="532" y="188"/>
                    </a:lnTo>
                    <a:lnTo>
                      <a:pt x="532" y="186"/>
                    </a:lnTo>
                    <a:close/>
                    <a:moveTo>
                      <a:pt x="454" y="128"/>
                    </a:moveTo>
                    <a:lnTo>
                      <a:pt x="454" y="126"/>
                    </a:lnTo>
                    <a:lnTo>
                      <a:pt x="454" y="128"/>
                    </a:lnTo>
                    <a:close/>
                    <a:moveTo>
                      <a:pt x="477" y="128"/>
                    </a:moveTo>
                    <a:lnTo>
                      <a:pt x="477" y="126"/>
                    </a:lnTo>
                    <a:lnTo>
                      <a:pt x="477" y="128"/>
                    </a:lnTo>
                    <a:lnTo>
                      <a:pt x="477" y="126"/>
                    </a:lnTo>
                    <a:lnTo>
                      <a:pt x="479" y="128"/>
                    </a:lnTo>
                    <a:lnTo>
                      <a:pt x="479" y="126"/>
                    </a:lnTo>
                    <a:lnTo>
                      <a:pt x="479" y="128"/>
                    </a:lnTo>
                    <a:lnTo>
                      <a:pt x="480" y="128"/>
                    </a:lnTo>
                    <a:lnTo>
                      <a:pt x="480" y="130"/>
                    </a:lnTo>
                    <a:lnTo>
                      <a:pt x="482" y="130"/>
                    </a:lnTo>
                    <a:lnTo>
                      <a:pt x="484" y="130"/>
                    </a:lnTo>
                    <a:lnTo>
                      <a:pt x="484" y="132"/>
                    </a:lnTo>
                    <a:lnTo>
                      <a:pt x="486" y="132"/>
                    </a:lnTo>
                    <a:lnTo>
                      <a:pt x="490" y="134"/>
                    </a:lnTo>
                    <a:lnTo>
                      <a:pt x="492" y="134"/>
                    </a:lnTo>
                    <a:lnTo>
                      <a:pt x="494" y="136"/>
                    </a:lnTo>
                    <a:lnTo>
                      <a:pt x="496" y="136"/>
                    </a:lnTo>
                    <a:lnTo>
                      <a:pt x="498" y="136"/>
                    </a:lnTo>
                    <a:lnTo>
                      <a:pt x="498" y="138"/>
                    </a:lnTo>
                    <a:lnTo>
                      <a:pt x="500" y="138"/>
                    </a:lnTo>
                    <a:lnTo>
                      <a:pt x="498" y="138"/>
                    </a:lnTo>
                    <a:lnTo>
                      <a:pt x="498" y="140"/>
                    </a:lnTo>
                    <a:lnTo>
                      <a:pt x="496" y="140"/>
                    </a:lnTo>
                    <a:lnTo>
                      <a:pt x="496" y="138"/>
                    </a:lnTo>
                    <a:lnTo>
                      <a:pt x="494" y="138"/>
                    </a:lnTo>
                    <a:lnTo>
                      <a:pt x="494" y="140"/>
                    </a:lnTo>
                    <a:lnTo>
                      <a:pt x="494" y="138"/>
                    </a:lnTo>
                    <a:lnTo>
                      <a:pt x="494" y="140"/>
                    </a:lnTo>
                    <a:lnTo>
                      <a:pt x="494" y="138"/>
                    </a:lnTo>
                    <a:lnTo>
                      <a:pt x="496" y="140"/>
                    </a:lnTo>
                    <a:lnTo>
                      <a:pt x="498" y="140"/>
                    </a:lnTo>
                    <a:lnTo>
                      <a:pt x="498" y="138"/>
                    </a:lnTo>
                    <a:lnTo>
                      <a:pt x="498" y="140"/>
                    </a:lnTo>
                    <a:lnTo>
                      <a:pt x="498" y="138"/>
                    </a:lnTo>
                    <a:lnTo>
                      <a:pt x="500" y="138"/>
                    </a:lnTo>
                    <a:lnTo>
                      <a:pt x="502" y="138"/>
                    </a:lnTo>
                    <a:lnTo>
                      <a:pt x="502" y="140"/>
                    </a:lnTo>
                    <a:lnTo>
                      <a:pt x="505" y="142"/>
                    </a:lnTo>
                    <a:lnTo>
                      <a:pt x="503" y="142"/>
                    </a:lnTo>
                    <a:lnTo>
                      <a:pt x="505" y="142"/>
                    </a:lnTo>
                    <a:lnTo>
                      <a:pt x="503" y="142"/>
                    </a:lnTo>
                    <a:lnTo>
                      <a:pt x="503" y="144"/>
                    </a:lnTo>
                    <a:lnTo>
                      <a:pt x="503" y="142"/>
                    </a:lnTo>
                    <a:lnTo>
                      <a:pt x="503" y="144"/>
                    </a:lnTo>
                    <a:lnTo>
                      <a:pt x="502" y="144"/>
                    </a:lnTo>
                    <a:lnTo>
                      <a:pt x="502" y="142"/>
                    </a:lnTo>
                    <a:lnTo>
                      <a:pt x="502" y="144"/>
                    </a:lnTo>
                    <a:lnTo>
                      <a:pt x="502" y="142"/>
                    </a:lnTo>
                    <a:lnTo>
                      <a:pt x="502" y="144"/>
                    </a:lnTo>
                    <a:lnTo>
                      <a:pt x="502" y="142"/>
                    </a:lnTo>
                    <a:lnTo>
                      <a:pt x="502" y="144"/>
                    </a:lnTo>
                    <a:lnTo>
                      <a:pt x="503" y="144"/>
                    </a:lnTo>
                    <a:lnTo>
                      <a:pt x="503" y="142"/>
                    </a:lnTo>
                    <a:lnTo>
                      <a:pt x="503" y="144"/>
                    </a:lnTo>
                    <a:lnTo>
                      <a:pt x="505" y="142"/>
                    </a:lnTo>
                    <a:lnTo>
                      <a:pt x="507" y="144"/>
                    </a:lnTo>
                    <a:lnTo>
                      <a:pt x="507" y="142"/>
                    </a:lnTo>
                    <a:lnTo>
                      <a:pt x="507" y="144"/>
                    </a:lnTo>
                    <a:lnTo>
                      <a:pt x="505" y="144"/>
                    </a:lnTo>
                    <a:lnTo>
                      <a:pt x="507" y="144"/>
                    </a:lnTo>
                    <a:lnTo>
                      <a:pt x="505" y="144"/>
                    </a:lnTo>
                    <a:lnTo>
                      <a:pt x="507" y="144"/>
                    </a:lnTo>
                    <a:lnTo>
                      <a:pt x="505" y="144"/>
                    </a:lnTo>
                    <a:lnTo>
                      <a:pt x="507" y="144"/>
                    </a:lnTo>
                    <a:lnTo>
                      <a:pt x="505" y="144"/>
                    </a:lnTo>
                    <a:lnTo>
                      <a:pt x="507" y="144"/>
                    </a:lnTo>
                    <a:lnTo>
                      <a:pt x="505" y="144"/>
                    </a:lnTo>
                    <a:lnTo>
                      <a:pt x="507" y="144"/>
                    </a:lnTo>
                    <a:lnTo>
                      <a:pt x="507" y="146"/>
                    </a:lnTo>
                    <a:lnTo>
                      <a:pt x="507" y="144"/>
                    </a:lnTo>
                    <a:lnTo>
                      <a:pt x="509" y="144"/>
                    </a:lnTo>
                    <a:lnTo>
                      <a:pt x="509" y="146"/>
                    </a:lnTo>
                    <a:lnTo>
                      <a:pt x="517" y="150"/>
                    </a:lnTo>
                    <a:lnTo>
                      <a:pt x="521" y="153"/>
                    </a:lnTo>
                    <a:lnTo>
                      <a:pt x="523" y="153"/>
                    </a:lnTo>
                    <a:lnTo>
                      <a:pt x="525" y="155"/>
                    </a:lnTo>
                    <a:lnTo>
                      <a:pt x="528" y="161"/>
                    </a:lnTo>
                    <a:lnTo>
                      <a:pt x="530" y="161"/>
                    </a:lnTo>
                    <a:lnTo>
                      <a:pt x="532" y="163"/>
                    </a:lnTo>
                    <a:lnTo>
                      <a:pt x="534" y="165"/>
                    </a:lnTo>
                    <a:lnTo>
                      <a:pt x="536" y="167"/>
                    </a:lnTo>
                    <a:lnTo>
                      <a:pt x="536" y="169"/>
                    </a:lnTo>
                    <a:lnTo>
                      <a:pt x="538" y="173"/>
                    </a:lnTo>
                    <a:lnTo>
                      <a:pt x="540" y="173"/>
                    </a:lnTo>
                    <a:lnTo>
                      <a:pt x="542" y="176"/>
                    </a:lnTo>
                    <a:lnTo>
                      <a:pt x="544" y="178"/>
                    </a:lnTo>
                    <a:lnTo>
                      <a:pt x="544" y="180"/>
                    </a:lnTo>
                    <a:lnTo>
                      <a:pt x="542" y="180"/>
                    </a:lnTo>
                    <a:lnTo>
                      <a:pt x="540" y="178"/>
                    </a:lnTo>
                    <a:lnTo>
                      <a:pt x="538" y="178"/>
                    </a:lnTo>
                    <a:lnTo>
                      <a:pt x="540" y="178"/>
                    </a:lnTo>
                    <a:lnTo>
                      <a:pt x="538" y="178"/>
                    </a:lnTo>
                    <a:lnTo>
                      <a:pt x="538" y="176"/>
                    </a:lnTo>
                    <a:lnTo>
                      <a:pt x="536" y="176"/>
                    </a:lnTo>
                    <a:lnTo>
                      <a:pt x="534" y="176"/>
                    </a:lnTo>
                    <a:lnTo>
                      <a:pt x="534" y="175"/>
                    </a:lnTo>
                    <a:lnTo>
                      <a:pt x="534" y="176"/>
                    </a:lnTo>
                    <a:lnTo>
                      <a:pt x="532" y="176"/>
                    </a:lnTo>
                    <a:lnTo>
                      <a:pt x="534" y="176"/>
                    </a:lnTo>
                    <a:lnTo>
                      <a:pt x="536" y="176"/>
                    </a:lnTo>
                    <a:lnTo>
                      <a:pt x="538" y="176"/>
                    </a:lnTo>
                    <a:lnTo>
                      <a:pt x="538" y="178"/>
                    </a:lnTo>
                    <a:lnTo>
                      <a:pt x="538" y="180"/>
                    </a:lnTo>
                    <a:lnTo>
                      <a:pt x="538" y="178"/>
                    </a:lnTo>
                    <a:lnTo>
                      <a:pt x="538" y="180"/>
                    </a:lnTo>
                    <a:lnTo>
                      <a:pt x="536" y="180"/>
                    </a:lnTo>
                    <a:lnTo>
                      <a:pt x="536" y="178"/>
                    </a:lnTo>
                    <a:lnTo>
                      <a:pt x="536" y="180"/>
                    </a:lnTo>
                    <a:lnTo>
                      <a:pt x="536" y="178"/>
                    </a:lnTo>
                    <a:lnTo>
                      <a:pt x="536" y="180"/>
                    </a:lnTo>
                    <a:lnTo>
                      <a:pt x="536" y="178"/>
                    </a:lnTo>
                    <a:lnTo>
                      <a:pt x="536" y="180"/>
                    </a:lnTo>
                    <a:lnTo>
                      <a:pt x="538" y="180"/>
                    </a:lnTo>
                    <a:lnTo>
                      <a:pt x="538" y="182"/>
                    </a:lnTo>
                    <a:lnTo>
                      <a:pt x="536" y="180"/>
                    </a:lnTo>
                    <a:lnTo>
                      <a:pt x="538" y="180"/>
                    </a:lnTo>
                    <a:lnTo>
                      <a:pt x="536" y="180"/>
                    </a:lnTo>
                    <a:lnTo>
                      <a:pt x="536" y="182"/>
                    </a:lnTo>
                    <a:lnTo>
                      <a:pt x="534" y="182"/>
                    </a:lnTo>
                    <a:lnTo>
                      <a:pt x="536" y="182"/>
                    </a:lnTo>
                    <a:lnTo>
                      <a:pt x="534" y="182"/>
                    </a:lnTo>
                    <a:lnTo>
                      <a:pt x="532" y="182"/>
                    </a:lnTo>
                    <a:lnTo>
                      <a:pt x="530" y="182"/>
                    </a:lnTo>
                    <a:lnTo>
                      <a:pt x="532" y="182"/>
                    </a:lnTo>
                    <a:lnTo>
                      <a:pt x="534" y="182"/>
                    </a:lnTo>
                    <a:lnTo>
                      <a:pt x="536" y="182"/>
                    </a:lnTo>
                    <a:lnTo>
                      <a:pt x="538" y="182"/>
                    </a:lnTo>
                    <a:lnTo>
                      <a:pt x="536" y="182"/>
                    </a:lnTo>
                    <a:lnTo>
                      <a:pt x="536" y="184"/>
                    </a:lnTo>
                    <a:lnTo>
                      <a:pt x="534" y="184"/>
                    </a:lnTo>
                    <a:lnTo>
                      <a:pt x="532" y="184"/>
                    </a:lnTo>
                    <a:lnTo>
                      <a:pt x="532" y="182"/>
                    </a:lnTo>
                    <a:lnTo>
                      <a:pt x="532" y="184"/>
                    </a:lnTo>
                    <a:lnTo>
                      <a:pt x="532" y="186"/>
                    </a:lnTo>
                    <a:lnTo>
                      <a:pt x="530" y="186"/>
                    </a:lnTo>
                    <a:lnTo>
                      <a:pt x="532" y="186"/>
                    </a:lnTo>
                    <a:lnTo>
                      <a:pt x="530" y="186"/>
                    </a:lnTo>
                    <a:lnTo>
                      <a:pt x="530" y="188"/>
                    </a:lnTo>
                    <a:lnTo>
                      <a:pt x="528" y="188"/>
                    </a:lnTo>
                    <a:lnTo>
                      <a:pt x="528" y="190"/>
                    </a:lnTo>
                    <a:lnTo>
                      <a:pt x="527" y="188"/>
                    </a:lnTo>
                    <a:lnTo>
                      <a:pt x="528" y="190"/>
                    </a:lnTo>
                    <a:lnTo>
                      <a:pt x="527" y="190"/>
                    </a:lnTo>
                    <a:lnTo>
                      <a:pt x="527" y="192"/>
                    </a:lnTo>
                    <a:lnTo>
                      <a:pt x="525" y="192"/>
                    </a:lnTo>
                    <a:lnTo>
                      <a:pt x="525" y="194"/>
                    </a:lnTo>
                    <a:lnTo>
                      <a:pt x="523" y="194"/>
                    </a:lnTo>
                    <a:lnTo>
                      <a:pt x="523" y="196"/>
                    </a:lnTo>
                    <a:lnTo>
                      <a:pt x="521" y="196"/>
                    </a:lnTo>
                    <a:lnTo>
                      <a:pt x="521" y="194"/>
                    </a:lnTo>
                    <a:lnTo>
                      <a:pt x="521" y="196"/>
                    </a:lnTo>
                    <a:lnTo>
                      <a:pt x="523" y="196"/>
                    </a:lnTo>
                    <a:lnTo>
                      <a:pt x="523" y="194"/>
                    </a:lnTo>
                    <a:lnTo>
                      <a:pt x="525" y="194"/>
                    </a:lnTo>
                    <a:lnTo>
                      <a:pt x="527" y="194"/>
                    </a:lnTo>
                    <a:lnTo>
                      <a:pt x="525" y="194"/>
                    </a:lnTo>
                    <a:lnTo>
                      <a:pt x="525" y="192"/>
                    </a:lnTo>
                    <a:lnTo>
                      <a:pt x="527" y="192"/>
                    </a:lnTo>
                    <a:lnTo>
                      <a:pt x="527" y="194"/>
                    </a:lnTo>
                    <a:lnTo>
                      <a:pt x="528" y="194"/>
                    </a:lnTo>
                    <a:lnTo>
                      <a:pt x="528" y="196"/>
                    </a:lnTo>
                    <a:lnTo>
                      <a:pt x="528" y="194"/>
                    </a:lnTo>
                    <a:lnTo>
                      <a:pt x="528" y="196"/>
                    </a:lnTo>
                    <a:lnTo>
                      <a:pt x="527" y="198"/>
                    </a:lnTo>
                    <a:lnTo>
                      <a:pt x="527" y="199"/>
                    </a:lnTo>
                    <a:lnTo>
                      <a:pt x="528" y="199"/>
                    </a:lnTo>
                    <a:lnTo>
                      <a:pt x="528" y="201"/>
                    </a:lnTo>
                    <a:lnTo>
                      <a:pt x="530" y="201"/>
                    </a:lnTo>
                    <a:lnTo>
                      <a:pt x="530" y="199"/>
                    </a:lnTo>
                    <a:lnTo>
                      <a:pt x="532" y="199"/>
                    </a:lnTo>
                    <a:lnTo>
                      <a:pt x="532" y="201"/>
                    </a:lnTo>
                    <a:lnTo>
                      <a:pt x="534" y="201"/>
                    </a:lnTo>
                    <a:lnTo>
                      <a:pt x="534" y="203"/>
                    </a:lnTo>
                    <a:lnTo>
                      <a:pt x="536" y="203"/>
                    </a:lnTo>
                    <a:lnTo>
                      <a:pt x="536" y="205"/>
                    </a:lnTo>
                    <a:lnTo>
                      <a:pt x="536" y="203"/>
                    </a:lnTo>
                    <a:lnTo>
                      <a:pt x="536" y="205"/>
                    </a:lnTo>
                    <a:lnTo>
                      <a:pt x="536" y="207"/>
                    </a:lnTo>
                    <a:lnTo>
                      <a:pt x="538" y="207"/>
                    </a:lnTo>
                    <a:lnTo>
                      <a:pt x="540" y="207"/>
                    </a:lnTo>
                    <a:lnTo>
                      <a:pt x="540" y="209"/>
                    </a:lnTo>
                    <a:lnTo>
                      <a:pt x="540" y="207"/>
                    </a:lnTo>
                    <a:lnTo>
                      <a:pt x="542" y="207"/>
                    </a:lnTo>
                    <a:lnTo>
                      <a:pt x="542" y="209"/>
                    </a:lnTo>
                    <a:lnTo>
                      <a:pt x="544" y="209"/>
                    </a:lnTo>
                    <a:lnTo>
                      <a:pt x="542" y="209"/>
                    </a:lnTo>
                    <a:lnTo>
                      <a:pt x="544" y="209"/>
                    </a:lnTo>
                    <a:lnTo>
                      <a:pt x="544" y="211"/>
                    </a:lnTo>
                    <a:lnTo>
                      <a:pt x="542" y="211"/>
                    </a:lnTo>
                    <a:lnTo>
                      <a:pt x="542" y="213"/>
                    </a:lnTo>
                    <a:lnTo>
                      <a:pt x="542" y="215"/>
                    </a:lnTo>
                    <a:lnTo>
                      <a:pt x="544" y="213"/>
                    </a:lnTo>
                    <a:lnTo>
                      <a:pt x="544" y="215"/>
                    </a:lnTo>
                    <a:lnTo>
                      <a:pt x="544" y="217"/>
                    </a:lnTo>
                    <a:lnTo>
                      <a:pt x="544" y="215"/>
                    </a:lnTo>
                    <a:lnTo>
                      <a:pt x="542" y="215"/>
                    </a:lnTo>
                    <a:lnTo>
                      <a:pt x="542" y="217"/>
                    </a:lnTo>
                    <a:lnTo>
                      <a:pt x="542" y="219"/>
                    </a:lnTo>
                    <a:lnTo>
                      <a:pt x="544" y="219"/>
                    </a:lnTo>
                    <a:lnTo>
                      <a:pt x="544" y="221"/>
                    </a:lnTo>
                    <a:lnTo>
                      <a:pt x="544" y="223"/>
                    </a:lnTo>
                    <a:lnTo>
                      <a:pt x="546" y="223"/>
                    </a:lnTo>
                    <a:lnTo>
                      <a:pt x="546" y="224"/>
                    </a:lnTo>
                    <a:lnTo>
                      <a:pt x="546" y="226"/>
                    </a:lnTo>
                    <a:lnTo>
                      <a:pt x="544" y="226"/>
                    </a:lnTo>
                    <a:lnTo>
                      <a:pt x="544" y="228"/>
                    </a:lnTo>
                    <a:lnTo>
                      <a:pt x="542" y="228"/>
                    </a:lnTo>
                    <a:lnTo>
                      <a:pt x="542" y="230"/>
                    </a:lnTo>
                    <a:lnTo>
                      <a:pt x="540" y="230"/>
                    </a:lnTo>
                    <a:lnTo>
                      <a:pt x="540" y="232"/>
                    </a:lnTo>
                    <a:lnTo>
                      <a:pt x="540" y="230"/>
                    </a:lnTo>
                    <a:lnTo>
                      <a:pt x="540" y="232"/>
                    </a:lnTo>
                    <a:lnTo>
                      <a:pt x="538" y="232"/>
                    </a:lnTo>
                    <a:lnTo>
                      <a:pt x="538" y="230"/>
                    </a:lnTo>
                    <a:lnTo>
                      <a:pt x="538" y="232"/>
                    </a:lnTo>
                    <a:lnTo>
                      <a:pt x="538" y="230"/>
                    </a:lnTo>
                    <a:lnTo>
                      <a:pt x="536" y="230"/>
                    </a:lnTo>
                    <a:lnTo>
                      <a:pt x="536" y="232"/>
                    </a:lnTo>
                    <a:lnTo>
                      <a:pt x="536" y="230"/>
                    </a:lnTo>
                    <a:lnTo>
                      <a:pt x="536" y="232"/>
                    </a:lnTo>
                    <a:lnTo>
                      <a:pt x="534" y="232"/>
                    </a:lnTo>
                    <a:lnTo>
                      <a:pt x="534" y="230"/>
                    </a:lnTo>
                    <a:lnTo>
                      <a:pt x="534" y="232"/>
                    </a:lnTo>
                    <a:lnTo>
                      <a:pt x="532" y="232"/>
                    </a:lnTo>
                    <a:lnTo>
                      <a:pt x="532" y="230"/>
                    </a:lnTo>
                    <a:lnTo>
                      <a:pt x="530" y="230"/>
                    </a:lnTo>
                    <a:lnTo>
                      <a:pt x="528" y="230"/>
                    </a:lnTo>
                    <a:lnTo>
                      <a:pt x="527" y="230"/>
                    </a:lnTo>
                    <a:lnTo>
                      <a:pt x="527" y="228"/>
                    </a:lnTo>
                    <a:lnTo>
                      <a:pt x="525" y="228"/>
                    </a:lnTo>
                    <a:lnTo>
                      <a:pt x="523" y="228"/>
                    </a:lnTo>
                    <a:lnTo>
                      <a:pt x="521" y="228"/>
                    </a:lnTo>
                    <a:lnTo>
                      <a:pt x="521" y="226"/>
                    </a:lnTo>
                    <a:lnTo>
                      <a:pt x="521" y="228"/>
                    </a:lnTo>
                    <a:lnTo>
                      <a:pt x="519" y="228"/>
                    </a:lnTo>
                    <a:lnTo>
                      <a:pt x="517" y="228"/>
                    </a:lnTo>
                    <a:lnTo>
                      <a:pt x="517" y="230"/>
                    </a:lnTo>
                    <a:lnTo>
                      <a:pt x="515" y="230"/>
                    </a:lnTo>
                    <a:lnTo>
                      <a:pt x="517" y="230"/>
                    </a:lnTo>
                    <a:lnTo>
                      <a:pt x="515" y="230"/>
                    </a:lnTo>
                    <a:lnTo>
                      <a:pt x="515" y="232"/>
                    </a:lnTo>
                    <a:lnTo>
                      <a:pt x="515" y="234"/>
                    </a:lnTo>
                    <a:lnTo>
                      <a:pt x="515" y="236"/>
                    </a:lnTo>
                    <a:lnTo>
                      <a:pt x="515" y="238"/>
                    </a:lnTo>
                    <a:lnTo>
                      <a:pt x="513" y="238"/>
                    </a:lnTo>
                    <a:lnTo>
                      <a:pt x="515" y="238"/>
                    </a:lnTo>
                    <a:lnTo>
                      <a:pt x="513" y="238"/>
                    </a:lnTo>
                    <a:lnTo>
                      <a:pt x="511" y="236"/>
                    </a:lnTo>
                    <a:lnTo>
                      <a:pt x="511" y="238"/>
                    </a:lnTo>
                    <a:lnTo>
                      <a:pt x="509" y="238"/>
                    </a:lnTo>
                    <a:lnTo>
                      <a:pt x="507" y="238"/>
                    </a:lnTo>
                    <a:lnTo>
                      <a:pt x="509" y="238"/>
                    </a:lnTo>
                    <a:lnTo>
                      <a:pt x="509" y="240"/>
                    </a:lnTo>
                    <a:lnTo>
                      <a:pt x="507" y="240"/>
                    </a:lnTo>
                    <a:lnTo>
                      <a:pt x="505" y="240"/>
                    </a:lnTo>
                    <a:lnTo>
                      <a:pt x="503" y="240"/>
                    </a:lnTo>
                    <a:lnTo>
                      <a:pt x="502" y="240"/>
                    </a:lnTo>
                    <a:lnTo>
                      <a:pt x="500" y="240"/>
                    </a:lnTo>
                    <a:lnTo>
                      <a:pt x="502" y="240"/>
                    </a:lnTo>
                    <a:lnTo>
                      <a:pt x="502" y="242"/>
                    </a:lnTo>
                    <a:lnTo>
                      <a:pt x="502" y="240"/>
                    </a:lnTo>
                    <a:lnTo>
                      <a:pt x="500" y="240"/>
                    </a:lnTo>
                    <a:lnTo>
                      <a:pt x="500" y="242"/>
                    </a:lnTo>
                    <a:lnTo>
                      <a:pt x="498" y="242"/>
                    </a:lnTo>
                    <a:lnTo>
                      <a:pt x="496" y="242"/>
                    </a:lnTo>
                    <a:lnTo>
                      <a:pt x="494" y="242"/>
                    </a:lnTo>
                    <a:lnTo>
                      <a:pt x="494" y="244"/>
                    </a:lnTo>
                    <a:lnTo>
                      <a:pt x="494" y="246"/>
                    </a:lnTo>
                    <a:lnTo>
                      <a:pt x="494" y="248"/>
                    </a:lnTo>
                    <a:lnTo>
                      <a:pt x="494" y="249"/>
                    </a:lnTo>
                    <a:lnTo>
                      <a:pt x="496" y="249"/>
                    </a:lnTo>
                    <a:lnTo>
                      <a:pt x="494" y="251"/>
                    </a:lnTo>
                    <a:lnTo>
                      <a:pt x="492" y="251"/>
                    </a:lnTo>
                    <a:lnTo>
                      <a:pt x="492" y="253"/>
                    </a:lnTo>
                    <a:lnTo>
                      <a:pt x="490" y="253"/>
                    </a:lnTo>
                    <a:lnTo>
                      <a:pt x="488" y="253"/>
                    </a:lnTo>
                    <a:lnTo>
                      <a:pt x="488" y="255"/>
                    </a:lnTo>
                    <a:lnTo>
                      <a:pt x="488" y="253"/>
                    </a:lnTo>
                    <a:lnTo>
                      <a:pt x="486" y="253"/>
                    </a:lnTo>
                    <a:lnTo>
                      <a:pt x="486" y="255"/>
                    </a:lnTo>
                    <a:lnTo>
                      <a:pt x="484" y="255"/>
                    </a:lnTo>
                    <a:lnTo>
                      <a:pt x="486" y="255"/>
                    </a:lnTo>
                    <a:lnTo>
                      <a:pt x="486" y="257"/>
                    </a:lnTo>
                    <a:lnTo>
                      <a:pt x="486" y="259"/>
                    </a:lnTo>
                    <a:lnTo>
                      <a:pt x="484" y="259"/>
                    </a:lnTo>
                    <a:lnTo>
                      <a:pt x="484" y="257"/>
                    </a:lnTo>
                    <a:lnTo>
                      <a:pt x="482" y="257"/>
                    </a:lnTo>
                    <a:lnTo>
                      <a:pt x="482" y="255"/>
                    </a:lnTo>
                    <a:lnTo>
                      <a:pt x="480" y="255"/>
                    </a:lnTo>
                    <a:lnTo>
                      <a:pt x="480" y="253"/>
                    </a:lnTo>
                    <a:lnTo>
                      <a:pt x="479" y="253"/>
                    </a:lnTo>
                    <a:lnTo>
                      <a:pt x="477" y="253"/>
                    </a:lnTo>
                    <a:lnTo>
                      <a:pt x="477" y="255"/>
                    </a:lnTo>
                    <a:lnTo>
                      <a:pt x="475" y="255"/>
                    </a:lnTo>
                    <a:lnTo>
                      <a:pt x="473" y="255"/>
                    </a:lnTo>
                    <a:lnTo>
                      <a:pt x="471" y="255"/>
                    </a:lnTo>
                    <a:lnTo>
                      <a:pt x="471" y="257"/>
                    </a:lnTo>
                    <a:lnTo>
                      <a:pt x="469" y="257"/>
                    </a:lnTo>
                    <a:lnTo>
                      <a:pt x="467" y="259"/>
                    </a:lnTo>
                    <a:lnTo>
                      <a:pt x="465" y="259"/>
                    </a:lnTo>
                    <a:lnTo>
                      <a:pt x="463" y="259"/>
                    </a:lnTo>
                    <a:lnTo>
                      <a:pt x="463" y="261"/>
                    </a:lnTo>
                    <a:lnTo>
                      <a:pt x="463" y="263"/>
                    </a:lnTo>
                    <a:lnTo>
                      <a:pt x="461" y="263"/>
                    </a:lnTo>
                    <a:lnTo>
                      <a:pt x="459" y="263"/>
                    </a:lnTo>
                    <a:lnTo>
                      <a:pt x="459" y="265"/>
                    </a:lnTo>
                    <a:lnTo>
                      <a:pt x="461" y="265"/>
                    </a:lnTo>
                    <a:lnTo>
                      <a:pt x="461" y="267"/>
                    </a:lnTo>
                    <a:lnTo>
                      <a:pt x="461" y="269"/>
                    </a:lnTo>
                    <a:lnTo>
                      <a:pt x="459" y="269"/>
                    </a:lnTo>
                    <a:lnTo>
                      <a:pt x="459" y="271"/>
                    </a:lnTo>
                    <a:lnTo>
                      <a:pt x="457" y="271"/>
                    </a:lnTo>
                    <a:lnTo>
                      <a:pt x="457" y="273"/>
                    </a:lnTo>
                    <a:lnTo>
                      <a:pt x="455" y="273"/>
                    </a:lnTo>
                    <a:lnTo>
                      <a:pt x="442" y="274"/>
                    </a:lnTo>
                    <a:lnTo>
                      <a:pt x="434" y="276"/>
                    </a:lnTo>
                    <a:lnTo>
                      <a:pt x="430" y="278"/>
                    </a:lnTo>
                    <a:lnTo>
                      <a:pt x="429" y="278"/>
                    </a:lnTo>
                    <a:lnTo>
                      <a:pt x="427" y="278"/>
                    </a:lnTo>
                    <a:lnTo>
                      <a:pt x="425" y="278"/>
                    </a:lnTo>
                    <a:lnTo>
                      <a:pt x="425" y="280"/>
                    </a:lnTo>
                    <a:lnTo>
                      <a:pt x="425" y="278"/>
                    </a:lnTo>
                    <a:lnTo>
                      <a:pt x="425" y="280"/>
                    </a:lnTo>
                    <a:lnTo>
                      <a:pt x="423" y="280"/>
                    </a:lnTo>
                    <a:lnTo>
                      <a:pt x="423" y="282"/>
                    </a:lnTo>
                    <a:lnTo>
                      <a:pt x="421" y="282"/>
                    </a:lnTo>
                    <a:lnTo>
                      <a:pt x="421" y="284"/>
                    </a:lnTo>
                    <a:lnTo>
                      <a:pt x="421" y="282"/>
                    </a:lnTo>
                    <a:lnTo>
                      <a:pt x="419" y="284"/>
                    </a:lnTo>
                    <a:lnTo>
                      <a:pt x="419" y="282"/>
                    </a:lnTo>
                    <a:lnTo>
                      <a:pt x="417" y="282"/>
                    </a:lnTo>
                    <a:lnTo>
                      <a:pt x="419" y="282"/>
                    </a:lnTo>
                    <a:lnTo>
                      <a:pt x="417" y="282"/>
                    </a:lnTo>
                    <a:lnTo>
                      <a:pt x="417" y="280"/>
                    </a:lnTo>
                    <a:lnTo>
                      <a:pt x="417" y="282"/>
                    </a:lnTo>
                    <a:lnTo>
                      <a:pt x="415" y="282"/>
                    </a:lnTo>
                    <a:lnTo>
                      <a:pt x="413" y="282"/>
                    </a:lnTo>
                    <a:lnTo>
                      <a:pt x="415" y="282"/>
                    </a:lnTo>
                    <a:lnTo>
                      <a:pt x="413" y="280"/>
                    </a:lnTo>
                    <a:lnTo>
                      <a:pt x="411" y="280"/>
                    </a:lnTo>
                    <a:lnTo>
                      <a:pt x="407" y="278"/>
                    </a:lnTo>
                    <a:lnTo>
                      <a:pt x="384" y="271"/>
                    </a:lnTo>
                    <a:lnTo>
                      <a:pt x="382" y="271"/>
                    </a:lnTo>
                    <a:lnTo>
                      <a:pt x="381" y="271"/>
                    </a:lnTo>
                    <a:lnTo>
                      <a:pt x="379" y="271"/>
                    </a:lnTo>
                    <a:lnTo>
                      <a:pt x="379" y="269"/>
                    </a:lnTo>
                    <a:lnTo>
                      <a:pt x="381" y="271"/>
                    </a:lnTo>
                    <a:lnTo>
                      <a:pt x="381" y="269"/>
                    </a:lnTo>
                    <a:lnTo>
                      <a:pt x="315" y="244"/>
                    </a:lnTo>
                    <a:lnTo>
                      <a:pt x="259" y="221"/>
                    </a:lnTo>
                    <a:lnTo>
                      <a:pt x="246" y="215"/>
                    </a:lnTo>
                    <a:lnTo>
                      <a:pt x="236" y="209"/>
                    </a:lnTo>
                    <a:lnTo>
                      <a:pt x="233" y="207"/>
                    </a:lnTo>
                    <a:lnTo>
                      <a:pt x="231" y="205"/>
                    </a:lnTo>
                    <a:lnTo>
                      <a:pt x="229" y="205"/>
                    </a:lnTo>
                    <a:lnTo>
                      <a:pt x="225" y="201"/>
                    </a:lnTo>
                    <a:lnTo>
                      <a:pt x="215" y="196"/>
                    </a:lnTo>
                    <a:lnTo>
                      <a:pt x="211" y="194"/>
                    </a:lnTo>
                    <a:lnTo>
                      <a:pt x="206" y="190"/>
                    </a:lnTo>
                    <a:lnTo>
                      <a:pt x="206" y="188"/>
                    </a:lnTo>
                    <a:lnTo>
                      <a:pt x="206" y="186"/>
                    </a:lnTo>
                    <a:lnTo>
                      <a:pt x="206" y="188"/>
                    </a:lnTo>
                    <a:lnTo>
                      <a:pt x="206" y="186"/>
                    </a:lnTo>
                    <a:lnTo>
                      <a:pt x="204" y="186"/>
                    </a:lnTo>
                    <a:lnTo>
                      <a:pt x="204" y="182"/>
                    </a:lnTo>
                    <a:lnTo>
                      <a:pt x="206" y="180"/>
                    </a:lnTo>
                    <a:lnTo>
                      <a:pt x="206" y="178"/>
                    </a:lnTo>
                    <a:lnTo>
                      <a:pt x="206" y="180"/>
                    </a:lnTo>
                    <a:lnTo>
                      <a:pt x="206" y="178"/>
                    </a:lnTo>
                    <a:lnTo>
                      <a:pt x="204" y="178"/>
                    </a:lnTo>
                    <a:lnTo>
                      <a:pt x="204" y="176"/>
                    </a:lnTo>
                    <a:lnTo>
                      <a:pt x="204" y="175"/>
                    </a:lnTo>
                    <a:lnTo>
                      <a:pt x="206" y="175"/>
                    </a:lnTo>
                    <a:lnTo>
                      <a:pt x="206" y="173"/>
                    </a:lnTo>
                    <a:lnTo>
                      <a:pt x="208" y="173"/>
                    </a:lnTo>
                    <a:lnTo>
                      <a:pt x="210" y="171"/>
                    </a:lnTo>
                    <a:lnTo>
                      <a:pt x="211" y="169"/>
                    </a:lnTo>
                    <a:lnTo>
                      <a:pt x="211" y="167"/>
                    </a:lnTo>
                    <a:lnTo>
                      <a:pt x="210" y="167"/>
                    </a:lnTo>
                    <a:lnTo>
                      <a:pt x="208" y="165"/>
                    </a:lnTo>
                    <a:lnTo>
                      <a:pt x="210" y="165"/>
                    </a:lnTo>
                    <a:lnTo>
                      <a:pt x="211" y="165"/>
                    </a:lnTo>
                    <a:lnTo>
                      <a:pt x="211" y="163"/>
                    </a:lnTo>
                    <a:lnTo>
                      <a:pt x="211" y="161"/>
                    </a:lnTo>
                    <a:lnTo>
                      <a:pt x="211" y="159"/>
                    </a:lnTo>
                    <a:lnTo>
                      <a:pt x="211" y="161"/>
                    </a:lnTo>
                    <a:lnTo>
                      <a:pt x="211" y="159"/>
                    </a:lnTo>
                    <a:lnTo>
                      <a:pt x="213" y="159"/>
                    </a:lnTo>
                    <a:lnTo>
                      <a:pt x="211" y="159"/>
                    </a:lnTo>
                    <a:lnTo>
                      <a:pt x="213" y="159"/>
                    </a:lnTo>
                    <a:lnTo>
                      <a:pt x="211" y="159"/>
                    </a:lnTo>
                    <a:lnTo>
                      <a:pt x="211" y="161"/>
                    </a:lnTo>
                    <a:lnTo>
                      <a:pt x="213" y="159"/>
                    </a:lnTo>
                    <a:lnTo>
                      <a:pt x="213" y="161"/>
                    </a:lnTo>
                    <a:lnTo>
                      <a:pt x="211" y="161"/>
                    </a:lnTo>
                    <a:lnTo>
                      <a:pt x="213" y="161"/>
                    </a:lnTo>
                    <a:lnTo>
                      <a:pt x="213" y="159"/>
                    </a:lnTo>
                    <a:lnTo>
                      <a:pt x="213" y="161"/>
                    </a:lnTo>
                    <a:lnTo>
                      <a:pt x="215" y="161"/>
                    </a:lnTo>
                    <a:lnTo>
                      <a:pt x="217" y="163"/>
                    </a:lnTo>
                    <a:lnTo>
                      <a:pt x="217" y="161"/>
                    </a:lnTo>
                    <a:lnTo>
                      <a:pt x="217" y="163"/>
                    </a:lnTo>
                    <a:lnTo>
                      <a:pt x="219" y="163"/>
                    </a:lnTo>
                    <a:lnTo>
                      <a:pt x="219" y="161"/>
                    </a:lnTo>
                    <a:lnTo>
                      <a:pt x="221" y="161"/>
                    </a:lnTo>
                    <a:lnTo>
                      <a:pt x="223" y="161"/>
                    </a:lnTo>
                    <a:lnTo>
                      <a:pt x="223" y="163"/>
                    </a:lnTo>
                    <a:lnTo>
                      <a:pt x="223" y="161"/>
                    </a:lnTo>
                    <a:lnTo>
                      <a:pt x="225" y="161"/>
                    </a:lnTo>
                    <a:lnTo>
                      <a:pt x="227" y="161"/>
                    </a:lnTo>
                    <a:lnTo>
                      <a:pt x="229" y="161"/>
                    </a:lnTo>
                    <a:lnTo>
                      <a:pt x="231" y="163"/>
                    </a:lnTo>
                    <a:lnTo>
                      <a:pt x="233" y="165"/>
                    </a:lnTo>
                    <a:lnTo>
                      <a:pt x="235" y="165"/>
                    </a:lnTo>
                    <a:lnTo>
                      <a:pt x="233" y="165"/>
                    </a:lnTo>
                    <a:lnTo>
                      <a:pt x="231" y="165"/>
                    </a:lnTo>
                    <a:lnTo>
                      <a:pt x="233" y="165"/>
                    </a:lnTo>
                    <a:lnTo>
                      <a:pt x="231" y="163"/>
                    </a:lnTo>
                    <a:lnTo>
                      <a:pt x="229" y="163"/>
                    </a:lnTo>
                    <a:lnTo>
                      <a:pt x="227" y="163"/>
                    </a:lnTo>
                    <a:lnTo>
                      <a:pt x="229" y="163"/>
                    </a:lnTo>
                    <a:lnTo>
                      <a:pt x="227" y="163"/>
                    </a:lnTo>
                    <a:lnTo>
                      <a:pt x="227" y="161"/>
                    </a:lnTo>
                    <a:lnTo>
                      <a:pt x="227" y="163"/>
                    </a:lnTo>
                    <a:lnTo>
                      <a:pt x="229" y="163"/>
                    </a:lnTo>
                    <a:lnTo>
                      <a:pt x="227" y="163"/>
                    </a:lnTo>
                    <a:lnTo>
                      <a:pt x="225" y="163"/>
                    </a:lnTo>
                    <a:lnTo>
                      <a:pt x="225" y="165"/>
                    </a:lnTo>
                    <a:lnTo>
                      <a:pt x="227" y="165"/>
                    </a:lnTo>
                    <a:lnTo>
                      <a:pt x="225" y="165"/>
                    </a:lnTo>
                    <a:lnTo>
                      <a:pt x="227" y="165"/>
                    </a:lnTo>
                    <a:lnTo>
                      <a:pt x="225" y="165"/>
                    </a:lnTo>
                    <a:lnTo>
                      <a:pt x="225" y="163"/>
                    </a:lnTo>
                    <a:lnTo>
                      <a:pt x="223" y="163"/>
                    </a:lnTo>
                    <a:lnTo>
                      <a:pt x="221" y="165"/>
                    </a:lnTo>
                    <a:lnTo>
                      <a:pt x="219" y="165"/>
                    </a:lnTo>
                    <a:lnTo>
                      <a:pt x="217" y="165"/>
                    </a:lnTo>
                    <a:lnTo>
                      <a:pt x="219" y="165"/>
                    </a:lnTo>
                    <a:lnTo>
                      <a:pt x="217" y="165"/>
                    </a:lnTo>
                    <a:lnTo>
                      <a:pt x="219" y="165"/>
                    </a:lnTo>
                    <a:lnTo>
                      <a:pt x="217" y="165"/>
                    </a:lnTo>
                    <a:lnTo>
                      <a:pt x="219" y="165"/>
                    </a:lnTo>
                    <a:lnTo>
                      <a:pt x="217" y="165"/>
                    </a:lnTo>
                    <a:lnTo>
                      <a:pt x="219" y="165"/>
                    </a:lnTo>
                    <a:lnTo>
                      <a:pt x="221" y="165"/>
                    </a:lnTo>
                    <a:lnTo>
                      <a:pt x="221" y="167"/>
                    </a:lnTo>
                    <a:lnTo>
                      <a:pt x="219" y="167"/>
                    </a:lnTo>
                    <a:lnTo>
                      <a:pt x="219" y="169"/>
                    </a:lnTo>
                    <a:lnTo>
                      <a:pt x="219" y="167"/>
                    </a:lnTo>
                    <a:lnTo>
                      <a:pt x="217" y="167"/>
                    </a:lnTo>
                    <a:lnTo>
                      <a:pt x="217" y="169"/>
                    </a:lnTo>
                    <a:lnTo>
                      <a:pt x="219" y="169"/>
                    </a:lnTo>
                    <a:lnTo>
                      <a:pt x="219" y="167"/>
                    </a:lnTo>
                    <a:lnTo>
                      <a:pt x="221" y="167"/>
                    </a:lnTo>
                    <a:lnTo>
                      <a:pt x="221" y="169"/>
                    </a:lnTo>
                    <a:lnTo>
                      <a:pt x="223" y="169"/>
                    </a:lnTo>
                    <a:lnTo>
                      <a:pt x="223" y="167"/>
                    </a:lnTo>
                    <a:lnTo>
                      <a:pt x="223" y="169"/>
                    </a:lnTo>
                    <a:lnTo>
                      <a:pt x="225" y="169"/>
                    </a:lnTo>
                    <a:lnTo>
                      <a:pt x="223" y="169"/>
                    </a:lnTo>
                    <a:lnTo>
                      <a:pt x="223" y="167"/>
                    </a:lnTo>
                    <a:lnTo>
                      <a:pt x="225" y="167"/>
                    </a:lnTo>
                    <a:lnTo>
                      <a:pt x="223" y="167"/>
                    </a:lnTo>
                    <a:lnTo>
                      <a:pt x="221" y="167"/>
                    </a:lnTo>
                    <a:lnTo>
                      <a:pt x="221" y="165"/>
                    </a:lnTo>
                    <a:lnTo>
                      <a:pt x="223" y="163"/>
                    </a:lnTo>
                    <a:lnTo>
                      <a:pt x="225" y="163"/>
                    </a:lnTo>
                    <a:lnTo>
                      <a:pt x="225" y="165"/>
                    </a:lnTo>
                    <a:lnTo>
                      <a:pt x="227" y="165"/>
                    </a:lnTo>
                    <a:lnTo>
                      <a:pt x="227" y="163"/>
                    </a:lnTo>
                    <a:lnTo>
                      <a:pt x="227" y="165"/>
                    </a:lnTo>
                    <a:lnTo>
                      <a:pt x="227" y="163"/>
                    </a:lnTo>
                    <a:lnTo>
                      <a:pt x="229" y="163"/>
                    </a:lnTo>
                    <a:lnTo>
                      <a:pt x="231" y="165"/>
                    </a:lnTo>
                    <a:lnTo>
                      <a:pt x="229" y="165"/>
                    </a:lnTo>
                    <a:lnTo>
                      <a:pt x="229" y="163"/>
                    </a:lnTo>
                    <a:lnTo>
                      <a:pt x="229" y="165"/>
                    </a:lnTo>
                    <a:lnTo>
                      <a:pt x="231" y="165"/>
                    </a:lnTo>
                    <a:lnTo>
                      <a:pt x="229" y="165"/>
                    </a:lnTo>
                    <a:lnTo>
                      <a:pt x="229" y="167"/>
                    </a:lnTo>
                    <a:lnTo>
                      <a:pt x="227" y="167"/>
                    </a:lnTo>
                    <a:lnTo>
                      <a:pt x="225" y="167"/>
                    </a:lnTo>
                    <a:lnTo>
                      <a:pt x="227" y="167"/>
                    </a:lnTo>
                    <a:lnTo>
                      <a:pt x="229" y="167"/>
                    </a:lnTo>
                    <a:lnTo>
                      <a:pt x="227" y="167"/>
                    </a:lnTo>
                    <a:lnTo>
                      <a:pt x="229" y="167"/>
                    </a:lnTo>
                    <a:lnTo>
                      <a:pt x="229" y="165"/>
                    </a:lnTo>
                    <a:lnTo>
                      <a:pt x="231" y="165"/>
                    </a:lnTo>
                    <a:lnTo>
                      <a:pt x="231" y="167"/>
                    </a:lnTo>
                    <a:lnTo>
                      <a:pt x="231" y="165"/>
                    </a:lnTo>
                    <a:lnTo>
                      <a:pt x="233" y="165"/>
                    </a:lnTo>
                    <a:lnTo>
                      <a:pt x="231" y="165"/>
                    </a:lnTo>
                    <a:lnTo>
                      <a:pt x="233" y="165"/>
                    </a:lnTo>
                    <a:lnTo>
                      <a:pt x="233" y="167"/>
                    </a:lnTo>
                    <a:lnTo>
                      <a:pt x="233" y="165"/>
                    </a:lnTo>
                    <a:lnTo>
                      <a:pt x="233" y="167"/>
                    </a:lnTo>
                    <a:lnTo>
                      <a:pt x="233" y="165"/>
                    </a:lnTo>
                    <a:lnTo>
                      <a:pt x="235" y="165"/>
                    </a:lnTo>
                    <a:lnTo>
                      <a:pt x="233" y="165"/>
                    </a:lnTo>
                    <a:lnTo>
                      <a:pt x="235" y="165"/>
                    </a:lnTo>
                    <a:lnTo>
                      <a:pt x="236" y="165"/>
                    </a:lnTo>
                    <a:lnTo>
                      <a:pt x="235" y="165"/>
                    </a:lnTo>
                    <a:lnTo>
                      <a:pt x="236" y="165"/>
                    </a:lnTo>
                    <a:lnTo>
                      <a:pt x="238" y="165"/>
                    </a:lnTo>
                    <a:lnTo>
                      <a:pt x="238" y="163"/>
                    </a:lnTo>
                    <a:lnTo>
                      <a:pt x="238" y="161"/>
                    </a:lnTo>
                    <a:lnTo>
                      <a:pt x="240" y="161"/>
                    </a:lnTo>
                    <a:lnTo>
                      <a:pt x="242" y="161"/>
                    </a:lnTo>
                    <a:lnTo>
                      <a:pt x="244" y="161"/>
                    </a:lnTo>
                    <a:lnTo>
                      <a:pt x="244" y="163"/>
                    </a:lnTo>
                    <a:lnTo>
                      <a:pt x="244" y="161"/>
                    </a:lnTo>
                    <a:lnTo>
                      <a:pt x="246" y="161"/>
                    </a:lnTo>
                    <a:lnTo>
                      <a:pt x="246" y="163"/>
                    </a:lnTo>
                    <a:lnTo>
                      <a:pt x="248" y="163"/>
                    </a:lnTo>
                    <a:lnTo>
                      <a:pt x="248" y="161"/>
                    </a:lnTo>
                    <a:lnTo>
                      <a:pt x="248" y="163"/>
                    </a:lnTo>
                    <a:lnTo>
                      <a:pt x="248" y="161"/>
                    </a:lnTo>
                    <a:lnTo>
                      <a:pt x="250" y="161"/>
                    </a:lnTo>
                    <a:lnTo>
                      <a:pt x="248" y="161"/>
                    </a:lnTo>
                    <a:lnTo>
                      <a:pt x="250" y="161"/>
                    </a:lnTo>
                    <a:lnTo>
                      <a:pt x="248" y="161"/>
                    </a:lnTo>
                    <a:lnTo>
                      <a:pt x="250" y="161"/>
                    </a:lnTo>
                    <a:lnTo>
                      <a:pt x="250" y="163"/>
                    </a:lnTo>
                    <a:lnTo>
                      <a:pt x="250" y="161"/>
                    </a:lnTo>
                    <a:lnTo>
                      <a:pt x="252" y="161"/>
                    </a:lnTo>
                    <a:lnTo>
                      <a:pt x="250" y="161"/>
                    </a:lnTo>
                    <a:lnTo>
                      <a:pt x="252" y="161"/>
                    </a:lnTo>
                    <a:lnTo>
                      <a:pt x="250" y="161"/>
                    </a:lnTo>
                    <a:lnTo>
                      <a:pt x="250" y="163"/>
                    </a:lnTo>
                    <a:lnTo>
                      <a:pt x="252" y="163"/>
                    </a:lnTo>
                    <a:lnTo>
                      <a:pt x="250" y="161"/>
                    </a:lnTo>
                    <a:lnTo>
                      <a:pt x="252" y="161"/>
                    </a:lnTo>
                    <a:lnTo>
                      <a:pt x="250" y="161"/>
                    </a:lnTo>
                    <a:lnTo>
                      <a:pt x="252" y="161"/>
                    </a:lnTo>
                    <a:lnTo>
                      <a:pt x="252" y="159"/>
                    </a:lnTo>
                    <a:lnTo>
                      <a:pt x="254" y="159"/>
                    </a:lnTo>
                    <a:lnTo>
                      <a:pt x="254" y="161"/>
                    </a:lnTo>
                    <a:lnTo>
                      <a:pt x="254" y="159"/>
                    </a:lnTo>
                    <a:lnTo>
                      <a:pt x="256" y="159"/>
                    </a:lnTo>
                    <a:lnTo>
                      <a:pt x="258" y="159"/>
                    </a:lnTo>
                    <a:lnTo>
                      <a:pt x="258" y="157"/>
                    </a:lnTo>
                    <a:lnTo>
                      <a:pt x="259" y="157"/>
                    </a:lnTo>
                    <a:lnTo>
                      <a:pt x="261" y="157"/>
                    </a:lnTo>
                    <a:lnTo>
                      <a:pt x="261" y="159"/>
                    </a:lnTo>
                    <a:lnTo>
                      <a:pt x="261" y="157"/>
                    </a:lnTo>
                    <a:lnTo>
                      <a:pt x="263" y="157"/>
                    </a:lnTo>
                    <a:lnTo>
                      <a:pt x="263" y="155"/>
                    </a:lnTo>
                    <a:lnTo>
                      <a:pt x="265" y="155"/>
                    </a:lnTo>
                    <a:lnTo>
                      <a:pt x="267" y="155"/>
                    </a:lnTo>
                    <a:lnTo>
                      <a:pt x="267" y="153"/>
                    </a:lnTo>
                    <a:lnTo>
                      <a:pt x="269" y="153"/>
                    </a:lnTo>
                    <a:lnTo>
                      <a:pt x="269" y="151"/>
                    </a:lnTo>
                    <a:lnTo>
                      <a:pt x="269" y="153"/>
                    </a:lnTo>
                    <a:lnTo>
                      <a:pt x="271" y="151"/>
                    </a:lnTo>
                    <a:lnTo>
                      <a:pt x="269" y="153"/>
                    </a:lnTo>
                    <a:lnTo>
                      <a:pt x="271" y="151"/>
                    </a:lnTo>
                    <a:lnTo>
                      <a:pt x="273" y="150"/>
                    </a:lnTo>
                    <a:lnTo>
                      <a:pt x="275" y="150"/>
                    </a:lnTo>
                    <a:lnTo>
                      <a:pt x="275" y="148"/>
                    </a:lnTo>
                    <a:lnTo>
                      <a:pt x="275" y="146"/>
                    </a:lnTo>
                    <a:lnTo>
                      <a:pt x="277" y="146"/>
                    </a:lnTo>
                    <a:lnTo>
                      <a:pt x="279" y="146"/>
                    </a:lnTo>
                    <a:lnTo>
                      <a:pt x="281" y="146"/>
                    </a:lnTo>
                    <a:lnTo>
                      <a:pt x="283" y="144"/>
                    </a:lnTo>
                    <a:lnTo>
                      <a:pt x="284" y="146"/>
                    </a:lnTo>
                    <a:lnTo>
                      <a:pt x="284" y="148"/>
                    </a:lnTo>
                    <a:lnTo>
                      <a:pt x="284" y="150"/>
                    </a:lnTo>
                    <a:lnTo>
                      <a:pt x="284" y="151"/>
                    </a:lnTo>
                    <a:lnTo>
                      <a:pt x="283" y="151"/>
                    </a:lnTo>
                    <a:lnTo>
                      <a:pt x="284" y="151"/>
                    </a:lnTo>
                    <a:lnTo>
                      <a:pt x="283" y="151"/>
                    </a:lnTo>
                    <a:lnTo>
                      <a:pt x="284" y="151"/>
                    </a:lnTo>
                    <a:lnTo>
                      <a:pt x="284" y="153"/>
                    </a:lnTo>
                    <a:lnTo>
                      <a:pt x="284" y="155"/>
                    </a:lnTo>
                    <a:lnTo>
                      <a:pt x="286" y="155"/>
                    </a:lnTo>
                    <a:lnTo>
                      <a:pt x="288" y="155"/>
                    </a:lnTo>
                    <a:lnTo>
                      <a:pt x="288" y="157"/>
                    </a:lnTo>
                    <a:lnTo>
                      <a:pt x="286" y="157"/>
                    </a:lnTo>
                    <a:lnTo>
                      <a:pt x="284" y="157"/>
                    </a:lnTo>
                    <a:lnTo>
                      <a:pt x="284" y="159"/>
                    </a:lnTo>
                    <a:lnTo>
                      <a:pt x="284" y="157"/>
                    </a:lnTo>
                    <a:lnTo>
                      <a:pt x="286" y="157"/>
                    </a:lnTo>
                    <a:lnTo>
                      <a:pt x="288" y="155"/>
                    </a:lnTo>
                    <a:lnTo>
                      <a:pt x="290" y="155"/>
                    </a:lnTo>
                    <a:lnTo>
                      <a:pt x="290" y="153"/>
                    </a:lnTo>
                    <a:lnTo>
                      <a:pt x="292" y="153"/>
                    </a:lnTo>
                    <a:lnTo>
                      <a:pt x="290" y="153"/>
                    </a:lnTo>
                    <a:lnTo>
                      <a:pt x="290" y="151"/>
                    </a:lnTo>
                    <a:lnTo>
                      <a:pt x="290" y="153"/>
                    </a:lnTo>
                    <a:lnTo>
                      <a:pt x="290" y="151"/>
                    </a:lnTo>
                    <a:lnTo>
                      <a:pt x="292" y="151"/>
                    </a:lnTo>
                    <a:lnTo>
                      <a:pt x="292" y="150"/>
                    </a:lnTo>
                    <a:lnTo>
                      <a:pt x="292" y="148"/>
                    </a:lnTo>
                    <a:lnTo>
                      <a:pt x="294" y="148"/>
                    </a:lnTo>
                    <a:lnTo>
                      <a:pt x="292" y="148"/>
                    </a:lnTo>
                    <a:lnTo>
                      <a:pt x="292" y="146"/>
                    </a:lnTo>
                    <a:lnTo>
                      <a:pt x="294" y="146"/>
                    </a:lnTo>
                    <a:lnTo>
                      <a:pt x="296" y="146"/>
                    </a:lnTo>
                    <a:lnTo>
                      <a:pt x="296" y="144"/>
                    </a:lnTo>
                    <a:lnTo>
                      <a:pt x="298" y="142"/>
                    </a:lnTo>
                    <a:lnTo>
                      <a:pt x="300" y="142"/>
                    </a:lnTo>
                    <a:lnTo>
                      <a:pt x="298" y="142"/>
                    </a:lnTo>
                    <a:lnTo>
                      <a:pt x="300" y="144"/>
                    </a:lnTo>
                    <a:lnTo>
                      <a:pt x="300" y="142"/>
                    </a:lnTo>
                    <a:lnTo>
                      <a:pt x="302" y="142"/>
                    </a:lnTo>
                    <a:lnTo>
                      <a:pt x="304" y="142"/>
                    </a:lnTo>
                    <a:lnTo>
                      <a:pt x="306" y="142"/>
                    </a:lnTo>
                    <a:lnTo>
                      <a:pt x="304" y="142"/>
                    </a:lnTo>
                    <a:lnTo>
                      <a:pt x="304" y="140"/>
                    </a:lnTo>
                    <a:lnTo>
                      <a:pt x="306" y="140"/>
                    </a:lnTo>
                    <a:lnTo>
                      <a:pt x="308" y="140"/>
                    </a:lnTo>
                    <a:lnTo>
                      <a:pt x="309" y="140"/>
                    </a:lnTo>
                    <a:lnTo>
                      <a:pt x="311" y="140"/>
                    </a:lnTo>
                    <a:lnTo>
                      <a:pt x="313" y="140"/>
                    </a:lnTo>
                    <a:lnTo>
                      <a:pt x="313" y="142"/>
                    </a:lnTo>
                    <a:lnTo>
                      <a:pt x="315" y="142"/>
                    </a:lnTo>
                    <a:lnTo>
                      <a:pt x="317" y="142"/>
                    </a:lnTo>
                    <a:lnTo>
                      <a:pt x="317" y="144"/>
                    </a:lnTo>
                    <a:lnTo>
                      <a:pt x="317" y="142"/>
                    </a:lnTo>
                    <a:lnTo>
                      <a:pt x="319" y="142"/>
                    </a:lnTo>
                    <a:lnTo>
                      <a:pt x="319" y="140"/>
                    </a:lnTo>
                    <a:lnTo>
                      <a:pt x="321" y="140"/>
                    </a:lnTo>
                    <a:lnTo>
                      <a:pt x="323" y="140"/>
                    </a:lnTo>
                    <a:lnTo>
                      <a:pt x="325" y="140"/>
                    </a:lnTo>
                    <a:lnTo>
                      <a:pt x="327" y="140"/>
                    </a:lnTo>
                    <a:lnTo>
                      <a:pt x="327" y="142"/>
                    </a:lnTo>
                    <a:lnTo>
                      <a:pt x="329" y="142"/>
                    </a:lnTo>
                    <a:lnTo>
                      <a:pt x="329" y="144"/>
                    </a:lnTo>
                    <a:lnTo>
                      <a:pt x="329" y="146"/>
                    </a:lnTo>
                    <a:lnTo>
                      <a:pt x="331" y="146"/>
                    </a:lnTo>
                    <a:lnTo>
                      <a:pt x="329" y="146"/>
                    </a:lnTo>
                    <a:lnTo>
                      <a:pt x="331" y="146"/>
                    </a:lnTo>
                    <a:lnTo>
                      <a:pt x="332" y="146"/>
                    </a:lnTo>
                    <a:lnTo>
                      <a:pt x="332" y="148"/>
                    </a:lnTo>
                    <a:lnTo>
                      <a:pt x="334" y="148"/>
                    </a:lnTo>
                    <a:lnTo>
                      <a:pt x="336" y="148"/>
                    </a:lnTo>
                    <a:lnTo>
                      <a:pt x="336" y="146"/>
                    </a:lnTo>
                    <a:lnTo>
                      <a:pt x="336" y="148"/>
                    </a:lnTo>
                    <a:lnTo>
                      <a:pt x="336" y="146"/>
                    </a:lnTo>
                    <a:lnTo>
                      <a:pt x="336" y="148"/>
                    </a:lnTo>
                    <a:lnTo>
                      <a:pt x="336" y="146"/>
                    </a:lnTo>
                    <a:lnTo>
                      <a:pt x="336" y="148"/>
                    </a:lnTo>
                    <a:lnTo>
                      <a:pt x="336" y="146"/>
                    </a:lnTo>
                    <a:lnTo>
                      <a:pt x="338" y="148"/>
                    </a:lnTo>
                    <a:lnTo>
                      <a:pt x="336" y="148"/>
                    </a:lnTo>
                    <a:lnTo>
                      <a:pt x="338" y="148"/>
                    </a:lnTo>
                    <a:lnTo>
                      <a:pt x="336" y="148"/>
                    </a:lnTo>
                    <a:lnTo>
                      <a:pt x="336" y="150"/>
                    </a:lnTo>
                    <a:lnTo>
                      <a:pt x="336" y="148"/>
                    </a:lnTo>
                    <a:lnTo>
                      <a:pt x="336" y="150"/>
                    </a:lnTo>
                    <a:lnTo>
                      <a:pt x="334" y="150"/>
                    </a:lnTo>
                    <a:lnTo>
                      <a:pt x="334" y="151"/>
                    </a:lnTo>
                    <a:lnTo>
                      <a:pt x="334" y="153"/>
                    </a:lnTo>
                    <a:lnTo>
                      <a:pt x="334" y="151"/>
                    </a:lnTo>
                    <a:lnTo>
                      <a:pt x="336" y="153"/>
                    </a:lnTo>
                    <a:lnTo>
                      <a:pt x="336" y="155"/>
                    </a:lnTo>
                    <a:lnTo>
                      <a:pt x="334" y="157"/>
                    </a:lnTo>
                    <a:lnTo>
                      <a:pt x="336" y="157"/>
                    </a:lnTo>
                    <a:lnTo>
                      <a:pt x="336" y="159"/>
                    </a:lnTo>
                    <a:lnTo>
                      <a:pt x="336" y="157"/>
                    </a:lnTo>
                    <a:lnTo>
                      <a:pt x="336" y="159"/>
                    </a:lnTo>
                    <a:lnTo>
                      <a:pt x="338" y="159"/>
                    </a:lnTo>
                    <a:lnTo>
                      <a:pt x="336" y="159"/>
                    </a:lnTo>
                    <a:lnTo>
                      <a:pt x="338" y="161"/>
                    </a:lnTo>
                    <a:lnTo>
                      <a:pt x="338" y="163"/>
                    </a:lnTo>
                    <a:lnTo>
                      <a:pt x="340" y="163"/>
                    </a:lnTo>
                    <a:lnTo>
                      <a:pt x="340" y="165"/>
                    </a:lnTo>
                    <a:lnTo>
                      <a:pt x="340" y="167"/>
                    </a:lnTo>
                    <a:lnTo>
                      <a:pt x="340" y="169"/>
                    </a:lnTo>
                    <a:lnTo>
                      <a:pt x="342" y="169"/>
                    </a:lnTo>
                    <a:lnTo>
                      <a:pt x="342" y="171"/>
                    </a:lnTo>
                    <a:lnTo>
                      <a:pt x="342" y="169"/>
                    </a:lnTo>
                    <a:lnTo>
                      <a:pt x="342" y="171"/>
                    </a:lnTo>
                    <a:lnTo>
                      <a:pt x="342" y="173"/>
                    </a:lnTo>
                    <a:lnTo>
                      <a:pt x="342" y="171"/>
                    </a:lnTo>
                    <a:lnTo>
                      <a:pt x="342" y="173"/>
                    </a:lnTo>
                    <a:lnTo>
                      <a:pt x="344" y="173"/>
                    </a:lnTo>
                    <a:lnTo>
                      <a:pt x="342" y="173"/>
                    </a:lnTo>
                    <a:lnTo>
                      <a:pt x="342" y="175"/>
                    </a:lnTo>
                    <a:lnTo>
                      <a:pt x="344" y="175"/>
                    </a:lnTo>
                    <a:lnTo>
                      <a:pt x="344" y="173"/>
                    </a:lnTo>
                    <a:lnTo>
                      <a:pt x="344" y="175"/>
                    </a:lnTo>
                    <a:lnTo>
                      <a:pt x="344" y="176"/>
                    </a:lnTo>
                    <a:lnTo>
                      <a:pt x="344" y="178"/>
                    </a:lnTo>
                    <a:lnTo>
                      <a:pt x="342" y="180"/>
                    </a:lnTo>
                    <a:lnTo>
                      <a:pt x="344" y="180"/>
                    </a:lnTo>
                    <a:lnTo>
                      <a:pt x="342" y="180"/>
                    </a:lnTo>
                    <a:lnTo>
                      <a:pt x="342" y="182"/>
                    </a:lnTo>
                    <a:lnTo>
                      <a:pt x="340" y="182"/>
                    </a:lnTo>
                    <a:lnTo>
                      <a:pt x="340" y="180"/>
                    </a:lnTo>
                    <a:lnTo>
                      <a:pt x="338" y="180"/>
                    </a:lnTo>
                    <a:lnTo>
                      <a:pt x="338" y="178"/>
                    </a:lnTo>
                    <a:lnTo>
                      <a:pt x="336" y="178"/>
                    </a:lnTo>
                    <a:lnTo>
                      <a:pt x="334" y="178"/>
                    </a:lnTo>
                    <a:lnTo>
                      <a:pt x="336" y="178"/>
                    </a:lnTo>
                    <a:lnTo>
                      <a:pt x="334" y="178"/>
                    </a:lnTo>
                    <a:lnTo>
                      <a:pt x="334" y="176"/>
                    </a:lnTo>
                    <a:lnTo>
                      <a:pt x="334" y="175"/>
                    </a:lnTo>
                    <a:lnTo>
                      <a:pt x="332" y="175"/>
                    </a:lnTo>
                    <a:lnTo>
                      <a:pt x="331" y="175"/>
                    </a:lnTo>
                    <a:lnTo>
                      <a:pt x="329" y="175"/>
                    </a:lnTo>
                    <a:lnTo>
                      <a:pt x="329" y="173"/>
                    </a:lnTo>
                    <a:lnTo>
                      <a:pt x="329" y="175"/>
                    </a:lnTo>
                    <a:lnTo>
                      <a:pt x="329" y="173"/>
                    </a:lnTo>
                    <a:lnTo>
                      <a:pt x="327" y="173"/>
                    </a:lnTo>
                    <a:lnTo>
                      <a:pt x="327" y="171"/>
                    </a:lnTo>
                    <a:lnTo>
                      <a:pt x="325" y="171"/>
                    </a:lnTo>
                    <a:lnTo>
                      <a:pt x="327" y="171"/>
                    </a:lnTo>
                    <a:lnTo>
                      <a:pt x="325" y="171"/>
                    </a:lnTo>
                    <a:lnTo>
                      <a:pt x="327" y="171"/>
                    </a:lnTo>
                    <a:lnTo>
                      <a:pt x="327" y="173"/>
                    </a:lnTo>
                    <a:lnTo>
                      <a:pt x="329" y="173"/>
                    </a:lnTo>
                    <a:lnTo>
                      <a:pt x="327" y="173"/>
                    </a:lnTo>
                    <a:lnTo>
                      <a:pt x="329" y="173"/>
                    </a:lnTo>
                    <a:lnTo>
                      <a:pt x="329" y="175"/>
                    </a:lnTo>
                    <a:lnTo>
                      <a:pt x="329" y="173"/>
                    </a:lnTo>
                    <a:lnTo>
                      <a:pt x="329" y="175"/>
                    </a:lnTo>
                    <a:lnTo>
                      <a:pt x="331" y="175"/>
                    </a:lnTo>
                    <a:lnTo>
                      <a:pt x="332" y="175"/>
                    </a:lnTo>
                    <a:lnTo>
                      <a:pt x="334" y="175"/>
                    </a:lnTo>
                    <a:lnTo>
                      <a:pt x="332" y="175"/>
                    </a:lnTo>
                    <a:lnTo>
                      <a:pt x="334" y="175"/>
                    </a:lnTo>
                    <a:lnTo>
                      <a:pt x="334" y="176"/>
                    </a:lnTo>
                    <a:lnTo>
                      <a:pt x="334" y="178"/>
                    </a:lnTo>
                    <a:lnTo>
                      <a:pt x="336" y="178"/>
                    </a:lnTo>
                    <a:lnTo>
                      <a:pt x="334" y="178"/>
                    </a:lnTo>
                    <a:lnTo>
                      <a:pt x="336" y="178"/>
                    </a:lnTo>
                    <a:lnTo>
                      <a:pt x="338" y="178"/>
                    </a:lnTo>
                    <a:lnTo>
                      <a:pt x="338" y="180"/>
                    </a:lnTo>
                    <a:lnTo>
                      <a:pt x="340" y="180"/>
                    </a:lnTo>
                    <a:lnTo>
                      <a:pt x="340" y="182"/>
                    </a:lnTo>
                    <a:lnTo>
                      <a:pt x="340" y="184"/>
                    </a:lnTo>
                    <a:lnTo>
                      <a:pt x="342" y="184"/>
                    </a:lnTo>
                    <a:lnTo>
                      <a:pt x="340" y="184"/>
                    </a:lnTo>
                    <a:lnTo>
                      <a:pt x="342" y="184"/>
                    </a:lnTo>
                    <a:lnTo>
                      <a:pt x="340" y="184"/>
                    </a:lnTo>
                    <a:lnTo>
                      <a:pt x="340" y="182"/>
                    </a:lnTo>
                    <a:lnTo>
                      <a:pt x="342" y="182"/>
                    </a:lnTo>
                    <a:lnTo>
                      <a:pt x="342" y="180"/>
                    </a:lnTo>
                    <a:lnTo>
                      <a:pt x="344" y="180"/>
                    </a:lnTo>
                    <a:lnTo>
                      <a:pt x="344" y="178"/>
                    </a:lnTo>
                    <a:lnTo>
                      <a:pt x="344" y="176"/>
                    </a:lnTo>
                    <a:lnTo>
                      <a:pt x="344" y="175"/>
                    </a:lnTo>
                    <a:lnTo>
                      <a:pt x="344" y="173"/>
                    </a:lnTo>
                    <a:lnTo>
                      <a:pt x="344" y="175"/>
                    </a:lnTo>
                    <a:lnTo>
                      <a:pt x="342" y="173"/>
                    </a:lnTo>
                    <a:lnTo>
                      <a:pt x="344" y="173"/>
                    </a:lnTo>
                    <a:lnTo>
                      <a:pt x="342" y="173"/>
                    </a:lnTo>
                    <a:lnTo>
                      <a:pt x="342" y="171"/>
                    </a:lnTo>
                    <a:lnTo>
                      <a:pt x="342" y="169"/>
                    </a:lnTo>
                    <a:lnTo>
                      <a:pt x="342" y="167"/>
                    </a:lnTo>
                    <a:lnTo>
                      <a:pt x="340" y="169"/>
                    </a:lnTo>
                    <a:lnTo>
                      <a:pt x="340" y="167"/>
                    </a:lnTo>
                    <a:lnTo>
                      <a:pt x="340" y="165"/>
                    </a:lnTo>
                    <a:lnTo>
                      <a:pt x="340" y="163"/>
                    </a:lnTo>
                    <a:lnTo>
                      <a:pt x="338" y="163"/>
                    </a:lnTo>
                    <a:lnTo>
                      <a:pt x="338" y="161"/>
                    </a:lnTo>
                    <a:lnTo>
                      <a:pt x="338" y="159"/>
                    </a:lnTo>
                    <a:lnTo>
                      <a:pt x="336" y="159"/>
                    </a:lnTo>
                    <a:lnTo>
                      <a:pt x="336" y="157"/>
                    </a:lnTo>
                    <a:lnTo>
                      <a:pt x="336" y="155"/>
                    </a:lnTo>
                    <a:lnTo>
                      <a:pt x="336" y="157"/>
                    </a:lnTo>
                    <a:lnTo>
                      <a:pt x="336" y="155"/>
                    </a:lnTo>
                    <a:lnTo>
                      <a:pt x="336" y="157"/>
                    </a:lnTo>
                    <a:lnTo>
                      <a:pt x="336" y="155"/>
                    </a:lnTo>
                    <a:lnTo>
                      <a:pt x="336" y="153"/>
                    </a:lnTo>
                    <a:lnTo>
                      <a:pt x="336" y="151"/>
                    </a:lnTo>
                    <a:lnTo>
                      <a:pt x="334" y="151"/>
                    </a:lnTo>
                    <a:lnTo>
                      <a:pt x="334" y="153"/>
                    </a:lnTo>
                    <a:lnTo>
                      <a:pt x="334" y="151"/>
                    </a:lnTo>
                    <a:lnTo>
                      <a:pt x="334" y="150"/>
                    </a:lnTo>
                    <a:lnTo>
                      <a:pt x="336" y="150"/>
                    </a:lnTo>
                    <a:lnTo>
                      <a:pt x="338" y="148"/>
                    </a:lnTo>
                    <a:lnTo>
                      <a:pt x="338" y="146"/>
                    </a:lnTo>
                    <a:lnTo>
                      <a:pt x="338" y="148"/>
                    </a:lnTo>
                    <a:lnTo>
                      <a:pt x="340" y="148"/>
                    </a:lnTo>
                    <a:lnTo>
                      <a:pt x="340" y="150"/>
                    </a:lnTo>
                    <a:lnTo>
                      <a:pt x="342" y="150"/>
                    </a:lnTo>
                    <a:lnTo>
                      <a:pt x="340" y="150"/>
                    </a:lnTo>
                    <a:lnTo>
                      <a:pt x="342" y="150"/>
                    </a:lnTo>
                    <a:lnTo>
                      <a:pt x="340" y="150"/>
                    </a:lnTo>
                    <a:lnTo>
                      <a:pt x="342" y="150"/>
                    </a:lnTo>
                    <a:lnTo>
                      <a:pt x="342" y="151"/>
                    </a:lnTo>
                    <a:lnTo>
                      <a:pt x="340" y="150"/>
                    </a:lnTo>
                    <a:lnTo>
                      <a:pt x="340" y="151"/>
                    </a:lnTo>
                    <a:lnTo>
                      <a:pt x="340" y="150"/>
                    </a:lnTo>
                    <a:lnTo>
                      <a:pt x="340" y="151"/>
                    </a:lnTo>
                    <a:lnTo>
                      <a:pt x="342" y="151"/>
                    </a:lnTo>
                    <a:lnTo>
                      <a:pt x="340" y="151"/>
                    </a:lnTo>
                    <a:lnTo>
                      <a:pt x="342" y="151"/>
                    </a:lnTo>
                    <a:lnTo>
                      <a:pt x="342" y="153"/>
                    </a:lnTo>
                    <a:lnTo>
                      <a:pt x="342" y="151"/>
                    </a:lnTo>
                    <a:lnTo>
                      <a:pt x="342" y="153"/>
                    </a:lnTo>
                    <a:lnTo>
                      <a:pt x="342" y="151"/>
                    </a:lnTo>
                    <a:lnTo>
                      <a:pt x="342" y="153"/>
                    </a:lnTo>
                    <a:lnTo>
                      <a:pt x="344" y="153"/>
                    </a:lnTo>
                    <a:lnTo>
                      <a:pt x="344" y="155"/>
                    </a:lnTo>
                    <a:lnTo>
                      <a:pt x="344" y="153"/>
                    </a:lnTo>
                    <a:lnTo>
                      <a:pt x="344" y="155"/>
                    </a:lnTo>
                    <a:lnTo>
                      <a:pt x="346" y="155"/>
                    </a:lnTo>
                    <a:lnTo>
                      <a:pt x="346" y="157"/>
                    </a:lnTo>
                    <a:lnTo>
                      <a:pt x="348" y="157"/>
                    </a:lnTo>
                    <a:lnTo>
                      <a:pt x="350" y="157"/>
                    </a:lnTo>
                    <a:lnTo>
                      <a:pt x="348" y="157"/>
                    </a:lnTo>
                    <a:lnTo>
                      <a:pt x="350" y="157"/>
                    </a:lnTo>
                    <a:lnTo>
                      <a:pt x="350" y="159"/>
                    </a:lnTo>
                    <a:lnTo>
                      <a:pt x="350" y="157"/>
                    </a:lnTo>
                    <a:lnTo>
                      <a:pt x="350" y="159"/>
                    </a:lnTo>
                    <a:lnTo>
                      <a:pt x="350" y="157"/>
                    </a:lnTo>
                    <a:lnTo>
                      <a:pt x="350" y="159"/>
                    </a:lnTo>
                    <a:lnTo>
                      <a:pt x="352" y="159"/>
                    </a:lnTo>
                    <a:lnTo>
                      <a:pt x="350" y="159"/>
                    </a:lnTo>
                    <a:lnTo>
                      <a:pt x="352" y="159"/>
                    </a:lnTo>
                    <a:lnTo>
                      <a:pt x="354" y="159"/>
                    </a:lnTo>
                    <a:lnTo>
                      <a:pt x="354" y="157"/>
                    </a:lnTo>
                    <a:lnTo>
                      <a:pt x="356" y="159"/>
                    </a:lnTo>
                    <a:lnTo>
                      <a:pt x="356" y="157"/>
                    </a:lnTo>
                    <a:lnTo>
                      <a:pt x="356" y="159"/>
                    </a:lnTo>
                    <a:lnTo>
                      <a:pt x="356" y="157"/>
                    </a:lnTo>
                    <a:lnTo>
                      <a:pt x="356" y="159"/>
                    </a:lnTo>
                    <a:lnTo>
                      <a:pt x="356" y="157"/>
                    </a:lnTo>
                    <a:lnTo>
                      <a:pt x="357" y="157"/>
                    </a:lnTo>
                    <a:lnTo>
                      <a:pt x="357" y="155"/>
                    </a:lnTo>
                    <a:lnTo>
                      <a:pt x="357" y="157"/>
                    </a:lnTo>
                    <a:lnTo>
                      <a:pt x="357" y="155"/>
                    </a:lnTo>
                    <a:lnTo>
                      <a:pt x="357" y="157"/>
                    </a:lnTo>
                    <a:lnTo>
                      <a:pt x="357" y="155"/>
                    </a:lnTo>
                    <a:lnTo>
                      <a:pt x="359" y="155"/>
                    </a:lnTo>
                    <a:lnTo>
                      <a:pt x="359" y="153"/>
                    </a:lnTo>
                    <a:lnTo>
                      <a:pt x="361" y="153"/>
                    </a:lnTo>
                    <a:lnTo>
                      <a:pt x="363" y="151"/>
                    </a:lnTo>
                    <a:lnTo>
                      <a:pt x="365" y="150"/>
                    </a:lnTo>
                    <a:lnTo>
                      <a:pt x="367" y="150"/>
                    </a:lnTo>
                    <a:lnTo>
                      <a:pt x="367" y="151"/>
                    </a:lnTo>
                    <a:lnTo>
                      <a:pt x="369" y="151"/>
                    </a:lnTo>
                    <a:lnTo>
                      <a:pt x="371" y="151"/>
                    </a:lnTo>
                    <a:lnTo>
                      <a:pt x="373" y="151"/>
                    </a:lnTo>
                    <a:lnTo>
                      <a:pt x="371" y="151"/>
                    </a:lnTo>
                    <a:lnTo>
                      <a:pt x="371" y="153"/>
                    </a:lnTo>
                    <a:lnTo>
                      <a:pt x="369" y="153"/>
                    </a:lnTo>
                    <a:lnTo>
                      <a:pt x="369" y="155"/>
                    </a:lnTo>
                    <a:lnTo>
                      <a:pt x="367" y="155"/>
                    </a:lnTo>
                    <a:lnTo>
                      <a:pt x="369" y="155"/>
                    </a:lnTo>
                    <a:lnTo>
                      <a:pt x="369" y="157"/>
                    </a:lnTo>
                    <a:lnTo>
                      <a:pt x="369" y="155"/>
                    </a:lnTo>
                    <a:lnTo>
                      <a:pt x="369" y="157"/>
                    </a:lnTo>
                    <a:lnTo>
                      <a:pt x="369" y="155"/>
                    </a:lnTo>
                    <a:lnTo>
                      <a:pt x="367" y="155"/>
                    </a:lnTo>
                    <a:lnTo>
                      <a:pt x="369" y="155"/>
                    </a:lnTo>
                    <a:lnTo>
                      <a:pt x="369" y="153"/>
                    </a:lnTo>
                    <a:lnTo>
                      <a:pt x="371" y="153"/>
                    </a:lnTo>
                    <a:lnTo>
                      <a:pt x="373" y="153"/>
                    </a:lnTo>
                    <a:lnTo>
                      <a:pt x="373" y="151"/>
                    </a:lnTo>
                    <a:lnTo>
                      <a:pt x="375" y="151"/>
                    </a:lnTo>
                    <a:lnTo>
                      <a:pt x="375" y="150"/>
                    </a:lnTo>
                    <a:lnTo>
                      <a:pt x="373" y="150"/>
                    </a:lnTo>
                    <a:lnTo>
                      <a:pt x="375" y="150"/>
                    </a:lnTo>
                    <a:lnTo>
                      <a:pt x="377" y="148"/>
                    </a:lnTo>
                    <a:lnTo>
                      <a:pt x="379" y="148"/>
                    </a:lnTo>
                    <a:lnTo>
                      <a:pt x="379" y="150"/>
                    </a:lnTo>
                    <a:lnTo>
                      <a:pt x="381" y="148"/>
                    </a:lnTo>
                    <a:lnTo>
                      <a:pt x="382" y="148"/>
                    </a:lnTo>
                    <a:lnTo>
                      <a:pt x="382" y="150"/>
                    </a:lnTo>
                    <a:lnTo>
                      <a:pt x="382" y="148"/>
                    </a:lnTo>
                    <a:lnTo>
                      <a:pt x="384" y="148"/>
                    </a:lnTo>
                    <a:lnTo>
                      <a:pt x="386" y="148"/>
                    </a:lnTo>
                    <a:lnTo>
                      <a:pt x="388" y="148"/>
                    </a:lnTo>
                    <a:lnTo>
                      <a:pt x="390" y="148"/>
                    </a:lnTo>
                    <a:lnTo>
                      <a:pt x="392" y="148"/>
                    </a:lnTo>
                    <a:lnTo>
                      <a:pt x="394" y="148"/>
                    </a:lnTo>
                    <a:lnTo>
                      <a:pt x="396" y="148"/>
                    </a:lnTo>
                    <a:lnTo>
                      <a:pt x="398" y="148"/>
                    </a:lnTo>
                    <a:lnTo>
                      <a:pt x="400" y="148"/>
                    </a:lnTo>
                    <a:lnTo>
                      <a:pt x="404" y="150"/>
                    </a:lnTo>
                    <a:lnTo>
                      <a:pt x="405" y="150"/>
                    </a:lnTo>
                    <a:lnTo>
                      <a:pt x="407" y="151"/>
                    </a:lnTo>
                    <a:lnTo>
                      <a:pt x="405" y="151"/>
                    </a:lnTo>
                    <a:lnTo>
                      <a:pt x="404" y="151"/>
                    </a:lnTo>
                    <a:lnTo>
                      <a:pt x="402" y="151"/>
                    </a:lnTo>
                    <a:lnTo>
                      <a:pt x="402" y="150"/>
                    </a:lnTo>
                    <a:lnTo>
                      <a:pt x="402" y="151"/>
                    </a:lnTo>
                    <a:lnTo>
                      <a:pt x="400" y="150"/>
                    </a:lnTo>
                    <a:lnTo>
                      <a:pt x="400" y="151"/>
                    </a:lnTo>
                    <a:lnTo>
                      <a:pt x="398" y="151"/>
                    </a:lnTo>
                    <a:lnTo>
                      <a:pt x="400" y="151"/>
                    </a:lnTo>
                    <a:lnTo>
                      <a:pt x="398" y="151"/>
                    </a:lnTo>
                    <a:lnTo>
                      <a:pt x="398" y="153"/>
                    </a:lnTo>
                    <a:lnTo>
                      <a:pt x="400" y="153"/>
                    </a:lnTo>
                    <a:lnTo>
                      <a:pt x="402" y="153"/>
                    </a:lnTo>
                    <a:lnTo>
                      <a:pt x="402" y="155"/>
                    </a:lnTo>
                    <a:lnTo>
                      <a:pt x="404" y="157"/>
                    </a:lnTo>
                    <a:lnTo>
                      <a:pt x="404" y="159"/>
                    </a:lnTo>
                    <a:lnTo>
                      <a:pt x="405" y="161"/>
                    </a:lnTo>
                    <a:lnTo>
                      <a:pt x="405" y="163"/>
                    </a:lnTo>
                    <a:lnTo>
                      <a:pt x="404" y="163"/>
                    </a:lnTo>
                    <a:lnTo>
                      <a:pt x="404" y="161"/>
                    </a:lnTo>
                    <a:lnTo>
                      <a:pt x="404" y="163"/>
                    </a:lnTo>
                    <a:lnTo>
                      <a:pt x="404" y="161"/>
                    </a:lnTo>
                    <a:lnTo>
                      <a:pt x="404" y="163"/>
                    </a:lnTo>
                    <a:lnTo>
                      <a:pt x="404" y="161"/>
                    </a:lnTo>
                    <a:lnTo>
                      <a:pt x="404" y="163"/>
                    </a:lnTo>
                    <a:lnTo>
                      <a:pt x="405" y="163"/>
                    </a:lnTo>
                    <a:lnTo>
                      <a:pt x="405" y="165"/>
                    </a:lnTo>
                    <a:lnTo>
                      <a:pt x="405" y="167"/>
                    </a:lnTo>
                    <a:lnTo>
                      <a:pt x="405" y="169"/>
                    </a:lnTo>
                    <a:lnTo>
                      <a:pt x="404" y="169"/>
                    </a:lnTo>
                    <a:lnTo>
                      <a:pt x="405" y="169"/>
                    </a:lnTo>
                    <a:lnTo>
                      <a:pt x="404" y="169"/>
                    </a:lnTo>
                    <a:lnTo>
                      <a:pt x="405" y="167"/>
                    </a:lnTo>
                    <a:lnTo>
                      <a:pt x="404" y="167"/>
                    </a:lnTo>
                    <a:lnTo>
                      <a:pt x="405" y="169"/>
                    </a:lnTo>
                    <a:lnTo>
                      <a:pt x="404" y="169"/>
                    </a:lnTo>
                    <a:lnTo>
                      <a:pt x="402" y="169"/>
                    </a:lnTo>
                    <a:lnTo>
                      <a:pt x="402" y="167"/>
                    </a:lnTo>
                    <a:lnTo>
                      <a:pt x="400" y="167"/>
                    </a:lnTo>
                    <a:lnTo>
                      <a:pt x="400" y="169"/>
                    </a:lnTo>
                    <a:lnTo>
                      <a:pt x="400" y="167"/>
                    </a:lnTo>
                    <a:lnTo>
                      <a:pt x="400" y="169"/>
                    </a:lnTo>
                    <a:lnTo>
                      <a:pt x="400" y="167"/>
                    </a:lnTo>
                    <a:lnTo>
                      <a:pt x="398" y="167"/>
                    </a:lnTo>
                    <a:lnTo>
                      <a:pt x="398" y="169"/>
                    </a:lnTo>
                    <a:lnTo>
                      <a:pt x="398" y="167"/>
                    </a:lnTo>
                    <a:lnTo>
                      <a:pt x="398" y="169"/>
                    </a:lnTo>
                    <a:lnTo>
                      <a:pt x="398" y="167"/>
                    </a:lnTo>
                    <a:lnTo>
                      <a:pt x="398" y="169"/>
                    </a:lnTo>
                    <a:lnTo>
                      <a:pt x="396" y="169"/>
                    </a:lnTo>
                    <a:lnTo>
                      <a:pt x="396" y="167"/>
                    </a:lnTo>
                    <a:lnTo>
                      <a:pt x="396" y="169"/>
                    </a:lnTo>
                    <a:lnTo>
                      <a:pt x="396" y="167"/>
                    </a:lnTo>
                    <a:lnTo>
                      <a:pt x="396" y="169"/>
                    </a:lnTo>
                    <a:lnTo>
                      <a:pt x="396" y="167"/>
                    </a:lnTo>
                    <a:lnTo>
                      <a:pt x="396" y="169"/>
                    </a:lnTo>
                    <a:lnTo>
                      <a:pt x="398" y="169"/>
                    </a:lnTo>
                    <a:lnTo>
                      <a:pt x="396" y="169"/>
                    </a:lnTo>
                    <a:lnTo>
                      <a:pt x="398" y="169"/>
                    </a:lnTo>
                    <a:lnTo>
                      <a:pt x="396" y="169"/>
                    </a:lnTo>
                    <a:lnTo>
                      <a:pt x="398" y="169"/>
                    </a:lnTo>
                    <a:lnTo>
                      <a:pt x="396" y="169"/>
                    </a:lnTo>
                    <a:lnTo>
                      <a:pt x="398" y="169"/>
                    </a:lnTo>
                    <a:lnTo>
                      <a:pt x="396" y="169"/>
                    </a:lnTo>
                    <a:lnTo>
                      <a:pt x="394" y="169"/>
                    </a:lnTo>
                    <a:lnTo>
                      <a:pt x="396" y="169"/>
                    </a:lnTo>
                    <a:lnTo>
                      <a:pt x="394" y="169"/>
                    </a:lnTo>
                    <a:lnTo>
                      <a:pt x="396" y="169"/>
                    </a:lnTo>
                    <a:lnTo>
                      <a:pt x="394" y="169"/>
                    </a:lnTo>
                    <a:lnTo>
                      <a:pt x="396" y="169"/>
                    </a:lnTo>
                    <a:lnTo>
                      <a:pt x="394" y="169"/>
                    </a:lnTo>
                    <a:lnTo>
                      <a:pt x="394" y="167"/>
                    </a:lnTo>
                    <a:lnTo>
                      <a:pt x="394" y="169"/>
                    </a:lnTo>
                    <a:lnTo>
                      <a:pt x="394" y="167"/>
                    </a:lnTo>
                    <a:lnTo>
                      <a:pt x="394" y="169"/>
                    </a:lnTo>
                    <a:lnTo>
                      <a:pt x="396" y="169"/>
                    </a:lnTo>
                    <a:lnTo>
                      <a:pt x="394" y="169"/>
                    </a:lnTo>
                    <a:lnTo>
                      <a:pt x="394" y="171"/>
                    </a:lnTo>
                    <a:lnTo>
                      <a:pt x="392" y="171"/>
                    </a:lnTo>
                    <a:lnTo>
                      <a:pt x="392" y="173"/>
                    </a:lnTo>
                    <a:lnTo>
                      <a:pt x="392" y="171"/>
                    </a:lnTo>
                    <a:lnTo>
                      <a:pt x="392" y="169"/>
                    </a:lnTo>
                    <a:lnTo>
                      <a:pt x="392" y="171"/>
                    </a:lnTo>
                    <a:lnTo>
                      <a:pt x="392" y="169"/>
                    </a:lnTo>
                    <a:lnTo>
                      <a:pt x="390" y="169"/>
                    </a:lnTo>
                    <a:lnTo>
                      <a:pt x="392" y="169"/>
                    </a:lnTo>
                    <a:lnTo>
                      <a:pt x="390" y="169"/>
                    </a:lnTo>
                    <a:lnTo>
                      <a:pt x="390" y="171"/>
                    </a:lnTo>
                    <a:lnTo>
                      <a:pt x="390" y="169"/>
                    </a:lnTo>
                    <a:lnTo>
                      <a:pt x="390" y="167"/>
                    </a:lnTo>
                    <a:lnTo>
                      <a:pt x="390" y="169"/>
                    </a:lnTo>
                    <a:lnTo>
                      <a:pt x="390" y="171"/>
                    </a:lnTo>
                    <a:lnTo>
                      <a:pt x="390" y="169"/>
                    </a:lnTo>
                    <a:lnTo>
                      <a:pt x="390" y="171"/>
                    </a:lnTo>
                    <a:lnTo>
                      <a:pt x="392" y="171"/>
                    </a:lnTo>
                    <a:lnTo>
                      <a:pt x="392" y="173"/>
                    </a:lnTo>
                    <a:lnTo>
                      <a:pt x="392" y="171"/>
                    </a:lnTo>
                    <a:lnTo>
                      <a:pt x="392" y="173"/>
                    </a:lnTo>
                    <a:lnTo>
                      <a:pt x="394" y="173"/>
                    </a:lnTo>
                    <a:lnTo>
                      <a:pt x="394" y="171"/>
                    </a:lnTo>
                    <a:lnTo>
                      <a:pt x="394" y="173"/>
                    </a:lnTo>
                    <a:lnTo>
                      <a:pt x="394" y="171"/>
                    </a:lnTo>
                    <a:lnTo>
                      <a:pt x="394" y="173"/>
                    </a:lnTo>
                    <a:lnTo>
                      <a:pt x="392" y="173"/>
                    </a:lnTo>
                    <a:lnTo>
                      <a:pt x="394" y="173"/>
                    </a:lnTo>
                    <a:lnTo>
                      <a:pt x="394" y="171"/>
                    </a:lnTo>
                    <a:lnTo>
                      <a:pt x="394" y="173"/>
                    </a:lnTo>
                    <a:lnTo>
                      <a:pt x="394" y="175"/>
                    </a:lnTo>
                    <a:lnTo>
                      <a:pt x="394" y="176"/>
                    </a:lnTo>
                    <a:lnTo>
                      <a:pt x="394" y="178"/>
                    </a:lnTo>
                    <a:lnTo>
                      <a:pt x="394" y="176"/>
                    </a:lnTo>
                    <a:lnTo>
                      <a:pt x="394" y="178"/>
                    </a:lnTo>
                    <a:lnTo>
                      <a:pt x="392" y="178"/>
                    </a:lnTo>
                    <a:lnTo>
                      <a:pt x="394" y="178"/>
                    </a:lnTo>
                    <a:lnTo>
                      <a:pt x="392" y="178"/>
                    </a:lnTo>
                    <a:lnTo>
                      <a:pt x="392" y="180"/>
                    </a:lnTo>
                    <a:lnTo>
                      <a:pt x="392" y="178"/>
                    </a:lnTo>
                    <a:lnTo>
                      <a:pt x="392" y="180"/>
                    </a:lnTo>
                    <a:lnTo>
                      <a:pt x="390" y="180"/>
                    </a:lnTo>
                    <a:lnTo>
                      <a:pt x="390" y="178"/>
                    </a:lnTo>
                    <a:lnTo>
                      <a:pt x="390" y="180"/>
                    </a:lnTo>
                    <a:lnTo>
                      <a:pt x="390" y="178"/>
                    </a:lnTo>
                    <a:lnTo>
                      <a:pt x="390" y="180"/>
                    </a:lnTo>
                    <a:lnTo>
                      <a:pt x="390" y="178"/>
                    </a:lnTo>
                    <a:lnTo>
                      <a:pt x="390" y="180"/>
                    </a:lnTo>
                    <a:lnTo>
                      <a:pt x="392" y="180"/>
                    </a:lnTo>
                    <a:lnTo>
                      <a:pt x="390" y="180"/>
                    </a:lnTo>
                    <a:lnTo>
                      <a:pt x="390" y="182"/>
                    </a:lnTo>
                    <a:lnTo>
                      <a:pt x="390" y="180"/>
                    </a:lnTo>
                    <a:lnTo>
                      <a:pt x="390" y="182"/>
                    </a:lnTo>
                    <a:lnTo>
                      <a:pt x="392" y="182"/>
                    </a:lnTo>
                    <a:lnTo>
                      <a:pt x="390" y="182"/>
                    </a:lnTo>
                    <a:lnTo>
                      <a:pt x="392" y="182"/>
                    </a:lnTo>
                    <a:lnTo>
                      <a:pt x="390" y="182"/>
                    </a:lnTo>
                    <a:lnTo>
                      <a:pt x="392" y="182"/>
                    </a:lnTo>
                    <a:lnTo>
                      <a:pt x="392" y="184"/>
                    </a:lnTo>
                    <a:lnTo>
                      <a:pt x="392" y="182"/>
                    </a:lnTo>
                    <a:lnTo>
                      <a:pt x="394" y="184"/>
                    </a:lnTo>
                    <a:lnTo>
                      <a:pt x="396" y="186"/>
                    </a:lnTo>
                    <a:lnTo>
                      <a:pt x="394" y="184"/>
                    </a:lnTo>
                    <a:lnTo>
                      <a:pt x="396" y="186"/>
                    </a:lnTo>
                    <a:lnTo>
                      <a:pt x="398" y="186"/>
                    </a:lnTo>
                    <a:lnTo>
                      <a:pt x="398" y="188"/>
                    </a:lnTo>
                    <a:lnTo>
                      <a:pt x="398" y="190"/>
                    </a:lnTo>
                    <a:lnTo>
                      <a:pt x="400" y="190"/>
                    </a:lnTo>
                    <a:lnTo>
                      <a:pt x="402" y="190"/>
                    </a:lnTo>
                    <a:lnTo>
                      <a:pt x="402" y="192"/>
                    </a:lnTo>
                    <a:lnTo>
                      <a:pt x="402" y="190"/>
                    </a:lnTo>
                    <a:lnTo>
                      <a:pt x="402" y="192"/>
                    </a:lnTo>
                    <a:lnTo>
                      <a:pt x="404" y="192"/>
                    </a:lnTo>
                    <a:lnTo>
                      <a:pt x="404" y="194"/>
                    </a:lnTo>
                    <a:lnTo>
                      <a:pt x="404" y="192"/>
                    </a:lnTo>
                    <a:lnTo>
                      <a:pt x="402" y="192"/>
                    </a:lnTo>
                    <a:lnTo>
                      <a:pt x="404" y="190"/>
                    </a:lnTo>
                    <a:lnTo>
                      <a:pt x="402" y="190"/>
                    </a:lnTo>
                    <a:lnTo>
                      <a:pt x="404" y="190"/>
                    </a:lnTo>
                    <a:lnTo>
                      <a:pt x="404" y="192"/>
                    </a:lnTo>
                    <a:lnTo>
                      <a:pt x="404" y="190"/>
                    </a:lnTo>
                    <a:lnTo>
                      <a:pt x="405" y="190"/>
                    </a:lnTo>
                    <a:lnTo>
                      <a:pt x="404" y="190"/>
                    </a:lnTo>
                    <a:lnTo>
                      <a:pt x="405" y="190"/>
                    </a:lnTo>
                    <a:lnTo>
                      <a:pt x="407" y="190"/>
                    </a:lnTo>
                    <a:lnTo>
                      <a:pt x="407" y="192"/>
                    </a:lnTo>
                    <a:lnTo>
                      <a:pt x="407" y="190"/>
                    </a:lnTo>
                    <a:lnTo>
                      <a:pt x="407" y="192"/>
                    </a:lnTo>
                    <a:lnTo>
                      <a:pt x="407" y="190"/>
                    </a:lnTo>
                    <a:lnTo>
                      <a:pt x="409" y="190"/>
                    </a:lnTo>
                    <a:lnTo>
                      <a:pt x="409" y="188"/>
                    </a:lnTo>
                    <a:lnTo>
                      <a:pt x="411" y="188"/>
                    </a:lnTo>
                    <a:lnTo>
                      <a:pt x="411" y="190"/>
                    </a:lnTo>
                    <a:lnTo>
                      <a:pt x="409" y="190"/>
                    </a:lnTo>
                    <a:lnTo>
                      <a:pt x="411" y="190"/>
                    </a:lnTo>
                    <a:lnTo>
                      <a:pt x="409" y="190"/>
                    </a:lnTo>
                    <a:lnTo>
                      <a:pt x="409" y="192"/>
                    </a:lnTo>
                    <a:lnTo>
                      <a:pt x="409" y="190"/>
                    </a:lnTo>
                    <a:lnTo>
                      <a:pt x="411" y="192"/>
                    </a:lnTo>
                    <a:lnTo>
                      <a:pt x="411" y="190"/>
                    </a:lnTo>
                    <a:lnTo>
                      <a:pt x="409" y="190"/>
                    </a:lnTo>
                    <a:lnTo>
                      <a:pt x="411" y="190"/>
                    </a:lnTo>
                    <a:lnTo>
                      <a:pt x="411" y="188"/>
                    </a:lnTo>
                    <a:lnTo>
                      <a:pt x="409" y="188"/>
                    </a:lnTo>
                    <a:lnTo>
                      <a:pt x="411" y="188"/>
                    </a:lnTo>
                    <a:lnTo>
                      <a:pt x="411" y="186"/>
                    </a:lnTo>
                    <a:lnTo>
                      <a:pt x="411" y="188"/>
                    </a:lnTo>
                    <a:lnTo>
                      <a:pt x="411" y="186"/>
                    </a:lnTo>
                    <a:lnTo>
                      <a:pt x="413" y="186"/>
                    </a:lnTo>
                    <a:lnTo>
                      <a:pt x="411" y="186"/>
                    </a:lnTo>
                    <a:lnTo>
                      <a:pt x="413" y="186"/>
                    </a:lnTo>
                    <a:lnTo>
                      <a:pt x="413" y="184"/>
                    </a:lnTo>
                    <a:lnTo>
                      <a:pt x="413" y="182"/>
                    </a:lnTo>
                    <a:lnTo>
                      <a:pt x="411" y="182"/>
                    </a:lnTo>
                    <a:lnTo>
                      <a:pt x="411" y="180"/>
                    </a:lnTo>
                    <a:lnTo>
                      <a:pt x="411" y="178"/>
                    </a:lnTo>
                    <a:lnTo>
                      <a:pt x="411" y="176"/>
                    </a:lnTo>
                    <a:lnTo>
                      <a:pt x="411" y="175"/>
                    </a:lnTo>
                    <a:lnTo>
                      <a:pt x="413" y="175"/>
                    </a:lnTo>
                    <a:lnTo>
                      <a:pt x="413" y="173"/>
                    </a:lnTo>
                    <a:lnTo>
                      <a:pt x="417" y="173"/>
                    </a:lnTo>
                    <a:lnTo>
                      <a:pt x="419" y="175"/>
                    </a:lnTo>
                    <a:lnTo>
                      <a:pt x="417" y="175"/>
                    </a:lnTo>
                    <a:lnTo>
                      <a:pt x="419" y="175"/>
                    </a:lnTo>
                    <a:lnTo>
                      <a:pt x="417" y="175"/>
                    </a:lnTo>
                    <a:lnTo>
                      <a:pt x="417" y="176"/>
                    </a:lnTo>
                    <a:lnTo>
                      <a:pt x="417" y="175"/>
                    </a:lnTo>
                    <a:lnTo>
                      <a:pt x="419" y="175"/>
                    </a:lnTo>
                    <a:lnTo>
                      <a:pt x="421" y="175"/>
                    </a:lnTo>
                    <a:lnTo>
                      <a:pt x="423" y="176"/>
                    </a:lnTo>
                    <a:lnTo>
                      <a:pt x="425" y="176"/>
                    </a:lnTo>
                    <a:lnTo>
                      <a:pt x="427" y="176"/>
                    </a:lnTo>
                    <a:lnTo>
                      <a:pt x="429" y="176"/>
                    </a:lnTo>
                    <a:lnTo>
                      <a:pt x="430" y="176"/>
                    </a:lnTo>
                    <a:lnTo>
                      <a:pt x="429" y="176"/>
                    </a:lnTo>
                    <a:lnTo>
                      <a:pt x="429" y="178"/>
                    </a:lnTo>
                    <a:lnTo>
                      <a:pt x="430" y="178"/>
                    </a:lnTo>
                    <a:lnTo>
                      <a:pt x="429" y="178"/>
                    </a:lnTo>
                    <a:lnTo>
                      <a:pt x="430" y="178"/>
                    </a:lnTo>
                    <a:lnTo>
                      <a:pt x="429" y="178"/>
                    </a:lnTo>
                    <a:lnTo>
                      <a:pt x="429" y="176"/>
                    </a:lnTo>
                    <a:lnTo>
                      <a:pt x="430" y="176"/>
                    </a:lnTo>
                    <a:lnTo>
                      <a:pt x="432" y="176"/>
                    </a:lnTo>
                    <a:lnTo>
                      <a:pt x="432" y="175"/>
                    </a:lnTo>
                    <a:lnTo>
                      <a:pt x="432" y="176"/>
                    </a:lnTo>
                    <a:lnTo>
                      <a:pt x="432" y="175"/>
                    </a:lnTo>
                    <a:lnTo>
                      <a:pt x="434" y="175"/>
                    </a:lnTo>
                    <a:lnTo>
                      <a:pt x="434" y="173"/>
                    </a:lnTo>
                    <a:lnTo>
                      <a:pt x="436" y="173"/>
                    </a:lnTo>
                    <a:lnTo>
                      <a:pt x="436" y="175"/>
                    </a:lnTo>
                    <a:lnTo>
                      <a:pt x="438" y="175"/>
                    </a:lnTo>
                    <a:lnTo>
                      <a:pt x="436" y="175"/>
                    </a:lnTo>
                    <a:lnTo>
                      <a:pt x="438" y="175"/>
                    </a:lnTo>
                    <a:lnTo>
                      <a:pt x="436" y="175"/>
                    </a:lnTo>
                    <a:lnTo>
                      <a:pt x="436" y="176"/>
                    </a:lnTo>
                    <a:lnTo>
                      <a:pt x="436" y="178"/>
                    </a:lnTo>
                    <a:lnTo>
                      <a:pt x="434" y="178"/>
                    </a:lnTo>
                    <a:lnTo>
                      <a:pt x="436" y="178"/>
                    </a:lnTo>
                    <a:lnTo>
                      <a:pt x="436" y="180"/>
                    </a:lnTo>
                    <a:lnTo>
                      <a:pt x="436" y="182"/>
                    </a:lnTo>
                    <a:lnTo>
                      <a:pt x="438" y="182"/>
                    </a:lnTo>
                    <a:lnTo>
                      <a:pt x="436" y="182"/>
                    </a:lnTo>
                    <a:lnTo>
                      <a:pt x="438" y="182"/>
                    </a:lnTo>
                    <a:lnTo>
                      <a:pt x="438" y="180"/>
                    </a:lnTo>
                    <a:lnTo>
                      <a:pt x="436" y="180"/>
                    </a:lnTo>
                    <a:lnTo>
                      <a:pt x="436" y="178"/>
                    </a:lnTo>
                    <a:lnTo>
                      <a:pt x="436" y="176"/>
                    </a:lnTo>
                    <a:lnTo>
                      <a:pt x="436" y="175"/>
                    </a:lnTo>
                    <a:lnTo>
                      <a:pt x="438" y="175"/>
                    </a:lnTo>
                    <a:lnTo>
                      <a:pt x="438" y="173"/>
                    </a:lnTo>
                    <a:lnTo>
                      <a:pt x="438" y="175"/>
                    </a:lnTo>
                    <a:lnTo>
                      <a:pt x="438" y="173"/>
                    </a:lnTo>
                    <a:lnTo>
                      <a:pt x="436" y="173"/>
                    </a:lnTo>
                    <a:lnTo>
                      <a:pt x="438" y="173"/>
                    </a:lnTo>
                    <a:lnTo>
                      <a:pt x="436" y="173"/>
                    </a:lnTo>
                    <a:lnTo>
                      <a:pt x="438" y="173"/>
                    </a:lnTo>
                    <a:lnTo>
                      <a:pt x="438" y="171"/>
                    </a:lnTo>
                    <a:lnTo>
                      <a:pt x="440" y="171"/>
                    </a:lnTo>
                    <a:lnTo>
                      <a:pt x="440" y="169"/>
                    </a:lnTo>
                    <a:lnTo>
                      <a:pt x="442" y="171"/>
                    </a:lnTo>
                    <a:lnTo>
                      <a:pt x="442" y="169"/>
                    </a:lnTo>
                    <a:lnTo>
                      <a:pt x="442" y="171"/>
                    </a:lnTo>
                    <a:lnTo>
                      <a:pt x="444" y="171"/>
                    </a:lnTo>
                    <a:lnTo>
                      <a:pt x="442" y="171"/>
                    </a:lnTo>
                    <a:lnTo>
                      <a:pt x="444" y="171"/>
                    </a:lnTo>
                    <a:lnTo>
                      <a:pt x="442" y="171"/>
                    </a:lnTo>
                    <a:lnTo>
                      <a:pt x="444" y="171"/>
                    </a:lnTo>
                    <a:lnTo>
                      <a:pt x="442" y="173"/>
                    </a:lnTo>
                    <a:lnTo>
                      <a:pt x="444" y="173"/>
                    </a:lnTo>
                    <a:lnTo>
                      <a:pt x="444" y="175"/>
                    </a:lnTo>
                    <a:lnTo>
                      <a:pt x="444" y="173"/>
                    </a:lnTo>
                    <a:lnTo>
                      <a:pt x="444" y="175"/>
                    </a:lnTo>
                    <a:lnTo>
                      <a:pt x="444" y="173"/>
                    </a:lnTo>
                    <a:lnTo>
                      <a:pt x="444" y="175"/>
                    </a:lnTo>
                    <a:lnTo>
                      <a:pt x="444" y="173"/>
                    </a:lnTo>
                    <a:lnTo>
                      <a:pt x="442" y="173"/>
                    </a:lnTo>
                    <a:lnTo>
                      <a:pt x="444" y="173"/>
                    </a:lnTo>
                    <a:lnTo>
                      <a:pt x="446" y="173"/>
                    </a:lnTo>
                    <a:lnTo>
                      <a:pt x="444" y="173"/>
                    </a:lnTo>
                    <a:lnTo>
                      <a:pt x="446" y="173"/>
                    </a:lnTo>
                    <a:lnTo>
                      <a:pt x="446" y="175"/>
                    </a:lnTo>
                    <a:lnTo>
                      <a:pt x="446" y="176"/>
                    </a:lnTo>
                    <a:lnTo>
                      <a:pt x="446" y="178"/>
                    </a:lnTo>
                    <a:lnTo>
                      <a:pt x="446" y="180"/>
                    </a:lnTo>
                    <a:lnTo>
                      <a:pt x="448" y="180"/>
                    </a:lnTo>
                    <a:lnTo>
                      <a:pt x="448" y="182"/>
                    </a:lnTo>
                    <a:lnTo>
                      <a:pt x="446" y="182"/>
                    </a:lnTo>
                    <a:lnTo>
                      <a:pt x="448" y="182"/>
                    </a:lnTo>
                    <a:lnTo>
                      <a:pt x="446" y="182"/>
                    </a:lnTo>
                    <a:lnTo>
                      <a:pt x="448" y="182"/>
                    </a:lnTo>
                    <a:lnTo>
                      <a:pt x="448" y="180"/>
                    </a:lnTo>
                    <a:lnTo>
                      <a:pt x="450" y="180"/>
                    </a:lnTo>
                    <a:lnTo>
                      <a:pt x="450" y="182"/>
                    </a:lnTo>
                    <a:lnTo>
                      <a:pt x="448" y="182"/>
                    </a:lnTo>
                    <a:lnTo>
                      <a:pt x="448" y="180"/>
                    </a:lnTo>
                    <a:lnTo>
                      <a:pt x="448" y="182"/>
                    </a:lnTo>
                    <a:lnTo>
                      <a:pt x="448" y="184"/>
                    </a:lnTo>
                    <a:lnTo>
                      <a:pt x="448" y="182"/>
                    </a:lnTo>
                    <a:lnTo>
                      <a:pt x="448" y="180"/>
                    </a:lnTo>
                    <a:lnTo>
                      <a:pt x="448" y="182"/>
                    </a:lnTo>
                    <a:lnTo>
                      <a:pt x="450" y="182"/>
                    </a:lnTo>
                    <a:lnTo>
                      <a:pt x="448" y="182"/>
                    </a:lnTo>
                    <a:lnTo>
                      <a:pt x="450" y="182"/>
                    </a:lnTo>
                    <a:lnTo>
                      <a:pt x="450" y="180"/>
                    </a:lnTo>
                    <a:lnTo>
                      <a:pt x="448" y="180"/>
                    </a:lnTo>
                    <a:lnTo>
                      <a:pt x="446" y="180"/>
                    </a:lnTo>
                    <a:lnTo>
                      <a:pt x="446" y="178"/>
                    </a:lnTo>
                    <a:lnTo>
                      <a:pt x="448" y="178"/>
                    </a:lnTo>
                    <a:lnTo>
                      <a:pt x="450" y="178"/>
                    </a:lnTo>
                    <a:lnTo>
                      <a:pt x="448" y="178"/>
                    </a:lnTo>
                    <a:lnTo>
                      <a:pt x="450" y="178"/>
                    </a:lnTo>
                    <a:lnTo>
                      <a:pt x="450" y="180"/>
                    </a:lnTo>
                    <a:lnTo>
                      <a:pt x="450" y="182"/>
                    </a:lnTo>
                    <a:lnTo>
                      <a:pt x="450" y="184"/>
                    </a:lnTo>
                    <a:lnTo>
                      <a:pt x="450" y="186"/>
                    </a:lnTo>
                    <a:lnTo>
                      <a:pt x="450" y="188"/>
                    </a:lnTo>
                    <a:lnTo>
                      <a:pt x="450" y="190"/>
                    </a:lnTo>
                    <a:lnTo>
                      <a:pt x="448" y="190"/>
                    </a:lnTo>
                    <a:lnTo>
                      <a:pt x="450" y="190"/>
                    </a:lnTo>
                    <a:lnTo>
                      <a:pt x="450" y="192"/>
                    </a:lnTo>
                    <a:lnTo>
                      <a:pt x="450" y="194"/>
                    </a:lnTo>
                    <a:lnTo>
                      <a:pt x="450" y="196"/>
                    </a:lnTo>
                    <a:lnTo>
                      <a:pt x="448" y="198"/>
                    </a:lnTo>
                    <a:lnTo>
                      <a:pt x="450" y="198"/>
                    </a:lnTo>
                    <a:lnTo>
                      <a:pt x="450" y="199"/>
                    </a:lnTo>
                    <a:lnTo>
                      <a:pt x="450" y="198"/>
                    </a:lnTo>
                    <a:lnTo>
                      <a:pt x="448" y="198"/>
                    </a:lnTo>
                    <a:lnTo>
                      <a:pt x="450" y="199"/>
                    </a:lnTo>
                    <a:lnTo>
                      <a:pt x="452" y="201"/>
                    </a:lnTo>
                    <a:lnTo>
                      <a:pt x="454" y="201"/>
                    </a:lnTo>
                    <a:lnTo>
                      <a:pt x="452" y="201"/>
                    </a:lnTo>
                    <a:lnTo>
                      <a:pt x="452" y="199"/>
                    </a:lnTo>
                    <a:lnTo>
                      <a:pt x="450" y="199"/>
                    </a:lnTo>
                    <a:lnTo>
                      <a:pt x="452" y="199"/>
                    </a:lnTo>
                    <a:lnTo>
                      <a:pt x="450" y="199"/>
                    </a:lnTo>
                    <a:lnTo>
                      <a:pt x="448" y="198"/>
                    </a:lnTo>
                    <a:lnTo>
                      <a:pt x="450" y="196"/>
                    </a:lnTo>
                    <a:lnTo>
                      <a:pt x="450" y="198"/>
                    </a:lnTo>
                    <a:lnTo>
                      <a:pt x="450" y="196"/>
                    </a:lnTo>
                    <a:lnTo>
                      <a:pt x="450" y="194"/>
                    </a:lnTo>
                    <a:lnTo>
                      <a:pt x="450" y="192"/>
                    </a:lnTo>
                    <a:lnTo>
                      <a:pt x="450" y="190"/>
                    </a:lnTo>
                    <a:lnTo>
                      <a:pt x="450" y="188"/>
                    </a:lnTo>
                    <a:lnTo>
                      <a:pt x="450" y="186"/>
                    </a:lnTo>
                    <a:lnTo>
                      <a:pt x="450" y="184"/>
                    </a:lnTo>
                    <a:lnTo>
                      <a:pt x="450" y="186"/>
                    </a:lnTo>
                    <a:lnTo>
                      <a:pt x="450" y="184"/>
                    </a:lnTo>
                    <a:lnTo>
                      <a:pt x="450" y="182"/>
                    </a:lnTo>
                    <a:lnTo>
                      <a:pt x="450" y="180"/>
                    </a:lnTo>
                    <a:lnTo>
                      <a:pt x="452" y="182"/>
                    </a:lnTo>
                    <a:lnTo>
                      <a:pt x="452" y="180"/>
                    </a:lnTo>
                    <a:lnTo>
                      <a:pt x="452" y="182"/>
                    </a:lnTo>
                    <a:lnTo>
                      <a:pt x="452" y="184"/>
                    </a:lnTo>
                    <a:lnTo>
                      <a:pt x="452" y="182"/>
                    </a:lnTo>
                    <a:lnTo>
                      <a:pt x="454" y="182"/>
                    </a:lnTo>
                    <a:lnTo>
                      <a:pt x="452" y="182"/>
                    </a:lnTo>
                    <a:lnTo>
                      <a:pt x="450" y="180"/>
                    </a:lnTo>
                    <a:lnTo>
                      <a:pt x="450" y="178"/>
                    </a:lnTo>
                    <a:lnTo>
                      <a:pt x="448" y="178"/>
                    </a:lnTo>
                    <a:lnTo>
                      <a:pt x="448" y="176"/>
                    </a:lnTo>
                    <a:lnTo>
                      <a:pt x="446" y="176"/>
                    </a:lnTo>
                    <a:lnTo>
                      <a:pt x="448" y="176"/>
                    </a:lnTo>
                    <a:lnTo>
                      <a:pt x="448" y="175"/>
                    </a:lnTo>
                    <a:lnTo>
                      <a:pt x="446" y="173"/>
                    </a:lnTo>
                    <a:lnTo>
                      <a:pt x="448" y="173"/>
                    </a:lnTo>
                    <a:lnTo>
                      <a:pt x="450" y="175"/>
                    </a:lnTo>
                    <a:lnTo>
                      <a:pt x="450" y="173"/>
                    </a:lnTo>
                    <a:lnTo>
                      <a:pt x="452" y="173"/>
                    </a:lnTo>
                    <a:lnTo>
                      <a:pt x="450" y="173"/>
                    </a:lnTo>
                    <a:lnTo>
                      <a:pt x="452" y="173"/>
                    </a:lnTo>
                    <a:lnTo>
                      <a:pt x="450" y="173"/>
                    </a:lnTo>
                    <a:lnTo>
                      <a:pt x="450" y="175"/>
                    </a:lnTo>
                    <a:lnTo>
                      <a:pt x="448" y="173"/>
                    </a:lnTo>
                    <a:lnTo>
                      <a:pt x="446" y="173"/>
                    </a:lnTo>
                    <a:lnTo>
                      <a:pt x="448" y="173"/>
                    </a:lnTo>
                    <a:lnTo>
                      <a:pt x="448" y="171"/>
                    </a:lnTo>
                    <a:lnTo>
                      <a:pt x="446" y="171"/>
                    </a:lnTo>
                    <a:lnTo>
                      <a:pt x="448" y="171"/>
                    </a:lnTo>
                    <a:lnTo>
                      <a:pt x="446" y="171"/>
                    </a:lnTo>
                    <a:lnTo>
                      <a:pt x="444" y="171"/>
                    </a:lnTo>
                    <a:lnTo>
                      <a:pt x="444" y="169"/>
                    </a:lnTo>
                    <a:lnTo>
                      <a:pt x="444" y="167"/>
                    </a:lnTo>
                    <a:lnTo>
                      <a:pt x="446" y="167"/>
                    </a:lnTo>
                    <a:lnTo>
                      <a:pt x="446" y="165"/>
                    </a:lnTo>
                    <a:lnTo>
                      <a:pt x="446" y="167"/>
                    </a:lnTo>
                    <a:lnTo>
                      <a:pt x="446" y="165"/>
                    </a:lnTo>
                    <a:lnTo>
                      <a:pt x="448" y="167"/>
                    </a:lnTo>
                    <a:lnTo>
                      <a:pt x="448" y="165"/>
                    </a:lnTo>
                    <a:lnTo>
                      <a:pt x="446" y="165"/>
                    </a:lnTo>
                    <a:lnTo>
                      <a:pt x="448" y="165"/>
                    </a:lnTo>
                    <a:lnTo>
                      <a:pt x="448" y="167"/>
                    </a:lnTo>
                    <a:lnTo>
                      <a:pt x="450" y="167"/>
                    </a:lnTo>
                    <a:lnTo>
                      <a:pt x="450" y="169"/>
                    </a:lnTo>
                    <a:lnTo>
                      <a:pt x="450" y="167"/>
                    </a:lnTo>
                    <a:lnTo>
                      <a:pt x="448" y="167"/>
                    </a:lnTo>
                    <a:lnTo>
                      <a:pt x="448" y="165"/>
                    </a:lnTo>
                    <a:lnTo>
                      <a:pt x="446" y="165"/>
                    </a:lnTo>
                    <a:lnTo>
                      <a:pt x="446" y="163"/>
                    </a:lnTo>
                    <a:lnTo>
                      <a:pt x="446" y="165"/>
                    </a:lnTo>
                    <a:lnTo>
                      <a:pt x="446" y="163"/>
                    </a:lnTo>
                    <a:lnTo>
                      <a:pt x="446" y="161"/>
                    </a:lnTo>
                    <a:lnTo>
                      <a:pt x="448" y="161"/>
                    </a:lnTo>
                    <a:lnTo>
                      <a:pt x="446" y="161"/>
                    </a:lnTo>
                    <a:lnTo>
                      <a:pt x="448" y="161"/>
                    </a:lnTo>
                    <a:lnTo>
                      <a:pt x="446" y="159"/>
                    </a:lnTo>
                    <a:lnTo>
                      <a:pt x="448" y="159"/>
                    </a:lnTo>
                    <a:lnTo>
                      <a:pt x="446" y="159"/>
                    </a:lnTo>
                    <a:lnTo>
                      <a:pt x="446" y="157"/>
                    </a:lnTo>
                    <a:lnTo>
                      <a:pt x="446" y="155"/>
                    </a:lnTo>
                    <a:lnTo>
                      <a:pt x="446" y="153"/>
                    </a:lnTo>
                    <a:lnTo>
                      <a:pt x="444" y="153"/>
                    </a:lnTo>
                    <a:lnTo>
                      <a:pt x="444" y="151"/>
                    </a:lnTo>
                    <a:lnTo>
                      <a:pt x="444" y="153"/>
                    </a:lnTo>
                    <a:lnTo>
                      <a:pt x="444" y="151"/>
                    </a:lnTo>
                    <a:lnTo>
                      <a:pt x="444" y="153"/>
                    </a:lnTo>
                    <a:lnTo>
                      <a:pt x="444" y="155"/>
                    </a:lnTo>
                    <a:lnTo>
                      <a:pt x="444" y="153"/>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5"/>
                    </a:lnTo>
                    <a:lnTo>
                      <a:pt x="444" y="155"/>
                    </a:lnTo>
                    <a:lnTo>
                      <a:pt x="442" y="157"/>
                    </a:lnTo>
                    <a:lnTo>
                      <a:pt x="442" y="155"/>
                    </a:lnTo>
                    <a:lnTo>
                      <a:pt x="442" y="157"/>
                    </a:lnTo>
                    <a:lnTo>
                      <a:pt x="442" y="155"/>
                    </a:lnTo>
                    <a:lnTo>
                      <a:pt x="442" y="157"/>
                    </a:lnTo>
                    <a:lnTo>
                      <a:pt x="442" y="155"/>
                    </a:lnTo>
                    <a:lnTo>
                      <a:pt x="442" y="153"/>
                    </a:lnTo>
                    <a:lnTo>
                      <a:pt x="442" y="151"/>
                    </a:lnTo>
                    <a:lnTo>
                      <a:pt x="442" y="150"/>
                    </a:lnTo>
                    <a:lnTo>
                      <a:pt x="444" y="150"/>
                    </a:lnTo>
                    <a:lnTo>
                      <a:pt x="444" y="151"/>
                    </a:lnTo>
                    <a:lnTo>
                      <a:pt x="444" y="150"/>
                    </a:lnTo>
                    <a:lnTo>
                      <a:pt x="442" y="150"/>
                    </a:lnTo>
                    <a:lnTo>
                      <a:pt x="444" y="150"/>
                    </a:lnTo>
                    <a:lnTo>
                      <a:pt x="444" y="148"/>
                    </a:lnTo>
                    <a:lnTo>
                      <a:pt x="442" y="146"/>
                    </a:lnTo>
                    <a:lnTo>
                      <a:pt x="442" y="144"/>
                    </a:lnTo>
                    <a:lnTo>
                      <a:pt x="442" y="142"/>
                    </a:lnTo>
                    <a:lnTo>
                      <a:pt x="442" y="140"/>
                    </a:lnTo>
                    <a:lnTo>
                      <a:pt x="442" y="138"/>
                    </a:lnTo>
                    <a:lnTo>
                      <a:pt x="440" y="138"/>
                    </a:lnTo>
                    <a:lnTo>
                      <a:pt x="440" y="136"/>
                    </a:lnTo>
                    <a:lnTo>
                      <a:pt x="440" y="138"/>
                    </a:lnTo>
                    <a:lnTo>
                      <a:pt x="440" y="136"/>
                    </a:lnTo>
                    <a:lnTo>
                      <a:pt x="440" y="134"/>
                    </a:lnTo>
                    <a:lnTo>
                      <a:pt x="440" y="132"/>
                    </a:lnTo>
                    <a:lnTo>
                      <a:pt x="440" y="130"/>
                    </a:lnTo>
                    <a:lnTo>
                      <a:pt x="438" y="130"/>
                    </a:lnTo>
                    <a:lnTo>
                      <a:pt x="440" y="130"/>
                    </a:lnTo>
                    <a:lnTo>
                      <a:pt x="440" y="128"/>
                    </a:lnTo>
                    <a:lnTo>
                      <a:pt x="440" y="126"/>
                    </a:lnTo>
                    <a:lnTo>
                      <a:pt x="440" y="125"/>
                    </a:lnTo>
                    <a:lnTo>
                      <a:pt x="442" y="125"/>
                    </a:lnTo>
                    <a:lnTo>
                      <a:pt x="442" y="123"/>
                    </a:lnTo>
                    <a:lnTo>
                      <a:pt x="444" y="123"/>
                    </a:lnTo>
                    <a:lnTo>
                      <a:pt x="446" y="123"/>
                    </a:lnTo>
                    <a:lnTo>
                      <a:pt x="448" y="125"/>
                    </a:lnTo>
                    <a:lnTo>
                      <a:pt x="450" y="125"/>
                    </a:lnTo>
                    <a:lnTo>
                      <a:pt x="452" y="125"/>
                    </a:lnTo>
                    <a:lnTo>
                      <a:pt x="452" y="126"/>
                    </a:lnTo>
                    <a:lnTo>
                      <a:pt x="454" y="126"/>
                    </a:lnTo>
                    <a:lnTo>
                      <a:pt x="454" y="128"/>
                    </a:lnTo>
                    <a:lnTo>
                      <a:pt x="452" y="128"/>
                    </a:lnTo>
                    <a:lnTo>
                      <a:pt x="452" y="126"/>
                    </a:lnTo>
                    <a:lnTo>
                      <a:pt x="452" y="128"/>
                    </a:lnTo>
                    <a:lnTo>
                      <a:pt x="454" y="128"/>
                    </a:lnTo>
                    <a:lnTo>
                      <a:pt x="454" y="130"/>
                    </a:lnTo>
                    <a:lnTo>
                      <a:pt x="454" y="132"/>
                    </a:lnTo>
                    <a:lnTo>
                      <a:pt x="455" y="132"/>
                    </a:lnTo>
                    <a:lnTo>
                      <a:pt x="455" y="134"/>
                    </a:lnTo>
                    <a:lnTo>
                      <a:pt x="455" y="136"/>
                    </a:lnTo>
                    <a:lnTo>
                      <a:pt x="457" y="136"/>
                    </a:lnTo>
                    <a:lnTo>
                      <a:pt x="455" y="136"/>
                    </a:lnTo>
                    <a:lnTo>
                      <a:pt x="457" y="136"/>
                    </a:lnTo>
                    <a:lnTo>
                      <a:pt x="455" y="136"/>
                    </a:lnTo>
                    <a:lnTo>
                      <a:pt x="457" y="136"/>
                    </a:lnTo>
                    <a:lnTo>
                      <a:pt x="457" y="138"/>
                    </a:lnTo>
                    <a:lnTo>
                      <a:pt x="459" y="138"/>
                    </a:lnTo>
                    <a:lnTo>
                      <a:pt x="459" y="140"/>
                    </a:lnTo>
                    <a:lnTo>
                      <a:pt x="461" y="140"/>
                    </a:lnTo>
                    <a:lnTo>
                      <a:pt x="463" y="142"/>
                    </a:lnTo>
                    <a:lnTo>
                      <a:pt x="465" y="144"/>
                    </a:lnTo>
                    <a:lnTo>
                      <a:pt x="463" y="144"/>
                    </a:lnTo>
                    <a:lnTo>
                      <a:pt x="465" y="144"/>
                    </a:lnTo>
                    <a:lnTo>
                      <a:pt x="467" y="144"/>
                    </a:lnTo>
                    <a:lnTo>
                      <a:pt x="467" y="146"/>
                    </a:lnTo>
                    <a:lnTo>
                      <a:pt x="465" y="146"/>
                    </a:lnTo>
                    <a:lnTo>
                      <a:pt x="465" y="144"/>
                    </a:lnTo>
                    <a:lnTo>
                      <a:pt x="465" y="146"/>
                    </a:lnTo>
                    <a:lnTo>
                      <a:pt x="465" y="148"/>
                    </a:lnTo>
                    <a:lnTo>
                      <a:pt x="463" y="148"/>
                    </a:lnTo>
                    <a:lnTo>
                      <a:pt x="463" y="150"/>
                    </a:lnTo>
                    <a:lnTo>
                      <a:pt x="465" y="150"/>
                    </a:lnTo>
                    <a:lnTo>
                      <a:pt x="463" y="150"/>
                    </a:lnTo>
                    <a:lnTo>
                      <a:pt x="465" y="150"/>
                    </a:lnTo>
                    <a:lnTo>
                      <a:pt x="463" y="150"/>
                    </a:lnTo>
                    <a:lnTo>
                      <a:pt x="465" y="150"/>
                    </a:lnTo>
                    <a:lnTo>
                      <a:pt x="465" y="151"/>
                    </a:lnTo>
                    <a:lnTo>
                      <a:pt x="463" y="151"/>
                    </a:lnTo>
                    <a:lnTo>
                      <a:pt x="463" y="153"/>
                    </a:lnTo>
                    <a:lnTo>
                      <a:pt x="465" y="153"/>
                    </a:lnTo>
                    <a:lnTo>
                      <a:pt x="465" y="155"/>
                    </a:lnTo>
                    <a:lnTo>
                      <a:pt x="467" y="155"/>
                    </a:lnTo>
                    <a:lnTo>
                      <a:pt x="469" y="155"/>
                    </a:lnTo>
                    <a:lnTo>
                      <a:pt x="471" y="155"/>
                    </a:lnTo>
                    <a:lnTo>
                      <a:pt x="471" y="157"/>
                    </a:lnTo>
                    <a:lnTo>
                      <a:pt x="471" y="155"/>
                    </a:lnTo>
                    <a:lnTo>
                      <a:pt x="471" y="157"/>
                    </a:lnTo>
                    <a:lnTo>
                      <a:pt x="473" y="157"/>
                    </a:lnTo>
                    <a:lnTo>
                      <a:pt x="471" y="157"/>
                    </a:lnTo>
                    <a:lnTo>
                      <a:pt x="473" y="157"/>
                    </a:lnTo>
                    <a:lnTo>
                      <a:pt x="471" y="157"/>
                    </a:lnTo>
                    <a:lnTo>
                      <a:pt x="471" y="159"/>
                    </a:lnTo>
                    <a:lnTo>
                      <a:pt x="471" y="161"/>
                    </a:lnTo>
                    <a:lnTo>
                      <a:pt x="473" y="161"/>
                    </a:lnTo>
                    <a:lnTo>
                      <a:pt x="473" y="163"/>
                    </a:lnTo>
                    <a:lnTo>
                      <a:pt x="473" y="161"/>
                    </a:lnTo>
                    <a:lnTo>
                      <a:pt x="471" y="161"/>
                    </a:lnTo>
                    <a:lnTo>
                      <a:pt x="471" y="159"/>
                    </a:lnTo>
                    <a:lnTo>
                      <a:pt x="471" y="157"/>
                    </a:lnTo>
                    <a:lnTo>
                      <a:pt x="473" y="157"/>
                    </a:lnTo>
                    <a:lnTo>
                      <a:pt x="471" y="157"/>
                    </a:lnTo>
                    <a:lnTo>
                      <a:pt x="471" y="155"/>
                    </a:lnTo>
                    <a:lnTo>
                      <a:pt x="471" y="157"/>
                    </a:lnTo>
                    <a:lnTo>
                      <a:pt x="471" y="155"/>
                    </a:lnTo>
                    <a:lnTo>
                      <a:pt x="469" y="155"/>
                    </a:lnTo>
                    <a:lnTo>
                      <a:pt x="467" y="155"/>
                    </a:lnTo>
                    <a:lnTo>
                      <a:pt x="465" y="155"/>
                    </a:lnTo>
                    <a:lnTo>
                      <a:pt x="465" y="153"/>
                    </a:lnTo>
                    <a:lnTo>
                      <a:pt x="463" y="153"/>
                    </a:lnTo>
                    <a:lnTo>
                      <a:pt x="463" y="151"/>
                    </a:lnTo>
                    <a:lnTo>
                      <a:pt x="465" y="151"/>
                    </a:lnTo>
                    <a:lnTo>
                      <a:pt x="465" y="150"/>
                    </a:lnTo>
                    <a:lnTo>
                      <a:pt x="463" y="150"/>
                    </a:lnTo>
                    <a:lnTo>
                      <a:pt x="463" y="148"/>
                    </a:lnTo>
                    <a:lnTo>
                      <a:pt x="465" y="148"/>
                    </a:lnTo>
                    <a:lnTo>
                      <a:pt x="465" y="146"/>
                    </a:lnTo>
                    <a:lnTo>
                      <a:pt x="465" y="144"/>
                    </a:lnTo>
                    <a:lnTo>
                      <a:pt x="465" y="146"/>
                    </a:lnTo>
                    <a:lnTo>
                      <a:pt x="467" y="146"/>
                    </a:lnTo>
                    <a:lnTo>
                      <a:pt x="467" y="144"/>
                    </a:lnTo>
                    <a:lnTo>
                      <a:pt x="465" y="144"/>
                    </a:lnTo>
                    <a:lnTo>
                      <a:pt x="463" y="142"/>
                    </a:lnTo>
                    <a:lnTo>
                      <a:pt x="465" y="142"/>
                    </a:lnTo>
                    <a:lnTo>
                      <a:pt x="463" y="142"/>
                    </a:lnTo>
                    <a:lnTo>
                      <a:pt x="463" y="140"/>
                    </a:lnTo>
                    <a:lnTo>
                      <a:pt x="461" y="140"/>
                    </a:lnTo>
                    <a:lnTo>
                      <a:pt x="459" y="140"/>
                    </a:lnTo>
                    <a:lnTo>
                      <a:pt x="459" y="138"/>
                    </a:lnTo>
                    <a:lnTo>
                      <a:pt x="459" y="140"/>
                    </a:lnTo>
                    <a:lnTo>
                      <a:pt x="459" y="138"/>
                    </a:lnTo>
                    <a:lnTo>
                      <a:pt x="457" y="138"/>
                    </a:lnTo>
                    <a:lnTo>
                      <a:pt x="457" y="136"/>
                    </a:lnTo>
                    <a:lnTo>
                      <a:pt x="455" y="136"/>
                    </a:lnTo>
                    <a:lnTo>
                      <a:pt x="457" y="136"/>
                    </a:lnTo>
                    <a:lnTo>
                      <a:pt x="455" y="136"/>
                    </a:lnTo>
                    <a:lnTo>
                      <a:pt x="457" y="136"/>
                    </a:lnTo>
                    <a:lnTo>
                      <a:pt x="455" y="136"/>
                    </a:lnTo>
                    <a:lnTo>
                      <a:pt x="455" y="134"/>
                    </a:lnTo>
                    <a:lnTo>
                      <a:pt x="455" y="132"/>
                    </a:lnTo>
                    <a:lnTo>
                      <a:pt x="454" y="132"/>
                    </a:lnTo>
                    <a:lnTo>
                      <a:pt x="454" y="130"/>
                    </a:lnTo>
                    <a:lnTo>
                      <a:pt x="454" y="128"/>
                    </a:lnTo>
                    <a:lnTo>
                      <a:pt x="454" y="126"/>
                    </a:lnTo>
                    <a:lnTo>
                      <a:pt x="454" y="125"/>
                    </a:lnTo>
                    <a:lnTo>
                      <a:pt x="454" y="123"/>
                    </a:lnTo>
                    <a:lnTo>
                      <a:pt x="455" y="123"/>
                    </a:lnTo>
                    <a:lnTo>
                      <a:pt x="455" y="121"/>
                    </a:lnTo>
                    <a:lnTo>
                      <a:pt x="455" y="119"/>
                    </a:lnTo>
                    <a:lnTo>
                      <a:pt x="455" y="117"/>
                    </a:lnTo>
                    <a:lnTo>
                      <a:pt x="457" y="117"/>
                    </a:lnTo>
                    <a:lnTo>
                      <a:pt x="459" y="117"/>
                    </a:lnTo>
                    <a:lnTo>
                      <a:pt x="461" y="117"/>
                    </a:lnTo>
                    <a:lnTo>
                      <a:pt x="463" y="117"/>
                    </a:lnTo>
                    <a:lnTo>
                      <a:pt x="463" y="119"/>
                    </a:lnTo>
                    <a:lnTo>
                      <a:pt x="465" y="119"/>
                    </a:lnTo>
                    <a:lnTo>
                      <a:pt x="465" y="117"/>
                    </a:lnTo>
                    <a:lnTo>
                      <a:pt x="465" y="119"/>
                    </a:lnTo>
                    <a:lnTo>
                      <a:pt x="467" y="119"/>
                    </a:lnTo>
                    <a:lnTo>
                      <a:pt x="465" y="119"/>
                    </a:lnTo>
                    <a:lnTo>
                      <a:pt x="465" y="121"/>
                    </a:lnTo>
                    <a:lnTo>
                      <a:pt x="465" y="119"/>
                    </a:lnTo>
                    <a:lnTo>
                      <a:pt x="467" y="121"/>
                    </a:lnTo>
                    <a:lnTo>
                      <a:pt x="469" y="121"/>
                    </a:lnTo>
                    <a:lnTo>
                      <a:pt x="469" y="123"/>
                    </a:lnTo>
                    <a:lnTo>
                      <a:pt x="471" y="123"/>
                    </a:lnTo>
                    <a:lnTo>
                      <a:pt x="469" y="123"/>
                    </a:lnTo>
                    <a:lnTo>
                      <a:pt x="471" y="123"/>
                    </a:lnTo>
                    <a:lnTo>
                      <a:pt x="471" y="125"/>
                    </a:lnTo>
                    <a:lnTo>
                      <a:pt x="473" y="126"/>
                    </a:lnTo>
                    <a:lnTo>
                      <a:pt x="475" y="126"/>
                    </a:lnTo>
                    <a:lnTo>
                      <a:pt x="477" y="126"/>
                    </a:lnTo>
                    <a:lnTo>
                      <a:pt x="475" y="126"/>
                    </a:lnTo>
                    <a:lnTo>
                      <a:pt x="473" y="126"/>
                    </a:lnTo>
                    <a:lnTo>
                      <a:pt x="475" y="126"/>
                    </a:lnTo>
                    <a:lnTo>
                      <a:pt x="475" y="128"/>
                    </a:lnTo>
                    <a:lnTo>
                      <a:pt x="475" y="126"/>
                    </a:lnTo>
                    <a:lnTo>
                      <a:pt x="475" y="128"/>
                    </a:lnTo>
                    <a:lnTo>
                      <a:pt x="475" y="126"/>
                    </a:lnTo>
                    <a:lnTo>
                      <a:pt x="475" y="128"/>
                    </a:lnTo>
                    <a:lnTo>
                      <a:pt x="475" y="126"/>
                    </a:lnTo>
                    <a:lnTo>
                      <a:pt x="475" y="128"/>
                    </a:lnTo>
                    <a:lnTo>
                      <a:pt x="475" y="126"/>
                    </a:lnTo>
                    <a:lnTo>
                      <a:pt x="475" y="128"/>
                    </a:lnTo>
                    <a:lnTo>
                      <a:pt x="475" y="126"/>
                    </a:lnTo>
                    <a:lnTo>
                      <a:pt x="475" y="128"/>
                    </a:lnTo>
                    <a:lnTo>
                      <a:pt x="475" y="126"/>
                    </a:lnTo>
                    <a:lnTo>
                      <a:pt x="477" y="128"/>
                    </a:lnTo>
                    <a:close/>
                    <a:moveTo>
                      <a:pt x="465" y="121"/>
                    </a:moveTo>
                    <a:lnTo>
                      <a:pt x="465" y="119"/>
                    </a:lnTo>
                    <a:lnTo>
                      <a:pt x="465" y="121"/>
                    </a:lnTo>
                    <a:close/>
                    <a:moveTo>
                      <a:pt x="252" y="161"/>
                    </a:moveTo>
                    <a:lnTo>
                      <a:pt x="254" y="161"/>
                    </a:lnTo>
                    <a:lnTo>
                      <a:pt x="252" y="161"/>
                    </a:lnTo>
                    <a:close/>
                    <a:moveTo>
                      <a:pt x="238" y="163"/>
                    </a:moveTo>
                    <a:lnTo>
                      <a:pt x="240" y="163"/>
                    </a:lnTo>
                    <a:lnTo>
                      <a:pt x="238" y="163"/>
                    </a:lnTo>
                    <a:close/>
                    <a:moveTo>
                      <a:pt x="238" y="163"/>
                    </a:moveTo>
                    <a:lnTo>
                      <a:pt x="240" y="163"/>
                    </a:lnTo>
                    <a:lnTo>
                      <a:pt x="238" y="16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4" name="Freeform 71"/>
              <p:cNvSpPr>
                <a:spLocks noEditPoints="1"/>
              </p:cNvSpPr>
              <p:nvPr/>
            </p:nvSpPr>
            <p:spPr bwMode="auto">
              <a:xfrm>
                <a:off x="1831748" y="1473499"/>
                <a:ext cx="898167" cy="247770"/>
              </a:xfrm>
              <a:custGeom>
                <a:avLst/>
                <a:gdLst>
                  <a:gd name="T0" fmla="*/ 50 w 522"/>
                  <a:gd name="T1" fmla="*/ 96 h 144"/>
                  <a:gd name="T2" fmla="*/ 76 w 522"/>
                  <a:gd name="T3" fmla="*/ 102 h 144"/>
                  <a:gd name="T4" fmla="*/ 9 w 522"/>
                  <a:gd name="T5" fmla="*/ 54 h 144"/>
                  <a:gd name="T6" fmla="*/ 192 w 522"/>
                  <a:gd name="T7" fmla="*/ 136 h 144"/>
                  <a:gd name="T8" fmla="*/ 186 w 522"/>
                  <a:gd name="T9" fmla="*/ 134 h 144"/>
                  <a:gd name="T10" fmla="*/ 188 w 522"/>
                  <a:gd name="T11" fmla="*/ 131 h 144"/>
                  <a:gd name="T12" fmla="*/ 196 w 522"/>
                  <a:gd name="T13" fmla="*/ 125 h 144"/>
                  <a:gd name="T14" fmla="*/ 196 w 522"/>
                  <a:gd name="T15" fmla="*/ 119 h 144"/>
                  <a:gd name="T16" fmla="*/ 207 w 522"/>
                  <a:gd name="T17" fmla="*/ 115 h 144"/>
                  <a:gd name="T18" fmla="*/ 221 w 522"/>
                  <a:gd name="T19" fmla="*/ 121 h 144"/>
                  <a:gd name="T20" fmla="*/ 205 w 522"/>
                  <a:gd name="T21" fmla="*/ 119 h 144"/>
                  <a:gd name="T22" fmla="*/ 207 w 522"/>
                  <a:gd name="T23" fmla="*/ 115 h 144"/>
                  <a:gd name="T24" fmla="*/ 222 w 522"/>
                  <a:gd name="T25" fmla="*/ 121 h 144"/>
                  <a:gd name="T26" fmla="*/ 217 w 522"/>
                  <a:gd name="T27" fmla="*/ 113 h 144"/>
                  <a:gd name="T28" fmla="*/ 228 w 522"/>
                  <a:gd name="T29" fmla="*/ 115 h 144"/>
                  <a:gd name="T30" fmla="*/ 238 w 522"/>
                  <a:gd name="T31" fmla="*/ 117 h 144"/>
                  <a:gd name="T32" fmla="*/ 232 w 522"/>
                  <a:gd name="T33" fmla="*/ 113 h 144"/>
                  <a:gd name="T34" fmla="*/ 244 w 522"/>
                  <a:gd name="T35" fmla="*/ 113 h 144"/>
                  <a:gd name="T36" fmla="*/ 234 w 522"/>
                  <a:gd name="T37" fmla="*/ 109 h 144"/>
                  <a:gd name="T38" fmla="*/ 228 w 522"/>
                  <a:gd name="T39" fmla="*/ 102 h 144"/>
                  <a:gd name="T40" fmla="*/ 230 w 522"/>
                  <a:gd name="T41" fmla="*/ 102 h 144"/>
                  <a:gd name="T42" fmla="*/ 244 w 522"/>
                  <a:gd name="T43" fmla="*/ 104 h 144"/>
                  <a:gd name="T44" fmla="*/ 238 w 522"/>
                  <a:gd name="T45" fmla="*/ 94 h 144"/>
                  <a:gd name="T46" fmla="*/ 253 w 522"/>
                  <a:gd name="T47" fmla="*/ 100 h 144"/>
                  <a:gd name="T48" fmla="*/ 328 w 522"/>
                  <a:gd name="T49" fmla="*/ 131 h 144"/>
                  <a:gd name="T50" fmla="*/ 245 w 522"/>
                  <a:gd name="T51" fmla="*/ 92 h 144"/>
                  <a:gd name="T52" fmla="*/ 259 w 522"/>
                  <a:gd name="T53" fmla="*/ 100 h 144"/>
                  <a:gd name="T54" fmla="*/ 88 w 522"/>
                  <a:gd name="T55" fmla="*/ 11 h 144"/>
                  <a:gd name="T56" fmla="*/ 90 w 522"/>
                  <a:gd name="T57" fmla="*/ 9 h 144"/>
                  <a:gd name="T58" fmla="*/ 86 w 522"/>
                  <a:gd name="T59" fmla="*/ 9 h 144"/>
                  <a:gd name="T60" fmla="*/ 255 w 522"/>
                  <a:gd name="T61" fmla="*/ 92 h 144"/>
                  <a:gd name="T62" fmla="*/ 86 w 522"/>
                  <a:gd name="T63" fmla="*/ 4 h 144"/>
                  <a:gd name="T64" fmla="*/ 205 w 522"/>
                  <a:gd name="T65" fmla="*/ 63 h 144"/>
                  <a:gd name="T66" fmla="*/ 196 w 522"/>
                  <a:gd name="T67" fmla="*/ 57 h 144"/>
                  <a:gd name="T68" fmla="*/ 194 w 522"/>
                  <a:gd name="T69" fmla="*/ 56 h 144"/>
                  <a:gd name="T70" fmla="*/ 222 w 522"/>
                  <a:gd name="T71" fmla="*/ 65 h 144"/>
                  <a:gd name="T72" fmla="*/ 338 w 522"/>
                  <a:gd name="T73" fmla="*/ 106 h 144"/>
                  <a:gd name="T74" fmla="*/ 171 w 522"/>
                  <a:gd name="T75" fmla="*/ 29 h 144"/>
                  <a:gd name="T76" fmla="*/ 148 w 522"/>
                  <a:gd name="T77" fmla="*/ 11 h 144"/>
                  <a:gd name="T78" fmla="*/ 343 w 522"/>
                  <a:gd name="T79" fmla="*/ 106 h 144"/>
                  <a:gd name="T80" fmla="*/ 326 w 522"/>
                  <a:gd name="T81" fmla="*/ 92 h 144"/>
                  <a:gd name="T82" fmla="*/ 276 w 522"/>
                  <a:gd name="T83" fmla="*/ 69 h 144"/>
                  <a:gd name="T84" fmla="*/ 432 w 522"/>
                  <a:gd name="T85" fmla="*/ 131 h 144"/>
                  <a:gd name="T86" fmla="*/ 430 w 522"/>
                  <a:gd name="T87" fmla="*/ 127 h 144"/>
                  <a:gd name="T88" fmla="*/ 178 w 522"/>
                  <a:gd name="T89" fmla="*/ 19 h 144"/>
                  <a:gd name="T90" fmla="*/ 305 w 522"/>
                  <a:gd name="T91" fmla="*/ 75 h 144"/>
                  <a:gd name="T92" fmla="*/ 286 w 522"/>
                  <a:gd name="T93" fmla="*/ 65 h 144"/>
                  <a:gd name="T94" fmla="*/ 192 w 522"/>
                  <a:gd name="T95" fmla="*/ 19 h 144"/>
                  <a:gd name="T96" fmla="*/ 186 w 522"/>
                  <a:gd name="T97" fmla="*/ 15 h 144"/>
                  <a:gd name="T98" fmla="*/ 188 w 522"/>
                  <a:gd name="T99" fmla="*/ 15 h 144"/>
                  <a:gd name="T100" fmla="*/ 397 w 522"/>
                  <a:gd name="T101" fmla="*/ 106 h 144"/>
                  <a:gd name="T102" fmla="*/ 522 w 522"/>
                  <a:gd name="T103" fmla="*/ 140 h 144"/>
                  <a:gd name="T104" fmla="*/ 397 w 522"/>
                  <a:gd name="T105" fmla="*/ 100 h 144"/>
                  <a:gd name="T106" fmla="*/ 395 w 522"/>
                  <a:gd name="T107" fmla="*/ 92 h 144"/>
                  <a:gd name="T108" fmla="*/ 390 w 522"/>
                  <a:gd name="T109" fmla="*/ 81 h 144"/>
                  <a:gd name="T110" fmla="*/ 440 w 522"/>
                  <a:gd name="T111" fmla="*/ 81 h 144"/>
                  <a:gd name="T112" fmla="*/ 415 w 522"/>
                  <a:gd name="T113" fmla="*/ 61 h 144"/>
                  <a:gd name="T114" fmla="*/ 415 w 522"/>
                  <a:gd name="T115" fmla="*/ 61 h 144"/>
                  <a:gd name="T116" fmla="*/ 411 w 522"/>
                  <a:gd name="T117" fmla="*/ 2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2" h="144">
                    <a:moveTo>
                      <a:pt x="0" y="77"/>
                    </a:moveTo>
                    <a:lnTo>
                      <a:pt x="0" y="79"/>
                    </a:lnTo>
                    <a:lnTo>
                      <a:pt x="0" y="77"/>
                    </a:lnTo>
                    <a:close/>
                    <a:moveTo>
                      <a:pt x="44" y="96"/>
                    </a:moveTo>
                    <a:lnTo>
                      <a:pt x="44" y="94"/>
                    </a:lnTo>
                    <a:lnTo>
                      <a:pt x="44" y="96"/>
                    </a:lnTo>
                    <a:close/>
                    <a:moveTo>
                      <a:pt x="46" y="96"/>
                    </a:moveTo>
                    <a:lnTo>
                      <a:pt x="46" y="94"/>
                    </a:lnTo>
                    <a:lnTo>
                      <a:pt x="46" y="96"/>
                    </a:lnTo>
                    <a:close/>
                    <a:moveTo>
                      <a:pt x="48" y="96"/>
                    </a:moveTo>
                    <a:lnTo>
                      <a:pt x="46" y="96"/>
                    </a:lnTo>
                    <a:lnTo>
                      <a:pt x="48" y="96"/>
                    </a:lnTo>
                    <a:close/>
                    <a:moveTo>
                      <a:pt x="50" y="96"/>
                    </a:moveTo>
                    <a:lnTo>
                      <a:pt x="50" y="94"/>
                    </a:lnTo>
                    <a:lnTo>
                      <a:pt x="48" y="94"/>
                    </a:lnTo>
                    <a:lnTo>
                      <a:pt x="50" y="94"/>
                    </a:lnTo>
                    <a:lnTo>
                      <a:pt x="50" y="96"/>
                    </a:lnTo>
                    <a:close/>
                    <a:moveTo>
                      <a:pt x="76" y="107"/>
                    </a:moveTo>
                    <a:lnTo>
                      <a:pt x="76" y="109"/>
                    </a:lnTo>
                    <a:lnTo>
                      <a:pt x="76" y="107"/>
                    </a:lnTo>
                    <a:close/>
                    <a:moveTo>
                      <a:pt x="5" y="67"/>
                    </a:moveTo>
                    <a:lnTo>
                      <a:pt x="3" y="67"/>
                    </a:lnTo>
                    <a:lnTo>
                      <a:pt x="5" y="67"/>
                    </a:lnTo>
                    <a:lnTo>
                      <a:pt x="3" y="67"/>
                    </a:lnTo>
                    <a:lnTo>
                      <a:pt x="5" y="67"/>
                    </a:lnTo>
                    <a:close/>
                    <a:moveTo>
                      <a:pt x="76" y="102"/>
                    </a:moveTo>
                    <a:lnTo>
                      <a:pt x="76" y="104"/>
                    </a:lnTo>
                    <a:lnTo>
                      <a:pt x="76" y="102"/>
                    </a:lnTo>
                    <a:close/>
                    <a:moveTo>
                      <a:pt x="7" y="61"/>
                    </a:moveTo>
                    <a:lnTo>
                      <a:pt x="7" y="63"/>
                    </a:lnTo>
                    <a:lnTo>
                      <a:pt x="7" y="61"/>
                    </a:lnTo>
                    <a:lnTo>
                      <a:pt x="7" y="63"/>
                    </a:lnTo>
                    <a:lnTo>
                      <a:pt x="5" y="63"/>
                    </a:lnTo>
                    <a:lnTo>
                      <a:pt x="7" y="63"/>
                    </a:lnTo>
                    <a:lnTo>
                      <a:pt x="7" y="61"/>
                    </a:lnTo>
                    <a:lnTo>
                      <a:pt x="7" y="63"/>
                    </a:lnTo>
                    <a:lnTo>
                      <a:pt x="5" y="61"/>
                    </a:lnTo>
                    <a:lnTo>
                      <a:pt x="7" y="61"/>
                    </a:lnTo>
                    <a:close/>
                    <a:moveTo>
                      <a:pt x="9" y="54"/>
                    </a:moveTo>
                    <a:lnTo>
                      <a:pt x="7" y="54"/>
                    </a:lnTo>
                    <a:lnTo>
                      <a:pt x="9" y="54"/>
                    </a:lnTo>
                    <a:close/>
                    <a:moveTo>
                      <a:pt x="190" y="140"/>
                    </a:moveTo>
                    <a:lnTo>
                      <a:pt x="190" y="138"/>
                    </a:lnTo>
                    <a:lnTo>
                      <a:pt x="190" y="140"/>
                    </a:lnTo>
                    <a:close/>
                    <a:moveTo>
                      <a:pt x="190" y="138"/>
                    </a:moveTo>
                    <a:lnTo>
                      <a:pt x="190" y="136"/>
                    </a:lnTo>
                    <a:lnTo>
                      <a:pt x="190" y="138"/>
                    </a:lnTo>
                    <a:close/>
                    <a:moveTo>
                      <a:pt x="190" y="136"/>
                    </a:moveTo>
                    <a:lnTo>
                      <a:pt x="190" y="138"/>
                    </a:lnTo>
                    <a:lnTo>
                      <a:pt x="190" y="136"/>
                    </a:lnTo>
                    <a:close/>
                    <a:moveTo>
                      <a:pt x="190" y="136"/>
                    </a:moveTo>
                    <a:lnTo>
                      <a:pt x="192" y="136"/>
                    </a:lnTo>
                    <a:lnTo>
                      <a:pt x="190" y="136"/>
                    </a:lnTo>
                    <a:lnTo>
                      <a:pt x="192" y="136"/>
                    </a:lnTo>
                    <a:lnTo>
                      <a:pt x="190" y="136"/>
                    </a:lnTo>
                    <a:close/>
                    <a:moveTo>
                      <a:pt x="190" y="136"/>
                    </a:moveTo>
                    <a:lnTo>
                      <a:pt x="190" y="134"/>
                    </a:lnTo>
                    <a:lnTo>
                      <a:pt x="190" y="136"/>
                    </a:lnTo>
                    <a:close/>
                    <a:moveTo>
                      <a:pt x="190" y="132"/>
                    </a:moveTo>
                    <a:lnTo>
                      <a:pt x="190" y="134"/>
                    </a:lnTo>
                    <a:lnTo>
                      <a:pt x="190" y="132"/>
                    </a:lnTo>
                    <a:lnTo>
                      <a:pt x="190" y="134"/>
                    </a:lnTo>
                    <a:lnTo>
                      <a:pt x="190" y="136"/>
                    </a:lnTo>
                    <a:lnTo>
                      <a:pt x="188" y="136"/>
                    </a:lnTo>
                    <a:lnTo>
                      <a:pt x="186" y="134"/>
                    </a:lnTo>
                    <a:lnTo>
                      <a:pt x="188" y="134"/>
                    </a:lnTo>
                    <a:lnTo>
                      <a:pt x="188" y="132"/>
                    </a:lnTo>
                    <a:lnTo>
                      <a:pt x="188" y="134"/>
                    </a:lnTo>
                    <a:lnTo>
                      <a:pt x="188" y="132"/>
                    </a:lnTo>
                    <a:lnTo>
                      <a:pt x="190" y="132"/>
                    </a:lnTo>
                    <a:close/>
                    <a:moveTo>
                      <a:pt x="190" y="132"/>
                    </a:moveTo>
                    <a:lnTo>
                      <a:pt x="188" y="132"/>
                    </a:lnTo>
                    <a:lnTo>
                      <a:pt x="190" y="132"/>
                    </a:lnTo>
                    <a:lnTo>
                      <a:pt x="188" y="132"/>
                    </a:lnTo>
                    <a:lnTo>
                      <a:pt x="190" y="132"/>
                    </a:lnTo>
                    <a:close/>
                    <a:moveTo>
                      <a:pt x="190" y="132"/>
                    </a:moveTo>
                    <a:lnTo>
                      <a:pt x="190" y="131"/>
                    </a:lnTo>
                    <a:lnTo>
                      <a:pt x="188" y="131"/>
                    </a:lnTo>
                    <a:lnTo>
                      <a:pt x="188" y="129"/>
                    </a:lnTo>
                    <a:lnTo>
                      <a:pt x="190" y="129"/>
                    </a:lnTo>
                    <a:lnTo>
                      <a:pt x="190" y="131"/>
                    </a:lnTo>
                    <a:lnTo>
                      <a:pt x="190" y="132"/>
                    </a:lnTo>
                    <a:close/>
                    <a:moveTo>
                      <a:pt x="192" y="129"/>
                    </a:moveTo>
                    <a:lnTo>
                      <a:pt x="192" y="131"/>
                    </a:lnTo>
                    <a:lnTo>
                      <a:pt x="192" y="129"/>
                    </a:lnTo>
                    <a:close/>
                    <a:moveTo>
                      <a:pt x="196" y="125"/>
                    </a:moveTo>
                    <a:lnTo>
                      <a:pt x="194" y="127"/>
                    </a:lnTo>
                    <a:lnTo>
                      <a:pt x="192" y="127"/>
                    </a:lnTo>
                    <a:lnTo>
                      <a:pt x="194" y="127"/>
                    </a:lnTo>
                    <a:lnTo>
                      <a:pt x="194" y="125"/>
                    </a:lnTo>
                    <a:lnTo>
                      <a:pt x="196" y="125"/>
                    </a:lnTo>
                    <a:close/>
                    <a:moveTo>
                      <a:pt x="197" y="125"/>
                    </a:moveTo>
                    <a:lnTo>
                      <a:pt x="196" y="127"/>
                    </a:lnTo>
                    <a:lnTo>
                      <a:pt x="196" y="125"/>
                    </a:lnTo>
                    <a:lnTo>
                      <a:pt x="197" y="125"/>
                    </a:lnTo>
                    <a:lnTo>
                      <a:pt x="197" y="123"/>
                    </a:lnTo>
                    <a:lnTo>
                      <a:pt x="197" y="125"/>
                    </a:lnTo>
                    <a:close/>
                    <a:moveTo>
                      <a:pt x="192" y="117"/>
                    </a:moveTo>
                    <a:lnTo>
                      <a:pt x="190" y="117"/>
                    </a:lnTo>
                    <a:lnTo>
                      <a:pt x="192" y="117"/>
                    </a:lnTo>
                    <a:lnTo>
                      <a:pt x="190" y="117"/>
                    </a:lnTo>
                    <a:lnTo>
                      <a:pt x="192" y="117"/>
                    </a:lnTo>
                    <a:close/>
                    <a:moveTo>
                      <a:pt x="197" y="119"/>
                    </a:moveTo>
                    <a:lnTo>
                      <a:pt x="196" y="119"/>
                    </a:lnTo>
                    <a:lnTo>
                      <a:pt x="196" y="121"/>
                    </a:lnTo>
                    <a:lnTo>
                      <a:pt x="196" y="119"/>
                    </a:lnTo>
                    <a:lnTo>
                      <a:pt x="197" y="119"/>
                    </a:lnTo>
                    <a:close/>
                    <a:moveTo>
                      <a:pt x="196" y="115"/>
                    </a:moveTo>
                    <a:lnTo>
                      <a:pt x="197" y="115"/>
                    </a:lnTo>
                    <a:lnTo>
                      <a:pt x="196" y="115"/>
                    </a:lnTo>
                    <a:close/>
                    <a:moveTo>
                      <a:pt x="201" y="115"/>
                    </a:moveTo>
                    <a:lnTo>
                      <a:pt x="201" y="113"/>
                    </a:lnTo>
                    <a:lnTo>
                      <a:pt x="203" y="113"/>
                    </a:lnTo>
                    <a:lnTo>
                      <a:pt x="201" y="113"/>
                    </a:lnTo>
                    <a:lnTo>
                      <a:pt x="201" y="115"/>
                    </a:lnTo>
                    <a:close/>
                    <a:moveTo>
                      <a:pt x="205" y="115"/>
                    </a:moveTo>
                    <a:lnTo>
                      <a:pt x="207" y="115"/>
                    </a:lnTo>
                    <a:lnTo>
                      <a:pt x="205" y="115"/>
                    </a:lnTo>
                    <a:lnTo>
                      <a:pt x="203" y="113"/>
                    </a:lnTo>
                    <a:lnTo>
                      <a:pt x="203" y="115"/>
                    </a:lnTo>
                    <a:lnTo>
                      <a:pt x="205" y="115"/>
                    </a:lnTo>
                    <a:lnTo>
                      <a:pt x="203" y="115"/>
                    </a:lnTo>
                    <a:lnTo>
                      <a:pt x="203" y="113"/>
                    </a:lnTo>
                    <a:lnTo>
                      <a:pt x="205" y="113"/>
                    </a:lnTo>
                    <a:lnTo>
                      <a:pt x="207" y="113"/>
                    </a:lnTo>
                    <a:lnTo>
                      <a:pt x="207" y="115"/>
                    </a:lnTo>
                    <a:lnTo>
                      <a:pt x="205" y="115"/>
                    </a:lnTo>
                    <a:close/>
                    <a:moveTo>
                      <a:pt x="221" y="121"/>
                    </a:moveTo>
                    <a:lnTo>
                      <a:pt x="221" y="119"/>
                    </a:lnTo>
                    <a:lnTo>
                      <a:pt x="221" y="121"/>
                    </a:lnTo>
                    <a:close/>
                    <a:moveTo>
                      <a:pt x="215" y="117"/>
                    </a:moveTo>
                    <a:lnTo>
                      <a:pt x="213" y="117"/>
                    </a:lnTo>
                    <a:lnTo>
                      <a:pt x="215" y="117"/>
                    </a:lnTo>
                    <a:close/>
                    <a:moveTo>
                      <a:pt x="211" y="117"/>
                    </a:moveTo>
                    <a:lnTo>
                      <a:pt x="213" y="117"/>
                    </a:lnTo>
                    <a:lnTo>
                      <a:pt x="211" y="117"/>
                    </a:lnTo>
                    <a:lnTo>
                      <a:pt x="209" y="117"/>
                    </a:lnTo>
                    <a:lnTo>
                      <a:pt x="211" y="117"/>
                    </a:lnTo>
                    <a:lnTo>
                      <a:pt x="209" y="117"/>
                    </a:lnTo>
                    <a:lnTo>
                      <a:pt x="209" y="119"/>
                    </a:lnTo>
                    <a:lnTo>
                      <a:pt x="209" y="117"/>
                    </a:lnTo>
                    <a:lnTo>
                      <a:pt x="207" y="117"/>
                    </a:lnTo>
                    <a:lnTo>
                      <a:pt x="205" y="119"/>
                    </a:lnTo>
                    <a:lnTo>
                      <a:pt x="203" y="119"/>
                    </a:lnTo>
                    <a:lnTo>
                      <a:pt x="203" y="117"/>
                    </a:lnTo>
                    <a:lnTo>
                      <a:pt x="201" y="117"/>
                    </a:lnTo>
                    <a:lnTo>
                      <a:pt x="203" y="117"/>
                    </a:lnTo>
                    <a:lnTo>
                      <a:pt x="201" y="117"/>
                    </a:lnTo>
                    <a:lnTo>
                      <a:pt x="201" y="115"/>
                    </a:lnTo>
                    <a:lnTo>
                      <a:pt x="201" y="117"/>
                    </a:lnTo>
                    <a:lnTo>
                      <a:pt x="199" y="117"/>
                    </a:lnTo>
                    <a:lnTo>
                      <a:pt x="199" y="115"/>
                    </a:lnTo>
                    <a:lnTo>
                      <a:pt x="201" y="115"/>
                    </a:lnTo>
                    <a:lnTo>
                      <a:pt x="203" y="115"/>
                    </a:lnTo>
                    <a:lnTo>
                      <a:pt x="205" y="115"/>
                    </a:lnTo>
                    <a:lnTo>
                      <a:pt x="207" y="115"/>
                    </a:lnTo>
                    <a:lnTo>
                      <a:pt x="209" y="113"/>
                    </a:lnTo>
                    <a:lnTo>
                      <a:pt x="209" y="115"/>
                    </a:lnTo>
                    <a:lnTo>
                      <a:pt x="211" y="115"/>
                    </a:lnTo>
                    <a:lnTo>
                      <a:pt x="211" y="117"/>
                    </a:lnTo>
                    <a:close/>
                    <a:moveTo>
                      <a:pt x="211" y="117"/>
                    </a:moveTo>
                    <a:lnTo>
                      <a:pt x="211" y="115"/>
                    </a:lnTo>
                    <a:lnTo>
                      <a:pt x="209" y="115"/>
                    </a:lnTo>
                    <a:lnTo>
                      <a:pt x="211" y="115"/>
                    </a:lnTo>
                    <a:lnTo>
                      <a:pt x="211" y="117"/>
                    </a:lnTo>
                    <a:lnTo>
                      <a:pt x="211" y="115"/>
                    </a:lnTo>
                    <a:lnTo>
                      <a:pt x="211" y="117"/>
                    </a:lnTo>
                    <a:close/>
                    <a:moveTo>
                      <a:pt x="222" y="119"/>
                    </a:moveTo>
                    <a:lnTo>
                      <a:pt x="222" y="121"/>
                    </a:lnTo>
                    <a:lnTo>
                      <a:pt x="221" y="121"/>
                    </a:lnTo>
                    <a:lnTo>
                      <a:pt x="221" y="119"/>
                    </a:lnTo>
                    <a:lnTo>
                      <a:pt x="222" y="119"/>
                    </a:lnTo>
                    <a:close/>
                    <a:moveTo>
                      <a:pt x="224" y="117"/>
                    </a:moveTo>
                    <a:lnTo>
                      <a:pt x="224" y="119"/>
                    </a:lnTo>
                    <a:lnTo>
                      <a:pt x="222" y="119"/>
                    </a:lnTo>
                    <a:lnTo>
                      <a:pt x="221" y="119"/>
                    </a:lnTo>
                    <a:lnTo>
                      <a:pt x="222" y="117"/>
                    </a:lnTo>
                    <a:lnTo>
                      <a:pt x="224" y="117"/>
                    </a:lnTo>
                    <a:close/>
                    <a:moveTo>
                      <a:pt x="217" y="113"/>
                    </a:moveTo>
                    <a:lnTo>
                      <a:pt x="215" y="113"/>
                    </a:lnTo>
                    <a:lnTo>
                      <a:pt x="217" y="111"/>
                    </a:lnTo>
                    <a:lnTo>
                      <a:pt x="217" y="113"/>
                    </a:lnTo>
                    <a:close/>
                    <a:moveTo>
                      <a:pt x="219" y="113"/>
                    </a:moveTo>
                    <a:lnTo>
                      <a:pt x="217" y="113"/>
                    </a:lnTo>
                    <a:lnTo>
                      <a:pt x="217" y="111"/>
                    </a:lnTo>
                    <a:lnTo>
                      <a:pt x="219" y="111"/>
                    </a:lnTo>
                    <a:lnTo>
                      <a:pt x="219" y="113"/>
                    </a:lnTo>
                    <a:close/>
                    <a:moveTo>
                      <a:pt x="224" y="113"/>
                    </a:moveTo>
                    <a:lnTo>
                      <a:pt x="222" y="113"/>
                    </a:lnTo>
                    <a:lnTo>
                      <a:pt x="222" y="111"/>
                    </a:lnTo>
                    <a:lnTo>
                      <a:pt x="224" y="113"/>
                    </a:lnTo>
                    <a:lnTo>
                      <a:pt x="222" y="113"/>
                    </a:lnTo>
                    <a:lnTo>
                      <a:pt x="224" y="113"/>
                    </a:lnTo>
                    <a:close/>
                    <a:moveTo>
                      <a:pt x="228" y="113"/>
                    </a:moveTo>
                    <a:lnTo>
                      <a:pt x="228" y="115"/>
                    </a:lnTo>
                    <a:lnTo>
                      <a:pt x="228" y="113"/>
                    </a:lnTo>
                    <a:close/>
                    <a:moveTo>
                      <a:pt x="230" y="113"/>
                    </a:moveTo>
                    <a:lnTo>
                      <a:pt x="230" y="115"/>
                    </a:lnTo>
                    <a:lnTo>
                      <a:pt x="230" y="113"/>
                    </a:lnTo>
                    <a:lnTo>
                      <a:pt x="232" y="113"/>
                    </a:lnTo>
                    <a:lnTo>
                      <a:pt x="230" y="113"/>
                    </a:lnTo>
                    <a:close/>
                    <a:moveTo>
                      <a:pt x="230" y="111"/>
                    </a:moveTo>
                    <a:lnTo>
                      <a:pt x="230" y="113"/>
                    </a:lnTo>
                    <a:lnTo>
                      <a:pt x="230" y="111"/>
                    </a:lnTo>
                    <a:close/>
                    <a:moveTo>
                      <a:pt x="240" y="117"/>
                    </a:moveTo>
                    <a:lnTo>
                      <a:pt x="240" y="115"/>
                    </a:lnTo>
                    <a:lnTo>
                      <a:pt x="238" y="115"/>
                    </a:lnTo>
                    <a:lnTo>
                      <a:pt x="238" y="117"/>
                    </a:lnTo>
                    <a:lnTo>
                      <a:pt x="238" y="115"/>
                    </a:lnTo>
                    <a:lnTo>
                      <a:pt x="240" y="115"/>
                    </a:lnTo>
                    <a:lnTo>
                      <a:pt x="240" y="117"/>
                    </a:lnTo>
                    <a:lnTo>
                      <a:pt x="240" y="115"/>
                    </a:lnTo>
                    <a:lnTo>
                      <a:pt x="240" y="117"/>
                    </a:lnTo>
                    <a:close/>
                    <a:moveTo>
                      <a:pt x="232" y="113"/>
                    </a:moveTo>
                    <a:lnTo>
                      <a:pt x="230" y="113"/>
                    </a:lnTo>
                    <a:lnTo>
                      <a:pt x="230" y="115"/>
                    </a:lnTo>
                    <a:lnTo>
                      <a:pt x="228" y="115"/>
                    </a:lnTo>
                    <a:lnTo>
                      <a:pt x="230" y="113"/>
                    </a:lnTo>
                    <a:lnTo>
                      <a:pt x="232" y="113"/>
                    </a:lnTo>
                    <a:lnTo>
                      <a:pt x="234" y="113"/>
                    </a:lnTo>
                    <a:lnTo>
                      <a:pt x="232" y="113"/>
                    </a:lnTo>
                    <a:close/>
                    <a:moveTo>
                      <a:pt x="28" y="7"/>
                    </a:moveTo>
                    <a:lnTo>
                      <a:pt x="28" y="6"/>
                    </a:lnTo>
                    <a:lnTo>
                      <a:pt x="28" y="7"/>
                    </a:lnTo>
                    <a:close/>
                    <a:moveTo>
                      <a:pt x="244" y="115"/>
                    </a:moveTo>
                    <a:lnTo>
                      <a:pt x="242" y="115"/>
                    </a:lnTo>
                    <a:lnTo>
                      <a:pt x="244" y="113"/>
                    </a:lnTo>
                    <a:lnTo>
                      <a:pt x="244" y="115"/>
                    </a:lnTo>
                    <a:close/>
                    <a:moveTo>
                      <a:pt x="221" y="104"/>
                    </a:moveTo>
                    <a:lnTo>
                      <a:pt x="219" y="104"/>
                    </a:lnTo>
                    <a:lnTo>
                      <a:pt x="221" y="104"/>
                    </a:lnTo>
                    <a:close/>
                    <a:moveTo>
                      <a:pt x="244" y="113"/>
                    </a:moveTo>
                    <a:lnTo>
                      <a:pt x="242" y="113"/>
                    </a:lnTo>
                    <a:lnTo>
                      <a:pt x="244" y="113"/>
                    </a:lnTo>
                    <a:close/>
                    <a:moveTo>
                      <a:pt x="244" y="113"/>
                    </a:moveTo>
                    <a:lnTo>
                      <a:pt x="242" y="113"/>
                    </a:lnTo>
                    <a:lnTo>
                      <a:pt x="244" y="111"/>
                    </a:lnTo>
                    <a:lnTo>
                      <a:pt x="244" y="113"/>
                    </a:lnTo>
                    <a:close/>
                    <a:moveTo>
                      <a:pt x="244" y="113"/>
                    </a:moveTo>
                    <a:lnTo>
                      <a:pt x="242" y="113"/>
                    </a:lnTo>
                    <a:lnTo>
                      <a:pt x="244" y="113"/>
                    </a:lnTo>
                    <a:lnTo>
                      <a:pt x="245" y="113"/>
                    </a:lnTo>
                    <a:lnTo>
                      <a:pt x="244" y="113"/>
                    </a:lnTo>
                    <a:close/>
                    <a:moveTo>
                      <a:pt x="234" y="109"/>
                    </a:moveTo>
                    <a:lnTo>
                      <a:pt x="236" y="107"/>
                    </a:lnTo>
                    <a:lnTo>
                      <a:pt x="236" y="109"/>
                    </a:lnTo>
                    <a:lnTo>
                      <a:pt x="234" y="109"/>
                    </a:lnTo>
                    <a:close/>
                    <a:moveTo>
                      <a:pt x="244" y="113"/>
                    </a:moveTo>
                    <a:lnTo>
                      <a:pt x="244" y="111"/>
                    </a:lnTo>
                    <a:lnTo>
                      <a:pt x="244" y="113"/>
                    </a:lnTo>
                    <a:close/>
                    <a:moveTo>
                      <a:pt x="244" y="113"/>
                    </a:moveTo>
                    <a:lnTo>
                      <a:pt x="245" y="113"/>
                    </a:lnTo>
                    <a:lnTo>
                      <a:pt x="244" y="113"/>
                    </a:lnTo>
                    <a:close/>
                    <a:moveTo>
                      <a:pt x="247" y="111"/>
                    </a:moveTo>
                    <a:lnTo>
                      <a:pt x="245" y="111"/>
                    </a:lnTo>
                    <a:lnTo>
                      <a:pt x="247" y="111"/>
                    </a:lnTo>
                    <a:close/>
                    <a:moveTo>
                      <a:pt x="240" y="107"/>
                    </a:moveTo>
                    <a:lnTo>
                      <a:pt x="242" y="107"/>
                    </a:lnTo>
                    <a:lnTo>
                      <a:pt x="240" y="107"/>
                    </a:lnTo>
                    <a:close/>
                    <a:moveTo>
                      <a:pt x="228" y="102"/>
                    </a:moveTo>
                    <a:lnTo>
                      <a:pt x="228" y="100"/>
                    </a:lnTo>
                    <a:lnTo>
                      <a:pt x="228" y="102"/>
                    </a:lnTo>
                    <a:close/>
                    <a:moveTo>
                      <a:pt x="228" y="102"/>
                    </a:moveTo>
                    <a:lnTo>
                      <a:pt x="228" y="100"/>
                    </a:lnTo>
                    <a:lnTo>
                      <a:pt x="230" y="100"/>
                    </a:lnTo>
                    <a:lnTo>
                      <a:pt x="228" y="100"/>
                    </a:lnTo>
                    <a:lnTo>
                      <a:pt x="228" y="102"/>
                    </a:lnTo>
                    <a:lnTo>
                      <a:pt x="228" y="100"/>
                    </a:lnTo>
                    <a:lnTo>
                      <a:pt x="228" y="102"/>
                    </a:lnTo>
                    <a:lnTo>
                      <a:pt x="230" y="102"/>
                    </a:lnTo>
                    <a:lnTo>
                      <a:pt x="228" y="100"/>
                    </a:lnTo>
                    <a:lnTo>
                      <a:pt x="230" y="100"/>
                    </a:lnTo>
                    <a:lnTo>
                      <a:pt x="230" y="102"/>
                    </a:lnTo>
                    <a:lnTo>
                      <a:pt x="230" y="104"/>
                    </a:lnTo>
                    <a:lnTo>
                      <a:pt x="228" y="104"/>
                    </a:lnTo>
                    <a:lnTo>
                      <a:pt x="226" y="104"/>
                    </a:lnTo>
                    <a:lnTo>
                      <a:pt x="226" y="102"/>
                    </a:lnTo>
                    <a:lnTo>
                      <a:pt x="228" y="102"/>
                    </a:lnTo>
                    <a:close/>
                    <a:moveTo>
                      <a:pt x="92" y="29"/>
                    </a:moveTo>
                    <a:lnTo>
                      <a:pt x="92" y="31"/>
                    </a:lnTo>
                    <a:lnTo>
                      <a:pt x="90" y="31"/>
                    </a:lnTo>
                    <a:lnTo>
                      <a:pt x="90" y="29"/>
                    </a:lnTo>
                    <a:lnTo>
                      <a:pt x="92" y="29"/>
                    </a:lnTo>
                    <a:lnTo>
                      <a:pt x="90" y="29"/>
                    </a:lnTo>
                    <a:lnTo>
                      <a:pt x="92" y="29"/>
                    </a:lnTo>
                    <a:close/>
                    <a:moveTo>
                      <a:pt x="244" y="104"/>
                    </a:moveTo>
                    <a:lnTo>
                      <a:pt x="244" y="102"/>
                    </a:lnTo>
                    <a:lnTo>
                      <a:pt x="244" y="104"/>
                    </a:lnTo>
                    <a:close/>
                    <a:moveTo>
                      <a:pt x="234" y="96"/>
                    </a:moveTo>
                    <a:lnTo>
                      <a:pt x="232" y="96"/>
                    </a:lnTo>
                    <a:lnTo>
                      <a:pt x="232" y="98"/>
                    </a:lnTo>
                    <a:lnTo>
                      <a:pt x="232" y="96"/>
                    </a:lnTo>
                    <a:lnTo>
                      <a:pt x="234" y="96"/>
                    </a:lnTo>
                    <a:lnTo>
                      <a:pt x="232" y="96"/>
                    </a:lnTo>
                    <a:lnTo>
                      <a:pt x="234" y="96"/>
                    </a:lnTo>
                    <a:close/>
                    <a:moveTo>
                      <a:pt x="236" y="94"/>
                    </a:moveTo>
                    <a:lnTo>
                      <a:pt x="236" y="96"/>
                    </a:lnTo>
                    <a:lnTo>
                      <a:pt x="236" y="94"/>
                    </a:lnTo>
                    <a:lnTo>
                      <a:pt x="238" y="94"/>
                    </a:lnTo>
                    <a:lnTo>
                      <a:pt x="236" y="94"/>
                    </a:lnTo>
                    <a:close/>
                    <a:moveTo>
                      <a:pt x="238" y="92"/>
                    </a:moveTo>
                    <a:lnTo>
                      <a:pt x="238" y="94"/>
                    </a:lnTo>
                    <a:lnTo>
                      <a:pt x="236" y="94"/>
                    </a:lnTo>
                    <a:lnTo>
                      <a:pt x="236" y="92"/>
                    </a:lnTo>
                    <a:lnTo>
                      <a:pt x="238" y="92"/>
                    </a:lnTo>
                    <a:close/>
                    <a:moveTo>
                      <a:pt x="259" y="104"/>
                    </a:moveTo>
                    <a:lnTo>
                      <a:pt x="259" y="102"/>
                    </a:lnTo>
                    <a:lnTo>
                      <a:pt x="261" y="102"/>
                    </a:lnTo>
                    <a:lnTo>
                      <a:pt x="259" y="104"/>
                    </a:lnTo>
                    <a:close/>
                    <a:moveTo>
                      <a:pt x="253" y="100"/>
                    </a:moveTo>
                    <a:lnTo>
                      <a:pt x="255" y="100"/>
                    </a:lnTo>
                    <a:lnTo>
                      <a:pt x="253" y="100"/>
                    </a:lnTo>
                    <a:close/>
                    <a:moveTo>
                      <a:pt x="255" y="100"/>
                    </a:moveTo>
                    <a:lnTo>
                      <a:pt x="253" y="100"/>
                    </a:lnTo>
                    <a:lnTo>
                      <a:pt x="255" y="100"/>
                    </a:lnTo>
                    <a:close/>
                    <a:moveTo>
                      <a:pt x="238" y="92"/>
                    </a:moveTo>
                    <a:lnTo>
                      <a:pt x="236" y="92"/>
                    </a:lnTo>
                    <a:lnTo>
                      <a:pt x="236" y="94"/>
                    </a:lnTo>
                    <a:lnTo>
                      <a:pt x="236" y="92"/>
                    </a:lnTo>
                    <a:lnTo>
                      <a:pt x="238" y="92"/>
                    </a:lnTo>
                    <a:close/>
                    <a:moveTo>
                      <a:pt x="253" y="98"/>
                    </a:moveTo>
                    <a:lnTo>
                      <a:pt x="253" y="100"/>
                    </a:lnTo>
                    <a:lnTo>
                      <a:pt x="253" y="98"/>
                    </a:lnTo>
                    <a:close/>
                    <a:moveTo>
                      <a:pt x="328" y="129"/>
                    </a:moveTo>
                    <a:lnTo>
                      <a:pt x="328" y="131"/>
                    </a:lnTo>
                    <a:lnTo>
                      <a:pt x="330" y="131"/>
                    </a:lnTo>
                    <a:lnTo>
                      <a:pt x="328" y="131"/>
                    </a:lnTo>
                    <a:lnTo>
                      <a:pt x="328" y="129"/>
                    </a:lnTo>
                    <a:close/>
                    <a:moveTo>
                      <a:pt x="240" y="92"/>
                    </a:moveTo>
                    <a:lnTo>
                      <a:pt x="240" y="90"/>
                    </a:lnTo>
                    <a:lnTo>
                      <a:pt x="240" y="92"/>
                    </a:lnTo>
                    <a:close/>
                    <a:moveTo>
                      <a:pt x="245" y="92"/>
                    </a:moveTo>
                    <a:lnTo>
                      <a:pt x="245" y="94"/>
                    </a:lnTo>
                    <a:lnTo>
                      <a:pt x="244" y="94"/>
                    </a:lnTo>
                    <a:lnTo>
                      <a:pt x="245" y="94"/>
                    </a:lnTo>
                    <a:lnTo>
                      <a:pt x="245" y="92"/>
                    </a:lnTo>
                    <a:lnTo>
                      <a:pt x="245" y="94"/>
                    </a:lnTo>
                    <a:lnTo>
                      <a:pt x="245" y="92"/>
                    </a:lnTo>
                    <a:close/>
                    <a:moveTo>
                      <a:pt x="86" y="13"/>
                    </a:moveTo>
                    <a:lnTo>
                      <a:pt x="86" y="15"/>
                    </a:lnTo>
                    <a:lnTo>
                      <a:pt x="86" y="17"/>
                    </a:lnTo>
                    <a:lnTo>
                      <a:pt x="86" y="15"/>
                    </a:lnTo>
                    <a:lnTo>
                      <a:pt x="86" y="13"/>
                    </a:lnTo>
                    <a:close/>
                    <a:moveTo>
                      <a:pt x="240" y="92"/>
                    </a:moveTo>
                    <a:lnTo>
                      <a:pt x="238" y="92"/>
                    </a:lnTo>
                    <a:lnTo>
                      <a:pt x="238" y="90"/>
                    </a:lnTo>
                    <a:lnTo>
                      <a:pt x="240" y="90"/>
                    </a:lnTo>
                    <a:lnTo>
                      <a:pt x="240" y="92"/>
                    </a:lnTo>
                    <a:close/>
                    <a:moveTo>
                      <a:pt x="261" y="98"/>
                    </a:moveTo>
                    <a:lnTo>
                      <a:pt x="261" y="100"/>
                    </a:lnTo>
                    <a:lnTo>
                      <a:pt x="259" y="100"/>
                    </a:lnTo>
                    <a:lnTo>
                      <a:pt x="259" y="98"/>
                    </a:lnTo>
                    <a:lnTo>
                      <a:pt x="261" y="98"/>
                    </a:lnTo>
                    <a:lnTo>
                      <a:pt x="259" y="98"/>
                    </a:lnTo>
                    <a:lnTo>
                      <a:pt x="261" y="98"/>
                    </a:lnTo>
                    <a:close/>
                    <a:moveTo>
                      <a:pt x="86" y="13"/>
                    </a:moveTo>
                    <a:lnTo>
                      <a:pt x="88" y="13"/>
                    </a:lnTo>
                    <a:lnTo>
                      <a:pt x="86" y="13"/>
                    </a:lnTo>
                    <a:close/>
                    <a:moveTo>
                      <a:pt x="261" y="98"/>
                    </a:moveTo>
                    <a:lnTo>
                      <a:pt x="261" y="100"/>
                    </a:lnTo>
                    <a:lnTo>
                      <a:pt x="261" y="98"/>
                    </a:lnTo>
                    <a:close/>
                    <a:moveTo>
                      <a:pt x="88" y="11"/>
                    </a:moveTo>
                    <a:lnTo>
                      <a:pt x="88" y="13"/>
                    </a:lnTo>
                    <a:lnTo>
                      <a:pt x="88" y="11"/>
                    </a:lnTo>
                    <a:close/>
                    <a:moveTo>
                      <a:pt x="261" y="98"/>
                    </a:moveTo>
                    <a:lnTo>
                      <a:pt x="263" y="98"/>
                    </a:lnTo>
                    <a:lnTo>
                      <a:pt x="263" y="96"/>
                    </a:lnTo>
                    <a:lnTo>
                      <a:pt x="263" y="98"/>
                    </a:lnTo>
                    <a:lnTo>
                      <a:pt x="261" y="98"/>
                    </a:lnTo>
                    <a:close/>
                    <a:moveTo>
                      <a:pt x="263" y="96"/>
                    </a:moveTo>
                    <a:lnTo>
                      <a:pt x="261" y="96"/>
                    </a:lnTo>
                    <a:lnTo>
                      <a:pt x="263" y="96"/>
                    </a:lnTo>
                    <a:close/>
                    <a:moveTo>
                      <a:pt x="265" y="96"/>
                    </a:moveTo>
                    <a:lnTo>
                      <a:pt x="263" y="98"/>
                    </a:lnTo>
                    <a:lnTo>
                      <a:pt x="263" y="96"/>
                    </a:lnTo>
                    <a:lnTo>
                      <a:pt x="265" y="96"/>
                    </a:lnTo>
                    <a:close/>
                    <a:moveTo>
                      <a:pt x="90" y="9"/>
                    </a:moveTo>
                    <a:lnTo>
                      <a:pt x="88" y="9"/>
                    </a:lnTo>
                    <a:lnTo>
                      <a:pt x="90" y="9"/>
                    </a:lnTo>
                    <a:lnTo>
                      <a:pt x="90" y="11"/>
                    </a:lnTo>
                    <a:lnTo>
                      <a:pt x="90" y="9"/>
                    </a:lnTo>
                    <a:lnTo>
                      <a:pt x="90" y="11"/>
                    </a:lnTo>
                    <a:lnTo>
                      <a:pt x="88" y="11"/>
                    </a:lnTo>
                    <a:lnTo>
                      <a:pt x="90" y="11"/>
                    </a:lnTo>
                    <a:lnTo>
                      <a:pt x="88" y="11"/>
                    </a:lnTo>
                    <a:lnTo>
                      <a:pt x="90" y="11"/>
                    </a:lnTo>
                    <a:lnTo>
                      <a:pt x="88" y="9"/>
                    </a:lnTo>
                    <a:lnTo>
                      <a:pt x="88" y="11"/>
                    </a:lnTo>
                    <a:lnTo>
                      <a:pt x="88" y="9"/>
                    </a:lnTo>
                    <a:lnTo>
                      <a:pt x="86" y="9"/>
                    </a:lnTo>
                    <a:lnTo>
                      <a:pt x="86" y="7"/>
                    </a:lnTo>
                    <a:lnTo>
                      <a:pt x="88" y="7"/>
                    </a:lnTo>
                    <a:lnTo>
                      <a:pt x="90" y="7"/>
                    </a:lnTo>
                    <a:lnTo>
                      <a:pt x="90" y="9"/>
                    </a:lnTo>
                    <a:close/>
                    <a:moveTo>
                      <a:pt x="255" y="90"/>
                    </a:moveTo>
                    <a:lnTo>
                      <a:pt x="257" y="90"/>
                    </a:lnTo>
                    <a:lnTo>
                      <a:pt x="255" y="90"/>
                    </a:lnTo>
                    <a:close/>
                    <a:moveTo>
                      <a:pt x="259" y="90"/>
                    </a:moveTo>
                    <a:lnTo>
                      <a:pt x="259" y="92"/>
                    </a:lnTo>
                    <a:lnTo>
                      <a:pt x="259" y="94"/>
                    </a:lnTo>
                    <a:lnTo>
                      <a:pt x="257" y="96"/>
                    </a:lnTo>
                    <a:lnTo>
                      <a:pt x="255" y="94"/>
                    </a:lnTo>
                    <a:lnTo>
                      <a:pt x="255" y="92"/>
                    </a:lnTo>
                    <a:lnTo>
                      <a:pt x="255" y="90"/>
                    </a:lnTo>
                    <a:lnTo>
                      <a:pt x="257" y="90"/>
                    </a:lnTo>
                    <a:lnTo>
                      <a:pt x="259" y="90"/>
                    </a:lnTo>
                    <a:close/>
                    <a:moveTo>
                      <a:pt x="190" y="59"/>
                    </a:moveTo>
                    <a:lnTo>
                      <a:pt x="188" y="59"/>
                    </a:lnTo>
                    <a:lnTo>
                      <a:pt x="190" y="59"/>
                    </a:lnTo>
                    <a:lnTo>
                      <a:pt x="190" y="57"/>
                    </a:lnTo>
                    <a:lnTo>
                      <a:pt x="190" y="59"/>
                    </a:lnTo>
                    <a:lnTo>
                      <a:pt x="190" y="57"/>
                    </a:lnTo>
                    <a:lnTo>
                      <a:pt x="190" y="59"/>
                    </a:lnTo>
                    <a:close/>
                    <a:moveTo>
                      <a:pt x="86" y="4"/>
                    </a:moveTo>
                    <a:lnTo>
                      <a:pt x="86" y="6"/>
                    </a:lnTo>
                    <a:lnTo>
                      <a:pt x="86" y="4"/>
                    </a:lnTo>
                    <a:lnTo>
                      <a:pt x="84" y="4"/>
                    </a:lnTo>
                    <a:lnTo>
                      <a:pt x="86" y="4"/>
                    </a:lnTo>
                    <a:close/>
                    <a:moveTo>
                      <a:pt x="86" y="4"/>
                    </a:moveTo>
                    <a:lnTo>
                      <a:pt x="84" y="2"/>
                    </a:lnTo>
                    <a:lnTo>
                      <a:pt x="86" y="2"/>
                    </a:lnTo>
                    <a:lnTo>
                      <a:pt x="86" y="4"/>
                    </a:lnTo>
                    <a:close/>
                    <a:moveTo>
                      <a:pt x="82" y="0"/>
                    </a:moveTo>
                    <a:lnTo>
                      <a:pt x="84" y="0"/>
                    </a:lnTo>
                    <a:lnTo>
                      <a:pt x="82" y="0"/>
                    </a:lnTo>
                    <a:close/>
                    <a:moveTo>
                      <a:pt x="205" y="61"/>
                    </a:moveTo>
                    <a:lnTo>
                      <a:pt x="203" y="61"/>
                    </a:lnTo>
                    <a:lnTo>
                      <a:pt x="205" y="61"/>
                    </a:lnTo>
                    <a:close/>
                    <a:moveTo>
                      <a:pt x="205" y="63"/>
                    </a:moveTo>
                    <a:lnTo>
                      <a:pt x="205" y="61"/>
                    </a:lnTo>
                    <a:lnTo>
                      <a:pt x="205" y="63"/>
                    </a:lnTo>
                    <a:close/>
                    <a:moveTo>
                      <a:pt x="205" y="59"/>
                    </a:moveTo>
                    <a:lnTo>
                      <a:pt x="205" y="61"/>
                    </a:lnTo>
                    <a:lnTo>
                      <a:pt x="205" y="59"/>
                    </a:lnTo>
                    <a:close/>
                    <a:moveTo>
                      <a:pt x="205" y="59"/>
                    </a:moveTo>
                    <a:lnTo>
                      <a:pt x="203" y="59"/>
                    </a:lnTo>
                    <a:lnTo>
                      <a:pt x="201" y="59"/>
                    </a:lnTo>
                    <a:lnTo>
                      <a:pt x="199" y="59"/>
                    </a:lnTo>
                    <a:lnTo>
                      <a:pt x="199" y="57"/>
                    </a:lnTo>
                    <a:lnTo>
                      <a:pt x="197" y="57"/>
                    </a:lnTo>
                    <a:lnTo>
                      <a:pt x="196" y="59"/>
                    </a:lnTo>
                    <a:lnTo>
                      <a:pt x="196" y="57"/>
                    </a:lnTo>
                    <a:lnTo>
                      <a:pt x="194" y="57"/>
                    </a:lnTo>
                    <a:lnTo>
                      <a:pt x="192" y="57"/>
                    </a:lnTo>
                    <a:lnTo>
                      <a:pt x="192" y="59"/>
                    </a:lnTo>
                    <a:lnTo>
                      <a:pt x="192" y="57"/>
                    </a:lnTo>
                    <a:lnTo>
                      <a:pt x="192" y="59"/>
                    </a:lnTo>
                    <a:lnTo>
                      <a:pt x="192" y="57"/>
                    </a:lnTo>
                    <a:lnTo>
                      <a:pt x="190" y="57"/>
                    </a:lnTo>
                    <a:lnTo>
                      <a:pt x="190" y="59"/>
                    </a:lnTo>
                    <a:lnTo>
                      <a:pt x="188" y="59"/>
                    </a:lnTo>
                    <a:lnTo>
                      <a:pt x="188" y="57"/>
                    </a:lnTo>
                    <a:lnTo>
                      <a:pt x="190" y="57"/>
                    </a:lnTo>
                    <a:lnTo>
                      <a:pt x="192" y="56"/>
                    </a:lnTo>
                    <a:lnTo>
                      <a:pt x="194" y="56"/>
                    </a:lnTo>
                    <a:lnTo>
                      <a:pt x="196" y="56"/>
                    </a:lnTo>
                    <a:lnTo>
                      <a:pt x="197" y="56"/>
                    </a:lnTo>
                    <a:lnTo>
                      <a:pt x="199" y="56"/>
                    </a:lnTo>
                    <a:lnTo>
                      <a:pt x="201" y="56"/>
                    </a:lnTo>
                    <a:lnTo>
                      <a:pt x="205" y="59"/>
                    </a:lnTo>
                    <a:lnTo>
                      <a:pt x="207" y="59"/>
                    </a:lnTo>
                    <a:lnTo>
                      <a:pt x="205" y="59"/>
                    </a:lnTo>
                    <a:close/>
                    <a:moveTo>
                      <a:pt x="226" y="65"/>
                    </a:moveTo>
                    <a:lnTo>
                      <a:pt x="226" y="67"/>
                    </a:lnTo>
                    <a:lnTo>
                      <a:pt x="226" y="65"/>
                    </a:lnTo>
                    <a:lnTo>
                      <a:pt x="226" y="67"/>
                    </a:lnTo>
                    <a:lnTo>
                      <a:pt x="226" y="65"/>
                    </a:lnTo>
                    <a:close/>
                    <a:moveTo>
                      <a:pt x="222" y="65"/>
                    </a:moveTo>
                    <a:lnTo>
                      <a:pt x="222" y="63"/>
                    </a:lnTo>
                    <a:lnTo>
                      <a:pt x="224" y="63"/>
                    </a:lnTo>
                    <a:lnTo>
                      <a:pt x="222" y="65"/>
                    </a:lnTo>
                    <a:close/>
                    <a:moveTo>
                      <a:pt x="230" y="67"/>
                    </a:moveTo>
                    <a:lnTo>
                      <a:pt x="228" y="67"/>
                    </a:lnTo>
                    <a:lnTo>
                      <a:pt x="230" y="67"/>
                    </a:lnTo>
                    <a:close/>
                    <a:moveTo>
                      <a:pt x="226" y="63"/>
                    </a:moveTo>
                    <a:lnTo>
                      <a:pt x="224" y="63"/>
                    </a:lnTo>
                    <a:lnTo>
                      <a:pt x="226" y="63"/>
                    </a:lnTo>
                    <a:close/>
                    <a:moveTo>
                      <a:pt x="161" y="25"/>
                    </a:moveTo>
                    <a:lnTo>
                      <a:pt x="159" y="25"/>
                    </a:lnTo>
                    <a:lnTo>
                      <a:pt x="161" y="25"/>
                    </a:lnTo>
                    <a:close/>
                    <a:moveTo>
                      <a:pt x="338" y="106"/>
                    </a:moveTo>
                    <a:lnTo>
                      <a:pt x="338" y="104"/>
                    </a:lnTo>
                    <a:lnTo>
                      <a:pt x="340" y="104"/>
                    </a:lnTo>
                    <a:lnTo>
                      <a:pt x="340" y="106"/>
                    </a:lnTo>
                    <a:lnTo>
                      <a:pt x="338" y="106"/>
                    </a:lnTo>
                    <a:close/>
                    <a:moveTo>
                      <a:pt x="171" y="29"/>
                    </a:moveTo>
                    <a:lnTo>
                      <a:pt x="169" y="29"/>
                    </a:lnTo>
                    <a:lnTo>
                      <a:pt x="167" y="29"/>
                    </a:lnTo>
                    <a:lnTo>
                      <a:pt x="165" y="27"/>
                    </a:lnTo>
                    <a:lnTo>
                      <a:pt x="167" y="27"/>
                    </a:lnTo>
                    <a:lnTo>
                      <a:pt x="169" y="29"/>
                    </a:lnTo>
                    <a:lnTo>
                      <a:pt x="169" y="27"/>
                    </a:lnTo>
                    <a:lnTo>
                      <a:pt x="169" y="29"/>
                    </a:lnTo>
                    <a:lnTo>
                      <a:pt x="171" y="29"/>
                    </a:lnTo>
                    <a:close/>
                    <a:moveTo>
                      <a:pt x="146" y="13"/>
                    </a:moveTo>
                    <a:lnTo>
                      <a:pt x="146" y="11"/>
                    </a:lnTo>
                    <a:lnTo>
                      <a:pt x="146" y="13"/>
                    </a:lnTo>
                    <a:close/>
                    <a:moveTo>
                      <a:pt x="436" y="138"/>
                    </a:moveTo>
                    <a:lnTo>
                      <a:pt x="436" y="136"/>
                    </a:lnTo>
                    <a:lnTo>
                      <a:pt x="436" y="138"/>
                    </a:lnTo>
                    <a:close/>
                    <a:moveTo>
                      <a:pt x="357" y="107"/>
                    </a:moveTo>
                    <a:lnTo>
                      <a:pt x="359" y="107"/>
                    </a:lnTo>
                    <a:lnTo>
                      <a:pt x="357" y="107"/>
                    </a:lnTo>
                    <a:lnTo>
                      <a:pt x="359" y="107"/>
                    </a:lnTo>
                    <a:lnTo>
                      <a:pt x="357" y="107"/>
                    </a:lnTo>
                    <a:close/>
                    <a:moveTo>
                      <a:pt x="146" y="11"/>
                    </a:moveTo>
                    <a:lnTo>
                      <a:pt x="148" y="11"/>
                    </a:lnTo>
                    <a:lnTo>
                      <a:pt x="146" y="11"/>
                    </a:lnTo>
                    <a:lnTo>
                      <a:pt x="148" y="11"/>
                    </a:lnTo>
                    <a:lnTo>
                      <a:pt x="148" y="13"/>
                    </a:lnTo>
                    <a:lnTo>
                      <a:pt x="146" y="11"/>
                    </a:lnTo>
                    <a:close/>
                    <a:moveTo>
                      <a:pt x="357" y="107"/>
                    </a:moveTo>
                    <a:lnTo>
                      <a:pt x="355" y="107"/>
                    </a:lnTo>
                    <a:lnTo>
                      <a:pt x="353" y="107"/>
                    </a:lnTo>
                    <a:lnTo>
                      <a:pt x="351" y="106"/>
                    </a:lnTo>
                    <a:lnTo>
                      <a:pt x="349" y="104"/>
                    </a:lnTo>
                    <a:lnTo>
                      <a:pt x="347" y="104"/>
                    </a:lnTo>
                    <a:lnTo>
                      <a:pt x="345" y="104"/>
                    </a:lnTo>
                    <a:lnTo>
                      <a:pt x="345" y="106"/>
                    </a:lnTo>
                    <a:lnTo>
                      <a:pt x="343" y="106"/>
                    </a:lnTo>
                    <a:lnTo>
                      <a:pt x="343" y="104"/>
                    </a:lnTo>
                    <a:lnTo>
                      <a:pt x="342" y="104"/>
                    </a:lnTo>
                    <a:lnTo>
                      <a:pt x="343" y="104"/>
                    </a:lnTo>
                    <a:lnTo>
                      <a:pt x="345" y="104"/>
                    </a:lnTo>
                    <a:lnTo>
                      <a:pt x="349" y="104"/>
                    </a:lnTo>
                    <a:lnTo>
                      <a:pt x="355" y="106"/>
                    </a:lnTo>
                    <a:lnTo>
                      <a:pt x="357" y="106"/>
                    </a:lnTo>
                    <a:lnTo>
                      <a:pt x="359" y="106"/>
                    </a:lnTo>
                    <a:lnTo>
                      <a:pt x="357" y="106"/>
                    </a:lnTo>
                    <a:lnTo>
                      <a:pt x="357" y="107"/>
                    </a:lnTo>
                    <a:close/>
                    <a:moveTo>
                      <a:pt x="326" y="92"/>
                    </a:moveTo>
                    <a:lnTo>
                      <a:pt x="328" y="92"/>
                    </a:lnTo>
                    <a:lnTo>
                      <a:pt x="326" y="92"/>
                    </a:lnTo>
                    <a:close/>
                    <a:moveTo>
                      <a:pt x="172" y="21"/>
                    </a:moveTo>
                    <a:lnTo>
                      <a:pt x="171" y="21"/>
                    </a:lnTo>
                    <a:lnTo>
                      <a:pt x="169" y="21"/>
                    </a:lnTo>
                    <a:lnTo>
                      <a:pt x="171" y="21"/>
                    </a:lnTo>
                    <a:lnTo>
                      <a:pt x="172" y="21"/>
                    </a:lnTo>
                    <a:close/>
                    <a:moveTo>
                      <a:pt x="276" y="69"/>
                    </a:moveTo>
                    <a:lnTo>
                      <a:pt x="278" y="69"/>
                    </a:lnTo>
                    <a:lnTo>
                      <a:pt x="278" y="71"/>
                    </a:lnTo>
                    <a:lnTo>
                      <a:pt x="278" y="73"/>
                    </a:lnTo>
                    <a:lnTo>
                      <a:pt x="276" y="71"/>
                    </a:lnTo>
                    <a:lnTo>
                      <a:pt x="276" y="69"/>
                    </a:lnTo>
                    <a:lnTo>
                      <a:pt x="274" y="69"/>
                    </a:lnTo>
                    <a:lnTo>
                      <a:pt x="276" y="69"/>
                    </a:lnTo>
                    <a:lnTo>
                      <a:pt x="274" y="69"/>
                    </a:lnTo>
                    <a:lnTo>
                      <a:pt x="276" y="69"/>
                    </a:lnTo>
                    <a:lnTo>
                      <a:pt x="274" y="69"/>
                    </a:lnTo>
                    <a:lnTo>
                      <a:pt x="276" y="69"/>
                    </a:lnTo>
                    <a:close/>
                    <a:moveTo>
                      <a:pt x="270" y="65"/>
                    </a:moveTo>
                    <a:lnTo>
                      <a:pt x="270" y="67"/>
                    </a:lnTo>
                    <a:lnTo>
                      <a:pt x="270" y="65"/>
                    </a:lnTo>
                    <a:close/>
                    <a:moveTo>
                      <a:pt x="430" y="129"/>
                    </a:moveTo>
                    <a:lnTo>
                      <a:pt x="428" y="129"/>
                    </a:lnTo>
                    <a:lnTo>
                      <a:pt x="430" y="129"/>
                    </a:lnTo>
                    <a:close/>
                    <a:moveTo>
                      <a:pt x="432" y="127"/>
                    </a:moveTo>
                    <a:lnTo>
                      <a:pt x="432" y="129"/>
                    </a:lnTo>
                    <a:lnTo>
                      <a:pt x="432" y="131"/>
                    </a:lnTo>
                    <a:lnTo>
                      <a:pt x="434" y="131"/>
                    </a:lnTo>
                    <a:lnTo>
                      <a:pt x="432" y="131"/>
                    </a:lnTo>
                    <a:lnTo>
                      <a:pt x="434" y="131"/>
                    </a:lnTo>
                    <a:lnTo>
                      <a:pt x="432" y="131"/>
                    </a:lnTo>
                    <a:lnTo>
                      <a:pt x="434" y="131"/>
                    </a:lnTo>
                    <a:lnTo>
                      <a:pt x="432" y="131"/>
                    </a:lnTo>
                    <a:lnTo>
                      <a:pt x="432" y="129"/>
                    </a:lnTo>
                    <a:lnTo>
                      <a:pt x="430" y="129"/>
                    </a:lnTo>
                    <a:lnTo>
                      <a:pt x="430" y="127"/>
                    </a:lnTo>
                    <a:lnTo>
                      <a:pt x="430" y="129"/>
                    </a:lnTo>
                    <a:lnTo>
                      <a:pt x="430" y="127"/>
                    </a:lnTo>
                    <a:lnTo>
                      <a:pt x="430" y="129"/>
                    </a:lnTo>
                    <a:lnTo>
                      <a:pt x="430" y="127"/>
                    </a:lnTo>
                    <a:lnTo>
                      <a:pt x="432" y="127"/>
                    </a:lnTo>
                    <a:close/>
                    <a:moveTo>
                      <a:pt x="432" y="129"/>
                    </a:moveTo>
                    <a:lnTo>
                      <a:pt x="432" y="127"/>
                    </a:lnTo>
                    <a:lnTo>
                      <a:pt x="434" y="127"/>
                    </a:lnTo>
                    <a:lnTo>
                      <a:pt x="432" y="129"/>
                    </a:lnTo>
                    <a:close/>
                    <a:moveTo>
                      <a:pt x="307" y="79"/>
                    </a:moveTo>
                    <a:lnTo>
                      <a:pt x="305" y="79"/>
                    </a:lnTo>
                    <a:lnTo>
                      <a:pt x="305" y="77"/>
                    </a:lnTo>
                    <a:lnTo>
                      <a:pt x="307" y="77"/>
                    </a:lnTo>
                    <a:lnTo>
                      <a:pt x="307" y="79"/>
                    </a:lnTo>
                    <a:close/>
                    <a:moveTo>
                      <a:pt x="182" y="19"/>
                    </a:moveTo>
                    <a:lnTo>
                      <a:pt x="180" y="19"/>
                    </a:lnTo>
                    <a:lnTo>
                      <a:pt x="178" y="19"/>
                    </a:lnTo>
                    <a:lnTo>
                      <a:pt x="180" y="19"/>
                    </a:lnTo>
                    <a:lnTo>
                      <a:pt x="182" y="19"/>
                    </a:lnTo>
                    <a:close/>
                    <a:moveTo>
                      <a:pt x="305" y="75"/>
                    </a:moveTo>
                    <a:lnTo>
                      <a:pt x="307" y="77"/>
                    </a:lnTo>
                    <a:lnTo>
                      <a:pt x="309" y="79"/>
                    </a:lnTo>
                    <a:lnTo>
                      <a:pt x="309" y="81"/>
                    </a:lnTo>
                    <a:lnTo>
                      <a:pt x="309" y="79"/>
                    </a:lnTo>
                    <a:lnTo>
                      <a:pt x="307" y="79"/>
                    </a:lnTo>
                    <a:lnTo>
                      <a:pt x="307" y="77"/>
                    </a:lnTo>
                    <a:lnTo>
                      <a:pt x="305" y="77"/>
                    </a:lnTo>
                    <a:lnTo>
                      <a:pt x="305" y="75"/>
                    </a:lnTo>
                    <a:lnTo>
                      <a:pt x="303" y="75"/>
                    </a:lnTo>
                    <a:lnTo>
                      <a:pt x="305" y="75"/>
                    </a:lnTo>
                    <a:close/>
                    <a:moveTo>
                      <a:pt x="303" y="73"/>
                    </a:moveTo>
                    <a:lnTo>
                      <a:pt x="303" y="75"/>
                    </a:lnTo>
                    <a:lnTo>
                      <a:pt x="301" y="75"/>
                    </a:lnTo>
                    <a:lnTo>
                      <a:pt x="301" y="73"/>
                    </a:lnTo>
                    <a:lnTo>
                      <a:pt x="303" y="73"/>
                    </a:lnTo>
                    <a:close/>
                    <a:moveTo>
                      <a:pt x="295" y="71"/>
                    </a:moveTo>
                    <a:lnTo>
                      <a:pt x="294" y="71"/>
                    </a:lnTo>
                    <a:lnTo>
                      <a:pt x="294" y="69"/>
                    </a:lnTo>
                    <a:lnTo>
                      <a:pt x="295" y="71"/>
                    </a:lnTo>
                    <a:close/>
                    <a:moveTo>
                      <a:pt x="292" y="67"/>
                    </a:moveTo>
                    <a:lnTo>
                      <a:pt x="290" y="67"/>
                    </a:lnTo>
                    <a:lnTo>
                      <a:pt x="292" y="67"/>
                    </a:lnTo>
                    <a:close/>
                    <a:moveTo>
                      <a:pt x="286" y="65"/>
                    </a:moveTo>
                    <a:lnTo>
                      <a:pt x="284" y="65"/>
                    </a:lnTo>
                    <a:lnTo>
                      <a:pt x="286" y="65"/>
                    </a:lnTo>
                    <a:close/>
                    <a:moveTo>
                      <a:pt x="188" y="19"/>
                    </a:moveTo>
                    <a:lnTo>
                      <a:pt x="186" y="19"/>
                    </a:lnTo>
                    <a:lnTo>
                      <a:pt x="184" y="19"/>
                    </a:lnTo>
                    <a:lnTo>
                      <a:pt x="186" y="19"/>
                    </a:lnTo>
                    <a:lnTo>
                      <a:pt x="188" y="19"/>
                    </a:lnTo>
                    <a:close/>
                    <a:moveTo>
                      <a:pt x="184" y="17"/>
                    </a:moveTo>
                    <a:lnTo>
                      <a:pt x="184" y="15"/>
                    </a:lnTo>
                    <a:lnTo>
                      <a:pt x="184" y="17"/>
                    </a:lnTo>
                    <a:close/>
                    <a:moveTo>
                      <a:pt x="192" y="19"/>
                    </a:moveTo>
                    <a:lnTo>
                      <a:pt x="192" y="21"/>
                    </a:lnTo>
                    <a:lnTo>
                      <a:pt x="192" y="19"/>
                    </a:lnTo>
                    <a:lnTo>
                      <a:pt x="192" y="21"/>
                    </a:lnTo>
                    <a:lnTo>
                      <a:pt x="192" y="19"/>
                    </a:lnTo>
                    <a:close/>
                    <a:moveTo>
                      <a:pt x="290" y="65"/>
                    </a:moveTo>
                    <a:lnTo>
                      <a:pt x="288" y="67"/>
                    </a:lnTo>
                    <a:lnTo>
                      <a:pt x="288" y="65"/>
                    </a:lnTo>
                    <a:lnTo>
                      <a:pt x="286" y="65"/>
                    </a:lnTo>
                    <a:lnTo>
                      <a:pt x="288" y="65"/>
                    </a:lnTo>
                    <a:lnTo>
                      <a:pt x="288" y="63"/>
                    </a:lnTo>
                    <a:lnTo>
                      <a:pt x="290" y="65"/>
                    </a:lnTo>
                    <a:close/>
                    <a:moveTo>
                      <a:pt x="188" y="17"/>
                    </a:moveTo>
                    <a:lnTo>
                      <a:pt x="186" y="17"/>
                    </a:lnTo>
                    <a:lnTo>
                      <a:pt x="188" y="17"/>
                    </a:lnTo>
                    <a:close/>
                    <a:moveTo>
                      <a:pt x="186" y="15"/>
                    </a:moveTo>
                    <a:lnTo>
                      <a:pt x="186" y="17"/>
                    </a:lnTo>
                    <a:lnTo>
                      <a:pt x="186" y="15"/>
                    </a:lnTo>
                    <a:lnTo>
                      <a:pt x="186" y="17"/>
                    </a:lnTo>
                    <a:lnTo>
                      <a:pt x="186" y="15"/>
                    </a:lnTo>
                    <a:close/>
                    <a:moveTo>
                      <a:pt x="188" y="15"/>
                    </a:moveTo>
                    <a:lnTo>
                      <a:pt x="188" y="17"/>
                    </a:lnTo>
                    <a:lnTo>
                      <a:pt x="188" y="15"/>
                    </a:lnTo>
                    <a:lnTo>
                      <a:pt x="188" y="17"/>
                    </a:lnTo>
                    <a:lnTo>
                      <a:pt x="188" y="15"/>
                    </a:lnTo>
                    <a:close/>
                    <a:moveTo>
                      <a:pt x="188" y="13"/>
                    </a:moveTo>
                    <a:lnTo>
                      <a:pt x="188" y="15"/>
                    </a:lnTo>
                    <a:lnTo>
                      <a:pt x="190" y="13"/>
                    </a:lnTo>
                    <a:lnTo>
                      <a:pt x="188" y="15"/>
                    </a:lnTo>
                    <a:lnTo>
                      <a:pt x="188" y="13"/>
                    </a:lnTo>
                    <a:close/>
                    <a:moveTo>
                      <a:pt x="399" y="106"/>
                    </a:moveTo>
                    <a:lnTo>
                      <a:pt x="399" y="104"/>
                    </a:lnTo>
                    <a:lnTo>
                      <a:pt x="399" y="106"/>
                    </a:lnTo>
                    <a:close/>
                    <a:moveTo>
                      <a:pt x="190" y="13"/>
                    </a:moveTo>
                    <a:lnTo>
                      <a:pt x="188" y="13"/>
                    </a:lnTo>
                    <a:lnTo>
                      <a:pt x="190" y="13"/>
                    </a:lnTo>
                    <a:close/>
                    <a:moveTo>
                      <a:pt x="397" y="104"/>
                    </a:moveTo>
                    <a:lnTo>
                      <a:pt x="397" y="106"/>
                    </a:lnTo>
                    <a:lnTo>
                      <a:pt x="397" y="104"/>
                    </a:lnTo>
                    <a:lnTo>
                      <a:pt x="397" y="106"/>
                    </a:lnTo>
                    <a:lnTo>
                      <a:pt x="399" y="106"/>
                    </a:lnTo>
                    <a:lnTo>
                      <a:pt x="397" y="106"/>
                    </a:lnTo>
                    <a:lnTo>
                      <a:pt x="397" y="104"/>
                    </a:lnTo>
                    <a:close/>
                    <a:moveTo>
                      <a:pt x="518" y="144"/>
                    </a:moveTo>
                    <a:lnTo>
                      <a:pt x="516" y="144"/>
                    </a:lnTo>
                    <a:lnTo>
                      <a:pt x="518" y="144"/>
                    </a:lnTo>
                    <a:close/>
                    <a:moveTo>
                      <a:pt x="522" y="142"/>
                    </a:moveTo>
                    <a:lnTo>
                      <a:pt x="520" y="142"/>
                    </a:lnTo>
                    <a:lnTo>
                      <a:pt x="522" y="142"/>
                    </a:lnTo>
                    <a:lnTo>
                      <a:pt x="522" y="140"/>
                    </a:lnTo>
                    <a:lnTo>
                      <a:pt x="522" y="142"/>
                    </a:lnTo>
                    <a:close/>
                    <a:moveTo>
                      <a:pt x="430" y="109"/>
                    </a:moveTo>
                    <a:lnTo>
                      <a:pt x="432" y="109"/>
                    </a:lnTo>
                    <a:lnTo>
                      <a:pt x="430" y="109"/>
                    </a:lnTo>
                    <a:close/>
                    <a:moveTo>
                      <a:pt x="522" y="140"/>
                    </a:moveTo>
                    <a:lnTo>
                      <a:pt x="520" y="140"/>
                    </a:lnTo>
                    <a:lnTo>
                      <a:pt x="520" y="142"/>
                    </a:lnTo>
                    <a:lnTo>
                      <a:pt x="518" y="142"/>
                    </a:lnTo>
                    <a:lnTo>
                      <a:pt x="518" y="140"/>
                    </a:lnTo>
                    <a:lnTo>
                      <a:pt x="520" y="140"/>
                    </a:lnTo>
                    <a:lnTo>
                      <a:pt x="522" y="140"/>
                    </a:lnTo>
                    <a:close/>
                    <a:moveTo>
                      <a:pt x="397" y="100"/>
                    </a:moveTo>
                    <a:lnTo>
                      <a:pt x="395" y="100"/>
                    </a:lnTo>
                    <a:lnTo>
                      <a:pt x="395" y="98"/>
                    </a:lnTo>
                    <a:lnTo>
                      <a:pt x="397" y="98"/>
                    </a:lnTo>
                    <a:lnTo>
                      <a:pt x="397" y="96"/>
                    </a:lnTo>
                    <a:lnTo>
                      <a:pt x="397" y="98"/>
                    </a:lnTo>
                    <a:lnTo>
                      <a:pt x="397" y="100"/>
                    </a:lnTo>
                    <a:close/>
                    <a:moveTo>
                      <a:pt x="393" y="86"/>
                    </a:moveTo>
                    <a:lnTo>
                      <a:pt x="395" y="88"/>
                    </a:lnTo>
                    <a:lnTo>
                      <a:pt x="395" y="90"/>
                    </a:lnTo>
                    <a:lnTo>
                      <a:pt x="397" y="90"/>
                    </a:lnTo>
                    <a:lnTo>
                      <a:pt x="397" y="92"/>
                    </a:lnTo>
                    <a:lnTo>
                      <a:pt x="397" y="94"/>
                    </a:lnTo>
                    <a:lnTo>
                      <a:pt x="397" y="96"/>
                    </a:lnTo>
                    <a:lnTo>
                      <a:pt x="395" y="98"/>
                    </a:lnTo>
                    <a:lnTo>
                      <a:pt x="395" y="100"/>
                    </a:lnTo>
                    <a:lnTo>
                      <a:pt x="395" y="98"/>
                    </a:lnTo>
                    <a:lnTo>
                      <a:pt x="395" y="96"/>
                    </a:lnTo>
                    <a:lnTo>
                      <a:pt x="395" y="94"/>
                    </a:lnTo>
                    <a:lnTo>
                      <a:pt x="395" y="92"/>
                    </a:lnTo>
                    <a:lnTo>
                      <a:pt x="395" y="90"/>
                    </a:lnTo>
                    <a:lnTo>
                      <a:pt x="393" y="90"/>
                    </a:lnTo>
                    <a:lnTo>
                      <a:pt x="393" y="88"/>
                    </a:lnTo>
                    <a:lnTo>
                      <a:pt x="391" y="88"/>
                    </a:lnTo>
                    <a:lnTo>
                      <a:pt x="391" y="86"/>
                    </a:lnTo>
                    <a:lnTo>
                      <a:pt x="390" y="86"/>
                    </a:lnTo>
                    <a:lnTo>
                      <a:pt x="390" y="84"/>
                    </a:lnTo>
                    <a:lnTo>
                      <a:pt x="390" y="82"/>
                    </a:lnTo>
                    <a:lnTo>
                      <a:pt x="388" y="82"/>
                    </a:lnTo>
                    <a:lnTo>
                      <a:pt x="390" y="82"/>
                    </a:lnTo>
                    <a:lnTo>
                      <a:pt x="388" y="82"/>
                    </a:lnTo>
                    <a:lnTo>
                      <a:pt x="388" y="81"/>
                    </a:lnTo>
                    <a:lnTo>
                      <a:pt x="390" y="81"/>
                    </a:lnTo>
                    <a:lnTo>
                      <a:pt x="390" y="82"/>
                    </a:lnTo>
                    <a:lnTo>
                      <a:pt x="391" y="84"/>
                    </a:lnTo>
                    <a:lnTo>
                      <a:pt x="393" y="86"/>
                    </a:lnTo>
                    <a:close/>
                    <a:moveTo>
                      <a:pt x="388" y="73"/>
                    </a:moveTo>
                    <a:lnTo>
                      <a:pt x="388" y="75"/>
                    </a:lnTo>
                    <a:lnTo>
                      <a:pt x="386" y="75"/>
                    </a:lnTo>
                    <a:lnTo>
                      <a:pt x="386" y="73"/>
                    </a:lnTo>
                    <a:lnTo>
                      <a:pt x="388" y="73"/>
                    </a:lnTo>
                    <a:close/>
                    <a:moveTo>
                      <a:pt x="440" y="84"/>
                    </a:moveTo>
                    <a:lnTo>
                      <a:pt x="440" y="82"/>
                    </a:lnTo>
                    <a:lnTo>
                      <a:pt x="440" y="84"/>
                    </a:lnTo>
                    <a:close/>
                    <a:moveTo>
                      <a:pt x="438" y="81"/>
                    </a:moveTo>
                    <a:lnTo>
                      <a:pt x="440" y="81"/>
                    </a:lnTo>
                    <a:lnTo>
                      <a:pt x="440" y="82"/>
                    </a:lnTo>
                    <a:lnTo>
                      <a:pt x="438" y="82"/>
                    </a:lnTo>
                    <a:lnTo>
                      <a:pt x="438" y="81"/>
                    </a:lnTo>
                    <a:close/>
                    <a:moveTo>
                      <a:pt x="491" y="98"/>
                    </a:moveTo>
                    <a:lnTo>
                      <a:pt x="489" y="98"/>
                    </a:lnTo>
                    <a:lnTo>
                      <a:pt x="491" y="98"/>
                    </a:lnTo>
                    <a:close/>
                    <a:moveTo>
                      <a:pt x="491" y="98"/>
                    </a:moveTo>
                    <a:lnTo>
                      <a:pt x="489" y="98"/>
                    </a:lnTo>
                    <a:lnTo>
                      <a:pt x="491" y="98"/>
                    </a:lnTo>
                    <a:close/>
                    <a:moveTo>
                      <a:pt x="428" y="77"/>
                    </a:moveTo>
                    <a:lnTo>
                      <a:pt x="428" y="75"/>
                    </a:lnTo>
                    <a:lnTo>
                      <a:pt x="428" y="77"/>
                    </a:lnTo>
                    <a:close/>
                    <a:moveTo>
                      <a:pt x="415" y="61"/>
                    </a:moveTo>
                    <a:lnTo>
                      <a:pt x="413" y="61"/>
                    </a:lnTo>
                    <a:lnTo>
                      <a:pt x="415" y="61"/>
                    </a:lnTo>
                    <a:close/>
                    <a:moveTo>
                      <a:pt x="415" y="61"/>
                    </a:moveTo>
                    <a:lnTo>
                      <a:pt x="416" y="61"/>
                    </a:lnTo>
                    <a:lnTo>
                      <a:pt x="415" y="61"/>
                    </a:lnTo>
                    <a:close/>
                    <a:moveTo>
                      <a:pt x="455" y="75"/>
                    </a:moveTo>
                    <a:lnTo>
                      <a:pt x="455" y="77"/>
                    </a:lnTo>
                    <a:lnTo>
                      <a:pt x="455" y="75"/>
                    </a:lnTo>
                    <a:lnTo>
                      <a:pt x="453" y="75"/>
                    </a:lnTo>
                    <a:lnTo>
                      <a:pt x="455" y="75"/>
                    </a:lnTo>
                    <a:close/>
                    <a:moveTo>
                      <a:pt x="416" y="59"/>
                    </a:moveTo>
                    <a:lnTo>
                      <a:pt x="416" y="61"/>
                    </a:lnTo>
                    <a:lnTo>
                      <a:pt x="415" y="61"/>
                    </a:lnTo>
                    <a:lnTo>
                      <a:pt x="415" y="59"/>
                    </a:lnTo>
                    <a:lnTo>
                      <a:pt x="415" y="61"/>
                    </a:lnTo>
                    <a:lnTo>
                      <a:pt x="415" y="59"/>
                    </a:lnTo>
                    <a:lnTo>
                      <a:pt x="416" y="59"/>
                    </a:lnTo>
                    <a:close/>
                    <a:moveTo>
                      <a:pt x="401" y="34"/>
                    </a:moveTo>
                    <a:lnTo>
                      <a:pt x="399" y="34"/>
                    </a:lnTo>
                    <a:lnTo>
                      <a:pt x="401" y="34"/>
                    </a:lnTo>
                    <a:lnTo>
                      <a:pt x="401" y="32"/>
                    </a:lnTo>
                    <a:lnTo>
                      <a:pt x="401" y="34"/>
                    </a:lnTo>
                    <a:close/>
                    <a:moveTo>
                      <a:pt x="403" y="25"/>
                    </a:moveTo>
                    <a:lnTo>
                      <a:pt x="403" y="23"/>
                    </a:lnTo>
                    <a:lnTo>
                      <a:pt x="403" y="25"/>
                    </a:lnTo>
                    <a:close/>
                    <a:moveTo>
                      <a:pt x="411" y="21"/>
                    </a:moveTo>
                    <a:lnTo>
                      <a:pt x="411" y="23"/>
                    </a:lnTo>
                    <a:lnTo>
                      <a:pt x="411" y="21"/>
                    </a:lnTo>
                    <a:lnTo>
                      <a:pt x="411" y="23"/>
                    </a:lnTo>
                    <a:lnTo>
                      <a:pt x="411" y="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5" name="Freeform 72"/>
              <p:cNvSpPr>
                <a:spLocks noEditPoints="1"/>
              </p:cNvSpPr>
              <p:nvPr/>
            </p:nvSpPr>
            <p:spPr bwMode="auto">
              <a:xfrm>
                <a:off x="1828307" y="1473499"/>
                <a:ext cx="905049" cy="251211"/>
              </a:xfrm>
              <a:custGeom>
                <a:avLst/>
                <a:gdLst>
                  <a:gd name="T0" fmla="*/ 3 w 526"/>
                  <a:gd name="T1" fmla="*/ 67 h 146"/>
                  <a:gd name="T2" fmla="*/ 7 w 526"/>
                  <a:gd name="T3" fmla="*/ 63 h 146"/>
                  <a:gd name="T4" fmla="*/ 182 w 526"/>
                  <a:gd name="T5" fmla="*/ 131 h 146"/>
                  <a:gd name="T6" fmla="*/ 184 w 526"/>
                  <a:gd name="T7" fmla="*/ 127 h 146"/>
                  <a:gd name="T8" fmla="*/ 98 w 526"/>
                  <a:gd name="T9" fmla="*/ 79 h 146"/>
                  <a:gd name="T10" fmla="*/ 186 w 526"/>
                  <a:gd name="T11" fmla="*/ 121 h 146"/>
                  <a:gd name="T12" fmla="*/ 211 w 526"/>
                  <a:gd name="T13" fmla="*/ 123 h 146"/>
                  <a:gd name="T14" fmla="*/ 25 w 526"/>
                  <a:gd name="T15" fmla="*/ 17 h 146"/>
                  <a:gd name="T16" fmla="*/ 232 w 526"/>
                  <a:gd name="T17" fmla="*/ 109 h 146"/>
                  <a:gd name="T18" fmla="*/ 36 w 526"/>
                  <a:gd name="T19" fmla="*/ 0 h 146"/>
                  <a:gd name="T20" fmla="*/ 322 w 526"/>
                  <a:gd name="T21" fmla="*/ 131 h 146"/>
                  <a:gd name="T22" fmla="*/ 94 w 526"/>
                  <a:gd name="T23" fmla="*/ 23 h 146"/>
                  <a:gd name="T24" fmla="*/ 251 w 526"/>
                  <a:gd name="T25" fmla="*/ 94 h 146"/>
                  <a:gd name="T26" fmla="*/ 261 w 526"/>
                  <a:gd name="T27" fmla="*/ 98 h 146"/>
                  <a:gd name="T28" fmla="*/ 263 w 526"/>
                  <a:gd name="T29" fmla="*/ 96 h 146"/>
                  <a:gd name="T30" fmla="*/ 393 w 526"/>
                  <a:gd name="T31" fmla="*/ 146 h 146"/>
                  <a:gd name="T32" fmla="*/ 192 w 526"/>
                  <a:gd name="T33" fmla="*/ 59 h 146"/>
                  <a:gd name="T34" fmla="*/ 194 w 526"/>
                  <a:gd name="T35" fmla="*/ 59 h 146"/>
                  <a:gd name="T36" fmla="*/ 378 w 526"/>
                  <a:gd name="T37" fmla="*/ 136 h 146"/>
                  <a:gd name="T38" fmla="*/ 207 w 526"/>
                  <a:gd name="T39" fmla="*/ 61 h 146"/>
                  <a:gd name="T40" fmla="*/ 292 w 526"/>
                  <a:gd name="T41" fmla="*/ 96 h 146"/>
                  <a:gd name="T42" fmla="*/ 340 w 526"/>
                  <a:gd name="T43" fmla="*/ 113 h 146"/>
                  <a:gd name="T44" fmla="*/ 224 w 526"/>
                  <a:gd name="T45" fmla="*/ 65 h 146"/>
                  <a:gd name="T46" fmla="*/ 230 w 526"/>
                  <a:gd name="T47" fmla="*/ 67 h 146"/>
                  <a:gd name="T48" fmla="*/ 228 w 526"/>
                  <a:gd name="T49" fmla="*/ 65 h 146"/>
                  <a:gd name="T50" fmla="*/ 330 w 526"/>
                  <a:gd name="T51" fmla="*/ 107 h 146"/>
                  <a:gd name="T52" fmla="*/ 328 w 526"/>
                  <a:gd name="T53" fmla="*/ 107 h 146"/>
                  <a:gd name="T54" fmla="*/ 380 w 526"/>
                  <a:gd name="T55" fmla="*/ 127 h 146"/>
                  <a:gd name="T56" fmla="*/ 330 w 526"/>
                  <a:gd name="T57" fmla="*/ 106 h 146"/>
                  <a:gd name="T58" fmla="*/ 382 w 526"/>
                  <a:gd name="T59" fmla="*/ 127 h 146"/>
                  <a:gd name="T60" fmla="*/ 345 w 526"/>
                  <a:gd name="T61" fmla="*/ 111 h 146"/>
                  <a:gd name="T62" fmla="*/ 384 w 526"/>
                  <a:gd name="T63" fmla="*/ 127 h 146"/>
                  <a:gd name="T64" fmla="*/ 386 w 526"/>
                  <a:gd name="T65" fmla="*/ 127 h 146"/>
                  <a:gd name="T66" fmla="*/ 249 w 526"/>
                  <a:gd name="T67" fmla="*/ 67 h 146"/>
                  <a:gd name="T68" fmla="*/ 393 w 526"/>
                  <a:gd name="T69" fmla="*/ 125 h 146"/>
                  <a:gd name="T70" fmla="*/ 247 w 526"/>
                  <a:gd name="T71" fmla="*/ 63 h 146"/>
                  <a:gd name="T72" fmla="*/ 251 w 526"/>
                  <a:gd name="T73" fmla="*/ 63 h 146"/>
                  <a:gd name="T74" fmla="*/ 148 w 526"/>
                  <a:gd name="T75" fmla="*/ 9 h 146"/>
                  <a:gd name="T76" fmla="*/ 424 w 526"/>
                  <a:gd name="T77" fmla="*/ 131 h 146"/>
                  <a:gd name="T78" fmla="*/ 280 w 526"/>
                  <a:gd name="T79" fmla="*/ 71 h 146"/>
                  <a:gd name="T80" fmla="*/ 272 w 526"/>
                  <a:gd name="T81" fmla="*/ 63 h 146"/>
                  <a:gd name="T82" fmla="*/ 271 w 526"/>
                  <a:gd name="T83" fmla="*/ 61 h 146"/>
                  <a:gd name="T84" fmla="*/ 401 w 526"/>
                  <a:gd name="T85" fmla="*/ 115 h 146"/>
                  <a:gd name="T86" fmla="*/ 393 w 526"/>
                  <a:gd name="T87" fmla="*/ 113 h 146"/>
                  <a:gd name="T88" fmla="*/ 395 w 526"/>
                  <a:gd name="T89" fmla="*/ 111 h 146"/>
                  <a:gd name="T90" fmla="*/ 186 w 526"/>
                  <a:gd name="T91" fmla="*/ 15 h 146"/>
                  <a:gd name="T92" fmla="*/ 190 w 526"/>
                  <a:gd name="T93" fmla="*/ 19 h 146"/>
                  <a:gd name="T94" fmla="*/ 190 w 526"/>
                  <a:gd name="T95" fmla="*/ 17 h 146"/>
                  <a:gd name="T96" fmla="*/ 190 w 526"/>
                  <a:gd name="T97" fmla="*/ 17 h 146"/>
                  <a:gd name="T98" fmla="*/ 190 w 526"/>
                  <a:gd name="T99" fmla="*/ 15 h 146"/>
                  <a:gd name="T100" fmla="*/ 190 w 526"/>
                  <a:gd name="T101" fmla="*/ 13 h 146"/>
                  <a:gd name="T102" fmla="*/ 516 w 526"/>
                  <a:gd name="T103" fmla="*/ 146 h 146"/>
                  <a:gd name="T104" fmla="*/ 399 w 526"/>
                  <a:gd name="T105" fmla="*/ 104 h 146"/>
                  <a:gd name="T106" fmla="*/ 526 w 526"/>
                  <a:gd name="T107" fmla="*/ 142 h 146"/>
                  <a:gd name="T108" fmla="*/ 442 w 526"/>
                  <a:gd name="T109" fmla="*/ 82 h 146"/>
                  <a:gd name="T110" fmla="*/ 415 w 526"/>
                  <a:gd name="T111" fmla="*/ 59 h 146"/>
                  <a:gd name="T112" fmla="*/ 399 w 526"/>
                  <a:gd name="T113"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6" h="146">
                    <a:moveTo>
                      <a:pt x="2" y="77"/>
                    </a:moveTo>
                    <a:lnTo>
                      <a:pt x="0" y="77"/>
                    </a:lnTo>
                    <a:lnTo>
                      <a:pt x="2" y="77"/>
                    </a:lnTo>
                    <a:close/>
                    <a:moveTo>
                      <a:pt x="36" y="90"/>
                    </a:moveTo>
                    <a:lnTo>
                      <a:pt x="36" y="88"/>
                    </a:lnTo>
                    <a:lnTo>
                      <a:pt x="36" y="90"/>
                    </a:lnTo>
                    <a:close/>
                    <a:moveTo>
                      <a:pt x="78" y="107"/>
                    </a:moveTo>
                    <a:lnTo>
                      <a:pt x="77" y="107"/>
                    </a:lnTo>
                    <a:lnTo>
                      <a:pt x="78" y="107"/>
                    </a:lnTo>
                    <a:close/>
                    <a:moveTo>
                      <a:pt x="3" y="67"/>
                    </a:moveTo>
                    <a:lnTo>
                      <a:pt x="3" y="69"/>
                    </a:lnTo>
                    <a:lnTo>
                      <a:pt x="3" y="67"/>
                    </a:lnTo>
                    <a:lnTo>
                      <a:pt x="3" y="69"/>
                    </a:lnTo>
                    <a:lnTo>
                      <a:pt x="3" y="67"/>
                    </a:lnTo>
                    <a:close/>
                    <a:moveTo>
                      <a:pt x="77" y="106"/>
                    </a:moveTo>
                    <a:lnTo>
                      <a:pt x="77" y="104"/>
                    </a:lnTo>
                    <a:lnTo>
                      <a:pt x="77" y="106"/>
                    </a:lnTo>
                    <a:close/>
                    <a:moveTo>
                      <a:pt x="7" y="63"/>
                    </a:moveTo>
                    <a:lnTo>
                      <a:pt x="7" y="65"/>
                    </a:lnTo>
                    <a:lnTo>
                      <a:pt x="7" y="63"/>
                    </a:lnTo>
                    <a:close/>
                    <a:moveTo>
                      <a:pt x="180" y="131"/>
                    </a:moveTo>
                    <a:lnTo>
                      <a:pt x="180" y="132"/>
                    </a:lnTo>
                    <a:lnTo>
                      <a:pt x="180" y="131"/>
                    </a:lnTo>
                    <a:close/>
                    <a:moveTo>
                      <a:pt x="182" y="131"/>
                    </a:moveTo>
                    <a:lnTo>
                      <a:pt x="182" y="132"/>
                    </a:lnTo>
                    <a:lnTo>
                      <a:pt x="182" y="131"/>
                    </a:lnTo>
                    <a:close/>
                    <a:moveTo>
                      <a:pt x="182" y="132"/>
                    </a:moveTo>
                    <a:lnTo>
                      <a:pt x="182" y="131"/>
                    </a:lnTo>
                    <a:lnTo>
                      <a:pt x="182" y="132"/>
                    </a:lnTo>
                    <a:close/>
                    <a:moveTo>
                      <a:pt x="182" y="131"/>
                    </a:moveTo>
                    <a:lnTo>
                      <a:pt x="182" y="132"/>
                    </a:lnTo>
                    <a:lnTo>
                      <a:pt x="182" y="131"/>
                    </a:lnTo>
                    <a:close/>
                    <a:moveTo>
                      <a:pt x="184" y="132"/>
                    </a:moveTo>
                    <a:lnTo>
                      <a:pt x="182" y="132"/>
                    </a:lnTo>
                    <a:lnTo>
                      <a:pt x="184" y="132"/>
                    </a:lnTo>
                    <a:close/>
                    <a:moveTo>
                      <a:pt x="182" y="127"/>
                    </a:moveTo>
                    <a:lnTo>
                      <a:pt x="180" y="127"/>
                    </a:lnTo>
                    <a:lnTo>
                      <a:pt x="182" y="127"/>
                    </a:lnTo>
                    <a:close/>
                    <a:moveTo>
                      <a:pt x="186" y="127"/>
                    </a:moveTo>
                    <a:lnTo>
                      <a:pt x="184" y="127"/>
                    </a:lnTo>
                    <a:lnTo>
                      <a:pt x="186" y="127"/>
                    </a:lnTo>
                    <a:close/>
                    <a:moveTo>
                      <a:pt x="184" y="127"/>
                    </a:moveTo>
                    <a:lnTo>
                      <a:pt x="186" y="127"/>
                    </a:lnTo>
                    <a:lnTo>
                      <a:pt x="184" y="127"/>
                    </a:lnTo>
                    <a:close/>
                    <a:moveTo>
                      <a:pt x="184" y="125"/>
                    </a:moveTo>
                    <a:lnTo>
                      <a:pt x="182" y="125"/>
                    </a:lnTo>
                    <a:lnTo>
                      <a:pt x="184" y="125"/>
                    </a:lnTo>
                    <a:close/>
                    <a:moveTo>
                      <a:pt x="98" y="79"/>
                    </a:moveTo>
                    <a:lnTo>
                      <a:pt x="96" y="79"/>
                    </a:lnTo>
                    <a:lnTo>
                      <a:pt x="98" y="79"/>
                    </a:lnTo>
                    <a:close/>
                    <a:moveTo>
                      <a:pt x="184" y="123"/>
                    </a:moveTo>
                    <a:lnTo>
                      <a:pt x="186" y="123"/>
                    </a:lnTo>
                    <a:lnTo>
                      <a:pt x="184" y="123"/>
                    </a:lnTo>
                    <a:close/>
                    <a:moveTo>
                      <a:pt x="184" y="123"/>
                    </a:moveTo>
                    <a:lnTo>
                      <a:pt x="184" y="121"/>
                    </a:lnTo>
                    <a:lnTo>
                      <a:pt x="184" y="123"/>
                    </a:lnTo>
                    <a:close/>
                    <a:moveTo>
                      <a:pt x="196" y="127"/>
                    </a:moveTo>
                    <a:lnTo>
                      <a:pt x="196" y="129"/>
                    </a:lnTo>
                    <a:lnTo>
                      <a:pt x="196" y="127"/>
                    </a:lnTo>
                    <a:close/>
                    <a:moveTo>
                      <a:pt x="186" y="121"/>
                    </a:moveTo>
                    <a:lnTo>
                      <a:pt x="184" y="121"/>
                    </a:lnTo>
                    <a:lnTo>
                      <a:pt x="186" y="121"/>
                    </a:lnTo>
                    <a:close/>
                    <a:moveTo>
                      <a:pt x="188" y="123"/>
                    </a:moveTo>
                    <a:lnTo>
                      <a:pt x="186" y="123"/>
                    </a:lnTo>
                    <a:lnTo>
                      <a:pt x="188" y="123"/>
                    </a:lnTo>
                    <a:close/>
                    <a:moveTo>
                      <a:pt x="188" y="121"/>
                    </a:moveTo>
                    <a:lnTo>
                      <a:pt x="188" y="123"/>
                    </a:lnTo>
                    <a:lnTo>
                      <a:pt x="188" y="121"/>
                    </a:lnTo>
                    <a:close/>
                    <a:moveTo>
                      <a:pt x="209" y="125"/>
                    </a:moveTo>
                    <a:lnTo>
                      <a:pt x="211" y="123"/>
                    </a:lnTo>
                    <a:lnTo>
                      <a:pt x="211" y="125"/>
                    </a:lnTo>
                    <a:lnTo>
                      <a:pt x="209" y="125"/>
                    </a:lnTo>
                    <a:close/>
                    <a:moveTo>
                      <a:pt x="196" y="115"/>
                    </a:moveTo>
                    <a:lnTo>
                      <a:pt x="196" y="117"/>
                    </a:lnTo>
                    <a:lnTo>
                      <a:pt x="196" y="115"/>
                    </a:lnTo>
                    <a:close/>
                    <a:moveTo>
                      <a:pt x="130" y="84"/>
                    </a:moveTo>
                    <a:lnTo>
                      <a:pt x="130" y="82"/>
                    </a:lnTo>
                    <a:lnTo>
                      <a:pt x="130" y="84"/>
                    </a:lnTo>
                    <a:close/>
                    <a:moveTo>
                      <a:pt x="25" y="19"/>
                    </a:moveTo>
                    <a:lnTo>
                      <a:pt x="25" y="17"/>
                    </a:lnTo>
                    <a:lnTo>
                      <a:pt x="25" y="19"/>
                    </a:lnTo>
                    <a:close/>
                    <a:moveTo>
                      <a:pt x="32" y="7"/>
                    </a:moveTo>
                    <a:lnTo>
                      <a:pt x="30" y="7"/>
                    </a:lnTo>
                    <a:lnTo>
                      <a:pt x="32" y="7"/>
                    </a:lnTo>
                    <a:close/>
                    <a:moveTo>
                      <a:pt x="34" y="7"/>
                    </a:moveTo>
                    <a:lnTo>
                      <a:pt x="32" y="7"/>
                    </a:lnTo>
                    <a:lnTo>
                      <a:pt x="34" y="7"/>
                    </a:lnTo>
                    <a:close/>
                    <a:moveTo>
                      <a:pt x="232" y="109"/>
                    </a:moveTo>
                    <a:lnTo>
                      <a:pt x="234" y="109"/>
                    </a:lnTo>
                    <a:lnTo>
                      <a:pt x="232" y="109"/>
                    </a:lnTo>
                    <a:close/>
                    <a:moveTo>
                      <a:pt x="32" y="7"/>
                    </a:moveTo>
                    <a:lnTo>
                      <a:pt x="34" y="7"/>
                    </a:lnTo>
                    <a:lnTo>
                      <a:pt x="32" y="7"/>
                    </a:lnTo>
                    <a:close/>
                    <a:moveTo>
                      <a:pt x="32" y="4"/>
                    </a:moveTo>
                    <a:lnTo>
                      <a:pt x="34" y="4"/>
                    </a:lnTo>
                    <a:lnTo>
                      <a:pt x="32" y="4"/>
                    </a:lnTo>
                    <a:close/>
                    <a:moveTo>
                      <a:pt x="36" y="0"/>
                    </a:moveTo>
                    <a:lnTo>
                      <a:pt x="34" y="2"/>
                    </a:lnTo>
                    <a:lnTo>
                      <a:pt x="34" y="0"/>
                    </a:lnTo>
                    <a:lnTo>
                      <a:pt x="36" y="0"/>
                    </a:lnTo>
                    <a:close/>
                    <a:moveTo>
                      <a:pt x="36" y="0"/>
                    </a:moveTo>
                    <a:lnTo>
                      <a:pt x="34" y="0"/>
                    </a:lnTo>
                    <a:lnTo>
                      <a:pt x="36" y="0"/>
                    </a:lnTo>
                    <a:close/>
                    <a:moveTo>
                      <a:pt x="165" y="67"/>
                    </a:moveTo>
                    <a:lnTo>
                      <a:pt x="165" y="65"/>
                    </a:lnTo>
                    <a:lnTo>
                      <a:pt x="165" y="67"/>
                    </a:lnTo>
                    <a:close/>
                    <a:moveTo>
                      <a:pt x="92" y="27"/>
                    </a:moveTo>
                    <a:lnTo>
                      <a:pt x="92" y="29"/>
                    </a:lnTo>
                    <a:lnTo>
                      <a:pt x="92" y="27"/>
                    </a:lnTo>
                    <a:close/>
                    <a:moveTo>
                      <a:pt x="322" y="131"/>
                    </a:moveTo>
                    <a:lnTo>
                      <a:pt x="320" y="131"/>
                    </a:lnTo>
                    <a:lnTo>
                      <a:pt x="322" y="131"/>
                    </a:lnTo>
                    <a:close/>
                    <a:moveTo>
                      <a:pt x="94" y="23"/>
                    </a:moveTo>
                    <a:lnTo>
                      <a:pt x="92" y="23"/>
                    </a:lnTo>
                    <a:lnTo>
                      <a:pt x="94" y="23"/>
                    </a:lnTo>
                    <a:close/>
                    <a:moveTo>
                      <a:pt x="94" y="23"/>
                    </a:moveTo>
                    <a:lnTo>
                      <a:pt x="92" y="23"/>
                    </a:lnTo>
                    <a:lnTo>
                      <a:pt x="92" y="21"/>
                    </a:lnTo>
                    <a:lnTo>
                      <a:pt x="92" y="23"/>
                    </a:lnTo>
                    <a:lnTo>
                      <a:pt x="94" y="23"/>
                    </a:lnTo>
                    <a:close/>
                    <a:moveTo>
                      <a:pt x="88" y="17"/>
                    </a:moveTo>
                    <a:lnTo>
                      <a:pt x="86" y="17"/>
                    </a:lnTo>
                    <a:lnTo>
                      <a:pt x="88" y="17"/>
                    </a:lnTo>
                    <a:close/>
                    <a:moveTo>
                      <a:pt x="242" y="90"/>
                    </a:moveTo>
                    <a:lnTo>
                      <a:pt x="242" y="92"/>
                    </a:lnTo>
                    <a:lnTo>
                      <a:pt x="242" y="90"/>
                    </a:lnTo>
                    <a:close/>
                    <a:moveTo>
                      <a:pt x="251" y="94"/>
                    </a:moveTo>
                    <a:lnTo>
                      <a:pt x="251" y="96"/>
                    </a:lnTo>
                    <a:lnTo>
                      <a:pt x="251" y="94"/>
                    </a:lnTo>
                    <a:close/>
                    <a:moveTo>
                      <a:pt x="251" y="94"/>
                    </a:moveTo>
                    <a:lnTo>
                      <a:pt x="251" y="96"/>
                    </a:lnTo>
                    <a:lnTo>
                      <a:pt x="251" y="94"/>
                    </a:lnTo>
                    <a:close/>
                    <a:moveTo>
                      <a:pt x="251" y="96"/>
                    </a:moveTo>
                    <a:lnTo>
                      <a:pt x="251" y="94"/>
                    </a:lnTo>
                    <a:lnTo>
                      <a:pt x="251" y="96"/>
                    </a:lnTo>
                    <a:lnTo>
                      <a:pt x="253" y="96"/>
                    </a:lnTo>
                    <a:lnTo>
                      <a:pt x="251" y="96"/>
                    </a:lnTo>
                    <a:close/>
                    <a:moveTo>
                      <a:pt x="261" y="98"/>
                    </a:moveTo>
                    <a:lnTo>
                      <a:pt x="261" y="100"/>
                    </a:lnTo>
                    <a:lnTo>
                      <a:pt x="261" y="98"/>
                    </a:lnTo>
                    <a:close/>
                    <a:moveTo>
                      <a:pt x="224" y="77"/>
                    </a:moveTo>
                    <a:lnTo>
                      <a:pt x="223" y="77"/>
                    </a:lnTo>
                    <a:lnTo>
                      <a:pt x="224" y="77"/>
                    </a:lnTo>
                    <a:close/>
                    <a:moveTo>
                      <a:pt x="263" y="94"/>
                    </a:moveTo>
                    <a:lnTo>
                      <a:pt x="265" y="94"/>
                    </a:lnTo>
                    <a:lnTo>
                      <a:pt x="265" y="96"/>
                    </a:lnTo>
                    <a:lnTo>
                      <a:pt x="263" y="96"/>
                    </a:lnTo>
                    <a:lnTo>
                      <a:pt x="263" y="94"/>
                    </a:lnTo>
                    <a:close/>
                    <a:moveTo>
                      <a:pt x="263" y="94"/>
                    </a:moveTo>
                    <a:lnTo>
                      <a:pt x="263" y="96"/>
                    </a:lnTo>
                    <a:lnTo>
                      <a:pt x="263" y="94"/>
                    </a:lnTo>
                    <a:lnTo>
                      <a:pt x="265" y="94"/>
                    </a:lnTo>
                    <a:lnTo>
                      <a:pt x="263" y="94"/>
                    </a:lnTo>
                    <a:close/>
                    <a:moveTo>
                      <a:pt x="388" y="144"/>
                    </a:moveTo>
                    <a:lnTo>
                      <a:pt x="386" y="146"/>
                    </a:lnTo>
                    <a:lnTo>
                      <a:pt x="386" y="144"/>
                    </a:lnTo>
                    <a:lnTo>
                      <a:pt x="388" y="144"/>
                    </a:lnTo>
                    <a:close/>
                    <a:moveTo>
                      <a:pt x="393" y="146"/>
                    </a:moveTo>
                    <a:lnTo>
                      <a:pt x="392" y="146"/>
                    </a:lnTo>
                    <a:lnTo>
                      <a:pt x="393" y="146"/>
                    </a:lnTo>
                    <a:close/>
                    <a:moveTo>
                      <a:pt x="393" y="146"/>
                    </a:moveTo>
                    <a:lnTo>
                      <a:pt x="392" y="146"/>
                    </a:lnTo>
                    <a:lnTo>
                      <a:pt x="393" y="146"/>
                    </a:lnTo>
                    <a:close/>
                    <a:moveTo>
                      <a:pt x="395" y="146"/>
                    </a:moveTo>
                    <a:lnTo>
                      <a:pt x="393" y="146"/>
                    </a:lnTo>
                    <a:lnTo>
                      <a:pt x="395" y="146"/>
                    </a:lnTo>
                    <a:close/>
                    <a:moveTo>
                      <a:pt x="190" y="57"/>
                    </a:moveTo>
                    <a:lnTo>
                      <a:pt x="190" y="59"/>
                    </a:lnTo>
                    <a:lnTo>
                      <a:pt x="190" y="57"/>
                    </a:lnTo>
                    <a:close/>
                    <a:moveTo>
                      <a:pt x="192" y="59"/>
                    </a:moveTo>
                    <a:lnTo>
                      <a:pt x="192" y="57"/>
                    </a:lnTo>
                    <a:lnTo>
                      <a:pt x="192" y="59"/>
                    </a:lnTo>
                    <a:close/>
                    <a:moveTo>
                      <a:pt x="255" y="88"/>
                    </a:moveTo>
                    <a:lnTo>
                      <a:pt x="253" y="88"/>
                    </a:lnTo>
                    <a:lnTo>
                      <a:pt x="253" y="86"/>
                    </a:lnTo>
                    <a:lnTo>
                      <a:pt x="255" y="88"/>
                    </a:lnTo>
                    <a:close/>
                    <a:moveTo>
                      <a:pt x="194" y="59"/>
                    </a:moveTo>
                    <a:lnTo>
                      <a:pt x="194" y="57"/>
                    </a:lnTo>
                    <a:lnTo>
                      <a:pt x="194" y="59"/>
                    </a:lnTo>
                    <a:close/>
                    <a:moveTo>
                      <a:pt x="194" y="59"/>
                    </a:moveTo>
                    <a:lnTo>
                      <a:pt x="194" y="57"/>
                    </a:lnTo>
                    <a:lnTo>
                      <a:pt x="194" y="59"/>
                    </a:lnTo>
                    <a:close/>
                    <a:moveTo>
                      <a:pt x="194" y="57"/>
                    </a:moveTo>
                    <a:lnTo>
                      <a:pt x="192" y="57"/>
                    </a:lnTo>
                    <a:lnTo>
                      <a:pt x="194" y="57"/>
                    </a:lnTo>
                    <a:close/>
                    <a:moveTo>
                      <a:pt x="194" y="57"/>
                    </a:moveTo>
                    <a:lnTo>
                      <a:pt x="194" y="59"/>
                    </a:lnTo>
                    <a:lnTo>
                      <a:pt x="194" y="57"/>
                    </a:lnTo>
                    <a:close/>
                    <a:moveTo>
                      <a:pt x="380" y="136"/>
                    </a:moveTo>
                    <a:lnTo>
                      <a:pt x="378" y="136"/>
                    </a:lnTo>
                    <a:lnTo>
                      <a:pt x="380" y="136"/>
                    </a:lnTo>
                    <a:close/>
                    <a:moveTo>
                      <a:pt x="380" y="136"/>
                    </a:moveTo>
                    <a:lnTo>
                      <a:pt x="378" y="136"/>
                    </a:lnTo>
                    <a:lnTo>
                      <a:pt x="380" y="136"/>
                    </a:lnTo>
                    <a:close/>
                    <a:moveTo>
                      <a:pt x="207" y="63"/>
                    </a:moveTo>
                    <a:lnTo>
                      <a:pt x="207" y="61"/>
                    </a:lnTo>
                    <a:lnTo>
                      <a:pt x="207" y="63"/>
                    </a:lnTo>
                    <a:close/>
                    <a:moveTo>
                      <a:pt x="205" y="61"/>
                    </a:moveTo>
                    <a:lnTo>
                      <a:pt x="205" y="59"/>
                    </a:lnTo>
                    <a:lnTo>
                      <a:pt x="207" y="61"/>
                    </a:lnTo>
                    <a:lnTo>
                      <a:pt x="205" y="61"/>
                    </a:lnTo>
                    <a:close/>
                    <a:moveTo>
                      <a:pt x="207" y="59"/>
                    </a:moveTo>
                    <a:lnTo>
                      <a:pt x="207" y="61"/>
                    </a:lnTo>
                    <a:lnTo>
                      <a:pt x="207" y="59"/>
                    </a:lnTo>
                    <a:close/>
                    <a:moveTo>
                      <a:pt x="399" y="142"/>
                    </a:moveTo>
                    <a:lnTo>
                      <a:pt x="399" y="140"/>
                    </a:lnTo>
                    <a:lnTo>
                      <a:pt x="399" y="142"/>
                    </a:lnTo>
                    <a:close/>
                    <a:moveTo>
                      <a:pt x="292" y="96"/>
                    </a:moveTo>
                    <a:lnTo>
                      <a:pt x="292" y="98"/>
                    </a:lnTo>
                    <a:lnTo>
                      <a:pt x="292" y="96"/>
                    </a:lnTo>
                    <a:close/>
                    <a:moveTo>
                      <a:pt x="401" y="140"/>
                    </a:moveTo>
                    <a:lnTo>
                      <a:pt x="401" y="138"/>
                    </a:lnTo>
                    <a:lnTo>
                      <a:pt x="401" y="140"/>
                    </a:lnTo>
                    <a:close/>
                    <a:moveTo>
                      <a:pt x="226" y="67"/>
                    </a:moveTo>
                    <a:lnTo>
                      <a:pt x="226" y="65"/>
                    </a:lnTo>
                    <a:lnTo>
                      <a:pt x="226" y="67"/>
                    </a:lnTo>
                    <a:close/>
                    <a:moveTo>
                      <a:pt x="340" y="115"/>
                    </a:moveTo>
                    <a:lnTo>
                      <a:pt x="338" y="115"/>
                    </a:lnTo>
                    <a:lnTo>
                      <a:pt x="340" y="115"/>
                    </a:lnTo>
                    <a:close/>
                    <a:moveTo>
                      <a:pt x="340" y="113"/>
                    </a:moveTo>
                    <a:lnTo>
                      <a:pt x="338" y="113"/>
                    </a:lnTo>
                    <a:lnTo>
                      <a:pt x="340" y="113"/>
                    </a:lnTo>
                    <a:close/>
                    <a:moveTo>
                      <a:pt x="296" y="96"/>
                    </a:moveTo>
                    <a:lnTo>
                      <a:pt x="294" y="96"/>
                    </a:lnTo>
                    <a:lnTo>
                      <a:pt x="296" y="96"/>
                    </a:lnTo>
                    <a:close/>
                    <a:moveTo>
                      <a:pt x="340" y="115"/>
                    </a:moveTo>
                    <a:lnTo>
                      <a:pt x="340" y="113"/>
                    </a:lnTo>
                    <a:lnTo>
                      <a:pt x="340" y="115"/>
                    </a:lnTo>
                    <a:close/>
                    <a:moveTo>
                      <a:pt x="224" y="63"/>
                    </a:moveTo>
                    <a:lnTo>
                      <a:pt x="224" y="65"/>
                    </a:lnTo>
                    <a:lnTo>
                      <a:pt x="224" y="63"/>
                    </a:lnTo>
                    <a:close/>
                    <a:moveTo>
                      <a:pt x="224" y="65"/>
                    </a:moveTo>
                    <a:lnTo>
                      <a:pt x="224" y="63"/>
                    </a:lnTo>
                    <a:lnTo>
                      <a:pt x="224" y="65"/>
                    </a:lnTo>
                    <a:close/>
                    <a:moveTo>
                      <a:pt x="226" y="65"/>
                    </a:moveTo>
                    <a:lnTo>
                      <a:pt x="224" y="65"/>
                    </a:lnTo>
                    <a:lnTo>
                      <a:pt x="226" y="63"/>
                    </a:lnTo>
                    <a:lnTo>
                      <a:pt x="226" y="65"/>
                    </a:lnTo>
                    <a:close/>
                    <a:moveTo>
                      <a:pt x="230" y="65"/>
                    </a:moveTo>
                    <a:lnTo>
                      <a:pt x="230" y="67"/>
                    </a:lnTo>
                    <a:lnTo>
                      <a:pt x="230" y="65"/>
                    </a:lnTo>
                    <a:close/>
                    <a:moveTo>
                      <a:pt x="342" y="113"/>
                    </a:moveTo>
                    <a:lnTo>
                      <a:pt x="342" y="115"/>
                    </a:lnTo>
                    <a:lnTo>
                      <a:pt x="342" y="113"/>
                    </a:lnTo>
                    <a:close/>
                    <a:moveTo>
                      <a:pt x="228" y="65"/>
                    </a:moveTo>
                    <a:lnTo>
                      <a:pt x="226" y="65"/>
                    </a:lnTo>
                    <a:lnTo>
                      <a:pt x="226" y="63"/>
                    </a:lnTo>
                    <a:lnTo>
                      <a:pt x="228" y="65"/>
                    </a:lnTo>
                    <a:close/>
                    <a:moveTo>
                      <a:pt x="230" y="65"/>
                    </a:moveTo>
                    <a:lnTo>
                      <a:pt x="228" y="65"/>
                    </a:lnTo>
                    <a:lnTo>
                      <a:pt x="230" y="65"/>
                    </a:lnTo>
                    <a:close/>
                    <a:moveTo>
                      <a:pt x="301" y="98"/>
                    </a:moveTo>
                    <a:lnTo>
                      <a:pt x="303" y="98"/>
                    </a:lnTo>
                    <a:lnTo>
                      <a:pt x="301" y="98"/>
                    </a:lnTo>
                    <a:close/>
                    <a:moveTo>
                      <a:pt x="228" y="63"/>
                    </a:moveTo>
                    <a:lnTo>
                      <a:pt x="230" y="63"/>
                    </a:lnTo>
                    <a:lnTo>
                      <a:pt x="228" y="63"/>
                    </a:lnTo>
                    <a:close/>
                    <a:moveTo>
                      <a:pt x="330" y="107"/>
                    </a:moveTo>
                    <a:lnTo>
                      <a:pt x="328" y="107"/>
                    </a:lnTo>
                    <a:lnTo>
                      <a:pt x="330" y="107"/>
                    </a:lnTo>
                    <a:close/>
                    <a:moveTo>
                      <a:pt x="344" y="113"/>
                    </a:moveTo>
                    <a:lnTo>
                      <a:pt x="345" y="113"/>
                    </a:lnTo>
                    <a:lnTo>
                      <a:pt x="344" y="113"/>
                    </a:lnTo>
                    <a:close/>
                    <a:moveTo>
                      <a:pt x="328" y="107"/>
                    </a:moveTo>
                    <a:lnTo>
                      <a:pt x="330" y="107"/>
                    </a:lnTo>
                    <a:lnTo>
                      <a:pt x="328" y="107"/>
                    </a:lnTo>
                    <a:close/>
                    <a:moveTo>
                      <a:pt x="328" y="106"/>
                    </a:moveTo>
                    <a:lnTo>
                      <a:pt x="328" y="107"/>
                    </a:lnTo>
                    <a:lnTo>
                      <a:pt x="328" y="106"/>
                    </a:lnTo>
                    <a:lnTo>
                      <a:pt x="328" y="107"/>
                    </a:lnTo>
                    <a:lnTo>
                      <a:pt x="328" y="106"/>
                    </a:lnTo>
                    <a:close/>
                    <a:moveTo>
                      <a:pt x="380" y="127"/>
                    </a:moveTo>
                    <a:lnTo>
                      <a:pt x="378" y="127"/>
                    </a:lnTo>
                    <a:lnTo>
                      <a:pt x="380" y="127"/>
                    </a:lnTo>
                    <a:close/>
                    <a:moveTo>
                      <a:pt x="328" y="106"/>
                    </a:moveTo>
                    <a:lnTo>
                      <a:pt x="328" y="107"/>
                    </a:lnTo>
                    <a:lnTo>
                      <a:pt x="328" y="106"/>
                    </a:lnTo>
                    <a:close/>
                    <a:moveTo>
                      <a:pt x="380" y="127"/>
                    </a:moveTo>
                    <a:lnTo>
                      <a:pt x="378" y="127"/>
                    </a:lnTo>
                    <a:lnTo>
                      <a:pt x="380" y="127"/>
                    </a:lnTo>
                    <a:close/>
                    <a:moveTo>
                      <a:pt x="328" y="106"/>
                    </a:moveTo>
                    <a:lnTo>
                      <a:pt x="328" y="107"/>
                    </a:lnTo>
                    <a:lnTo>
                      <a:pt x="328" y="106"/>
                    </a:lnTo>
                    <a:close/>
                    <a:moveTo>
                      <a:pt x="382" y="129"/>
                    </a:moveTo>
                    <a:lnTo>
                      <a:pt x="382" y="127"/>
                    </a:lnTo>
                    <a:lnTo>
                      <a:pt x="382" y="129"/>
                    </a:lnTo>
                    <a:close/>
                    <a:moveTo>
                      <a:pt x="380" y="127"/>
                    </a:moveTo>
                    <a:lnTo>
                      <a:pt x="378" y="127"/>
                    </a:lnTo>
                    <a:lnTo>
                      <a:pt x="380" y="127"/>
                    </a:lnTo>
                    <a:close/>
                    <a:moveTo>
                      <a:pt x="330" y="106"/>
                    </a:moveTo>
                    <a:lnTo>
                      <a:pt x="330" y="107"/>
                    </a:lnTo>
                    <a:lnTo>
                      <a:pt x="330" y="106"/>
                    </a:lnTo>
                    <a:close/>
                    <a:moveTo>
                      <a:pt x="378" y="127"/>
                    </a:moveTo>
                    <a:lnTo>
                      <a:pt x="380" y="127"/>
                    </a:lnTo>
                    <a:lnTo>
                      <a:pt x="378" y="127"/>
                    </a:lnTo>
                    <a:close/>
                    <a:moveTo>
                      <a:pt x="226" y="61"/>
                    </a:moveTo>
                    <a:lnTo>
                      <a:pt x="228" y="61"/>
                    </a:lnTo>
                    <a:lnTo>
                      <a:pt x="226" y="61"/>
                    </a:lnTo>
                    <a:close/>
                    <a:moveTo>
                      <a:pt x="384" y="127"/>
                    </a:moveTo>
                    <a:lnTo>
                      <a:pt x="382" y="127"/>
                    </a:lnTo>
                    <a:lnTo>
                      <a:pt x="384" y="127"/>
                    </a:lnTo>
                    <a:close/>
                    <a:moveTo>
                      <a:pt x="319" y="102"/>
                    </a:moveTo>
                    <a:lnTo>
                      <a:pt x="317" y="102"/>
                    </a:lnTo>
                    <a:lnTo>
                      <a:pt x="319" y="102"/>
                    </a:lnTo>
                    <a:close/>
                    <a:moveTo>
                      <a:pt x="330" y="106"/>
                    </a:moveTo>
                    <a:lnTo>
                      <a:pt x="328" y="106"/>
                    </a:lnTo>
                    <a:lnTo>
                      <a:pt x="330" y="106"/>
                    </a:lnTo>
                    <a:close/>
                    <a:moveTo>
                      <a:pt x="345" y="111"/>
                    </a:moveTo>
                    <a:lnTo>
                      <a:pt x="345" y="113"/>
                    </a:lnTo>
                    <a:lnTo>
                      <a:pt x="345" y="111"/>
                    </a:lnTo>
                    <a:close/>
                    <a:moveTo>
                      <a:pt x="317" y="102"/>
                    </a:moveTo>
                    <a:lnTo>
                      <a:pt x="317" y="100"/>
                    </a:lnTo>
                    <a:lnTo>
                      <a:pt x="317" y="102"/>
                    </a:lnTo>
                    <a:close/>
                    <a:moveTo>
                      <a:pt x="386" y="127"/>
                    </a:moveTo>
                    <a:lnTo>
                      <a:pt x="384" y="127"/>
                    </a:lnTo>
                    <a:lnTo>
                      <a:pt x="386" y="127"/>
                    </a:lnTo>
                    <a:close/>
                    <a:moveTo>
                      <a:pt x="328" y="104"/>
                    </a:moveTo>
                    <a:lnTo>
                      <a:pt x="326" y="104"/>
                    </a:lnTo>
                    <a:lnTo>
                      <a:pt x="328" y="104"/>
                    </a:lnTo>
                    <a:close/>
                    <a:moveTo>
                      <a:pt x="384" y="127"/>
                    </a:moveTo>
                    <a:lnTo>
                      <a:pt x="384" y="125"/>
                    </a:lnTo>
                    <a:lnTo>
                      <a:pt x="384" y="127"/>
                    </a:lnTo>
                    <a:close/>
                    <a:moveTo>
                      <a:pt x="384" y="125"/>
                    </a:moveTo>
                    <a:lnTo>
                      <a:pt x="384" y="127"/>
                    </a:lnTo>
                    <a:lnTo>
                      <a:pt x="384" y="125"/>
                    </a:lnTo>
                    <a:lnTo>
                      <a:pt x="384" y="127"/>
                    </a:lnTo>
                    <a:lnTo>
                      <a:pt x="384" y="125"/>
                    </a:lnTo>
                    <a:close/>
                    <a:moveTo>
                      <a:pt x="386" y="127"/>
                    </a:moveTo>
                    <a:lnTo>
                      <a:pt x="386" y="125"/>
                    </a:lnTo>
                    <a:lnTo>
                      <a:pt x="386" y="127"/>
                    </a:lnTo>
                    <a:close/>
                    <a:moveTo>
                      <a:pt x="386" y="125"/>
                    </a:moveTo>
                    <a:lnTo>
                      <a:pt x="384" y="125"/>
                    </a:lnTo>
                    <a:lnTo>
                      <a:pt x="386" y="125"/>
                    </a:lnTo>
                    <a:close/>
                    <a:moveTo>
                      <a:pt x="249" y="69"/>
                    </a:moveTo>
                    <a:lnTo>
                      <a:pt x="247" y="69"/>
                    </a:lnTo>
                    <a:lnTo>
                      <a:pt x="249" y="69"/>
                    </a:lnTo>
                    <a:close/>
                    <a:moveTo>
                      <a:pt x="315" y="96"/>
                    </a:moveTo>
                    <a:lnTo>
                      <a:pt x="313" y="96"/>
                    </a:lnTo>
                    <a:lnTo>
                      <a:pt x="315" y="96"/>
                    </a:lnTo>
                    <a:close/>
                    <a:moveTo>
                      <a:pt x="249" y="67"/>
                    </a:moveTo>
                    <a:lnTo>
                      <a:pt x="247" y="67"/>
                    </a:lnTo>
                    <a:lnTo>
                      <a:pt x="249" y="67"/>
                    </a:lnTo>
                    <a:close/>
                    <a:moveTo>
                      <a:pt x="393" y="127"/>
                    </a:moveTo>
                    <a:lnTo>
                      <a:pt x="392" y="127"/>
                    </a:lnTo>
                    <a:lnTo>
                      <a:pt x="392" y="125"/>
                    </a:lnTo>
                    <a:lnTo>
                      <a:pt x="393" y="127"/>
                    </a:lnTo>
                    <a:close/>
                    <a:moveTo>
                      <a:pt x="388" y="123"/>
                    </a:moveTo>
                    <a:lnTo>
                      <a:pt x="386" y="123"/>
                    </a:lnTo>
                    <a:lnTo>
                      <a:pt x="388" y="123"/>
                    </a:lnTo>
                    <a:close/>
                    <a:moveTo>
                      <a:pt x="393" y="125"/>
                    </a:moveTo>
                    <a:lnTo>
                      <a:pt x="392" y="125"/>
                    </a:lnTo>
                    <a:lnTo>
                      <a:pt x="393" y="125"/>
                    </a:lnTo>
                    <a:close/>
                    <a:moveTo>
                      <a:pt x="395" y="125"/>
                    </a:moveTo>
                    <a:lnTo>
                      <a:pt x="395" y="127"/>
                    </a:lnTo>
                    <a:lnTo>
                      <a:pt x="395" y="125"/>
                    </a:lnTo>
                    <a:close/>
                    <a:moveTo>
                      <a:pt x="159" y="23"/>
                    </a:moveTo>
                    <a:lnTo>
                      <a:pt x="159" y="21"/>
                    </a:lnTo>
                    <a:lnTo>
                      <a:pt x="159" y="23"/>
                    </a:lnTo>
                    <a:close/>
                    <a:moveTo>
                      <a:pt x="247" y="65"/>
                    </a:moveTo>
                    <a:lnTo>
                      <a:pt x="247" y="63"/>
                    </a:lnTo>
                    <a:lnTo>
                      <a:pt x="247" y="65"/>
                    </a:lnTo>
                    <a:close/>
                    <a:moveTo>
                      <a:pt x="251" y="65"/>
                    </a:moveTo>
                    <a:lnTo>
                      <a:pt x="249" y="65"/>
                    </a:lnTo>
                    <a:lnTo>
                      <a:pt x="251" y="65"/>
                    </a:lnTo>
                    <a:close/>
                    <a:moveTo>
                      <a:pt x="247" y="63"/>
                    </a:moveTo>
                    <a:lnTo>
                      <a:pt x="247" y="65"/>
                    </a:lnTo>
                    <a:lnTo>
                      <a:pt x="247" y="63"/>
                    </a:lnTo>
                    <a:close/>
                    <a:moveTo>
                      <a:pt x="251" y="63"/>
                    </a:moveTo>
                    <a:lnTo>
                      <a:pt x="253" y="63"/>
                    </a:lnTo>
                    <a:lnTo>
                      <a:pt x="251" y="63"/>
                    </a:lnTo>
                    <a:close/>
                    <a:moveTo>
                      <a:pt x="361" y="109"/>
                    </a:moveTo>
                    <a:lnTo>
                      <a:pt x="359" y="109"/>
                    </a:lnTo>
                    <a:lnTo>
                      <a:pt x="361" y="109"/>
                    </a:lnTo>
                    <a:close/>
                    <a:moveTo>
                      <a:pt x="251" y="63"/>
                    </a:moveTo>
                    <a:lnTo>
                      <a:pt x="251" y="61"/>
                    </a:lnTo>
                    <a:lnTo>
                      <a:pt x="251" y="63"/>
                    </a:lnTo>
                    <a:close/>
                    <a:moveTo>
                      <a:pt x="399" y="123"/>
                    </a:moveTo>
                    <a:lnTo>
                      <a:pt x="401" y="123"/>
                    </a:lnTo>
                    <a:lnTo>
                      <a:pt x="399" y="123"/>
                    </a:lnTo>
                    <a:close/>
                    <a:moveTo>
                      <a:pt x="148" y="9"/>
                    </a:moveTo>
                    <a:lnTo>
                      <a:pt x="148" y="11"/>
                    </a:lnTo>
                    <a:lnTo>
                      <a:pt x="148" y="9"/>
                    </a:lnTo>
                    <a:close/>
                    <a:moveTo>
                      <a:pt x="272" y="69"/>
                    </a:moveTo>
                    <a:lnTo>
                      <a:pt x="274" y="69"/>
                    </a:lnTo>
                    <a:lnTo>
                      <a:pt x="272" y="69"/>
                    </a:lnTo>
                    <a:close/>
                    <a:moveTo>
                      <a:pt x="434" y="134"/>
                    </a:moveTo>
                    <a:lnTo>
                      <a:pt x="434" y="132"/>
                    </a:lnTo>
                    <a:lnTo>
                      <a:pt x="434" y="134"/>
                    </a:lnTo>
                    <a:close/>
                    <a:moveTo>
                      <a:pt x="426" y="131"/>
                    </a:moveTo>
                    <a:lnTo>
                      <a:pt x="424" y="131"/>
                    </a:lnTo>
                    <a:lnTo>
                      <a:pt x="426" y="131"/>
                    </a:lnTo>
                    <a:close/>
                    <a:moveTo>
                      <a:pt x="280" y="71"/>
                    </a:moveTo>
                    <a:lnTo>
                      <a:pt x="280" y="73"/>
                    </a:lnTo>
                    <a:lnTo>
                      <a:pt x="280" y="71"/>
                    </a:lnTo>
                    <a:close/>
                    <a:moveTo>
                      <a:pt x="424" y="129"/>
                    </a:moveTo>
                    <a:lnTo>
                      <a:pt x="424" y="131"/>
                    </a:lnTo>
                    <a:lnTo>
                      <a:pt x="426" y="131"/>
                    </a:lnTo>
                    <a:lnTo>
                      <a:pt x="424" y="131"/>
                    </a:lnTo>
                    <a:lnTo>
                      <a:pt x="424" y="129"/>
                    </a:lnTo>
                    <a:close/>
                    <a:moveTo>
                      <a:pt x="280" y="71"/>
                    </a:moveTo>
                    <a:lnTo>
                      <a:pt x="280" y="69"/>
                    </a:lnTo>
                    <a:lnTo>
                      <a:pt x="280" y="71"/>
                    </a:lnTo>
                    <a:close/>
                    <a:moveTo>
                      <a:pt x="403" y="119"/>
                    </a:moveTo>
                    <a:lnTo>
                      <a:pt x="401" y="119"/>
                    </a:lnTo>
                    <a:lnTo>
                      <a:pt x="403" y="119"/>
                    </a:lnTo>
                    <a:close/>
                    <a:moveTo>
                      <a:pt x="280" y="69"/>
                    </a:moveTo>
                    <a:lnTo>
                      <a:pt x="278" y="69"/>
                    </a:lnTo>
                    <a:lnTo>
                      <a:pt x="280" y="69"/>
                    </a:lnTo>
                    <a:close/>
                    <a:moveTo>
                      <a:pt x="272" y="65"/>
                    </a:moveTo>
                    <a:lnTo>
                      <a:pt x="272" y="63"/>
                    </a:lnTo>
                    <a:lnTo>
                      <a:pt x="272" y="65"/>
                    </a:lnTo>
                    <a:close/>
                    <a:moveTo>
                      <a:pt x="393" y="115"/>
                    </a:moveTo>
                    <a:lnTo>
                      <a:pt x="395" y="115"/>
                    </a:lnTo>
                    <a:lnTo>
                      <a:pt x="393" y="115"/>
                    </a:lnTo>
                    <a:close/>
                    <a:moveTo>
                      <a:pt x="184" y="21"/>
                    </a:moveTo>
                    <a:lnTo>
                      <a:pt x="182" y="21"/>
                    </a:lnTo>
                    <a:lnTo>
                      <a:pt x="184" y="21"/>
                    </a:lnTo>
                    <a:close/>
                    <a:moveTo>
                      <a:pt x="271" y="61"/>
                    </a:moveTo>
                    <a:lnTo>
                      <a:pt x="269" y="61"/>
                    </a:lnTo>
                    <a:lnTo>
                      <a:pt x="271" y="61"/>
                    </a:lnTo>
                    <a:close/>
                    <a:moveTo>
                      <a:pt x="436" y="129"/>
                    </a:moveTo>
                    <a:lnTo>
                      <a:pt x="434" y="129"/>
                    </a:lnTo>
                    <a:lnTo>
                      <a:pt x="436" y="129"/>
                    </a:lnTo>
                    <a:close/>
                    <a:moveTo>
                      <a:pt x="184" y="21"/>
                    </a:moveTo>
                    <a:lnTo>
                      <a:pt x="182" y="21"/>
                    </a:lnTo>
                    <a:lnTo>
                      <a:pt x="184" y="21"/>
                    </a:lnTo>
                    <a:close/>
                    <a:moveTo>
                      <a:pt x="403" y="115"/>
                    </a:moveTo>
                    <a:lnTo>
                      <a:pt x="403" y="117"/>
                    </a:lnTo>
                    <a:lnTo>
                      <a:pt x="403" y="115"/>
                    </a:lnTo>
                    <a:close/>
                    <a:moveTo>
                      <a:pt x="401" y="115"/>
                    </a:moveTo>
                    <a:lnTo>
                      <a:pt x="403" y="115"/>
                    </a:lnTo>
                    <a:lnTo>
                      <a:pt x="401" y="115"/>
                    </a:lnTo>
                    <a:close/>
                    <a:moveTo>
                      <a:pt x="182" y="21"/>
                    </a:moveTo>
                    <a:lnTo>
                      <a:pt x="182" y="19"/>
                    </a:lnTo>
                    <a:lnTo>
                      <a:pt x="182" y="21"/>
                    </a:lnTo>
                    <a:close/>
                    <a:moveTo>
                      <a:pt x="399" y="113"/>
                    </a:moveTo>
                    <a:lnTo>
                      <a:pt x="397" y="113"/>
                    </a:lnTo>
                    <a:lnTo>
                      <a:pt x="399" y="113"/>
                    </a:lnTo>
                    <a:close/>
                    <a:moveTo>
                      <a:pt x="393" y="111"/>
                    </a:moveTo>
                    <a:lnTo>
                      <a:pt x="393" y="113"/>
                    </a:lnTo>
                    <a:lnTo>
                      <a:pt x="393" y="111"/>
                    </a:lnTo>
                    <a:close/>
                    <a:moveTo>
                      <a:pt x="395" y="111"/>
                    </a:moveTo>
                    <a:lnTo>
                      <a:pt x="395" y="113"/>
                    </a:lnTo>
                    <a:lnTo>
                      <a:pt x="395" y="111"/>
                    </a:lnTo>
                    <a:close/>
                    <a:moveTo>
                      <a:pt x="395" y="111"/>
                    </a:moveTo>
                    <a:lnTo>
                      <a:pt x="393" y="111"/>
                    </a:lnTo>
                    <a:lnTo>
                      <a:pt x="395" y="111"/>
                    </a:lnTo>
                    <a:close/>
                    <a:moveTo>
                      <a:pt x="395" y="111"/>
                    </a:moveTo>
                    <a:lnTo>
                      <a:pt x="393" y="111"/>
                    </a:lnTo>
                    <a:lnTo>
                      <a:pt x="395" y="111"/>
                    </a:lnTo>
                    <a:close/>
                    <a:moveTo>
                      <a:pt x="188" y="19"/>
                    </a:moveTo>
                    <a:lnTo>
                      <a:pt x="186" y="19"/>
                    </a:lnTo>
                    <a:lnTo>
                      <a:pt x="188" y="19"/>
                    </a:lnTo>
                    <a:close/>
                    <a:moveTo>
                      <a:pt x="188" y="19"/>
                    </a:moveTo>
                    <a:lnTo>
                      <a:pt x="186" y="19"/>
                    </a:lnTo>
                    <a:lnTo>
                      <a:pt x="188" y="19"/>
                    </a:lnTo>
                    <a:close/>
                    <a:moveTo>
                      <a:pt x="186" y="17"/>
                    </a:moveTo>
                    <a:lnTo>
                      <a:pt x="186" y="19"/>
                    </a:lnTo>
                    <a:lnTo>
                      <a:pt x="186" y="17"/>
                    </a:lnTo>
                    <a:close/>
                    <a:moveTo>
                      <a:pt x="186" y="15"/>
                    </a:moveTo>
                    <a:lnTo>
                      <a:pt x="184" y="15"/>
                    </a:lnTo>
                    <a:lnTo>
                      <a:pt x="186" y="15"/>
                    </a:lnTo>
                    <a:close/>
                    <a:moveTo>
                      <a:pt x="198" y="21"/>
                    </a:moveTo>
                    <a:lnTo>
                      <a:pt x="196" y="21"/>
                    </a:lnTo>
                    <a:lnTo>
                      <a:pt x="198" y="21"/>
                    </a:lnTo>
                    <a:close/>
                    <a:moveTo>
                      <a:pt x="186" y="17"/>
                    </a:moveTo>
                    <a:lnTo>
                      <a:pt x="186" y="15"/>
                    </a:lnTo>
                    <a:lnTo>
                      <a:pt x="186" y="17"/>
                    </a:lnTo>
                    <a:close/>
                    <a:moveTo>
                      <a:pt x="190" y="17"/>
                    </a:moveTo>
                    <a:lnTo>
                      <a:pt x="190" y="19"/>
                    </a:lnTo>
                    <a:lnTo>
                      <a:pt x="190" y="17"/>
                    </a:lnTo>
                    <a:close/>
                    <a:moveTo>
                      <a:pt x="188" y="15"/>
                    </a:moveTo>
                    <a:lnTo>
                      <a:pt x="186" y="15"/>
                    </a:lnTo>
                    <a:lnTo>
                      <a:pt x="188" y="15"/>
                    </a:lnTo>
                    <a:close/>
                    <a:moveTo>
                      <a:pt x="196" y="21"/>
                    </a:moveTo>
                    <a:lnTo>
                      <a:pt x="196" y="19"/>
                    </a:lnTo>
                    <a:lnTo>
                      <a:pt x="196" y="21"/>
                    </a:lnTo>
                    <a:close/>
                    <a:moveTo>
                      <a:pt x="190" y="17"/>
                    </a:moveTo>
                    <a:lnTo>
                      <a:pt x="188" y="17"/>
                    </a:lnTo>
                    <a:lnTo>
                      <a:pt x="190" y="17"/>
                    </a:lnTo>
                    <a:lnTo>
                      <a:pt x="188" y="17"/>
                    </a:lnTo>
                    <a:lnTo>
                      <a:pt x="190" y="17"/>
                    </a:lnTo>
                    <a:close/>
                    <a:moveTo>
                      <a:pt x="190" y="15"/>
                    </a:moveTo>
                    <a:lnTo>
                      <a:pt x="190" y="17"/>
                    </a:lnTo>
                    <a:lnTo>
                      <a:pt x="188" y="17"/>
                    </a:lnTo>
                    <a:lnTo>
                      <a:pt x="190" y="15"/>
                    </a:lnTo>
                    <a:close/>
                    <a:moveTo>
                      <a:pt x="192" y="17"/>
                    </a:moveTo>
                    <a:lnTo>
                      <a:pt x="190" y="17"/>
                    </a:lnTo>
                    <a:lnTo>
                      <a:pt x="192" y="17"/>
                    </a:lnTo>
                    <a:close/>
                    <a:moveTo>
                      <a:pt x="190" y="17"/>
                    </a:moveTo>
                    <a:lnTo>
                      <a:pt x="192" y="17"/>
                    </a:lnTo>
                    <a:lnTo>
                      <a:pt x="190" y="17"/>
                    </a:lnTo>
                    <a:close/>
                    <a:moveTo>
                      <a:pt x="190" y="15"/>
                    </a:moveTo>
                    <a:lnTo>
                      <a:pt x="188" y="15"/>
                    </a:lnTo>
                    <a:lnTo>
                      <a:pt x="190" y="15"/>
                    </a:lnTo>
                    <a:close/>
                    <a:moveTo>
                      <a:pt x="192" y="15"/>
                    </a:moveTo>
                    <a:lnTo>
                      <a:pt x="190" y="15"/>
                    </a:lnTo>
                    <a:lnTo>
                      <a:pt x="192" y="15"/>
                    </a:lnTo>
                    <a:close/>
                    <a:moveTo>
                      <a:pt x="192" y="15"/>
                    </a:moveTo>
                    <a:lnTo>
                      <a:pt x="190" y="15"/>
                    </a:lnTo>
                    <a:lnTo>
                      <a:pt x="192" y="15"/>
                    </a:lnTo>
                    <a:close/>
                    <a:moveTo>
                      <a:pt x="188" y="15"/>
                    </a:moveTo>
                    <a:lnTo>
                      <a:pt x="188" y="13"/>
                    </a:lnTo>
                    <a:lnTo>
                      <a:pt x="188" y="15"/>
                    </a:lnTo>
                    <a:close/>
                    <a:moveTo>
                      <a:pt x="188" y="15"/>
                    </a:moveTo>
                    <a:lnTo>
                      <a:pt x="188" y="13"/>
                    </a:lnTo>
                    <a:lnTo>
                      <a:pt x="188" y="15"/>
                    </a:lnTo>
                    <a:close/>
                    <a:moveTo>
                      <a:pt x="190" y="13"/>
                    </a:moveTo>
                    <a:lnTo>
                      <a:pt x="190" y="15"/>
                    </a:lnTo>
                    <a:lnTo>
                      <a:pt x="190" y="13"/>
                    </a:lnTo>
                    <a:close/>
                    <a:moveTo>
                      <a:pt x="190" y="13"/>
                    </a:moveTo>
                    <a:lnTo>
                      <a:pt x="188" y="13"/>
                    </a:lnTo>
                    <a:lnTo>
                      <a:pt x="190" y="13"/>
                    </a:lnTo>
                    <a:close/>
                    <a:moveTo>
                      <a:pt x="192" y="15"/>
                    </a:moveTo>
                    <a:lnTo>
                      <a:pt x="192" y="13"/>
                    </a:lnTo>
                    <a:lnTo>
                      <a:pt x="192" y="15"/>
                    </a:lnTo>
                    <a:close/>
                    <a:moveTo>
                      <a:pt x="516" y="144"/>
                    </a:moveTo>
                    <a:lnTo>
                      <a:pt x="516" y="146"/>
                    </a:lnTo>
                    <a:lnTo>
                      <a:pt x="516" y="144"/>
                    </a:lnTo>
                    <a:lnTo>
                      <a:pt x="516" y="146"/>
                    </a:lnTo>
                    <a:lnTo>
                      <a:pt x="516" y="144"/>
                    </a:lnTo>
                    <a:close/>
                    <a:moveTo>
                      <a:pt x="192" y="13"/>
                    </a:moveTo>
                    <a:lnTo>
                      <a:pt x="190" y="13"/>
                    </a:lnTo>
                    <a:lnTo>
                      <a:pt x="192" y="13"/>
                    </a:lnTo>
                    <a:close/>
                    <a:moveTo>
                      <a:pt x="399" y="104"/>
                    </a:moveTo>
                    <a:lnTo>
                      <a:pt x="399" y="102"/>
                    </a:lnTo>
                    <a:lnTo>
                      <a:pt x="399" y="104"/>
                    </a:lnTo>
                    <a:close/>
                    <a:moveTo>
                      <a:pt x="399" y="104"/>
                    </a:moveTo>
                    <a:lnTo>
                      <a:pt x="399" y="102"/>
                    </a:lnTo>
                    <a:lnTo>
                      <a:pt x="399" y="104"/>
                    </a:lnTo>
                    <a:close/>
                    <a:moveTo>
                      <a:pt x="192" y="11"/>
                    </a:moveTo>
                    <a:lnTo>
                      <a:pt x="192" y="13"/>
                    </a:lnTo>
                    <a:lnTo>
                      <a:pt x="192" y="11"/>
                    </a:lnTo>
                    <a:close/>
                    <a:moveTo>
                      <a:pt x="194" y="11"/>
                    </a:moveTo>
                    <a:lnTo>
                      <a:pt x="192" y="11"/>
                    </a:lnTo>
                    <a:lnTo>
                      <a:pt x="194" y="11"/>
                    </a:lnTo>
                    <a:close/>
                    <a:moveTo>
                      <a:pt x="407" y="106"/>
                    </a:moveTo>
                    <a:lnTo>
                      <a:pt x="407" y="104"/>
                    </a:lnTo>
                    <a:lnTo>
                      <a:pt x="407" y="106"/>
                    </a:lnTo>
                    <a:close/>
                    <a:moveTo>
                      <a:pt x="526" y="142"/>
                    </a:moveTo>
                    <a:lnTo>
                      <a:pt x="524" y="142"/>
                    </a:lnTo>
                    <a:lnTo>
                      <a:pt x="524" y="140"/>
                    </a:lnTo>
                    <a:lnTo>
                      <a:pt x="526" y="142"/>
                    </a:lnTo>
                    <a:close/>
                    <a:moveTo>
                      <a:pt x="526" y="140"/>
                    </a:moveTo>
                    <a:lnTo>
                      <a:pt x="524" y="140"/>
                    </a:lnTo>
                    <a:lnTo>
                      <a:pt x="526" y="140"/>
                    </a:lnTo>
                    <a:close/>
                    <a:moveTo>
                      <a:pt x="432" y="106"/>
                    </a:moveTo>
                    <a:lnTo>
                      <a:pt x="430" y="106"/>
                    </a:lnTo>
                    <a:lnTo>
                      <a:pt x="432" y="106"/>
                    </a:lnTo>
                    <a:close/>
                    <a:moveTo>
                      <a:pt x="442" y="82"/>
                    </a:moveTo>
                    <a:lnTo>
                      <a:pt x="440" y="82"/>
                    </a:lnTo>
                    <a:lnTo>
                      <a:pt x="442" y="82"/>
                    </a:lnTo>
                    <a:close/>
                    <a:moveTo>
                      <a:pt x="495" y="100"/>
                    </a:moveTo>
                    <a:lnTo>
                      <a:pt x="493" y="100"/>
                    </a:lnTo>
                    <a:lnTo>
                      <a:pt x="495" y="100"/>
                    </a:lnTo>
                    <a:close/>
                    <a:moveTo>
                      <a:pt x="486" y="96"/>
                    </a:moveTo>
                    <a:lnTo>
                      <a:pt x="486" y="94"/>
                    </a:lnTo>
                    <a:lnTo>
                      <a:pt x="486" y="96"/>
                    </a:lnTo>
                    <a:close/>
                    <a:moveTo>
                      <a:pt x="415" y="61"/>
                    </a:moveTo>
                    <a:lnTo>
                      <a:pt x="415" y="59"/>
                    </a:lnTo>
                    <a:lnTo>
                      <a:pt x="415" y="61"/>
                    </a:lnTo>
                    <a:close/>
                    <a:moveTo>
                      <a:pt x="447" y="73"/>
                    </a:moveTo>
                    <a:lnTo>
                      <a:pt x="447" y="71"/>
                    </a:lnTo>
                    <a:lnTo>
                      <a:pt x="447" y="73"/>
                    </a:lnTo>
                    <a:close/>
                    <a:moveTo>
                      <a:pt x="401" y="32"/>
                    </a:moveTo>
                    <a:lnTo>
                      <a:pt x="401" y="34"/>
                    </a:lnTo>
                    <a:lnTo>
                      <a:pt x="401" y="32"/>
                    </a:lnTo>
                    <a:close/>
                    <a:moveTo>
                      <a:pt x="399" y="31"/>
                    </a:moveTo>
                    <a:lnTo>
                      <a:pt x="401" y="31"/>
                    </a:lnTo>
                    <a:lnTo>
                      <a:pt x="399" y="32"/>
                    </a:lnTo>
                    <a:lnTo>
                      <a:pt x="399" y="31"/>
                    </a:lnTo>
                    <a:close/>
                    <a:moveTo>
                      <a:pt x="401" y="31"/>
                    </a:moveTo>
                    <a:lnTo>
                      <a:pt x="401" y="29"/>
                    </a:lnTo>
                    <a:lnTo>
                      <a:pt x="401" y="31"/>
                    </a:lnTo>
                    <a:close/>
                    <a:moveTo>
                      <a:pt x="420" y="25"/>
                    </a:moveTo>
                    <a:lnTo>
                      <a:pt x="420" y="27"/>
                    </a:lnTo>
                    <a:lnTo>
                      <a:pt x="420" y="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6" name="Freeform 73"/>
              <p:cNvSpPr>
                <a:spLocks/>
              </p:cNvSpPr>
              <p:nvPr/>
            </p:nvSpPr>
            <p:spPr bwMode="auto">
              <a:xfrm>
                <a:off x="1050584" y="2452536"/>
                <a:ext cx="452525" cy="373376"/>
              </a:xfrm>
              <a:custGeom>
                <a:avLst/>
                <a:gdLst>
                  <a:gd name="T0" fmla="*/ 250 w 263"/>
                  <a:gd name="T1" fmla="*/ 36 h 217"/>
                  <a:gd name="T2" fmla="*/ 263 w 263"/>
                  <a:gd name="T3" fmla="*/ 54 h 217"/>
                  <a:gd name="T4" fmla="*/ 254 w 263"/>
                  <a:gd name="T5" fmla="*/ 59 h 217"/>
                  <a:gd name="T6" fmla="*/ 242 w 263"/>
                  <a:gd name="T7" fmla="*/ 69 h 217"/>
                  <a:gd name="T8" fmla="*/ 227 w 263"/>
                  <a:gd name="T9" fmla="*/ 63 h 217"/>
                  <a:gd name="T10" fmla="*/ 221 w 263"/>
                  <a:gd name="T11" fmla="*/ 67 h 217"/>
                  <a:gd name="T12" fmla="*/ 217 w 263"/>
                  <a:gd name="T13" fmla="*/ 79 h 217"/>
                  <a:gd name="T14" fmla="*/ 210 w 263"/>
                  <a:gd name="T15" fmla="*/ 86 h 217"/>
                  <a:gd name="T16" fmla="*/ 204 w 263"/>
                  <a:gd name="T17" fmla="*/ 94 h 217"/>
                  <a:gd name="T18" fmla="*/ 196 w 263"/>
                  <a:gd name="T19" fmla="*/ 90 h 217"/>
                  <a:gd name="T20" fmla="*/ 177 w 263"/>
                  <a:gd name="T21" fmla="*/ 90 h 217"/>
                  <a:gd name="T22" fmla="*/ 173 w 263"/>
                  <a:gd name="T23" fmla="*/ 102 h 217"/>
                  <a:gd name="T24" fmla="*/ 160 w 263"/>
                  <a:gd name="T25" fmla="*/ 100 h 217"/>
                  <a:gd name="T26" fmla="*/ 162 w 263"/>
                  <a:gd name="T27" fmla="*/ 111 h 217"/>
                  <a:gd name="T28" fmla="*/ 160 w 263"/>
                  <a:gd name="T29" fmla="*/ 123 h 217"/>
                  <a:gd name="T30" fmla="*/ 160 w 263"/>
                  <a:gd name="T31" fmla="*/ 134 h 217"/>
                  <a:gd name="T32" fmla="*/ 156 w 263"/>
                  <a:gd name="T33" fmla="*/ 144 h 217"/>
                  <a:gd name="T34" fmla="*/ 146 w 263"/>
                  <a:gd name="T35" fmla="*/ 154 h 217"/>
                  <a:gd name="T36" fmla="*/ 142 w 263"/>
                  <a:gd name="T37" fmla="*/ 167 h 217"/>
                  <a:gd name="T38" fmla="*/ 146 w 263"/>
                  <a:gd name="T39" fmla="*/ 175 h 217"/>
                  <a:gd name="T40" fmla="*/ 137 w 263"/>
                  <a:gd name="T41" fmla="*/ 184 h 217"/>
                  <a:gd name="T42" fmla="*/ 125 w 263"/>
                  <a:gd name="T43" fmla="*/ 192 h 217"/>
                  <a:gd name="T44" fmla="*/ 115 w 263"/>
                  <a:gd name="T45" fmla="*/ 198 h 217"/>
                  <a:gd name="T46" fmla="*/ 119 w 263"/>
                  <a:gd name="T47" fmla="*/ 186 h 217"/>
                  <a:gd name="T48" fmla="*/ 106 w 263"/>
                  <a:gd name="T49" fmla="*/ 188 h 217"/>
                  <a:gd name="T50" fmla="*/ 92 w 263"/>
                  <a:gd name="T51" fmla="*/ 198 h 217"/>
                  <a:gd name="T52" fmla="*/ 83 w 263"/>
                  <a:gd name="T53" fmla="*/ 204 h 217"/>
                  <a:gd name="T54" fmla="*/ 79 w 263"/>
                  <a:gd name="T55" fmla="*/ 217 h 217"/>
                  <a:gd name="T56" fmla="*/ 64 w 263"/>
                  <a:gd name="T57" fmla="*/ 209 h 217"/>
                  <a:gd name="T58" fmla="*/ 58 w 263"/>
                  <a:gd name="T59" fmla="*/ 204 h 217"/>
                  <a:gd name="T60" fmla="*/ 54 w 263"/>
                  <a:gd name="T61" fmla="*/ 188 h 217"/>
                  <a:gd name="T62" fmla="*/ 52 w 263"/>
                  <a:gd name="T63" fmla="*/ 177 h 217"/>
                  <a:gd name="T64" fmla="*/ 44 w 263"/>
                  <a:gd name="T65" fmla="*/ 163 h 217"/>
                  <a:gd name="T66" fmla="*/ 31 w 263"/>
                  <a:gd name="T67" fmla="*/ 161 h 217"/>
                  <a:gd name="T68" fmla="*/ 21 w 263"/>
                  <a:gd name="T69" fmla="*/ 161 h 217"/>
                  <a:gd name="T70" fmla="*/ 14 w 263"/>
                  <a:gd name="T71" fmla="*/ 157 h 217"/>
                  <a:gd name="T72" fmla="*/ 10 w 263"/>
                  <a:gd name="T73" fmla="*/ 152 h 217"/>
                  <a:gd name="T74" fmla="*/ 17 w 263"/>
                  <a:gd name="T75" fmla="*/ 140 h 217"/>
                  <a:gd name="T76" fmla="*/ 6 w 263"/>
                  <a:gd name="T77" fmla="*/ 129 h 217"/>
                  <a:gd name="T78" fmla="*/ 6 w 263"/>
                  <a:gd name="T79" fmla="*/ 121 h 217"/>
                  <a:gd name="T80" fmla="*/ 17 w 263"/>
                  <a:gd name="T81" fmla="*/ 113 h 217"/>
                  <a:gd name="T82" fmla="*/ 27 w 263"/>
                  <a:gd name="T83" fmla="*/ 100 h 217"/>
                  <a:gd name="T84" fmla="*/ 39 w 263"/>
                  <a:gd name="T85" fmla="*/ 94 h 217"/>
                  <a:gd name="T86" fmla="*/ 54 w 263"/>
                  <a:gd name="T87" fmla="*/ 88 h 217"/>
                  <a:gd name="T88" fmla="*/ 60 w 263"/>
                  <a:gd name="T89" fmla="*/ 82 h 217"/>
                  <a:gd name="T90" fmla="*/ 71 w 263"/>
                  <a:gd name="T91" fmla="*/ 82 h 217"/>
                  <a:gd name="T92" fmla="*/ 73 w 263"/>
                  <a:gd name="T93" fmla="*/ 69 h 217"/>
                  <a:gd name="T94" fmla="*/ 81 w 263"/>
                  <a:gd name="T95" fmla="*/ 63 h 217"/>
                  <a:gd name="T96" fmla="*/ 85 w 263"/>
                  <a:gd name="T97" fmla="*/ 52 h 217"/>
                  <a:gd name="T98" fmla="*/ 92 w 263"/>
                  <a:gd name="T99" fmla="*/ 44 h 217"/>
                  <a:gd name="T100" fmla="*/ 106 w 263"/>
                  <a:gd name="T101" fmla="*/ 42 h 217"/>
                  <a:gd name="T102" fmla="*/ 129 w 263"/>
                  <a:gd name="T103" fmla="*/ 9 h 217"/>
                  <a:gd name="T104" fmla="*/ 137 w 263"/>
                  <a:gd name="T105" fmla="*/ 9 h 217"/>
                  <a:gd name="T106" fmla="*/ 140 w 263"/>
                  <a:gd name="T107" fmla="*/ 23 h 217"/>
                  <a:gd name="T108" fmla="*/ 160 w 263"/>
                  <a:gd name="T109" fmla="*/ 23 h 217"/>
                  <a:gd name="T110" fmla="*/ 175 w 263"/>
                  <a:gd name="T111" fmla="*/ 17 h 217"/>
                  <a:gd name="T112" fmla="*/ 188 w 263"/>
                  <a:gd name="T113" fmla="*/ 0 h 217"/>
                  <a:gd name="T114" fmla="*/ 206 w 263"/>
                  <a:gd name="T115" fmla="*/ 13 h 217"/>
                  <a:gd name="T116" fmla="*/ 213 w 263"/>
                  <a:gd name="T117" fmla="*/ 17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3" h="217">
                    <a:moveTo>
                      <a:pt x="229" y="23"/>
                    </a:moveTo>
                    <a:lnTo>
                      <a:pt x="229" y="25"/>
                    </a:lnTo>
                    <a:lnTo>
                      <a:pt x="231" y="25"/>
                    </a:lnTo>
                    <a:lnTo>
                      <a:pt x="231" y="27"/>
                    </a:lnTo>
                    <a:lnTo>
                      <a:pt x="231" y="29"/>
                    </a:lnTo>
                    <a:lnTo>
                      <a:pt x="231" y="27"/>
                    </a:lnTo>
                    <a:lnTo>
                      <a:pt x="233" y="27"/>
                    </a:lnTo>
                    <a:lnTo>
                      <a:pt x="235" y="27"/>
                    </a:lnTo>
                    <a:lnTo>
                      <a:pt x="235" y="29"/>
                    </a:lnTo>
                    <a:lnTo>
                      <a:pt x="242" y="33"/>
                    </a:lnTo>
                    <a:lnTo>
                      <a:pt x="246" y="34"/>
                    </a:lnTo>
                    <a:lnTo>
                      <a:pt x="250" y="36"/>
                    </a:lnTo>
                    <a:lnTo>
                      <a:pt x="254" y="40"/>
                    </a:lnTo>
                    <a:lnTo>
                      <a:pt x="258" y="42"/>
                    </a:lnTo>
                    <a:lnTo>
                      <a:pt x="256" y="42"/>
                    </a:lnTo>
                    <a:lnTo>
                      <a:pt x="256" y="44"/>
                    </a:lnTo>
                    <a:lnTo>
                      <a:pt x="258" y="44"/>
                    </a:lnTo>
                    <a:lnTo>
                      <a:pt x="258" y="46"/>
                    </a:lnTo>
                    <a:lnTo>
                      <a:pt x="260" y="46"/>
                    </a:lnTo>
                    <a:lnTo>
                      <a:pt x="261" y="46"/>
                    </a:lnTo>
                    <a:lnTo>
                      <a:pt x="261" y="48"/>
                    </a:lnTo>
                    <a:lnTo>
                      <a:pt x="263" y="50"/>
                    </a:lnTo>
                    <a:lnTo>
                      <a:pt x="263" y="52"/>
                    </a:lnTo>
                    <a:lnTo>
                      <a:pt x="263" y="54"/>
                    </a:lnTo>
                    <a:lnTo>
                      <a:pt x="263" y="56"/>
                    </a:lnTo>
                    <a:lnTo>
                      <a:pt x="263" y="54"/>
                    </a:lnTo>
                    <a:lnTo>
                      <a:pt x="261" y="54"/>
                    </a:lnTo>
                    <a:lnTo>
                      <a:pt x="260" y="54"/>
                    </a:lnTo>
                    <a:lnTo>
                      <a:pt x="258" y="54"/>
                    </a:lnTo>
                    <a:lnTo>
                      <a:pt x="258" y="56"/>
                    </a:lnTo>
                    <a:lnTo>
                      <a:pt x="256" y="56"/>
                    </a:lnTo>
                    <a:lnTo>
                      <a:pt x="256" y="58"/>
                    </a:lnTo>
                    <a:lnTo>
                      <a:pt x="254" y="58"/>
                    </a:lnTo>
                    <a:lnTo>
                      <a:pt x="256" y="58"/>
                    </a:lnTo>
                    <a:lnTo>
                      <a:pt x="256" y="59"/>
                    </a:lnTo>
                    <a:lnTo>
                      <a:pt x="254" y="59"/>
                    </a:lnTo>
                    <a:lnTo>
                      <a:pt x="254" y="61"/>
                    </a:lnTo>
                    <a:lnTo>
                      <a:pt x="252" y="61"/>
                    </a:lnTo>
                    <a:lnTo>
                      <a:pt x="250" y="63"/>
                    </a:lnTo>
                    <a:lnTo>
                      <a:pt x="250" y="65"/>
                    </a:lnTo>
                    <a:lnTo>
                      <a:pt x="248" y="65"/>
                    </a:lnTo>
                    <a:lnTo>
                      <a:pt x="248" y="67"/>
                    </a:lnTo>
                    <a:lnTo>
                      <a:pt x="248" y="69"/>
                    </a:lnTo>
                    <a:lnTo>
                      <a:pt x="246" y="69"/>
                    </a:lnTo>
                    <a:lnTo>
                      <a:pt x="244" y="73"/>
                    </a:lnTo>
                    <a:lnTo>
                      <a:pt x="242" y="71"/>
                    </a:lnTo>
                    <a:lnTo>
                      <a:pt x="240" y="69"/>
                    </a:lnTo>
                    <a:lnTo>
                      <a:pt x="242" y="69"/>
                    </a:lnTo>
                    <a:lnTo>
                      <a:pt x="240" y="69"/>
                    </a:lnTo>
                    <a:lnTo>
                      <a:pt x="242" y="69"/>
                    </a:lnTo>
                    <a:lnTo>
                      <a:pt x="242" y="67"/>
                    </a:lnTo>
                    <a:lnTo>
                      <a:pt x="240" y="67"/>
                    </a:lnTo>
                    <a:lnTo>
                      <a:pt x="238" y="67"/>
                    </a:lnTo>
                    <a:lnTo>
                      <a:pt x="236" y="67"/>
                    </a:lnTo>
                    <a:lnTo>
                      <a:pt x="235" y="67"/>
                    </a:lnTo>
                    <a:lnTo>
                      <a:pt x="233" y="67"/>
                    </a:lnTo>
                    <a:lnTo>
                      <a:pt x="231" y="67"/>
                    </a:lnTo>
                    <a:lnTo>
                      <a:pt x="229" y="67"/>
                    </a:lnTo>
                    <a:lnTo>
                      <a:pt x="229" y="65"/>
                    </a:lnTo>
                    <a:lnTo>
                      <a:pt x="227" y="63"/>
                    </a:lnTo>
                    <a:lnTo>
                      <a:pt x="225" y="63"/>
                    </a:lnTo>
                    <a:lnTo>
                      <a:pt x="225" y="61"/>
                    </a:lnTo>
                    <a:lnTo>
                      <a:pt x="223" y="61"/>
                    </a:lnTo>
                    <a:lnTo>
                      <a:pt x="223" y="63"/>
                    </a:lnTo>
                    <a:lnTo>
                      <a:pt x="223" y="65"/>
                    </a:lnTo>
                    <a:lnTo>
                      <a:pt x="223" y="67"/>
                    </a:lnTo>
                    <a:lnTo>
                      <a:pt x="221" y="67"/>
                    </a:lnTo>
                    <a:lnTo>
                      <a:pt x="219" y="67"/>
                    </a:lnTo>
                    <a:lnTo>
                      <a:pt x="217" y="67"/>
                    </a:lnTo>
                    <a:lnTo>
                      <a:pt x="217" y="69"/>
                    </a:lnTo>
                    <a:lnTo>
                      <a:pt x="219" y="67"/>
                    </a:lnTo>
                    <a:lnTo>
                      <a:pt x="221" y="67"/>
                    </a:lnTo>
                    <a:lnTo>
                      <a:pt x="221" y="69"/>
                    </a:lnTo>
                    <a:lnTo>
                      <a:pt x="219" y="69"/>
                    </a:lnTo>
                    <a:lnTo>
                      <a:pt x="221" y="69"/>
                    </a:lnTo>
                    <a:lnTo>
                      <a:pt x="219" y="69"/>
                    </a:lnTo>
                    <a:lnTo>
                      <a:pt x="219" y="71"/>
                    </a:lnTo>
                    <a:lnTo>
                      <a:pt x="217" y="71"/>
                    </a:lnTo>
                    <a:lnTo>
                      <a:pt x="215" y="71"/>
                    </a:lnTo>
                    <a:lnTo>
                      <a:pt x="215" y="73"/>
                    </a:lnTo>
                    <a:lnTo>
                      <a:pt x="215" y="75"/>
                    </a:lnTo>
                    <a:lnTo>
                      <a:pt x="217" y="75"/>
                    </a:lnTo>
                    <a:lnTo>
                      <a:pt x="217" y="77"/>
                    </a:lnTo>
                    <a:lnTo>
                      <a:pt x="217" y="79"/>
                    </a:lnTo>
                    <a:lnTo>
                      <a:pt x="215" y="79"/>
                    </a:lnTo>
                    <a:lnTo>
                      <a:pt x="215" y="81"/>
                    </a:lnTo>
                    <a:lnTo>
                      <a:pt x="215" y="79"/>
                    </a:lnTo>
                    <a:lnTo>
                      <a:pt x="215" y="81"/>
                    </a:lnTo>
                    <a:lnTo>
                      <a:pt x="217" y="81"/>
                    </a:lnTo>
                    <a:lnTo>
                      <a:pt x="215" y="81"/>
                    </a:lnTo>
                    <a:lnTo>
                      <a:pt x="215" y="82"/>
                    </a:lnTo>
                    <a:lnTo>
                      <a:pt x="213" y="82"/>
                    </a:lnTo>
                    <a:lnTo>
                      <a:pt x="212" y="82"/>
                    </a:lnTo>
                    <a:lnTo>
                      <a:pt x="212" y="84"/>
                    </a:lnTo>
                    <a:lnTo>
                      <a:pt x="212" y="86"/>
                    </a:lnTo>
                    <a:lnTo>
                      <a:pt x="210" y="86"/>
                    </a:lnTo>
                    <a:lnTo>
                      <a:pt x="210" y="88"/>
                    </a:lnTo>
                    <a:lnTo>
                      <a:pt x="212" y="88"/>
                    </a:lnTo>
                    <a:lnTo>
                      <a:pt x="210" y="88"/>
                    </a:lnTo>
                    <a:lnTo>
                      <a:pt x="210" y="90"/>
                    </a:lnTo>
                    <a:lnTo>
                      <a:pt x="208" y="90"/>
                    </a:lnTo>
                    <a:lnTo>
                      <a:pt x="206" y="92"/>
                    </a:lnTo>
                    <a:lnTo>
                      <a:pt x="208" y="92"/>
                    </a:lnTo>
                    <a:lnTo>
                      <a:pt x="208" y="94"/>
                    </a:lnTo>
                    <a:lnTo>
                      <a:pt x="206" y="94"/>
                    </a:lnTo>
                    <a:lnTo>
                      <a:pt x="204" y="94"/>
                    </a:lnTo>
                    <a:lnTo>
                      <a:pt x="206" y="94"/>
                    </a:lnTo>
                    <a:lnTo>
                      <a:pt x="204" y="94"/>
                    </a:lnTo>
                    <a:lnTo>
                      <a:pt x="204" y="92"/>
                    </a:lnTo>
                    <a:lnTo>
                      <a:pt x="202" y="92"/>
                    </a:lnTo>
                    <a:lnTo>
                      <a:pt x="204" y="92"/>
                    </a:lnTo>
                    <a:lnTo>
                      <a:pt x="204" y="94"/>
                    </a:lnTo>
                    <a:lnTo>
                      <a:pt x="202" y="94"/>
                    </a:lnTo>
                    <a:lnTo>
                      <a:pt x="200" y="94"/>
                    </a:lnTo>
                    <a:lnTo>
                      <a:pt x="198" y="92"/>
                    </a:lnTo>
                    <a:lnTo>
                      <a:pt x="198" y="94"/>
                    </a:lnTo>
                    <a:lnTo>
                      <a:pt x="196" y="94"/>
                    </a:lnTo>
                    <a:lnTo>
                      <a:pt x="198" y="92"/>
                    </a:lnTo>
                    <a:lnTo>
                      <a:pt x="196" y="92"/>
                    </a:lnTo>
                    <a:lnTo>
                      <a:pt x="196" y="90"/>
                    </a:lnTo>
                    <a:lnTo>
                      <a:pt x="192" y="88"/>
                    </a:lnTo>
                    <a:lnTo>
                      <a:pt x="190" y="90"/>
                    </a:lnTo>
                    <a:lnTo>
                      <a:pt x="190" y="92"/>
                    </a:lnTo>
                    <a:lnTo>
                      <a:pt x="190" y="90"/>
                    </a:lnTo>
                    <a:lnTo>
                      <a:pt x="188" y="90"/>
                    </a:lnTo>
                    <a:lnTo>
                      <a:pt x="187" y="90"/>
                    </a:lnTo>
                    <a:lnTo>
                      <a:pt x="185" y="90"/>
                    </a:lnTo>
                    <a:lnTo>
                      <a:pt x="183" y="90"/>
                    </a:lnTo>
                    <a:lnTo>
                      <a:pt x="181" y="88"/>
                    </a:lnTo>
                    <a:lnTo>
                      <a:pt x="179" y="88"/>
                    </a:lnTo>
                    <a:lnTo>
                      <a:pt x="179" y="90"/>
                    </a:lnTo>
                    <a:lnTo>
                      <a:pt x="177" y="90"/>
                    </a:lnTo>
                    <a:lnTo>
                      <a:pt x="179" y="90"/>
                    </a:lnTo>
                    <a:lnTo>
                      <a:pt x="177" y="90"/>
                    </a:lnTo>
                    <a:lnTo>
                      <a:pt x="177" y="92"/>
                    </a:lnTo>
                    <a:lnTo>
                      <a:pt x="175" y="96"/>
                    </a:lnTo>
                    <a:lnTo>
                      <a:pt x="173" y="96"/>
                    </a:lnTo>
                    <a:lnTo>
                      <a:pt x="173" y="94"/>
                    </a:lnTo>
                    <a:lnTo>
                      <a:pt x="173" y="96"/>
                    </a:lnTo>
                    <a:lnTo>
                      <a:pt x="171" y="96"/>
                    </a:lnTo>
                    <a:lnTo>
                      <a:pt x="171" y="98"/>
                    </a:lnTo>
                    <a:lnTo>
                      <a:pt x="173" y="98"/>
                    </a:lnTo>
                    <a:lnTo>
                      <a:pt x="173" y="100"/>
                    </a:lnTo>
                    <a:lnTo>
                      <a:pt x="173" y="102"/>
                    </a:lnTo>
                    <a:lnTo>
                      <a:pt x="173" y="100"/>
                    </a:lnTo>
                    <a:lnTo>
                      <a:pt x="171" y="100"/>
                    </a:lnTo>
                    <a:lnTo>
                      <a:pt x="169" y="102"/>
                    </a:lnTo>
                    <a:lnTo>
                      <a:pt x="169" y="100"/>
                    </a:lnTo>
                    <a:lnTo>
                      <a:pt x="167" y="100"/>
                    </a:lnTo>
                    <a:lnTo>
                      <a:pt x="165" y="100"/>
                    </a:lnTo>
                    <a:lnTo>
                      <a:pt x="163" y="98"/>
                    </a:lnTo>
                    <a:lnTo>
                      <a:pt x="163" y="100"/>
                    </a:lnTo>
                    <a:lnTo>
                      <a:pt x="163" y="98"/>
                    </a:lnTo>
                    <a:lnTo>
                      <a:pt x="163" y="100"/>
                    </a:lnTo>
                    <a:lnTo>
                      <a:pt x="162" y="100"/>
                    </a:lnTo>
                    <a:lnTo>
                      <a:pt x="160" y="100"/>
                    </a:lnTo>
                    <a:lnTo>
                      <a:pt x="160" y="102"/>
                    </a:lnTo>
                    <a:lnTo>
                      <a:pt x="162" y="102"/>
                    </a:lnTo>
                    <a:lnTo>
                      <a:pt x="160" y="102"/>
                    </a:lnTo>
                    <a:lnTo>
                      <a:pt x="160" y="104"/>
                    </a:lnTo>
                    <a:lnTo>
                      <a:pt x="162" y="104"/>
                    </a:lnTo>
                    <a:lnTo>
                      <a:pt x="160" y="104"/>
                    </a:lnTo>
                    <a:lnTo>
                      <a:pt x="160" y="106"/>
                    </a:lnTo>
                    <a:lnTo>
                      <a:pt x="158" y="107"/>
                    </a:lnTo>
                    <a:lnTo>
                      <a:pt x="160" y="107"/>
                    </a:lnTo>
                    <a:lnTo>
                      <a:pt x="160" y="109"/>
                    </a:lnTo>
                    <a:lnTo>
                      <a:pt x="162" y="109"/>
                    </a:lnTo>
                    <a:lnTo>
                      <a:pt x="162" y="111"/>
                    </a:lnTo>
                    <a:lnTo>
                      <a:pt x="160" y="111"/>
                    </a:lnTo>
                    <a:lnTo>
                      <a:pt x="162" y="111"/>
                    </a:lnTo>
                    <a:lnTo>
                      <a:pt x="163" y="111"/>
                    </a:lnTo>
                    <a:lnTo>
                      <a:pt x="163" y="113"/>
                    </a:lnTo>
                    <a:lnTo>
                      <a:pt x="165" y="113"/>
                    </a:lnTo>
                    <a:lnTo>
                      <a:pt x="165" y="115"/>
                    </a:lnTo>
                    <a:lnTo>
                      <a:pt x="163" y="115"/>
                    </a:lnTo>
                    <a:lnTo>
                      <a:pt x="163" y="117"/>
                    </a:lnTo>
                    <a:lnTo>
                      <a:pt x="163" y="119"/>
                    </a:lnTo>
                    <a:lnTo>
                      <a:pt x="162" y="121"/>
                    </a:lnTo>
                    <a:lnTo>
                      <a:pt x="160" y="121"/>
                    </a:lnTo>
                    <a:lnTo>
                      <a:pt x="160" y="123"/>
                    </a:lnTo>
                    <a:lnTo>
                      <a:pt x="158" y="123"/>
                    </a:lnTo>
                    <a:lnTo>
                      <a:pt x="158" y="125"/>
                    </a:lnTo>
                    <a:lnTo>
                      <a:pt x="158" y="127"/>
                    </a:lnTo>
                    <a:lnTo>
                      <a:pt x="158" y="129"/>
                    </a:lnTo>
                    <a:lnTo>
                      <a:pt x="158" y="131"/>
                    </a:lnTo>
                    <a:lnTo>
                      <a:pt x="160" y="131"/>
                    </a:lnTo>
                    <a:lnTo>
                      <a:pt x="162" y="131"/>
                    </a:lnTo>
                    <a:lnTo>
                      <a:pt x="162" y="132"/>
                    </a:lnTo>
                    <a:lnTo>
                      <a:pt x="160" y="132"/>
                    </a:lnTo>
                    <a:lnTo>
                      <a:pt x="162" y="132"/>
                    </a:lnTo>
                    <a:lnTo>
                      <a:pt x="162" y="134"/>
                    </a:lnTo>
                    <a:lnTo>
                      <a:pt x="160" y="134"/>
                    </a:lnTo>
                    <a:lnTo>
                      <a:pt x="158" y="134"/>
                    </a:lnTo>
                    <a:lnTo>
                      <a:pt x="158" y="136"/>
                    </a:lnTo>
                    <a:lnTo>
                      <a:pt x="158" y="138"/>
                    </a:lnTo>
                    <a:lnTo>
                      <a:pt x="156" y="140"/>
                    </a:lnTo>
                    <a:lnTo>
                      <a:pt x="158" y="140"/>
                    </a:lnTo>
                    <a:lnTo>
                      <a:pt x="160" y="140"/>
                    </a:lnTo>
                    <a:lnTo>
                      <a:pt x="158" y="140"/>
                    </a:lnTo>
                    <a:lnTo>
                      <a:pt x="158" y="142"/>
                    </a:lnTo>
                    <a:lnTo>
                      <a:pt x="158" y="140"/>
                    </a:lnTo>
                    <a:lnTo>
                      <a:pt x="160" y="142"/>
                    </a:lnTo>
                    <a:lnTo>
                      <a:pt x="158" y="144"/>
                    </a:lnTo>
                    <a:lnTo>
                      <a:pt x="156" y="144"/>
                    </a:lnTo>
                    <a:lnTo>
                      <a:pt x="154" y="144"/>
                    </a:lnTo>
                    <a:lnTo>
                      <a:pt x="154" y="146"/>
                    </a:lnTo>
                    <a:lnTo>
                      <a:pt x="154" y="148"/>
                    </a:lnTo>
                    <a:lnTo>
                      <a:pt x="154" y="150"/>
                    </a:lnTo>
                    <a:lnTo>
                      <a:pt x="154" y="148"/>
                    </a:lnTo>
                    <a:lnTo>
                      <a:pt x="154" y="150"/>
                    </a:lnTo>
                    <a:lnTo>
                      <a:pt x="152" y="150"/>
                    </a:lnTo>
                    <a:lnTo>
                      <a:pt x="150" y="150"/>
                    </a:lnTo>
                    <a:lnTo>
                      <a:pt x="150" y="152"/>
                    </a:lnTo>
                    <a:lnTo>
                      <a:pt x="150" y="154"/>
                    </a:lnTo>
                    <a:lnTo>
                      <a:pt x="148" y="154"/>
                    </a:lnTo>
                    <a:lnTo>
                      <a:pt x="146" y="154"/>
                    </a:lnTo>
                    <a:lnTo>
                      <a:pt x="146" y="156"/>
                    </a:lnTo>
                    <a:lnTo>
                      <a:pt x="144" y="156"/>
                    </a:lnTo>
                    <a:lnTo>
                      <a:pt x="144" y="154"/>
                    </a:lnTo>
                    <a:lnTo>
                      <a:pt x="142" y="156"/>
                    </a:lnTo>
                    <a:lnTo>
                      <a:pt x="142" y="157"/>
                    </a:lnTo>
                    <a:lnTo>
                      <a:pt x="140" y="157"/>
                    </a:lnTo>
                    <a:lnTo>
                      <a:pt x="140" y="159"/>
                    </a:lnTo>
                    <a:lnTo>
                      <a:pt x="140" y="161"/>
                    </a:lnTo>
                    <a:lnTo>
                      <a:pt x="140" y="163"/>
                    </a:lnTo>
                    <a:lnTo>
                      <a:pt x="142" y="163"/>
                    </a:lnTo>
                    <a:lnTo>
                      <a:pt x="142" y="165"/>
                    </a:lnTo>
                    <a:lnTo>
                      <a:pt x="142" y="167"/>
                    </a:lnTo>
                    <a:lnTo>
                      <a:pt x="140" y="167"/>
                    </a:lnTo>
                    <a:lnTo>
                      <a:pt x="142" y="167"/>
                    </a:lnTo>
                    <a:lnTo>
                      <a:pt x="142" y="169"/>
                    </a:lnTo>
                    <a:lnTo>
                      <a:pt x="140" y="169"/>
                    </a:lnTo>
                    <a:lnTo>
                      <a:pt x="140" y="171"/>
                    </a:lnTo>
                    <a:lnTo>
                      <a:pt x="142" y="171"/>
                    </a:lnTo>
                    <a:lnTo>
                      <a:pt x="142" y="173"/>
                    </a:lnTo>
                    <a:lnTo>
                      <a:pt x="144" y="173"/>
                    </a:lnTo>
                    <a:lnTo>
                      <a:pt x="144" y="175"/>
                    </a:lnTo>
                    <a:lnTo>
                      <a:pt x="146" y="175"/>
                    </a:lnTo>
                    <a:lnTo>
                      <a:pt x="146" y="177"/>
                    </a:lnTo>
                    <a:lnTo>
                      <a:pt x="146" y="175"/>
                    </a:lnTo>
                    <a:lnTo>
                      <a:pt x="146" y="177"/>
                    </a:lnTo>
                    <a:lnTo>
                      <a:pt x="146" y="179"/>
                    </a:lnTo>
                    <a:lnTo>
                      <a:pt x="146" y="181"/>
                    </a:lnTo>
                    <a:lnTo>
                      <a:pt x="144" y="181"/>
                    </a:lnTo>
                    <a:lnTo>
                      <a:pt x="142" y="181"/>
                    </a:lnTo>
                    <a:lnTo>
                      <a:pt x="140" y="181"/>
                    </a:lnTo>
                    <a:lnTo>
                      <a:pt x="139" y="181"/>
                    </a:lnTo>
                    <a:lnTo>
                      <a:pt x="139" y="182"/>
                    </a:lnTo>
                    <a:lnTo>
                      <a:pt x="139" y="184"/>
                    </a:lnTo>
                    <a:lnTo>
                      <a:pt x="139" y="182"/>
                    </a:lnTo>
                    <a:lnTo>
                      <a:pt x="137" y="182"/>
                    </a:lnTo>
                    <a:lnTo>
                      <a:pt x="137" y="184"/>
                    </a:lnTo>
                    <a:lnTo>
                      <a:pt x="137" y="186"/>
                    </a:lnTo>
                    <a:lnTo>
                      <a:pt x="137" y="188"/>
                    </a:lnTo>
                    <a:lnTo>
                      <a:pt x="135" y="188"/>
                    </a:lnTo>
                    <a:lnTo>
                      <a:pt x="133" y="188"/>
                    </a:lnTo>
                    <a:lnTo>
                      <a:pt x="131" y="188"/>
                    </a:lnTo>
                    <a:lnTo>
                      <a:pt x="129" y="188"/>
                    </a:lnTo>
                    <a:lnTo>
                      <a:pt x="129" y="190"/>
                    </a:lnTo>
                    <a:lnTo>
                      <a:pt x="127" y="190"/>
                    </a:lnTo>
                    <a:lnTo>
                      <a:pt x="127" y="192"/>
                    </a:lnTo>
                    <a:lnTo>
                      <a:pt x="127" y="190"/>
                    </a:lnTo>
                    <a:lnTo>
                      <a:pt x="125" y="190"/>
                    </a:lnTo>
                    <a:lnTo>
                      <a:pt x="125" y="192"/>
                    </a:lnTo>
                    <a:lnTo>
                      <a:pt x="127" y="192"/>
                    </a:lnTo>
                    <a:lnTo>
                      <a:pt x="125" y="192"/>
                    </a:lnTo>
                    <a:lnTo>
                      <a:pt x="125" y="194"/>
                    </a:lnTo>
                    <a:lnTo>
                      <a:pt x="125" y="196"/>
                    </a:lnTo>
                    <a:lnTo>
                      <a:pt x="125" y="198"/>
                    </a:lnTo>
                    <a:lnTo>
                      <a:pt x="123" y="198"/>
                    </a:lnTo>
                    <a:lnTo>
                      <a:pt x="123" y="200"/>
                    </a:lnTo>
                    <a:lnTo>
                      <a:pt x="121" y="200"/>
                    </a:lnTo>
                    <a:lnTo>
                      <a:pt x="119" y="200"/>
                    </a:lnTo>
                    <a:lnTo>
                      <a:pt x="117" y="200"/>
                    </a:lnTo>
                    <a:lnTo>
                      <a:pt x="117" y="198"/>
                    </a:lnTo>
                    <a:lnTo>
                      <a:pt x="115" y="198"/>
                    </a:lnTo>
                    <a:lnTo>
                      <a:pt x="114" y="196"/>
                    </a:lnTo>
                    <a:lnTo>
                      <a:pt x="112" y="198"/>
                    </a:lnTo>
                    <a:lnTo>
                      <a:pt x="112" y="196"/>
                    </a:lnTo>
                    <a:lnTo>
                      <a:pt x="112" y="194"/>
                    </a:lnTo>
                    <a:lnTo>
                      <a:pt x="114" y="194"/>
                    </a:lnTo>
                    <a:lnTo>
                      <a:pt x="115" y="192"/>
                    </a:lnTo>
                    <a:lnTo>
                      <a:pt x="115" y="190"/>
                    </a:lnTo>
                    <a:lnTo>
                      <a:pt x="117" y="190"/>
                    </a:lnTo>
                    <a:lnTo>
                      <a:pt x="119" y="188"/>
                    </a:lnTo>
                    <a:lnTo>
                      <a:pt x="117" y="188"/>
                    </a:lnTo>
                    <a:lnTo>
                      <a:pt x="117" y="186"/>
                    </a:lnTo>
                    <a:lnTo>
                      <a:pt x="119" y="186"/>
                    </a:lnTo>
                    <a:lnTo>
                      <a:pt x="119" y="184"/>
                    </a:lnTo>
                    <a:lnTo>
                      <a:pt x="117" y="184"/>
                    </a:lnTo>
                    <a:lnTo>
                      <a:pt x="115" y="184"/>
                    </a:lnTo>
                    <a:lnTo>
                      <a:pt x="114" y="184"/>
                    </a:lnTo>
                    <a:lnTo>
                      <a:pt x="112" y="186"/>
                    </a:lnTo>
                    <a:lnTo>
                      <a:pt x="112" y="184"/>
                    </a:lnTo>
                    <a:lnTo>
                      <a:pt x="112" y="186"/>
                    </a:lnTo>
                    <a:lnTo>
                      <a:pt x="112" y="188"/>
                    </a:lnTo>
                    <a:lnTo>
                      <a:pt x="110" y="186"/>
                    </a:lnTo>
                    <a:lnTo>
                      <a:pt x="108" y="186"/>
                    </a:lnTo>
                    <a:lnTo>
                      <a:pt x="108" y="188"/>
                    </a:lnTo>
                    <a:lnTo>
                      <a:pt x="106" y="188"/>
                    </a:lnTo>
                    <a:lnTo>
                      <a:pt x="104" y="188"/>
                    </a:lnTo>
                    <a:lnTo>
                      <a:pt x="104" y="190"/>
                    </a:lnTo>
                    <a:lnTo>
                      <a:pt x="104" y="192"/>
                    </a:lnTo>
                    <a:lnTo>
                      <a:pt x="102" y="194"/>
                    </a:lnTo>
                    <a:lnTo>
                      <a:pt x="102" y="196"/>
                    </a:lnTo>
                    <a:lnTo>
                      <a:pt x="100" y="196"/>
                    </a:lnTo>
                    <a:lnTo>
                      <a:pt x="100" y="198"/>
                    </a:lnTo>
                    <a:lnTo>
                      <a:pt x="98" y="198"/>
                    </a:lnTo>
                    <a:lnTo>
                      <a:pt x="96" y="196"/>
                    </a:lnTo>
                    <a:lnTo>
                      <a:pt x="94" y="196"/>
                    </a:lnTo>
                    <a:lnTo>
                      <a:pt x="92" y="196"/>
                    </a:lnTo>
                    <a:lnTo>
                      <a:pt x="92" y="198"/>
                    </a:lnTo>
                    <a:lnTo>
                      <a:pt x="90" y="200"/>
                    </a:lnTo>
                    <a:lnTo>
                      <a:pt x="90" y="202"/>
                    </a:lnTo>
                    <a:lnTo>
                      <a:pt x="89" y="202"/>
                    </a:lnTo>
                    <a:lnTo>
                      <a:pt x="89" y="200"/>
                    </a:lnTo>
                    <a:lnTo>
                      <a:pt x="89" y="198"/>
                    </a:lnTo>
                    <a:lnTo>
                      <a:pt x="87" y="200"/>
                    </a:lnTo>
                    <a:lnTo>
                      <a:pt x="85" y="200"/>
                    </a:lnTo>
                    <a:lnTo>
                      <a:pt x="83" y="200"/>
                    </a:lnTo>
                    <a:lnTo>
                      <a:pt x="83" y="202"/>
                    </a:lnTo>
                    <a:lnTo>
                      <a:pt x="81" y="202"/>
                    </a:lnTo>
                    <a:lnTo>
                      <a:pt x="81" y="204"/>
                    </a:lnTo>
                    <a:lnTo>
                      <a:pt x="83" y="204"/>
                    </a:lnTo>
                    <a:lnTo>
                      <a:pt x="83" y="206"/>
                    </a:lnTo>
                    <a:lnTo>
                      <a:pt x="81" y="207"/>
                    </a:lnTo>
                    <a:lnTo>
                      <a:pt x="79" y="207"/>
                    </a:lnTo>
                    <a:lnTo>
                      <a:pt x="79" y="209"/>
                    </a:lnTo>
                    <a:lnTo>
                      <a:pt x="77" y="209"/>
                    </a:lnTo>
                    <a:lnTo>
                      <a:pt x="77" y="211"/>
                    </a:lnTo>
                    <a:lnTo>
                      <a:pt x="79" y="213"/>
                    </a:lnTo>
                    <a:lnTo>
                      <a:pt x="77" y="213"/>
                    </a:lnTo>
                    <a:lnTo>
                      <a:pt x="79" y="215"/>
                    </a:lnTo>
                    <a:lnTo>
                      <a:pt x="79" y="213"/>
                    </a:lnTo>
                    <a:lnTo>
                      <a:pt x="79" y="215"/>
                    </a:lnTo>
                    <a:lnTo>
                      <a:pt x="79" y="217"/>
                    </a:lnTo>
                    <a:lnTo>
                      <a:pt x="77" y="217"/>
                    </a:lnTo>
                    <a:lnTo>
                      <a:pt x="75" y="217"/>
                    </a:lnTo>
                    <a:lnTo>
                      <a:pt x="75" y="215"/>
                    </a:lnTo>
                    <a:lnTo>
                      <a:pt x="73" y="215"/>
                    </a:lnTo>
                    <a:lnTo>
                      <a:pt x="71" y="215"/>
                    </a:lnTo>
                    <a:lnTo>
                      <a:pt x="69" y="215"/>
                    </a:lnTo>
                    <a:lnTo>
                      <a:pt x="69" y="213"/>
                    </a:lnTo>
                    <a:lnTo>
                      <a:pt x="67" y="211"/>
                    </a:lnTo>
                    <a:lnTo>
                      <a:pt x="69" y="211"/>
                    </a:lnTo>
                    <a:lnTo>
                      <a:pt x="67" y="209"/>
                    </a:lnTo>
                    <a:lnTo>
                      <a:pt x="66" y="209"/>
                    </a:lnTo>
                    <a:lnTo>
                      <a:pt x="64" y="209"/>
                    </a:lnTo>
                    <a:lnTo>
                      <a:pt x="62" y="209"/>
                    </a:lnTo>
                    <a:lnTo>
                      <a:pt x="62" y="207"/>
                    </a:lnTo>
                    <a:lnTo>
                      <a:pt x="64" y="207"/>
                    </a:lnTo>
                    <a:lnTo>
                      <a:pt x="64" y="206"/>
                    </a:lnTo>
                    <a:lnTo>
                      <a:pt x="64" y="207"/>
                    </a:lnTo>
                    <a:lnTo>
                      <a:pt x="66" y="207"/>
                    </a:lnTo>
                    <a:lnTo>
                      <a:pt x="66" y="206"/>
                    </a:lnTo>
                    <a:lnTo>
                      <a:pt x="66" y="204"/>
                    </a:lnTo>
                    <a:lnTo>
                      <a:pt x="64" y="204"/>
                    </a:lnTo>
                    <a:lnTo>
                      <a:pt x="62" y="206"/>
                    </a:lnTo>
                    <a:lnTo>
                      <a:pt x="60" y="204"/>
                    </a:lnTo>
                    <a:lnTo>
                      <a:pt x="58" y="204"/>
                    </a:lnTo>
                    <a:lnTo>
                      <a:pt x="58" y="202"/>
                    </a:lnTo>
                    <a:lnTo>
                      <a:pt x="58" y="200"/>
                    </a:lnTo>
                    <a:lnTo>
                      <a:pt x="58" y="198"/>
                    </a:lnTo>
                    <a:lnTo>
                      <a:pt x="56" y="198"/>
                    </a:lnTo>
                    <a:lnTo>
                      <a:pt x="56" y="196"/>
                    </a:lnTo>
                    <a:lnTo>
                      <a:pt x="54" y="196"/>
                    </a:lnTo>
                    <a:lnTo>
                      <a:pt x="54" y="194"/>
                    </a:lnTo>
                    <a:lnTo>
                      <a:pt x="54" y="192"/>
                    </a:lnTo>
                    <a:lnTo>
                      <a:pt x="52" y="192"/>
                    </a:lnTo>
                    <a:lnTo>
                      <a:pt x="52" y="190"/>
                    </a:lnTo>
                    <a:lnTo>
                      <a:pt x="52" y="188"/>
                    </a:lnTo>
                    <a:lnTo>
                      <a:pt x="54" y="188"/>
                    </a:lnTo>
                    <a:lnTo>
                      <a:pt x="54" y="186"/>
                    </a:lnTo>
                    <a:lnTo>
                      <a:pt x="56" y="186"/>
                    </a:lnTo>
                    <a:lnTo>
                      <a:pt x="56" y="184"/>
                    </a:lnTo>
                    <a:lnTo>
                      <a:pt x="54" y="184"/>
                    </a:lnTo>
                    <a:lnTo>
                      <a:pt x="52" y="184"/>
                    </a:lnTo>
                    <a:lnTo>
                      <a:pt x="52" y="182"/>
                    </a:lnTo>
                    <a:lnTo>
                      <a:pt x="50" y="182"/>
                    </a:lnTo>
                    <a:lnTo>
                      <a:pt x="50" y="181"/>
                    </a:lnTo>
                    <a:lnTo>
                      <a:pt x="52" y="181"/>
                    </a:lnTo>
                    <a:lnTo>
                      <a:pt x="54" y="179"/>
                    </a:lnTo>
                    <a:lnTo>
                      <a:pt x="52" y="179"/>
                    </a:lnTo>
                    <a:lnTo>
                      <a:pt x="52" y="177"/>
                    </a:lnTo>
                    <a:lnTo>
                      <a:pt x="52" y="179"/>
                    </a:lnTo>
                    <a:lnTo>
                      <a:pt x="50" y="177"/>
                    </a:lnTo>
                    <a:lnTo>
                      <a:pt x="50" y="175"/>
                    </a:lnTo>
                    <a:lnTo>
                      <a:pt x="48" y="175"/>
                    </a:lnTo>
                    <a:lnTo>
                      <a:pt x="48" y="173"/>
                    </a:lnTo>
                    <a:lnTo>
                      <a:pt x="46" y="173"/>
                    </a:lnTo>
                    <a:lnTo>
                      <a:pt x="46" y="171"/>
                    </a:lnTo>
                    <a:lnTo>
                      <a:pt x="46" y="169"/>
                    </a:lnTo>
                    <a:lnTo>
                      <a:pt x="46" y="167"/>
                    </a:lnTo>
                    <a:lnTo>
                      <a:pt x="44" y="165"/>
                    </a:lnTo>
                    <a:lnTo>
                      <a:pt x="42" y="163"/>
                    </a:lnTo>
                    <a:lnTo>
                      <a:pt x="44" y="163"/>
                    </a:lnTo>
                    <a:lnTo>
                      <a:pt x="42" y="161"/>
                    </a:lnTo>
                    <a:lnTo>
                      <a:pt x="42" y="159"/>
                    </a:lnTo>
                    <a:lnTo>
                      <a:pt x="41" y="159"/>
                    </a:lnTo>
                    <a:lnTo>
                      <a:pt x="39" y="159"/>
                    </a:lnTo>
                    <a:lnTo>
                      <a:pt x="37" y="161"/>
                    </a:lnTo>
                    <a:lnTo>
                      <a:pt x="37" y="159"/>
                    </a:lnTo>
                    <a:lnTo>
                      <a:pt x="37" y="161"/>
                    </a:lnTo>
                    <a:lnTo>
                      <a:pt x="35" y="161"/>
                    </a:lnTo>
                    <a:lnTo>
                      <a:pt x="35" y="159"/>
                    </a:lnTo>
                    <a:lnTo>
                      <a:pt x="33" y="159"/>
                    </a:lnTo>
                    <a:lnTo>
                      <a:pt x="33" y="161"/>
                    </a:lnTo>
                    <a:lnTo>
                      <a:pt x="31" y="161"/>
                    </a:lnTo>
                    <a:lnTo>
                      <a:pt x="31" y="163"/>
                    </a:lnTo>
                    <a:lnTo>
                      <a:pt x="29" y="165"/>
                    </a:lnTo>
                    <a:lnTo>
                      <a:pt x="27" y="165"/>
                    </a:lnTo>
                    <a:lnTo>
                      <a:pt x="25" y="165"/>
                    </a:lnTo>
                    <a:lnTo>
                      <a:pt x="27" y="163"/>
                    </a:lnTo>
                    <a:lnTo>
                      <a:pt x="25" y="163"/>
                    </a:lnTo>
                    <a:lnTo>
                      <a:pt x="25" y="165"/>
                    </a:lnTo>
                    <a:lnTo>
                      <a:pt x="25" y="163"/>
                    </a:lnTo>
                    <a:lnTo>
                      <a:pt x="23" y="163"/>
                    </a:lnTo>
                    <a:lnTo>
                      <a:pt x="21" y="163"/>
                    </a:lnTo>
                    <a:lnTo>
                      <a:pt x="19" y="163"/>
                    </a:lnTo>
                    <a:lnTo>
                      <a:pt x="21" y="161"/>
                    </a:lnTo>
                    <a:lnTo>
                      <a:pt x="19" y="161"/>
                    </a:lnTo>
                    <a:lnTo>
                      <a:pt x="19" y="163"/>
                    </a:lnTo>
                    <a:lnTo>
                      <a:pt x="19" y="161"/>
                    </a:lnTo>
                    <a:lnTo>
                      <a:pt x="17" y="161"/>
                    </a:lnTo>
                    <a:lnTo>
                      <a:pt x="19" y="161"/>
                    </a:lnTo>
                    <a:lnTo>
                      <a:pt x="19" y="159"/>
                    </a:lnTo>
                    <a:lnTo>
                      <a:pt x="17" y="159"/>
                    </a:lnTo>
                    <a:lnTo>
                      <a:pt x="17" y="157"/>
                    </a:lnTo>
                    <a:lnTo>
                      <a:pt x="19" y="157"/>
                    </a:lnTo>
                    <a:lnTo>
                      <a:pt x="17" y="157"/>
                    </a:lnTo>
                    <a:lnTo>
                      <a:pt x="16" y="157"/>
                    </a:lnTo>
                    <a:lnTo>
                      <a:pt x="14" y="157"/>
                    </a:lnTo>
                    <a:lnTo>
                      <a:pt x="14" y="156"/>
                    </a:lnTo>
                    <a:lnTo>
                      <a:pt x="12" y="154"/>
                    </a:lnTo>
                    <a:lnTo>
                      <a:pt x="14" y="154"/>
                    </a:lnTo>
                    <a:lnTo>
                      <a:pt x="14" y="152"/>
                    </a:lnTo>
                    <a:lnTo>
                      <a:pt x="12" y="152"/>
                    </a:lnTo>
                    <a:lnTo>
                      <a:pt x="12" y="154"/>
                    </a:lnTo>
                    <a:lnTo>
                      <a:pt x="10" y="154"/>
                    </a:lnTo>
                    <a:lnTo>
                      <a:pt x="10" y="156"/>
                    </a:lnTo>
                    <a:lnTo>
                      <a:pt x="10" y="157"/>
                    </a:lnTo>
                    <a:lnTo>
                      <a:pt x="8" y="156"/>
                    </a:lnTo>
                    <a:lnTo>
                      <a:pt x="10" y="154"/>
                    </a:lnTo>
                    <a:lnTo>
                      <a:pt x="10" y="152"/>
                    </a:lnTo>
                    <a:lnTo>
                      <a:pt x="8" y="152"/>
                    </a:lnTo>
                    <a:lnTo>
                      <a:pt x="10" y="150"/>
                    </a:lnTo>
                    <a:lnTo>
                      <a:pt x="10" y="152"/>
                    </a:lnTo>
                    <a:lnTo>
                      <a:pt x="12" y="152"/>
                    </a:lnTo>
                    <a:lnTo>
                      <a:pt x="12" y="150"/>
                    </a:lnTo>
                    <a:lnTo>
                      <a:pt x="14" y="150"/>
                    </a:lnTo>
                    <a:lnTo>
                      <a:pt x="14" y="148"/>
                    </a:lnTo>
                    <a:lnTo>
                      <a:pt x="16" y="148"/>
                    </a:lnTo>
                    <a:lnTo>
                      <a:pt x="16" y="146"/>
                    </a:lnTo>
                    <a:lnTo>
                      <a:pt x="16" y="144"/>
                    </a:lnTo>
                    <a:lnTo>
                      <a:pt x="17" y="142"/>
                    </a:lnTo>
                    <a:lnTo>
                      <a:pt x="17" y="140"/>
                    </a:lnTo>
                    <a:lnTo>
                      <a:pt x="16" y="140"/>
                    </a:lnTo>
                    <a:lnTo>
                      <a:pt x="14" y="140"/>
                    </a:lnTo>
                    <a:lnTo>
                      <a:pt x="12" y="140"/>
                    </a:lnTo>
                    <a:lnTo>
                      <a:pt x="10" y="140"/>
                    </a:lnTo>
                    <a:lnTo>
                      <a:pt x="8" y="140"/>
                    </a:lnTo>
                    <a:lnTo>
                      <a:pt x="6" y="136"/>
                    </a:lnTo>
                    <a:lnTo>
                      <a:pt x="4" y="136"/>
                    </a:lnTo>
                    <a:lnTo>
                      <a:pt x="4" y="134"/>
                    </a:lnTo>
                    <a:lnTo>
                      <a:pt x="4" y="132"/>
                    </a:lnTo>
                    <a:lnTo>
                      <a:pt x="6" y="132"/>
                    </a:lnTo>
                    <a:lnTo>
                      <a:pt x="6" y="131"/>
                    </a:lnTo>
                    <a:lnTo>
                      <a:pt x="6" y="129"/>
                    </a:lnTo>
                    <a:lnTo>
                      <a:pt x="8" y="129"/>
                    </a:lnTo>
                    <a:lnTo>
                      <a:pt x="6" y="129"/>
                    </a:lnTo>
                    <a:lnTo>
                      <a:pt x="4" y="129"/>
                    </a:lnTo>
                    <a:lnTo>
                      <a:pt x="2" y="129"/>
                    </a:lnTo>
                    <a:lnTo>
                      <a:pt x="2" y="127"/>
                    </a:lnTo>
                    <a:lnTo>
                      <a:pt x="0" y="127"/>
                    </a:lnTo>
                    <a:lnTo>
                      <a:pt x="0" y="125"/>
                    </a:lnTo>
                    <a:lnTo>
                      <a:pt x="2" y="125"/>
                    </a:lnTo>
                    <a:lnTo>
                      <a:pt x="2" y="123"/>
                    </a:lnTo>
                    <a:lnTo>
                      <a:pt x="4" y="123"/>
                    </a:lnTo>
                    <a:lnTo>
                      <a:pt x="4" y="121"/>
                    </a:lnTo>
                    <a:lnTo>
                      <a:pt x="6" y="121"/>
                    </a:lnTo>
                    <a:lnTo>
                      <a:pt x="8" y="121"/>
                    </a:lnTo>
                    <a:lnTo>
                      <a:pt x="10" y="119"/>
                    </a:lnTo>
                    <a:lnTo>
                      <a:pt x="8" y="119"/>
                    </a:lnTo>
                    <a:lnTo>
                      <a:pt x="8" y="117"/>
                    </a:lnTo>
                    <a:lnTo>
                      <a:pt x="10" y="117"/>
                    </a:lnTo>
                    <a:lnTo>
                      <a:pt x="12" y="117"/>
                    </a:lnTo>
                    <a:lnTo>
                      <a:pt x="14" y="117"/>
                    </a:lnTo>
                    <a:lnTo>
                      <a:pt x="14" y="115"/>
                    </a:lnTo>
                    <a:lnTo>
                      <a:pt x="14" y="113"/>
                    </a:lnTo>
                    <a:lnTo>
                      <a:pt x="16" y="113"/>
                    </a:lnTo>
                    <a:lnTo>
                      <a:pt x="16" y="115"/>
                    </a:lnTo>
                    <a:lnTo>
                      <a:pt x="17" y="113"/>
                    </a:lnTo>
                    <a:lnTo>
                      <a:pt x="17" y="111"/>
                    </a:lnTo>
                    <a:lnTo>
                      <a:pt x="19" y="111"/>
                    </a:lnTo>
                    <a:lnTo>
                      <a:pt x="21" y="111"/>
                    </a:lnTo>
                    <a:lnTo>
                      <a:pt x="23" y="111"/>
                    </a:lnTo>
                    <a:lnTo>
                      <a:pt x="25" y="111"/>
                    </a:lnTo>
                    <a:lnTo>
                      <a:pt x="25" y="109"/>
                    </a:lnTo>
                    <a:lnTo>
                      <a:pt x="23" y="107"/>
                    </a:lnTo>
                    <a:lnTo>
                      <a:pt x="23" y="106"/>
                    </a:lnTo>
                    <a:lnTo>
                      <a:pt x="25" y="106"/>
                    </a:lnTo>
                    <a:lnTo>
                      <a:pt x="25" y="104"/>
                    </a:lnTo>
                    <a:lnTo>
                      <a:pt x="27" y="102"/>
                    </a:lnTo>
                    <a:lnTo>
                      <a:pt x="27" y="100"/>
                    </a:lnTo>
                    <a:lnTo>
                      <a:pt x="27" y="98"/>
                    </a:lnTo>
                    <a:lnTo>
                      <a:pt x="29" y="100"/>
                    </a:lnTo>
                    <a:lnTo>
                      <a:pt x="31" y="100"/>
                    </a:lnTo>
                    <a:lnTo>
                      <a:pt x="31" y="98"/>
                    </a:lnTo>
                    <a:lnTo>
                      <a:pt x="31" y="96"/>
                    </a:lnTo>
                    <a:lnTo>
                      <a:pt x="33" y="96"/>
                    </a:lnTo>
                    <a:lnTo>
                      <a:pt x="33" y="98"/>
                    </a:lnTo>
                    <a:lnTo>
                      <a:pt x="33" y="96"/>
                    </a:lnTo>
                    <a:lnTo>
                      <a:pt x="35" y="96"/>
                    </a:lnTo>
                    <a:lnTo>
                      <a:pt x="37" y="96"/>
                    </a:lnTo>
                    <a:lnTo>
                      <a:pt x="37" y="94"/>
                    </a:lnTo>
                    <a:lnTo>
                      <a:pt x="39" y="94"/>
                    </a:lnTo>
                    <a:lnTo>
                      <a:pt x="41" y="94"/>
                    </a:lnTo>
                    <a:lnTo>
                      <a:pt x="42" y="94"/>
                    </a:lnTo>
                    <a:lnTo>
                      <a:pt x="44" y="94"/>
                    </a:lnTo>
                    <a:lnTo>
                      <a:pt x="44" y="92"/>
                    </a:lnTo>
                    <a:lnTo>
                      <a:pt x="46" y="92"/>
                    </a:lnTo>
                    <a:lnTo>
                      <a:pt x="48" y="92"/>
                    </a:lnTo>
                    <a:lnTo>
                      <a:pt x="48" y="90"/>
                    </a:lnTo>
                    <a:lnTo>
                      <a:pt x="50" y="90"/>
                    </a:lnTo>
                    <a:lnTo>
                      <a:pt x="50" y="88"/>
                    </a:lnTo>
                    <a:lnTo>
                      <a:pt x="52" y="88"/>
                    </a:lnTo>
                    <a:lnTo>
                      <a:pt x="52" y="86"/>
                    </a:lnTo>
                    <a:lnTo>
                      <a:pt x="54" y="88"/>
                    </a:lnTo>
                    <a:lnTo>
                      <a:pt x="52" y="88"/>
                    </a:lnTo>
                    <a:lnTo>
                      <a:pt x="54" y="88"/>
                    </a:lnTo>
                    <a:lnTo>
                      <a:pt x="54" y="90"/>
                    </a:lnTo>
                    <a:lnTo>
                      <a:pt x="56" y="88"/>
                    </a:lnTo>
                    <a:lnTo>
                      <a:pt x="58" y="88"/>
                    </a:lnTo>
                    <a:lnTo>
                      <a:pt x="58" y="90"/>
                    </a:lnTo>
                    <a:lnTo>
                      <a:pt x="58" y="88"/>
                    </a:lnTo>
                    <a:lnTo>
                      <a:pt x="60" y="88"/>
                    </a:lnTo>
                    <a:lnTo>
                      <a:pt x="60" y="86"/>
                    </a:lnTo>
                    <a:lnTo>
                      <a:pt x="62" y="84"/>
                    </a:lnTo>
                    <a:lnTo>
                      <a:pt x="60" y="84"/>
                    </a:lnTo>
                    <a:lnTo>
                      <a:pt x="60" y="82"/>
                    </a:lnTo>
                    <a:lnTo>
                      <a:pt x="62" y="82"/>
                    </a:lnTo>
                    <a:lnTo>
                      <a:pt x="62" y="81"/>
                    </a:lnTo>
                    <a:lnTo>
                      <a:pt x="62" y="82"/>
                    </a:lnTo>
                    <a:lnTo>
                      <a:pt x="64" y="82"/>
                    </a:lnTo>
                    <a:lnTo>
                      <a:pt x="66" y="82"/>
                    </a:lnTo>
                    <a:lnTo>
                      <a:pt x="66" y="81"/>
                    </a:lnTo>
                    <a:lnTo>
                      <a:pt x="66" y="82"/>
                    </a:lnTo>
                    <a:lnTo>
                      <a:pt x="67" y="82"/>
                    </a:lnTo>
                    <a:lnTo>
                      <a:pt x="67" y="81"/>
                    </a:lnTo>
                    <a:lnTo>
                      <a:pt x="67" y="82"/>
                    </a:lnTo>
                    <a:lnTo>
                      <a:pt x="69" y="82"/>
                    </a:lnTo>
                    <a:lnTo>
                      <a:pt x="71" y="82"/>
                    </a:lnTo>
                    <a:lnTo>
                      <a:pt x="71" y="81"/>
                    </a:lnTo>
                    <a:lnTo>
                      <a:pt x="71" y="79"/>
                    </a:lnTo>
                    <a:lnTo>
                      <a:pt x="69" y="79"/>
                    </a:lnTo>
                    <a:lnTo>
                      <a:pt x="69" y="77"/>
                    </a:lnTo>
                    <a:lnTo>
                      <a:pt x="67" y="77"/>
                    </a:lnTo>
                    <a:lnTo>
                      <a:pt x="67" y="75"/>
                    </a:lnTo>
                    <a:lnTo>
                      <a:pt x="69" y="75"/>
                    </a:lnTo>
                    <a:lnTo>
                      <a:pt x="69" y="73"/>
                    </a:lnTo>
                    <a:lnTo>
                      <a:pt x="71" y="73"/>
                    </a:lnTo>
                    <a:lnTo>
                      <a:pt x="71" y="71"/>
                    </a:lnTo>
                    <a:lnTo>
                      <a:pt x="71" y="69"/>
                    </a:lnTo>
                    <a:lnTo>
                      <a:pt x="73" y="69"/>
                    </a:lnTo>
                    <a:lnTo>
                      <a:pt x="71" y="67"/>
                    </a:lnTo>
                    <a:lnTo>
                      <a:pt x="71" y="65"/>
                    </a:lnTo>
                    <a:lnTo>
                      <a:pt x="71" y="63"/>
                    </a:lnTo>
                    <a:lnTo>
                      <a:pt x="71" y="61"/>
                    </a:lnTo>
                    <a:lnTo>
                      <a:pt x="69" y="61"/>
                    </a:lnTo>
                    <a:lnTo>
                      <a:pt x="71" y="61"/>
                    </a:lnTo>
                    <a:lnTo>
                      <a:pt x="71" y="59"/>
                    </a:lnTo>
                    <a:lnTo>
                      <a:pt x="71" y="61"/>
                    </a:lnTo>
                    <a:lnTo>
                      <a:pt x="73" y="61"/>
                    </a:lnTo>
                    <a:lnTo>
                      <a:pt x="73" y="59"/>
                    </a:lnTo>
                    <a:lnTo>
                      <a:pt x="77" y="61"/>
                    </a:lnTo>
                    <a:lnTo>
                      <a:pt x="81" y="63"/>
                    </a:lnTo>
                    <a:lnTo>
                      <a:pt x="81" y="61"/>
                    </a:lnTo>
                    <a:lnTo>
                      <a:pt x="83" y="59"/>
                    </a:lnTo>
                    <a:lnTo>
                      <a:pt x="81" y="59"/>
                    </a:lnTo>
                    <a:lnTo>
                      <a:pt x="81" y="58"/>
                    </a:lnTo>
                    <a:lnTo>
                      <a:pt x="83" y="58"/>
                    </a:lnTo>
                    <a:lnTo>
                      <a:pt x="85" y="58"/>
                    </a:lnTo>
                    <a:lnTo>
                      <a:pt x="85" y="56"/>
                    </a:lnTo>
                    <a:lnTo>
                      <a:pt x="87" y="56"/>
                    </a:lnTo>
                    <a:lnTo>
                      <a:pt x="87" y="54"/>
                    </a:lnTo>
                    <a:lnTo>
                      <a:pt x="87" y="52"/>
                    </a:lnTo>
                    <a:lnTo>
                      <a:pt x="87" y="54"/>
                    </a:lnTo>
                    <a:lnTo>
                      <a:pt x="85" y="52"/>
                    </a:lnTo>
                    <a:lnTo>
                      <a:pt x="85" y="50"/>
                    </a:lnTo>
                    <a:lnTo>
                      <a:pt x="85" y="48"/>
                    </a:lnTo>
                    <a:lnTo>
                      <a:pt x="87" y="48"/>
                    </a:lnTo>
                    <a:lnTo>
                      <a:pt x="87" y="46"/>
                    </a:lnTo>
                    <a:lnTo>
                      <a:pt x="89" y="46"/>
                    </a:lnTo>
                    <a:lnTo>
                      <a:pt x="87" y="46"/>
                    </a:lnTo>
                    <a:lnTo>
                      <a:pt x="89" y="46"/>
                    </a:lnTo>
                    <a:lnTo>
                      <a:pt x="89" y="44"/>
                    </a:lnTo>
                    <a:lnTo>
                      <a:pt x="90" y="44"/>
                    </a:lnTo>
                    <a:lnTo>
                      <a:pt x="90" y="42"/>
                    </a:lnTo>
                    <a:lnTo>
                      <a:pt x="92" y="42"/>
                    </a:lnTo>
                    <a:lnTo>
                      <a:pt x="92" y="44"/>
                    </a:lnTo>
                    <a:lnTo>
                      <a:pt x="94" y="44"/>
                    </a:lnTo>
                    <a:lnTo>
                      <a:pt x="94" y="42"/>
                    </a:lnTo>
                    <a:lnTo>
                      <a:pt x="96" y="42"/>
                    </a:lnTo>
                    <a:lnTo>
                      <a:pt x="96" y="44"/>
                    </a:lnTo>
                    <a:lnTo>
                      <a:pt x="98" y="44"/>
                    </a:lnTo>
                    <a:lnTo>
                      <a:pt x="100" y="44"/>
                    </a:lnTo>
                    <a:lnTo>
                      <a:pt x="102" y="44"/>
                    </a:lnTo>
                    <a:lnTo>
                      <a:pt x="102" y="42"/>
                    </a:lnTo>
                    <a:lnTo>
                      <a:pt x="102" y="44"/>
                    </a:lnTo>
                    <a:lnTo>
                      <a:pt x="102" y="46"/>
                    </a:lnTo>
                    <a:lnTo>
                      <a:pt x="104" y="44"/>
                    </a:lnTo>
                    <a:lnTo>
                      <a:pt x="106" y="42"/>
                    </a:lnTo>
                    <a:lnTo>
                      <a:pt x="106" y="38"/>
                    </a:lnTo>
                    <a:lnTo>
                      <a:pt x="106" y="34"/>
                    </a:lnTo>
                    <a:lnTo>
                      <a:pt x="108" y="31"/>
                    </a:lnTo>
                    <a:lnTo>
                      <a:pt x="112" y="25"/>
                    </a:lnTo>
                    <a:lnTo>
                      <a:pt x="115" y="21"/>
                    </a:lnTo>
                    <a:lnTo>
                      <a:pt x="115" y="19"/>
                    </a:lnTo>
                    <a:lnTo>
                      <a:pt x="117" y="17"/>
                    </a:lnTo>
                    <a:lnTo>
                      <a:pt x="123" y="13"/>
                    </a:lnTo>
                    <a:lnTo>
                      <a:pt x="125" y="13"/>
                    </a:lnTo>
                    <a:lnTo>
                      <a:pt x="127" y="11"/>
                    </a:lnTo>
                    <a:lnTo>
                      <a:pt x="127" y="9"/>
                    </a:lnTo>
                    <a:lnTo>
                      <a:pt x="129" y="9"/>
                    </a:lnTo>
                    <a:lnTo>
                      <a:pt x="129" y="8"/>
                    </a:lnTo>
                    <a:lnTo>
                      <a:pt x="131" y="8"/>
                    </a:lnTo>
                    <a:lnTo>
                      <a:pt x="133" y="8"/>
                    </a:lnTo>
                    <a:lnTo>
                      <a:pt x="135" y="8"/>
                    </a:lnTo>
                    <a:lnTo>
                      <a:pt x="135" y="6"/>
                    </a:lnTo>
                    <a:lnTo>
                      <a:pt x="137" y="6"/>
                    </a:lnTo>
                    <a:lnTo>
                      <a:pt x="137" y="8"/>
                    </a:lnTo>
                    <a:lnTo>
                      <a:pt x="135" y="8"/>
                    </a:lnTo>
                    <a:lnTo>
                      <a:pt x="135" y="9"/>
                    </a:lnTo>
                    <a:lnTo>
                      <a:pt x="137" y="8"/>
                    </a:lnTo>
                    <a:lnTo>
                      <a:pt x="135" y="9"/>
                    </a:lnTo>
                    <a:lnTo>
                      <a:pt x="137" y="9"/>
                    </a:lnTo>
                    <a:lnTo>
                      <a:pt x="137" y="11"/>
                    </a:lnTo>
                    <a:lnTo>
                      <a:pt x="139" y="11"/>
                    </a:lnTo>
                    <a:lnTo>
                      <a:pt x="137" y="13"/>
                    </a:lnTo>
                    <a:lnTo>
                      <a:pt x="137" y="15"/>
                    </a:lnTo>
                    <a:lnTo>
                      <a:pt x="139" y="17"/>
                    </a:lnTo>
                    <a:lnTo>
                      <a:pt x="137" y="17"/>
                    </a:lnTo>
                    <a:lnTo>
                      <a:pt x="139" y="17"/>
                    </a:lnTo>
                    <a:lnTo>
                      <a:pt x="139" y="19"/>
                    </a:lnTo>
                    <a:lnTo>
                      <a:pt x="139" y="21"/>
                    </a:lnTo>
                    <a:lnTo>
                      <a:pt x="139" y="23"/>
                    </a:lnTo>
                    <a:lnTo>
                      <a:pt x="140" y="21"/>
                    </a:lnTo>
                    <a:lnTo>
                      <a:pt x="140" y="23"/>
                    </a:lnTo>
                    <a:lnTo>
                      <a:pt x="142" y="23"/>
                    </a:lnTo>
                    <a:lnTo>
                      <a:pt x="144" y="25"/>
                    </a:lnTo>
                    <a:lnTo>
                      <a:pt x="146" y="25"/>
                    </a:lnTo>
                    <a:lnTo>
                      <a:pt x="148" y="25"/>
                    </a:lnTo>
                    <a:lnTo>
                      <a:pt x="150" y="25"/>
                    </a:lnTo>
                    <a:lnTo>
                      <a:pt x="152" y="25"/>
                    </a:lnTo>
                    <a:lnTo>
                      <a:pt x="154" y="23"/>
                    </a:lnTo>
                    <a:lnTo>
                      <a:pt x="156" y="23"/>
                    </a:lnTo>
                    <a:lnTo>
                      <a:pt x="156" y="25"/>
                    </a:lnTo>
                    <a:lnTo>
                      <a:pt x="158" y="23"/>
                    </a:lnTo>
                    <a:lnTo>
                      <a:pt x="158" y="25"/>
                    </a:lnTo>
                    <a:lnTo>
                      <a:pt x="160" y="23"/>
                    </a:lnTo>
                    <a:lnTo>
                      <a:pt x="162" y="23"/>
                    </a:lnTo>
                    <a:lnTo>
                      <a:pt x="162" y="21"/>
                    </a:lnTo>
                    <a:lnTo>
                      <a:pt x="163" y="23"/>
                    </a:lnTo>
                    <a:lnTo>
                      <a:pt x="163" y="21"/>
                    </a:lnTo>
                    <a:lnTo>
                      <a:pt x="165" y="19"/>
                    </a:lnTo>
                    <a:lnTo>
                      <a:pt x="167" y="19"/>
                    </a:lnTo>
                    <a:lnTo>
                      <a:pt x="169" y="17"/>
                    </a:lnTo>
                    <a:lnTo>
                      <a:pt x="169" y="19"/>
                    </a:lnTo>
                    <a:lnTo>
                      <a:pt x="171" y="19"/>
                    </a:lnTo>
                    <a:lnTo>
                      <a:pt x="173" y="19"/>
                    </a:lnTo>
                    <a:lnTo>
                      <a:pt x="175" y="19"/>
                    </a:lnTo>
                    <a:lnTo>
                      <a:pt x="175" y="17"/>
                    </a:lnTo>
                    <a:lnTo>
                      <a:pt x="177" y="17"/>
                    </a:lnTo>
                    <a:lnTo>
                      <a:pt x="179" y="15"/>
                    </a:lnTo>
                    <a:lnTo>
                      <a:pt x="181" y="13"/>
                    </a:lnTo>
                    <a:lnTo>
                      <a:pt x="183" y="13"/>
                    </a:lnTo>
                    <a:lnTo>
                      <a:pt x="183" y="11"/>
                    </a:lnTo>
                    <a:lnTo>
                      <a:pt x="183" y="9"/>
                    </a:lnTo>
                    <a:lnTo>
                      <a:pt x="183" y="6"/>
                    </a:lnTo>
                    <a:lnTo>
                      <a:pt x="185" y="6"/>
                    </a:lnTo>
                    <a:lnTo>
                      <a:pt x="185" y="4"/>
                    </a:lnTo>
                    <a:lnTo>
                      <a:pt x="187" y="2"/>
                    </a:lnTo>
                    <a:lnTo>
                      <a:pt x="188" y="2"/>
                    </a:lnTo>
                    <a:lnTo>
                      <a:pt x="188" y="0"/>
                    </a:lnTo>
                    <a:lnTo>
                      <a:pt x="190" y="0"/>
                    </a:lnTo>
                    <a:lnTo>
                      <a:pt x="192" y="0"/>
                    </a:lnTo>
                    <a:lnTo>
                      <a:pt x="192" y="2"/>
                    </a:lnTo>
                    <a:lnTo>
                      <a:pt x="194" y="0"/>
                    </a:lnTo>
                    <a:lnTo>
                      <a:pt x="194" y="2"/>
                    </a:lnTo>
                    <a:lnTo>
                      <a:pt x="196" y="2"/>
                    </a:lnTo>
                    <a:lnTo>
                      <a:pt x="200" y="4"/>
                    </a:lnTo>
                    <a:lnTo>
                      <a:pt x="198" y="8"/>
                    </a:lnTo>
                    <a:lnTo>
                      <a:pt x="200" y="8"/>
                    </a:lnTo>
                    <a:lnTo>
                      <a:pt x="200" y="9"/>
                    </a:lnTo>
                    <a:lnTo>
                      <a:pt x="206" y="11"/>
                    </a:lnTo>
                    <a:lnTo>
                      <a:pt x="206" y="13"/>
                    </a:lnTo>
                    <a:lnTo>
                      <a:pt x="204" y="13"/>
                    </a:lnTo>
                    <a:lnTo>
                      <a:pt x="204" y="15"/>
                    </a:lnTo>
                    <a:lnTo>
                      <a:pt x="204" y="17"/>
                    </a:lnTo>
                    <a:lnTo>
                      <a:pt x="204" y="19"/>
                    </a:lnTo>
                    <a:lnTo>
                      <a:pt x="206" y="21"/>
                    </a:lnTo>
                    <a:lnTo>
                      <a:pt x="208" y="21"/>
                    </a:lnTo>
                    <a:lnTo>
                      <a:pt x="208" y="19"/>
                    </a:lnTo>
                    <a:lnTo>
                      <a:pt x="210" y="19"/>
                    </a:lnTo>
                    <a:lnTo>
                      <a:pt x="210" y="17"/>
                    </a:lnTo>
                    <a:lnTo>
                      <a:pt x="212" y="19"/>
                    </a:lnTo>
                    <a:lnTo>
                      <a:pt x="212" y="17"/>
                    </a:lnTo>
                    <a:lnTo>
                      <a:pt x="213" y="17"/>
                    </a:lnTo>
                    <a:lnTo>
                      <a:pt x="213" y="15"/>
                    </a:lnTo>
                    <a:lnTo>
                      <a:pt x="215" y="15"/>
                    </a:lnTo>
                    <a:lnTo>
                      <a:pt x="215" y="17"/>
                    </a:lnTo>
                    <a:lnTo>
                      <a:pt x="217" y="17"/>
                    </a:lnTo>
                    <a:lnTo>
                      <a:pt x="219" y="17"/>
                    </a:lnTo>
                    <a:lnTo>
                      <a:pt x="221" y="19"/>
                    </a:lnTo>
                    <a:lnTo>
                      <a:pt x="225" y="21"/>
                    </a:lnTo>
                    <a:lnTo>
                      <a:pt x="227" y="21"/>
                    </a:lnTo>
                    <a:lnTo>
                      <a:pt x="229"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7" name="Freeform 74"/>
              <p:cNvSpPr>
                <a:spLocks/>
              </p:cNvSpPr>
              <p:nvPr/>
            </p:nvSpPr>
            <p:spPr bwMode="auto">
              <a:xfrm>
                <a:off x="660003" y="1939789"/>
                <a:ext cx="354449" cy="237446"/>
              </a:xfrm>
              <a:custGeom>
                <a:avLst/>
                <a:gdLst>
                  <a:gd name="T0" fmla="*/ 187 w 206"/>
                  <a:gd name="T1" fmla="*/ 84 h 138"/>
                  <a:gd name="T2" fmla="*/ 193 w 206"/>
                  <a:gd name="T3" fmla="*/ 90 h 138"/>
                  <a:gd name="T4" fmla="*/ 187 w 206"/>
                  <a:gd name="T5" fmla="*/ 96 h 138"/>
                  <a:gd name="T6" fmla="*/ 193 w 206"/>
                  <a:gd name="T7" fmla="*/ 96 h 138"/>
                  <a:gd name="T8" fmla="*/ 202 w 206"/>
                  <a:gd name="T9" fmla="*/ 104 h 138"/>
                  <a:gd name="T10" fmla="*/ 202 w 206"/>
                  <a:gd name="T11" fmla="*/ 109 h 138"/>
                  <a:gd name="T12" fmla="*/ 206 w 206"/>
                  <a:gd name="T13" fmla="*/ 119 h 138"/>
                  <a:gd name="T14" fmla="*/ 202 w 206"/>
                  <a:gd name="T15" fmla="*/ 129 h 138"/>
                  <a:gd name="T16" fmla="*/ 189 w 206"/>
                  <a:gd name="T17" fmla="*/ 129 h 138"/>
                  <a:gd name="T18" fmla="*/ 181 w 206"/>
                  <a:gd name="T19" fmla="*/ 123 h 138"/>
                  <a:gd name="T20" fmla="*/ 170 w 206"/>
                  <a:gd name="T21" fmla="*/ 125 h 138"/>
                  <a:gd name="T22" fmla="*/ 156 w 206"/>
                  <a:gd name="T23" fmla="*/ 119 h 138"/>
                  <a:gd name="T24" fmla="*/ 143 w 206"/>
                  <a:gd name="T25" fmla="*/ 123 h 138"/>
                  <a:gd name="T26" fmla="*/ 141 w 206"/>
                  <a:gd name="T27" fmla="*/ 113 h 138"/>
                  <a:gd name="T28" fmla="*/ 127 w 206"/>
                  <a:gd name="T29" fmla="*/ 108 h 138"/>
                  <a:gd name="T30" fmla="*/ 116 w 206"/>
                  <a:gd name="T31" fmla="*/ 111 h 138"/>
                  <a:gd name="T32" fmla="*/ 106 w 206"/>
                  <a:gd name="T33" fmla="*/ 121 h 138"/>
                  <a:gd name="T34" fmla="*/ 95 w 206"/>
                  <a:gd name="T35" fmla="*/ 127 h 138"/>
                  <a:gd name="T36" fmla="*/ 83 w 206"/>
                  <a:gd name="T37" fmla="*/ 136 h 138"/>
                  <a:gd name="T38" fmla="*/ 77 w 206"/>
                  <a:gd name="T39" fmla="*/ 132 h 138"/>
                  <a:gd name="T40" fmla="*/ 68 w 206"/>
                  <a:gd name="T41" fmla="*/ 129 h 138"/>
                  <a:gd name="T42" fmla="*/ 56 w 206"/>
                  <a:gd name="T43" fmla="*/ 129 h 138"/>
                  <a:gd name="T44" fmla="*/ 49 w 206"/>
                  <a:gd name="T45" fmla="*/ 129 h 138"/>
                  <a:gd name="T46" fmla="*/ 39 w 206"/>
                  <a:gd name="T47" fmla="*/ 131 h 138"/>
                  <a:gd name="T48" fmla="*/ 33 w 206"/>
                  <a:gd name="T49" fmla="*/ 125 h 138"/>
                  <a:gd name="T50" fmla="*/ 22 w 206"/>
                  <a:gd name="T51" fmla="*/ 129 h 138"/>
                  <a:gd name="T52" fmla="*/ 8 w 206"/>
                  <a:gd name="T53" fmla="*/ 123 h 138"/>
                  <a:gd name="T54" fmla="*/ 2 w 206"/>
                  <a:gd name="T55" fmla="*/ 115 h 138"/>
                  <a:gd name="T56" fmla="*/ 8 w 206"/>
                  <a:gd name="T57" fmla="*/ 100 h 138"/>
                  <a:gd name="T58" fmla="*/ 10 w 206"/>
                  <a:gd name="T59" fmla="*/ 88 h 138"/>
                  <a:gd name="T60" fmla="*/ 16 w 206"/>
                  <a:gd name="T61" fmla="*/ 81 h 138"/>
                  <a:gd name="T62" fmla="*/ 25 w 206"/>
                  <a:gd name="T63" fmla="*/ 69 h 138"/>
                  <a:gd name="T64" fmla="*/ 31 w 206"/>
                  <a:gd name="T65" fmla="*/ 61 h 138"/>
                  <a:gd name="T66" fmla="*/ 24 w 206"/>
                  <a:gd name="T67" fmla="*/ 50 h 138"/>
                  <a:gd name="T68" fmla="*/ 25 w 206"/>
                  <a:gd name="T69" fmla="*/ 42 h 138"/>
                  <a:gd name="T70" fmla="*/ 20 w 206"/>
                  <a:gd name="T71" fmla="*/ 33 h 138"/>
                  <a:gd name="T72" fmla="*/ 27 w 206"/>
                  <a:gd name="T73" fmla="*/ 23 h 138"/>
                  <a:gd name="T74" fmla="*/ 35 w 206"/>
                  <a:gd name="T75" fmla="*/ 25 h 138"/>
                  <a:gd name="T76" fmla="*/ 43 w 206"/>
                  <a:gd name="T77" fmla="*/ 19 h 138"/>
                  <a:gd name="T78" fmla="*/ 50 w 206"/>
                  <a:gd name="T79" fmla="*/ 17 h 138"/>
                  <a:gd name="T80" fmla="*/ 58 w 206"/>
                  <a:gd name="T81" fmla="*/ 8 h 138"/>
                  <a:gd name="T82" fmla="*/ 68 w 206"/>
                  <a:gd name="T83" fmla="*/ 17 h 138"/>
                  <a:gd name="T84" fmla="*/ 79 w 206"/>
                  <a:gd name="T85" fmla="*/ 11 h 138"/>
                  <a:gd name="T86" fmla="*/ 93 w 206"/>
                  <a:gd name="T87" fmla="*/ 8 h 138"/>
                  <a:gd name="T88" fmla="*/ 100 w 206"/>
                  <a:gd name="T89" fmla="*/ 15 h 138"/>
                  <a:gd name="T90" fmla="*/ 110 w 206"/>
                  <a:gd name="T91" fmla="*/ 8 h 138"/>
                  <a:gd name="T92" fmla="*/ 118 w 206"/>
                  <a:gd name="T93" fmla="*/ 0 h 138"/>
                  <a:gd name="T94" fmla="*/ 123 w 206"/>
                  <a:gd name="T95" fmla="*/ 8 h 138"/>
                  <a:gd name="T96" fmla="*/ 133 w 206"/>
                  <a:gd name="T97" fmla="*/ 9 h 138"/>
                  <a:gd name="T98" fmla="*/ 131 w 206"/>
                  <a:gd name="T99" fmla="*/ 15 h 138"/>
                  <a:gd name="T100" fmla="*/ 131 w 206"/>
                  <a:gd name="T101" fmla="*/ 21 h 138"/>
                  <a:gd name="T102" fmla="*/ 131 w 206"/>
                  <a:gd name="T103" fmla="*/ 29 h 138"/>
                  <a:gd name="T104" fmla="*/ 135 w 206"/>
                  <a:gd name="T105" fmla="*/ 33 h 138"/>
                  <a:gd name="T106" fmla="*/ 148 w 206"/>
                  <a:gd name="T107" fmla="*/ 25 h 138"/>
                  <a:gd name="T108" fmla="*/ 160 w 206"/>
                  <a:gd name="T109" fmla="*/ 31 h 138"/>
                  <a:gd name="T110" fmla="*/ 170 w 206"/>
                  <a:gd name="T111" fmla="*/ 36 h 138"/>
                  <a:gd name="T112" fmla="*/ 168 w 206"/>
                  <a:gd name="T113" fmla="*/ 50 h 138"/>
                  <a:gd name="T114" fmla="*/ 173 w 206"/>
                  <a:gd name="T115" fmla="*/ 58 h 138"/>
                  <a:gd name="T116" fmla="*/ 185 w 206"/>
                  <a:gd name="T117" fmla="*/ 6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 h="138">
                    <a:moveTo>
                      <a:pt x="187" y="73"/>
                    </a:moveTo>
                    <a:lnTo>
                      <a:pt x="185" y="73"/>
                    </a:lnTo>
                    <a:lnTo>
                      <a:pt x="187" y="75"/>
                    </a:lnTo>
                    <a:lnTo>
                      <a:pt x="189" y="77"/>
                    </a:lnTo>
                    <a:lnTo>
                      <a:pt x="189" y="79"/>
                    </a:lnTo>
                    <a:lnTo>
                      <a:pt x="187" y="79"/>
                    </a:lnTo>
                    <a:lnTo>
                      <a:pt x="185" y="79"/>
                    </a:lnTo>
                    <a:lnTo>
                      <a:pt x="185" y="81"/>
                    </a:lnTo>
                    <a:lnTo>
                      <a:pt x="187" y="81"/>
                    </a:lnTo>
                    <a:lnTo>
                      <a:pt x="187" y="83"/>
                    </a:lnTo>
                    <a:lnTo>
                      <a:pt x="187" y="84"/>
                    </a:lnTo>
                    <a:lnTo>
                      <a:pt x="189" y="84"/>
                    </a:lnTo>
                    <a:lnTo>
                      <a:pt x="189" y="86"/>
                    </a:lnTo>
                    <a:lnTo>
                      <a:pt x="187" y="86"/>
                    </a:lnTo>
                    <a:lnTo>
                      <a:pt x="189" y="88"/>
                    </a:lnTo>
                    <a:lnTo>
                      <a:pt x="191" y="88"/>
                    </a:lnTo>
                    <a:lnTo>
                      <a:pt x="191" y="86"/>
                    </a:lnTo>
                    <a:lnTo>
                      <a:pt x="191" y="88"/>
                    </a:lnTo>
                    <a:lnTo>
                      <a:pt x="193" y="88"/>
                    </a:lnTo>
                    <a:lnTo>
                      <a:pt x="191" y="88"/>
                    </a:lnTo>
                    <a:lnTo>
                      <a:pt x="191" y="90"/>
                    </a:lnTo>
                    <a:lnTo>
                      <a:pt x="193" y="90"/>
                    </a:lnTo>
                    <a:lnTo>
                      <a:pt x="191" y="90"/>
                    </a:lnTo>
                    <a:lnTo>
                      <a:pt x="189" y="90"/>
                    </a:lnTo>
                    <a:lnTo>
                      <a:pt x="189" y="92"/>
                    </a:lnTo>
                    <a:lnTo>
                      <a:pt x="187" y="92"/>
                    </a:lnTo>
                    <a:lnTo>
                      <a:pt x="187" y="94"/>
                    </a:lnTo>
                    <a:lnTo>
                      <a:pt x="187" y="96"/>
                    </a:lnTo>
                    <a:lnTo>
                      <a:pt x="189" y="94"/>
                    </a:lnTo>
                    <a:lnTo>
                      <a:pt x="189" y="96"/>
                    </a:lnTo>
                    <a:lnTo>
                      <a:pt x="189" y="94"/>
                    </a:lnTo>
                    <a:lnTo>
                      <a:pt x="189" y="96"/>
                    </a:lnTo>
                    <a:lnTo>
                      <a:pt x="187" y="96"/>
                    </a:lnTo>
                    <a:lnTo>
                      <a:pt x="189" y="96"/>
                    </a:lnTo>
                    <a:lnTo>
                      <a:pt x="187" y="98"/>
                    </a:lnTo>
                    <a:lnTo>
                      <a:pt x="189" y="98"/>
                    </a:lnTo>
                    <a:lnTo>
                      <a:pt x="187" y="98"/>
                    </a:lnTo>
                    <a:lnTo>
                      <a:pt x="189" y="98"/>
                    </a:lnTo>
                    <a:lnTo>
                      <a:pt x="187" y="100"/>
                    </a:lnTo>
                    <a:lnTo>
                      <a:pt x="189" y="100"/>
                    </a:lnTo>
                    <a:lnTo>
                      <a:pt x="189" y="98"/>
                    </a:lnTo>
                    <a:lnTo>
                      <a:pt x="191" y="98"/>
                    </a:lnTo>
                    <a:lnTo>
                      <a:pt x="193" y="98"/>
                    </a:lnTo>
                    <a:lnTo>
                      <a:pt x="193" y="96"/>
                    </a:lnTo>
                    <a:lnTo>
                      <a:pt x="193" y="98"/>
                    </a:lnTo>
                    <a:lnTo>
                      <a:pt x="195" y="98"/>
                    </a:lnTo>
                    <a:lnTo>
                      <a:pt x="196" y="98"/>
                    </a:lnTo>
                    <a:lnTo>
                      <a:pt x="196" y="100"/>
                    </a:lnTo>
                    <a:lnTo>
                      <a:pt x="198" y="100"/>
                    </a:lnTo>
                    <a:lnTo>
                      <a:pt x="196" y="102"/>
                    </a:lnTo>
                    <a:lnTo>
                      <a:pt x="198" y="102"/>
                    </a:lnTo>
                    <a:lnTo>
                      <a:pt x="196" y="104"/>
                    </a:lnTo>
                    <a:lnTo>
                      <a:pt x="198" y="104"/>
                    </a:lnTo>
                    <a:lnTo>
                      <a:pt x="200" y="106"/>
                    </a:lnTo>
                    <a:lnTo>
                      <a:pt x="202" y="104"/>
                    </a:lnTo>
                    <a:lnTo>
                      <a:pt x="200" y="104"/>
                    </a:lnTo>
                    <a:lnTo>
                      <a:pt x="202" y="102"/>
                    </a:lnTo>
                    <a:lnTo>
                      <a:pt x="202" y="104"/>
                    </a:lnTo>
                    <a:lnTo>
                      <a:pt x="202" y="106"/>
                    </a:lnTo>
                    <a:lnTo>
                      <a:pt x="202" y="108"/>
                    </a:lnTo>
                    <a:lnTo>
                      <a:pt x="204" y="108"/>
                    </a:lnTo>
                    <a:lnTo>
                      <a:pt x="202" y="108"/>
                    </a:lnTo>
                    <a:lnTo>
                      <a:pt x="202" y="106"/>
                    </a:lnTo>
                    <a:lnTo>
                      <a:pt x="200" y="108"/>
                    </a:lnTo>
                    <a:lnTo>
                      <a:pt x="200" y="109"/>
                    </a:lnTo>
                    <a:lnTo>
                      <a:pt x="202" y="109"/>
                    </a:lnTo>
                    <a:lnTo>
                      <a:pt x="202" y="111"/>
                    </a:lnTo>
                    <a:lnTo>
                      <a:pt x="204" y="111"/>
                    </a:lnTo>
                    <a:lnTo>
                      <a:pt x="204" y="113"/>
                    </a:lnTo>
                    <a:lnTo>
                      <a:pt x="202" y="113"/>
                    </a:lnTo>
                    <a:lnTo>
                      <a:pt x="204" y="113"/>
                    </a:lnTo>
                    <a:lnTo>
                      <a:pt x="204" y="115"/>
                    </a:lnTo>
                    <a:lnTo>
                      <a:pt x="206" y="115"/>
                    </a:lnTo>
                    <a:lnTo>
                      <a:pt x="206" y="117"/>
                    </a:lnTo>
                    <a:lnTo>
                      <a:pt x="206" y="115"/>
                    </a:lnTo>
                    <a:lnTo>
                      <a:pt x="206" y="117"/>
                    </a:lnTo>
                    <a:lnTo>
                      <a:pt x="206" y="119"/>
                    </a:lnTo>
                    <a:lnTo>
                      <a:pt x="206" y="121"/>
                    </a:lnTo>
                    <a:lnTo>
                      <a:pt x="204" y="121"/>
                    </a:lnTo>
                    <a:lnTo>
                      <a:pt x="204" y="123"/>
                    </a:lnTo>
                    <a:lnTo>
                      <a:pt x="206" y="125"/>
                    </a:lnTo>
                    <a:lnTo>
                      <a:pt x="204" y="125"/>
                    </a:lnTo>
                    <a:lnTo>
                      <a:pt x="206" y="125"/>
                    </a:lnTo>
                    <a:lnTo>
                      <a:pt x="204" y="127"/>
                    </a:lnTo>
                    <a:lnTo>
                      <a:pt x="202" y="129"/>
                    </a:lnTo>
                    <a:lnTo>
                      <a:pt x="202" y="127"/>
                    </a:lnTo>
                    <a:lnTo>
                      <a:pt x="200" y="129"/>
                    </a:lnTo>
                    <a:lnTo>
                      <a:pt x="202" y="129"/>
                    </a:lnTo>
                    <a:lnTo>
                      <a:pt x="200" y="129"/>
                    </a:lnTo>
                    <a:lnTo>
                      <a:pt x="200" y="131"/>
                    </a:lnTo>
                    <a:lnTo>
                      <a:pt x="200" y="129"/>
                    </a:lnTo>
                    <a:lnTo>
                      <a:pt x="198" y="129"/>
                    </a:lnTo>
                    <a:lnTo>
                      <a:pt x="196" y="129"/>
                    </a:lnTo>
                    <a:lnTo>
                      <a:pt x="195" y="129"/>
                    </a:lnTo>
                    <a:lnTo>
                      <a:pt x="193" y="129"/>
                    </a:lnTo>
                    <a:lnTo>
                      <a:pt x="193" y="131"/>
                    </a:lnTo>
                    <a:lnTo>
                      <a:pt x="191" y="131"/>
                    </a:lnTo>
                    <a:lnTo>
                      <a:pt x="191" y="129"/>
                    </a:lnTo>
                    <a:lnTo>
                      <a:pt x="189" y="129"/>
                    </a:lnTo>
                    <a:lnTo>
                      <a:pt x="187" y="127"/>
                    </a:lnTo>
                    <a:lnTo>
                      <a:pt x="189" y="127"/>
                    </a:lnTo>
                    <a:lnTo>
                      <a:pt x="187" y="127"/>
                    </a:lnTo>
                    <a:lnTo>
                      <a:pt x="185" y="125"/>
                    </a:lnTo>
                    <a:lnTo>
                      <a:pt x="185" y="123"/>
                    </a:lnTo>
                    <a:lnTo>
                      <a:pt x="183" y="123"/>
                    </a:lnTo>
                    <a:lnTo>
                      <a:pt x="183" y="121"/>
                    </a:lnTo>
                    <a:lnTo>
                      <a:pt x="183" y="123"/>
                    </a:lnTo>
                    <a:lnTo>
                      <a:pt x="181" y="123"/>
                    </a:lnTo>
                    <a:lnTo>
                      <a:pt x="181" y="121"/>
                    </a:lnTo>
                    <a:lnTo>
                      <a:pt x="181" y="123"/>
                    </a:lnTo>
                    <a:lnTo>
                      <a:pt x="179" y="123"/>
                    </a:lnTo>
                    <a:lnTo>
                      <a:pt x="179" y="121"/>
                    </a:lnTo>
                    <a:lnTo>
                      <a:pt x="179" y="123"/>
                    </a:lnTo>
                    <a:lnTo>
                      <a:pt x="177" y="121"/>
                    </a:lnTo>
                    <a:lnTo>
                      <a:pt x="175" y="121"/>
                    </a:lnTo>
                    <a:lnTo>
                      <a:pt x="175" y="119"/>
                    </a:lnTo>
                    <a:lnTo>
                      <a:pt x="173" y="121"/>
                    </a:lnTo>
                    <a:lnTo>
                      <a:pt x="171" y="121"/>
                    </a:lnTo>
                    <a:lnTo>
                      <a:pt x="173" y="121"/>
                    </a:lnTo>
                    <a:lnTo>
                      <a:pt x="171" y="123"/>
                    </a:lnTo>
                    <a:lnTo>
                      <a:pt x="170" y="125"/>
                    </a:lnTo>
                    <a:lnTo>
                      <a:pt x="170" y="127"/>
                    </a:lnTo>
                    <a:lnTo>
                      <a:pt x="168" y="127"/>
                    </a:lnTo>
                    <a:lnTo>
                      <a:pt x="166" y="127"/>
                    </a:lnTo>
                    <a:lnTo>
                      <a:pt x="164" y="127"/>
                    </a:lnTo>
                    <a:lnTo>
                      <a:pt x="162" y="127"/>
                    </a:lnTo>
                    <a:lnTo>
                      <a:pt x="160" y="127"/>
                    </a:lnTo>
                    <a:lnTo>
                      <a:pt x="160" y="125"/>
                    </a:lnTo>
                    <a:lnTo>
                      <a:pt x="158" y="125"/>
                    </a:lnTo>
                    <a:lnTo>
                      <a:pt x="158" y="123"/>
                    </a:lnTo>
                    <a:lnTo>
                      <a:pt x="156" y="121"/>
                    </a:lnTo>
                    <a:lnTo>
                      <a:pt x="156" y="119"/>
                    </a:lnTo>
                    <a:lnTo>
                      <a:pt x="154" y="121"/>
                    </a:lnTo>
                    <a:lnTo>
                      <a:pt x="150" y="121"/>
                    </a:lnTo>
                    <a:lnTo>
                      <a:pt x="152" y="121"/>
                    </a:lnTo>
                    <a:lnTo>
                      <a:pt x="150" y="121"/>
                    </a:lnTo>
                    <a:lnTo>
                      <a:pt x="150" y="123"/>
                    </a:lnTo>
                    <a:lnTo>
                      <a:pt x="150" y="125"/>
                    </a:lnTo>
                    <a:lnTo>
                      <a:pt x="148" y="127"/>
                    </a:lnTo>
                    <a:lnTo>
                      <a:pt x="146" y="127"/>
                    </a:lnTo>
                    <a:lnTo>
                      <a:pt x="145" y="127"/>
                    </a:lnTo>
                    <a:lnTo>
                      <a:pt x="145" y="123"/>
                    </a:lnTo>
                    <a:lnTo>
                      <a:pt x="143" y="123"/>
                    </a:lnTo>
                    <a:lnTo>
                      <a:pt x="143" y="121"/>
                    </a:lnTo>
                    <a:lnTo>
                      <a:pt x="145" y="121"/>
                    </a:lnTo>
                    <a:lnTo>
                      <a:pt x="145" y="119"/>
                    </a:lnTo>
                    <a:lnTo>
                      <a:pt x="143" y="119"/>
                    </a:lnTo>
                    <a:lnTo>
                      <a:pt x="143" y="117"/>
                    </a:lnTo>
                    <a:lnTo>
                      <a:pt x="141" y="117"/>
                    </a:lnTo>
                    <a:lnTo>
                      <a:pt x="143" y="117"/>
                    </a:lnTo>
                    <a:lnTo>
                      <a:pt x="141" y="115"/>
                    </a:lnTo>
                    <a:lnTo>
                      <a:pt x="141" y="117"/>
                    </a:lnTo>
                    <a:lnTo>
                      <a:pt x="139" y="115"/>
                    </a:lnTo>
                    <a:lnTo>
                      <a:pt x="141" y="113"/>
                    </a:lnTo>
                    <a:lnTo>
                      <a:pt x="139" y="113"/>
                    </a:lnTo>
                    <a:lnTo>
                      <a:pt x="139" y="111"/>
                    </a:lnTo>
                    <a:lnTo>
                      <a:pt x="137" y="111"/>
                    </a:lnTo>
                    <a:lnTo>
                      <a:pt x="137" y="109"/>
                    </a:lnTo>
                    <a:lnTo>
                      <a:pt x="135" y="109"/>
                    </a:lnTo>
                    <a:lnTo>
                      <a:pt x="133" y="109"/>
                    </a:lnTo>
                    <a:lnTo>
                      <a:pt x="133" y="108"/>
                    </a:lnTo>
                    <a:lnTo>
                      <a:pt x="131" y="109"/>
                    </a:lnTo>
                    <a:lnTo>
                      <a:pt x="129" y="109"/>
                    </a:lnTo>
                    <a:lnTo>
                      <a:pt x="129" y="108"/>
                    </a:lnTo>
                    <a:lnTo>
                      <a:pt x="127" y="108"/>
                    </a:lnTo>
                    <a:lnTo>
                      <a:pt x="125" y="108"/>
                    </a:lnTo>
                    <a:lnTo>
                      <a:pt x="127" y="108"/>
                    </a:lnTo>
                    <a:lnTo>
                      <a:pt x="125" y="106"/>
                    </a:lnTo>
                    <a:lnTo>
                      <a:pt x="125" y="104"/>
                    </a:lnTo>
                    <a:lnTo>
                      <a:pt x="123" y="106"/>
                    </a:lnTo>
                    <a:lnTo>
                      <a:pt x="122" y="106"/>
                    </a:lnTo>
                    <a:lnTo>
                      <a:pt x="120" y="106"/>
                    </a:lnTo>
                    <a:lnTo>
                      <a:pt x="116" y="108"/>
                    </a:lnTo>
                    <a:lnTo>
                      <a:pt x="116" y="109"/>
                    </a:lnTo>
                    <a:lnTo>
                      <a:pt x="118" y="109"/>
                    </a:lnTo>
                    <a:lnTo>
                      <a:pt x="116" y="111"/>
                    </a:lnTo>
                    <a:lnTo>
                      <a:pt x="118" y="111"/>
                    </a:lnTo>
                    <a:lnTo>
                      <a:pt x="118" y="113"/>
                    </a:lnTo>
                    <a:lnTo>
                      <a:pt x="116" y="113"/>
                    </a:lnTo>
                    <a:lnTo>
                      <a:pt x="116" y="115"/>
                    </a:lnTo>
                    <a:lnTo>
                      <a:pt x="114" y="119"/>
                    </a:lnTo>
                    <a:lnTo>
                      <a:pt x="112" y="119"/>
                    </a:lnTo>
                    <a:lnTo>
                      <a:pt x="110" y="119"/>
                    </a:lnTo>
                    <a:lnTo>
                      <a:pt x="108" y="119"/>
                    </a:lnTo>
                    <a:lnTo>
                      <a:pt x="106" y="121"/>
                    </a:lnTo>
                    <a:lnTo>
                      <a:pt x="106" y="123"/>
                    </a:lnTo>
                    <a:lnTo>
                      <a:pt x="106" y="121"/>
                    </a:lnTo>
                    <a:lnTo>
                      <a:pt x="104" y="123"/>
                    </a:lnTo>
                    <a:lnTo>
                      <a:pt x="104" y="125"/>
                    </a:lnTo>
                    <a:lnTo>
                      <a:pt x="104" y="127"/>
                    </a:lnTo>
                    <a:lnTo>
                      <a:pt x="102" y="127"/>
                    </a:lnTo>
                    <a:lnTo>
                      <a:pt x="102" y="125"/>
                    </a:lnTo>
                    <a:lnTo>
                      <a:pt x="100" y="125"/>
                    </a:lnTo>
                    <a:lnTo>
                      <a:pt x="100" y="127"/>
                    </a:lnTo>
                    <a:lnTo>
                      <a:pt x="98" y="127"/>
                    </a:lnTo>
                    <a:lnTo>
                      <a:pt x="98" y="125"/>
                    </a:lnTo>
                    <a:lnTo>
                      <a:pt x="95" y="125"/>
                    </a:lnTo>
                    <a:lnTo>
                      <a:pt x="95" y="127"/>
                    </a:lnTo>
                    <a:lnTo>
                      <a:pt x="95" y="125"/>
                    </a:lnTo>
                    <a:lnTo>
                      <a:pt x="93" y="127"/>
                    </a:lnTo>
                    <a:lnTo>
                      <a:pt x="93" y="129"/>
                    </a:lnTo>
                    <a:lnTo>
                      <a:pt x="91" y="129"/>
                    </a:lnTo>
                    <a:lnTo>
                      <a:pt x="91" y="131"/>
                    </a:lnTo>
                    <a:lnTo>
                      <a:pt x="89" y="131"/>
                    </a:lnTo>
                    <a:lnTo>
                      <a:pt x="87" y="131"/>
                    </a:lnTo>
                    <a:lnTo>
                      <a:pt x="85" y="132"/>
                    </a:lnTo>
                    <a:lnTo>
                      <a:pt x="85" y="134"/>
                    </a:lnTo>
                    <a:lnTo>
                      <a:pt x="85" y="136"/>
                    </a:lnTo>
                    <a:lnTo>
                      <a:pt x="83" y="136"/>
                    </a:lnTo>
                    <a:lnTo>
                      <a:pt x="83" y="138"/>
                    </a:lnTo>
                    <a:lnTo>
                      <a:pt x="83" y="136"/>
                    </a:lnTo>
                    <a:lnTo>
                      <a:pt x="81" y="136"/>
                    </a:lnTo>
                    <a:lnTo>
                      <a:pt x="81" y="134"/>
                    </a:lnTo>
                    <a:lnTo>
                      <a:pt x="83" y="134"/>
                    </a:lnTo>
                    <a:lnTo>
                      <a:pt x="83" y="132"/>
                    </a:lnTo>
                    <a:lnTo>
                      <a:pt x="81" y="132"/>
                    </a:lnTo>
                    <a:lnTo>
                      <a:pt x="81" y="131"/>
                    </a:lnTo>
                    <a:lnTo>
                      <a:pt x="79" y="131"/>
                    </a:lnTo>
                    <a:lnTo>
                      <a:pt x="79" y="132"/>
                    </a:lnTo>
                    <a:lnTo>
                      <a:pt x="77" y="132"/>
                    </a:lnTo>
                    <a:lnTo>
                      <a:pt x="77" y="131"/>
                    </a:lnTo>
                    <a:lnTo>
                      <a:pt x="77" y="129"/>
                    </a:lnTo>
                    <a:lnTo>
                      <a:pt x="75" y="129"/>
                    </a:lnTo>
                    <a:lnTo>
                      <a:pt x="73" y="127"/>
                    </a:lnTo>
                    <a:lnTo>
                      <a:pt x="75" y="127"/>
                    </a:lnTo>
                    <a:lnTo>
                      <a:pt x="73" y="127"/>
                    </a:lnTo>
                    <a:lnTo>
                      <a:pt x="73" y="125"/>
                    </a:lnTo>
                    <a:lnTo>
                      <a:pt x="72" y="127"/>
                    </a:lnTo>
                    <a:lnTo>
                      <a:pt x="70" y="127"/>
                    </a:lnTo>
                    <a:lnTo>
                      <a:pt x="68" y="127"/>
                    </a:lnTo>
                    <a:lnTo>
                      <a:pt x="68" y="129"/>
                    </a:lnTo>
                    <a:lnTo>
                      <a:pt x="66" y="129"/>
                    </a:lnTo>
                    <a:lnTo>
                      <a:pt x="64" y="129"/>
                    </a:lnTo>
                    <a:lnTo>
                      <a:pt x="64" y="131"/>
                    </a:lnTo>
                    <a:lnTo>
                      <a:pt x="62" y="129"/>
                    </a:lnTo>
                    <a:lnTo>
                      <a:pt x="62" y="131"/>
                    </a:lnTo>
                    <a:lnTo>
                      <a:pt x="62" y="129"/>
                    </a:lnTo>
                    <a:lnTo>
                      <a:pt x="60" y="129"/>
                    </a:lnTo>
                    <a:lnTo>
                      <a:pt x="58" y="129"/>
                    </a:lnTo>
                    <a:lnTo>
                      <a:pt x="58" y="131"/>
                    </a:lnTo>
                    <a:lnTo>
                      <a:pt x="58" y="129"/>
                    </a:lnTo>
                    <a:lnTo>
                      <a:pt x="56" y="129"/>
                    </a:lnTo>
                    <a:lnTo>
                      <a:pt x="54" y="131"/>
                    </a:lnTo>
                    <a:lnTo>
                      <a:pt x="54" y="129"/>
                    </a:lnTo>
                    <a:lnTo>
                      <a:pt x="54" y="131"/>
                    </a:lnTo>
                    <a:lnTo>
                      <a:pt x="52" y="131"/>
                    </a:lnTo>
                    <a:lnTo>
                      <a:pt x="52" y="129"/>
                    </a:lnTo>
                    <a:lnTo>
                      <a:pt x="50" y="129"/>
                    </a:lnTo>
                    <a:lnTo>
                      <a:pt x="52" y="129"/>
                    </a:lnTo>
                    <a:lnTo>
                      <a:pt x="52" y="127"/>
                    </a:lnTo>
                    <a:lnTo>
                      <a:pt x="50" y="127"/>
                    </a:lnTo>
                    <a:lnTo>
                      <a:pt x="50" y="129"/>
                    </a:lnTo>
                    <a:lnTo>
                      <a:pt x="49" y="129"/>
                    </a:lnTo>
                    <a:lnTo>
                      <a:pt x="50" y="129"/>
                    </a:lnTo>
                    <a:lnTo>
                      <a:pt x="49" y="129"/>
                    </a:lnTo>
                    <a:lnTo>
                      <a:pt x="49" y="131"/>
                    </a:lnTo>
                    <a:lnTo>
                      <a:pt x="47" y="129"/>
                    </a:lnTo>
                    <a:lnTo>
                      <a:pt x="47" y="131"/>
                    </a:lnTo>
                    <a:lnTo>
                      <a:pt x="47" y="129"/>
                    </a:lnTo>
                    <a:lnTo>
                      <a:pt x="45" y="129"/>
                    </a:lnTo>
                    <a:lnTo>
                      <a:pt x="43" y="129"/>
                    </a:lnTo>
                    <a:lnTo>
                      <a:pt x="41" y="129"/>
                    </a:lnTo>
                    <a:lnTo>
                      <a:pt x="39" y="129"/>
                    </a:lnTo>
                    <a:lnTo>
                      <a:pt x="39" y="131"/>
                    </a:lnTo>
                    <a:lnTo>
                      <a:pt x="39" y="129"/>
                    </a:lnTo>
                    <a:lnTo>
                      <a:pt x="35" y="129"/>
                    </a:lnTo>
                    <a:lnTo>
                      <a:pt x="35" y="131"/>
                    </a:lnTo>
                    <a:lnTo>
                      <a:pt x="35" y="129"/>
                    </a:lnTo>
                    <a:lnTo>
                      <a:pt x="37" y="129"/>
                    </a:lnTo>
                    <a:lnTo>
                      <a:pt x="37" y="127"/>
                    </a:lnTo>
                    <a:lnTo>
                      <a:pt x="37" y="129"/>
                    </a:lnTo>
                    <a:lnTo>
                      <a:pt x="37" y="127"/>
                    </a:lnTo>
                    <a:lnTo>
                      <a:pt x="35" y="127"/>
                    </a:lnTo>
                    <a:lnTo>
                      <a:pt x="33" y="127"/>
                    </a:lnTo>
                    <a:lnTo>
                      <a:pt x="33" y="125"/>
                    </a:lnTo>
                    <a:lnTo>
                      <a:pt x="31" y="125"/>
                    </a:lnTo>
                    <a:lnTo>
                      <a:pt x="31" y="127"/>
                    </a:lnTo>
                    <a:lnTo>
                      <a:pt x="29" y="127"/>
                    </a:lnTo>
                    <a:lnTo>
                      <a:pt x="27" y="127"/>
                    </a:lnTo>
                    <a:lnTo>
                      <a:pt x="25" y="129"/>
                    </a:lnTo>
                    <a:lnTo>
                      <a:pt x="25" y="131"/>
                    </a:lnTo>
                    <a:lnTo>
                      <a:pt x="27" y="131"/>
                    </a:lnTo>
                    <a:lnTo>
                      <a:pt x="25" y="131"/>
                    </a:lnTo>
                    <a:lnTo>
                      <a:pt x="25" y="129"/>
                    </a:lnTo>
                    <a:lnTo>
                      <a:pt x="24" y="129"/>
                    </a:lnTo>
                    <a:lnTo>
                      <a:pt x="22" y="129"/>
                    </a:lnTo>
                    <a:lnTo>
                      <a:pt x="22" y="131"/>
                    </a:lnTo>
                    <a:lnTo>
                      <a:pt x="22" y="129"/>
                    </a:lnTo>
                    <a:lnTo>
                      <a:pt x="20" y="131"/>
                    </a:lnTo>
                    <a:lnTo>
                      <a:pt x="20" y="129"/>
                    </a:lnTo>
                    <a:lnTo>
                      <a:pt x="18" y="129"/>
                    </a:lnTo>
                    <a:lnTo>
                      <a:pt x="16" y="129"/>
                    </a:lnTo>
                    <a:lnTo>
                      <a:pt x="14" y="127"/>
                    </a:lnTo>
                    <a:lnTo>
                      <a:pt x="14" y="125"/>
                    </a:lnTo>
                    <a:lnTo>
                      <a:pt x="12" y="125"/>
                    </a:lnTo>
                    <a:lnTo>
                      <a:pt x="10" y="123"/>
                    </a:lnTo>
                    <a:lnTo>
                      <a:pt x="8" y="123"/>
                    </a:lnTo>
                    <a:lnTo>
                      <a:pt x="8" y="121"/>
                    </a:lnTo>
                    <a:lnTo>
                      <a:pt x="8" y="119"/>
                    </a:lnTo>
                    <a:lnTo>
                      <a:pt x="8" y="117"/>
                    </a:lnTo>
                    <a:lnTo>
                      <a:pt x="8" y="119"/>
                    </a:lnTo>
                    <a:lnTo>
                      <a:pt x="6" y="119"/>
                    </a:lnTo>
                    <a:lnTo>
                      <a:pt x="6" y="117"/>
                    </a:lnTo>
                    <a:lnTo>
                      <a:pt x="6" y="119"/>
                    </a:lnTo>
                    <a:lnTo>
                      <a:pt x="6" y="117"/>
                    </a:lnTo>
                    <a:lnTo>
                      <a:pt x="4" y="117"/>
                    </a:lnTo>
                    <a:lnTo>
                      <a:pt x="2" y="117"/>
                    </a:lnTo>
                    <a:lnTo>
                      <a:pt x="2" y="115"/>
                    </a:lnTo>
                    <a:lnTo>
                      <a:pt x="0" y="115"/>
                    </a:lnTo>
                    <a:lnTo>
                      <a:pt x="0" y="113"/>
                    </a:lnTo>
                    <a:lnTo>
                      <a:pt x="0" y="111"/>
                    </a:lnTo>
                    <a:lnTo>
                      <a:pt x="0" y="109"/>
                    </a:lnTo>
                    <a:lnTo>
                      <a:pt x="2" y="109"/>
                    </a:lnTo>
                    <a:lnTo>
                      <a:pt x="4" y="108"/>
                    </a:lnTo>
                    <a:lnTo>
                      <a:pt x="4" y="106"/>
                    </a:lnTo>
                    <a:lnTo>
                      <a:pt x="6" y="104"/>
                    </a:lnTo>
                    <a:lnTo>
                      <a:pt x="6" y="102"/>
                    </a:lnTo>
                    <a:lnTo>
                      <a:pt x="6" y="100"/>
                    </a:lnTo>
                    <a:lnTo>
                      <a:pt x="8" y="100"/>
                    </a:lnTo>
                    <a:lnTo>
                      <a:pt x="10" y="100"/>
                    </a:lnTo>
                    <a:lnTo>
                      <a:pt x="10" y="98"/>
                    </a:lnTo>
                    <a:lnTo>
                      <a:pt x="12" y="98"/>
                    </a:lnTo>
                    <a:lnTo>
                      <a:pt x="12" y="96"/>
                    </a:lnTo>
                    <a:lnTo>
                      <a:pt x="12" y="94"/>
                    </a:lnTo>
                    <a:lnTo>
                      <a:pt x="10" y="94"/>
                    </a:lnTo>
                    <a:lnTo>
                      <a:pt x="10" y="92"/>
                    </a:lnTo>
                    <a:lnTo>
                      <a:pt x="10" y="90"/>
                    </a:lnTo>
                    <a:lnTo>
                      <a:pt x="10" y="88"/>
                    </a:lnTo>
                    <a:lnTo>
                      <a:pt x="8" y="88"/>
                    </a:lnTo>
                    <a:lnTo>
                      <a:pt x="10" y="88"/>
                    </a:lnTo>
                    <a:lnTo>
                      <a:pt x="10" y="86"/>
                    </a:lnTo>
                    <a:lnTo>
                      <a:pt x="12" y="86"/>
                    </a:lnTo>
                    <a:lnTo>
                      <a:pt x="12" y="84"/>
                    </a:lnTo>
                    <a:lnTo>
                      <a:pt x="10" y="84"/>
                    </a:lnTo>
                    <a:lnTo>
                      <a:pt x="10" y="86"/>
                    </a:lnTo>
                    <a:lnTo>
                      <a:pt x="8" y="86"/>
                    </a:lnTo>
                    <a:lnTo>
                      <a:pt x="10" y="84"/>
                    </a:lnTo>
                    <a:lnTo>
                      <a:pt x="12" y="83"/>
                    </a:lnTo>
                    <a:lnTo>
                      <a:pt x="14" y="83"/>
                    </a:lnTo>
                    <a:lnTo>
                      <a:pt x="14" y="81"/>
                    </a:lnTo>
                    <a:lnTo>
                      <a:pt x="16" y="81"/>
                    </a:lnTo>
                    <a:lnTo>
                      <a:pt x="18" y="81"/>
                    </a:lnTo>
                    <a:lnTo>
                      <a:pt x="16" y="81"/>
                    </a:lnTo>
                    <a:lnTo>
                      <a:pt x="16" y="79"/>
                    </a:lnTo>
                    <a:lnTo>
                      <a:pt x="18" y="79"/>
                    </a:lnTo>
                    <a:lnTo>
                      <a:pt x="20" y="79"/>
                    </a:lnTo>
                    <a:lnTo>
                      <a:pt x="22" y="77"/>
                    </a:lnTo>
                    <a:lnTo>
                      <a:pt x="27" y="77"/>
                    </a:lnTo>
                    <a:lnTo>
                      <a:pt x="24" y="73"/>
                    </a:lnTo>
                    <a:lnTo>
                      <a:pt x="24" y="71"/>
                    </a:lnTo>
                    <a:lnTo>
                      <a:pt x="24" y="69"/>
                    </a:lnTo>
                    <a:lnTo>
                      <a:pt x="25" y="69"/>
                    </a:lnTo>
                    <a:lnTo>
                      <a:pt x="25" y="67"/>
                    </a:lnTo>
                    <a:lnTo>
                      <a:pt x="27" y="67"/>
                    </a:lnTo>
                    <a:lnTo>
                      <a:pt x="27" y="65"/>
                    </a:lnTo>
                    <a:lnTo>
                      <a:pt x="27" y="63"/>
                    </a:lnTo>
                    <a:lnTo>
                      <a:pt x="25" y="63"/>
                    </a:lnTo>
                    <a:lnTo>
                      <a:pt x="27" y="63"/>
                    </a:lnTo>
                    <a:lnTo>
                      <a:pt x="29" y="63"/>
                    </a:lnTo>
                    <a:lnTo>
                      <a:pt x="31" y="63"/>
                    </a:lnTo>
                    <a:lnTo>
                      <a:pt x="31" y="61"/>
                    </a:lnTo>
                    <a:lnTo>
                      <a:pt x="33" y="61"/>
                    </a:lnTo>
                    <a:lnTo>
                      <a:pt x="31" y="61"/>
                    </a:lnTo>
                    <a:lnTo>
                      <a:pt x="33" y="59"/>
                    </a:lnTo>
                    <a:lnTo>
                      <a:pt x="31" y="59"/>
                    </a:lnTo>
                    <a:lnTo>
                      <a:pt x="29" y="59"/>
                    </a:lnTo>
                    <a:lnTo>
                      <a:pt x="29" y="58"/>
                    </a:lnTo>
                    <a:lnTo>
                      <a:pt x="29" y="56"/>
                    </a:lnTo>
                    <a:lnTo>
                      <a:pt x="29" y="54"/>
                    </a:lnTo>
                    <a:lnTo>
                      <a:pt x="27" y="54"/>
                    </a:lnTo>
                    <a:lnTo>
                      <a:pt x="25" y="54"/>
                    </a:lnTo>
                    <a:lnTo>
                      <a:pt x="25" y="52"/>
                    </a:lnTo>
                    <a:lnTo>
                      <a:pt x="25" y="50"/>
                    </a:lnTo>
                    <a:lnTo>
                      <a:pt x="24" y="50"/>
                    </a:lnTo>
                    <a:lnTo>
                      <a:pt x="24" y="48"/>
                    </a:lnTo>
                    <a:lnTo>
                      <a:pt x="25" y="48"/>
                    </a:lnTo>
                    <a:lnTo>
                      <a:pt x="24" y="48"/>
                    </a:lnTo>
                    <a:lnTo>
                      <a:pt x="22" y="48"/>
                    </a:lnTo>
                    <a:lnTo>
                      <a:pt x="22" y="46"/>
                    </a:lnTo>
                    <a:lnTo>
                      <a:pt x="20" y="46"/>
                    </a:lnTo>
                    <a:lnTo>
                      <a:pt x="20" y="44"/>
                    </a:lnTo>
                    <a:lnTo>
                      <a:pt x="20" y="42"/>
                    </a:lnTo>
                    <a:lnTo>
                      <a:pt x="22" y="42"/>
                    </a:lnTo>
                    <a:lnTo>
                      <a:pt x="24" y="42"/>
                    </a:lnTo>
                    <a:lnTo>
                      <a:pt x="25" y="42"/>
                    </a:lnTo>
                    <a:lnTo>
                      <a:pt x="25" y="40"/>
                    </a:lnTo>
                    <a:lnTo>
                      <a:pt x="24" y="40"/>
                    </a:lnTo>
                    <a:lnTo>
                      <a:pt x="24" y="38"/>
                    </a:lnTo>
                    <a:lnTo>
                      <a:pt x="24" y="36"/>
                    </a:lnTo>
                    <a:lnTo>
                      <a:pt x="24" y="34"/>
                    </a:lnTo>
                    <a:lnTo>
                      <a:pt x="22" y="34"/>
                    </a:lnTo>
                    <a:lnTo>
                      <a:pt x="24" y="34"/>
                    </a:lnTo>
                    <a:lnTo>
                      <a:pt x="22" y="34"/>
                    </a:lnTo>
                    <a:lnTo>
                      <a:pt x="22" y="33"/>
                    </a:lnTo>
                    <a:lnTo>
                      <a:pt x="20" y="34"/>
                    </a:lnTo>
                    <a:lnTo>
                      <a:pt x="20" y="33"/>
                    </a:lnTo>
                    <a:lnTo>
                      <a:pt x="20" y="34"/>
                    </a:lnTo>
                    <a:lnTo>
                      <a:pt x="20" y="33"/>
                    </a:lnTo>
                    <a:lnTo>
                      <a:pt x="20" y="31"/>
                    </a:lnTo>
                    <a:lnTo>
                      <a:pt x="22" y="31"/>
                    </a:lnTo>
                    <a:lnTo>
                      <a:pt x="24" y="29"/>
                    </a:lnTo>
                    <a:lnTo>
                      <a:pt x="24" y="27"/>
                    </a:lnTo>
                    <a:lnTo>
                      <a:pt x="24" y="29"/>
                    </a:lnTo>
                    <a:lnTo>
                      <a:pt x="25" y="27"/>
                    </a:lnTo>
                    <a:lnTo>
                      <a:pt x="25" y="25"/>
                    </a:lnTo>
                    <a:lnTo>
                      <a:pt x="25" y="23"/>
                    </a:lnTo>
                    <a:lnTo>
                      <a:pt x="27" y="23"/>
                    </a:lnTo>
                    <a:lnTo>
                      <a:pt x="27" y="25"/>
                    </a:lnTo>
                    <a:lnTo>
                      <a:pt x="29" y="25"/>
                    </a:lnTo>
                    <a:lnTo>
                      <a:pt x="29" y="27"/>
                    </a:lnTo>
                    <a:lnTo>
                      <a:pt x="31" y="27"/>
                    </a:lnTo>
                    <a:lnTo>
                      <a:pt x="31" y="25"/>
                    </a:lnTo>
                    <a:lnTo>
                      <a:pt x="31" y="27"/>
                    </a:lnTo>
                    <a:lnTo>
                      <a:pt x="31" y="25"/>
                    </a:lnTo>
                    <a:lnTo>
                      <a:pt x="33" y="25"/>
                    </a:lnTo>
                    <a:lnTo>
                      <a:pt x="33" y="27"/>
                    </a:lnTo>
                    <a:lnTo>
                      <a:pt x="33" y="25"/>
                    </a:lnTo>
                    <a:lnTo>
                      <a:pt x="35" y="25"/>
                    </a:lnTo>
                    <a:lnTo>
                      <a:pt x="37" y="23"/>
                    </a:lnTo>
                    <a:lnTo>
                      <a:pt x="39" y="23"/>
                    </a:lnTo>
                    <a:lnTo>
                      <a:pt x="37" y="23"/>
                    </a:lnTo>
                    <a:lnTo>
                      <a:pt x="37" y="21"/>
                    </a:lnTo>
                    <a:lnTo>
                      <a:pt x="39" y="21"/>
                    </a:lnTo>
                    <a:lnTo>
                      <a:pt x="39" y="19"/>
                    </a:lnTo>
                    <a:lnTo>
                      <a:pt x="41" y="19"/>
                    </a:lnTo>
                    <a:lnTo>
                      <a:pt x="39" y="19"/>
                    </a:lnTo>
                    <a:lnTo>
                      <a:pt x="41" y="17"/>
                    </a:lnTo>
                    <a:lnTo>
                      <a:pt x="41" y="19"/>
                    </a:lnTo>
                    <a:lnTo>
                      <a:pt x="43" y="19"/>
                    </a:lnTo>
                    <a:lnTo>
                      <a:pt x="41" y="19"/>
                    </a:lnTo>
                    <a:lnTo>
                      <a:pt x="41" y="21"/>
                    </a:lnTo>
                    <a:lnTo>
                      <a:pt x="43" y="21"/>
                    </a:lnTo>
                    <a:lnTo>
                      <a:pt x="45" y="21"/>
                    </a:lnTo>
                    <a:lnTo>
                      <a:pt x="47" y="19"/>
                    </a:lnTo>
                    <a:lnTo>
                      <a:pt x="49" y="19"/>
                    </a:lnTo>
                    <a:lnTo>
                      <a:pt x="49" y="21"/>
                    </a:lnTo>
                    <a:lnTo>
                      <a:pt x="49" y="19"/>
                    </a:lnTo>
                    <a:lnTo>
                      <a:pt x="49" y="17"/>
                    </a:lnTo>
                    <a:lnTo>
                      <a:pt x="49" y="19"/>
                    </a:lnTo>
                    <a:lnTo>
                      <a:pt x="50" y="17"/>
                    </a:lnTo>
                    <a:lnTo>
                      <a:pt x="50" y="19"/>
                    </a:lnTo>
                    <a:lnTo>
                      <a:pt x="50" y="17"/>
                    </a:lnTo>
                    <a:lnTo>
                      <a:pt x="50" y="15"/>
                    </a:lnTo>
                    <a:lnTo>
                      <a:pt x="52" y="13"/>
                    </a:lnTo>
                    <a:lnTo>
                      <a:pt x="52" y="11"/>
                    </a:lnTo>
                    <a:lnTo>
                      <a:pt x="54" y="9"/>
                    </a:lnTo>
                    <a:lnTo>
                      <a:pt x="54" y="11"/>
                    </a:lnTo>
                    <a:lnTo>
                      <a:pt x="54" y="9"/>
                    </a:lnTo>
                    <a:lnTo>
                      <a:pt x="56" y="9"/>
                    </a:lnTo>
                    <a:lnTo>
                      <a:pt x="56" y="8"/>
                    </a:lnTo>
                    <a:lnTo>
                      <a:pt x="58" y="8"/>
                    </a:lnTo>
                    <a:lnTo>
                      <a:pt x="58" y="6"/>
                    </a:lnTo>
                    <a:lnTo>
                      <a:pt x="60" y="8"/>
                    </a:lnTo>
                    <a:lnTo>
                      <a:pt x="62" y="8"/>
                    </a:lnTo>
                    <a:lnTo>
                      <a:pt x="62" y="9"/>
                    </a:lnTo>
                    <a:lnTo>
                      <a:pt x="64" y="9"/>
                    </a:lnTo>
                    <a:lnTo>
                      <a:pt x="64" y="11"/>
                    </a:lnTo>
                    <a:lnTo>
                      <a:pt x="64" y="13"/>
                    </a:lnTo>
                    <a:lnTo>
                      <a:pt x="64" y="15"/>
                    </a:lnTo>
                    <a:lnTo>
                      <a:pt x="66" y="15"/>
                    </a:lnTo>
                    <a:lnTo>
                      <a:pt x="68" y="15"/>
                    </a:lnTo>
                    <a:lnTo>
                      <a:pt x="68" y="17"/>
                    </a:lnTo>
                    <a:lnTo>
                      <a:pt x="70" y="17"/>
                    </a:lnTo>
                    <a:lnTo>
                      <a:pt x="72" y="17"/>
                    </a:lnTo>
                    <a:lnTo>
                      <a:pt x="72" y="19"/>
                    </a:lnTo>
                    <a:lnTo>
                      <a:pt x="72" y="17"/>
                    </a:lnTo>
                    <a:lnTo>
                      <a:pt x="73" y="17"/>
                    </a:lnTo>
                    <a:lnTo>
                      <a:pt x="75" y="13"/>
                    </a:lnTo>
                    <a:lnTo>
                      <a:pt x="75" y="11"/>
                    </a:lnTo>
                    <a:lnTo>
                      <a:pt x="77" y="11"/>
                    </a:lnTo>
                    <a:lnTo>
                      <a:pt x="79" y="11"/>
                    </a:lnTo>
                    <a:lnTo>
                      <a:pt x="79" y="13"/>
                    </a:lnTo>
                    <a:lnTo>
                      <a:pt x="79" y="11"/>
                    </a:lnTo>
                    <a:lnTo>
                      <a:pt x="81" y="11"/>
                    </a:lnTo>
                    <a:lnTo>
                      <a:pt x="81" y="13"/>
                    </a:lnTo>
                    <a:lnTo>
                      <a:pt x="83" y="13"/>
                    </a:lnTo>
                    <a:lnTo>
                      <a:pt x="85" y="11"/>
                    </a:lnTo>
                    <a:lnTo>
                      <a:pt x="87" y="11"/>
                    </a:lnTo>
                    <a:lnTo>
                      <a:pt x="89" y="9"/>
                    </a:lnTo>
                    <a:lnTo>
                      <a:pt x="87" y="9"/>
                    </a:lnTo>
                    <a:lnTo>
                      <a:pt x="89" y="9"/>
                    </a:lnTo>
                    <a:lnTo>
                      <a:pt x="91" y="9"/>
                    </a:lnTo>
                    <a:lnTo>
                      <a:pt x="91" y="8"/>
                    </a:lnTo>
                    <a:lnTo>
                      <a:pt x="93" y="8"/>
                    </a:lnTo>
                    <a:lnTo>
                      <a:pt x="95" y="6"/>
                    </a:lnTo>
                    <a:lnTo>
                      <a:pt x="95" y="8"/>
                    </a:lnTo>
                    <a:lnTo>
                      <a:pt x="97" y="6"/>
                    </a:lnTo>
                    <a:lnTo>
                      <a:pt x="97" y="8"/>
                    </a:lnTo>
                    <a:lnTo>
                      <a:pt x="97" y="9"/>
                    </a:lnTo>
                    <a:lnTo>
                      <a:pt x="97" y="11"/>
                    </a:lnTo>
                    <a:lnTo>
                      <a:pt x="97" y="13"/>
                    </a:lnTo>
                    <a:lnTo>
                      <a:pt x="98" y="15"/>
                    </a:lnTo>
                    <a:lnTo>
                      <a:pt x="98" y="13"/>
                    </a:lnTo>
                    <a:lnTo>
                      <a:pt x="100" y="13"/>
                    </a:lnTo>
                    <a:lnTo>
                      <a:pt x="100" y="15"/>
                    </a:lnTo>
                    <a:lnTo>
                      <a:pt x="100" y="13"/>
                    </a:lnTo>
                    <a:lnTo>
                      <a:pt x="102" y="13"/>
                    </a:lnTo>
                    <a:lnTo>
                      <a:pt x="100" y="13"/>
                    </a:lnTo>
                    <a:lnTo>
                      <a:pt x="102" y="13"/>
                    </a:lnTo>
                    <a:lnTo>
                      <a:pt x="104" y="13"/>
                    </a:lnTo>
                    <a:lnTo>
                      <a:pt x="106" y="13"/>
                    </a:lnTo>
                    <a:lnTo>
                      <a:pt x="106" y="11"/>
                    </a:lnTo>
                    <a:lnTo>
                      <a:pt x="108" y="11"/>
                    </a:lnTo>
                    <a:lnTo>
                      <a:pt x="108" y="9"/>
                    </a:lnTo>
                    <a:lnTo>
                      <a:pt x="110" y="9"/>
                    </a:lnTo>
                    <a:lnTo>
                      <a:pt x="110" y="8"/>
                    </a:lnTo>
                    <a:lnTo>
                      <a:pt x="112" y="8"/>
                    </a:lnTo>
                    <a:lnTo>
                      <a:pt x="110" y="8"/>
                    </a:lnTo>
                    <a:lnTo>
                      <a:pt x="112" y="8"/>
                    </a:lnTo>
                    <a:lnTo>
                      <a:pt x="112" y="9"/>
                    </a:lnTo>
                    <a:lnTo>
                      <a:pt x="114" y="8"/>
                    </a:lnTo>
                    <a:lnTo>
                      <a:pt x="114" y="6"/>
                    </a:lnTo>
                    <a:lnTo>
                      <a:pt x="114" y="4"/>
                    </a:lnTo>
                    <a:lnTo>
                      <a:pt x="116" y="4"/>
                    </a:lnTo>
                    <a:lnTo>
                      <a:pt x="116" y="2"/>
                    </a:lnTo>
                    <a:lnTo>
                      <a:pt x="118" y="2"/>
                    </a:lnTo>
                    <a:lnTo>
                      <a:pt x="118" y="0"/>
                    </a:lnTo>
                    <a:lnTo>
                      <a:pt x="120" y="0"/>
                    </a:lnTo>
                    <a:lnTo>
                      <a:pt x="120" y="2"/>
                    </a:lnTo>
                    <a:lnTo>
                      <a:pt x="122" y="2"/>
                    </a:lnTo>
                    <a:lnTo>
                      <a:pt x="122" y="4"/>
                    </a:lnTo>
                    <a:lnTo>
                      <a:pt x="122" y="6"/>
                    </a:lnTo>
                    <a:lnTo>
                      <a:pt x="122" y="4"/>
                    </a:lnTo>
                    <a:lnTo>
                      <a:pt x="122" y="6"/>
                    </a:lnTo>
                    <a:lnTo>
                      <a:pt x="123" y="6"/>
                    </a:lnTo>
                    <a:lnTo>
                      <a:pt x="122" y="6"/>
                    </a:lnTo>
                    <a:lnTo>
                      <a:pt x="122" y="8"/>
                    </a:lnTo>
                    <a:lnTo>
                      <a:pt x="123" y="8"/>
                    </a:lnTo>
                    <a:lnTo>
                      <a:pt x="123" y="6"/>
                    </a:lnTo>
                    <a:lnTo>
                      <a:pt x="125" y="4"/>
                    </a:lnTo>
                    <a:lnTo>
                      <a:pt x="125" y="6"/>
                    </a:lnTo>
                    <a:lnTo>
                      <a:pt x="127" y="6"/>
                    </a:lnTo>
                    <a:lnTo>
                      <a:pt x="129" y="6"/>
                    </a:lnTo>
                    <a:lnTo>
                      <a:pt x="129" y="4"/>
                    </a:lnTo>
                    <a:lnTo>
                      <a:pt x="131" y="4"/>
                    </a:lnTo>
                    <a:lnTo>
                      <a:pt x="131" y="6"/>
                    </a:lnTo>
                    <a:lnTo>
                      <a:pt x="131" y="8"/>
                    </a:lnTo>
                    <a:lnTo>
                      <a:pt x="133" y="8"/>
                    </a:lnTo>
                    <a:lnTo>
                      <a:pt x="133" y="9"/>
                    </a:lnTo>
                    <a:lnTo>
                      <a:pt x="131" y="9"/>
                    </a:lnTo>
                    <a:lnTo>
                      <a:pt x="133" y="9"/>
                    </a:lnTo>
                    <a:lnTo>
                      <a:pt x="133" y="11"/>
                    </a:lnTo>
                    <a:lnTo>
                      <a:pt x="133" y="13"/>
                    </a:lnTo>
                    <a:lnTo>
                      <a:pt x="131" y="13"/>
                    </a:lnTo>
                    <a:lnTo>
                      <a:pt x="133" y="15"/>
                    </a:lnTo>
                    <a:lnTo>
                      <a:pt x="133" y="13"/>
                    </a:lnTo>
                    <a:lnTo>
                      <a:pt x="135" y="13"/>
                    </a:lnTo>
                    <a:lnTo>
                      <a:pt x="133" y="13"/>
                    </a:lnTo>
                    <a:lnTo>
                      <a:pt x="133" y="15"/>
                    </a:lnTo>
                    <a:lnTo>
                      <a:pt x="131" y="15"/>
                    </a:lnTo>
                    <a:lnTo>
                      <a:pt x="133" y="15"/>
                    </a:lnTo>
                    <a:lnTo>
                      <a:pt x="135" y="15"/>
                    </a:lnTo>
                    <a:lnTo>
                      <a:pt x="133" y="15"/>
                    </a:lnTo>
                    <a:lnTo>
                      <a:pt x="131" y="15"/>
                    </a:lnTo>
                    <a:lnTo>
                      <a:pt x="131" y="17"/>
                    </a:lnTo>
                    <a:lnTo>
                      <a:pt x="133" y="17"/>
                    </a:lnTo>
                    <a:lnTo>
                      <a:pt x="133" y="19"/>
                    </a:lnTo>
                    <a:lnTo>
                      <a:pt x="131" y="19"/>
                    </a:lnTo>
                    <a:lnTo>
                      <a:pt x="131" y="21"/>
                    </a:lnTo>
                    <a:lnTo>
                      <a:pt x="133" y="21"/>
                    </a:lnTo>
                    <a:lnTo>
                      <a:pt x="131" y="21"/>
                    </a:lnTo>
                    <a:lnTo>
                      <a:pt x="129" y="23"/>
                    </a:lnTo>
                    <a:lnTo>
                      <a:pt x="131" y="23"/>
                    </a:lnTo>
                    <a:lnTo>
                      <a:pt x="129" y="23"/>
                    </a:lnTo>
                    <a:lnTo>
                      <a:pt x="129" y="25"/>
                    </a:lnTo>
                    <a:lnTo>
                      <a:pt x="131" y="25"/>
                    </a:lnTo>
                    <a:lnTo>
                      <a:pt x="131" y="27"/>
                    </a:lnTo>
                    <a:lnTo>
                      <a:pt x="133" y="29"/>
                    </a:lnTo>
                    <a:lnTo>
                      <a:pt x="131" y="29"/>
                    </a:lnTo>
                    <a:lnTo>
                      <a:pt x="131" y="27"/>
                    </a:lnTo>
                    <a:lnTo>
                      <a:pt x="129" y="29"/>
                    </a:lnTo>
                    <a:lnTo>
                      <a:pt x="131" y="29"/>
                    </a:lnTo>
                    <a:lnTo>
                      <a:pt x="129" y="29"/>
                    </a:lnTo>
                    <a:lnTo>
                      <a:pt x="129" y="31"/>
                    </a:lnTo>
                    <a:lnTo>
                      <a:pt x="131" y="31"/>
                    </a:lnTo>
                    <a:lnTo>
                      <a:pt x="129" y="31"/>
                    </a:lnTo>
                    <a:lnTo>
                      <a:pt x="131" y="31"/>
                    </a:lnTo>
                    <a:lnTo>
                      <a:pt x="135" y="31"/>
                    </a:lnTo>
                    <a:lnTo>
                      <a:pt x="133" y="33"/>
                    </a:lnTo>
                    <a:lnTo>
                      <a:pt x="135" y="34"/>
                    </a:lnTo>
                    <a:lnTo>
                      <a:pt x="135" y="33"/>
                    </a:lnTo>
                    <a:lnTo>
                      <a:pt x="135" y="34"/>
                    </a:lnTo>
                    <a:lnTo>
                      <a:pt x="135" y="33"/>
                    </a:lnTo>
                    <a:lnTo>
                      <a:pt x="137" y="33"/>
                    </a:lnTo>
                    <a:lnTo>
                      <a:pt x="139" y="33"/>
                    </a:lnTo>
                    <a:lnTo>
                      <a:pt x="141" y="33"/>
                    </a:lnTo>
                    <a:lnTo>
                      <a:pt x="141" y="31"/>
                    </a:lnTo>
                    <a:lnTo>
                      <a:pt x="143" y="31"/>
                    </a:lnTo>
                    <a:lnTo>
                      <a:pt x="143" y="29"/>
                    </a:lnTo>
                    <a:lnTo>
                      <a:pt x="143" y="27"/>
                    </a:lnTo>
                    <a:lnTo>
                      <a:pt x="145" y="27"/>
                    </a:lnTo>
                    <a:lnTo>
                      <a:pt x="146" y="27"/>
                    </a:lnTo>
                    <a:lnTo>
                      <a:pt x="146" y="25"/>
                    </a:lnTo>
                    <a:lnTo>
                      <a:pt x="148" y="25"/>
                    </a:lnTo>
                    <a:lnTo>
                      <a:pt x="150" y="25"/>
                    </a:lnTo>
                    <a:lnTo>
                      <a:pt x="152" y="27"/>
                    </a:lnTo>
                    <a:lnTo>
                      <a:pt x="152" y="25"/>
                    </a:lnTo>
                    <a:lnTo>
                      <a:pt x="154" y="25"/>
                    </a:lnTo>
                    <a:lnTo>
                      <a:pt x="156" y="23"/>
                    </a:lnTo>
                    <a:lnTo>
                      <a:pt x="158" y="25"/>
                    </a:lnTo>
                    <a:lnTo>
                      <a:pt x="158" y="27"/>
                    </a:lnTo>
                    <a:lnTo>
                      <a:pt x="156" y="27"/>
                    </a:lnTo>
                    <a:lnTo>
                      <a:pt x="158" y="27"/>
                    </a:lnTo>
                    <a:lnTo>
                      <a:pt x="158" y="29"/>
                    </a:lnTo>
                    <a:lnTo>
                      <a:pt x="160" y="31"/>
                    </a:lnTo>
                    <a:lnTo>
                      <a:pt x="160" y="33"/>
                    </a:lnTo>
                    <a:lnTo>
                      <a:pt x="158" y="33"/>
                    </a:lnTo>
                    <a:lnTo>
                      <a:pt x="158" y="34"/>
                    </a:lnTo>
                    <a:lnTo>
                      <a:pt x="160" y="34"/>
                    </a:lnTo>
                    <a:lnTo>
                      <a:pt x="162" y="33"/>
                    </a:lnTo>
                    <a:lnTo>
                      <a:pt x="164" y="33"/>
                    </a:lnTo>
                    <a:lnTo>
                      <a:pt x="166" y="34"/>
                    </a:lnTo>
                    <a:lnTo>
                      <a:pt x="168" y="34"/>
                    </a:lnTo>
                    <a:lnTo>
                      <a:pt x="168" y="36"/>
                    </a:lnTo>
                    <a:lnTo>
                      <a:pt x="168" y="34"/>
                    </a:lnTo>
                    <a:lnTo>
                      <a:pt x="170" y="36"/>
                    </a:lnTo>
                    <a:lnTo>
                      <a:pt x="170" y="38"/>
                    </a:lnTo>
                    <a:lnTo>
                      <a:pt x="168" y="38"/>
                    </a:lnTo>
                    <a:lnTo>
                      <a:pt x="168" y="40"/>
                    </a:lnTo>
                    <a:lnTo>
                      <a:pt x="170" y="40"/>
                    </a:lnTo>
                    <a:lnTo>
                      <a:pt x="168" y="42"/>
                    </a:lnTo>
                    <a:lnTo>
                      <a:pt x="170" y="42"/>
                    </a:lnTo>
                    <a:lnTo>
                      <a:pt x="170" y="44"/>
                    </a:lnTo>
                    <a:lnTo>
                      <a:pt x="170" y="46"/>
                    </a:lnTo>
                    <a:lnTo>
                      <a:pt x="170" y="48"/>
                    </a:lnTo>
                    <a:lnTo>
                      <a:pt x="168" y="48"/>
                    </a:lnTo>
                    <a:lnTo>
                      <a:pt x="168" y="50"/>
                    </a:lnTo>
                    <a:lnTo>
                      <a:pt x="170" y="52"/>
                    </a:lnTo>
                    <a:lnTo>
                      <a:pt x="171" y="50"/>
                    </a:lnTo>
                    <a:lnTo>
                      <a:pt x="173" y="50"/>
                    </a:lnTo>
                    <a:lnTo>
                      <a:pt x="171" y="50"/>
                    </a:lnTo>
                    <a:lnTo>
                      <a:pt x="171" y="52"/>
                    </a:lnTo>
                    <a:lnTo>
                      <a:pt x="171" y="54"/>
                    </a:lnTo>
                    <a:lnTo>
                      <a:pt x="171" y="56"/>
                    </a:lnTo>
                    <a:lnTo>
                      <a:pt x="171" y="58"/>
                    </a:lnTo>
                    <a:lnTo>
                      <a:pt x="173" y="58"/>
                    </a:lnTo>
                    <a:lnTo>
                      <a:pt x="173" y="59"/>
                    </a:lnTo>
                    <a:lnTo>
                      <a:pt x="173" y="58"/>
                    </a:lnTo>
                    <a:lnTo>
                      <a:pt x="175" y="58"/>
                    </a:lnTo>
                    <a:lnTo>
                      <a:pt x="177" y="58"/>
                    </a:lnTo>
                    <a:lnTo>
                      <a:pt x="179" y="58"/>
                    </a:lnTo>
                    <a:lnTo>
                      <a:pt x="179" y="59"/>
                    </a:lnTo>
                    <a:lnTo>
                      <a:pt x="179" y="61"/>
                    </a:lnTo>
                    <a:lnTo>
                      <a:pt x="181" y="61"/>
                    </a:lnTo>
                    <a:lnTo>
                      <a:pt x="181" y="63"/>
                    </a:lnTo>
                    <a:lnTo>
                      <a:pt x="183" y="63"/>
                    </a:lnTo>
                    <a:lnTo>
                      <a:pt x="183" y="65"/>
                    </a:lnTo>
                    <a:lnTo>
                      <a:pt x="183" y="67"/>
                    </a:lnTo>
                    <a:lnTo>
                      <a:pt x="185" y="67"/>
                    </a:lnTo>
                    <a:lnTo>
                      <a:pt x="185" y="69"/>
                    </a:lnTo>
                    <a:lnTo>
                      <a:pt x="187" y="69"/>
                    </a:lnTo>
                    <a:lnTo>
                      <a:pt x="187" y="71"/>
                    </a:lnTo>
                    <a:lnTo>
                      <a:pt x="187"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8" name="Freeform 75"/>
              <p:cNvSpPr>
                <a:spLocks/>
              </p:cNvSpPr>
              <p:nvPr/>
            </p:nvSpPr>
            <p:spPr bwMode="auto">
              <a:xfrm>
                <a:off x="2836593" y="3127020"/>
                <a:ext cx="557483" cy="492099"/>
              </a:xfrm>
              <a:custGeom>
                <a:avLst/>
                <a:gdLst>
                  <a:gd name="T0" fmla="*/ 315 w 324"/>
                  <a:gd name="T1" fmla="*/ 127 h 286"/>
                  <a:gd name="T2" fmla="*/ 315 w 324"/>
                  <a:gd name="T3" fmla="*/ 138 h 286"/>
                  <a:gd name="T4" fmla="*/ 319 w 324"/>
                  <a:gd name="T5" fmla="*/ 152 h 286"/>
                  <a:gd name="T6" fmla="*/ 313 w 324"/>
                  <a:gd name="T7" fmla="*/ 165 h 286"/>
                  <a:gd name="T8" fmla="*/ 319 w 324"/>
                  <a:gd name="T9" fmla="*/ 175 h 286"/>
                  <a:gd name="T10" fmla="*/ 319 w 324"/>
                  <a:gd name="T11" fmla="*/ 196 h 286"/>
                  <a:gd name="T12" fmla="*/ 322 w 324"/>
                  <a:gd name="T13" fmla="*/ 208 h 286"/>
                  <a:gd name="T14" fmla="*/ 319 w 324"/>
                  <a:gd name="T15" fmla="*/ 223 h 286"/>
                  <a:gd name="T16" fmla="*/ 303 w 324"/>
                  <a:gd name="T17" fmla="*/ 244 h 286"/>
                  <a:gd name="T18" fmla="*/ 286 w 324"/>
                  <a:gd name="T19" fmla="*/ 244 h 286"/>
                  <a:gd name="T20" fmla="*/ 267 w 324"/>
                  <a:gd name="T21" fmla="*/ 248 h 286"/>
                  <a:gd name="T22" fmla="*/ 259 w 324"/>
                  <a:gd name="T23" fmla="*/ 256 h 286"/>
                  <a:gd name="T24" fmla="*/ 247 w 324"/>
                  <a:gd name="T25" fmla="*/ 258 h 286"/>
                  <a:gd name="T26" fmla="*/ 228 w 324"/>
                  <a:gd name="T27" fmla="*/ 283 h 286"/>
                  <a:gd name="T28" fmla="*/ 221 w 324"/>
                  <a:gd name="T29" fmla="*/ 283 h 286"/>
                  <a:gd name="T30" fmla="*/ 215 w 324"/>
                  <a:gd name="T31" fmla="*/ 273 h 286"/>
                  <a:gd name="T32" fmla="*/ 203 w 324"/>
                  <a:gd name="T33" fmla="*/ 265 h 286"/>
                  <a:gd name="T34" fmla="*/ 207 w 324"/>
                  <a:gd name="T35" fmla="*/ 256 h 286"/>
                  <a:gd name="T36" fmla="*/ 197 w 324"/>
                  <a:gd name="T37" fmla="*/ 252 h 286"/>
                  <a:gd name="T38" fmla="*/ 192 w 324"/>
                  <a:gd name="T39" fmla="*/ 242 h 286"/>
                  <a:gd name="T40" fmla="*/ 182 w 324"/>
                  <a:gd name="T41" fmla="*/ 225 h 286"/>
                  <a:gd name="T42" fmla="*/ 174 w 324"/>
                  <a:gd name="T43" fmla="*/ 227 h 286"/>
                  <a:gd name="T44" fmla="*/ 159 w 324"/>
                  <a:gd name="T45" fmla="*/ 236 h 286"/>
                  <a:gd name="T46" fmla="*/ 146 w 324"/>
                  <a:gd name="T47" fmla="*/ 242 h 286"/>
                  <a:gd name="T48" fmla="*/ 123 w 324"/>
                  <a:gd name="T49" fmla="*/ 256 h 286"/>
                  <a:gd name="T50" fmla="*/ 98 w 324"/>
                  <a:gd name="T51" fmla="*/ 256 h 286"/>
                  <a:gd name="T52" fmla="*/ 88 w 324"/>
                  <a:gd name="T53" fmla="*/ 263 h 286"/>
                  <a:gd name="T54" fmla="*/ 82 w 324"/>
                  <a:gd name="T55" fmla="*/ 258 h 286"/>
                  <a:gd name="T56" fmla="*/ 71 w 324"/>
                  <a:gd name="T57" fmla="*/ 260 h 286"/>
                  <a:gd name="T58" fmla="*/ 71 w 324"/>
                  <a:gd name="T59" fmla="*/ 269 h 286"/>
                  <a:gd name="T60" fmla="*/ 28 w 324"/>
                  <a:gd name="T61" fmla="*/ 217 h 286"/>
                  <a:gd name="T62" fmla="*/ 38 w 324"/>
                  <a:gd name="T63" fmla="*/ 208 h 286"/>
                  <a:gd name="T64" fmla="*/ 48 w 324"/>
                  <a:gd name="T65" fmla="*/ 194 h 286"/>
                  <a:gd name="T66" fmla="*/ 32 w 324"/>
                  <a:gd name="T67" fmla="*/ 198 h 286"/>
                  <a:gd name="T68" fmla="*/ 2 w 324"/>
                  <a:gd name="T69" fmla="*/ 206 h 286"/>
                  <a:gd name="T70" fmla="*/ 13 w 324"/>
                  <a:gd name="T71" fmla="*/ 173 h 286"/>
                  <a:gd name="T72" fmla="*/ 9 w 324"/>
                  <a:gd name="T73" fmla="*/ 162 h 286"/>
                  <a:gd name="T74" fmla="*/ 7 w 324"/>
                  <a:gd name="T75" fmla="*/ 150 h 286"/>
                  <a:gd name="T76" fmla="*/ 3 w 324"/>
                  <a:gd name="T77" fmla="*/ 135 h 286"/>
                  <a:gd name="T78" fmla="*/ 2 w 324"/>
                  <a:gd name="T79" fmla="*/ 119 h 286"/>
                  <a:gd name="T80" fmla="*/ 5 w 324"/>
                  <a:gd name="T81" fmla="*/ 104 h 286"/>
                  <a:gd name="T82" fmla="*/ 5 w 324"/>
                  <a:gd name="T83" fmla="*/ 92 h 286"/>
                  <a:gd name="T84" fmla="*/ 15 w 324"/>
                  <a:gd name="T85" fmla="*/ 83 h 286"/>
                  <a:gd name="T86" fmla="*/ 42 w 324"/>
                  <a:gd name="T87" fmla="*/ 71 h 286"/>
                  <a:gd name="T88" fmla="*/ 46 w 324"/>
                  <a:gd name="T89" fmla="*/ 62 h 286"/>
                  <a:gd name="T90" fmla="*/ 42 w 324"/>
                  <a:gd name="T91" fmla="*/ 52 h 286"/>
                  <a:gd name="T92" fmla="*/ 36 w 324"/>
                  <a:gd name="T93" fmla="*/ 54 h 286"/>
                  <a:gd name="T94" fmla="*/ 50 w 324"/>
                  <a:gd name="T95" fmla="*/ 42 h 286"/>
                  <a:gd name="T96" fmla="*/ 57 w 324"/>
                  <a:gd name="T97" fmla="*/ 13 h 286"/>
                  <a:gd name="T98" fmla="*/ 130 w 324"/>
                  <a:gd name="T99" fmla="*/ 17 h 286"/>
                  <a:gd name="T100" fmla="*/ 171 w 324"/>
                  <a:gd name="T101" fmla="*/ 58 h 286"/>
                  <a:gd name="T102" fmla="*/ 221 w 324"/>
                  <a:gd name="T103" fmla="*/ 94 h 286"/>
                  <a:gd name="T104" fmla="*/ 251 w 324"/>
                  <a:gd name="T105" fmla="*/ 88 h 286"/>
                  <a:gd name="T106" fmla="*/ 263 w 324"/>
                  <a:gd name="T107" fmla="*/ 87 h 286"/>
                  <a:gd name="T108" fmla="*/ 265 w 324"/>
                  <a:gd name="T109" fmla="*/ 81 h 286"/>
                  <a:gd name="T110" fmla="*/ 272 w 324"/>
                  <a:gd name="T111" fmla="*/ 94 h 286"/>
                  <a:gd name="T112" fmla="*/ 271 w 324"/>
                  <a:gd name="T113" fmla="*/ 106 h 286"/>
                  <a:gd name="T114" fmla="*/ 274 w 324"/>
                  <a:gd name="T115" fmla="*/ 119 h 286"/>
                  <a:gd name="T116" fmla="*/ 271 w 324"/>
                  <a:gd name="T117" fmla="*/ 137 h 286"/>
                  <a:gd name="T118" fmla="*/ 280 w 324"/>
                  <a:gd name="T119" fmla="*/ 140 h 286"/>
                  <a:gd name="T120" fmla="*/ 288 w 324"/>
                  <a:gd name="T121" fmla="*/ 133 h 286"/>
                  <a:gd name="T122" fmla="*/ 299 w 324"/>
                  <a:gd name="T123" fmla="*/ 11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4" h="286">
                    <a:moveTo>
                      <a:pt x="313" y="119"/>
                    </a:moveTo>
                    <a:lnTo>
                      <a:pt x="313" y="121"/>
                    </a:lnTo>
                    <a:lnTo>
                      <a:pt x="315" y="121"/>
                    </a:lnTo>
                    <a:lnTo>
                      <a:pt x="315" y="123"/>
                    </a:lnTo>
                    <a:lnTo>
                      <a:pt x="315" y="121"/>
                    </a:lnTo>
                    <a:lnTo>
                      <a:pt x="315" y="123"/>
                    </a:lnTo>
                    <a:lnTo>
                      <a:pt x="315" y="125"/>
                    </a:lnTo>
                    <a:lnTo>
                      <a:pt x="315" y="127"/>
                    </a:lnTo>
                    <a:lnTo>
                      <a:pt x="313" y="125"/>
                    </a:lnTo>
                    <a:lnTo>
                      <a:pt x="313" y="127"/>
                    </a:lnTo>
                    <a:lnTo>
                      <a:pt x="315" y="127"/>
                    </a:lnTo>
                    <a:lnTo>
                      <a:pt x="315" y="129"/>
                    </a:lnTo>
                    <a:lnTo>
                      <a:pt x="313" y="129"/>
                    </a:lnTo>
                    <a:lnTo>
                      <a:pt x="311" y="131"/>
                    </a:lnTo>
                    <a:lnTo>
                      <a:pt x="313" y="131"/>
                    </a:lnTo>
                    <a:lnTo>
                      <a:pt x="313" y="133"/>
                    </a:lnTo>
                    <a:lnTo>
                      <a:pt x="315" y="133"/>
                    </a:lnTo>
                    <a:lnTo>
                      <a:pt x="315" y="135"/>
                    </a:lnTo>
                    <a:lnTo>
                      <a:pt x="315" y="137"/>
                    </a:lnTo>
                    <a:lnTo>
                      <a:pt x="315" y="138"/>
                    </a:lnTo>
                    <a:lnTo>
                      <a:pt x="315" y="140"/>
                    </a:lnTo>
                    <a:lnTo>
                      <a:pt x="315" y="138"/>
                    </a:lnTo>
                    <a:lnTo>
                      <a:pt x="313" y="140"/>
                    </a:lnTo>
                    <a:lnTo>
                      <a:pt x="313" y="142"/>
                    </a:lnTo>
                    <a:lnTo>
                      <a:pt x="313" y="144"/>
                    </a:lnTo>
                    <a:lnTo>
                      <a:pt x="315" y="144"/>
                    </a:lnTo>
                    <a:lnTo>
                      <a:pt x="317" y="144"/>
                    </a:lnTo>
                    <a:lnTo>
                      <a:pt x="317" y="146"/>
                    </a:lnTo>
                    <a:lnTo>
                      <a:pt x="319" y="148"/>
                    </a:lnTo>
                    <a:lnTo>
                      <a:pt x="317" y="148"/>
                    </a:lnTo>
                    <a:lnTo>
                      <a:pt x="319" y="148"/>
                    </a:lnTo>
                    <a:lnTo>
                      <a:pt x="319" y="150"/>
                    </a:lnTo>
                    <a:lnTo>
                      <a:pt x="319" y="152"/>
                    </a:lnTo>
                    <a:lnTo>
                      <a:pt x="319" y="154"/>
                    </a:lnTo>
                    <a:lnTo>
                      <a:pt x="319" y="156"/>
                    </a:lnTo>
                    <a:lnTo>
                      <a:pt x="319" y="158"/>
                    </a:lnTo>
                    <a:lnTo>
                      <a:pt x="317" y="158"/>
                    </a:lnTo>
                    <a:lnTo>
                      <a:pt x="319" y="160"/>
                    </a:lnTo>
                    <a:lnTo>
                      <a:pt x="319" y="162"/>
                    </a:lnTo>
                    <a:lnTo>
                      <a:pt x="317" y="162"/>
                    </a:lnTo>
                    <a:lnTo>
                      <a:pt x="315" y="162"/>
                    </a:lnTo>
                    <a:lnTo>
                      <a:pt x="315" y="163"/>
                    </a:lnTo>
                    <a:lnTo>
                      <a:pt x="313" y="163"/>
                    </a:lnTo>
                    <a:lnTo>
                      <a:pt x="313" y="165"/>
                    </a:lnTo>
                    <a:lnTo>
                      <a:pt x="315" y="165"/>
                    </a:lnTo>
                    <a:lnTo>
                      <a:pt x="315" y="167"/>
                    </a:lnTo>
                    <a:lnTo>
                      <a:pt x="317" y="165"/>
                    </a:lnTo>
                    <a:lnTo>
                      <a:pt x="319" y="167"/>
                    </a:lnTo>
                    <a:lnTo>
                      <a:pt x="320" y="167"/>
                    </a:lnTo>
                    <a:lnTo>
                      <a:pt x="322" y="169"/>
                    </a:lnTo>
                    <a:lnTo>
                      <a:pt x="322" y="171"/>
                    </a:lnTo>
                    <a:lnTo>
                      <a:pt x="322" y="173"/>
                    </a:lnTo>
                    <a:lnTo>
                      <a:pt x="320" y="173"/>
                    </a:lnTo>
                    <a:lnTo>
                      <a:pt x="320" y="175"/>
                    </a:lnTo>
                    <a:lnTo>
                      <a:pt x="319" y="175"/>
                    </a:lnTo>
                    <a:lnTo>
                      <a:pt x="319" y="177"/>
                    </a:lnTo>
                    <a:lnTo>
                      <a:pt x="320" y="179"/>
                    </a:lnTo>
                    <a:lnTo>
                      <a:pt x="320" y="181"/>
                    </a:lnTo>
                    <a:lnTo>
                      <a:pt x="320" y="183"/>
                    </a:lnTo>
                    <a:lnTo>
                      <a:pt x="320" y="186"/>
                    </a:lnTo>
                    <a:lnTo>
                      <a:pt x="320" y="188"/>
                    </a:lnTo>
                    <a:lnTo>
                      <a:pt x="319" y="190"/>
                    </a:lnTo>
                    <a:lnTo>
                      <a:pt x="317" y="192"/>
                    </a:lnTo>
                    <a:lnTo>
                      <a:pt x="319" y="192"/>
                    </a:lnTo>
                    <a:lnTo>
                      <a:pt x="319" y="194"/>
                    </a:lnTo>
                    <a:lnTo>
                      <a:pt x="319" y="196"/>
                    </a:lnTo>
                    <a:lnTo>
                      <a:pt x="320" y="196"/>
                    </a:lnTo>
                    <a:lnTo>
                      <a:pt x="322" y="196"/>
                    </a:lnTo>
                    <a:lnTo>
                      <a:pt x="322" y="200"/>
                    </a:lnTo>
                    <a:lnTo>
                      <a:pt x="322" y="202"/>
                    </a:lnTo>
                    <a:lnTo>
                      <a:pt x="324" y="202"/>
                    </a:lnTo>
                    <a:lnTo>
                      <a:pt x="322" y="204"/>
                    </a:lnTo>
                    <a:lnTo>
                      <a:pt x="324" y="204"/>
                    </a:lnTo>
                    <a:lnTo>
                      <a:pt x="324" y="206"/>
                    </a:lnTo>
                    <a:lnTo>
                      <a:pt x="322" y="206"/>
                    </a:lnTo>
                    <a:lnTo>
                      <a:pt x="320" y="206"/>
                    </a:lnTo>
                    <a:lnTo>
                      <a:pt x="322" y="208"/>
                    </a:lnTo>
                    <a:lnTo>
                      <a:pt x="320" y="208"/>
                    </a:lnTo>
                    <a:lnTo>
                      <a:pt x="319" y="210"/>
                    </a:lnTo>
                    <a:lnTo>
                      <a:pt x="317" y="210"/>
                    </a:lnTo>
                    <a:lnTo>
                      <a:pt x="317" y="211"/>
                    </a:lnTo>
                    <a:lnTo>
                      <a:pt x="319" y="211"/>
                    </a:lnTo>
                    <a:lnTo>
                      <a:pt x="319" y="213"/>
                    </a:lnTo>
                    <a:lnTo>
                      <a:pt x="320" y="213"/>
                    </a:lnTo>
                    <a:lnTo>
                      <a:pt x="320" y="215"/>
                    </a:lnTo>
                    <a:lnTo>
                      <a:pt x="320" y="217"/>
                    </a:lnTo>
                    <a:lnTo>
                      <a:pt x="317" y="219"/>
                    </a:lnTo>
                    <a:lnTo>
                      <a:pt x="319" y="223"/>
                    </a:lnTo>
                    <a:lnTo>
                      <a:pt x="320" y="229"/>
                    </a:lnTo>
                    <a:lnTo>
                      <a:pt x="322" y="233"/>
                    </a:lnTo>
                    <a:lnTo>
                      <a:pt x="319" y="235"/>
                    </a:lnTo>
                    <a:lnTo>
                      <a:pt x="315" y="236"/>
                    </a:lnTo>
                    <a:lnTo>
                      <a:pt x="313" y="236"/>
                    </a:lnTo>
                    <a:lnTo>
                      <a:pt x="311" y="236"/>
                    </a:lnTo>
                    <a:lnTo>
                      <a:pt x="309" y="238"/>
                    </a:lnTo>
                    <a:lnTo>
                      <a:pt x="307" y="238"/>
                    </a:lnTo>
                    <a:lnTo>
                      <a:pt x="305" y="240"/>
                    </a:lnTo>
                    <a:lnTo>
                      <a:pt x="303" y="242"/>
                    </a:lnTo>
                    <a:lnTo>
                      <a:pt x="303" y="244"/>
                    </a:lnTo>
                    <a:lnTo>
                      <a:pt x="303" y="246"/>
                    </a:lnTo>
                    <a:lnTo>
                      <a:pt x="301" y="248"/>
                    </a:lnTo>
                    <a:lnTo>
                      <a:pt x="299" y="250"/>
                    </a:lnTo>
                    <a:lnTo>
                      <a:pt x="297" y="250"/>
                    </a:lnTo>
                    <a:lnTo>
                      <a:pt x="297" y="248"/>
                    </a:lnTo>
                    <a:lnTo>
                      <a:pt x="295" y="246"/>
                    </a:lnTo>
                    <a:lnTo>
                      <a:pt x="294" y="246"/>
                    </a:lnTo>
                    <a:lnTo>
                      <a:pt x="292" y="244"/>
                    </a:lnTo>
                    <a:lnTo>
                      <a:pt x="288" y="246"/>
                    </a:lnTo>
                    <a:lnTo>
                      <a:pt x="286" y="246"/>
                    </a:lnTo>
                    <a:lnTo>
                      <a:pt x="286" y="244"/>
                    </a:lnTo>
                    <a:lnTo>
                      <a:pt x="284" y="246"/>
                    </a:lnTo>
                    <a:lnTo>
                      <a:pt x="280" y="248"/>
                    </a:lnTo>
                    <a:lnTo>
                      <a:pt x="278" y="248"/>
                    </a:lnTo>
                    <a:lnTo>
                      <a:pt x="276" y="248"/>
                    </a:lnTo>
                    <a:lnTo>
                      <a:pt x="274" y="248"/>
                    </a:lnTo>
                    <a:lnTo>
                      <a:pt x="274" y="250"/>
                    </a:lnTo>
                    <a:lnTo>
                      <a:pt x="272" y="250"/>
                    </a:lnTo>
                    <a:lnTo>
                      <a:pt x="272" y="248"/>
                    </a:lnTo>
                    <a:lnTo>
                      <a:pt x="271" y="248"/>
                    </a:lnTo>
                    <a:lnTo>
                      <a:pt x="269" y="248"/>
                    </a:lnTo>
                    <a:lnTo>
                      <a:pt x="267" y="248"/>
                    </a:lnTo>
                    <a:lnTo>
                      <a:pt x="267" y="250"/>
                    </a:lnTo>
                    <a:lnTo>
                      <a:pt x="265" y="250"/>
                    </a:lnTo>
                    <a:lnTo>
                      <a:pt x="265" y="252"/>
                    </a:lnTo>
                    <a:lnTo>
                      <a:pt x="265" y="254"/>
                    </a:lnTo>
                    <a:lnTo>
                      <a:pt x="265" y="256"/>
                    </a:lnTo>
                    <a:lnTo>
                      <a:pt x="265" y="258"/>
                    </a:lnTo>
                    <a:lnTo>
                      <a:pt x="263" y="258"/>
                    </a:lnTo>
                    <a:lnTo>
                      <a:pt x="263" y="260"/>
                    </a:lnTo>
                    <a:lnTo>
                      <a:pt x="259" y="260"/>
                    </a:lnTo>
                    <a:lnTo>
                      <a:pt x="259" y="258"/>
                    </a:lnTo>
                    <a:lnTo>
                      <a:pt x="259" y="256"/>
                    </a:lnTo>
                    <a:lnTo>
                      <a:pt x="259" y="254"/>
                    </a:lnTo>
                    <a:lnTo>
                      <a:pt x="259" y="250"/>
                    </a:lnTo>
                    <a:lnTo>
                      <a:pt x="259" y="248"/>
                    </a:lnTo>
                    <a:lnTo>
                      <a:pt x="259" y="250"/>
                    </a:lnTo>
                    <a:lnTo>
                      <a:pt x="257" y="250"/>
                    </a:lnTo>
                    <a:lnTo>
                      <a:pt x="255" y="250"/>
                    </a:lnTo>
                    <a:lnTo>
                      <a:pt x="253" y="252"/>
                    </a:lnTo>
                    <a:lnTo>
                      <a:pt x="251" y="252"/>
                    </a:lnTo>
                    <a:lnTo>
                      <a:pt x="251" y="254"/>
                    </a:lnTo>
                    <a:lnTo>
                      <a:pt x="249" y="256"/>
                    </a:lnTo>
                    <a:lnTo>
                      <a:pt x="247" y="258"/>
                    </a:lnTo>
                    <a:lnTo>
                      <a:pt x="246" y="260"/>
                    </a:lnTo>
                    <a:lnTo>
                      <a:pt x="242" y="261"/>
                    </a:lnTo>
                    <a:lnTo>
                      <a:pt x="240" y="263"/>
                    </a:lnTo>
                    <a:lnTo>
                      <a:pt x="238" y="265"/>
                    </a:lnTo>
                    <a:lnTo>
                      <a:pt x="236" y="267"/>
                    </a:lnTo>
                    <a:lnTo>
                      <a:pt x="238" y="269"/>
                    </a:lnTo>
                    <a:lnTo>
                      <a:pt x="236" y="271"/>
                    </a:lnTo>
                    <a:lnTo>
                      <a:pt x="232" y="275"/>
                    </a:lnTo>
                    <a:lnTo>
                      <a:pt x="234" y="277"/>
                    </a:lnTo>
                    <a:lnTo>
                      <a:pt x="226" y="283"/>
                    </a:lnTo>
                    <a:lnTo>
                      <a:pt x="228" y="283"/>
                    </a:lnTo>
                    <a:lnTo>
                      <a:pt x="228" y="285"/>
                    </a:lnTo>
                    <a:lnTo>
                      <a:pt x="230" y="285"/>
                    </a:lnTo>
                    <a:lnTo>
                      <a:pt x="228" y="285"/>
                    </a:lnTo>
                    <a:lnTo>
                      <a:pt x="228" y="286"/>
                    </a:lnTo>
                    <a:lnTo>
                      <a:pt x="228" y="285"/>
                    </a:lnTo>
                    <a:lnTo>
                      <a:pt x="226" y="285"/>
                    </a:lnTo>
                    <a:lnTo>
                      <a:pt x="226" y="286"/>
                    </a:lnTo>
                    <a:lnTo>
                      <a:pt x="224" y="285"/>
                    </a:lnTo>
                    <a:lnTo>
                      <a:pt x="222" y="285"/>
                    </a:lnTo>
                    <a:lnTo>
                      <a:pt x="222" y="283"/>
                    </a:lnTo>
                    <a:lnTo>
                      <a:pt x="221" y="283"/>
                    </a:lnTo>
                    <a:lnTo>
                      <a:pt x="221" y="281"/>
                    </a:lnTo>
                    <a:lnTo>
                      <a:pt x="221" y="279"/>
                    </a:lnTo>
                    <a:lnTo>
                      <a:pt x="219" y="279"/>
                    </a:lnTo>
                    <a:lnTo>
                      <a:pt x="217" y="277"/>
                    </a:lnTo>
                    <a:lnTo>
                      <a:pt x="217" y="275"/>
                    </a:lnTo>
                    <a:lnTo>
                      <a:pt x="217" y="277"/>
                    </a:lnTo>
                    <a:lnTo>
                      <a:pt x="215" y="277"/>
                    </a:lnTo>
                    <a:lnTo>
                      <a:pt x="215" y="275"/>
                    </a:lnTo>
                    <a:lnTo>
                      <a:pt x="217" y="275"/>
                    </a:lnTo>
                    <a:lnTo>
                      <a:pt x="217" y="273"/>
                    </a:lnTo>
                    <a:lnTo>
                      <a:pt x="215" y="273"/>
                    </a:lnTo>
                    <a:lnTo>
                      <a:pt x="213" y="273"/>
                    </a:lnTo>
                    <a:lnTo>
                      <a:pt x="213" y="271"/>
                    </a:lnTo>
                    <a:lnTo>
                      <a:pt x="211" y="269"/>
                    </a:lnTo>
                    <a:lnTo>
                      <a:pt x="209" y="269"/>
                    </a:lnTo>
                    <a:lnTo>
                      <a:pt x="209" y="267"/>
                    </a:lnTo>
                    <a:lnTo>
                      <a:pt x="207" y="267"/>
                    </a:lnTo>
                    <a:lnTo>
                      <a:pt x="205" y="269"/>
                    </a:lnTo>
                    <a:lnTo>
                      <a:pt x="205" y="267"/>
                    </a:lnTo>
                    <a:lnTo>
                      <a:pt x="203" y="267"/>
                    </a:lnTo>
                    <a:lnTo>
                      <a:pt x="205" y="267"/>
                    </a:lnTo>
                    <a:lnTo>
                      <a:pt x="203" y="265"/>
                    </a:lnTo>
                    <a:lnTo>
                      <a:pt x="203" y="263"/>
                    </a:lnTo>
                    <a:lnTo>
                      <a:pt x="203" y="265"/>
                    </a:lnTo>
                    <a:lnTo>
                      <a:pt x="203" y="263"/>
                    </a:lnTo>
                    <a:lnTo>
                      <a:pt x="201" y="263"/>
                    </a:lnTo>
                    <a:lnTo>
                      <a:pt x="203" y="263"/>
                    </a:lnTo>
                    <a:lnTo>
                      <a:pt x="203" y="261"/>
                    </a:lnTo>
                    <a:lnTo>
                      <a:pt x="203" y="260"/>
                    </a:lnTo>
                    <a:lnTo>
                      <a:pt x="203" y="258"/>
                    </a:lnTo>
                    <a:lnTo>
                      <a:pt x="205" y="258"/>
                    </a:lnTo>
                    <a:lnTo>
                      <a:pt x="207" y="258"/>
                    </a:lnTo>
                    <a:lnTo>
                      <a:pt x="207" y="256"/>
                    </a:lnTo>
                    <a:lnTo>
                      <a:pt x="207" y="254"/>
                    </a:lnTo>
                    <a:lnTo>
                      <a:pt x="209" y="254"/>
                    </a:lnTo>
                    <a:lnTo>
                      <a:pt x="209" y="252"/>
                    </a:lnTo>
                    <a:lnTo>
                      <a:pt x="209" y="250"/>
                    </a:lnTo>
                    <a:lnTo>
                      <a:pt x="205" y="250"/>
                    </a:lnTo>
                    <a:lnTo>
                      <a:pt x="205" y="252"/>
                    </a:lnTo>
                    <a:lnTo>
                      <a:pt x="203" y="248"/>
                    </a:lnTo>
                    <a:lnTo>
                      <a:pt x="201" y="248"/>
                    </a:lnTo>
                    <a:lnTo>
                      <a:pt x="201" y="250"/>
                    </a:lnTo>
                    <a:lnTo>
                      <a:pt x="199" y="252"/>
                    </a:lnTo>
                    <a:lnTo>
                      <a:pt x="197" y="252"/>
                    </a:lnTo>
                    <a:lnTo>
                      <a:pt x="197" y="254"/>
                    </a:lnTo>
                    <a:lnTo>
                      <a:pt x="197" y="252"/>
                    </a:lnTo>
                    <a:lnTo>
                      <a:pt x="197" y="250"/>
                    </a:lnTo>
                    <a:lnTo>
                      <a:pt x="199" y="250"/>
                    </a:lnTo>
                    <a:lnTo>
                      <a:pt x="199" y="248"/>
                    </a:lnTo>
                    <a:lnTo>
                      <a:pt x="199" y="246"/>
                    </a:lnTo>
                    <a:lnTo>
                      <a:pt x="197" y="246"/>
                    </a:lnTo>
                    <a:lnTo>
                      <a:pt x="197" y="244"/>
                    </a:lnTo>
                    <a:lnTo>
                      <a:pt x="197" y="242"/>
                    </a:lnTo>
                    <a:lnTo>
                      <a:pt x="196" y="240"/>
                    </a:lnTo>
                    <a:lnTo>
                      <a:pt x="192" y="242"/>
                    </a:lnTo>
                    <a:lnTo>
                      <a:pt x="192" y="240"/>
                    </a:lnTo>
                    <a:lnTo>
                      <a:pt x="190" y="240"/>
                    </a:lnTo>
                    <a:lnTo>
                      <a:pt x="188" y="238"/>
                    </a:lnTo>
                    <a:lnTo>
                      <a:pt x="186" y="238"/>
                    </a:lnTo>
                    <a:lnTo>
                      <a:pt x="186" y="236"/>
                    </a:lnTo>
                    <a:lnTo>
                      <a:pt x="186" y="235"/>
                    </a:lnTo>
                    <a:lnTo>
                      <a:pt x="186" y="233"/>
                    </a:lnTo>
                    <a:lnTo>
                      <a:pt x="184" y="231"/>
                    </a:lnTo>
                    <a:lnTo>
                      <a:pt x="184" y="229"/>
                    </a:lnTo>
                    <a:lnTo>
                      <a:pt x="182" y="227"/>
                    </a:lnTo>
                    <a:lnTo>
                      <a:pt x="182" y="225"/>
                    </a:lnTo>
                    <a:lnTo>
                      <a:pt x="182" y="223"/>
                    </a:lnTo>
                    <a:lnTo>
                      <a:pt x="182" y="221"/>
                    </a:lnTo>
                    <a:lnTo>
                      <a:pt x="182" y="219"/>
                    </a:lnTo>
                    <a:lnTo>
                      <a:pt x="180" y="219"/>
                    </a:lnTo>
                    <a:lnTo>
                      <a:pt x="176" y="219"/>
                    </a:lnTo>
                    <a:lnTo>
                      <a:pt x="176" y="221"/>
                    </a:lnTo>
                    <a:lnTo>
                      <a:pt x="178" y="225"/>
                    </a:lnTo>
                    <a:lnTo>
                      <a:pt x="178" y="227"/>
                    </a:lnTo>
                    <a:lnTo>
                      <a:pt x="176" y="227"/>
                    </a:lnTo>
                    <a:lnTo>
                      <a:pt x="176" y="225"/>
                    </a:lnTo>
                    <a:lnTo>
                      <a:pt x="174" y="227"/>
                    </a:lnTo>
                    <a:lnTo>
                      <a:pt x="173" y="227"/>
                    </a:lnTo>
                    <a:lnTo>
                      <a:pt x="171" y="229"/>
                    </a:lnTo>
                    <a:lnTo>
                      <a:pt x="169" y="229"/>
                    </a:lnTo>
                    <a:lnTo>
                      <a:pt x="167" y="231"/>
                    </a:lnTo>
                    <a:lnTo>
                      <a:pt x="165" y="231"/>
                    </a:lnTo>
                    <a:lnTo>
                      <a:pt x="165" y="233"/>
                    </a:lnTo>
                    <a:lnTo>
                      <a:pt x="167" y="235"/>
                    </a:lnTo>
                    <a:lnTo>
                      <a:pt x="163" y="235"/>
                    </a:lnTo>
                    <a:lnTo>
                      <a:pt x="161" y="235"/>
                    </a:lnTo>
                    <a:lnTo>
                      <a:pt x="159" y="235"/>
                    </a:lnTo>
                    <a:lnTo>
                      <a:pt x="159" y="236"/>
                    </a:lnTo>
                    <a:lnTo>
                      <a:pt x="157" y="236"/>
                    </a:lnTo>
                    <a:lnTo>
                      <a:pt x="153" y="238"/>
                    </a:lnTo>
                    <a:lnTo>
                      <a:pt x="153" y="236"/>
                    </a:lnTo>
                    <a:lnTo>
                      <a:pt x="153" y="235"/>
                    </a:lnTo>
                    <a:lnTo>
                      <a:pt x="148" y="236"/>
                    </a:lnTo>
                    <a:lnTo>
                      <a:pt x="148" y="238"/>
                    </a:lnTo>
                    <a:lnTo>
                      <a:pt x="149" y="240"/>
                    </a:lnTo>
                    <a:lnTo>
                      <a:pt x="148" y="240"/>
                    </a:lnTo>
                    <a:lnTo>
                      <a:pt x="146" y="242"/>
                    </a:lnTo>
                    <a:lnTo>
                      <a:pt x="148" y="242"/>
                    </a:lnTo>
                    <a:lnTo>
                      <a:pt x="146" y="242"/>
                    </a:lnTo>
                    <a:lnTo>
                      <a:pt x="142" y="244"/>
                    </a:lnTo>
                    <a:lnTo>
                      <a:pt x="140" y="244"/>
                    </a:lnTo>
                    <a:lnTo>
                      <a:pt x="140" y="246"/>
                    </a:lnTo>
                    <a:lnTo>
                      <a:pt x="140" y="250"/>
                    </a:lnTo>
                    <a:lnTo>
                      <a:pt x="136" y="250"/>
                    </a:lnTo>
                    <a:lnTo>
                      <a:pt x="134" y="250"/>
                    </a:lnTo>
                    <a:lnTo>
                      <a:pt x="130" y="252"/>
                    </a:lnTo>
                    <a:lnTo>
                      <a:pt x="132" y="252"/>
                    </a:lnTo>
                    <a:lnTo>
                      <a:pt x="130" y="254"/>
                    </a:lnTo>
                    <a:lnTo>
                      <a:pt x="123" y="258"/>
                    </a:lnTo>
                    <a:lnTo>
                      <a:pt x="123" y="256"/>
                    </a:lnTo>
                    <a:lnTo>
                      <a:pt x="121" y="256"/>
                    </a:lnTo>
                    <a:lnTo>
                      <a:pt x="119" y="256"/>
                    </a:lnTo>
                    <a:lnTo>
                      <a:pt x="117" y="258"/>
                    </a:lnTo>
                    <a:lnTo>
                      <a:pt x="113" y="256"/>
                    </a:lnTo>
                    <a:lnTo>
                      <a:pt x="111" y="256"/>
                    </a:lnTo>
                    <a:lnTo>
                      <a:pt x="109" y="258"/>
                    </a:lnTo>
                    <a:lnTo>
                      <a:pt x="107" y="256"/>
                    </a:lnTo>
                    <a:lnTo>
                      <a:pt x="105" y="256"/>
                    </a:lnTo>
                    <a:lnTo>
                      <a:pt x="101" y="256"/>
                    </a:lnTo>
                    <a:lnTo>
                      <a:pt x="98" y="258"/>
                    </a:lnTo>
                    <a:lnTo>
                      <a:pt x="98" y="256"/>
                    </a:lnTo>
                    <a:lnTo>
                      <a:pt x="96" y="256"/>
                    </a:lnTo>
                    <a:lnTo>
                      <a:pt x="96" y="260"/>
                    </a:lnTo>
                    <a:lnTo>
                      <a:pt x="96" y="261"/>
                    </a:lnTo>
                    <a:lnTo>
                      <a:pt x="96" y="263"/>
                    </a:lnTo>
                    <a:lnTo>
                      <a:pt x="94" y="265"/>
                    </a:lnTo>
                    <a:lnTo>
                      <a:pt x="92" y="265"/>
                    </a:lnTo>
                    <a:lnTo>
                      <a:pt x="92" y="263"/>
                    </a:lnTo>
                    <a:lnTo>
                      <a:pt x="90" y="263"/>
                    </a:lnTo>
                    <a:lnTo>
                      <a:pt x="92" y="263"/>
                    </a:lnTo>
                    <a:lnTo>
                      <a:pt x="90" y="263"/>
                    </a:lnTo>
                    <a:lnTo>
                      <a:pt x="88" y="263"/>
                    </a:lnTo>
                    <a:lnTo>
                      <a:pt x="86" y="265"/>
                    </a:lnTo>
                    <a:lnTo>
                      <a:pt x="84" y="265"/>
                    </a:lnTo>
                    <a:lnTo>
                      <a:pt x="82" y="263"/>
                    </a:lnTo>
                    <a:lnTo>
                      <a:pt x="82" y="265"/>
                    </a:lnTo>
                    <a:lnTo>
                      <a:pt x="82" y="263"/>
                    </a:lnTo>
                    <a:lnTo>
                      <a:pt x="80" y="263"/>
                    </a:lnTo>
                    <a:lnTo>
                      <a:pt x="82" y="263"/>
                    </a:lnTo>
                    <a:lnTo>
                      <a:pt x="82" y="261"/>
                    </a:lnTo>
                    <a:lnTo>
                      <a:pt x="80" y="261"/>
                    </a:lnTo>
                    <a:lnTo>
                      <a:pt x="80" y="260"/>
                    </a:lnTo>
                    <a:lnTo>
                      <a:pt x="82" y="258"/>
                    </a:lnTo>
                    <a:lnTo>
                      <a:pt x="82" y="256"/>
                    </a:lnTo>
                    <a:lnTo>
                      <a:pt x="80" y="256"/>
                    </a:lnTo>
                    <a:lnTo>
                      <a:pt x="78" y="254"/>
                    </a:lnTo>
                    <a:lnTo>
                      <a:pt x="78" y="256"/>
                    </a:lnTo>
                    <a:lnTo>
                      <a:pt x="78" y="258"/>
                    </a:lnTo>
                    <a:lnTo>
                      <a:pt x="76" y="258"/>
                    </a:lnTo>
                    <a:lnTo>
                      <a:pt x="75" y="258"/>
                    </a:lnTo>
                    <a:lnTo>
                      <a:pt x="73" y="256"/>
                    </a:lnTo>
                    <a:lnTo>
                      <a:pt x="71" y="256"/>
                    </a:lnTo>
                    <a:lnTo>
                      <a:pt x="71" y="258"/>
                    </a:lnTo>
                    <a:lnTo>
                      <a:pt x="71" y="260"/>
                    </a:lnTo>
                    <a:lnTo>
                      <a:pt x="71" y="261"/>
                    </a:lnTo>
                    <a:lnTo>
                      <a:pt x="71" y="263"/>
                    </a:lnTo>
                    <a:lnTo>
                      <a:pt x="73" y="263"/>
                    </a:lnTo>
                    <a:lnTo>
                      <a:pt x="75" y="263"/>
                    </a:lnTo>
                    <a:lnTo>
                      <a:pt x="75" y="267"/>
                    </a:lnTo>
                    <a:lnTo>
                      <a:pt x="73" y="265"/>
                    </a:lnTo>
                    <a:lnTo>
                      <a:pt x="71" y="265"/>
                    </a:lnTo>
                    <a:lnTo>
                      <a:pt x="69" y="265"/>
                    </a:lnTo>
                    <a:lnTo>
                      <a:pt x="69" y="267"/>
                    </a:lnTo>
                    <a:lnTo>
                      <a:pt x="69" y="269"/>
                    </a:lnTo>
                    <a:lnTo>
                      <a:pt x="71" y="269"/>
                    </a:lnTo>
                    <a:lnTo>
                      <a:pt x="69" y="269"/>
                    </a:lnTo>
                    <a:lnTo>
                      <a:pt x="69" y="271"/>
                    </a:lnTo>
                    <a:lnTo>
                      <a:pt x="67" y="271"/>
                    </a:lnTo>
                    <a:lnTo>
                      <a:pt x="67" y="275"/>
                    </a:lnTo>
                    <a:lnTo>
                      <a:pt x="57" y="261"/>
                    </a:lnTo>
                    <a:lnTo>
                      <a:pt x="51" y="252"/>
                    </a:lnTo>
                    <a:lnTo>
                      <a:pt x="46" y="242"/>
                    </a:lnTo>
                    <a:lnTo>
                      <a:pt x="40" y="235"/>
                    </a:lnTo>
                    <a:lnTo>
                      <a:pt x="34" y="225"/>
                    </a:lnTo>
                    <a:lnTo>
                      <a:pt x="28" y="219"/>
                    </a:lnTo>
                    <a:lnTo>
                      <a:pt x="28" y="217"/>
                    </a:lnTo>
                    <a:lnTo>
                      <a:pt x="28" y="215"/>
                    </a:lnTo>
                    <a:lnTo>
                      <a:pt x="28" y="213"/>
                    </a:lnTo>
                    <a:lnTo>
                      <a:pt x="27" y="210"/>
                    </a:lnTo>
                    <a:lnTo>
                      <a:pt x="28" y="208"/>
                    </a:lnTo>
                    <a:lnTo>
                      <a:pt x="32" y="210"/>
                    </a:lnTo>
                    <a:lnTo>
                      <a:pt x="34" y="210"/>
                    </a:lnTo>
                    <a:lnTo>
                      <a:pt x="34" y="211"/>
                    </a:lnTo>
                    <a:lnTo>
                      <a:pt x="36" y="211"/>
                    </a:lnTo>
                    <a:lnTo>
                      <a:pt x="36" y="210"/>
                    </a:lnTo>
                    <a:lnTo>
                      <a:pt x="38" y="210"/>
                    </a:lnTo>
                    <a:lnTo>
                      <a:pt x="38" y="208"/>
                    </a:lnTo>
                    <a:lnTo>
                      <a:pt x="40" y="208"/>
                    </a:lnTo>
                    <a:lnTo>
                      <a:pt x="42" y="206"/>
                    </a:lnTo>
                    <a:lnTo>
                      <a:pt x="42" y="204"/>
                    </a:lnTo>
                    <a:lnTo>
                      <a:pt x="42" y="202"/>
                    </a:lnTo>
                    <a:lnTo>
                      <a:pt x="44" y="202"/>
                    </a:lnTo>
                    <a:lnTo>
                      <a:pt x="44" y="200"/>
                    </a:lnTo>
                    <a:lnTo>
                      <a:pt x="44" y="198"/>
                    </a:lnTo>
                    <a:lnTo>
                      <a:pt x="44" y="196"/>
                    </a:lnTo>
                    <a:lnTo>
                      <a:pt x="42" y="196"/>
                    </a:lnTo>
                    <a:lnTo>
                      <a:pt x="46" y="194"/>
                    </a:lnTo>
                    <a:lnTo>
                      <a:pt x="48" y="194"/>
                    </a:lnTo>
                    <a:lnTo>
                      <a:pt x="48" y="192"/>
                    </a:lnTo>
                    <a:lnTo>
                      <a:pt x="48" y="190"/>
                    </a:lnTo>
                    <a:lnTo>
                      <a:pt x="46" y="192"/>
                    </a:lnTo>
                    <a:lnTo>
                      <a:pt x="44" y="192"/>
                    </a:lnTo>
                    <a:lnTo>
                      <a:pt x="42" y="192"/>
                    </a:lnTo>
                    <a:lnTo>
                      <a:pt x="40" y="192"/>
                    </a:lnTo>
                    <a:lnTo>
                      <a:pt x="40" y="194"/>
                    </a:lnTo>
                    <a:lnTo>
                      <a:pt x="38" y="196"/>
                    </a:lnTo>
                    <a:lnTo>
                      <a:pt x="36" y="196"/>
                    </a:lnTo>
                    <a:lnTo>
                      <a:pt x="34" y="198"/>
                    </a:lnTo>
                    <a:lnTo>
                      <a:pt x="32" y="198"/>
                    </a:lnTo>
                    <a:lnTo>
                      <a:pt x="30" y="198"/>
                    </a:lnTo>
                    <a:lnTo>
                      <a:pt x="28" y="196"/>
                    </a:lnTo>
                    <a:lnTo>
                      <a:pt x="27" y="194"/>
                    </a:lnTo>
                    <a:lnTo>
                      <a:pt x="25" y="192"/>
                    </a:lnTo>
                    <a:lnTo>
                      <a:pt x="23" y="194"/>
                    </a:lnTo>
                    <a:lnTo>
                      <a:pt x="23" y="196"/>
                    </a:lnTo>
                    <a:lnTo>
                      <a:pt x="21" y="196"/>
                    </a:lnTo>
                    <a:lnTo>
                      <a:pt x="23" y="198"/>
                    </a:lnTo>
                    <a:lnTo>
                      <a:pt x="23" y="200"/>
                    </a:lnTo>
                    <a:lnTo>
                      <a:pt x="21" y="200"/>
                    </a:lnTo>
                    <a:lnTo>
                      <a:pt x="2" y="206"/>
                    </a:lnTo>
                    <a:lnTo>
                      <a:pt x="3" y="200"/>
                    </a:lnTo>
                    <a:lnTo>
                      <a:pt x="3" y="196"/>
                    </a:lnTo>
                    <a:lnTo>
                      <a:pt x="5" y="192"/>
                    </a:lnTo>
                    <a:lnTo>
                      <a:pt x="5" y="188"/>
                    </a:lnTo>
                    <a:lnTo>
                      <a:pt x="7" y="181"/>
                    </a:lnTo>
                    <a:lnTo>
                      <a:pt x="7" y="177"/>
                    </a:lnTo>
                    <a:lnTo>
                      <a:pt x="9" y="177"/>
                    </a:lnTo>
                    <a:lnTo>
                      <a:pt x="11" y="179"/>
                    </a:lnTo>
                    <a:lnTo>
                      <a:pt x="11" y="177"/>
                    </a:lnTo>
                    <a:lnTo>
                      <a:pt x="13" y="175"/>
                    </a:lnTo>
                    <a:lnTo>
                      <a:pt x="13" y="173"/>
                    </a:lnTo>
                    <a:lnTo>
                      <a:pt x="15" y="173"/>
                    </a:lnTo>
                    <a:lnTo>
                      <a:pt x="15" y="171"/>
                    </a:lnTo>
                    <a:lnTo>
                      <a:pt x="13" y="169"/>
                    </a:lnTo>
                    <a:lnTo>
                      <a:pt x="13" y="167"/>
                    </a:lnTo>
                    <a:lnTo>
                      <a:pt x="15" y="167"/>
                    </a:lnTo>
                    <a:lnTo>
                      <a:pt x="13" y="167"/>
                    </a:lnTo>
                    <a:lnTo>
                      <a:pt x="11" y="167"/>
                    </a:lnTo>
                    <a:lnTo>
                      <a:pt x="11" y="169"/>
                    </a:lnTo>
                    <a:lnTo>
                      <a:pt x="9" y="167"/>
                    </a:lnTo>
                    <a:lnTo>
                      <a:pt x="9" y="165"/>
                    </a:lnTo>
                    <a:lnTo>
                      <a:pt x="9" y="162"/>
                    </a:lnTo>
                    <a:lnTo>
                      <a:pt x="9" y="160"/>
                    </a:lnTo>
                    <a:lnTo>
                      <a:pt x="9" y="158"/>
                    </a:lnTo>
                    <a:lnTo>
                      <a:pt x="7" y="158"/>
                    </a:lnTo>
                    <a:lnTo>
                      <a:pt x="7" y="160"/>
                    </a:lnTo>
                    <a:lnTo>
                      <a:pt x="7" y="158"/>
                    </a:lnTo>
                    <a:lnTo>
                      <a:pt x="5" y="158"/>
                    </a:lnTo>
                    <a:lnTo>
                      <a:pt x="5" y="156"/>
                    </a:lnTo>
                    <a:lnTo>
                      <a:pt x="5" y="154"/>
                    </a:lnTo>
                    <a:lnTo>
                      <a:pt x="5" y="152"/>
                    </a:lnTo>
                    <a:lnTo>
                      <a:pt x="7" y="152"/>
                    </a:lnTo>
                    <a:lnTo>
                      <a:pt x="7" y="150"/>
                    </a:lnTo>
                    <a:lnTo>
                      <a:pt x="5" y="150"/>
                    </a:lnTo>
                    <a:lnTo>
                      <a:pt x="5" y="152"/>
                    </a:lnTo>
                    <a:lnTo>
                      <a:pt x="2" y="150"/>
                    </a:lnTo>
                    <a:lnTo>
                      <a:pt x="2" y="148"/>
                    </a:lnTo>
                    <a:lnTo>
                      <a:pt x="3" y="146"/>
                    </a:lnTo>
                    <a:lnTo>
                      <a:pt x="3" y="144"/>
                    </a:lnTo>
                    <a:lnTo>
                      <a:pt x="5" y="144"/>
                    </a:lnTo>
                    <a:lnTo>
                      <a:pt x="5" y="142"/>
                    </a:lnTo>
                    <a:lnTo>
                      <a:pt x="5" y="140"/>
                    </a:lnTo>
                    <a:lnTo>
                      <a:pt x="3" y="140"/>
                    </a:lnTo>
                    <a:lnTo>
                      <a:pt x="3" y="135"/>
                    </a:lnTo>
                    <a:lnTo>
                      <a:pt x="2" y="135"/>
                    </a:lnTo>
                    <a:lnTo>
                      <a:pt x="2" y="133"/>
                    </a:lnTo>
                    <a:lnTo>
                      <a:pt x="3" y="133"/>
                    </a:lnTo>
                    <a:lnTo>
                      <a:pt x="3" y="131"/>
                    </a:lnTo>
                    <a:lnTo>
                      <a:pt x="3" y="129"/>
                    </a:lnTo>
                    <a:lnTo>
                      <a:pt x="3" y="127"/>
                    </a:lnTo>
                    <a:lnTo>
                      <a:pt x="3" y="125"/>
                    </a:lnTo>
                    <a:lnTo>
                      <a:pt x="2" y="125"/>
                    </a:lnTo>
                    <a:lnTo>
                      <a:pt x="2" y="123"/>
                    </a:lnTo>
                    <a:lnTo>
                      <a:pt x="2" y="121"/>
                    </a:lnTo>
                    <a:lnTo>
                      <a:pt x="2" y="119"/>
                    </a:lnTo>
                    <a:lnTo>
                      <a:pt x="2" y="117"/>
                    </a:lnTo>
                    <a:lnTo>
                      <a:pt x="0" y="117"/>
                    </a:lnTo>
                    <a:lnTo>
                      <a:pt x="3" y="115"/>
                    </a:lnTo>
                    <a:lnTo>
                      <a:pt x="3" y="113"/>
                    </a:lnTo>
                    <a:lnTo>
                      <a:pt x="9" y="110"/>
                    </a:lnTo>
                    <a:lnTo>
                      <a:pt x="9" y="108"/>
                    </a:lnTo>
                    <a:lnTo>
                      <a:pt x="7" y="106"/>
                    </a:lnTo>
                    <a:lnTo>
                      <a:pt x="7" y="108"/>
                    </a:lnTo>
                    <a:lnTo>
                      <a:pt x="5" y="108"/>
                    </a:lnTo>
                    <a:lnTo>
                      <a:pt x="5" y="106"/>
                    </a:lnTo>
                    <a:lnTo>
                      <a:pt x="5" y="104"/>
                    </a:lnTo>
                    <a:lnTo>
                      <a:pt x="3" y="104"/>
                    </a:lnTo>
                    <a:lnTo>
                      <a:pt x="5" y="104"/>
                    </a:lnTo>
                    <a:lnTo>
                      <a:pt x="5" y="102"/>
                    </a:lnTo>
                    <a:lnTo>
                      <a:pt x="7" y="102"/>
                    </a:lnTo>
                    <a:lnTo>
                      <a:pt x="9" y="102"/>
                    </a:lnTo>
                    <a:lnTo>
                      <a:pt x="7" y="100"/>
                    </a:lnTo>
                    <a:lnTo>
                      <a:pt x="7" y="98"/>
                    </a:lnTo>
                    <a:lnTo>
                      <a:pt x="5" y="96"/>
                    </a:lnTo>
                    <a:lnTo>
                      <a:pt x="5" y="94"/>
                    </a:lnTo>
                    <a:lnTo>
                      <a:pt x="3" y="94"/>
                    </a:lnTo>
                    <a:lnTo>
                      <a:pt x="5" y="92"/>
                    </a:lnTo>
                    <a:lnTo>
                      <a:pt x="7" y="94"/>
                    </a:lnTo>
                    <a:lnTo>
                      <a:pt x="9" y="94"/>
                    </a:lnTo>
                    <a:lnTo>
                      <a:pt x="11" y="94"/>
                    </a:lnTo>
                    <a:lnTo>
                      <a:pt x="13" y="94"/>
                    </a:lnTo>
                    <a:lnTo>
                      <a:pt x="15" y="90"/>
                    </a:lnTo>
                    <a:lnTo>
                      <a:pt x="13" y="90"/>
                    </a:lnTo>
                    <a:lnTo>
                      <a:pt x="13" y="88"/>
                    </a:lnTo>
                    <a:lnTo>
                      <a:pt x="11" y="88"/>
                    </a:lnTo>
                    <a:lnTo>
                      <a:pt x="11" y="87"/>
                    </a:lnTo>
                    <a:lnTo>
                      <a:pt x="13" y="85"/>
                    </a:lnTo>
                    <a:lnTo>
                      <a:pt x="15" y="83"/>
                    </a:lnTo>
                    <a:lnTo>
                      <a:pt x="17" y="83"/>
                    </a:lnTo>
                    <a:lnTo>
                      <a:pt x="19" y="81"/>
                    </a:lnTo>
                    <a:lnTo>
                      <a:pt x="23" y="77"/>
                    </a:lnTo>
                    <a:lnTo>
                      <a:pt x="25" y="77"/>
                    </a:lnTo>
                    <a:lnTo>
                      <a:pt x="27" y="77"/>
                    </a:lnTo>
                    <a:lnTo>
                      <a:pt x="28" y="75"/>
                    </a:lnTo>
                    <a:lnTo>
                      <a:pt x="30" y="73"/>
                    </a:lnTo>
                    <a:lnTo>
                      <a:pt x="30" y="71"/>
                    </a:lnTo>
                    <a:lnTo>
                      <a:pt x="38" y="73"/>
                    </a:lnTo>
                    <a:lnTo>
                      <a:pt x="40" y="71"/>
                    </a:lnTo>
                    <a:lnTo>
                      <a:pt x="42" y="71"/>
                    </a:lnTo>
                    <a:lnTo>
                      <a:pt x="44" y="71"/>
                    </a:lnTo>
                    <a:lnTo>
                      <a:pt x="44" y="73"/>
                    </a:lnTo>
                    <a:lnTo>
                      <a:pt x="46" y="73"/>
                    </a:lnTo>
                    <a:lnTo>
                      <a:pt x="50" y="73"/>
                    </a:lnTo>
                    <a:lnTo>
                      <a:pt x="50" y="71"/>
                    </a:lnTo>
                    <a:lnTo>
                      <a:pt x="48" y="69"/>
                    </a:lnTo>
                    <a:lnTo>
                      <a:pt x="48" y="67"/>
                    </a:lnTo>
                    <a:lnTo>
                      <a:pt x="48" y="65"/>
                    </a:lnTo>
                    <a:lnTo>
                      <a:pt x="48" y="63"/>
                    </a:lnTo>
                    <a:lnTo>
                      <a:pt x="46" y="63"/>
                    </a:lnTo>
                    <a:lnTo>
                      <a:pt x="46" y="62"/>
                    </a:lnTo>
                    <a:lnTo>
                      <a:pt x="46" y="56"/>
                    </a:lnTo>
                    <a:lnTo>
                      <a:pt x="46" y="54"/>
                    </a:lnTo>
                    <a:lnTo>
                      <a:pt x="48" y="54"/>
                    </a:lnTo>
                    <a:lnTo>
                      <a:pt x="48" y="52"/>
                    </a:lnTo>
                    <a:lnTo>
                      <a:pt x="46" y="52"/>
                    </a:lnTo>
                    <a:lnTo>
                      <a:pt x="46" y="50"/>
                    </a:lnTo>
                    <a:lnTo>
                      <a:pt x="44" y="50"/>
                    </a:lnTo>
                    <a:lnTo>
                      <a:pt x="44" y="52"/>
                    </a:lnTo>
                    <a:lnTo>
                      <a:pt x="44" y="50"/>
                    </a:lnTo>
                    <a:lnTo>
                      <a:pt x="42" y="50"/>
                    </a:lnTo>
                    <a:lnTo>
                      <a:pt x="42" y="52"/>
                    </a:lnTo>
                    <a:lnTo>
                      <a:pt x="42" y="50"/>
                    </a:lnTo>
                    <a:lnTo>
                      <a:pt x="42" y="52"/>
                    </a:lnTo>
                    <a:lnTo>
                      <a:pt x="42" y="50"/>
                    </a:lnTo>
                    <a:lnTo>
                      <a:pt x="40" y="52"/>
                    </a:lnTo>
                    <a:lnTo>
                      <a:pt x="40" y="54"/>
                    </a:lnTo>
                    <a:lnTo>
                      <a:pt x="40" y="52"/>
                    </a:lnTo>
                    <a:lnTo>
                      <a:pt x="38" y="52"/>
                    </a:lnTo>
                    <a:lnTo>
                      <a:pt x="38" y="54"/>
                    </a:lnTo>
                    <a:lnTo>
                      <a:pt x="38" y="52"/>
                    </a:lnTo>
                    <a:lnTo>
                      <a:pt x="38" y="54"/>
                    </a:lnTo>
                    <a:lnTo>
                      <a:pt x="36" y="54"/>
                    </a:lnTo>
                    <a:lnTo>
                      <a:pt x="38" y="54"/>
                    </a:lnTo>
                    <a:lnTo>
                      <a:pt x="38" y="52"/>
                    </a:lnTo>
                    <a:lnTo>
                      <a:pt x="36" y="52"/>
                    </a:lnTo>
                    <a:lnTo>
                      <a:pt x="38" y="52"/>
                    </a:lnTo>
                    <a:lnTo>
                      <a:pt x="38" y="50"/>
                    </a:lnTo>
                    <a:lnTo>
                      <a:pt x="38" y="48"/>
                    </a:lnTo>
                    <a:lnTo>
                      <a:pt x="40" y="46"/>
                    </a:lnTo>
                    <a:lnTo>
                      <a:pt x="44" y="46"/>
                    </a:lnTo>
                    <a:lnTo>
                      <a:pt x="46" y="42"/>
                    </a:lnTo>
                    <a:lnTo>
                      <a:pt x="48" y="40"/>
                    </a:lnTo>
                    <a:lnTo>
                      <a:pt x="50" y="42"/>
                    </a:lnTo>
                    <a:lnTo>
                      <a:pt x="51" y="40"/>
                    </a:lnTo>
                    <a:lnTo>
                      <a:pt x="55" y="37"/>
                    </a:lnTo>
                    <a:lnTo>
                      <a:pt x="55" y="31"/>
                    </a:lnTo>
                    <a:lnTo>
                      <a:pt x="57" y="29"/>
                    </a:lnTo>
                    <a:lnTo>
                      <a:pt x="55" y="27"/>
                    </a:lnTo>
                    <a:lnTo>
                      <a:pt x="57" y="25"/>
                    </a:lnTo>
                    <a:lnTo>
                      <a:pt x="57" y="23"/>
                    </a:lnTo>
                    <a:lnTo>
                      <a:pt x="57" y="21"/>
                    </a:lnTo>
                    <a:lnTo>
                      <a:pt x="55" y="17"/>
                    </a:lnTo>
                    <a:lnTo>
                      <a:pt x="57" y="15"/>
                    </a:lnTo>
                    <a:lnTo>
                      <a:pt x="57" y="13"/>
                    </a:lnTo>
                    <a:lnTo>
                      <a:pt x="57" y="4"/>
                    </a:lnTo>
                    <a:lnTo>
                      <a:pt x="57" y="0"/>
                    </a:lnTo>
                    <a:lnTo>
                      <a:pt x="61" y="0"/>
                    </a:lnTo>
                    <a:lnTo>
                      <a:pt x="67" y="2"/>
                    </a:lnTo>
                    <a:lnTo>
                      <a:pt x="75" y="4"/>
                    </a:lnTo>
                    <a:lnTo>
                      <a:pt x="82" y="10"/>
                    </a:lnTo>
                    <a:lnTo>
                      <a:pt x="86" y="10"/>
                    </a:lnTo>
                    <a:lnTo>
                      <a:pt x="107" y="13"/>
                    </a:lnTo>
                    <a:lnTo>
                      <a:pt x="121" y="15"/>
                    </a:lnTo>
                    <a:lnTo>
                      <a:pt x="128" y="17"/>
                    </a:lnTo>
                    <a:lnTo>
                      <a:pt x="130" y="17"/>
                    </a:lnTo>
                    <a:lnTo>
                      <a:pt x="128" y="21"/>
                    </a:lnTo>
                    <a:lnTo>
                      <a:pt x="134" y="23"/>
                    </a:lnTo>
                    <a:lnTo>
                      <a:pt x="142" y="27"/>
                    </a:lnTo>
                    <a:lnTo>
                      <a:pt x="146" y="29"/>
                    </a:lnTo>
                    <a:lnTo>
                      <a:pt x="153" y="33"/>
                    </a:lnTo>
                    <a:lnTo>
                      <a:pt x="159" y="37"/>
                    </a:lnTo>
                    <a:lnTo>
                      <a:pt x="163" y="40"/>
                    </a:lnTo>
                    <a:lnTo>
                      <a:pt x="165" y="44"/>
                    </a:lnTo>
                    <a:lnTo>
                      <a:pt x="167" y="50"/>
                    </a:lnTo>
                    <a:lnTo>
                      <a:pt x="171" y="56"/>
                    </a:lnTo>
                    <a:lnTo>
                      <a:pt x="171" y="58"/>
                    </a:lnTo>
                    <a:lnTo>
                      <a:pt x="174" y="63"/>
                    </a:lnTo>
                    <a:lnTo>
                      <a:pt x="176" y="69"/>
                    </a:lnTo>
                    <a:lnTo>
                      <a:pt x="178" y="75"/>
                    </a:lnTo>
                    <a:lnTo>
                      <a:pt x="180" y="77"/>
                    </a:lnTo>
                    <a:lnTo>
                      <a:pt x="184" y="75"/>
                    </a:lnTo>
                    <a:lnTo>
                      <a:pt x="196" y="75"/>
                    </a:lnTo>
                    <a:lnTo>
                      <a:pt x="211" y="73"/>
                    </a:lnTo>
                    <a:lnTo>
                      <a:pt x="217" y="85"/>
                    </a:lnTo>
                    <a:lnTo>
                      <a:pt x="217" y="87"/>
                    </a:lnTo>
                    <a:lnTo>
                      <a:pt x="219" y="92"/>
                    </a:lnTo>
                    <a:lnTo>
                      <a:pt x="221" y="94"/>
                    </a:lnTo>
                    <a:lnTo>
                      <a:pt x="230" y="92"/>
                    </a:lnTo>
                    <a:lnTo>
                      <a:pt x="234" y="90"/>
                    </a:lnTo>
                    <a:lnTo>
                      <a:pt x="238" y="90"/>
                    </a:lnTo>
                    <a:lnTo>
                      <a:pt x="240" y="90"/>
                    </a:lnTo>
                    <a:lnTo>
                      <a:pt x="242" y="90"/>
                    </a:lnTo>
                    <a:lnTo>
                      <a:pt x="244" y="90"/>
                    </a:lnTo>
                    <a:lnTo>
                      <a:pt x="246" y="90"/>
                    </a:lnTo>
                    <a:lnTo>
                      <a:pt x="247" y="90"/>
                    </a:lnTo>
                    <a:lnTo>
                      <a:pt x="247" y="88"/>
                    </a:lnTo>
                    <a:lnTo>
                      <a:pt x="249" y="88"/>
                    </a:lnTo>
                    <a:lnTo>
                      <a:pt x="251" y="88"/>
                    </a:lnTo>
                    <a:lnTo>
                      <a:pt x="253" y="88"/>
                    </a:lnTo>
                    <a:lnTo>
                      <a:pt x="255" y="88"/>
                    </a:lnTo>
                    <a:lnTo>
                      <a:pt x="257" y="88"/>
                    </a:lnTo>
                    <a:lnTo>
                      <a:pt x="257" y="87"/>
                    </a:lnTo>
                    <a:lnTo>
                      <a:pt x="257" y="88"/>
                    </a:lnTo>
                    <a:lnTo>
                      <a:pt x="257" y="87"/>
                    </a:lnTo>
                    <a:lnTo>
                      <a:pt x="259" y="87"/>
                    </a:lnTo>
                    <a:lnTo>
                      <a:pt x="259" y="88"/>
                    </a:lnTo>
                    <a:lnTo>
                      <a:pt x="261" y="88"/>
                    </a:lnTo>
                    <a:lnTo>
                      <a:pt x="263" y="88"/>
                    </a:lnTo>
                    <a:lnTo>
                      <a:pt x="263" y="87"/>
                    </a:lnTo>
                    <a:lnTo>
                      <a:pt x="261" y="87"/>
                    </a:lnTo>
                    <a:lnTo>
                      <a:pt x="263" y="87"/>
                    </a:lnTo>
                    <a:lnTo>
                      <a:pt x="261" y="87"/>
                    </a:lnTo>
                    <a:lnTo>
                      <a:pt x="261" y="85"/>
                    </a:lnTo>
                    <a:lnTo>
                      <a:pt x="263" y="85"/>
                    </a:lnTo>
                    <a:lnTo>
                      <a:pt x="261" y="85"/>
                    </a:lnTo>
                    <a:lnTo>
                      <a:pt x="263" y="85"/>
                    </a:lnTo>
                    <a:lnTo>
                      <a:pt x="261" y="83"/>
                    </a:lnTo>
                    <a:lnTo>
                      <a:pt x="263" y="83"/>
                    </a:lnTo>
                    <a:lnTo>
                      <a:pt x="263" y="81"/>
                    </a:lnTo>
                    <a:lnTo>
                      <a:pt x="265" y="81"/>
                    </a:lnTo>
                    <a:lnTo>
                      <a:pt x="267" y="81"/>
                    </a:lnTo>
                    <a:lnTo>
                      <a:pt x="267" y="83"/>
                    </a:lnTo>
                    <a:lnTo>
                      <a:pt x="269" y="83"/>
                    </a:lnTo>
                    <a:lnTo>
                      <a:pt x="271" y="83"/>
                    </a:lnTo>
                    <a:lnTo>
                      <a:pt x="271" y="81"/>
                    </a:lnTo>
                    <a:lnTo>
                      <a:pt x="272" y="81"/>
                    </a:lnTo>
                    <a:lnTo>
                      <a:pt x="278" y="88"/>
                    </a:lnTo>
                    <a:lnTo>
                      <a:pt x="276" y="90"/>
                    </a:lnTo>
                    <a:lnTo>
                      <a:pt x="274" y="90"/>
                    </a:lnTo>
                    <a:lnTo>
                      <a:pt x="272" y="92"/>
                    </a:lnTo>
                    <a:lnTo>
                      <a:pt x="272" y="94"/>
                    </a:lnTo>
                    <a:lnTo>
                      <a:pt x="272" y="96"/>
                    </a:lnTo>
                    <a:lnTo>
                      <a:pt x="271" y="98"/>
                    </a:lnTo>
                    <a:lnTo>
                      <a:pt x="272" y="98"/>
                    </a:lnTo>
                    <a:lnTo>
                      <a:pt x="271" y="100"/>
                    </a:lnTo>
                    <a:lnTo>
                      <a:pt x="269" y="102"/>
                    </a:lnTo>
                    <a:lnTo>
                      <a:pt x="269" y="104"/>
                    </a:lnTo>
                    <a:lnTo>
                      <a:pt x="271" y="104"/>
                    </a:lnTo>
                    <a:lnTo>
                      <a:pt x="271" y="102"/>
                    </a:lnTo>
                    <a:lnTo>
                      <a:pt x="272" y="104"/>
                    </a:lnTo>
                    <a:lnTo>
                      <a:pt x="272" y="106"/>
                    </a:lnTo>
                    <a:lnTo>
                      <a:pt x="271" y="106"/>
                    </a:lnTo>
                    <a:lnTo>
                      <a:pt x="272" y="108"/>
                    </a:lnTo>
                    <a:lnTo>
                      <a:pt x="271" y="108"/>
                    </a:lnTo>
                    <a:lnTo>
                      <a:pt x="271" y="110"/>
                    </a:lnTo>
                    <a:lnTo>
                      <a:pt x="271" y="108"/>
                    </a:lnTo>
                    <a:lnTo>
                      <a:pt x="271" y="110"/>
                    </a:lnTo>
                    <a:lnTo>
                      <a:pt x="272" y="112"/>
                    </a:lnTo>
                    <a:lnTo>
                      <a:pt x="274" y="112"/>
                    </a:lnTo>
                    <a:lnTo>
                      <a:pt x="272" y="113"/>
                    </a:lnTo>
                    <a:lnTo>
                      <a:pt x="272" y="115"/>
                    </a:lnTo>
                    <a:lnTo>
                      <a:pt x="272" y="117"/>
                    </a:lnTo>
                    <a:lnTo>
                      <a:pt x="274" y="119"/>
                    </a:lnTo>
                    <a:lnTo>
                      <a:pt x="274" y="121"/>
                    </a:lnTo>
                    <a:lnTo>
                      <a:pt x="276" y="125"/>
                    </a:lnTo>
                    <a:lnTo>
                      <a:pt x="276" y="127"/>
                    </a:lnTo>
                    <a:lnTo>
                      <a:pt x="276" y="129"/>
                    </a:lnTo>
                    <a:lnTo>
                      <a:pt x="274" y="129"/>
                    </a:lnTo>
                    <a:lnTo>
                      <a:pt x="272" y="131"/>
                    </a:lnTo>
                    <a:lnTo>
                      <a:pt x="272" y="133"/>
                    </a:lnTo>
                    <a:lnTo>
                      <a:pt x="271" y="135"/>
                    </a:lnTo>
                    <a:lnTo>
                      <a:pt x="269" y="135"/>
                    </a:lnTo>
                    <a:lnTo>
                      <a:pt x="269" y="137"/>
                    </a:lnTo>
                    <a:lnTo>
                      <a:pt x="271" y="137"/>
                    </a:lnTo>
                    <a:lnTo>
                      <a:pt x="271" y="138"/>
                    </a:lnTo>
                    <a:lnTo>
                      <a:pt x="272" y="138"/>
                    </a:lnTo>
                    <a:lnTo>
                      <a:pt x="272" y="140"/>
                    </a:lnTo>
                    <a:lnTo>
                      <a:pt x="272" y="138"/>
                    </a:lnTo>
                    <a:lnTo>
                      <a:pt x="274" y="138"/>
                    </a:lnTo>
                    <a:lnTo>
                      <a:pt x="276" y="138"/>
                    </a:lnTo>
                    <a:lnTo>
                      <a:pt x="276" y="140"/>
                    </a:lnTo>
                    <a:lnTo>
                      <a:pt x="278" y="140"/>
                    </a:lnTo>
                    <a:lnTo>
                      <a:pt x="278" y="138"/>
                    </a:lnTo>
                    <a:lnTo>
                      <a:pt x="278" y="140"/>
                    </a:lnTo>
                    <a:lnTo>
                      <a:pt x="280" y="140"/>
                    </a:lnTo>
                    <a:lnTo>
                      <a:pt x="278" y="140"/>
                    </a:lnTo>
                    <a:lnTo>
                      <a:pt x="282" y="142"/>
                    </a:lnTo>
                    <a:lnTo>
                      <a:pt x="282" y="140"/>
                    </a:lnTo>
                    <a:lnTo>
                      <a:pt x="284" y="140"/>
                    </a:lnTo>
                    <a:lnTo>
                      <a:pt x="284" y="138"/>
                    </a:lnTo>
                    <a:lnTo>
                      <a:pt x="284" y="137"/>
                    </a:lnTo>
                    <a:lnTo>
                      <a:pt x="286" y="137"/>
                    </a:lnTo>
                    <a:lnTo>
                      <a:pt x="284" y="135"/>
                    </a:lnTo>
                    <a:lnTo>
                      <a:pt x="286" y="135"/>
                    </a:lnTo>
                    <a:lnTo>
                      <a:pt x="288" y="135"/>
                    </a:lnTo>
                    <a:lnTo>
                      <a:pt x="288" y="133"/>
                    </a:lnTo>
                    <a:lnTo>
                      <a:pt x="288" y="131"/>
                    </a:lnTo>
                    <a:lnTo>
                      <a:pt x="290" y="131"/>
                    </a:lnTo>
                    <a:lnTo>
                      <a:pt x="288" y="131"/>
                    </a:lnTo>
                    <a:lnTo>
                      <a:pt x="290" y="127"/>
                    </a:lnTo>
                    <a:lnTo>
                      <a:pt x="292" y="127"/>
                    </a:lnTo>
                    <a:lnTo>
                      <a:pt x="292" y="125"/>
                    </a:lnTo>
                    <a:lnTo>
                      <a:pt x="294" y="123"/>
                    </a:lnTo>
                    <a:lnTo>
                      <a:pt x="294" y="121"/>
                    </a:lnTo>
                    <a:lnTo>
                      <a:pt x="295" y="121"/>
                    </a:lnTo>
                    <a:lnTo>
                      <a:pt x="295" y="119"/>
                    </a:lnTo>
                    <a:lnTo>
                      <a:pt x="299" y="119"/>
                    </a:lnTo>
                    <a:lnTo>
                      <a:pt x="303" y="117"/>
                    </a:lnTo>
                    <a:lnTo>
                      <a:pt x="305" y="119"/>
                    </a:lnTo>
                    <a:lnTo>
                      <a:pt x="307" y="121"/>
                    </a:lnTo>
                    <a:lnTo>
                      <a:pt x="307" y="123"/>
                    </a:lnTo>
                    <a:lnTo>
                      <a:pt x="309" y="123"/>
                    </a:lnTo>
                    <a:lnTo>
                      <a:pt x="311" y="121"/>
                    </a:lnTo>
                    <a:lnTo>
                      <a:pt x="311" y="119"/>
                    </a:lnTo>
                    <a:lnTo>
                      <a:pt x="313" y="1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399" name="Freeform 76"/>
              <p:cNvSpPr>
                <a:spLocks/>
              </p:cNvSpPr>
              <p:nvPr/>
            </p:nvSpPr>
            <p:spPr bwMode="auto">
              <a:xfrm>
                <a:off x="2575059" y="2918824"/>
                <a:ext cx="359612" cy="621146"/>
              </a:xfrm>
              <a:custGeom>
                <a:avLst/>
                <a:gdLst>
                  <a:gd name="T0" fmla="*/ 207 w 209"/>
                  <a:gd name="T1" fmla="*/ 152 h 361"/>
                  <a:gd name="T2" fmla="*/ 188 w 209"/>
                  <a:gd name="T3" fmla="*/ 173 h 361"/>
                  <a:gd name="T4" fmla="*/ 194 w 209"/>
                  <a:gd name="T5" fmla="*/ 171 h 361"/>
                  <a:gd name="T6" fmla="*/ 200 w 209"/>
                  <a:gd name="T7" fmla="*/ 175 h 361"/>
                  <a:gd name="T8" fmla="*/ 198 w 209"/>
                  <a:gd name="T9" fmla="*/ 194 h 361"/>
                  <a:gd name="T10" fmla="*/ 175 w 209"/>
                  <a:gd name="T11" fmla="*/ 198 h 361"/>
                  <a:gd name="T12" fmla="*/ 163 w 209"/>
                  <a:gd name="T13" fmla="*/ 215 h 361"/>
                  <a:gd name="T14" fmla="*/ 157 w 209"/>
                  <a:gd name="T15" fmla="*/ 223 h 361"/>
                  <a:gd name="T16" fmla="*/ 155 w 209"/>
                  <a:gd name="T17" fmla="*/ 236 h 361"/>
                  <a:gd name="T18" fmla="*/ 155 w 209"/>
                  <a:gd name="T19" fmla="*/ 254 h 361"/>
                  <a:gd name="T20" fmla="*/ 154 w 209"/>
                  <a:gd name="T21" fmla="*/ 271 h 361"/>
                  <a:gd name="T22" fmla="*/ 159 w 209"/>
                  <a:gd name="T23" fmla="*/ 279 h 361"/>
                  <a:gd name="T24" fmla="*/ 165 w 209"/>
                  <a:gd name="T25" fmla="*/ 290 h 361"/>
                  <a:gd name="T26" fmla="*/ 157 w 209"/>
                  <a:gd name="T27" fmla="*/ 313 h 361"/>
                  <a:gd name="T28" fmla="*/ 142 w 209"/>
                  <a:gd name="T29" fmla="*/ 334 h 361"/>
                  <a:gd name="T30" fmla="*/ 123 w 209"/>
                  <a:gd name="T31" fmla="*/ 342 h 361"/>
                  <a:gd name="T32" fmla="*/ 102 w 209"/>
                  <a:gd name="T33" fmla="*/ 361 h 361"/>
                  <a:gd name="T34" fmla="*/ 88 w 209"/>
                  <a:gd name="T35" fmla="*/ 346 h 361"/>
                  <a:gd name="T36" fmla="*/ 67 w 209"/>
                  <a:gd name="T37" fmla="*/ 348 h 361"/>
                  <a:gd name="T38" fmla="*/ 75 w 209"/>
                  <a:gd name="T39" fmla="*/ 332 h 361"/>
                  <a:gd name="T40" fmla="*/ 86 w 209"/>
                  <a:gd name="T41" fmla="*/ 317 h 361"/>
                  <a:gd name="T42" fmla="*/ 69 w 209"/>
                  <a:gd name="T43" fmla="*/ 319 h 361"/>
                  <a:gd name="T44" fmla="*/ 50 w 209"/>
                  <a:gd name="T45" fmla="*/ 309 h 361"/>
                  <a:gd name="T46" fmla="*/ 44 w 209"/>
                  <a:gd name="T47" fmla="*/ 307 h 361"/>
                  <a:gd name="T48" fmla="*/ 44 w 209"/>
                  <a:gd name="T49" fmla="*/ 288 h 361"/>
                  <a:gd name="T50" fmla="*/ 38 w 209"/>
                  <a:gd name="T51" fmla="*/ 294 h 361"/>
                  <a:gd name="T52" fmla="*/ 25 w 209"/>
                  <a:gd name="T53" fmla="*/ 288 h 361"/>
                  <a:gd name="T54" fmla="*/ 11 w 209"/>
                  <a:gd name="T55" fmla="*/ 290 h 361"/>
                  <a:gd name="T56" fmla="*/ 2 w 209"/>
                  <a:gd name="T57" fmla="*/ 277 h 361"/>
                  <a:gd name="T58" fmla="*/ 11 w 209"/>
                  <a:gd name="T59" fmla="*/ 265 h 361"/>
                  <a:gd name="T60" fmla="*/ 9 w 209"/>
                  <a:gd name="T61" fmla="*/ 248 h 361"/>
                  <a:gd name="T62" fmla="*/ 13 w 209"/>
                  <a:gd name="T63" fmla="*/ 229 h 361"/>
                  <a:gd name="T64" fmla="*/ 0 w 209"/>
                  <a:gd name="T65" fmla="*/ 211 h 361"/>
                  <a:gd name="T66" fmla="*/ 9 w 209"/>
                  <a:gd name="T67" fmla="*/ 198 h 361"/>
                  <a:gd name="T68" fmla="*/ 9 w 209"/>
                  <a:gd name="T69" fmla="*/ 183 h 361"/>
                  <a:gd name="T70" fmla="*/ 19 w 209"/>
                  <a:gd name="T71" fmla="*/ 175 h 361"/>
                  <a:gd name="T72" fmla="*/ 17 w 209"/>
                  <a:gd name="T73" fmla="*/ 171 h 361"/>
                  <a:gd name="T74" fmla="*/ 25 w 209"/>
                  <a:gd name="T75" fmla="*/ 152 h 361"/>
                  <a:gd name="T76" fmla="*/ 33 w 209"/>
                  <a:gd name="T77" fmla="*/ 144 h 361"/>
                  <a:gd name="T78" fmla="*/ 34 w 209"/>
                  <a:gd name="T79" fmla="*/ 134 h 361"/>
                  <a:gd name="T80" fmla="*/ 44 w 209"/>
                  <a:gd name="T81" fmla="*/ 125 h 361"/>
                  <a:gd name="T82" fmla="*/ 61 w 209"/>
                  <a:gd name="T83" fmla="*/ 121 h 361"/>
                  <a:gd name="T84" fmla="*/ 56 w 209"/>
                  <a:gd name="T85" fmla="*/ 90 h 361"/>
                  <a:gd name="T86" fmla="*/ 52 w 209"/>
                  <a:gd name="T87" fmla="*/ 77 h 361"/>
                  <a:gd name="T88" fmla="*/ 44 w 209"/>
                  <a:gd name="T89" fmla="*/ 77 h 361"/>
                  <a:gd name="T90" fmla="*/ 36 w 209"/>
                  <a:gd name="T91" fmla="*/ 83 h 361"/>
                  <a:gd name="T92" fmla="*/ 38 w 209"/>
                  <a:gd name="T93" fmla="*/ 67 h 361"/>
                  <a:gd name="T94" fmla="*/ 42 w 209"/>
                  <a:gd name="T95" fmla="*/ 46 h 361"/>
                  <a:gd name="T96" fmla="*/ 63 w 209"/>
                  <a:gd name="T97" fmla="*/ 4 h 361"/>
                  <a:gd name="T98" fmla="*/ 73 w 209"/>
                  <a:gd name="T99" fmla="*/ 4 h 361"/>
                  <a:gd name="T100" fmla="*/ 79 w 209"/>
                  <a:gd name="T101" fmla="*/ 11 h 361"/>
                  <a:gd name="T102" fmla="*/ 73 w 209"/>
                  <a:gd name="T103" fmla="*/ 33 h 361"/>
                  <a:gd name="T104" fmla="*/ 98 w 209"/>
                  <a:gd name="T105" fmla="*/ 40 h 361"/>
                  <a:gd name="T106" fmla="*/ 125 w 209"/>
                  <a:gd name="T107" fmla="*/ 44 h 361"/>
                  <a:gd name="T108" fmla="*/ 179 w 209"/>
                  <a:gd name="T109" fmla="*/ 42 h 361"/>
                  <a:gd name="T110" fmla="*/ 190 w 209"/>
                  <a:gd name="T111" fmla="*/ 31 h 361"/>
                  <a:gd name="T112" fmla="*/ 198 w 209"/>
                  <a:gd name="T113" fmla="*/ 65 h 361"/>
                  <a:gd name="T114" fmla="*/ 207 w 209"/>
                  <a:gd name="T115" fmla="*/ 11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361">
                    <a:moveTo>
                      <a:pt x="209" y="121"/>
                    </a:moveTo>
                    <a:lnTo>
                      <a:pt x="209" y="125"/>
                    </a:lnTo>
                    <a:lnTo>
                      <a:pt x="209" y="134"/>
                    </a:lnTo>
                    <a:lnTo>
                      <a:pt x="209" y="136"/>
                    </a:lnTo>
                    <a:lnTo>
                      <a:pt x="207" y="138"/>
                    </a:lnTo>
                    <a:lnTo>
                      <a:pt x="209" y="142"/>
                    </a:lnTo>
                    <a:lnTo>
                      <a:pt x="209" y="144"/>
                    </a:lnTo>
                    <a:lnTo>
                      <a:pt x="209" y="146"/>
                    </a:lnTo>
                    <a:lnTo>
                      <a:pt x="207" y="148"/>
                    </a:lnTo>
                    <a:lnTo>
                      <a:pt x="209" y="150"/>
                    </a:lnTo>
                    <a:lnTo>
                      <a:pt x="207" y="152"/>
                    </a:lnTo>
                    <a:lnTo>
                      <a:pt x="207" y="158"/>
                    </a:lnTo>
                    <a:lnTo>
                      <a:pt x="203" y="161"/>
                    </a:lnTo>
                    <a:lnTo>
                      <a:pt x="202" y="163"/>
                    </a:lnTo>
                    <a:lnTo>
                      <a:pt x="200" y="161"/>
                    </a:lnTo>
                    <a:lnTo>
                      <a:pt x="198" y="163"/>
                    </a:lnTo>
                    <a:lnTo>
                      <a:pt x="196" y="167"/>
                    </a:lnTo>
                    <a:lnTo>
                      <a:pt x="192" y="167"/>
                    </a:lnTo>
                    <a:lnTo>
                      <a:pt x="190" y="169"/>
                    </a:lnTo>
                    <a:lnTo>
                      <a:pt x="190" y="171"/>
                    </a:lnTo>
                    <a:lnTo>
                      <a:pt x="190" y="173"/>
                    </a:lnTo>
                    <a:lnTo>
                      <a:pt x="188" y="173"/>
                    </a:lnTo>
                    <a:lnTo>
                      <a:pt x="190" y="173"/>
                    </a:lnTo>
                    <a:lnTo>
                      <a:pt x="190" y="175"/>
                    </a:lnTo>
                    <a:lnTo>
                      <a:pt x="188" y="175"/>
                    </a:lnTo>
                    <a:lnTo>
                      <a:pt x="190" y="175"/>
                    </a:lnTo>
                    <a:lnTo>
                      <a:pt x="190" y="173"/>
                    </a:lnTo>
                    <a:lnTo>
                      <a:pt x="190" y="175"/>
                    </a:lnTo>
                    <a:lnTo>
                      <a:pt x="190" y="173"/>
                    </a:lnTo>
                    <a:lnTo>
                      <a:pt x="192" y="173"/>
                    </a:lnTo>
                    <a:lnTo>
                      <a:pt x="192" y="175"/>
                    </a:lnTo>
                    <a:lnTo>
                      <a:pt x="192" y="173"/>
                    </a:lnTo>
                    <a:lnTo>
                      <a:pt x="194" y="171"/>
                    </a:lnTo>
                    <a:lnTo>
                      <a:pt x="194" y="173"/>
                    </a:lnTo>
                    <a:lnTo>
                      <a:pt x="194" y="171"/>
                    </a:lnTo>
                    <a:lnTo>
                      <a:pt x="194" y="173"/>
                    </a:lnTo>
                    <a:lnTo>
                      <a:pt x="194" y="171"/>
                    </a:lnTo>
                    <a:lnTo>
                      <a:pt x="196" y="171"/>
                    </a:lnTo>
                    <a:lnTo>
                      <a:pt x="196" y="173"/>
                    </a:lnTo>
                    <a:lnTo>
                      <a:pt x="196" y="171"/>
                    </a:lnTo>
                    <a:lnTo>
                      <a:pt x="198" y="171"/>
                    </a:lnTo>
                    <a:lnTo>
                      <a:pt x="198" y="173"/>
                    </a:lnTo>
                    <a:lnTo>
                      <a:pt x="200" y="173"/>
                    </a:lnTo>
                    <a:lnTo>
                      <a:pt x="200" y="175"/>
                    </a:lnTo>
                    <a:lnTo>
                      <a:pt x="198" y="175"/>
                    </a:lnTo>
                    <a:lnTo>
                      <a:pt x="198" y="177"/>
                    </a:lnTo>
                    <a:lnTo>
                      <a:pt x="198" y="183"/>
                    </a:lnTo>
                    <a:lnTo>
                      <a:pt x="198" y="184"/>
                    </a:lnTo>
                    <a:lnTo>
                      <a:pt x="200" y="184"/>
                    </a:lnTo>
                    <a:lnTo>
                      <a:pt x="200" y="186"/>
                    </a:lnTo>
                    <a:lnTo>
                      <a:pt x="200" y="188"/>
                    </a:lnTo>
                    <a:lnTo>
                      <a:pt x="200" y="190"/>
                    </a:lnTo>
                    <a:lnTo>
                      <a:pt x="202" y="192"/>
                    </a:lnTo>
                    <a:lnTo>
                      <a:pt x="202" y="194"/>
                    </a:lnTo>
                    <a:lnTo>
                      <a:pt x="198" y="194"/>
                    </a:lnTo>
                    <a:lnTo>
                      <a:pt x="196" y="194"/>
                    </a:lnTo>
                    <a:lnTo>
                      <a:pt x="196" y="192"/>
                    </a:lnTo>
                    <a:lnTo>
                      <a:pt x="194" y="192"/>
                    </a:lnTo>
                    <a:lnTo>
                      <a:pt x="192" y="192"/>
                    </a:lnTo>
                    <a:lnTo>
                      <a:pt x="190" y="194"/>
                    </a:lnTo>
                    <a:lnTo>
                      <a:pt x="182" y="192"/>
                    </a:lnTo>
                    <a:lnTo>
                      <a:pt x="182" y="194"/>
                    </a:lnTo>
                    <a:lnTo>
                      <a:pt x="180" y="196"/>
                    </a:lnTo>
                    <a:lnTo>
                      <a:pt x="179" y="198"/>
                    </a:lnTo>
                    <a:lnTo>
                      <a:pt x="177" y="198"/>
                    </a:lnTo>
                    <a:lnTo>
                      <a:pt x="175" y="198"/>
                    </a:lnTo>
                    <a:lnTo>
                      <a:pt x="171" y="202"/>
                    </a:lnTo>
                    <a:lnTo>
                      <a:pt x="169" y="204"/>
                    </a:lnTo>
                    <a:lnTo>
                      <a:pt x="167" y="204"/>
                    </a:lnTo>
                    <a:lnTo>
                      <a:pt x="165" y="206"/>
                    </a:lnTo>
                    <a:lnTo>
                      <a:pt x="163" y="208"/>
                    </a:lnTo>
                    <a:lnTo>
                      <a:pt x="163" y="209"/>
                    </a:lnTo>
                    <a:lnTo>
                      <a:pt x="165" y="209"/>
                    </a:lnTo>
                    <a:lnTo>
                      <a:pt x="165" y="211"/>
                    </a:lnTo>
                    <a:lnTo>
                      <a:pt x="167" y="211"/>
                    </a:lnTo>
                    <a:lnTo>
                      <a:pt x="165" y="215"/>
                    </a:lnTo>
                    <a:lnTo>
                      <a:pt x="163" y="215"/>
                    </a:lnTo>
                    <a:lnTo>
                      <a:pt x="161" y="215"/>
                    </a:lnTo>
                    <a:lnTo>
                      <a:pt x="159" y="215"/>
                    </a:lnTo>
                    <a:lnTo>
                      <a:pt x="157" y="213"/>
                    </a:lnTo>
                    <a:lnTo>
                      <a:pt x="155" y="215"/>
                    </a:lnTo>
                    <a:lnTo>
                      <a:pt x="157" y="215"/>
                    </a:lnTo>
                    <a:lnTo>
                      <a:pt x="157" y="217"/>
                    </a:lnTo>
                    <a:lnTo>
                      <a:pt x="159" y="219"/>
                    </a:lnTo>
                    <a:lnTo>
                      <a:pt x="159" y="221"/>
                    </a:lnTo>
                    <a:lnTo>
                      <a:pt x="161" y="223"/>
                    </a:lnTo>
                    <a:lnTo>
                      <a:pt x="159" y="223"/>
                    </a:lnTo>
                    <a:lnTo>
                      <a:pt x="157" y="223"/>
                    </a:lnTo>
                    <a:lnTo>
                      <a:pt x="157" y="225"/>
                    </a:lnTo>
                    <a:lnTo>
                      <a:pt x="155" y="225"/>
                    </a:lnTo>
                    <a:lnTo>
                      <a:pt x="157" y="225"/>
                    </a:lnTo>
                    <a:lnTo>
                      <a:pt x="157" y="227"/>
                    </a:lnTo>
                    <a:lnTo>
                      <a:pt x="157" y="229"/>
                    </a:lnTo>
                    <a:lnTo>
                      <a:pt x="159" y="229"/>
                    </a:lnTo>
                    <a:lnTo>
                      <a:pt x="159" y="227"/>
                    </a:lnTo>
                    <a:lnTo>
                      <a:pt x="161" y="229"/>
                    </a:lnTo>
                    <a:lnTo>
                      <a:pt x="161" y="231"/>
                    </a:lnTo>
                    <a:lnTo>
                      <a:pt x="155" y="234"/>
                    </a:lnTo>
                    <a:lnTo>
                      <a:pt x="155" y="236"/>
                    </a:lnTo>
                    <a:lnTo>
                      <a:pt x="152" y="238"/>
                    </a:lnTo>
                    <a:lnTo>
                      <a:pt x="154" y="238"/>
                    </a:lnTo>
                    <a:lnTo>
                      <a:pt x="154" y="240"/>
                    </a:lnTo>
                    <a:lnTo>
                      <a:pt x="154" y="242"/>
                    </a:lnTo>
                    <a:lnTo>
                      <a:pt x="154" y="244"/>
                    </a:lnTo>
                    <a:lnTo>
                      <a:pt x="154" y="246"/>
                    </a:lnTo>
                    <a:lnTo>
                      <a:pt x="155" y="246"/>
                    </a:lnTo>
                    <a:lnTo>
                      <a:pt x="155" y="248"/>
                    </a:lnTo>
                    <a:lnTo>
                      <a:pt x="155" y="250"/>
                    </a:lnTo>
                    <a:lnTo>
                      <a:pt x="155" y="252"/>
                    </a:lnTo>
                    <a:lnTo>
                      <a:pt x="155" y="254"/>
                    </a:lnTo>
                    <a:lnTo>
                      <a:pt x="154" y="254"/>
                    </a:lnTo>
                    <a:lnTo>
                      <a:pt x="154" y="256"/>
                    </a:lnTo>
                    <a:lnTo>
                      <a:pt x="155" y="256"/>
                    </a:lnTo>
                    <a:lnTo>
                      <a:pt x="155" y="261"/>
                    </a:lnTo>
                    <a:lnTo>
                      <a:pt x="157" y="261"/>
                    </a:lnTo>
                    <a:lnTo>
                      <a:pt x="157" y="263"/>
                    </a:lnTo>
                    <a:lnTo>
                      <a:pt x="157" y="265"/>
                    </a:lnTo>
                    <a:lnTo>
                      <a:pt x="155" y="265"/>
                    </a:lnTo>
                    <a:lnTo>
                      <a:pt x="155" y="267"/>
                    </a:lnTo>
                    <a:lnTo>
                      <a:pt x="154" y="269"/>
                    </a:lnTo>
                    <a:lnTo>
                      <a:pt x="154" y="271"/>
                    </a:lnTo>
                    <a:lnTo>
                      <a:pt x="157" y="273"/>
                    </a:lnTo>
                    <a:lnTo>
                      <a:pt x="157" y="271"/>
                    </a:lnTo>
                    <a:lnTo>
                      <a:pt x="159" y="271"/>
                    </a:lnTo>
                    <a:lnTo>
                      <a:pt x="159" y="273"/>
                    </a:lnTo>
                    <a:lnTo>
                      <a:pt x="157" y="273"/>
                    </a:lnTo>
                    <a:lnTo>
                      <a:pt x="157" y="275"/>
                    </a:lnTo>
                    <a:lnTo>
                      <a:pt x="157" y="277"/>
                    </a:lnTo>
                    <a:lnTo>
                      <a:pt x="157" y="279"/>
                    </a:lnTo>
                    <a:lnTo>
                      <a:pt x="159" y="279"/>
                    </a:lnTo>
                    <a:lnTo>
                      <a:pt x="159" y="281"/>
                    </a:lnTo>
                    <a:lnTo>
                      <a:pt x="159" y="279"/>
                    </a:lnTo>
                    <a:lnTo>
                      <a:pt x="161" y="279"/>
                    </a:lnTo>
                    <a:lnTo>
                      <a:pt x="161" y="281"/>
                    </a:lnTo>
                    <a:lnTo>
                      <a:pt x="161" y="283"/>
                    </a:lnTo>
                    <a:lnTo>
                      <a:pt x="161" y="286"/>
                    </a:lnTo>
                    <a:lnTo>
                      <a:pt x="161" y="288"/>
                    </a:lnTo>
                    <a:lnTo>
                      <a:pt x="163" y="290"/>
                    </a:lnTo>
                    <a:lnTo>
                      <a:pt x="163" y="288"/>
                    </a:lnTo>
                    <a:lnTo>
                      <a:pt x="165" y="288"/>
                    </a:lnTo>
                    <a:lnTo>
                      <a:pt x="167" y="288"/>
                    </a:lnTo>
                    <a:lnTo>
                      <a:pt x="165" y="288"/>
                    </a:lnTo>
                    <a:lnTo>
                      <a:pt x="165" y="290"/>
                    </a:lnTo>
                    <a:lnTo>
                      <a:pt x="167" y="292"/>
                    </a:lnTo>
                    <a:lnTo>
                      <a:pt x="167" y="294"/>
                    </a:lnTo>
                    <a:lnTo>
                      <a:pt x="165" y="294"/>
                    </a:lnTo>
                    <a:lnTo>
                      <a:pt x="165" y="296"/>
                    </a:lnTo>
                    <a:lnTo>
                      <a:pt x="163" y="298"/>
                    </a:lnTo>
                    <a:lnTo>
                      <a:pt x="163" y="300"/>
                    </a:lnTo>
                    <a:lnTo>
                      <a:pt x="161" y="298"/>
                    </a:lnTo>
                    <a:lnTo>
                      <a:pt x="159" y="298"/>
                    </a:lnTo>
                    <a:lnTo>
                      <a:pt x="159" y="302"/>
                    </a:lnTo>
                    <a:lnTo>
                      <a:pt x="157" y="309"/>
                    </a:lnTo>
                    <a:lnTo>
                      <a:pt x="157" y="313"/>
                    </a:lnTo>
                    <a:lnTo>
                      <a:pt x="155" y="317"/>
                    </a:lnTo>
                    <a:lnTo>
                      <a:pt x="155" y="321"/>
                    </a:lnTo>
                    <a:lnTo>
                      <a:pt x="154" y="327"/>
                    </a:lnTo>
                    <a:lnTo>
                      <a:pt x="152" y="327"/>
                    </a:lnTo>
                    <a:lnTo>
                      <a:pt x="150" y="327"/>
                    </a:lnTo>
                    <a:lnTo>
                      <a:pt x="150" y="325"/>
                    </a:lnTo>
                    <a:lnTo>
                      <a:pt x="144" y="329"/>
                    </a:lnTo>
                    <a:lnTo>
                      <a:pt x="144" y="332"/>
                    </a:lnTo>
                    <a:lnTo>
                      <a:pt x="144" y="334"/>
                    </a:lnTo>
                    <a:lnTo>
                      <a:pt x="142" y="336"/>
                    </a:lnTo>
                    <a:lnTo>
                      <a:pt x="142" y="334"/>
                    </a:lnTo>
                    <a:lnTo>
                      <a:pt x="140" y="336"/>
                    </a:lnTo>
                    <a:lnTo>
                      <a:pt x="138" y="336"/>
                    </a:lnTo>
                    <a:lnTo>
                      <a:pt x="136" y="338"/>
                    </a:lnTo>
                    <a:lnTo>
                      <a:pt x="134" y="340"/>
                    </a:lnTo>
                    <a:lnTo>
                      <a:pt x="132" y="342"/>
                    </a:lnTo>
                    <a:lnTo>
                      <a:pt x="129" y="344"/>
                    </a:lnTo>
                    <a:lnTo>
                      <a:pt x="127" y="344"/>
                    </a:lnTo>
                    <a:lnTo>
                      <a:pt x="127" y="342"/>
                    </a:lnTo>
                    <a:lnTo>
                      <a:pt x="125" y="342"/>
                    </a:lnTo>
                    <a:lnTo>
                      <a:pt x="123" y="340"/>
                    </a:lnTo>
                    <a:lnTo>
                      <a:pt x="123" y="342"/>
                    </a:lnTo>
                    <a:lnTo>
                      <a:pt x="121" y="340"/>
                    </a:lnTo>
                    <a:lnTo>
                      <a:pt x="117" y="346"/>
                    </a:lnTo>
                    <a:lnTo>
                      <a:pt x="115" y="344"/>
                    </a:lnTo>
                    <a:lnTo>
                      <a:pt x="113" y="350"/>
                    </a:lnTo>
                    <a:lnTo>
                      <a:pt x="107" y="346"/>
                    </a:lnTo>
                    <a:lnTo>
                      <a:pt x="106" y="350"/>
                    </a:lnTo>
                    <a:lnTo>
                      <a:pt x="104" y="354"/>
                    </a:lnTo>
                    <a:lnTo>
                      <a:pt x="106" y="354"/>
                    </a:lnTo>
                    <a:lnTo>
                      <a:pt x="107" y="356"/>
                    </a:lnTo>
                    <a:lnTo>
                      <a:pt x="106" y="357"/>
                    </a:lnTo>
                    <a:lnTo>
                      <a:pt x="102" y="361"/>
                    </a:lnTo>
                    <a:lnTo>
                      <a:pt x="98" y="359"/>
                    </a:lnTo>
                    <a:lnTo>
                      <a:pt x="100" y="357"/>
                    </a:lnTo>
                    <a:lnTo>
                      <a:pt x="98" y="357"/>
                    </a:lnTo>
                    <a:lnTo>
                      <a:pt x="100" y="354"/>
                    </a:lnTo>
                    <a:lnTo>
                      <a:pt x="98" y="354"/>
                    </a:lnTo>
                    <a:lnTo>
                      <a:pt x="98" y="352"/>
                    </a:lnTo>
                    <a:lnTo>
                      <a:pt x="96" y="350"/>
                    </a:lnTo>
                    <a:lnTo>
                      <a:pt x="94" y="354"/>
                    </a:lnTo>
                    <a:lnTo>
                      <a:pt x="92" y="352"/>
                    </a:lnTo>
                    <a:lnTo>
                      <a:pt x="94" y="348"/>
                    </a:lnTo>
                    <a:lnTo>
                      <a:pt x="88" y="346"/>
                    </a:lnTo>
                    <a:lnTo>
                      <a:pt x="84" y="350"/>
                    </a:lnTo>
                    <a:lnTo>
                      <a:pt x="82" y="348"/>
                    </a:lnTo>
                    <a:lnTo>
                      <a:pt x="79" y="346"/>
                    </a:lnTo>
                    <a:lnTo>
                      <a:pt x="79" y="350"/>
                    </a:lnTo>
                    <a:lnTo>
                      <a:pt x="77" y="350"/>
                    </a:lnTo>
                    <a:lnTo>
                      <a:pt x="75" y="352"/>
                    </a:lnTo>
                    <a:lnTo>
                      <a:pt x="69" y="357"/>
                    </a:lnTo>
                    <a:lnTo>
                      <a:pt x="67" y="354"/>
                    </a:lnTo>
                    <a:lnTo>
                      <a:pt x="69" y="350"/>
                    </a:lnTo>
                    <a:lnTo>
                      <a:pt x="67" y="350"/>
                    </a:lnTo>
                    <a:lnTo>
                      <a:pt x="67" y="348"/>
                    </a:lnTo>
                    <a:lnTo>
                      <a:pt x="65" y="346"/>
                    </a:lnTo>
                    <a:lnTo>
                      <a:pt x="65" y="344"/>
                    </a:lnTo>
                    <a:lnTo>
                      <a:pt x="67" y="342"/>
                    </a:lnTo>
                    <a:lnTo>
                      <a:pt x="65" y="342"/>
                    </a:lnTo>
                    <a:lnTo>
                      <a:pt x="67" y="338"/>
                    </a:lnTo>
                    <a:lnTo>
                      <a:pt x="69" y="340"/>
                    </a:lnTo>
                    <a:lnTo>
                      <a:pt x="69" y="336"/>
                    </a:lnTo>
                    <a:lnTo>
                      <a:pt x="71" y="334"/>
                    </a:lnTo>
                    <a:lnTo>
                      <a:pt x="71" y="332"/>
                    </a:lnTo>
                    <a:lnTo>
                      <a:pt x="73" y="332"/>
                    </a:lnTo>
                    <a:lnTo>
                      <a:pt x="75" y="332"/>
                    </a:lnTo>
                    <a:lnTo>
                      <a:pt x="75" y="331"/>
                    </a:lnTo>
                    <a:lnTo>
                      <a:pt x="75" y="329"/>
                    </a:lnTo>
                    <a:lnTo>
                      <a:pt x="77" y="327"/>
                    </a:lnTo>
                    <a:lnTo>
                      <a:pt x="81" y="329"/>
                    </a:lnTo>
                    <a:lnTo>
                      <a:pt x="82" y="331"/>
                    </a:lnTo>
                    <a:lnTo>
                      <a:pt x="84" y="331"/>
                    </a:lnTo>
                    <a:lnTo>
                      <a:pt x="90" y="317"/>
                    </a:lnTo>
                    <a:lnTo>
                      <a:pt x="86" y="317"/>
                    </a:lnTo>
                    <a:lnTo>
                      <a:pt x="88" y="317"/>
                    </a:lnTo>
                    <a:lnTo>
                      <a:pt x="84" y="315"/>
                    </a:lnTo>
                    <a:lnTo>
                      <a:pt x="86" y="317"/>
                    </a:lnTo>
                    <a:lnTo>
                      <a:pt x="84" y="319"/>
                    </a:lnTo>
                    <a:lnTo>
                      <a:pt x="82" y="319"/>
                    </a:lnTo>
                    <a:lnTo>
                      <a:pt x="81" y="319"/>
                    </a:lnTo>
                    <a:lnTo>
                      <a:pt x="81" y="321"/>
                    </a:lnTo>
                    <a:lnTo>
                      <a:pt x="81" y="323"/>
                    </a:lnTo>
                    <a:lnTo>
                      <a:pt x="79" y="323"/>
                    </a:lnTo>
                    <a:lnTo>
                      <a:pt x="77" y="321"/>
                    </a:lnTo>
                    <a:lnTo>
                      <a:pt x="77" y="319"/>
                    </a:lnTo>
                    <a:lnTo>
                      <a:pt x="75" y="323"/>
                    </a:lnTo>
                    <a:lnTo>
                      <a:pt x="71" y="321"/>
                    </a:lnTo>
                    <a:lnTo>
                      <a:pt x="69" y="319"/>
                    </a:lnTo>
                    <a:lnTo>
                      <a:pt x="65" y="317"/>
                    </a:lnTo>
                    <a:lnTo>
                      <a:pt x="65" y="313"/>
                    </a:lnTo>
                    <a:lnTo>
                      <a:pt x="63" y="311"/>
                    </a:lnTo>
                    <a:lnTo>
                      <a:pt x="63" y="309"/>
                    </a:lnTo>
                    <a:lnTo>
                      <a:pt x="59" y="307"/>
                    </a:lnTo>
                    <a:lnTo>
                      <a:pt x="59" y="306"/>
                    </a:lnTo>
                    <a:lnTo>
                      <a:pt x="56" y="306"/>
                    </a:lnTo>
                    <a:lnTo>
                      <a:pt x="52" y="304"/>
                    </a:lnTo>
                    <a:lnTo>
                      <a:pt x="50" y="304"/>
                    </a:lnTo>
                    <a:lnTo>
                      <a:pt x="48" y="309"/>
                    </a:lnTo>
                    <a:lnTo>
                      <a:pt x="50" y="309"/>
                    </a:lnTo>
                    <a:lnTo>
                      <a:pt x="52" y="309"/>
                    </a:lnTo>
                    <a:lnTo>
                      <a:pt x="54" y="309"/>
                    </a:lnTo>
                    <a:lnTo>
                      <a:pt x="54" y="313"/>
                    </a:lnTo>
                    <a:lnTo>
                      <a:pt x="52" y="317"/>
                    </a:lnTo>
                    <a:lnTo>
                      <a:pt x="52" y="315"/>
                    </a:lnTo>
                    <a:lnTo>
                      <a:pt x="48" y="313"/>
                    </a:lnTo>
                    <a:lnTo>
                      <a:pt x="44" y="317"/>
                    </a:lnTo>
                    <a:lnTo>
                      <a:pt x="42" y="317"/>
                    </a:lnTo>
                    <a:lnTo>
                      <a:pt x="40" y="313"/>
                    </a:lnTo>
                    <a:lnTo>
                      <a:pt x="44" y="311"/>
                    </a:lnTo>
                    <a:lnTo>
                      <a:pt x="44" y="307"/>
                    </a:lnTo>
                    <a:lnTo>
                      <a:pt x="44" y="306"/>
                    </a:lnTo>
                    <a:lnTo>
                      <a:pt x="44" y="304"/>
                    </a:lnTo>
                    <a:lnTo>
                      <a:pt x="46" y="304"/>
                    </a:lnTo>
                    <a:lnTo>
                      <a:pt x="48" y="304"/>
                    </a:lnTo>
                    <a:lnTo>
                      <a:pt x="48" y="302"/>
                    </a:lnTo>
                    <a:lnTo>
                      <a:pt x="46" y="300"/>
                    </a:lnTo>
                    <a:lnTo>
                      <a:pt x="44" y="298"/>
                    </a:lnTo>
                    <a:lnTo>
                      <a:pt x="42" y="298"/>
                    </a:lnTo>
                    <a:lnTo>
                      <a:pt x="44" y="294"/>
                    </a:lnTo>
                    <a:lnTo>
                      <a:pt x="44" y="290"/>
                    </a:lnTo>
                    <a:lnTo>
                      <a:pt x="44" y="288"/>
                    </a:lnTo>
                    <a:lnTo>
                      <a:pt x="42" y="288"/>
                    </a:lnTo>
                    <a:lnTo>
                      <a:pt x="42" y="286"/>
                    </a:lnTo>
                    <a:lnTo>
                      <a:pt x="42" y="284"/>
                    </a:lnTo>
                    <a:lnTo>
                      <a:pt x="36" y="283"/>
                    </a:lnTo>
                    <a:lnTo>
                      <a:pt x="36" y="284"/>
                    </a:lnTo>
                    <a:lnTo>
                      <a:pt x="36" y="286"/>
                    </a:lnTo>
                    <a:lnTo>
                      <a:pt x="38" y="286"/>
                    </a:lnTo>
                    <a:lnTo>
                      <a:pt x="38" y="288"/>
                    </a:lnTo>
                    <a:lnTo>
                      <a:pt x="38" y="290"/>
                    </a:lnTo>
                    <a:lnTo>
                      <a:pt x="36" y="294"/>
                    </a:lnTo>
                    <a:lnTo>
                      <a:pt x="38" y="294"/>
                    </a:lnTo>
                    <a:lnTo>
                      <a:pt x="40" y="298"/>
                    </a:lnTo>
                    <a:lnTo>
                      <a:pt x="38" y="302"/>
                    </a:lnTo>
                    <a:lnTo>
                      <a:pt x="34" y="298"/>
                    </a:lnTo>
                    <a:lnTo>
                      <a:pt x="36" y="296"/>
                    </a:lnTo>
                    <a:lnTo>
                      <a:pt x="34" y="296"/>
                    </a:lnTo>
                    <a:lnTo>
                      <a:pt x="34" y="294"/>
                    </a:lnTo>
                    <a:lnTo>
                      <a:pt x="33" y="290"/>
                    </a:lnTo>
                    <a:lnTo>
                      <a:pt x="31" y="292"/>
                    </a:lnTo>
                    <a:lnTo>
                      <a:pt x="29" y="292"/>
                    </a:lnTo>
                    <a:lnTo>
                      <a:pt x="27" y="290"/>
                    </a:lnTo>
                    <a:lnTo>
                      <a:pt x="25" y="288"/>
                    </a:lnTo>
                    <a:lnTo>
                      <a:pt x="23" y="292"/>
                    </a:lnTo>
                    <a:lnTo>
                      <a:pt x="23" y="294"/>
                    </a:lnTo>
                    <a:lnTo>
                      <a:pt x="25" y="296"/>
                    </a:lnTo>
                    <a:lnTo>
                      <a:pt x="23" y="298"/>
                    </a:lnTo>
                    <a:lnTo>
                      <a:pt x="21" y="298"/>
                    </a:lnTo>
                    <a:lnTo>
                      <a:pt x="19" y="298"/>
                    </a:lnTo>
                    <a:lnTo>
                      <a:pt x="19" y="296"/>
                    </a:lnTo>
                    <a:lnTo>
                      <a:pt x="13" y="296"/>
                    </a:lnTo>
                    <a:lnTo>
                      <a:pt x="15" y="292"/>
                    </a:lnTo>
                    <a:lnTo>
                      <a:pt x="11" y="292"/>
                    </a:lnTo>
                    <a:lnTo>
                      <a:pt x="11" y="290"/>
                    </a:lnTo>
                    <a:lnTo>
                      <a:pt x="9" y="290"/>
                    </a:lnTo>
                    <a:lnTo>
                      <a:pt x="8" y="292"/>
                    </a:lnTo>
                    <a:lnTo>
                      <a:pt x="4" y="294"/>
                    </a:lnTo>
                    <a:lnTo>
                      <a:pt x="2" y="292"/>
                    </a:lnTo>
                    <a:lnTo>
                      <a:pt x="4" y="290"/>
                    </a:lnTo>
                    <a:lnTo>
                      <a:pt x="2" y="288"/>
                    </a:lnTo>
                    <a:lnTo>
                      <a:pt x="4" y="288"/>
                    </a:lnTo>
                    <a:lnTo>
                      <a:pt x="2" y="286"/>
                    </a:lnTo>
                    <a:lnTo>
                      <a:pt x="4" y="283"/>
                    </a:lnTo>
                    <a:lnTo>
                      <a:pt x="0" y="281"/>
                    </a:lnTo>
                    <a:lnTo>
                      <a:pt x="2" y="277"/>
                    </a:lnTo>
                    <a:lnTo>
                      <a:pt x="6" y="279"/>
                    </a:lnTo>
                    <a:lnTo>
                      <a:pt x="8" y="281"/>
                    </a:lnTo>
                    <a:lnTo>
                      <a:pt x="9" y="279"/>
                    </a:lnTo>
                    <a:lnTo>
                      <a:pt x="8" y="279"/>
                    </a:lnTo>
                    <a:lnTo>
                      <a:pt x="9" y="277"/>
                    </a:lnTo>
                    <a:lnTo>
                      <a:pt x="9" y="279"/>
                    </a:lnTo>
                    <a:lnTo>
                      <a:pt x="11" y="275"/>
                    </a:lnTo>
                    <a:lnTo>
                      <a:pt x="9" y="275"/>
                    </a:lnTo>
                    <a:lnTo>
                      <a:pt x="11" y="271"/>
                    </a:lnTo>
                    <a:lnTo>
                      <a:pt x="9" y="271"/>
                    </a:lnTo>
                    <a:lnTo>
                      <a:pt x="11" y="265"/>
                    </a:lnTo>
                    <a:lnTo>
                      <a:pt x="11" y="263"/>
                    </a:lnTo>
                    <a:lnTo>
                      <a:pt x="13" y="261"/>
                    </a:lnTo>
                    <a:lnTo>
                      <a:pt x="15" y="261"/>
                    </a:lnTo>
                    <a:lnTo>
                      <a:pt x="17" y="258"/>
                    </a:lnTo>
                    <a:lnTo>
                      <a:pt x="15" y="258"/>
                    </a:lnTo>
                    <a:lnTo>
                      <a:pt x="15" y="256"/>
                    </a:lnTo>
                    <a:lnTo>
                      <a:pt x="15" y="254"/>
                    </a:lnTo>
                    <a:lnTo>
                      <a:pt x="11" y="254"/>
                    </a:lnTo>
                    <a:lnTo>
                      <a:pt x="11" y="252"/>
                    </a:lnTo>
                    <a:lnTo>
                      <a:pt x="11" y="250"/>
                    </a:lnTo>
                    <a:lnTo>
                      <a:pt x="9" y="248"/>
                    </a:lnTo>
                    <a:lnTo>
                      <a:pt x="9" y="246"/>
                    </a:lnTo>
                    <a:lnTo>
                      <a:pt x="11" y="244"/>
                    </a:lnTo>
                    <a:lnTo>
                      <a:pt x="11" y="242"/>
                    </a:lnTo>
                    <a:lnTo>
                      <a:pt x="9" y="242"/>
                    </a:lnTo>
                    <a:lnTo>
                      <a:pt x="9" y="240"/>
                    </a:lnTo>
                    <a:lnTo>
                      <a:pt x="11" y="238"/>
                    </a:lnTo>
                    <a:lnTo>
                      <a:pt x="13" y="234"/>
                    </a:lnTo>
                    <a:lnTo>
                      <a:pt x="11" y="234"/>
                    </a:lnTo>
                    <a:lnTo>
                      <a:pt x="13" y="234"/>
                    </a:lnTo>
                    <a:lnTo>
                      <a:pt x="13" y="233"/>
                    </a:lnTo>
                    <a:lnTo>
                      <a:pt x="13" y="229"/>
                    </a:lnTo>
                    <a:lnTo>
                      <a:pt x="15" y="227"/>
                    </a:lnTo>
                    <a:lnTo>
                      <a:pt x="13" y="227"/>
                    </a:lnTo>
                    <a:lnTo>
                      <a:pt x="13" y="223"/>
                    </a:lnTo>
                    <a:lnTo>
                      <a:pt x="13" y="221"/>
                    </a:lnTo>
                    <a:lnTo>
                      <a:pt x="11" y="221"/>
                    </a:lnTo>
                    <a:lnTo>
                      <a:pt x="11" y="213"/>
                    </a:lnTo>
                    <a:lnTo>
                      <a:pt x="11" y="211"/>
                    </a:lnTo>
                    <a:lnTo>
                      <a:pt x="8" y="211"/>
                    </a:lnTo>
                    <a:lnTo>
                      <a:pt x="6" y="213"/>
                    </a:lnTo>
                    <a:lnTo>
                      <a:pt x="2" y="211"/>
                    </a:lnTo>
                    <a:lnTo>
                      <a:pt x="0" y="211"/>
                    </a:lnTo>
                    <a:lnTo>
                      <a:pt x="0" y="209"/>
                    </a:lnTo>
                    <a:lnTo>
                      <a:pt x="2" y="209"/>
                    </a:lnTo>
                    <a:lnTo>
                      <a:pt x="2" y="208"/>
                    </a:lnTo>
                    <a:lnTo>
                      <a:pt x="2" y="206"/>
                    </a:lnTo>
                    <a:lnTo>
                      <a:pt x="2" y="204"/>
                    </a:lnTo>
                    <a:lnTo>
                      <a:pt x="2" y="202"/>
                    </a:lnTo>
                    <a:lnTo>
                      <a:pt x="4" y="200"/>
                    </a:lnTo>
                    <a:lnTo>
                      <a:pt x="6" y="196"/>
                    </a:lnTo>
                    <a:lnTo>
                      <a:pt x="8" y="196"/>
                    </a:lnTo>
                    <a:lnTo>
                      <a:pt x="9" y="196"/>
                    </a:lnTo>
                    <a:lnTo>
                      <a:pt x="9" y="198"/>
                    </a:lnTo>
                    <a:lnTo>
                      <a:pt x="11" y="198"/>
                    </a:lnTo>
                    <a:lnTo>
                      <a:pt x="11" y="196"/>
                    </a:lnTo>
                    <a:lnTo>
                      <a:pt x="13" y="194"/>
                    </a:lnTo>
                    <a:lnTo>
                      <a:pt x="13" y="192"/>
                    </a:lnTo>
                    <a:lnTo>
                      <a:pt x="15" y="192"/>
                    </a:lnTo>
                    <a:lnTo>
                      <a:pt x="15" y="190"/>
                    </a:lnTo>
                    <a:lnTo>
                      <a:pt x="13" y="188"/>
                    </a:lnTo>
                    <a:lnTo>
                      <a:pt x="11" y="188"/>
                    </a:lnTo>
                    <a:lnTo>
                      <a:pt x="9" y="186"/>
                    </a:lnTo>
                    <a:lnTo>
                      <a:pt x="9" y="184"/>
                    </a:lnTo>
                    <a:lnTo>
                      <a:pt x="9" y="183"/>
                    </a:lnTo>
                    <a:lnTo>
                      <a:pt x="9" y="181"/>
                    </a:lnTo>
                    <a:lnTo>
                      <a:pt x="11" y="181"/>
                    </a:lnTo>
                    <a:lnTo>
                      <a:pt x="11" y="179"/>
                    </a:lnTo>
                    <a:lnTo>
                      <a:pt x="13" y="179"/>
                    </a:lnTo>
                    <a:lnTo>
                      <a:pt x="11" y="179"/>
                    </a:lnTo>
                    <a:lnTo>
                      <a:pt x="11" y="177"/>
                    </a:lnTo>
                    <a:lnTo>
                      <a:pt x="13" y="177"/>
                    </a:lnTo>
                    <a:lnTo>
                      <a:pt x="15" y="177"/>
                    </a:lnTo>
                    <a:lnTo>
                      <a:pt x="17" y="177"/>
                    </a:lnTo>
                    <a:lnTo>
                      <a:pt x="19" y="177"/>
                    </a:lnTo>
                    <a:lnTo>
                      <a:pt x="19" y="175"/>
                    </a:lnTo>
                    <a:lnTo>
                      <a:pt x="19" y="173"/>
                    </a:lnTo>
                    <a:lnTo>
                      <a:pt x="17" y="173"/>
                    </a:lnTo>
                    <a:lnTo>
                      <a:pt x="15" y="173"/>
                    </a:lnTo>
                    <a:lnTo>
                      <a:pt x="13" y="173"/>
                    </a:lnTo>
                    <a:lnTo>
                      <a:pt x="13" y="175"/>
                    </a:lnTo>
                    <a:lnTo>
                      <a:pt x="11" y="173"/>
                    </a:lnTo>
                    <a:lnTo>
                      <a:pt x="9" y="173"/>
                    </a:lnTo>
                    <a:lnTo>
                      <a:pt x="11" y="171"/>
                    </a:lnTo>
                    <a:lnTo>
                      <a:pt x="11" y="169"/>
                    </a:lnTo>
                    <a:lnTo>
                      <a:pt x="15" y="169"/>
                    </a:lnTo>
                    <a:lnTo>
                      <a:pt x="17" y="171"/>
                    </a:lnTo>
                    <a:lnTo>
                      <a:pt x="21" y="171"/>
                    </a:lnTo>
                    <a:lnTo>
                      <a:pt x="23" y="171"/>
                    </a:lnTo>
                    <a:lnTo>
                      <a:pt x="25" y="169"/>
                    </a:lnTo>
                    <a:lnTo>
                      <a:pt x="27" y="163"/>
                    </a:lnTo>
                    <a:lnTo>
                      <a:pt x="27" y="161"/>
                    </a:lnTo>
                    <a:lnTo>
                      <a:pt x="29" y="159"/>
                    </a:lnTo>
                    <a:lnTo>
                      <a:pt x="29" y="158"/>
                    </a:lnTo>
                    <a:lnTo>
                      <a:pt x="29" y="156"/>
                    </a:lnTo>
                    <a:lnTo>
                      <a:pt x="27" y="156"/>
                    </a:lnTo>
                    <a:lnTo>
                      <a:pt x="27" y="154"/>
                    </a:lnTo>
                    <a:lnTo>
                      <a:pt x="25" y="152"/>
                    </a:lnTo>
                    <a:lnTo>
                      <a:pt x="27" y="152"/>
                    </a:lnTo>
                    <a:lnTo>
                      <a:pt x="27" y="150"/>
                    </a:lnTo>
                    <a:lnTo>
                      <a:pt x="25" y="150"/>
                    </a:lnTo>
                    <a:lnTo>
                      <a:pt x="25" y="152"/>
                    </a:lnTo>
                    <a:lnTo>
                      <a:pt x="25" y="150"/>
                    </a:lnTo>
                    <a:lnTo>
                      <a:pt x="25" y="148"/>
                    </a:lnTo>
                    <a:lnTo>
                      <a:pt x="27" y="148"/>
                    </a:lnTo>
                    <a:lnTo>
                      <a:pt x="29" y="148"/>
                    </a:lnTo>
                    <a:lnTo>
                      <a:pt x="31" y="146"/>
                    </a:lnTo>
                    <a:lnTo>
                      <a:pt x="33" y="146"/>
                    </a:lnTo>
                    <a:lnTo>
                      <a:pt x="33" y="144"/>
                    </a:lnTo>
                    <a:lnTo>
                      <a:pt x="34" y="142"/>
                    </a:lnTo>
                    <a:lnTo>
                      <a:pt x="34" y="140"/>
                    </a:lnTo>
                    <a:lnTo>
                      <a:pt x="33" y="140"/>
                    </a:lnTo>
                    <a:lnTo>
                      <a:pt x="33" y="138"/>
                    </a:lnTo>
                    <a:lnTo>
                      <a:pt x="33" y="136"/>
                    </a:lnTo>
                    <a:lnTo>
                      <a:pt x="31" y="136"/>
                    </a:lnTo>
                    <a:lnTo>
                      <a:pt x="31" y="138"/>
                    </a:lnTo>
                    <a:lnTo>
                      <a:pt x="29" y="136"/>
                    </a:lnTo>
                    <a:lnTo>
                      <a:pt x="31" y="134"/>
                    </a:lnTo>
                    <a:lnTo>
                      <a:pt x="33" y="134"/>
                    </a:lnTo>
                    <a:lnTo>
                      <a:pt x="34" y="134"/>
                    </a:lnTo>
                    <a:lnTo>
                      <a:pt x="34" y="136"/>
                    </a:lnTo>
                    <a:lnTo>
                      <a:pt x="36" y="136"/>
                    </a:lnTo>
                    <a:lnTo>
                      <a:pt x="38" y="133"/>
                    </a:lnTo>
                    <a:lnTo>
                      <a:pt x="40" y="133"/>
                    </a:lnTo>
                    <a:lnTo>
                      <a:pt x="42" y="131"/>
                    </a:lnTo>
                    <a:lnTo>
                      <a:pt x="44" y="127"/>
                    </a:lnTo>
                    <a:lnTo>
                      <a:pt x="40" y="125"/>
                    </a:lnTo>
                    <a:lnTo>
                      <a:pt x="42" y="121"/>
                    </a:lnTo>
                    <a:lnTo>
                      <a:pt x="44" y="121"/>
                    </a:lnTo>
                    <a:lnTo>
                      <a:pt x="44" y="123"/>
                    </a:lnTo>
                    <a:lnTo>
                      <a:pt x="44" y="125"/>
                    </a:lnTo>
                    <a:lnTo>
                      <a:pt x="46" y="125"/>
                    </a:lnTo>
                    <a:lnTo>
                      <a:pt x="48" y="125"/>
                    </a:lnTo>
                    <a:lnTo>
                      <a:pt x="50" y="127"/>
                    </a:lnTo>
                    <a:lnTo>
                      <a:pt x="52" y="127"/>
                    </a:lnTo>
                    <a:lnTo>
                      <a:pt x="54" y="125"/>
                    </a:lnTo>
                    <a:lnTo>
                      <a:pt x="56" y="125"/>
                    </a:lnTo>
                    <a:lnTo>
                      <a:pt x="57" y="127"/>
                    </a:lnTo>
                    <a:lnTo>
                      <a:pt x="59" y="125"/>
                    </a:lnTo>
                    <a:lnTo>
                      <a:pt x="59" y="123"/>
                    </a:lnTo>
                    <a:lnTo>
                      <a:pt x="59" y="121"/>
                    </a:lnTo>
                    <a:lnTo>
                      <a:pt x="61" y="121"/>
                    </a:lnTo>
                    <a:lnTo>
                      <a:pt x="63" y="121"/>
                    </a:lnTo>
                    <a:lnTo>
                      <a:pt x="63" y="119"/>
                    </a:lnTo>
                    <a:lnTo>
                      <a:pt x="63" y="113"/>
                    </a:lnTo>
                    <a:lnTo>
                      <a:pt x="63" y="111"/>
                    </a:lnTo>
                    <a:lnTo>
                      <a:pt x="61" y="108"/>
                    </a:lnTo>
                    <a:lnTo>
                      <a:pt x="57" y="100"/>
                    </a:lnTo>
                    <a:lnTo>
                      <a:pt x="57" y="98"/>
                    </a:lnTo>
                    <a:lnTo>
                      <a:pt x="57" y="96"/>
                    </a:lnTo>
                    <a:lnTo>
                      <a:pt x="56" y="94"/>
                    </a:lnTo>
                    <a:lnTo>
                      <a:pt x="56" y="92"/>
                    </a:lnTo>
                    <a:lnTo>
                      <a:pt x="56" y="90"/>
                    </a:lnTo>
                    <a:lnTo>
                      <a:pt x="56" y="88"/>
                    </a:lnTo>
                    <a:lnTo>
                      <a:pt x="54" y="88"/>
                    </a:lnTo>
                    <a:lnTo>
                      <a:pt x="52" y="88"/>
                    </a:lnTo>
                    <a:lnTo>
                      <a:pt x="52" y="86"/>
                    </a:lnTo>
                    <a:lnTo>
                      <a:pt x="52" y="84"/>
                    </a:lnTo>
                    <a:lnTo>
                      <a:pt x="54" y="84"/>
                    </a:lnTo>
                    <a:lnTo>
                      <a:pt x="54" y="83"/>
                    </a:lnTo>
                    <a:lnTo>
                      <a:pt x="52" y="83"/>
                    </a:lnTo>
                    <a:lnTo>
                      <a:pt x="54" y="79"/>
                    </a:lnTo>
                    <a:lnTo>
                      <a:pt x="54" y="77"/>
                    </a:lnTo>
                    <a:lnTo>
                      <a:pt x="52" y="77"/>
                    </a:lnTo>
                    <a:lnTo>
                      <a:pt x="52" y="79"/>
                    </a:lnTo>
                    <a:lnTo>
                      <a:pt x="52" y="77"/>
                    </a:lnTo>
                    <a:lnTo>
                      <a:pt x="52" y="75"/>
                    </a:lnTo>
                    <a:lnTo>
                      <a:pt x="50" y="75"/>
                    </a:lnTo>
                    <a:lnTo>
                      <a:pt x="50" y="77"/>
                    </a:lnTo>
                    <a:lnTo>
                      <a:pt x="48" y="77"/>
                    </a:lnTo>
                    <a:lnTo>
                      <a:pt x="48" y="75"/>
                    </a:lnTo>
                    <a:lnTo>
                      <a:pt x="46" y="75"/>
                    </a:lnTo>
                    <a:lnTo>
                      <a:pt x="46" y="77"/>
                    </a:lnTo>
                    <a:lnTo>
                      <a:pt x="44" y="75"/>
                    </a:lnTo>
                    <a:lnTo>
                      <a:pt x="44" y="77"/>
                    </a:lnTo>
                    <a:lnTo>
                      <a:pt x="44" y="79"/>
                    </a:lnTo>
                    <a:lnTo>
                      <a:pt x="42" y="77"/>
                    </a:lnTo>
                    <a:lnTo>
                      <a:pt x="42" y="79"/>
                    </a:lnTo>
                    <a:lnTo>
                      <a:pt x="44" y="81"/>
                    </a:lnTo>
                    <a:lnTo>
                      <a:pt x="42" y="81"/>
                    </a:lnTo>
                    <a:lnTo>
                      <a:pt x="42" y="83"/>
                    </a:lnTo>
                    <a:lnTo>
                      <a:pt x="40" y="83"/>
                    </a:lnTo>
                    <a:lnTo>
                      <a:pt x="40" y="84"/>
                    </a:lnTo>
                    <a:lnTo>
                      <a:pt x="38" y="84"/>
                    </a:lnTo>
                    <a:lnTo>
                      <a:pt x="36" y="84"/>
                    </a:lnTo>
                    <a:lnTo>
                      <a:pt x="36" y="83"/>
                    </a:lnTo>
                    <a:lnTo>
                      <a:pt x="38" y="83"/>
                    </a:lnTo>
                    <a:lnTo>
                      <a:pt x="38" y="81"/>
                    </a:lnTo>
                    <a:lnTo>
                      <a:pt x="38" y="79"/>
                    </a:lnTo>
                    <a:lnTo>
                      <a:pt x="36" y="79"/>
                    </a:lnTo>
                    <a:lnTo>
                      <a:pt x="34" y="79"/>
                    </a:lnTo>
                    <a:lnTo>
                      <a:pt x="33" y="75"/>
                    </a:lnTo>
                    <a:lnTo>
                      <a:pt x="33" y="73"/>
                    </a:lnTo>
                    <a:lnTo>
                      <a:pt x="33" y="71"/>
                    </a:lnTo>
                    <a:lnTo>
                      <a:pt x="34" y="69"/>
                    </a:lnTo>
                    <a:lnTo>
                      <a:pt x="36" y="69"/>
                    </a:lnTo>
                    <a:lnTo>
                      <a:pt x="38" y="67"/>
                    </a:lnTo>
                    <a:lnTo>
                      <a:pt x="40" y="67"/>
                    </a:lnTo>
                    <a:lnTo>
                      <a:pt x="40" y="65"/>
                    </a:lnTo>
                    <a:lnTo>
                      <a:pt x="42" y="65"/>
                    </a:lnTo>
                    <a:lnTo>
                      <a:pt x="44" y="65"/>
                    </a:lnTo>
                    <a:lnTo>
                      <a:pt x="44" y="63"/>
                    </a:lnTo>
                    <a:lnTo>
                      <a:pt x="46" y="61"/>
                    </a:lnTo>
                    <a:lnTo>
                      <a:pt x="44" y="59"/>
                    </a:lnTo>
                    <a:lnTo>
                      <a:pt x="42" y="59"/>
                    </a:lnTo>
                    <a:lnTo>
                      <a:pt x="44" y="50"/>
                    </a:lnTo>
                    <a:lnTo>
                      <a:pt x="42" y="48"/>
                    </a:lnTo>
                    <a:lnTo>
                      <a:pt x="42" y="46"/>
                    </a:lnTo>
                    <a:lnTo>
                      <a:pt x="40" y="44"/>
                    </a:lnTo>
                    <a:lnTo>
                      <a:pt x="42" y="42"/>
                    </a:lnTo>
                    <a:lnTo>
                      <a:pt x="42" y="40"/>
                    </a:lnTo>
                    <a:lnTo>
                      <a:pt x="42" y="38"/>
                    </a:lnTo>
                    <a:lnTo>
                      <a:pt x="42" y="36"/>
                    </a:lnTo>
                    <a:lnTo>
                      <a:pt x="40" y="36"/>
                    </a:lnTo>
                    <a:lnTo>
                      <a:pt x="42" y="35"/>
                    </a:lnTo>
                    <a:lnTo>
                      <a:pt x="44" y="35"/>
                    </a:lnTo>
                    <a:lnTo>
                      <a:pt x="46" y="33"/>
                    </a:lnTo>
                    <a:lnTo>
                      <a:pt x="50" y="25"/>
                    </a:lnTo>
                    <a:lnTo>
                      <a:pt x="63" y="4"/>
                    </a:lnTo>
                    <a:lnTo>
                      <a:pt x="63" y="2"/>
                    </a:lnTo>
                    <a:lnTo>
                      <a:pt x="65" y="2"/>
                    </a:lnTo>
                    <a:lnTo>
                      <a:pt x="63" y="2"/>
                    </a:lnTo>
                    <a:lnTo>
                      <a:pt x="65" y="2"/>
                    </a:lnTo>
                    <a:lnTo>
                      <a:pt x="65" y="0"/>
                    </a:lnTo>
                    <a:lnTo>
                      <a:pt x="67" y="0"/>
                    </a:lnTo>
                    <a:lnTo>
                      <a:pt x="69" y="0"/>
                    </a:lnTo>
                    <a:lnTo>
                      <a:pt x="69" y="2"/>
                    </a:lnTo>
                    <a:lnTo>
                      <a:pt x="71" y="2"/>
                    </a:lnTo>
                    <a:lnTo>
                      <a:pt x="73" y="2"/>
                    </a:lnTo>
                    <a:lnTo>
                      <a:pt x="73" y="4"/>
                    </a:lnTo>
                    <a:lnTo>
                      <a:pt x="73" y="2"/>
                    </a:lnTo>
                    <a:lnTo>
                      <a:pt x="73" y="4"/>
                    </a:lnTo>
                    <a:lnTo>
                      <a:pt x="73" y="6"/>
                    </a:lnTo>
                    <a:lnTo>
                      <a:pt x="73" y="4"/>
                    </a:lnTo>
                    <a:lnTo>
                      <a:pt x="73" y="6"/>
                    </a:lnTo>
                    <a:lnTo>
                      <a:pt x="73" y="8"/>
                    </a:lnTo>
                    <a:lnTo>
                      <a:pt x="75" y="8"/>
                    </a:lnTo>
                    <a:lnTo>
                      <a:pt x="75" y="10"/>
                    </a:lnTo>
                    <a:lnTo>
                      <a:pt x="77" y="10"/>
                    </a:lnTo>
                    <a:lnTo>
                      <a:pt x="77" y="11"/>
                    </a:lnTo>
                    <a:lnTo>
                      <a:pt x="79" y="11"/>
                    </a:lnTo>
                    <a:lnTo>
                      <a:pt x="77" y="13"/>
                    </a:lnTo>
                    <a:lnTo>
                      <a:pt x="77" y="15"/>
                    </a:lnTo>
                    <a:lnTo>
                      <a:pt x="75" y="15"/>
                    </a:lnTo>
                    <a:lnTo>
                      <a:pt x="73" y="21"/>
                    </a:lnTo>
                    <a:lnTo>
                      <a:pt x="71" y="27"/>
                    </a:lnTo>
                    <a:lnTo>
                      <a:pt x="71" y="29"/>
                    </a:lnTo>
                    <a:lnTo>
                      <a:pt x="71" y="31"/>
                    </a:lnTo>
                    <a:lnTo>
                      <a:pt x="69" y="31"/>
                    </a:lnTo>
                    <a:lnTo>
                      <a:pt x="69" y="33"/>
                    </a:lnTo>
                    <a:lnTo>
                      <a:pt x="71" y="33"/>
                    </a:lnTo>
                    <a:lnTo>
                      <a:pt x="73" y="33"/>
                    </a:lnTo>
                    <a:lnTo>
                      <a:pt x="75" y="33"/>
                    </a:lnTo>
                    <a:lnTo>
                      <a:pt x="75" y="35"/>
                    </a:lnTo>
                    <a:lnTo>
                      <a:pt x="77" y="35"/>
                    </a:lnTo>
                    <a:lnTo>
                      <a:pt x="79" y="35"/>
                    </a:lnTo>
                    <a:lnTo>
                      <a:pt x="81" y="35"/>
                    </a:lnTo>
                    <a:lnTo>
                      <a:pt x="90" y="35"/>
                    </a:lnTo>
                    <a:lnTo>
                      <a:pt x="94" y="35"/>
                    </a:lnTo>
                    <a:lnTo>
                      <a:pt x="96" y="36"/>
                    </a:lnTo>
                    <a:lnTo>
                      <a:pt x="96" y="38"/>
                    </a:lnTo>
                    <a:lnTo>
                      <a:pt x="96" y="40"/>
                    </a:lnTo>
                    <a:lnTo>
                      <a:pt x="98" y="40"/>
                    </a:lnTo>
                    <a:lnTo>
                      <a:pt x="98" y="42"/>
                    </a:lnTo>
                    <a:lnTo>
                      <a:pt x="102" y="44"/>
                    </a:lnTo>
                    <a:lnTo>
                      <a:pt x="107" y="46"/>
                    </a:lnTo>
                    <a:lnTo>
                      <a:pt x="109" y="46"/>
                    </a:lnTo>
                    <a:lnTo>
                      <a:pt x="117" y="48"/>
                    </a:lnTo>
                    <a:lnTo>
                      <a:pt x="119" y="48"/>
                    </a:lnTo>
                    <a:lnTo>
                      <a:pt x="121" y="48"/>
                    </a:lnTo>
                    <a:lnTo>
                      <a:pt x="121" y="46"/>
                    </a:lnTo>
                    <a:lnTo>
                      <a:pt x="123" y="46"/>
                    </a:lnTo>
                    <a:lnTo>
                      <a:pt x="123" y="44"/>
                    </a:lnTo>
                    <a:lnTo>
                      <a:pt x="125" y="44"/>
                    </a:lnTo>
                    <a:lnTo>
                      <a:pt x="130" y="40"/>
                    </a:lnTo>
                    <a:lnTo>
                      <a:pt x="132" y="40"/>
                    </a:lnTo>
                    <a:lnTo>
                      <a:pt x="140" y="44"/>
                    </a:lnTo>
                    <a:lnTo>
                      <a:pt x="163" y="48"/>
                    </a:lnTo>
                    <a:lnTo>
                      <a:pt x="167" y="46"/>
                    </a:lnTo>
                    <a:lnTo>
                      <a:pt x="169" y="44"/>
                    </a:lnTo>
                    <a:lnTo>
                      <a:pt x="171" y="44"/>
                    </a:lnTo>
                    <a:lnTo>
                      <a:pt x="173" y="42"/>
                    </a:lnTo>
                    <a:lnTo>
                      <a:pt x="175" y="42"/>
                    </a:lnTo>
                    <a:lnTo>
                      <a:pt x="177" y="42"/>
                    </a:lnTo>
                    <a:lnTo>
                      <a:pt x="179" y="42"/>
                    </a:lnTo>
                    <a:lnTo>
                      <a:pt x="179" y="40"/>
                    </a:lnTo>
                    <a:lnTo>
                      <a:pt x="177" y="40"/>
                    </a:lnTo>
                    <a:lnTo>
                      <a:pt x="179" y="40"/>
                    </a:lnTo>
                    <a:lnTo>
                      <a:pt x="179" y="38"/>
                    </a:lnTo>
                    <a:lnTo>
                      <a:pt x="180" y="38"/>
                    </a:lnTo>
                    <a:lnTo>
                      <a:pt x="180" y="36"/>
                    </a:lnTo>
                    <a:lnTo>
                      <a:pt x="184" y="35"/>
                    </a:lnTo>
                    <a:lnTo>
                      <a:pt x="186" y="35"/>
                    </a:lnTo>
                    <a:lnTo>
                      <a:pt x="188" y="35"/>
                    </a:lnTo>
                    <a:lnTo>
                      <a:pt x="188" y="33"/>
                    </a:lnTo>
                    <a:lnTo>
                      <a:pt x="190" y="31"/>
                    </a:lnTo>
                    <a:lnTo>
                      <a:pt x="190" y="29"/>
                    </a:lnTo>
                    <a:lnTo>
                      <a:pt x="194" y="27"/>
                    </a:lnTo>
                    <a:lnTo>
                      <a:pt x="196" y="25"/>
                    </a:lnTo>
                    <a:lnTo>
                      <a:pt x="202" y="35"/>
                    </a:lnTo>
                    <a:lnTo>
                      <a:pt x="196" y="38"/>
                    </a:lnTo>
                    <a:lnTo>
                      <a:pt x="194" y="38"/>
                    </a:lnTo>
                    <a:lnTo>
                      <a:pt x="192" y="40"/>
                    </a:lnTo>
                    <a:lnTo>
                      <a:pt x="192" y="44"/>
                    </a:lnTo>
                    <a:lnTo>
                      <a:pt x="196" y="52"/>
                    </a:lnTo>
                    <a:lnTo>
                      <a:pt x="188" y="56"/>
                    </a:lnTo>
                    <a:lnTo>
                      <a:pt x="198" y="65"/>
                    </a:lnTo>
                    <a:lnTo>
                      <a:pt x="200" y="67"/>
                    </a:lnTo>
                    <a:lnTo>
                      <a:pt x="202" y="71"/>
                    </a:lnTo>
                    <a:lnTo>
                      <a:pt x="200" y="79"/>
                    </a:lnTo>
                    <a:lnTo>
                      <a:pt x="198" y="86"/>
                    </a:lnTo>
                    <a:lnTo>
                      <a:pt x="196" y="90"/>
                    </a:lnTo>
                    <a:lnTo>
                      <a:pt x="200" y="92"/>
                    </a:lnTo>
                    <a:lnTo>
                      <a:pt x="202" y="92"/>
                    </a:lnTo>
                    <a:lnTo>
                      <a:pt x="203" y="108"/>
                    </a:lnTo>
                    <a:lnTo>
                      <a:pt x="203" y="109"/>
                    </a:lnTo>
                    <a:lnTo>
                      <a:pt x="207" y="109"/>
                    </a:lnTo>
                    <a:lnTo>
                      <a:pt x="207" y="111"/>
                    </a:lnTo>
                    <a:lnTo>
                      <a:pt x="207" y="115"/>
                    </a:lnTo>
                    <a:lnTo>
                      <a:pt x="209" y="119"/>
                    </a:lnTo>
                    <a:lnTo>
                      <a:pt x="209" y="1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0" name="Freeform 77"/>
              <p:cNvSpPr>
                <a:spLocks/>
              </p:cNvSpPr>
              <p:nvPr/>
            </p:nvSpPr>
            <p:spPr bwMode="auto">
              <a:xfrm>
                <a:off x="1334488" y="3037549"/>
                <a:ext cx="602219" cy="595337"/>
              </a:xfrm>
              <a:custGeom>
                <a:avLst/>
                <a:gdLst>
                  <a:gd name="T0" fmla="*/ 150 w 350"/>
                  <a:gd name="T1" fmla="*/ 54 h 346"/>
                  <a:gd name="T2" fmla="*/ 164 w 350"/>
                  <a:gd name="T3" fmla="*/ 87 h 346"/>
                  <a:gd name="T4" fmla="*/ 173 w 350"/>
                  <a:gd name="T5" fmla="*/ 102 h 346"/>
                  <a:gd name="T6" fmla="*/ 171 w 350"/>
                  <a:gd name="T7" fmla="*/ 131 h 346"/>
                  <a:gd name="T8" fmla="*/ 179 w 350"/>
                  <a:gd name="T9" fmla="*/ 140 h 346"/>
                  <a:gd name="T10" fmla="*/ 177 w 350"/>
                  <a:gd name="T11" fmla="*/ 146 h 346"/>
                  <a:gd name="T12" fmla="*/ 175 w 350"/>
                  <a:gd name="T13" fmla="*/ 162 h 346"/>
                  <a:gd name="T14" fmla="*/ 185 w 350"/>
                  <a:gd name="T15" fmla="*/ 164 h 346"/>
                  <a:gd name="T16" fmla="*/ 196 w 350"/>
                  <a:gd name="T17" fmla="*/ 156 h 346"/>
                  <a:gd name="T18" fmla="*/ 206 w 350"/>
                  <a:gd name="T19" fmla="*/ 167 h 346"/>
                  <a:gd name="T20" fmla="*/ 200 w 350"/>
                  <a:gd name="T21" fmla="*/ 181 h 346"/>
                  <a:gd name="T22" fmla="*/ 196 w 350"/>
                  <a:gd name="T23" fmla="*/ 190 h 346"/>
                  <a:gd name="T24" fmla="*/ 200 w 350"/>
                  <a:gd name="T25" fmla="*/ 198 h 346"/>
                  <a:gd name="T26" fmla="*/ 196 w 350"/>
                  <a:gd name="T27" fmla="*/ 219 h 346"/>
                  <a:gd name="T28" fmla="*/ 198 w 350"/>
                  <a:gd name="T29" fmla="*/ 227 h 346"/>
                  <a:gd name="T30" fmla="*/ 214 w 350"/>
                  <a:gd name="T31" fmla="*/ 237 h 346"/>
                  <a:gd name="T32" fmla="*/ 233 w 350"/>
                  <a:gd name="T33" fmla="*/ 233 h 346"/>
                  <a:gd name="T34" fmla="*/ 264 w 350"/>
                  <a:gd name="T35" fmla="*/ 237 h 346"/>
                  <a:gd name="T36" fmla="*/ 281 w 350"/>
                  <a:gd name="T37" fmla="*/ 217 h 346"/>
                  <a:gd name="T38" fmla="*/ 292 w 350"/>
                  <a:gd name="T39" fmla="*/ 215 h 346"/>
                  <a:gd name="T40" fmla="*/ 310 w 350"/>
                  <a:gd name="T41" fmla="*/ 215 h 346"/>
                  <a:gd name="T42" fmla="*/ 325 w 350"/>
                  <a:gd name="T43" fmla="*/ 229 h 346"/>
                  <a:gd name="T44" fmla="*/ 310 w 350"/>
                  <a:gd name="T45" fmla="*/ 250 h 346"/>
                  <a:gd name="T46" fmla="*/ 321 w 350"/>
                  <a:gd name="T47" fmla="*/ 269 h 346"/>
                  <a:gd name="T48" fmla="*/ 331 w 350"/>
                  <a:gd name="T49" fmla="*/ 290 h 346"/>
                  <a:gd name="T50" fmla="*/ 346 w 350"/>
                  <a:gd name="T51" fmla="*/ 306 h 346"/>
                  <a:gd name="T52" fmla="*/ 289 w 350"/>
                  <a:gd name="T53" fmla="*/ 338 h 346"/>
                  <a:gd name="T54" fmla="*/ 256 w 350"/>
                  <a:gd name="T55" fmla="*/ 337 h 346"/>
                  <a:gd name="T56" fmla="*/ 244 w 350"/>
                  <a:gd name="T57" fmla="*/ 321 h 346"/>
                  <a:gd name="T58" fmla="*/ 237 w 350"/>
                  <a:gd name="T59" fmla="*/ 298 h 346"/>
                  <a:gd name="T60" fmla="*/ 223 w 350"/>
                  <a:gd name="T61" fmla="*/ 285 h 346"/>
                  <a:gd name="T62" fmla="*/ 202 w 350"/>
                  <a:gd name="T63" fmla="*/ 287 h 346"/>
                  <a:gd name="T64" fmla="*/ 193 w 350"/>
                  <a:gd name="T65" fmla="*/ 269 h 346"/>
                  <a:gd name="T66" fmla="*/ 169 w 350"/>
                  <a:gd name="T67" fmla="*/ 262 h 346"/>
                  <a:gd name="T68" fmla="*/ 141 w 350"/>
                  <a:gd name="T69" fmla="*/ 281 h 346"/>
                  <a:gd name="T70" fmla="*/ 123 w 350"/>
                  <a:gd name="T71" fmla="*/ 271 h 346"/>
                  <a:gd name="T72" fmla="*/ 112 w 350"/>
                  <a:gd name="T73" fmla="*/ 248 h 346"/>
                  <a:gd name="T74" fmla="*/ 102 w 350"/>
                  <a:gd name="T75" fmla="*/ 244 h 346"/>
                  <a:gd name="T76" fmla="*/ 96 w 350"/>
                  <a:gd name="T77" fmla="*/ 267 h 346"/>
                  <a:gd name="T78" fmla="*/ 96 w 350"/>
                  <a:gd name="T79" fmla="*/ 250 h 346"/>
                  <a:gd name="T80" fmla="*/ 89 w 350"/>
                  <a:gd name="T81" fmla="*/ 235 h 346"/>
                  <a:gd name="T82" fmla="*/ 89 w 350"/>
                  <a:gd name="T83" fmla="*/ 221 h 346"/>
                  <a:gd name="T84" fmla="*/ 79 w 350"/>
                  <a:gd name="T85" fmla="*/ 212 h 346"/>
                  <a:gd name="T86" fmla="*/ 81 w 350"/>
                  <a:gd name="T87" fmla="*/ 202 h 346"/>
                  <a:gd name="T88" fmla="*/ 79 w 350"/>
                  <a:gd name="T89" fmla="*/ 196 h 346"/>
                  <a:gd name="T90" fmla="*/ 70 w 350"/>
                  <a:gd name="T91" fmla="*/ 187 h 346"/>
                  <a:gd name="T92" fmla="*/ 62 w 350"/>
                  <a:gd name="T93" fmla="*/ 185 h 346"/>
                  <a:gd name="T94" fmla="*/ 54 w 350"/>
                  <a:gd name="T95" fmla="*/ 181 h 346"/>
                  <a:gd name="T96" fmla="*/ 52 w 350"/>
                  <a:gd name="T97" fmla="*/ 162 h 346"/>
                  <a:gd name="T98" fmla="*/ 31 w 350"/>
                  <a:gd name="T99" fmla="*/ 158 h 346"/>
                  <a:gd name="T100" fmla="*/ 10 w 350"/>
                  <a:gd name="T101" fmla="*/ 158 h 346"/>
                  <a:gd name="T102" fmla="*/ 6 w 350"/>
                  <a:gd name="T103" fmla="*/ 142 h 346"/>
                  <a:gd name="T104" fmla="*/ 20 w 350"/>
                  <a:gd name="T105" fmla="*/ 127 h 346"/>
                  <a:gd name="T106" fmla="*/ 41 w 350"/>
                  <a:gd name="T107" fmla="*/ 106 h 346"/>
                  <a:gd name="T108" fmla="*/ 54 w 350"/>
                  <a:gd name="T109" fmla="*/ 90 h 346"/>
                  <a:gd name="T110" fmla="*/ 83 w 350"/>
                  <a:gd name="T111" fmla="*/ 69 h 346"/>
                  <a:gd name="T112" fmla="*/ 95 w 350"/>
                  <a:gd name="T113" fmla="*/ 46 h 346"/>
                  <a:gd name="T114" fmla="*/ 116 w 350"/>
                  <a:gd name="T115" fmla="*/ 25 h 346"/>
                  <a:gd name="T116" fmla="*/ 121 w 350"/>
                  <a:gd name="T117" fmla="*/ 6 h 346"/>
                  <a:gd name="T118" fmla="*/ 143 w 350"/>
                  <a:gd name="T119" fmla="*/ 8 h 346"/>
                  <a:gd name="T120" fmla="*/ 143 w 350"/>
                  <a:gd name="T121" fmla="*/ 14 h 346"/>
                  <a:gd name="T122" fmla="*/ 146 w 350"/>
                  <a:gd name="T123" fmla="*/ 2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50" h="346">
                    <a:moveTo>
                      <a:pt x="154" y="31"/>
                    </a:moveTo>
                    <a:lnTo>
                      <a:pt x="154" y="33"/>
                    </a:lnTo>
                    <a:lnTo>
                      <a:pt x="152" y="33"/>
                    </a:lnTo>
                    <a:lnTo>
                      <a:pt x="154" y="33"/>
                    </a:lnTo>
                    <a:lnTo>
                      <a:pt x="154" y="35"/>
                    </a:lnTo>
                    <a:lnTo>
                      <a:pt x="152" y="35"/>
                    </a:lnTo>
                    <a:lnTo>
                      <a:pt x="154" y="35"/>
                    </a:lnTo>
                    <a:lnTo>
                      <a:pt x="152" y="37"/>
                    </a:lnTo>
                    <a:lnTo>
                      <a:pt x="152" y="39"/>
                    </a:lnTo>
                    <a:lnTo>
                      <a:pt x="152" y="40"/>
                    </a:lnTo>
                    <a:lnTo>
                      <a:pt x="152" y="42"/>
                    </a:lnTo>
                    <a:lnTo>
                      <a:pt x="152" y="44"/>
                    </a:lnTo>
                    <a:lnTo>
                      <a:pt x="152" y="46"/>
                    </a:lnTo>
                    <a:lnTo>
                      <a:pt x="150" y="46"/>
                    </a:lnTo>
                    <a:lnTo>
                      <a:pt x="150" y="48"/>
                    </a:lnTo>
                    <a:lnTo>
                      <a:pt x="150" y="50"/>
                    </a:lnTo>
                    <a:lnTo>
                      <a:pt x="150" y="52"/>
                    </a:lnTo>
                    <a:lnTo>
                      <a:pt x="150" y="54"/>
                    </a:lnTo>
                    <a:lnTo>
                      <a:pt x="152" y="54"/>
                    </a:lnTo>
                    <a:lnTo>
                      <a:pt x="154" y="58"/>
                    </a:lnTo>
                    <a:lnTo>
                      <a:pt x="154" y="60"/>
                    </a:lnTo>
                    <a:lnTo>
                      <a:pt x="154" y="64"/>
                    </a:lnTo>
                    <a:lnTo>
                      <a:pt x="154" y="69"/>
                    </a:lnTo>
                    <a:lnTo>
                      <a:pt x="154" y="71"/>
                    </a:lnTo>
                    <a:lnTo>
                      <a:pt x="154" y="73"/>
                    </a:lnTo>
                    <a:lnTo>
                      <a:pt x="156" y="73"/>
                    </a:lnTo>
                    <a:lnTo>
                      <a:pt x="154" y="77"/>
                    </a:lnTo>
                    <a:lnTo>
                      <a:pt x="156" y="79"/>
                    </a:lnTo>
                    <a:lnTo>
                      <a:pt x="156" y="81"/>
                    </a:lnTo>
                    <a:lnTo>
                      <a:pt x="156" y="83"/>
                    </a:lnTo>
                    <a:lnTo>
                      <a:pt x="158" y="85"/>
                    </a:lnTo>
                    <a:lnTo>
                      <a:pt x="160" y="85"/>
                    </a:lnTo>
                    <a:lnTo>
                      <a:pt x="160" y="83"/>
                    </a:lnTo>
                    <a:lnTo>
                      <a:pt x="162" y="83"/>
                    </a:lnTo>
                    <a:lnTo>
                      <a:pt x="162" y="85"/>
                    </a:lnTo>
                    <a:lnTo>
                      <a:pt x="164" y="87"/>
                    </a:lnTo>
                    <a:lnTo>
                      <a:pt x="164" y="89"/>
                    </a:lnTo>
                    <a:lnTo>
                      <a:pt x="166" y="89"/>
                    </a:lnTo>
                    <a:lnTo>
                      <a:pt x="168" y="90"/>
                    </a:lnTo>
                    <a:lnTo>
                      <a:pt x="168" y="92"/>
                    </a:lnTo>
                    <a:lnTo>
                      <a:pt x="166" y="94"/>
                    </a:lnTo>
                    <a:lnTo>
                      <a:pt x="166" y="96"/>
                    </a:lnTo>
                    <a:lnTo>
                      <a:pt x="168" y="96"/>
                    </a:lnTo>
                    <a:lnTo>
                      <a:pt x="168" y="98"/>
                    </a:lnTo>
                    <a:lnTo>
                      <a:pt x="166" y="98"/>
                    </a:lnTo>
                    <a:lnTo>
                      <a:pt x="166" y="100"/>
                    </a:lnTo>
                    <a:lnTo>
                      <a:pt x="168" y="100"/>
                    </a:lnTo>
                    <a:lnTo>
                      <a:pt x="169" y="100"/>
                    </a:lnTo>
                    <a:lnTo>
                      <a:pt x="171" y="100"/>
                    </a:lnTo>
                    <a:lnTo>
                      <a:pt x="173" y="100"/>
                    </a:lnTo>
                    <a:lnTo>
                      <a:pt x="173" y="98"/>
                    </a:lnTo>
                    <a:lnTo>
                      <a:pt x="175" y="100"/>
                    </a:lnTo>
                    <a:lnTo>
                      <a:pt x="173" y="100"/>
                    </a:lnTo>
                    <a:lnTo>
                      <a:pt x="173" y="102"/>
                    </a:lnTo>
                    <a:lnTo>
                      <a:pt x="175" y="102"/>
                    </a:lnTo>
                    <a:lnTo>
                      <a:pt x="175" y="104"/>
                    </a:lnTo>
                    <a:lnTo>
                      <a:pt x="175" y="106"/>
                    </a:lnTo>
                    <a:lnTo>
                      <a:pt x="175" y="108"/>
                    </a:lnTo>
                    <a:lnTo>
                      <a:pt x="175" y="110"/>
                    </a:lnTo>
                    <a:lnTo>
                      <a:pt x="173" y="110"/>
                    </a:lnTo>
                    <a:lnTo>
                      <a:pt x="173" y="112"/>
                    </a:lnTo>
                    <a:lnTo>
                      <a:pt x="173" y="114"/>
                    </a:lnTo>
                    <a:lnTo>
                      <a:pt x="173" y="115"/>
                    </a:lnTo>
                    <a:lnTo>
                      <a:pt x="173" y="117"/>
                    </a:lnTo>
                    <a:lnTo>
                      <a:pt x="173" y="119"/>
                    </a:lnTo>
                    <a:lnTo>
                      <a:pt x="173" y="121"/>
                    </a:lnTo>
                    <a:lnTo>
                      <a:pt x="173" y="123"/>
                    </a:lnTo>
                    <a:lnTo>
                      <a:pt x="173" y="125"/>
                    </a:lnTo>
                    <a:lnTo>
                      <a:pt x="173" y="127"/>
                    </a:lnTo>
                    <a:lnTo>
                      <a:pt x="173" y="129"/>
                    </a:lnTo>
                    <a:lnTo>
                      <a:pt x="173" y="131"/>
                    </a:lnTo>
                    <a:lnTo>
                      <a:pt x="171" y="131"/>
                    </a:lnTo>
                    <a:lnTo>
                      <a:pt x="173" y="131"/>
                    </a:lnTo>
                    <a:lnTo>
                      <a:pt x="171" y="133"/>
                    </a:lnTo>
                    <a:lnTo>
                      <a:pt x="173" y="133"/>
                    </a:lnTo>
                    <a:lnTo>
                      <a:pt x="173" y="131"/>
                    </a:lnTo>
                    <a:lnTo>
                      <a:pt x="173" y="133"/>
                    </a:lnTo>
                    <a:lnTo>
                      <a:pt x="175" y="133"/>
                    </a:lnTo>
                    <a:lnTo>
                      <a:pt x="177" y="133"/>
                    </a:lnTo>
                    <a:lnTo>
                      <a:pt x="177" y="131"/>
                    </a:lnTo>
                    <a:lnTo>
                      <a:pt x="177" y="133"/>
                    </a:lnTo>
                    <a:lnTo>
                      <a:pt x="179" y="133"/>
                    </a:lnTo>
                    <a:lnTo>
                      <a:pt x="179" y="135"/>
                    </a:lnTo>
                    <a:lnTo>
                      <a:pt x="181" y="135"/>
                    </a:lnTo>
                    <a:lnTo>
                      <a:pt x="179" y="137"/>
                    </a:lnTo>
                    <a:lnTo>
                      <a:pt x="179" y="139"/>
                    </a:lnTo>
                    <a:lnTo>
                      <a:pt x="179" y="137"/>
                    </a:lnTo>
                    <a:lnTo>
                      <a:pt x="177" y="139"/>
                    </a:lnTo>
                    <a:lnTo>
                      <a:pt x="177" y="140"/>
                    </a:lnTo>
                    <a:lnTo>
                      <a:pt x="179" y="140"/>
                    </a:lnTo>
                    <a:lnTo>
                      <a:pt x="179" y="142"/>
                    </a:lnTo>
                    <a:lnTo>
                      <a:pt x="177" y="142"/>
                    </a:lnTo>
                    <a:lnTo>
                      <a:pt x="175" y="142"/>
                    </a:lnTo>
                    <a:lnTo>
                      <a:pt x="175" y="144"/>
                    </a:lnTo>
                    <a:lnTo>
                      <a:pt x="173" y="142"/>
                    </a:lnTo>
                    <a:lnTo>
                      <a:pt x="175" y="142"/>
                    </a:lnTo>
                    <a:lnTo>
                      <a:pt x="175" y="140"/>
                    </a:lnTo>
                    <a:lnTo>
                      <a:pt x="173" y="140"/>
                    </a:lnTo>
                    <a:lnTo>
                      <a:pt x="173" y="139"/>
                    </a:lnTo>
                    <a:lnTo>
                      <a:pt x="171" y="139"/>
                    </a:lnTo>
                    <a:lnTo>
                      <a:pt x="173" y="140"/>
                    </a:lnTo>
                    <a:lnTo>
                      <a:pt x="171" y="142"/>
                    </a:lnTo>
                    <a:lnTo>
                      <a:pt x="171" y="144"/>
                    </a:lnTo>
                    <a:lnTo>
                      <a:pt x="171" y="146"/>
                    </a:lnTo>
                    <a:lnTo>
                      <a:pt x="173" y="146"/>
                    </a:lnTo>
                    <a:lnTo>
                      <a:pt x="175" y="144"/>
                    </a:lnTo>
                    <a:lnTo>
                      <a:pt x="177" y="144"/>
                    </a:lnTo>
                    <a:lnTo>
                      <a:pt x="177" y="146"/>
                    </a:lnTo>
                    <a:lnTo>
                      <a:pt x="175" y="146"/>
                    </a:lnTo>
                    <a:lnTo>
                      <a:pt x="177" y="146"/>
                    </a:lnTo>
                    <a:lnTo>
                      <a:pt x="177" y="148"/>
                    </a:lnTo>
                    <a:lnTo>
                      <a:pt x="177" y="150"/>
                    </a:lnTo>
                    <a:lnTo>
                      <a:pt x="175" y="150"/>
                    </a:lnTo>
                    <a:lnTo>
                      <a:pt x="175" y="152"/>
                    </a:lnTo>
                    <a:lnTo>
                      <a:pt x="177" y="152"/>
                    </a:lnTo>
                    <a:lnTo>
                      <a:pt x="179" y="150"/>
                    </a:lnTo>
                    <a:lnTo>
                      <a:pt x="177" y="152"/>
                    </a:lnTo>
                    <a:lnTo>
                      <a:pt x="177" y="154"/>
                    </a:lnTo>
                    <a:lnTo>
                      <a:pt x="177" y="156"/>
                    </a:lnTo>
                    <a:lnTo>
                      <a:pt x="175" y="154"/>
                    </a:lnTo>
                    <a:lnTo>
                      <a:pt x="175" y="156"/>
                    </a:lnTo>
                    <a:lnTo>
                      <a:pt x="175" y="158"/>
                    </a:lnTo>
                    <a:lnTo>
                      <a:pt x="173" y="158"/>
                    </a:lnTo>
                    <a:lnTo>
                      <a:pt x="173" y="160"/>
                    </a:lnTo>
                    <a:lnTo>
                      <a:pt x="175" y="160"/>
                    </a:lnTo>
                    <a:lnTo>
                      <a:pt x="175" y="162"/>
                    </a:lnTo>
                    <a:lnTo>
                      <a:pt x="173" y="162"/>
                    </a:lnTo>
                    <a:lnTo>
                      <a:pt x="173" y="164"/>
                    </a:lnTo>
                    <a:lnTo>
                      <a:pt x="171" y="164"/>
                    </a:lnTo>
                    <a:lnTo>
                      <a:pt x="173" y="164"/>
                    </a:lnTo>
                    <a:lnTo>
                      <a:pt x="173" y="165"/>
                    </a:lnTo>
                    <a:lnTo>
                      <a:pt x="175" y="164"/>
                    </a:lnTo>
                    <a:lnTo>
                      <a:pt x="175" y="165"/>
                    </a:lnTo>
                    <a:lnTo>
                      <a:pt x="175" y="167"/>
                    </a:lnTo>
                    <a:lnTo>
                      <a:pt x="177" y="167"/>
                    </a:lnTo>
                    <a:lnTo>
                      <a:pt x="177" y="165"/>
                    </a:lnTo>
                    <a:lnTo>
                      <a:pt x="179" y="167"/>
                    </a:lnTo>
                    <a:lnTo>
                      <a:pt x="179" y="169"/>
                    </a:lnTo>
                    <a:lnTo>
                      <a:pt x="179" y="171"/>
                    </a:lnTo>
                    <a:lnTo>
                      <a:pt x="181" y="169"/>
                    </a:lnTo>
                    <a:lnTo>
                      <a:pt x="183" y="169"/>
                    </a:lnTo>
                    <a:lnTo>
                      <a:pt x="185" y="169"/>
                    </a:lnTo>
                    <a:lnTo>
                      <a:pt x="185" y="167"/>
                    </a:lnTo>
                    <a:lnTo>
                      <a:pt x="185" y="164"/>
                    </a:lnTo>
                    <a:lnTo>
                      <a:pt x="187" y="164"/>
                    </a:lnTo>
                    <a:lnTo>
                      <a:pt x="187" y="162"/>
                    </a:lnTo>
                    <a:lnTo>
                      <a:pt x="187" y="160"/>
                    </a:lnTo>
                    <a:lnTo>
                      <a:pt x="189" y="160"/>
                    </a:lnTo>
                    <a:lnTo>
                      <a:pt x="191" y="160"/>
                    </a:lnTo>
                    <a:lnTo>
                      <a:pt x="189" y="160"/>
                    </a:lnTo>
                    <a:lnTo>
                      <a:pt x="191" y="160"/>
                    </a:lnTo>
                    <a:lnTo>
                      <a:pt x="191" y="162"/>
                    </a:lnTo>
                    <a:lnTo>
                      <a:pt x="189" y="162"/>
                    </a:lnTo>
                    <a:lnTo>
                      <a:pt x="189" y="164"/>
                    </a:lnTo>
                    <a:lnTo>
                      <a:pt x="189" y="162"/>
                    </a:lnTo>
                    <a:lnTo>
                      <a:pt x="191" y="162"/>
                    </a:lnTo>
                    <a:lnTo>
                      <a:pt x="191" y="160"/>
                    </a:lnTo>
                    <a:lnTo>
                      <a:pt x="193" y="160"/>
                    </a:lnTo>
                    <a:lnTo>
                      <a:pt x="193" y="162"/>
                    </a:lnTo>
                    <a:lnTo>
                      <a:pt x="194" y="160"/>
                    </a:lnTo>
                    <a:lnTo>
                      <a:pt x="196" y="158"/>
                    </a:lnTo>
                    <a:lnTo>
                      <a:pt x="196" y="156"/>
                    </a:lnTo>
                    <a:lnTo>
                      <a:pt x="198" y="156"/>
                    </a:lnTo>
                    <a:lnTo>
                      <a:pt x="198" y="158"/>
                    </a:lnTo>
                    <a:lnTo>
                      <a:pt x="200" y="158"/>
                    </a:lnTo>
                    <a:lnTo>
                      <a:pt x="198" y="158"/>
                    </a:lnTo>
                    <a:lnTo>
                      <a:pt x="198" y="160"/>
                    </a:lnTo>
                    <a:lnTo>
                      <a:pt x="198" y="162"/>
                    </a:lnTo>
                    <a:lnTo>
                      <a:pt x="200" y="160"/>
                    </a:lnTo>
                    <a:lnTo>
                      <a:pt x="200" y="162"/>
                    </a:lnTo>
                    <a:lnTo>
                      <a:pt x="200" y="164"/>
                    </a:lnTo>
                    <a:lnTo>
                      <a:pt x="202" y="164"/>
                    </a:lnTo>
                    <a:lnTo>
                      <a:pt x="204" y="164"/>
                    </a:lnTo>
                    <a:lnTo>
                      <a:pt x="206" y="164"/>
                    </a:lnTo>
                    <a:lnTo>
                      <a:pt x="208" y="164"/>
                    </a:lnTo>
                    <a:lnTo>
                      <a:pt x="208" y="165"/>
                    </a:lnTo>
                    <a:lnTo>
                      <a:pt x="206" y="165"/>
                    </a:lnTo>
                    <a:lnTo>
                      <a:pt x="208" y="165"/>
                    </a:lnTo>
                    <a:lnTo>
                      <a:pt x="206" y="165"/>
                    </a:lnTo>
                    <a:lnTo>
                      <a:pt x="206" y="167"/>
                    </a:lnTo>
                    <a:lnTo>
                      <a:pt x="204" y="167"/>
                    </a:lnTo>
                    <a:lnTo>
                      <a:pt x="204" y="169"/>
                    </a:lnTo>
                    <a:lnTo>
                      <a:pt x="202" y="169"/>
                    </a:lnTo>
                    <a:lnTo>
                      <a:pt x="202" y="173"/>
                    </a:lnTo>
                    <a:lnTo>
                      <a:pt x="200" y="175"/>
                    </a:lnTo>
                    <a:lnTo>
                      <a:pt x="202" y="175"/>
                    </a:lnTo>
                    <a:lnTo>
                      <a:pt x="204" y="175"/>
                    </a:lnTo>
                    <a:lnTo>
                      <a:pt x="204" y="173"/>
                    </a:lnTo>
                    <a:lnTo>
                      <a:pt x="204" y="171"/>
                    </a:lnTo>
                    <a:lnTo>
                      <a:pt x="204" y="173"/>
                    </a:lnTo>
                    <a:lnTo>
                      <a:pt x="206" y="173"/>
                    </a:lnTo>
                    <a:lnTo>
                      <a:pt x="206" y="175"/>
                    </a:lnTo>
                    <a:lnTo>
                      <a:pt x="204" y="175"/>
                    </a:lnTo>
                    <a:lnTo>
                      <a:pt x="204" y="177"/>
                    </a:lnTo>
                    <a:lnTo>
                      <a:pt x="202" y="177"/>
                    </a:lnTo>
                    <a:lnTo>
                      <a:pt x="202" y="179"/>
                    </a:lnTo>
                    <a:lnTo>
                      <a:pt x="202" y="181"/>
                    </a:lnTo>
                    <a:lnTo>
                      <a:pt x="200" y="181"/>
                    </a:lnTo>
                    <a:lnTo>
                      <a:pt x="200" y="183"/>
                    </a:lnTo>
                    <a:lnTo>
                      <a:pt x="198" y="183"/>
                    </a:lnTo>
                    <a:lnTo>
                      <a:pt x="196" y="183"/>
                    </a:lnTo>
                    <a:lnTo>
                      <a:pt x="194" y="183"/>
                    </a:lnTo>
                    <a:lnTo>
                      <a:pt x="194" y="185"/>
                    </a:lnTo>
                    <a:lnTo>
                      <a:pt x="193" y="185"/>
                    </a:lnTo>
                    <a:lnTo>
                      <a:pt x="193" y="187"/>
                    </a:lnTo>
                    <a:lnTo>
                      <a:pt x="191" y="187"/>
                    </a:lnTo>
                    <a:lnTo>
                      <a:pt x="191" y="185"/>
                    </a:lnTo>
                    <a:lnTo>
                      <a:pt x="191" y="187"/>
                    </a:lnTo>
                    <a:lnTo>
                      <a:pt x="189" y="189"/>
                    </a:lnTo>
                    <a:lnTo>
                      <a:pt x="189" y="190"/>
                    </a:lnTo>
                    <a:lnTo>
                      <a:pt x="189" y="192"/>
                    </a:lnTo>
                    <a:lnTo>
                      <a:pt x="191" y="192"/>
                    </a:lnTo>
                    <a:lnTo>
                      <a:pt x="193" y="192"/>
                    </a:lnTo>
                    <a:lnTo>
                      <a:pt x="193" y="190"/>
                    </a:lnTo>
                    <a:lnTo>
                      <a:pt x="194" y="190"/>
                    </a:lnTo>
                    <a:lnTo>
                      <a:pt x="196" y="190"/>
                    </a:lnTo>
                    <a:lnTo>
                      <a:pt x="196" y="189"/>
                    </a:lnTo>
                    <a:lnTo>
                      <a:pt x="198" y="189"/>
                    </a:lnTo>
                    <a:lnTo>
                      <a:pt x="198" y="190"/>
                    </a:lnTo>
                    <a:lnTo>
                      <a:pt x="196" y="190"/>
                    </a:lnTo>
                    <a:lnTo>
                      <a:pt x="194" y="190"/>
                    </a:lnTo>
                    <a:lnTo>
                      <a:pt x="196" y="192"/>
                    </a:lnTo>
                    <a:lnTo>
                      <a:pt x="198" y="192"/>
                    </a:lnTo>
                    <a:lnTo>
                      <a:pt x="200" y="192"/>
                    </a:lnTo>
                    <a:lnTo>
                      <a:pt x="198" y="192"/>
                    </a:lnTo>
                    <a:lnTo>
                      <a:pt x="200" y="194"/>
                    </a:lnTo>
                    <a:lnTo>
                      <a:pt x="200" y="196"/>
                    </a:lnTo>
                    <a:lnTo>
                      <a:pt x="202" y="196"/>
                    </a:lnTo>
                    <a:lnTo>
                      <a:pt x="200" y="196"/>
                    </a:lnTo>
                    <a:lnTo>
                      <a:pt x="200" y="198"/>
                    </a:lnTo>
                    <a:lnTo>
                      <a:pt x="198" y="198"/>
                    </a:lnTo>
                    <a:lnTo>
                      <a:pt x="198" y="200"/>
                    </a:lnTo>
                    <a:lnTo>
                      <a:pt x="200" y="200"/>
                    </a:lnTo>
                    <a:lnTo>
                      <a:pt x="200" y="198"/>
                    </a:lnTo>
                    <a:lnTo>
                      <a:pt x="202" y="198"/>
                    </a:lnTo>
                    <a:lnTo>
                      <a:pt x="202" y="200"/>
                    </a:lnTo>
                    <a:lnTo>
                      <a:pt x="202" y="202"/>
                    </a:lnTo>
                    <a:lnTo>
                      <a:pt x="200" y="204"/>
                    </a:lnTo>
                    <a:lnTo>
                      <a:pt x="200" y="206"/>
                    </a:lnTo>
                    <a:lnTo>
                      <a:pt x="198" y="206"/>
                    </a:lnTo>
                    <a:lnTo>
                      <a:pt x="198" y="208"/>
                    </a:lnTo>
                    <a:lnTo>
                      <a:pt x="198" y="210"/>
                    </a:lnTo>
                    <a:lnTo>
                      <a:pt x="200" y="210"/>
                    </a:lnTo>
                    <a:lnTo>
                      <a:pt x="200" y="212"/>
                    </a:lnTo>
                    <a:lnTo>
                      <a:pt x="198" y="212"/>
                    </a:lnTo>
                    <a:lnTo>
                      <a:pt x="196" y="212"/>
                    </a:lnTo>
                    <a:lnTo>
                      <a:pt x="194" y="212"/>
                    </a:lnTo>
                    <a:lnTo>
                      <a:pt x="194" y="214"/>
                    </a:lnTo>
                    <a:lnTo>
                      <a:pt x="193" y="215"/>
                    </a:lnTo>
                    <a:lnTo>
                      <a:pt x="194" y="217"/>
                    </a:lnTo>
                    <a:lnTo>
                      <a:pt x="196" y="217"/>
                    </a:lnTo>
                    <a:lnTo>
                      <a:pt x="196" y="219"/>
                    </a:lnTo>
                    <a:lnTo>
                      <a:pt x="196" y="221"/>
                    </a:lnTo>
                    <a:lnTo>
                      <a:pt x="196" y="223"/>
                    </a:lnTo>
                    <a:lnTo>
                      <a:pt x="194" y="223"/>
                    </a:lnTo>
                    <a:lnTo>
                      <a:pt x="194" y="225"/>
                    </a:lnTo>
                    <a:lnTo>
                      <a:pt x="194" y="227"/>
                    </a:lnTo>
                    <a:lnTo>
                      <a:pt x="194" y="229"/>
                    </a:lnTo>
                    <a:lnTo>
                      <a:pt x="193" y="229"/>
                    </a:lnTo>
                    <a:lnTo>
                      <a:pt x="193" y="231"/>
                    </a:lnTo>
                    <a:lnTo>
                      <a:pt x="191" y="231"/>
                    </a:lnTo>
                    <a:lnTo>
                      <a:pt x="191" y="233"/>
                    </a:lnTo>
                    <a:lnTo>
                      <a:pt x="193" y="233"/>
                    </a:lnTo>
                    <a:lnTo>
                      <a:pt x="194" y="233"/>
                    </a:lnTo>
                    <a:lnTo>
                      <a:pt x="196" y="233"/>
                    </a:lnTo>
                    <a:lnTo>
                      <a:pt x="198" y="231"/>
                    </a:lnTo>
                    <a:lnTo>
                      <a:pt x="196" y="231"/>
                    </a:lnTo>
                    <a:lnTo>
                      <a:pt x="196" y="229"/>
                    </a:lnTo>
                    <a:lnTo>
                      <a:pt x="198" y="229"/>
                    </a:lnTo>
                    <a:lnTo>
                      <a:pt x="198" y="227"/>
                    </a:lnTo>
                    <a:lnTo>
                      <a:pt x="196" y="225"/>
                    </a:lnTo>
                    <a:lnTo>
                      <a:pt x="196" y="223"/>
                    </a:lnTo>
                    <a:lnTo>
                      <a:pt x="198" y="223"/>
                    </a:lnTo>
                    <a:lnTo>
                      <a:pt x="200" y="225"/>
                    </a:lnTo>
                    <a:lnTo>
                      <a:pt x="202" y="225"/>
                    </a:lnTo>
                    <a:lnTo>
                      <a:pt x="204" y="227"/>
                    </a:lnTo>
                    <a:lnTo>
                      <a:pt x="202" y="227"/>
                    </a:lnTo>
                    <a:lnTo>
                      <a:pt x="202" y="229"/>
                    </a:lnTo>
                    <a:lnTo>
                      <a:pt x="202" y="231"/>
                    </a:lnTo>
                    <a:lnTo>
                      <a:pt x="204" y="231"/>
                    </a:lnTo>
                    <a:lnTo>
                      <a:pt x="204" y="233"/>
                    </a:lnTo>
                    <a:lnTo>
                      <a:pt x="204" y="238"/>
                    </a:lnTo>
                    <a:lnTo>
                      <a:pt x="206" y="240"/>
                    </a:lnTo>
                    <a:lnTo>
                      <a:pt x="208" y="238"/>
                    </a:lnTo>
                    <a:lnTo>
                      <a:pt x="210" y="238"/>
                    </a:lnTo>
                    <a:lnTo>
                      <a:pt x="210" y="237"/>
                    </a:lnTo>
                    <a:lnTo>
                      <a:pt x="212" y="237"/>
                    </a:lnTo>
                    <a:lnTo>
                      <a:pt x="214" y="237"/>
                    </a:lnTo>
                    <a:lnTo>
                      <a:pt x="216" y="235"/>
                    </a:lnTo>
                    <a:lnTo>
                      <a:pt x="217" y="233"/>
                    </a:lnTo>
                    <a:lnTo>
                      <a:pt x="219" y="233"/>
                    </a:lnTo>
                    <a:lnTo>
                      <a:pt x="219" y="235"/>
                    </a:lnTo>
                    <a:lnTo>
                      <a:pt x="221" y="235"/>
                    </a:lnTo>
                    <a:lnTo>
                      <a:pt x="221" y="233"/>
                    </a:lnTo>
                    <a:lnTo>
                      <a:pt x="221" y="235"/>
                    </a:lnTo>
                    <a:lnTo>
                      <a:pt x="223" y="235"/>
                    </a:lnTo>
                    <a:lnTo>
                      <a:pt x="225" y="233"/>
                    </a:lnTo>
                    <a:lnTo>
                      <a:pt x="225" y="231"/>
                    </a:lnTo>
                    <a:lnTo>
                      <a:pt x="227" y="231"/>
                    </a:lnTo>
                    <a:lnTo>
                      <a:pt x="227" y="229"/>
                    </a:lnTo>
                    <a:lnTo>
                      <a:pt x="229" y="229"/>
                    </a:lnTo>
                    <a:lnTo>
                      <a:pt x="229" y="227"/>
                    </a:lnTo>
                    <a:lnTo>
                      <a:pt x="231" y="227"/>
                    </a:lnTo>
                    <a:lnTo>
                      <a:pt x="231" y="229"/>
                    </a:lnTo>
                    <a:lnTo>
                      <a:pt x="231" y="231"/>
                    </a:lnTo>
                    <a:lnTo>
                      <a:pt x="233" y="233"/>
                    </a:lnTo>
                    <a:lnTo>
                      <a:pt x="235" y="231"/>
                    </a:lnTo>
                    <a:lnTo>
                      <a:pt x="237" y="233"/>
                    </a:lnTo>
                    <a:lnTo>
                      <a:pt x="237" y="235"/>
                    </a:lnTo>
                    <a:lnTo>
                      <a:pt x="239" y="237"/>
                    </a:lnTo>
                    <a:lnTo>
                      <a:pt x="242" y="238"/>
                    </a:lnTo>
                    <a:lnTo>
                      <a:pt x="241" y="240"/>
                    </a:lnTo>
                    <a:lnTo>
                      <a:pt x="242" y="242"/>
                    </a:lnTo>
                    <a:lnTo>
                      <a:pt x="246" y="242"/>
                    </a:lnTo>
                    <a:lnTo>
                      <a:pt x="248" y="242"/>
                    </a:lnTo>
                    <a:lnTo>
                      <a:pt x="252" y="242"/>
                    </a:lnTo>
                    <a:lnTo>
                      <a:pt x="254" y="242"/>
                    </a:lnTo>
                    <a:lnTo>
                      <a:pt x="254" y="244"/>
                    </a:lnTo>
                    <a:lnTo>
                      <a:pt x="256" y="244"/>
                    </a:lnTo>
                    <a:lnTo>
                      <a:pt x="258" y="244"/>
                    </a:lnTo>
                    <a:lnTo>
                      <a:pt x="260" y="242"/>
                    </a:lnTo>
                    <a:lnTo>
                      <a:pt x="262" y="238"/>
                    </a:lnTo>
                    <a:lnTo>
                      <a:pt x="264" y="238"/>
                    </a:lnTo>
                    <a:lnTo>
                      <a:pt x="264" y="237"/>
                    </a:lnTo>
                    <a:lnTo>
                      <a:pt x="264" y="233"/>
                    </a:lnTo>
                    <a:lnTo>
                      <a:pt x="266" y="233"/>
                    </a:lnTo>
                    <a:lnTo>
                      <a:pt x="266" y="229"/>
                    </a:lnTo>
                    <a:lnTo>
                      <a:pt x="267" y="229"/>
                    </a:lnTo>
                    <a:lnTo>
                      <a:pt x="269" y="227"/>
                    </a:lnTo>
                    <a:lnTo>
                      <a:pt x="267" y="227"/>
                    </a:lnTo>
                    <a:lnTo>
                      <a:pt x="267" y="223"/>
                    </a:lnTo>
                    <a:lnTo>
                      <a:pt x="267" y="221"/>
                    </a:lnTo>
                    <a:lnTo>
                      <a:pt x="269" y="219"/>
                    </a:lnTo>
                    <a:lnTo>
                      <a:pt x="271" y="219"/>
                    </a:lnTo>
                    <a:lnTo>
                      <a:pt x="271" y="217"/>
                    </a:lnTo>
                    <a:lnTo>
                      <a:pt x="271" y="215"/>
                    </a:lnTo>
                    <a:lnTo>
                      <a:pt x="273" y="212"/>
                    </a:lnTo>
                    <a:lnTo>
                      <a:pt x="273" y="214"/>
                    </a:lnTo>
                    <a:lnTo>
                      <a:pt x="275" y="215"/>
                    </a:lnTo>
                    <a:lnTo>
                      <a:pt x="279" y="219"/>
                    </a:lnTo>
                    <a:lnTo>
                      <a:pt x="279" y="217"/>
                    </a:lnTo>
                    <a:lnTo>
                      <a:pt x="281" y="217"/>
                    </a:lnTo>
                    <a:lnTo>
                      <a:pt x="283" y="217"/>
                    </a:lnTo>
                    <a:lnTo>
                      <a:pt x="283" y="215"/>
                    </a:lnTo>
                    <a:lnTo>
                      <a:pt x="283" y="214"/>
                    </a:lnTo>
                    <a:lnTo>
                      <a:pt x="281" y="212"/>
                    </a:lnTo>
                    <a:lnTo>
                      <a:pt x="281" y="210"/>
                    </a:lnTo>
                    <a:lnTo>
                      <a:pt x="283" y="208"/>
                    </a:lnTo>
                    <a:lnTo>
                      <a:pt x="283" y="206"/>
                    </a:lnTo>
                    <a:lnTo>
                      <a:pt x="285" y="206"/>
                    </a:lnTo>
                    <a:lnTo>
                      <a:pt x="287" y="206"/>
                    </a:lnTo>
                    <a:lnTo>
                      <a:pt x="287" y="208"/>
                    </a:lnTo>
                    <a:lnTo>
                      <a:pt x="287" y="210"/>
                    </a:lnTo>
                    <a:lnTo>
                      <a:pt x="287" y="212"/>
                    </a:lnTo>
                    <a:lnTo>
                      <a:pt x="287" y="214"/>
                    </a:lnTo>
                    <a:lnTo>
                      <a:pt x="289" y="217"/>
                    </a:lnTo>
                    <a:lnTo>
                      <a:pt x="289" y="219"/>
                    </a:lnTo>
                    <a:lnTo>
                      <a:pt x="290" y="219"/>
                    </a:lnTo>
                    <a:lnTo>
                      <a:pt x="292" y="217"/>
                    </a:lnTo>
                    <a:lnTo>
                      <a:pt x="292" y="215"/>
                    </a:lnTo>
                    <a:lnTo>
                      <a:pt x="294" y="214"/>
                    </a:lnTo>
                    <a:lnTo>
                      <a:pt x="292" y="214"/>
                    </a:lnTo>
                    <a:lnTo>
                      <a:pt x="292" y="212"/>
                    </a:lnTo>
                    <a:lnTo>
                      <a:pt x="294" y="212"/>
                    </a:lnTo>
                    <a:lnTo>
                      <a:pt x="296" y="212"/>
                    </a:lnTo>
                    <a:lnTo>
                      <a:pt x="296" y="210"/>
                    </a:lnTo>
                    <a:lnTo>
                      <a:pt x="296" y="208"/>
                    </a:lnTo>
                    <a:lnTo>
                      <a:pt x="298" y="208"/>
                    </a:lnTo>
                    <a:lnTo>
                      <a:pt x="298" y="210"/>
                    </a:lnTo>
                    <a:lnTo>
                      <a:pt x="300" y="210"/>
                    </a:lnTo>
                    <a:lnTo>
                      <a:pt x="302" y="210"/>
                    </a:lnTo>
                    <a:lnTo>
                      <a:pt x="302" y="212"/>
                    </a:lnTo>
                    <a:lnTo>
                      <a:pt x="302" y="214"/>
                    </a:lnTo>
                    <a:lnTo>
                      <a:pt x="304" y="214"/>
                    </a:lnTo>
                    <a:lnTo>
                      <a:pt x="304" y="215"/>
                    </a:lnTo>
                    <a:lnTo>
                      <a:pt x="306" y="214"/>
                    </a:lnTo>
                    <a:lnTo>
                      <a:pt x="308" y="215"/>
                    </a:lnTo>
                    <a:lnTo>
                      <a:pt x="310" y="215"/>
                    </a:lnTo>
                    <a:lnTo>
                      <a:pt x="310" y="217"/>
                    </a:lnTo>
                    <a:lnTo>
                      <a:pt x="312" y="217"/>
                    </a:lnTo>
                    <a:lnTo>
                      <a:pt x="312" y="215"/>
                    </a:lnTo>
                    <a:lnTo>
                      <a:pt x="314" y="215"/>
                    </a:lnTo>
                    <a:lnTo>
                      <a:pt x="315" y="214"/>
                    </a:lnTo>
                    <a:lnTo>
                      <a:pt x="317" y="215"/>
                    </a:lnTo>
                    <a:lnTo>
                      <a:pt x="317" y="217"/>
                    </a:lnTo>
                    <a:lnTo>
                      <a:pt x="317" y="219"/>
                    </a:lnTo>
                    <a:lnTo>
                      <a:pt x="319" y="221"/>
                    </a:lnTo>
                    <a:lnTo>
                      <a:pt x="321" y="221"/>
                    </a:lnTo>
                    <a:lnTo>
                      <a:pt x="323" y="223"/>
                    </a:lnTo>
                    <a:lnTo>
                      <a:pt x="325" y="223"/>
                    </a:lnTo>
                    <a:lnTo>
                      <a:pt x="325" y="225"/>
                    </a:lnTo>
                    <a:lnTo>
                      <a:pt x="327" y="225"/>
                    </a:lnTo>
                    <a:lnTo>
                      <a:pt x="325" y="225"/>
                    </a:lnTo>
                    <a:lnTo>
                      <a:pt x="325" y="229"/>
                    </a:lnTo>
                    <a:lnTo>
                      <a:pt x="323" y="229"/>
                    </a:lnTo>
                    <a:lnTo>
                      <a:pt x="325" y="229"/>
                    </a:lnTo>
                    <a:lnTo>
                      <a:pt x="323" y="231"/>
                    </a:lnTo>
                    <a:lnTo>
                      <a:pt x="321" y="233"/>
                    </a:lnTo>
                    <a:lnTo>
                      <a:pt x="321" y="235"/>
                    </a:lnTo>
                    <a:lnTo>
                      <a:pt x="319" y="235"/>
                    </a:lnTo>
                    <a:lnTo>
                      <a:pt x="317" y="235"/>
                    </a:lnTo>
                    <a:lnTo>
                      <a:pt x="317" y="237"/>
                    </a:lnTo>
                    <a:lnTo>
                      <a:pt x="315" y="237"/>
                    </a:lnTo>
                    <a:lnTo>
                      <a:pt x="314" y="237"/>
                    </a:lnTo>
                    <a:lnTo>
                      <a:pt x="312" y="237"/>
                    </a:lnTo>
                    <a:lnTo>
                      <a:pt x="312" y="238"/>
                    </a:lnTo>
                    <a:lnTo>
                      <a:pt x="310" y="240"/>
                    </a:lnTo>
                    <a:lnTo>
                      <a:pt x="310" y="242"/>
                    </a:lnTo>
                    <a:lnTo>
                      <a:pt x="308" y="242"/>
                    </a:lnTo>
                    <a:lnTo>
                      <a:pt x="308" y="244"/>
                    </a:lnTo>
                    <a:lnTo>
                      <a:pt x="310" y="244"/>
                    </a:lnTo>
                    <a:lnTo>
                      <a:pt x="310" y="246"/>
                    </a:lnTo>
                    <a:lnTo>
                      <a:pt x="310" y="248"/>
                    </a:lnTo>
                    <a:lnTo>
                      <a:pt x="310" y="250"/>
                    </a:lnTo>
                    <a:lnTo>
                      <a:pt x="310" y="252"/>
                    </a:lnTo>
                    <a:lnTo>
                      <a:pt x="310" y="254"/>
                    </a:lnTo>
                    <a:lnTo>
                      <a:pt x="310" y="256"/>
                    </a:lnTo>
                    <a:lnTo>
                      <a:pt x="310" y="258"/>
                    </a:lnTo>
                    <a:lnTo>
                      <a:pt x="312" y="258"/>
                    </a:lnTo>
                    <a:lnTo>
                      <a:pt x="312" y="260"/>
                    </a:lnTo>
                    <a:lnTo>
                      <a:pt x="312" y="258"/>
                    </a:lnTo>
                    <a:lnTo>
                      <a:pt x="314" y="258"/>
                    </a:lnTo>
                    <a:lnTo>
                      <a:pt x="312" y="258"/>
                    </a:lnTo>
                    <a:lnTo>
                      <a:pt x="312" y="256"/>
                    </a:lnTo>
                    <a:lnTo>
                      <a:pt x="314" y="256"/>
                    </a:lnTo>
                    <a:lnTo>
                      <a:pt x="314" y="258"/>
                    </a:lnTo>
                    <a:lnTo>
                      <a:pt x="317" y="263"/>
                    </a:lnTo>
                    <a:lnTo>
                      <a:pt x="319" y="265"/>
                    </a:lnTo>
                    <a:lnTo>
                      <a:pt x="319" y="267"/>
                    </a:lnTo>
                    <a:lnTo>
                      <a:pt x="321" y="267"/>
                    </a:lnTo>
                    <a:lnTo>
                      <a:pt x="323" y="267"/>
                    </a:lnTo>
                    <a:lnTo>
                      <a:pt x="321" y="269"/>
                    </a:lnTo>
                    <a:lnTo>
                      <a:pt x="319" y="269"/>
                    </a:lnTo>
                    <a:lnTo>
                      <a:pt x="319" y="271"/>
                    </a:lnTo>
                    <a:lnTo>
                      <a:pt x="317" y="271"/>
                    </a:lnTo>
                    <a:lnTo>
                      <a:pt x="317" y="273"/>
                    </a:lnTo>
                    <a:lnTo>
                      <a:pt x="317" y="271"/>
                    </a:lnTo>
                    <a:lnTo>
                      <a:pt x="317" y="273"/>
                    </a:lnTo>
                    <a:lnTo>
                      <a:pt x="315" y="273"/>
                    </a:lnTo>
                    <a:lnTo>
                      <a:pt x="314" y="273"/>
                    </a:lnTo>
                    <a:lnTo>
                      <a:pt x="315" y="275"/>
                    </a:lnTo>
                    <a:lnTo>
                      <a:pt x="315" y="277"/>
                    </a:lnTo>
                    <a:lnTo>
                      <a:pt x="319" y="279"/>
                    </a:lnTo>
                    <a:lnTo>
                      <a:pt x="319" y="281"/>
                    </a:lnTo>
                    <a:lnTo>
                      <a:pt x="333" y="285"/>
                    </a:lnTo>
                    <a:lnTo>
                      <a:pt x="333" y="287"/>
                    </a:lnTo>
                    <a:lnTo>
                      <a:pt x="331" y="287"/>
                    </a:lnTo>
                    <a:lnTo>
                      <a:pt x="331" y="288"/>
                    </a:lnTo>
                    <a:lnTo>
                      <a:pt x="329" y="288"/>
                    </a:lnTo>
                    <a:lnTo>
                      <a:pt x="331" y="290"/>
                    </a:lnTo>
                    <a:lnTo>
                      <a:pt x="331" y="292"/>
                    </a:lnTo>
                    <a:lnTo>
                      <a:pt x="329" y="292"/>
                    </a:lnTo>
                    <a:lnTo>
                      <a:pt x="331" y="292"/>
                    </a:lnTo>
                    <a:lnTo>
                      <a:pt x="331" y="294"/>
                    </a:lnTo>
                    <a:lnTo>
                      <a:pt x="331" y="296"/>
                    </a:lnTo>
                    <a:lnTo>
                      <a:pt x="333" y="296"/>
                    </a:lnTo>
                    <a:lnTo>
                      <a:pt x="335" y="296"/>
                    </a:lnTo>
                    <a:lnTo>
                      <a:pt x="335" y="298"/>
                    </a:lnTo>
                    <a:lnTo>
                      <a:pt x="337" y="298"/>
                    </a:lnTo>
                    <a:lnTo>
                      <a:pt x="339" y="298"/>
                    </a:lnTo>
                    <a:lnTo>
                      <a:pt x="339" y="300"/>
                    </a:lnTo>
                    <a:lnTo>
                      <a:pt x="340" y="300"/>
                    </a:lnTo>
                    <a:lnTo>
                      <a:pt x="342" y="302"/>
                    </a:lnTo>
                    <a:lnTo>
                      <a:pt x="342" y="304"/>
                    </a:lnTo>
                    <a:lnTo>
                      <a:pt x="344" y="304"/>
                    </a:lnTo>
                    <a:lnTo>
                      <a:pt x="346" y="306"/>
                    </a:lnTo>
                    <a:lnTo>
                      <a:pt x="346" y="304"/>
                    </a:lnTo>
                    <a:lnTo>
                      <a:pt x="346" y="306"/>
                    </a:lnTo>
                    <a:lnTo>
                      <a:pt x="346" y="308"/>
                    </a:lnTo>
                    <a:lnTo>
                      <a:pt x="346" y="310"/>
                    </a:lnTo>
                    <a:lnTo>
                      <a:pt x="346" y="312"/>
                    </a:lnTo>
                    <a:lnTo>
                      <a:pt x="350" y="317"/>
                    </a:lnTo>
                    <a:lnTo>
                      <a:pt x="344" y="317"/>
                    </a:lnTo>
                    <a:lnTo>
                      <a:pt x="339" y="329"/>
                    </a:lnTo>
                    <a:lnTo>
                      <a:pt x="335" y="335"/>
                    </a:lnTo>
                    <a:lnTo>
                      <a:pt x="331" y="344"/>
                    </a:lnTo>
                    <a:lnTo>
                      <a:pt x="312" y="344"/>
                    </a:lnTo>
                    <a:lnTo>
                      <a:pt x="306" y="346"/>
                    </a:lnTo>
                    <a:lnTo>
                      <a:pt x="304" y="346"/>
                    </a:lnTo>
                    <a:lnTo>
                      <a:pt x="304" y="344"/>
                    </a:lnTo>
                    <a:lnTo>
                      <a:pt x="302" y="344"/>
                    </a:lnTo>
                    <a:lnTo>
                      <a:pt x="298" y="342"/>
                    </a:lnTo>
                    <a:lnTo>
                      <a:pt x="296" y="342"/>
                    </a:lnTo>
                    <a:lnTo>
                      <a:pt x="294" y="340"/>
                    </a:lnTo>
                    <a:lnTo>
                      <a:pt x="292" y="340"/>
                    </a:lnTo>
                    <a:lnTo>
                      <a:pt x="289" y="338"/>
                    </a:lnTo>
                    <a:lnTo>
                      <a:pt x="287" y="333"/>
                    </a:lnTo>
                    <a:lnTo>
                      <a:pt x="287" y="329"/>
                    </a:lnTo>
                    <a:lnTo>
                      <a:pt x="289" y="327"/>
                    </a:lnTo>
                    <a:lnTo>
                      <a:pt x="283" y="323"/>
                    </a:lnTo>
                    <a:lnTo>
                      <a:pt x="281" y="327"/>
                    </a:lnTo>
                    <a:lnTo>
                      <a:pt x="279" y="329"/>
                    </a:lnTo>
                    <a:lnTo>
                      <a:pt x="279" y="331"/>
                    </a:lnTo>
                    <a:lnTo>
                      <a:pt x="279" y="333"/>
                    </a:lnTo>
                    <a:lnTo>
                      <a:pt x="277" y="335"/>
                    </a:lnTo>
                    <a:lnTo>
                      <a:pt x="273" y="337"/>
                    </a:lnTo>
                    <a:lnTo>
                      <a:pt x="271" y="337"/>
                    </a:lnTo>
                    <a:lnTo>
                      <a:pt x="269" y="340"/>
                    </a:lnTo>
                    <a:lnTo>
                      <a:pt x="267" y="340"/>
                    </a:lnTo>
                    <a:lnTo>
                      <a:pt x="262" y="338"/>
                    </a:lnTo>
                    <a:lnTo>
                      <a:pt x="258" y="340"/>
                    </a:lnTo>
                    <a:lnTo>
                      <a:pt x="258" y="338"/>
                    </a:lnTo>
                    <a:lnTo>
                      <a:pt x="258" y="337"/>
                    </a:lnTo>
                    <a:lnTo>
                      <a:pt x="256" y="337"/>
                    </a:lnTo>
                    <a:lnTo>
                      <a:pt x="258" y="335"/>
                    </a:lnTo>
                    <a:lnTo>
                      <a:pt x="258" y="333"/>
                    </a:lnTo>
                    <a:lnTo>
                      <a:pt x="260" y="335"/>
                    </a:lnTo>
                    <a:lnTo>
                      <a:pt x="262" y="335"/>
                    </a:lnTo>
                    <a:lnTo>
                      <a:pt x="260" y="333"/>
                    </a:lnTo>
                    <a:lnTo>
                      <a:pt x="260" y="331"/>
                    </a:lnTo>
                    <a:lnTo>
                      <a:pt x="260" y="329"/>
                    </a:lnTo>
                    <a:lnTo>
                      <a:pt x="258" y="329"/>
                    </a:lnTo>
                    <a:lnTo>
                      <a:pt x="256" y="327"/>
                    </a:lnTo>
                    <a:lnTo>
                      <a:pt x="254" y="327"/>
                    </a:lnTo>
                    <a:lnTo>
                      <a:pt x="252" y="327"/>
                    </a:lnTo>
                    <a:lnTo>
                      <a:pt x="252" y="325"/>
                    </a:lnTo>
                    <a:lnTo>
                      <a:pt x="250" y="325"/>
                    </a:lnTo>
                    <a:lnTo>
                      <a:pt x="250" y="323"/>
                    </a:lnTo>
                    <a:lnTo>
                      <a:pt x="248" y="323"/>
                    </a:lnTo>
                    <a:lnTo>
                      <a:pt x="246" y="323"/>
                    </a:lnTo>
                    <a:lnTo>
                      <a:pt x="246" y="321"/>
                    </a:lnTo>
                    <a:lnTo>
                      <a:pt x="244" y="321"/>
                    </a:lnTo>
                    <a:lnTo>
                      <a:pt x="244" y="319"/>
                    </a:lnTo>
                    <a:lnTo>
                      <a:pt x="242" y="319"/>
                    </a:lnTo>
                    <a:lnTo>
                      <a:pt x="241" y="319"/>
                    </a:lnTo>
                    <a:lnTo>
                      <a:pt x="241" y="317"/>
                    </a:lnTo>
                    <a:lnTo>
                      <a:pt x="241" y="315"/>
                    </a:lnTo>
                    <a:lnTo>
                      <a:pt x="239" y="313"/>
                    </a:lnTo>
                    <a:lnTo>
                      <a:pt x="239" y="312"/>
                    </a:lnTo>
                    <a:lnTo>
                      <a:pt x="241" y="312"/>
                    </a:lnTo>
                    <a:lnTo>
                      <a:pt x="241" y="310"/>
                    </a:lnTo>
                    <a:lnTo>
                      <a:pt x="237" y="308"/>
                    </a:lnTo>
                    <a:lnTo>
                      <a:pt x="235" y="308"/>
                    </a:lnTo>
                    <a:lnTo>
                      <a:pt x="237" y="306"/>
                    </a:lnTo>
                    <a:lnTo>
                      <a:pt x="239" y="306"/>
                    </a:lnTo>
                    <a:lnTo>
                      <a:pt x="239" y="304"/>
                    </a:lnTo>
                    <a:lnTo>
                      <a:pt x="237" y="304"/>
                    </a:lnTo>
                    <a:lnTo>
                      <a:pt x="235" y="304"/>
                    </a:lnTo>
                    <a:lnTo>
                      <a:pt x="235" y="300"/>
                    </a:lnTo>
                    <a:lnTo>
                      <a:pt x="237" y="298"/>
                    </a:lnTo>
                    <a:lnTo>
                      <a:pt x="237" y="296"/>
                    </a:lnTo>
                    <a:lnTo>
                      <a:pt x="239" y="296"/>
                    </a:lnTo>
                    <a:lnTo>
                      <a:pt x="239" y="294"/>
                    </a:lnTo>
                    <a:lnTo>
                      <a:pt x="239" y="292"/>
                    </a:lnTo>
                    <a:lnTo>
                      <a:pt x="239" y="290"/>
                    </a:lnTo>
                    <a:lnTo>
                      <a:pt x="239" y="288"/>
                    </a:lnTo>
                    <a:lnTo>
                      <a:pt x="235" y="288"/>
                    </a:lnTo>
                    <a:lnTo>
                      <a:pt x="233" y="287"/>
                    </a:lnTo>
                    <a:lnTo>
                      <a:pt x="233" y="285"/>
                    </a:lnTo>
                    <a:lnTo>
                      <a:pt x="235" y="281"/>
                    </a:lnTo>
                    <a:lnTo>
                      <a:pt x="233" y="281"/>
                    </a:lnTo>
                    <a:lnTo>
                      <a:pt x="231" y="281"/>
                    </a:lnTo>
                    <a:lnTo>
                      <a:pt x="229" y="281"/>
                    </a:lnTo>
                    <a:lnTo>
                      <a:pt x="227" y="283"/>
                    </a:lnTo>
                    <a:lnTo>
                      <a:pt x="229" y="283"/>
                    </a:lnTo>
                    <a:lnTo>
                      <a:pt x="227" y="285"/>
                    </a:lnTo>
                    <a:lnTo>
                      <a:pt x="225" y="285"/>
                    </a:lnTo>
                    <a:lnTo>
                      <a:pt x="223" y="285"/>
                    </a:lnTo>
                    <a:lnTo>
                      <a:pt x="223" y="283"/>
                    </a:lnTo>
                    <a:lnTo>
                      <a:pt x="223" y="281"/>
                    </a:lnTo>
                    <a:lnTo>
                      <a:pt x="221" y="281"/>
                    </a:lnTo>
                    <a:lnTo>
                      <a:pt x="219" y="281"/>
                    </a:lnTo>
                    <a:lnTo>
                      <a:pt x="217" y="281"/>
                    </a:lnTo>
                    <a:lnTo>
                      <a:pt x="217" y="279"/>
                    </a:lnTo>
                    <a:lnTo>
                      <a:pt x="216" y="279"/>
                    </a:lnTo>
                    <a:lnTo>
                      <a:pt x="216" y="277"/>
                    </a:lnTo>
                    <a:lnTo>
                      <a:pt x="216" y="275"/>
                    </a:lnTo>
                    <a:lnTo>
                      <a:pt x="214" y="275"/>
                    </a:lnTo>
                    <a:lnTo>
                      <a:pt x="212" y="279"/>
                    </a:lnTo>
                    <a:lnTo>
                      <a:pt x="212" y="281"/>
                    </a:lnTo>
                    <a:lnTo>
                      <a:pt x="208" y="287"/>
                    </a:lnTo>
                    <a:lnTo>
                      <a:pt x="208" y="288"/>
                    </a:lnTo>
                    <a:lnTo>
                      <a:pt x="206" y="288"/>
                    </a:lnTo>
                    <a:lnTo>
                      <a:pt x="206" y="287"/>
                    </a:lnTo>
                    <a:lnTo>
                      <a:pt x="204" y="287"/>
                    </a:lnTo>
                    <a:lnTo>
                      <a:pt x="202" y="287"/>
                    </a:lnTo>
                    <a:lnTo>
                      <a:pt x="202" y="285"/>
                    </a:lnTo>
                    <a:lnTo>
                      <a:pt x="200" y="287"/>
                    </a:lnTo>
                    <a:lnTo>
                      <a:pt x="198" y="288"/>
                    </a:lnTo>
                    <a:lnTo>
                      <a:pt x="196" y="288"/>
                    </a:lnTo>
                    <a:lnTo>
                      <a:pt x="196" y="287"/>
                    </a:lnTo>
                    <a:lnTo>
                      <a:pt x="196" y="285"/>
                    </a:lnTo>
                    <a:lnTo>
                      <a:pt x="194" y="285"/>
                    </a:lnTo>
                    <a:lnTo>
                      <a:pt x="194" y="283"/>
                    </a:lnTo>
                    <a:lnTo>
                      <a:pt x="194" y="281"/>
                    </a:lnTo>
                    <a:lnTo>
                      <a:pt x="194" y="279"/>
                    </a:lnTo>
                    <a:lnTo>
                      <a:pt x="194" y="277"/>
                    </a:lnTo>
                    <a:lnTo>
                      <a:pt x="194" y="279"/>
                    </a:lnTo>
                    <a:lnTo>
                      <a:pt x="194" y="277"/>
                    </a:lnTo>
                    <a:lnTo>
                      <a:pt x="194" y="275"/>
                    </a:lnTo>
                    <a:lnTo>
                      <a:pt x="193" y="275"/>
                    </a:lnTo>
                    <a:lnTo>
                      <a:pt x="193" y="273"/>
                    </a:lnTo>
                    <a:lnTo>
                      <a:pt x="193" y="271"/>
                    </a:lnTo>
                    <a:lnTo>
                      <a:pt x="193" y="269"/>
                    </a:lnTo>
                    <a:lnTo>
                      <a:pt x="191" y="269"/>
                    </a:lnTo>
                    <a:lnTo>
                      <a:pt x="187" y="269"/>
                    </a:lnTo>
                    <a:lnTo>
                      <a:pt x="185" y="269"/>
                    </a:lnTo>
                    <a:lnTo>
                      <a:pt x="185" y="267"/>
                    </a:lnTo>
                    <a:lnTo>
                      <a:pt x="183" y="267"/>
                    </a:lnTo>
                    <a:lnTo>
                      <a:pt x="181" y="265"/>
                    </a:lnTo>
                    <a:lnTo>
                      <a:pt x="179" y="265"/>
                    </a:lnTo>
                    <a:lnTo>
                      <a:pt x="177" y="265"/>
                    </a:lnTo>
                    <a:lnTo>
                      <a:pt x="175" y="265"/>
                    </a:lnTo>
                    <a:lnTo>
                      <a:pt x="175" y="271"/>
                    </a:lnTo>
                    <a:lnTo>
                      <a:pt x="173" y="271"/>
                    </a:lnTo>
                    <a:lnTo>
                      <a:pt x="173" y="269"/>
                    </a:lnTo>
                    <a:lnTo>
                      <a:pt x="171" y="269"/>
                    </a:lnTo>
                    <a:lnTo>
                      <a:pt x="171" y="267"/>
                    </a:lnTo>
                    <a:lnTo>
                      <a:pt x="171" y="265"/>
                    </a:lnTo>
                    <a:lnTo>
                      <a:pt x="169" y="265"/>
                    </a:lnTo>
                    <a:lnTo>
                      <a:pt x="169" y="263"/>
                    </a:lnTo>
                    <a:lnTo>
                      <a:pt x="169" y="262"/>
                    </a:lnTo>
                    <a:lnTo>
                      <a:pt x="168" y="262"/>
                    </a:lnTo>
                    <a:lnTo>
                      <a:pt x="166" y="269"/>
                    </a:lnTo>
                    <a:lnTo>
                      <a:pt x="164" y="267"/>
                    </a:lnTo>
                    <a:lnTo>
                      <a:pt x="162" y="267"/>
                    </a:lnTo>
                    <a:lnTo>
                      <a:pt x="162" y="269"/>
                    </a:lnTo>
                    <a:lnTo>
                      <a:pt x="160" y="271"/>
                    </a:lnTo>
                    <a:lnTo>
                      <a:pt x="158" y="269"/>
                    </a:lnTo>
                    <a:lnTo>
                      <a:pt x="156" y="269"/>
                    </a:lnTo>
                    <a:lnTo>
                      <a:pt x="156" y="265"/>
                    </a:lnTo>
                    <a:lnTo>
                      <a:pt x="154" y="269"/>
                    </a:lnTo>
                    <a:lnTo>
                      <a:pt x="152" y="269"/>
                    </a:lnTo>
                    <a:lnTo>
                      <a:pt x="150" y="273"/>
                    </a:lnTo>
                    <a:lnTo>
                      <a:pt x="150" y="275"/>
                    </a:lnTo>
                    <a:lnTo>
                      <a:pt x="148" y="277"/>
                    </a:lnTo>
                    <a:lnTo>
                      <a:pt x="146" y="279"/>
                    </a:lnTo>
                    <a:lnTo>
                      <a:pt x="144" y="281"/>
                    </a:lnTo>
                    <a:lnTo>
                      <a:pt x="143" y="281"/>
                    </a:lnTo>
                    <a:lnTo>
                      <a:pt x="141" y="281"/>
                    </a:lnTo>
                    <a:lnTo>
                      <a:pt x="139" y="281"/>
                    </a:lnTo>
                    <a:lnTo>
                      <a:pt x="137" y="283"/>
                    </a:lnTo>
                    <a:lnTo>
                      <a:pt x="137" y="281"/>
                    </a:lnTo>
                    <a:lnTo>
                      <a:pt x="135" y="281"/>
                    </a:lnTo>
                    <a:lnTo>
                      <a:pt x="135" y="283"/>
                    </a:lnTo>
                    <a:lnTo>
                      <a:pt x="133" y="283"/>
                    </a:lnTo>
                    <a:lnTo>
                      <a:pt x="131" y="283"/>
                    </a:lnTo>
                    <a:lnTo>
                      <a:pt x="131" y="285"/>
                    </a:lnTo>
                    <a:lnTo>
                      <a:pt x="129" y="285"/>
                    </a:lnTo>
                    <a:lnTo>
                      <a:pt x="127" y="283"/>
                    </a:lnTo>
                    <a:lnTo>
                      <a:pt x="127" y="281"/>
                    </a:lnTo>
                    <a:lnTo>
                      <a:pt x="127" y="279"/>
                    </a:lnTo>
                    <a:lnTo>
                      <a:pt x="125" y="279"/>
                    </a:lnTo>
                    <a:lnTo>
                      <a:pt x="125" y="277"/>
                    </a:lnTo>
                    <a:lnTo>
                      <a:pt x="125" y="275"/>
                    </a:lnTo>
                    <a:lnTo>
                      <a:pt x="125" y="273"/>
                    </a:lnTo>
                    <a:lnTo>
                      <a:pt x="123" y="273"/>
                    </a:lnTo>
                    <a:lnTo>
                      <a:pt x="123" y="271"/>
                    </a:lnTo>
                    <a:lnTo>
                      <a:pt x="121" y="271"/>
                    </a:lnTo>
                    <a:lnTo>
                      <a:pt x="121" y="273"/>
                    </a:lnTo>
                    <a:lnTo>
                      <a:pt x="120" y="267"/>
                    </a:lnTo>
                    <a:lnTo>
                      <a:pt x="118" y="260"/>
                    </a:lnTo>
                    <a:lnTo>
                      <a:pt x="116" y="260"/>
                    </a:lnTo>
                    <a:lnTo>
                      <a:pt x="114" y="258"/>
                    </a:lnTo>
                    <a:lnTo>
                      <a:pt x="116" y="256"/>
                    </a:lnTo>
                    <a:lnTo>
                      <a:pt x="118" y="256"/>
                    </a:lnTo>
                    <a:lnTo>
                      <a:pt x="118" y="254"/>
                    </a:lnTo>
                    <a:lnTo>
                      <a:pt x="120" y="254"/>
                    </a:lnTo>
                    <a:lnTo>
                      <a:pt x="118" y="254"/>
                    </a:lnTo>
                    <a:lnTo>
                      <a:pt x="118" y="252"/>
                    </a:lnTo>
                    <a:lnTo>
                      <a:pt x="116" y="252"/>
                    </a:lnTo>
                    <a:lnTo>
                      <a:pt x="118" y="252"/>
                    </a:lnTo>
                    <a:lnTo>
                      <a:pt x="116" y="252"/>
                    </a:lnTo>
                    <a:lnTo>
                      <a:pt x="114" y="250"/>
                    </a:lnTo>
                    <a:lnTo>
                      <a:pt x="112" y="250"/>
                    </a:lnTo>
                    <a:lnTo>
                      <a:pt x="112" y="248"/>
                    </a:lnTo>
                    <a:lnTo>
                      <a:pt x="114" y="246"/>
                    </a:lnTo>
                    <a:lnTo>
                      <a:pt x="112" y="246"/>
                    </a:lnTo>
                    <a:lnTo>
                      <a:pt x="112" y="244"/>
                    </a:lnTo>
                    <a:lnTo>
                      <a:pt x="110" y="244"/>
                    </a:lnTo>
                    <a:lnTo>
                      <a:pt x="110" y="242"/>
                    </a:lnTo>
                    <a:lnTo>
                      <a:pt x="110" y="240"/>
                    </a:lnTo>
                    <a:lnTo>
                      <a:pt x="110" y="238"/>
                    </a:lnTo>
                    <a:lnTo>
                      <a:pt x="108" y="238"/>
                    </a:lnTo>
                    <a:lnTo>
                      <a:pt x="108" y="240"/>
                    </a:lnTo>
                    <a:lnTo>
                      <a:pt x="108" y="238"/>
                    </a:lnTo>
                    <a:lnTo>
                      <a:pt x="106" y="238"/>
                    </a:lnTo>
                    <a:lnTo>
                      <a:pt x="104" y="238"/>
                    </a:lnTo>
                    <a:lnTo>
                      <a:pt x="102" y="238"/>
                    </a:lnTo>
                    <a:lnTo>
                      <a:pt x="102" y="240"/>
                    </a:lnTo>
                    <a:lnTo>
                      <a:pt x="102" y="242"/>
                    </a:lnTo>
                    <a:lnTo>
                      <a:pt x="102" y="240"/>
                    </a:lnTo>
                    <a:lnTo>
                      <a:pt x="102" y="242"/>
                    </a:lnTo>
                    <a:lnTo>
                      <a:pt x="102" y="244"/>
                    </a:lnTo>
                    <a:lnTo>
                      <a:pt x="102" y="242"/>
                    </a:lnTo>
                    <a:lnTo>
                      <a:pt x="100" y="244"/>
                    </a:lnTo>
                    <a:lnTo>
                      <a:pt x="100" y="242"/>
                    </a:lnTo>
                    <a:lnTo>
                      <a:pt x="100" y="244"/>
                    </a:lnTo>
                    <a:lnTo>
                      <a:pt x="100" y="242"/>
                    </a:lnTo>
                    <a:lnTo>
                      <a:pt x="100" y="244"/>
                    </a:lnTo>
                    <a:lnTo>
                      <a:pt x="102" y="244"/>
                    </a:lnTo>
                    <a:lnTo>
                      <a:pt x="102" y="246"/>
                    </a:lnTo>
                    <a:lnTo>
                      <a:pt x="104" y="246"/>
                    </a:lnTo>
                    <a:lnTo>
                      <a:pt x="104" y="248"/>
                    </a:lnTo>
                    <a:lnTo>
                      <a:pt x="102" y="252"/>
                    </a:lnTo>
                    <a:lnTo>
                      <a:pt x="100" y="252"/>
                    </a:lnTo>
                    <a:lnTo>
                      <a:pt x="100" y="256"/>
                    </a:lnTo>
                    <a:lnTo>
                      <a:pt x="98" y="260"/>
                    </a:lnTo>
                    <a:lnTo>
                      <a:pt x="98" y="262"/>
                    </a:lnTo>
                    <a:lnTo>
                      <a:pt x="98" y="263"/>
                    </a:lnTo>
                    <a:lnTo>
                      <a:pt x="98" y="265"/>
                    </a:lnTo>
                    <a:lnTo>
                      <a:pt x="96" y="267"/>
                    </a:lnTo>
                    <a:lnTo>
                      <a:pt x="95" y="267"/>
                    </a:lnTo>
                    <a:lnTo>
                      <a:pt x="93" y="269"/>
                    </a:lnTo>
                    <a:lnTo>
                      <a:pt x="91" y="269"/>
                    </a:lnTo>
                    <a:lnTo>
                      <a:pt x="91" y="267"/>
                    </a:lnTo>
                    <a:lnTo>
                      <a:pt x="89" y="269"/>
                    </a:lnTo>
                    <a:lnTo>
                      <a:pt x="89" y="267"/>
                    </a:lnTo>
                    <a:lnTo>
                      <a:pt x="87" y="265"/>
                    </a:lnTo>
                    <a:lnTo>
                      <a:pt x="87" y="262"/>
                    </a:lnTo>
                    <a:lnTo>
                      <a:pt x="89" y="260"/>
                    </a:lnTo>
                    <a:lnTo>
                      <a:pt x="89" y="258"/>
                    </a:lnTo>
                    <a:lnTo>
                      <a:pt x="91" y="258"/>
                    </a:lnTo>
                    <a:lnTo>
                      <a:pt x="91" y="256"/>
                    </a:lnTo>
                    <a:lnTo>
                      <a:pt x="93" y="256"/>
                    </a:lnTo>
                    <a:lnTo>
                      <a:pt x="93" y="254"/>
                    </a:lnTo>
                    <a:lnTo>
                      <a:pt x="93" y="252"/>
                    </a:lnTo>
                    <a:lnTo>
                      <a:pt x="95" y="252"/>
                    </a:lnTo>
                    <a:lnTo>
                      <a:pt x="95" y="250"/>
                    </a:lnTo>
                    <a:lnTo>
                      <a:pt x="96" y="250"/>
                    </a:lnTo>
                    <a:lnTo>
                      <a:pt x="96" y="248"/>
                    </a:lnTo>
                    <a:lnTo>
                      <a:pt x="98" y="248"/>
                    </a:lnTo>
                    <a:lnTo>
                      <a:pt x="96" y="248"/>
                    </a:lnTo>
                    <a:lnTo>
                      <a:pt x="95" y="248"/>
                    </a:lnTo>
                    <a:lnTo>
                      <a:pt x="95" y="246"/>
                    </a:lnTo>
                    <a:lnTo>
                      <a:pt x="95" y="244"/>
                    </a:lnTo>
                    <a:lnTo>
                      <a:pt x="93" y="244"/>
                    </a:lnTo>
                    <a:lnTo>
                      <a:pt x="93" y="242"/>
                    </a:lnTo>
                    <a:lnTo>
                      <a:pt x="93" y="240"/>
                    </a:lnTo>
                    <a:lnTo>
                      <a:pt x="91" y="242"/>
                    </a:lnTo>
                    <a:lnTo>
                      <a:pt x="91" y="240"/>
                    </a:lnTo>
                    <a:lnTo>
                      <a:pt x="93" y="238"/>
                    </a:lnTo>
                    <a:lnTo>
                      <a:pt x="91" y="238"/>
                    </a:lnTo>
                    <a:lnTo>
                      <a:pt x="93" y="238"/>
                    </a:lnTo>
                    <a:lnTo>
                      <a:pt x="91" y="238"/>
                    </a:lnTo>
                    <a:lnTo>
                      <a:pt x="91" y="237"/>
                    </a:lnTo>
                    <a:lnTo>
                      <a:pt x="89" y="237"/>
                    </a:lnTo>
                    <a:lnTo>
                      <a:pt x="89" y="235"/>
                    </a:lnTo>
                    <a:lnTo>
                      <a:pt x="91" y="235"/>
                    </a:lnTo>
                    <a:lnTo>
                      <a:pt x="89" y="235"/>
                    </a:lnTo>
                    <a:lnTo>
                      <a:pt x="89" y="233"/>
                    </a:lnTo>
                    <a:lnTo>
                      <a:pt x="91" y="233"/>
                    </a:lnTo>
                    <a:lnTo>
                      <a:pt x="89" y="233"/>
                    </a:lnTo>
                    <a:lnTo>
                      <a:pt x="91" y="233"/>
                    </a:lnTo>
                    <a:lnTo>
                      <a:pt x="91" y="231"/>
                    </a:lnTo>
                    <a:lnTo>
                      <a:pt x="91" y="233"/>
                    </a:lnTo>
                    <a:lnTo>
                      <a:pt x="91" y="231"/>
                    </a:lnTo>
                    <a:lnTo>
                      <a:pt x="91" y="229"/>
                    </a:lnTo>
                    <a:lnTo>
                      <a:pt x="91" y="231"/>
                    </a:lnTo>
                    <a:lnTo>
                      <a:pt x="91" y="229"/>
                    </a:lnTo>
                    <a:lnTo>
                      <a:pt x="91" y="227"/>
                    </a:lnTo>
                    <a:lnTo>
                      <a:pt x="91" y="225"/>
                    </a:lnTo>
                    <a:lnTo>
                      <a:pt x="89" y="223"/>
                    </a:lnTo>
                    <a:lnTo>
                      <a:pt x="91" y="223"/>
                    </a:lnTo>
                    <a:lnTo>
                      <a:pt x="91" y="221"/>
                    </a:lnTo>
                    <a:lnTo>
                      <a:pt x="89" y="221"/>
                    </a:lnTo>
                    <a:lnTo>
                      <a:pt x="89" y="219"/>
                    </a:lnTo>
                    <a:lnTo>
                      <a:pt x="87" y="219"/>
                    </a:lnTo>
                    <a:lnTo>
                      <a:pt x="89" y="219"/>
                    </a:lnTo>
                    <a:lnTo>
                      <a:pt x="87" y="219"/>
                    </a:lnTo>
                    <a:lnTo>
                      <a:pt x="87" y="217"/>
                    </a:lnTo>
                    <a:lnTo>
                      <a:pt x="85" y="217"/>
                    </a:lnTo>
                    <a:lnTo>
                      <a:pt x="85" y="215"/>
                    </a:lnTo>
                    <a:lnTo>
                      <a:pt x="85" y="217"/>
                    </a:lnTo>
                    <a:lnTo>
                      <a:pt x="85" y="215"/>
                    </a:lnTo>
                    <a:lnTo>
                      <a:pt x="83" y="215"/>
                    </a:lnTo>
                    <a:lnTo>
                      <a:pt x="85" y="215"/>
                    </a:lnTo>
                    <a:lnTo>
                      <a:pt x="83" y="215"/>
                    </a:lnTo>
                    <a:lnTo>
                      <a:pt x="83" y="214"/>
                    </a:lnTo>
                    <a:lnTo>
                      <a:pt x="83" y="215"/>
                    </a:lnTo>
                    <a:lnTo>
                      <a:pt x="83" y="214"/>
                    </a:lnTo>
                    <a:lnTo>
                      <a:pt x="81" y="214"/>
                    </a:lnTo>
                    <a:lnTo>
                      <a:pt x="81" y="212"/>
                    </a:lnTo>
                    <a:lnTo>
                      <a:pt x="79" y="212"/>
                    </a:lnTo>
                    <a:lnTo>
                      <a:pt x="81" y="212"/>
                    </a:lnTo>
                    <a:lnTo>
                      <a:pt x="79" y="212"/>
                    </a:lnTo>
                    <a:lnTo>
                      <a:pt x="79" y="210"/>
                    </a:lnTo>
                    <a:lnTo>
                      <a:pt x="81" y="210"/>
                    </a:lnTo>
                    <a:lnTo>
                      <a:pt x="79" y="210"/>
                    </a:lnTo>
                    <a:lnTo>
                      <a:pt x="81" y="210"/>
                    </a:lnTo>
                    <a:lnTo>
                      <a:pt x="79" y="210"/>
                    </a:lnTo>
                    <a:lnTo>
                      <a:pt x="79" y="208"/>
                    </a:lnTo>
                    <a:lnTo>
                      <a:pt x="79" y="210"/>
                    </a:lnTo>
                    <a:lnTo>
                      <a:pt x="79" y="208"/>
                    </a:lnTo>
                    <a:lnTo>
                      <a:pt x="81" y="208"/>
                    </a:lnTo>
                    <a:lnTo>
                      <a:pt x="79" y="208"/>
                    </a:lnTo>
                    <a:lnTo>
                      <a:pt x="79" y="206"/>
                    </a:lnTo>
                    <a:lnTo>
                      <a:pt x="79" y="204"/>
                    </a:lnTo>
                    <a:lnTo>
                      <a:pt x="81" y="204"/>
                    </a:lnTo>
                    <a:lnTo>
                      <a:pt x="81" y="206"/>
                    </a:lnTo>
                    <a:lnTo>
                      <a:pt x="81" y="204"/>
                    </a:lnTo>
                    <a:lnTo>
                      <a:pt x="81" y="202"/>
                    </a:lnTo>
                    <a:lnTo>
                      <a:pt x="81" y="204"/>
                    </a:lnTo>
                    <a:lnTo>
                      <a:pt x="81" y="202"/>
                    </a:lnTo>
                    <a:lnTo>
                      <a:pt x="81" y="204"/>
                    </a:lnTo>
                    <a:lnTo>
                      <a:pt x="81" y="202"/>
                    </a:lnTo>
                    <a:lnTo>
                      <a:pt x="81" y="204"/>
                    </a:lnTo>
                    <a:lnTo>
                      <a:pt x="81" y="202"/>
                    </a:lnTo>
                    <a:lnTo>
                      <a:pt x="83" y="202"/>
                    </a:lnTo>
                    <a:lnTo>
                      <a:pt x="83" y="200"/>
                    </a:lnTo>
                    <a:lnTo>
                      <a:pt x="83" y="202"/>
                    </a:lnTo>
                    <a:lnTo>
                      <a:pt x="83" y="200"/>
                    </a:lnTo>
                    <a:lnTo>
                      <a:pt x="81" y="200"/>
                    </a:lnTo>
                    <a:lnTo>
                      <a:pt x="81" y="198"/>
                    </a:lnTo>
                    <a:lnTo>
                      <a:pt x="83" y="198"/>
                    </a:lnTo>
                    <a:lnTo>
                      <a:pt x="81" y="198"/>
                    </a:lnTo>
                    <a:lnTo>
                      <a:pt x="81" y="196"/>
                    </a:lnTo>
                    <a:lnTo>
                      <a:pt x="79" y="196"/>
                    </a:lnTo>
                    <a:lnTo>
                      <a:pt x="79" y="194"/>
                    </a:lnTo>
                    <a:lnTo>
                      <a:pt x="79" y="196"/>
                    </a:lnTo>
                    <a:lnTo>
                      <a:pt x="79" y="194"/>
                    </a:lnTo>
                    <a:lnTo>
                      <a:pt x="77" y="194"/>
                    </a:lnTo>
                    <a:lnTo>
                      <a:pt x="79" y="194"/>
                    </a:lnTo>
                    <a:lnTo>
                      <a:pt x="79" y="192"/>
                    </a:lnTo>
                    <a:lnTo>
                      <a:pt x="77" y="190"/>
                    </a:lnTo>
                    <a:lnTo>
                      <a:pt x="77" y="189"/>
                    </a:lnTo>
                    <a:lnTo>
                      <a:pt x="75" y="189"/>
                    </a:lnTo>
                    <a:lnTo>
                      <a:pt x="73" y="190"/>
                    </a:lnTo>
                    <a:lnTo>
                      <a:pt x="73" y="189"/>
                    </a:lnTo>
                    <a:lnTo>
                      <a:pt x="73" y="187"/>
                    </a:lnTo>
                    <a:lnTo>
                      <a:pt x="71" y="187"/>
                    </a:lnTo>
                    <a:lnTo>
                      <a:pt x="73" y="187"/>
                    </a:lnTo>
                    <a:lnTo>
                      <a:pt x="73" y="185"/>
                    </a:lnTo>
                    <a:lnTo>
                      <a:pt x="71" y="185"/>
                    </a:lnTo>
                    <a:lnTo>
                      <a:pt x="71" y="187"/>
                    </a:lnTo>
                    <a:lnTo>
                      <a:pt x="71" y="185"/>
                    </a:lnTo>
                    <a:lnTo>
                      <a:pt x="70" y="185"/>
                    </a:lnTo>
                    <a:lnTo>
                      <a:pt x="70" y="187"/>
                    </a:lnTo>
                    <a:lnTo>
                      <a:pt x="71" y="187"/>
                    </a:lnTo>
                    <a:lnTo>
                      <a:pt x="70" y="189"/>
                    </a:lnTo>
                    <a:lnTo>
                      <a:pt x="70" y="187"/>
                    </a:lnTo>
                    <a:lnTo>
                      <a:pt x="68" y="187"/>
                    </a:lnTo>
                    <a:lnTo>
                      <a:pt x="68" y="185"/>
                    </a:lnTo>
                    <a:lnTo>
                      <a:pt x="68" y="187"/>
                    </a:lnTo>
                    <a:lnTo>
                      <a:pt x="66" y="187"/>
                    </a:lnTo>
                    <a:lnTo>
                      <a:pt x="64" y="187"/>
                    </a:lnTo>
                    <a:lnTo>
                      <a:pt x="64" y="185"/>
                    </a:lnTo>
                    <a:lnTo>
                      <a:pt x="64" y="187"/>
                    </a:lnTo>
                    <a:lnTo>
                      <a:pt x="64" y="185"/>
                    </a:lnTo>
                    <a:lnTo>
                      <a:pt x="62" y="185"/>
                    </a:lnTo>
                    <a:lnTo>
                      <a:pt x="62" y="187"/>
                    </a:lnTo>
                    <a:lnTo>
                      <a:pt x="64" y="187"/>
                    </a:lnTo>
                    <a:lnTo>
                      <a:pt x="62" y="187"/>
                    </a:lnTo>
                    <a:lnTo>
                      <a:pt x="62" y="185"/>
                    </a:lnTo>
                    <a:lnTo>
                      <a:pt x="62" y="183"/>
                    </a:lnTo>
                    <a:lnTo>
                      <a:pt x="62" y="185"/>
                    </a:lnTo>
                    <a:lnTo>
                      <a:pt x="62" y="183"/>
                    </a:lnTo>
                    <a:lnTo>
                      <a:pt x="60" y="185"/>
                    </a:lnTo>
                    <a:lnTo>
                      <a:pt x="60" y="183"/>
                    </a:lnTo>
                    <a:lnTo>
                      <a:pt x="62" y="183"/>
                    </a:lnTo>
                    <a:lnTo>
                      <a:pt x="60" y="183"/>
                    </a:lnTo>
                    <a:lnTo>
                      <a:pt x="60" y="181"/>
                    </a:lnTo>
                    <a:lnTo>
                      <a:pt x="60" y="183"/>
                    </a:lnTo>
                    <a:lnTo>
                      <a:pt x="60" y="181"/>
                    </a:lnTo>
                    <a:lnTo>
                      <a:pt x="60" y="183"/>
                    </a:lnTo>
                    <a:lnTo>
                      <a:pt x="58" y="183"/>
                    </a:lnTo>
                    <a:lnTo>
                      <a:pt x="60" y="181"/>
                    </a:lnTo>
                    <a:lnTo>
                      <a:pt x="58" y="181"/>
                    </a:lnTo>
                    <a:lnTo>
                      <a:pt x="58" y="179"/>
                    </a:lnTo>
                    <a:lnTo>
                      <a:pt x="58" y="181"/>
                    </a:lnTo>
                    <a:lnTo>
                      <a:pt x="56" y="181"/>
                    </a:lnTo>
                    <a:lnTo>
                      <a:pt x="54" y="181"/>
                    </a:lnTo>
                    <a:lnTo>
                      <a:pt x="54" y="183"/>
                    </a:lnTo>
                    <a:lnTo>
                      <a:pt x="54" y="181"/>
                    </a:lnTo>
                    <a:lnTo>
                      <a:pt x="52" y="181"/>
                    </a:lnTo>
                    <a:lnTo>
                      <a:pt x="50" y="181"/>
                    </a:lnTo>
                    <a:lnTo>
                      <a:pt x="50" y="179"/>
                    </a:lnTo>
                    <a:lnTo>
                      <a:pt x="50" y="181"/>
                    </a:lnTo>
                    <a:lnTo>
                      <a:pt x="48" y="181"/>
                    </a:lnTo>
                    <a:lnTo>
                      <a:pt x="48" y="179"/>
                    </a:lnTo>
                    <a:lnTo>
                      <a:pt x="50" y="179"/>
                    </a:lnTo>
                    <a:lnTo>
                      <a:pt x="50" y="177"/>
                    </a:lnTo>
                    <a:lnTo>
                      <a:pt x="48" y="177"/>
                    </a:lnTo>
                    <a:lnTo>
                      <a:pt x="50" y="177"/>
                    </a:lnTo>
                    <a:lnTo>
                      <a:pt x="50" y="175"/>
                    </a:lnTo>
                    <a:lnTo>
                      <a:pt x="50" y="173"/>
                    </a:lnTo>
                    <a:lnTo>
                      <a:pt x="50" y="171"/>
                    </a:lnTo>
                    <a:lnTo>
                      <a:pt x="50" y="169"/>
                    </a:lnTo>
                    <a:lnTo>
                      <a:pt x="50" y="167"/>
                    </a:lnTo>
                    <a:lnTo>
                      <a:pt x="50" y="164"/>
                    </a:lnTo>
                    <a:lnTo>
                      <a:pt x="50" y="162"/>
                    </a:lnTo>
                    <a:lnTo>
                      <a:pt x="52" y="162"/>
                    </a:lnTo>
                    <a:lnTo>
                      <a:pt x="52" y="158"/>
                    </a:lnTo>
                    <a:lnTo>
                      <a:pt x="50" y="158"/>
                    </a:lnTo>
                    <a:lnTo>
                      <a:pt x="50" y="160"/>
                    </a:lnTo>
                    <a:lnTo>
                      <a:pt x="47" y="160"/>
                    </a:lnTo>
                    <a:lnTo>
                      <a:pt x="47" y="158"/>
                    </a:lnTo>
                    <a:lnTo>
                      <a:pt x="45" y="158"/>
                    </a:lnTo>
                    <a:lnTo>
                      <a:pt x="45" y="160"/>
                    </a:lnTo>
                    <a:lnTo>
                      <a:pt x="43" y="160"/>
                    </a:lnTo>
                    <a:lnTo>
                      <a:pt x="41" y="162"/>
                    </a:lnTo>
                    <a:lnTo>
                      <a:pt x="41" y="160"/>
                    </a:lnTo>
                    <a:lnTo>
                      <a:pt x="39" y="160"/>
                    </a:lnTo>
                    <a:lnTo>
                      <a:pt x="37" y="160"/>
                    </a:lnTo>
                    <a:lnTo>
                      <a:pt x="39" y="158"/>
                    </a:lnTo>
                    <a:lnTo>
                      <a:pt x="35" y="156"/>
                    </a:lnTo>
                    <a:lnTo>
                      <a:pt x="35" y="158"/>
                    </a:lnTo>
                    <a:lnTo>
                      <a:pt x="33" y="156"/>
                    </a:lnTo>
                    <a:lnTo>
                      <a:pt x="33" y="158"/>
                    </a:lnTo>
                    <a:lnTo>
                      <a:pt x="31" y="158"/>
                    </a:lnTo>
                    <a:lnTo>
                      <a:pt x="31" y="160"/>
                    </a:lnTo>
                    <a:lnTo>
                      <a:pt x="29" y="160"/>
                    </a:lnTo>
                    <a:lnTo>
                      <a:pt x="29" y="162"/>
                    </a:lnTo>
                    <a:lnTo>
                      <a:pt x="27" y="162"/>
                    </a:lnTo>
                    <a:lnTo>
                      <a:pt x="27" y="167"/>
                    </a:lnTo>
                    <a:lnTo>
                      <a:pt x="23" y="167"/>
                    </a:lnTo>
                    <a:lnTo>
                      <a:pt x="20" y="167"/>
                    </a:lnTo>
                    <a:lnTo>
                      <a:pt x="20" y="165"/>
                    </a:lnTo>
                    <a:lnTo>
                      <a:pt x="22" y="164"/>
                    </a:lnTo>
                    <a:lnTo>
                      <a:pt x="22" y="162"/>
                    </a:lnTo>
                    <a:lnTo>
                      <a:pt x="22" y="160"/>
                    </a:lnTo>
                    <a:lnTo>
                      <a:pt x="20" y="160"/>
                    </a:lnTo>
                    <a:lnTo>
                      <a:pt x="20" y="162"/>
                    </a:lnTo>
                    <a:lnTo>
                      <a:pt x="16" y="162"/>
                    </a:lnTo>
                    <a:lnTo>
                      <a:pt x="14" y="162"/>
                    </a:lnTo>
                    <a:lnTo>
                      <a:pt x="12" y="162"/>
                    </a:lnTo>
                    <a:lnTo>
                      <a:pt x="10" y="160"/>
                    </a:lnTo>
                    <a:lnTo>
                      <a:pt x="10" y="158"/>
                    </a:lnTo>
                    <a:lnTo>
                      <a:pt x="8" y="156"/>
                    </a:lnTo>
                    <a:lnTo>
                      <a:pt x="10" y="156"/>
                    </a:lnTo>
                    <a:lnTo>
                      <a:pt x="10" y="154"/>
                    </a:lnTo>
                    <a:lnTo>
                      <a:pt x="14" y="156"/>
                    </a:lnTo>
                    <a:lnTo>
                      <a:pt x="16" y="152"/>
                    </a:lnTo>
                    <a:lnTo>
                      <a:pt x="14" y="150"/>
                    </a:lnTo>
                    <a:lnTo>
                      <a:pt x="14" y="148"/>
                    </a:lnTo>
                    <a:lnTo>
                      <a:pt x="14" y="146"/>
                    </a:lnTo>
                    <a:lnTo>
                      <a:pt x="12" y="146"/>
                    </a:lnTo>
                    <a:lnTo>
                      <a:pt x="10" y="146"/>
                    </a:lnTo>
                    <a:lnTo>
                      <a:pt x="12" y="146"/>
                    </a:lnTo>
                    <a:lnTo>
                      <a:pt x="10" y="146"/>
                    </a:lnTo>
                    <a:lnTo>
                      <a:pt x="10" y="144"/>
                    </a:lnTo>
                    <a:lnTo>
                      <a:pt x="10" y="146"/>
                    </a:lnTo>
                    <a:lnTo>
                      <a:pt x="10" y="144"/>
                    </a:lnTo>
                    <a:lnTo>
                      <a:pt x="8" y="144"/>
                    </a:lnTo>
                    <a:lnTo>
                      <a:pt x="6" y="144"/>
                    </a:lnTo>
                    <a:lnTo>
                      <a:pt x="6" y="142"/>
                    </a:lnTo>
                    <a:lnTo>
                      <a:pt x="6" y="144"/>
                    </a:lnTo>
                    <a:lnTo>
                      <a:pt x="6" y="142"/>
                    </a:lnTo>
                    <a:lnTo>
                      <a:pt x="6" y="144"/>
                    </a:lnTo>
                    <a:lnTo>
                      <a:pt x="6" y="142"/>
                    </a:lnTo>
                    <a:lnTo>
                      <a:pt x="4" y="144"/>
                    </a:lnTo>
                    <a:lnTo>
                      <a:pt x="4" y="142"/>
                    </a:lnTo>
                    <a:lnTo>
                      <a:pt x="6" y="142"/>
                    </a:lnTo>
                    <a:lnTo>
                      <a:pt x="4" y="142"/>
                    </a:lnTo>
                    <a:lnTo>
                      <a:pt x="2" y="142"/>
                    </a:lnTo>
                    <a:lnTo>
                      <a:pt x="2" y="140"/>
                    </a:lnTo>
                    <a:lnTo>
                      <a:pt x="4" y="137"/>
                    </a:lnTo>
                    <a:lnTo>
                      <a:pt x="0" y="133"/>
                    </a:lnTo>
                    <a:lnTo>
                      <a:pt x="8" y="131"/>
                    </a:lnTo>
                    <a:lnTo>
                      <a:pt x="12" y="129"/>
                    </a:lnTo>
                    <a:lnTo>
                      <a:pt x="14" y="129"/>
                    </a:lnTo>
                    <a:lnTo>
                      <a:pt x="16" y="129"/>
                    </a:lnTo>
                    <a:lnTo>
                      <a:pt x="18" y="129"/>
                    </a:lnTo>
                    <a:lnTo>
                      <a:pt x="20" y="127"/>
                    </a:lnTo>
                    <a:lnTo>
                      <a:pt x="20" y="125"/>
                    </a:lnTo>
                    <a:lnTo>
                      <a:pt x="22" y="127"/>
                    </a:lnTo>
                    <a:lnTo>
                      <a:pt x="23" y="125"/>
                    </a:lnTo>
                    <a:lnTo>
                      <a:pt x="29" y="125"/>
                    </a:lnTo>
                    <a:lnTo>
                      <a:pt x="29" y="123"/>
                    </a:lnTo>
                    <a:lnTo>
                      <a:pt x="31" y="123"/>
                    </a:lnTo>
                    <a:lnTo>
                      <a:pt x="33" y="121"/>
                    </a:lnTo>
                    <a:lnTo>
                      <a:pt x="33" y="119"/>
                    </a:lnTo>
                    <a:lnTo>
                      <a:pt x="35" y="119"/>
                    </a:lnTo>
                    <a:lnTo>
                      <a:pt x="37" y="115"/>
                    </a:lnTo>
                    <a:lnTo>
                      <a:pt x="35" y="114"/>
                    </a:lnTo>
                    <a:lnTo>
                      <a:pt x="35" y="112"/>
                    </a:lnTo>
                    <a:lnTo>
                      <a:pt x="37" y="112"/>
                    </a:lnTo>
                    <a:lnTo>
                      <a:pt x="37" y="110"/>
                    </a:lnTo>
                    <a:lnTo>
                      <a:pt x="37" y="108"/>
                    </a:lnTo>
                    <a:lnTo>
                      <a:pt x="39" y="108"/>
                    </a:lnTo>
                    <a:lnTo>
                      <a:pt x="39" y="106"/>
                    </a:lnTo>
                    <a:lnTo>
                      <a:pt x="41" y="106"/>
                    </a:lnTo>
                    <a:lnTo>
                      <a:pt x="41" y="108"/>
                    </a:lnTo>
                    <a:lnTo>
                      <a:pt x="41" y="106"/>
                    </a:lnTo>
                    <a:lnTo>
                      <a:pt x="43" y="106"/>
                    </a:lnTo>
                    <a:lnTo>
                      <a:pt x="43" y="104"/>
                    </a:lnTo>
                    <a:lnTo>
                      <a:pt x="45" y="104"/>
                    </a:lnTo>
                    <a:lnTo>
                      <a:pt x="47" y="102"/>
                    </a:lnTo>
                    <a:lnTo>
                      <a:pt x="47" y="100"/>
                    </a:lnTo>
                    <a:lnTo>
                      <a:pt x="47" y="98"/>
                    </a:lnTo>
                    <a:lnTo>
                      <a:pt x="45" y="98"/>
                    </a:lnTo>
                    <a:lnTo>
                      <a:pt x="47" y="94"/>
                    </a:lnTo>
                    <a:lnTo>
                      <a:pt x="48" y="94"/>
                    </a:lnTo>
                    <a:lnTo>
                      <a:pt x="48" y="96"/>
                    </a:lnTo>
                    <a:lnTo>
                      <a:pt x="48" y="94"/>
                    </a:lnTo>
                    <a:lnTo>
                      <a:pt x="48" y="92"/>
                    </a:lnTo>
                    <a:lnTo>
                      <a:pt x="48" y="90"/>
                    </a:lnTo>
                    <a:lnTo>
                      <a:pt x="50" y="90"/>
                    </a:lnTo>
                    <a:lnTo>
                      <a:pt x="52" y="89"/>
                    </a:lnTo>
                    <a:lnTo>
                      <a:pt x="54" y="90"/>
                    </a:lnTo>
                    <a:lnTo>
                      <a:pt x="54" y="92"/>
                    </a:lnTo>
                    <a:lnTo>
                      <a:pt x="56" y="92"/>
                    </a:lnTo>
                    <a:lnTo>
                      <a:pt x="58" y="92"/>
                    </a:lnTo>
                    <a:lnTo>
                      <a:pt x="62" y="89"/>
                    </a:lnTo>
                    <a:lnTo>
                      <a:pt x="64" y="85"/>
                    </a:lnTo>
                    <a:lnTo>
                      <a:pt x="62" y="83"/>
                    </a:lnTo>
                    <a:lnTo>
                      <a:pt x="64" y="79"/>
                    </a:lnTo>
                    <a:lnTo>
                      <a:pt x="66" y="81"/>
                    </a:lnTo>
                    <a:lnTo>
                      <a:pt x="68" y="81"/>
                    </a:lnTo>
                    <a:lnTo>
                      <a:pt x="70" y="79"/>
                    </a:lnTo>
                    <a:lnTo>
                      <a:pt x="71" y="77"/>
                    </a:lnTo>
                    <a:lnTo>
                      <a:pt x="73" y="77"/>
                    </a:lnTo>
                    <a:lnTo>
                      <a:pt x="75" y="79"/>
                    </a:lnTo>
                    <a:lnTo>
                      <a:pt x="81" y="71"/>
                    </a:lnTo>
                    <a:lnTo>
                      <a:pt x="85" y="73"/>
                    </a:lnTo>
                    <a:lnTo>
                      <a:pt x="85" y="71"/>
                    </a:lnTo>
                    <a:lnTo>
                      <a:pt x="85" y="69"/>
                    </a:lnTo>
                    <a:lnTo>
                      <a:pt x="83" y="69"/>
                    </a:lnTo>
                    <a:lnTo>
                      <a:pt x="83" y="67"/>
                    </a:lnTo>
                    <a:lnTo>
                      <a:pt x="85" y="67"/>
                    </a:lnTo>
                    <a:lnTo>
                      <a:pt x="87" y="65"/>
                    </a:lnTo>
                    <a:lnTo>
                      <a:pt x="87" y="64"/>
                    </a:lnTo>
                    <a:lnTo>
                      <a:pt x="89" y="64"/>
                    </a:lnTo>
                    <a:lnTo>
                      <a:pt x="91" y="60"/>
                    </a:lnTo>
                    <a:lnTo>
                      <a:pt x="89" y="60"/>
                    </a:lnTo>
                    <a:lnTo>
                      <a:pt x="91" y="60"/>
                    </a:lnTo>
                    <a:lnTo>
                      <a:pt x="93" y="58"/>
                    </a:lnTo>
                    <a:lnTo>
                      <a:pt x="91" y="58"/>
                    </a:lnTo>
                    <a:lnTo>
                      <a:pt x="95" y="56"/>
                    </a:lnTo>
                    <a:lnTo>
                      <a:pt x="93" y="54"/>
                    </a:lnTo>
                    <a:lnTo>
                      <a:pt x="93" y="52"/>
                    </a:lnTo>
                    <a:lnTo>
                      <a:pt x="95" y="52"/>
                    </a:lnTo>
                    <a:lnTo>
                      <a:pt x="95" y="50"/>
                    </a:lnTo>
                    <a:lnTo>
                      <a:pt x="93" y="50"/>
                    </a:lnTo>
                    <a:lnTo>
                      <a:pt x="93" y="48"/>
                    </a:lnTo>
                    <a:lnTo>
                      <a:pt x="95" y="46"/>
                    </a:lnTo>
                    <a:lnTo>
                      <a:pt x="93" y="46"/>
                    </a:lnTo>
                    <a:lnTo>
                      <a:pt x="93" y="44"/>
                    </a:lnTo>
                    <a:lnTo>
                      <a:pt x="95" y="44"/>
                    </a:lnTo>
                    <a:lnTo>
                      <a:pt x="95" y="42"/>
                    </a:lnTo>
                    <a:lnTo>
                      <a:pt x="96" y="42"/>
                    </a:lnTo>
                    <a:lnTo>
                      <a:pt x="98" y="44"/>
                    </a:lnTo>
                    <a:lnTo>
                      <a:pt x="100" y="42"/>
                    </a:lnTo>
                    <a:lnTo>
                      <a:pt x="102" y="40"/>
                    </a:lnTo>
                    <a:lnTo>
                      <a:pt x="102" y="39"/>
                    </a:lnTo>
                    <a:lnTo>
                      <a:pt x="104" y="39"/>
                    </a:lnTo>
                    <a:lnTo>
                      <a:pt x="104" y="37"/>
                    </a:lnTo>
                    <a:lnTo>
                      <a:pt x="106" y="37"/>
                    </a:lnTo>
                    <a:lnTo>
                      <a:pt x="106" y="35"/>
                    </a:lnTo>
                    <a:lnTo>
                      <a:pt x="106" y="33"/>
                    </a:lnTo>
                    <a:lnTo>
                      <a:pt x="108" y="33"/>
                    </a:lnTo>
                    <a:lnTo>
                      <a:pt x="110" y="31"/>
                    </a:lnTo>
                    <a:lnTo>
                      <a:pt x="114" y="25"/>
                    </a:lnTo>
                    <a:lnTo>
                      <a:pt x="116" y="25"/>
                    </a:lnTo>
                    <a:lnTo>
                      <a:pt x="116" y="23"/>
                    </a:lnTo>
                    <a:lnTo>
                      <a:pt x="118" y="23"/>
                    </a:lnTo>
                    <a:lnTo>
                      <a:pt x="118" y="21"/>
                    </a:lnTo>
                    <a:lnTo>
                      <a:pt x="116" y="21"/>
                    </a:lnTo>
                    <a:lnTo>
                      <a:pt x="116" y="19"/>
                    </a:lnTo>
                    <a:lnTo>
                      <a:pt x="120" y="17"/>
                    </a:lnTo>
                    <a:lnTo>
                      <a:pt x="121" y="17"/>
                    </a:lnTo>
                    <a:lnTo>
                      <a:pt x="123" y="17"/>
                    </a:lnTo>
                    <a:lnTo>
                      <a:pt x="123" y="15"/>
                    </a:lnTo>
                    <a:lnTo>
                      <a:pt x="123" y="14"/>
                    </a:lnTo>
                    <a:lnTo>
                      <a:pt x="121" y="14"/>
                    </a:lnTo>
                    <a:lnTo>
                      <a:pt x="121" y="12"/>
                    </a:lnTo>
                    <a:lnTo>
                      <a:pt x="121" y="10"/>
                    </a:lnTo>
                    <a:lnTo>
                      <a:pt x="120" y="10"/>
                    </a:lnTo>
                    <a:lnTo>
                      <a:pt x="120" y="12"/>
                    </a:lnTo>
                    <a:lnTo>
                      <a:pt x="120" y="10"/>
                    </a:lnTo>
                    <a:lnTo>
                      <a:pt x="120" y="8"/>
                    </a:lnTo>
                    <a:lnTo>
                      <a:pt x="121" y="6"/>
                    </a:lnTo>
                    <a:lnTo>
                      <a:pt x="123" y="4"/>
                    </a:lnTo>
                    <a:lnTo>
                      <a:pt x="125" y="4"/>
                    </a:lnTo>
                    <a:lnTo>
                      <a:pt x="123" y="0"/>
                    </a:lnTo>
                    <a:lnTo>
                      <a:pt x="125" y="0"/>
                    </a:lnTo>
                    <a:lnTo>
                      <a:pt x="127" y="0"/>
                    </a:lnTo>
                    <a:lnTo>
                      <a:pt x="129" y="0"/>
                    </a:lnTo>
                    <a:lnTo>
                      <a:pt x="129" y="2"/>
                    </a:lnTo>
                    <a:lnTo>
                      <a:pt x="131" y="2"/>
                    </a:lnTo>
                    <a:lnTo>
                      <a:pt x="133" y="0"/>
                    </a:lnTo>
                    <a:lnTo>
                      <a:pt x="135" y="0"/>
                    </a:lnTo>
                    <a:lnTo>
                      <a:pt x="135" y="2"/>
                    </a:lnTo>
                    <a:lnTo>
                      <a:pt x="137" y="0"/>
                    </a:lnTo>
                    <a:lnTo>
                      <a:pt x="137" y="2"/>
                    </a:lnTo>
                    <a:lnTo>
                      <a:pt x="139" y="2"/>
                    </a:lnTo>
                    <a:lnTo>
                      <a:pt x="141" y="4"/>
                    </a:lnTo>
                    <a:lnTo>
                      <a:pt x="141" y="6"/>
                    </a:lnTo>
                    <a:lnTo>
                      <a:pt x="143" y="6"/>
                    </a:lnTo>
                    <a:lnTo>
                      <a:pt x="143" y="8"/>
                    </a:lnTo>
                    <a:lnTo>
                      <a:pt x="141" y="8"/>
                    </a:lnTo>
                    <a:lnTo>
                      <a:pt x="141" y="10"/>
                    </a:lnTo>
                    <a:lnTo>
                      <a:pt x="143" y="10"/>
                    </a:lnTo>
                    <a:lnTo>
                      <a:pt x="144" y="10"/>
                    </a:lnTo>
                    <a:lnTo>
                      <a:pt x="146" y="10"/>
                    </a:lnTo>
                    <a:lnTo>
                      <a:pt x="146" y="8"/>
                    </a:lnTo>
                    <a:lnTo>
                      <a:pt x="148" y="6"/>
                    </a:lnTo>
                    <a:lnTo>
                      <a:pt x="148" y="8"/>
                    </a:lnTo>
                    <a:lnTo>
                      <a:pt x="148" y="10"/>
                    </a:lnTo>
                    <a:lnTo>
                      <a:pt x="148" y="12"/>
                    </a:lnTo>
                    <a:lnTo>
                      <a:pt x="150" y="12"/>
                    </a:lnTo>
                    <a:lnTo>
                      <a:pt x="148" y="12"/>
                    </a:lnTo>
                    <a:lnTo>
                      <a:pt x="148" y="14"/>
                    </a:lnTo>
                    <a:lnTo>
                      <a:pt x="146" y="14"/>
                    </a:lnTo>
                    <a:lnTo>
                      <a:pt x="144" y="14"/>
                    </a:lnTo>
                    <a:lnTo>
                      <a:pt x="144" y="15"/>
                    </a:lnTo>
                    <a:lnTo>
                      <a:pt x="144" y="14"/>
                    </a:lnTo>
                    <a:lnTo>
                      <a:pt x="143" y="14"/>
                    </a:lnTo>
                    <a:lnTo>
                      <a:pt x="144" y="14"/>
                    </a:lnTo>
                    <a:lnTo>
                      <a:pt x="143" y="14"/>
                    </a:lnTo>
                    <a:lnTo>
                      <a:pt x="143" y="12"/>
                    </a:lnTo>
                    <a:lnTo>
                      <a:pt x="141" y="14"/>
                    </a:lnTo>
                    <a:lnTo>
                      <a:pt x="143" y="14"/>
                    </a:lnTo>
                    <a:lnTo>
                      <a:pt x="141" y="14"/>
                    </a:lnTo>
                    <a:lnTo>
                      <a:pt x="141" y="15"/>
                    </a:lnTo>
                    <a:lnTo>
                      <a:pt x="141" y="17"/>
                    </a:lnTo>
                    <a:lnTo>
                      <a:pt x="143" y="17"/>
                    </a:lnTo>
                    <a:lnTo>
                      <a:pt x="143" y="19"/>
                    </a:lnTo>
                    <a:lnTo>
                      <a:pt x="143" y="21"/>
                    </a:lnTo>
                    <a:lnTo>
                      <a:pt x="143" y="23"/>
                    </a:lnTo>
                    <a:lnTo>
                      <a:pt x="141" y="23"/>
                    </a:lnTo>
                    <a:lnTo>
                      <a:pt x="141" y="25"/>
                    </a:lnTo>
                    <a:lnTo>
                      <a:pt x="143" y="23"/>
                    </a:lnTo>
                    <a:lnTo>
                      <a:pt x="143" y="25"/>
                    </a:lnTo>
                    <a:lnTo>
                      <a:pt x="144" y="25"/>
                    </a:lnTo>
                    <a:lnTo>
                      <a:pt x="146" y="25"/>
                    </a:lnTo>
                    <a:lnTo>
                      <a:pt x="146" y="23"/>
                    </a:lnTo>
                    <a:lnTo>
                      <a:pt x="146" y="25"/>
                    </a:lnTo>
                    <a:lnTo>
                      <a:pt x="148" y="27"/>
                    </a:lnTo>
                    <a:lnTo>
                      <a:pt x="146" y="29"/>
                    </a:lnTo>
                    <a:lnTo>
                      <a:pt x="146" y="31"/>
                    </a:lnTo>
                    <a:lnTo>
                      <a:pt x="148" y="33"/>
                    </a:lnTo>
                    <a:lnTo>
                      <a:pt x="146" y="33"/>
                    </a:lnTo>
                    <a:lnTo>
                      <a:pt x="146" y="35"/>
                    </a:lnTo>
                    <a:lnTo>
                      <a:pt x="148" y="35"/>
                    </a:lnTo>
                    <a:lnTo>
                      <a:pt x="148" y="33"/>
                    </a:lnTo>
                    <a:lnTo>
                      <a:pt x="150" y="31"/>
                    </a:lnTo>
                    <a:lnTo>
                      <a:pt x="152" y="31"/>
                    </a:lnTo>
                    <a:lnTo>
                      <a:pt x="154" y="3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1" name="Freeform 78"/>
              <p:cNvSpPr>
                <a:spLocks/>
              </p:cNvSpPr>
              <p:nvPr/>
            </p:nvSpPr>
            <p:spPr bwMode="auto">
              <a:xfrm>
                <a:off x="534397" y="2624598"/>
                <a:ext cx="196151" cy="225402"/>
              </a:xfrm>
              <a:custGeom>
                <a:avLst/>
                <a:gdLst>
                  <a:gd name="T0" fmla="*/ 81 w 114"/>
                  <a:gd name="T1" fmla="*/ 7 h 131"/>
                  <a:gd name="T2" fmla="*/ 87 w 114"/>
                  <a:gd name="T3" fmla="*/ 15 h 131"/>
                  <a:gd name="T4" fmla="*/ 87 w 114"/>
                  <a:gd name="T5" fmla="*/ 23 h 131"/>
                  <a:gd name="T6" fmla="*/ 89 w 114"/>
                  <a:gd name="T7" fmla="*/ 29 h 131"/>
                  <a:gd name="T8" fmla="*/ 91 w 114"/>
                  <a:gd name="T9" fmla="*/ 31 h 131"/>
                  <a:gd name="T10" fmla="*/ 95 w 114"/>
                  <a:gd name="T11" fmla="*/ 40 h 131"/>
                  <a:gd name="T12" fmla="*/ 97 w 114"/>
                  <a:gd name="T13" fmla="*/ 42 h 131"/>
                  <a:gd name="T14" fmla="*/ 100 w 114"/>
                  <a:gd name="T15" fmla="*/ 44 h 131"/>
                  <a:gd name="T16" fmla="*/ 108 w 114"/>
                  <a:gd name="T17" fmla="*/ 48 h 131"/>
                  <a:gd name="T18" fmla="*/ 112 w 114"/>
                  <a:gd name="T19" fmla="*/ 56 h 131"/>
                  <a:gd name="T20" fmla="*/ 108 w 114"/>
                  <a:gd name="T21" fmla="*/ 65 h 131"/>
                  <a:gd name="T22" fmla="*/ 112 w 114"/>
                  <a:gd name="T23" fmla="*/ 69 h 131"/>
                  <a:gd name="T24" fmla="*/ 110 w 114"/>
                  <a:gd name="T25" fmla="*/ 77 h 131"/>
                  <a:gd name="T26" fmla="*/ 106 w 114"/>
                  <a:gd name="T27" fmla="*/ 82 h 131"/>
                  <a:gd name="T28" fmla="*/ 102 w 114"/>
                  <a:gd name="T29" fmla="*/ 90 h 131"/>
                  <a:gd name="T30" fmla="*/ 98 w 114"/>
                  <a:gd name="T31" fmla="*/ 94 h 131"/>
                  <a:gd name="T32" fmla="*/ 93 w 114"/>
                  <a:gd name="T33" fmla="*/ 96 h 131"/>
                  <a:gd name="T34" fmla="*/ 93 w 114"/>
                  <a:gd name="T35" fmla="*/ 102 h 131"/>
                  <a:gd name="T36" fmla="*/ 91 w 114"/>
                  <a:gd name="T37" fmla="*/ 109 h 131"/>
                  <a:gd name="T38" fmla="*/ 91 w 114"/>
                  <a:gd name="T39" fmla="*/ 117 h 131"/>
                  <a:gd name="T40" fmla="*/ 83 w 114"/>
                  <a:gd name="T41" fmla="*/ 121 h 131"/>
                  <a:gd name="T42" fmla="*/ 75 w 114"/>
                  <a:gd name="T43" fmla="*/ 121 h 131"/>
                  <a:gd name="T44" fmla="*/ 73 w 114"/>
                  <a:gd name="T45" fmla="*/ 127 h 131"/>
                  <a:gd name="T46" fmla="*/ 68 w 114"/>
                  <a:gd name="T47" fmla="*/ 131 h 131"/>
                  <a:gd name="T48" fmla="*/ 60 w 114"/>
                  <a:gd name="T49" fmla="*/ 127 h 131"/>
                  <a:gd name="T50" fmla="*/ 58 w 114"/>
                  <a:gd name="T51" fmla="*/ 121 h 131"/>
                  <a:gd name="T52" fmla="*/ 56 w 114"/>
                  <a:gd name="T53" fmla="*/ 115 h 131"/>
                  <a:gd name="T54" fmla="*/ 52 w 114"/>
                  <a:gd name="T55" fmla="*/ 109 h 131"/>
                  <a:gd name="T56" fmla="*/ 47 w 114"/>
                  <a:gd name="T57" fmla="*/ 104 h 131"/>
                  <a:gd name="T58" fmla="*/ 45 w 114"/>
                  <a:gd name="T59" fmla="*/ 94 h 131"/>
                  <a:gd name="T60" fmla="*/ 43 w 114"/>
                  <a:gd name="T61" fmla="*/ 84 h 131"/>
                  <a:gd name="T62" fmla="*/ 35 w 114"/>
                  <a:gd name="T63" fmla="*/ 81 h 131"/>
                  <a:gd name="T64" fmla="*/ 25 w 114"/>
                  <a:gd name="T65" fmla="*/ 79 h 131"/>
                  <a:gd name="T66" fmla="*/ 18 w 114"/>
                  <a:gd name="T67" fmla="*/ 75 h 131"/>
                  <a:gd name="T68" fmla="*/ 22 w 114"/>
                  <a:gd name="T69" fmla="*/ 67 h 131"/>
                  <a:gd name="T70" fmla="*/ 20 w 114"/>
                  <a:gd name="T71" fmla="*/ 61 h 131"/>
                  <a:gd name="T72" fmla="*/ 16 w 114"/>
                  <a:gd name="T73" fmla="*/ 63 h 131"/>
                  <a:gd name="T74" fmla="*/ 10 w 114"/>
                  <a:gd name="T75" fmla="*/ 57 h 131"/>
                  <a:gd name="T76" fmla="*/ 2 w 114"/>
                  <a:gd name="T77" fmla="*/ 57 h 131"/>
                  <a:gd name="T78" fmla="*/ 0 w 114"/>
                  <a:gd name="T79" fmla="*/ 50 h 131"/>
                  <a:gd name="T80" fmla="*/ 6 w 114"/>
                  <a:gd name="T81" fmla="*/ 46 h 131"/>
                  <a:gd name="T82" fmla="*/ 20 w 114"/>
                  <a:gd name="T83" fmla="*/ 36 h 131"/>
                  <a:gd name="T84" fmla="*/ 18 w 114"/>
                  <a:gd name="T85" fmla="*/ 31 h 131"/>
                  <a:gd name="T86" fmla="*/ 18 w 114"/>
                  <a:gd name="T87" fmla="*/ 25 h 131"/>
                  <a:gd name="T88" fmla="*/ 24 w 114"/>
                  <a:gd name="T89" fmla="*/ 21 h 131"/>
                  <a:gd name="T90" fmla="*/ 27 w 114"/>
                  <a:gd name="T91" fmla="*/ 21 h 131"/>
                  <a:gd name="T92" fmla="*/ 33 w 114"/>
                  <a:gd name="T93" fmla="*/ 23 h 131"/>
                  <a:gd name="T94" fmla="*/ 37 w 114"/>
                  <a:gd name="T95" fmla="*/ 23 h 131"/>
                  <a:gd name="T96" fmla="*/ 41 w 114"/>
                  <a:gd name="T97" fmla="*/ 19 h 131"/>
                  <a:gd name="T98" fmla="*/ 39 w 114"/>
                  <a:gd name="T99" fmla="*/ 15 h 131"/>
                  <a:gd name="T100" fmla="*/ 41 w 114"/>
                  <a:gd name="T101" fmla="*/ 11 h 131"/>
                  <a:gd name="T102" fmla="*/ 43 w 114"/>
                  <a:gd name="T103" fmla="*/ 2 h 131"/>
                  <a:gd name="T104" fmla="*/ 47 w 114"/>
                  <a:gd name="T105" fmla="*/ 7 h 131"/>
                  <a:gd name="T106" fmla="*/ 56 w 114"/>
                  <a:gd name="T107" fmla="*/ 4 h 131"/>
                  <a:gd name="T108" fmla="*/ 64 w 114"/>
                  <a:gd name="T109" fmla="*/ 2 h 131"/>
                  <a:gd name="T110" fmla="*/ 70 w 114"/>
                  <a:gd name="T111" fmla="*/ 6 h 131"/>
                  <a:gd name="T112" fmla="*/ 77 w 114"/>
                  <a:gd name="T113" fmla="*/ 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131">
                    <a:moveTo>
                      <a:pt x="81" y="4"/>
                    </a:moveTo>
                    <a:lnTo>
                      <a:pt x="83" y="6"/>
                    </a:lnTo>
                    <a:lnTo>
                      <a:pt x="81" y="6"/>
                    </a:lnTo>
                    <a:lnTo>
                      <a:pt x="79" y="6"/>
                    </a:lnTo>
                    <a:lnTo>
                      <a:pt x="79" y="7"/>
                    </a:lnTo>
                    <a:lnTo>
                      <a:pt x="81" y="7"/>
                    </a:lnTo>
                    <a:lnTo>
                      <a:pt x="81" y="9"/>
                    </a:lnTo>
                    <a:lnTo>
                      <a:pt x="83" y="11"/>
                    </a:lnTo>
                    <a:lnTo>
                      <a:pt x="85" y="11"/>
                    </a:lnTo>
                    <a:lnTo>
                      <a:pt x="85" y="13"/>
                    </a:lnTo>
                    <a:lnTo>
                      <a:pt x="87" y="13"/>
                    </a:lnTo>
                    <a:lnTo>
                      <a:pt x="87" y="15"/>
                    </a:lnTo>
                    <a:lnTo>
                      <a:pt x="85" y="15"/>
                    </a:lnTo>
                    <a:lnTo>
                      <a:pt x="85" y="17"/>
                    </a:lnTo>
                    <a:lnTo>
                      <a:pt x="85" y="19"/>
                    </a:lnTo>
                    <a:lnTo>
                      <a:pt x="85" y="21"/>
                    </a:lnTo>
                    <a:lnTo>
                      <a:pt x="85" y="23"/>
                    </a:lnTo>
                    <a:lnTo>
                      <a:pt x="87" y="23"/>
                    </a:lnTo>
                    <a:lnTo>
                      <a:pt x="85" y="23"/>
                    </a:lnTo>
                    <a:lnTo>
                      <a:pt x="87" y="23"/>
                    </a:lnTo>
                    <a:lnTo>
                      <a:pt x="87" y="25"/>
                    </a:lnTo>
                    <a:lnTo>
                      <a:pt x="87" y="27"/>
                    </a:lnTo>
                    <a:lnTo>
                      <a:pt x="87" y="29"/>
                    </a:lnTo>
                    <a:lnTo>
                      <a:pt x="89" y="29"/>
                    </a:lnTo>
                    <a:lnTo>
                      <a:pt x="91" y="29"/>
                    </a:lnTo>
                    <a:lnTo>
                      <a:pt x="91" y="27"/>
                    </a:lnTo>
                    <a:lnTo>
                      <a:pt x="91" y="29"/>
                    </a:lnTo>
                    <a:lnTo>
                      <a:pt x="93" y="29"/>
                    </a:lnTo>
                    <a:lnTo>
                      <a:pt x="93" y="31"/>
                    </a:lnTo>
                    <a:lnTo>
                      <a:pt x="91" y="31"/>
                    </a:lnTo>
                    <a:lnTo>
                      <a:pt x="91" y="32"/>
                    </a:lnTo>
                    <a:lnTo>
                      <a:pt x="91" y="34"/>
                    </a:lnTo>
                    <a:lnTo>
                      <a:pt x="91" y="36"/>
                    </a:lnTo>
                    <a:lnTo>
                      <a:pt x="91" y="38"/>
                    </a:lnTo>
                    <a:lnTo>
                      <a:pt x="93" y="38"/>
                    </a:lnTo>
                    <a:lnTo>
                      <a:pt x="95" y="40"/>
                    </a:lnTo>
                    <a:lnTo>
                      <a:pt x="93" y="40"/>
                    </a:lnTo>
                    <a:lnTo>
                      <a:pt x="95" y="40"/>
                    </a:lnTo>
                    <a:lnTo>
                      <a:pt x="97" y="40"/>
                    </a:lnTo>
                    <a:lnTo>
                      <a:pt x="97" y="42"/>
                    </a:lnTo>
                    <a:lnTo>
                      <a:pt x="97" y="40"/>
                    </a:lnTo>
                    <a:lnTo>
                      <a:pt x="97" y="42"/>
                    </a:lnTo>
                    <a:lnTo>
                      <a:pt x="98" y="40"/>
                    </a:lnTo>
                    <a:lnTo>
                      <a:pt x="98" y="42"/>
                    </a:lnTo>
                    <a:lnTo>
                      <a:pt x="97" y="42"/>
                    </a:lnTo>
                    <a:lnTo>
                      <a:pt x="97" y="44"/>
                    </a:lnTo>
                    <a:lnTo>
                      <a:pt x="98" y="44"/>
                    </a:lnTo>
                    <a:lnTo>
                      <a:pt x="100" y="44"/>
                    </a:lnTo>
                    <a:lnTo>
                      <a:pt x="100" y="46"/>
                    </a:lnTo>
                    <a:lnTo>
                      <a:pt x="102" y="48"/>
                    </a:lnTo>
                    <a:lnTo>
                      <a:pt x="104" y="48"/>
                    </a:lnTo>
                    <a:lnTo>
                      <a:pt x="108" y="48"/>
                    </a:lnTo>
                    <a:lnTo>
                      <a:pt x="108" y="50"/>
                    </a:lnTo>
                    <a:lnTo>
                      <a:pt x="108" y="48"/>
                    </a:lnTo>
                    <a:lnTo>
                      <a:pt x="110" y="50"/>
                    </a:lnTo>
                    <a:lnTo>
                      <a:pt x="110" y="52"/>
                    </a:lnTo>
                    <a:lnTo>
                      <a:pt x="110" y="54"/>
                    </a:lnTo>
                    <a:lnTo>
                      <a:pt x="112" y="54"/>
                    </a:lnTo>
                    <a:lnTo>
                      <a:pt x="114" y="54"/>
                    </a:lnTo>
                    <a:lnTo>
                      <a:pt x="112" y="56"/>
                    </a:lnTo>
                    <a:lnTo>
                      <a:pt x="112" y="57"/>
                    </a:lnTo>
                    <a:lnTo>
                      <a:pt x="110" y="57"/>
                    </a:lnTo>
                    <a:lnTo>
                      <a:pt x="110" y="59"/>
                    </a:lnTo>
                    <a:lnTo>
                      <a:pt x="108" y="61"/>
                    </a:lnTo>
                    <a:lnTo>
                      <a:pt x="108" y="63"/>
                    </a:lnTo>
                    <a:lnTo>
                      <a:pt x="108" y="65"/>
                    </a:lnTo>
                    <a:lnTo>
                      <a:pt x="110" y="65"/>
                    </a:lnTo>
                    <a:lnTo>
                      <a:pt x="112" y="65"/>
                    </a:lnTo>
                    <a:lnTo>
                      <a:pt x="112" y="67"/>
                    </a:lnTo>
                    <a:lnTo>
                      <a:pt x="112" y="69"/>
                    </a:lnTo>
                    <a:lnTo>
                      <a:pt x="114" y="69"/>
                    </a:lnTo>
                    <a:lnTo>
                      <a:pt x="112" y="69"/>
                    </a:lnTo>
                    <a:lnTo>
                      <a:pt x="112" y="71"/>
                    </a:lnTo>
                    <a:lnTo>
                      <a:pt x="112" y="73"/>
                    </a:lnTo>
                    <a:lnTo>
                      <a:pt x="112" y="75"/>
                    </a:lnTo>
                    <a:lnTo>
                      <a:pt x="110" y="77"/>
                    </a:lnTo>
                    <a:lnTo>
                      <a:pt x="110" y="75"/>
                    </a:lnTo>
                    <a:lnTo>
                      <a:pt x="110" y="77"/>
                    </a:lnTo>
                    <a:lnTo>
                      <a:pt x="108" y="77"/>
                    </a:lnTo>
                    <a:lnTo>
                      <a:pt x="108" y="79"/>
                    </a:lnTo>
                    <a:lnTo>
                      <a:pt x="108" y="81"/>
                    </a:lnTo>
                    <a:lnTo>
                      <a:pt x="106" y="82"/>
                    </a:lnTo>
                    <a:lnTo>
                      <a:pt x="106" y="81"/>
                    </a:lnTo>
                    <a:lnTo>
                      <a:pt x="106" y="82"/>
                    </a:lnTo>
                    <a:lnTo>
                      <a:pt x="104" y="82"/>
                    </a:lnTo>
                    <a:lnTo>
                      <a:pt x="104" y="84"/>
                    </a:lnTo>
                    <a:lnTo>
                      <a:pt x="104" y="86"/>
                    </a:lnTo>
                    <a:lnTo>
                      <a:pt x="104" y="88"/>
                    </a:lnTo>
                    <a:lnTo>
                      <a:pt x="102" y="88"/>
                    </a:lnTo>
                    <a:lnTo>
                      <a:pt x="102" y="90"/>
                    </a:lnTo>
                    <a:lnTo>
                      <a:pt x="100" y="90"/>
                    </a:lnTo>
                    <a:lnTo>
                      <a:pt x="98" y="90"/>
                    </a:lnTo>
                    <a:lnTo>
                      <a:pt x="98" y="92"/>
                    </a:lnTo>
                    <a:lnTo>
                      <a:pt x="97" y="92"/>
                    </a:lnTo>
                    <a:lnTo>
                      <a:pt x="97" y="94"/>
                    </a:lnTo>
                    <a:lnTo>
                      <a:pt x="98" y="94"/>
                    </a:lnTo>
                    <a:lnTo>
                      <a:pt x="97" y="94"/>
                    </a:lnTo>
                    <a:lnTo>
                      <a:pt x="97" y="96"/>
                    </a:lnTo>
                    <a:lnTo>
                      <a:pt x="95" y="96"/>
                    </a:lnTo>
                    <a:lnTo>
                      <a:pt x="95" y="94"/>
                    </a:lnTo>
                    <a:lnTo>
                      <a:pt x="95" y="96"/>
                    </a:lnTo>
                    <a:lnTo>
                      <a:pt x="93" y="96"/>
                    </a:lnTo>
                    <a:lnTo>
                      <a:pt x="93" y="94"/>
                    </a:lnTo>
                    <a:lnTo>
                      <a:pt x="93" y="96"/>
                    </a:lnTo>
                    <a:lnTo>
                      <a:pt x="91" y="96"/>
                    </a:lnTo>
                    <a:lnTo>
                      <a:pt x="93" y="98"/>
                    </a:lnTo>
                    <a:lnTo>
                      <a:pt x="93" y="100"/>
                    </a:lnTo>
                    <a:lnTo>
                      <a:pt x="93" y="102"/>
                    </a:lnTo>
                    <a:lnTo>
                      <a:pt x="91" y="102"/>
                    </a:lnTo>
                    <a:lnTo>
                      <a:pt x="91" y="104"/>
                    </a:lnTo>
                    <a:lnTo>
                      <a:pt x="93" y="106"/>
                    </a:lnTo>
                    <a:lnTo>
                      <a:pt x="93" y="107"/>
                    </a:lnTo>
                    <a:lnTo>
                      <a:pt x="91" y="107"/>
                    </a:lnTo>
                    <a:lnTo>
                      <a:pt x="91" y="109"/>
                    </a:lnTo>
                    <a:lnTo>
                      <a:pt x="91" y="111"/>
                    </a:lnTo>
                    <a:lnTo>
                      <a:pt x="93" y="111"/>
                    </a:lnTo>
                    <a:lnTo>
                      <a:pt x="91" y="113"/>
                    </a:lnTo>
                    <a:lnTo>
                      <a:pt x="91" y="115"/>
                    </a:lnTo>
                    <a:lnTo>
                      <a:pt x="93" y="117"/>
                    </a:lnTo>
                    <a:lnTo>
                      <a:pt x="91" y="117"/>
                    </a:lnTo>
                    <a:lnTo>
                      <a:pt x="91" y="119"/>
                    </a:lnTo>
                    <a:lnTo>
                      <a:pt x="89" y="119"/>
                    </a:lnTo>
                    <a:lnTo>
                      <a:pt x="89" y="121"/>
                    </a:lnTo>
                    <a:lnTo>
                      <a:pt x="87" y="121"/>
                    </a:lnTo>
                    <a:lnTo>
                      <a:pt x="85" y="121"/>
                    </a:lnTo>
                    <a:lnTo>
                      <a:pt x="83" y="121"/>
                    </a:lnTo>
                    <a:lnTo>
                      <a:pt x="83" y="119"/>
                    </a:lnTo>
                    <a:lnTo>
                      <a:pt x="83" y="121"/>
                    </a:lnTo>
                    <a:lnTo>
                      <a:pt x="81" y="121"/>
                    </a:lnTo>
                    <a:lnTo>
                      <a:pt x="79" y="121"/>
                    </a:lnTo>
                    <a:lnTo>
                      <a:pt x="77" y="121"/>
                    </a:lnTo>
                    <a:lnTo>
                      <a:pt x="75" y="121"/>
                    </a:lnTo>
                    <a:lnTo>
                      <a:pt x="75" y="123"/>
                    </a:lnTo>
                    <a:lnTo>
                      <a:pt x="77" y="123"/>
                    </a:lnTo>
                    <a:lnTo>
                      <a:pt x="75" y="123"/>
                    </a:lnTo>
                    <a:lnTo>
                      <a:pt x="75" y="125"/>
                    </a:lnTo>
                    <a:lnTo>
                      <a:pt x="73" y="125"/>
                    </a:lnTo>
                    <a:lnTo>
                      <a:pt x="73" y="127"/>
                    </a:lnTo>
                    <a:lnTo>
                      <a:pt x="72" y="129"/>
                    </a:lnTo>
                    <a:lnTo>
                      <a:pt x="72" y="127"/>
                    </a:lnTo>
                    <a:lnTo>
                      <a:pt x="72" y="129"/>
                    </a:lnTo>
                    <a:lnTo>
                      <a:pt x="70" y="129"/>
                    </a:lnTo>
                    <a:lnTo>
                      <a:pt x="70" y="131"/>
                    </a:lnTo>
                    <a:lnTo>
                      <a:pt x="68" y="131"/>
                    </a:lnTo>
                    <a:lnTo>
                      <a:pt x="66" y="131"/>
                    </a:lnTo>
                    <a:lnTo>
                      <a:pt x="66" y="129"/>
                    </a:lnTo>
                    <a:lnTo>
                      <a:pt x="64" y="127"/>
                    </a:lnTo>
                    <a:lnTo>
                      <a:pt x="64" y="125"/>
                    </a:lnTo>
                    <a:lnTo>
                      <a:pt x="62" y="125"/>
                    </a:lnTo>
                    <a:lnTo>
                      <a:pt x="60" y="127"/>
                    </a:lnTo>
                    <a:lnTo>
                      <a:pt x="58" y="129"/>
                    </a:lnTo>
                    <a:lnTo>
                      <a:pt x="56" y="127"/>
                    </a:lnTo>
                    <a:lnTo>
                      <a:pt x="56" y="125"/>
                    </a:lnTo>
                    <a:lnTo>
                      <a:pt x="56" y="123"/>
                    </a:lnTo>
                    <a:lnTo>
                      <a:pt x="58" y="123"/>
                    </a:lnTo>
                    <a:lnTo>
                      <a:pt x="58" y="121"/>
                    </a:lnTo>
                    <a:lnTo>
                      <a:pt x="56" y="121"/>
                    </a:lnTo>
                    <a:lnTo>
                      <a:pt x="56" y="119"/>
                    </a:lnTo>
                    <a:lnTo>
                      <a:pt x="54" y="119"/>
                    </a:lnTo>
                    <a:lnTo>
                      <a:pt x="54" y="117"/>
                    </a:lnTo>
                    <a:lnTo>
                      <a:pt x="56" y="117"/>
                    </a:lnTo>
                    <a:lnTo>
                      <a:pt x="56" y="115"/>
                    </a:lnTo>
                    <a:lnTo>
                      <a:pt x="54" y="115"/>
                    </a:lnTo>
                    <a:lnTo>
                      <a:pt x="54" y="113"/>
                    </a:lnTo>
                    <a:lnTo>
                      <a:pt x="54" y="111"/>
                    </a:lnTo>
                    <a:lnTo>
                      <a:pt x="52" y="113"/>
                    </a:lnTo>
                    <a:lnTo>
                      <a:pt x="52" y="111"/>
                    </a:lnTo>
                    <a:lnTo>
                      <a:pt x="52" y="109"/>
                    </a:lnTo>
                    <a:lnTo>
                      <a:pt x="50" y="109"/>
                    </a:lnTo>
                    <a:lnTo>
                      <a:pt x="49" y="109"/>
                    </a:lnTo>
                    <a:lnTo>
                      <a:pt x="49" y="107"/>
                    </a:lnTo>
                    <a:lnTo>
                      <a:pt x="49" y="106"/>
                    </a:lnTo>
                    <a:lnTo>
                      <a:pt x="47" y="106"/>
                    </a:lnTo>
                    <a:lnTo>
                      <a:pt x="47" y="104"/>
                    </a:lnTo>
                    <a:lnTo>
                      <a:pt x="47" y="102"/>
                    </a:lnTo>
                    <a:lnTo>
                      <a:pt x="47" y="100"/>
                    </a:lnTo>
                    <a:lnTo>
                      <a:pt x="45" y="100"/>
                    </a:lnTo>
                    <a:lnTo>
                      <a:pt x="45" y="98"/>
                    </a:lnTo>
                    <a:lnTo>
                      <a:pt x="45" y="96"/>
                    </a:lnTo>
                    <a:lnTo>
                      <a:pt x="45" y="94"/>
                    </a:lnTo>
                    <a:lnTo>
                      <a:pt x="43" y="94"/>
                    </a:lnTo>
                    <a:lnTo>
                      <a:pt x="43" y="92"/>
                    </a:lnTo>
                    <a:lnTo>
                      <a:pt x="43" y="90"/>
                    </a:lnTo>
                    <a:lnTo>
                      <a:pt x="43" y="88"/>
                    </a:lnTo>
                    <a:lnTo>
                      <a:pt x="43" y="86"/>
                    </a:lnTo>
                    <a:lnTo>
                      <a:pt x="43" y="84"/>
                    </a:lnTo>
                    <a:lnTo>
                      <a:pt x="43" y="82"/>
                    </a:lnTo>
                    <a:lnTo>
                      <a:pt x="43" y="81"/>
                    </a:lnTo>
                    <a:lnTo>
                      <a:pt x="41" y="81"/>
                    </a:lnTo>
                    <a:lnTo>
                      <a:pt x="39" y="81"/>
                    </a:lnTo>
                    <a:lnTo>
                      <a:pt x="37" y="81"/>
                    </a:lnTo>
                    <a:lnTo>
                      <a:pt x="35" y="81"/>
                    </a:lnTo>
                    <a:lnTo>
                      <a:pt x="33" y="81"/>
                    </a:lnTo>
                    <a:lnTo>
                      <a:pt x="33" y="79"/>
                    </a:lnTo>
                    <a:lnTo>
                      <a:pt x="31" y="79"/>
                    </a:lnTo>
                    <a:lnTo>
                      <a:pt x="29" y="79"/>
                    </a:lnTo>
                    <a:lnTo>
                      <a:pt x="27" y="79"/>
                    </a:lnTo>
                    <a:lnTo>
                      <a:pt x="25" y="79"/>
                    </a:lnTo>
                    <a:lnTo>
                      <a:pt x="25" y="77"/>
                    </a:lnTo>
                    <a:lnTo>
                      <a:pt x="25" y="75"/>
                    </a:lnTo>
                    <a:lnTo>
                      <a:pt x="24" y="75"/>
                    </a:lnTo>
                    <a:lnTo>
                      <a:pt x="22" y="75"/>
                    </a:lnTo>
                    <a:lnTo>
                      <a:pt x="20" y="75"/>
                    </a:lnTo>
                    <a:lnTo>
                      <a:pt x="18" y="75"/>
                    </a:lnTo>
                    <a:lnTo>
                      <a:pt x="18" y="73"/>
                    </a:lnTo>
                    <a:lnTo>
                      <a:pt x="20" y="73"/>
                    </a:lnTo>
                    <a:lnTo>
                      <a:pt x="20" y="71"/>
                    </a:lnTo>
                    <a:lnTo>
                      <a:pt x="22" y="71"/>
                    </a:lnTo>
                    <a:lnTo>
                      <a:pt x="22" y="69"/>
                    </a:lnTo>
                    <a:lnTo>
                      <a:pt x="22" y="67"/>
                    </a:lnTo>
                    <a:lnTo>
                      <a:pt x="22" y="65"/>
                    </a:lnTo>
                    <a:lnTo>
                      <a:pt x="22" y="63"/>
                    </a:lnTo>
                    <a:lnTo>
                      <a:pt x="24" y="63"/>
                    </a:lnTo>
                    <a:lnTo>
                      <a:pt x="24" y="61"/>
                    </a:lnTo>
                    <a:lnTo>
                      <a:pt x="22" y="61"/>
                    </a:lnTo>
                    <a:lnTo>
                      <a:pt x="20" y="61"/>
                    </a:lnTo>
                    <a:lnTo>
                      <a:pt x="18" y="61"/>
                    </a:lnTo>
                    <a:lnTo>
                      <a:pt x="18" y="59"/>
                    </a:lnTo>
                    <a:lnTo>
                      <a:pt x="16" y="61"/>
                    </a:lnTo>
                    <a:lnTo>
                      <a:pt x="16" y="63"/>
                    </a:lnTo>
                    <a:lnTo>
                      <a:pt x="16" y="61"/>
                    </a:lnTo>
                    <a:lnTo>
                      <a:pt x="16" y="63"/>
                    </a:lnTo>
                    <a:lnTo>
                      <a:pt x="14" y="61"/>
                    </a:lnTo>
                    <a:lnTo>
                      <a:pt x="12" y="61"/>
                    </a:lnTo>
                    <a:lnTo>
                      <a:pt x="14" y="61"/>
                    </a:lnTo>
                    <a:lnTo>
                      <a:pt x="12" y="59"/>
                    </a:lnTo>
                    <a:lnTo>
                      <a:pt x="10" y="59"/>
                    </a:lnTo>
                    <a:lnTo>
                      <a:pt x="10" y="57"/>
                    </a:lnTo>
                    <a:lnTo>
                      <a:pt x="10" y="59"/>
                    </a:lnTo>
                    <a:lnTo>
                      <a:pt x="8" y="59"/>
                    </a:lnTo>
                    <a:lnTo>
                      <a:pt x="6" y="59"/>
                    </a:lnTo>
                    <a:lnTo>
                      <a:pt x="4" y="57"/>
                    </a:lnTo>
                    <a:lnTo>
                      <a:pt x="4" y="59"/>
                    </a:lnTo>
                    <a:lnTo>
                      <a:pt x="2" y="57"/>
                    </a:lnTo>
                    <a:lnTo>
                      <a:pt x="4" y="56"/>
                    </a:lnTo>
                    <a:lnTo>
                      <a:pt x="2" y="56"/>
                    </a:lnTo>
                    <a:lnTo>
                      <a:pt x="2" y="54"/>
                    </a:lnTo>
                    <a:lnTo>
                      <a:pt x="0" y="54"/>
                    </a:lnTo>
                    <a:lnTo>
                      <a:pt x="0" y="52"/>
                    </a:lnTo>
                    <a:lnTo>
                      <a:pt x="0" y="50"/>
                    </a:lnTo>
                    <a:lnTo>
                      <a:pt x="2" y="50"/>
                    </a:lnTo>
                    <a:lnTo>
                      <a:pt x="2" y="48"/>
                    </a:lnTo>
                    <a:lnTo>
                      <a:pt x="2" y="46"/>
                    </a:lnTo>
                    <a:lnTo>
                      <a:pt x="2" y="48"/>
                    </a:lnTo>
                    <a:lnTo>
                      <a:pt x="4" y="46"/>
                    </a:lnTo>
                    <a:lnTo>
                      <a:pt x="6" y="46"/>
                    </a:lnTo>
                    <a:lnTo>
                      <a:pt x="8" y="46"/>
                    </a:lnTo>
                    <a:lnTo>
                      <a:pt x="10" y="46"/>
                    </a:lnTo>
                    <a:lnTo>
                      <a:pt x="16" y="38"/>
                    </a:lnTo>
                    <a:lnTo>
                      <a:pt x="18" y="38"/>
                    </a:lnTo>
                    <a:lnTo>
                      <a:pt x="20" y="38"/>
                    </a:lnTo>
                    <a:lnTo>
                      <a:pt x="20" y="36"/>
                    </a:lnTo>
                    <a:lnTo>
                      <a:pt x="18" y="36"/>
                    </a:lnTo>
                    <a:lnTo>
                      <a:pt x="18" y="34"/>
                    </a:lnTo>
                    <a:lnTo>
                      <a:pt x="20" y="34"/>
                    </a:lnTo>
                    <a:lnTo>
                      <a:pt x="20" y="32"/>
                    </a:lnTo>
                    <a:lnTo>
                      <a:pt x="18" y="32"/>
                    </a:lnTo>
                    <a:lnTo>
                      <a:pt x="18" y="31"/>
                    </a:lnTo>
                    <a:lnTo>
                      <a:pt x="20" y="31"/>
                    </a:lnTo>
                    <a:lnTo>
                      <a:pt x="18" y="31"/>
                    </a:lnTo>
                    <a:lnTo>
                      <a:pt x="18" y="29"/>
                    </a:lnTo>
                    <a:lnTo>
                      <a:pt x="18" y="27"/>
                    </a:lnTo>
                    <a:lnTo>
                      <a:pt x="16" y="27"/>
                    </a:lnTo>
                    <a:lnTo>
                      <a:pt x="18" y="25"/>
                    </a:lnTo>
                    <a:lnTo>
                      <a:pt x="18" y="23"/>
                    </a:lnTo>
                    <a:lnTo>
                      <a:pt x="20" y="23"/>
                    </a:lnTo>
                    <a:lnTo>
                      <a:pt x="20" y="21"/>
                    </a:lnTo>
                    <a:lnTo>
                      <a:pt x="22" y="21"/>
                    </a:lnTo>
                    <a:lnTo>
                      <a:pt x="24" y="23"/>
                    </a:lnTo>
                    <a:lnTo>
                      <a:pt x="24" y="21"/>
                    </a:lnTo>
                    <a:lnTo>
                      <a:pt x="24" y="23"/>
                    </a:lnTo>
                    <a:lnTo>
                      <a:pt x="25" y="23"/>
                    </a:lnTo>
                    <a:lnTo>
                      <a:pt x="25" y="21"/>
                    </a:lnTo>
                    <a:lnTo>
                      <a:pt x="27" y="21"/>
                    </a:lnTo>
                    <a:lnTo>
                      <a:pt x="27" y="23"/>
                    </a:lnTo>
                    <a:lnTo>
                      <a:pt x="27" y="21"/>
                    </a:lnTo>
                    <a:lnTo>
                      <a:pt x="29" y="21"/>
                    </a:lnTo>
                    <a:lnTo>
                      <a:pt x="29" y="23"/>
                    </a:lnTo>
                    <a:lnTo>
                      <a:pt x="31" y="23"/>
                    </a:lnTo>
                    <a:lnTo>
                      <a:pt x="31" y="25"/>
                    </a:lnTo>
                    <a:lnTo>
                      <a:pt x="31" y="23"/>
                    </a:lnTo>
                    <a:lnTo>
                      <a:pt x="33" y="23"/>
                    </a:lnTo>
                    <a:lnTo>
                      <a:pt x="33" y="21"/>
                    </a:lnTo>
                    <a:lnTo>
                      <a:pt x="35" y="23"/>
                    </a:lnTo>
                    <a:lnTo>
                      <a:pt x="33" y="23"/>
                    </a:lnTo>
                    <a:lnTo>
                      <a:pt x="35" y="23"/>
                    </a:lnTo>
                    <a:lnTo>
                      <a:pt x="35" y="25"/>
                    </a:lnTo>
                    <a:lnTo>
                      <a:pt x="37" y="23"/>
                    </a:lnTo>
                    <a:lnTo>
                      <a:pt x="37" y="25"/>
                    </a:lnTo>
                    <a:lnTo>
                      <a:pt x="37" y="23"/>
                    </a:lnTo>
                    <a:lnTo>
                      <a:pt x="39" y="23"/>
                    </a:lnTo>
                    <a:lnTo>
                      <a:pt x="39" y="21"/>
                    </a:lnTo>
                    <a:lnTo>
                      <a:pt x="41" y="21"/>
                    </a:lnTo>
                    <a:lnTo>
                      <a:pt x="41" y="19"/>
                    </a:lnTo>
                    <a:lnTo>
                      <a:pt x="39" y="19"/>
                    </a:lnTo>
                    <a:lnTo>
                      <a:pt x="41" y="19"/>
                    </a:lnTo>
                    <a:lnTo>
                      <a:pt x="41" y="17"/>
                    </a:lnTo>
                    <a:lnTo>
                      <a:pt x="39" y="17"/>
                    </a:lnTo>
                    <a:lnTo>
                      <a:pt x="41" y="15"/>
                    </a:lnTo>
                    <a:lnTo>
                      <a:pt x="39" y="15"/>
                    </a:lnTo>
                    <a:lnTo>
                      <a:pt x="37" y="13"/>
                    </a:lnTo>
                    <a:lnTo>
                      <a:pt x="39" y="13"/>
                    </a:lnTo>
                    <a:lnTo>
                      <a:pt x="39" y="11"/>
                    </a:lnTo>
                    <a:lnTo>
                      <a:pt x="39" y="13"/>
                    </a:lnTo>
                    <a:lnTo>
                      <a:pt x="39" y="11"/>
                    </a:lnTo>
                    <a:lnTo>
                      <a:pt x="41" y="11"/>
                    </a:lnTo>
                    <a:lnTo>
                      <a:pt x="41" y="9"/>
                    </a:lnTo>
                    <a:lnTo>
                      <a:pt x="41" y="7"/>
                    </a:lnTo>
                    <a:lnTo>
                      <a:pt x="43" y="7"/>
                    </a:lnTo>
                    <a:lnTo>
                      <a:pt x="43" y="6"/>
                    </a:lnTo>
                    <a:lnTo>
                      <a:pt x="43" y="4"/>
                    </a:lnTo>
                    <a:lnTo>
                      <a:pt x="43" y="2"/>
                    </a:lnTo>
                    <a:lnTo>
                      <a:pt x="45" y="2"/>
                    </a:lnTo>
                    <a:lnTo>
                      <a:pt x="45" y="4"/>
                    </a:lnTo>
                    <a:lnTo>
                      <a:pt x="45" y="6"/>
                    </a:lnTo>
                    <a:lnTo>
                      <a:pt x="47" y="7"/>
                    </a:lnTo>
                    <a:lnTo>
                      <a:pt x="45" y="7"/>
                    </a:lnTo>
                    <a:lnTo>
                      <a:pt x="47" y="7"/>
                    </a:lnTo>
                    <a:lnTo>
                      <a:pt x="49" y="6"/>
                    </a:lnTo>
                    <a:lnTo>
                      <a:pt x="50" y="6"/>
                    </a:lnTo>
                    <a:lnTo>
                      <a:pt x="52" y="7"/>
                    </a:lnTo>
                    <a:lnTo>
                      <a:pt x="54" y="4"/>
                    </a:lnTo>
                    <a:lnTo>
                      <a:pt x="56" y="6"/>
                    </a:lnTo>
                    <a:lnTo>
                      <a:pt x="56" y="4"/>
                    </a:lnTo>
                    <a:lnTo>
                      <a:pt x="58" y="4"/>
                    </a:lnTo>
                    <a:lnTo>
                      <a:pt x="58" y="2"/>
                    </a:lnTo>
                    <a:lnTo>
                      <a:pt x="60" y="2"/>
                    </a:lnTo>
                    <a:lnTo>
                      <a:pt x="62" y="4"/>
                    </a:lnTo>
                    <a:lnTo>
                      <a:pt x="64" y="4"/>
                    </a:lnTo>
                    <a:lnTo>
                      <a:pt x="64" y="2"/>
                    </a:lnTo>
                    <a:lnTo>
                      <a:pt x="66" y="2"/>
                    </a:lnTo>
                    <a:lnTo>
                      <a:pt x="68" y="2"/>
                    </a:lnTo>
                    <a:lnTo>
                      <a:pt x="68" y="0"/>
                    </a:lnTo>
                    <a:lnTo>
                      <a:pt x="70" y="2"/>
                    </a:lnTo>
                    <a:lnTo>
                      <a:pt x="70" y="4"/>
                    </a:lnTo>
                    <a:lnTo>
                      <a:pt x="70" y="6"/>
                    </a:lnTo>
                    <a:lnTo>
                      <a:pt x="72" y="6"/>
                    </a:lnTo>
                    <a:lnTo>
                      <a:pt x="72" y="4"/>
                    </a:lnTo>
                    <a:lnTo>
                      <a:pt x="73" y="4"/>
                    </a:lnTo>
                    <a:lnTo>
                      <a:pt x="73" y="2"/>
                    </a:lnTo>
                    <a:lnTo>
                      <a:pt x="75" y="2"/>
                    </a:lnTo>
                    <a:lnTo>
                      <a:pt x="77" y="2"/>
                    </a:lnTo>
                    <a:lnTo>
                      <a:pt x="79" y="2"/>
                    </a:lnTo>
                    <a:lnTo>
                      <a:pt x="81" y="2"/>
                    </a:lnTo>
                    <a:lnTo>
                      <a:pt x="79" y="2"/>
                    </a:lnTo>
                    <a:lnTo>
                      <a:pt x="81"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2" name="Freeform 79"/>
              <p:cNvSpPr>
                <a:spLocks/>
              </p:cNvSpPr>
              <p:nvPr/>
            </p:nvSpPr>
            <p:spPr bwMode="auto">
              <a:xfrm>
                <a:off x="952509" y="2806985"/>
                <a:ext cx="259815" cy="259815"/>
              </a:xfrm>
              <a:custGeom>
                <a:avLst/>
                <a:gdLst>
                  <a:gd name="T0" fmla="*/ 121 w 151"/>
                  <a:gd name="T1" fmla="*/ 144 h 151"/>
                  <a:gd name="T2" fmla="*/ 113 w 151"/>
                  <a:gd name="T3" fmla="*/ 140 h 151"/>
                  <a:gd name="T4" fmla="*/ 103 w 151"/>
                  <a:gd name="T5" fmla="*/ 142 h 151"/>
                  <a:gd name="T6" fmla="*/ 94 w 151"/>
                  <a:gd name="T7" fmla="*/ 149 h 151"/>
                  <a:gd name="T8" fmla="*/ 86 w 151"/>
                  <a:gd name="T9" fmla="*/ 144 h 151"/>
                  <a:gd name="T10" fmla="*/ 82 w 151"/>
                  <a:gd name="T11" fmla="*/ 142 h 151"/>
                  <a:gd name="T12" fmla="*/ 74 w 151"/>
                  <a:gd name="T13" fmla="*/ 142 h 151"/>
                  <a:gd name="T14" fmla="*/ 67 w 151"/>
                  <a:gd name="T15" fmla="*/ 140 h 151"/>
                  <a:gd name="T16" fmla="*/ 61 w 151"/>
                  <a:gd name="T17" fmla="*/ 138 h 151"/>
                  <a:gd name="T18" fmla="*/ 55 w 151"/>
                  <a:gd name="T19" fmla="*/ 136 h 151"/>
                  <a:gd name="T20" fmla="*/ 51 w 151"/>
                  <a:gd name="T21" fmla="*/ 123 h 151"/>
                  <a:gd name="T22" fmla="*/ 46 w 151"/>
                  <a:gd name="T23" fmla="*/ 124 h 151"/>
                  <a:gd name="T24" fmla="*/ 36 w 151"/>
                  <a:gd name="T25" fmla="*/ 128 h 151"/>
                  <a:gd name="T26" fmla="*/ 28 w 151"/>
                  <a:gd name="T27" fmla="*/ 123 h 151"/>
                  <a:gd name="T28" fmla="*/ 25 w 151"/>
                  <a:gd name="T29" fmla="*/ 111 h 151"/>
                  <a:gd name="T30" fmla="*/ 11 w 151"/>
                  <a:gd name="T31" fmla="*/ 107 h 151"/>
                  <a:gd name="T32" fmla="*/ 7 w 151"/>
                  <a:gd name="T33" fmla="*/ 100 h 151"/>
                  <a:gd name="T34" fmla="*/ 1 w 151"/>
                  <a:gd name="T35" fmla="*/ 101 h 151"/>
                  <a:gd name="T36" fmla="*/ 5 w 151"/>
                  <a:gd name="T37" fmla="*/ 96 h 151"/>
                  <a:gd name="T38" fmla="*/ 7 w 151"/>
                  <a:gd name="T39" fmla="*/ 90 h 151"/>
                  <a:gd name="T40" fmla="*/ 17 w 151"/>
                  <a:gd name="T41" fmla="*/ 75 h 151"/>
                  <a:gd name="T42" fmla="*/ 15 w 151"/>
                  <a:gd name="T43" fmla="*/ 63 h 151"/>
                  <a:gd name="T44" fmla="*/ 11 w 151"/>
                  <a:gd name="T45" fmla="*/ 48 h 151"/>
                  <a:gd name="T46" fmla="*/ 15 w 151"/>
                  <a:gd name="T47" fmla="*/ 32 h 151"/>
                  <a:gd name="T48" fmla="*/ 11 w 151"/>
                  <a:gd name="T49" fmla="*/ 26 h 151"/>
                  <a:gd name="T50" fmla="*/ 15 w 151"/>
                  <a:gd name="T51" fmla="*/ 17 h 151"/>
                  <a:gd name="T52" fmla="*/ 19 w 151"/>
                  <a:gd name="T53" fmla="*/ 7 h 151"/>
                  <a:gd name="T54" fmla="*/ 23 w 151"/>
                  <a:gd name="T55" fmla="*/ 0 h 151"/>
                  <a:gd name="T56" fmla="*/ 28 w 151"/>
                  <a:gd name="T57" fmla="*/ 3 h 151"/>
                  <a:gd name="T58" fmla="*/ 30 w 151"/>
                  <a:gd name="T59" fmla="*/ 9 h 151"/>
                  <a:gd name="T60" fmla="*/ 38 w 151"/>
                  <a:gd name="T61" fmla="*/ 7 h 151"/>
                  <a:gd name="T62" fmla="*/ 32 w 151"/>
                  <a:gd name="T63" fmla="*/ 11 h 151"/>
                  <a:gd name="T64" fmla="*/ 40 w 151"/>
                  <a:gd name="T65" fmla="*/ 9 h 151"/>
                  <a:gd name="T66" fmla="*/ 40 w 151"/>
                  <a:gd name="T67" fmla="*/ 13 h 151"/>
                  <a:gd name="T68" fmla="*/ 49 w 151"/>
                  <a:gd name="T69" fmla="*/ 15 h 151"/>
                  <a:gd name="T70" fmla="*/ 55 w 151"/>
                  <a:gd name="T71" fmla="*/ 17 h 151"/>
                  <a:gd name="T72" fmla="*/ 59 w 151"/>
                  <a:gd name="T73" fmla="*/ 9 h 151"/>
                  <a:gd name="T74" fmla="*/ 65 w 151"/>
                  <a:gd name="T75" fmla="*/ 11 h 151"/>
                  <a:gd name="T76" fmla="*/ 74 w 151"/>
                  <a:gd name="T77" fmla="*/ 19 h 151"/>
                  <a:gd name="T78" fmla="*/ 78 w 151"/>
                  <a:gd name="T79" fmla="*/ 28 h 151"/>
                  <a:gd name="T80" fmla="*/ 74 w 151"/>
                  <a:gd name="T81" fmla="*/ 36 h 151"/>
                  <a:gd name="T82" fmla="*/ 80 w 151"/>
                  <a:gd name="T83" fmla="*/ 42 h 151"/>
                  <a:gd name="T84" fmla="*/ 88 w 151"/>
                  <a:gd name="T85" fmla="*/ 50 h 151"/>
                  <a:gd name="T86" fmla="*/ 92 w 151"/>
                  <a:gd name="T87" fmla="*/ 50 h 151"/>
                  <a:gd name="T88" fmla="*/ 98 w 151"/>
                  <a:gd name="T89" fmla="*/ 48 h 151"/>
                  <a:gd name="T90" fmla="*/ 98 w 151"/>
                  <a:gd name="T91" fmla="*/ 38 h 151"/>
                  <a:gd name="T92" fmla="*/ 103 w 151"/>
                  <a:gd name="T93" fmla="*/ 40 h 151"/>
                  <a:gd name="T94" fmla="*/ 107 w 151"/>
                  <a:gd name="T95" fmla="*/ 38 h 151"/>
                  <a:gd name="T96" fmla="*/ 117 w 151"/>
                  <a:gd name="T97" fmla="*/ 42 h 151"/>
                  <a:gd name="T98" fmla="*/ 119 w 151"/>
                  <a:gd name="T99" fmla="*/ 51 h 151"/>
                  <a:gd name="T100" fmla="*/ 128 w 151"/>
                  <a:gd name="T101" fmla="*/ 51 h 151"/>
                  <a:gd name="T102" fmla="*/ 136 w 151"/>
                  <a:gd name="T103" fmla="*/ 53 h 151"/>
                  <a:gd name="T104" fmla="*/ 144 w 151"/>
                  <a:gd name="T105" fmla="*/ 53 h 151"/>
                  <a:gd name="T106" fmla="*/ 147 w 151"/>
                  <a:gd name="T107" fmla="*/ 63 h 151"/>
                  <a:gd name="T108" fmla="*/ 144 w 151"/>
                  <a:gd name="T109" fmla="*/ 71 h 151"/>
                  <a:gd name="T110" fmla="*/ 146 w 151"/>
                  <a:gd name="T111" fmla="*/ 80 h 151"/>
                  <a:gd name="T112" fmla="*/ 142 w 151"/>
                  <a:gd name="T113" fmla="*/ 92 h 151"/>
                  <a:gd name="T114" fmla="*/ 146 w 151"/>
                  <a:gd name="T115" fmla="*/ 98 h 151"/>
                  <a:gd name="T116" fmla="*/ 149 w 151"/>
                  <a:gd name="T117" fmla="*/ 103 h 151"/>
                  <a:gd name="T118" fmla="*/ 149 w 151"/>
                  <a:gd name="T119" fmla="*/ 115 h 151"/>
                  <a:gd name="T120" fmla="*/ 144 w 151"/>
                  <a:gd name="T121" fmla="*/ 124 h 151"/>
                  <a:gd name="T122" fmla="*/ 136 w 151"/>
                  <a:gd name="T123" fmla="*/ 136 h 151"/>
                  <a:gd name="T124" fmla="*/ 132 w 151"/>
                  <a:gd name="T125" fmla="*/ 14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151">
                    <a:moveTo>
                      <a:pt x="124" y="151"/>
                    </a:moveTo>
                    <a:lnTo>
                      <a:pt x="123" y="151"/>
                    </a:lnTo>
                    <a:lnTo>
                      <a:pt x="121" y="149"/>
                    </a:lnTo>
                    <a:lnTo>
                      <a:pt x="121" y="148"/>
                    </a:lnTo>
                    <a:lnTo>
                      <a:pt x="121" y="146"/>
                    </a:lnTo>
                    <a:lnTo>
                      <a:pt x="119" y="146"/>
                    </a:lnTo>
                    <a:lnTo>
                      <a:pt x="121" y="146"/>
                    </a:lnTo>
                    <a:lnTo>
                      <a:pt x="121" y="144"/>
                    </a:lnTo>
                    <a:lnTo>
                      <a:pt x="121" y="142"/>
                    </a:lnTo>
                    <a:lnTo>
                      <a:pt x="119" y="142"/>
                    </a:lnTo>
                    <a:lnTo>
                      <a:pt x="119" y="144"/>
                    </a:lnTo>
                    <a:lnTo>
                      <a:pt x="117" y="144"/>
                    </a:lnTo>
                    <a:lnTo>
                      <a:pt x="117" y="142"/>
                    </a:lnTo>
                    <a:lnTo>
                      <a:pt x="115" y="142"/>
                    </a:lnTo>
                    <a:lnTo>
                      <a:pt x="113" y="142"/>
                    </a:lnTo>
                    <a:lnTo>
                      <a:pt x="113" y="140"/>
                    </a:lnTo>
                    <a:lnTo>
                      <a:pt x="111" y="140"/>
                    </a:lnTo>
                    <a:lnTo>
                      <a:pt x="109" y="140"/>
                    </a:lnTo>
                    <a:lnTo>
                      <a:pt x="109" y="142"/>
                    </a:lnTo>
                    <a:lnTo>
                      <a:pt x="107" y="142"/>
                    </a:lnTo>
                    <a:lnTo>
                      <a:pt x="107" y="144"/>
                    </a:lnTo>
                    <a:lnTo>
                      <a:pt x="107" y="142"/>
                    </a:lnTo>
                    <a:lnTo>
                      <a:pt x="105" y="142"/>
                    </a:lnTo>
                    <a:lnTo>
                      <a:pt x="103" y="142"/>
                    </a:lnTo>
                    <a:lnTo>
                      <a:pt x="101" y="144"/>
                    </a:lnTo>
                    <a:lnTo>
                      <a:pt x="101" y="146"/>
                    </a:lnTo>
                    <a:lnTo>
                      <a:pt x="99" y="146"/>
                    </a:lnTo>
                    <a:lnTo>
                      <a:pt x="99" y="144"/>
                    </a:lnTo>
                    <a:lnTo>
                      <a:pt x="98" y="146"/>
                    </a:lnTo>
                    <a:lnTo>
                      <a:pt x="96" y="146"/>
                    </a:lnTo>
                    <a:lnTo>
                      <a:pt x="94" y="148"/>
                    </a:lnTo>
                    <a:lnTo>
                      <a:pt x="94" y="149"/>
                    </a:lnTo>
                    <a:lnTo>
                      <a:pt x="92" y="149"/>
                    </a:lnTo>
                    <a:lnTo>
                      <a:pt x="90" y="151"/>
                    </a:lnTo>
                    <a:lnTo>
                      <a:pt x="90" y="149"/>
                    </a:lnTo>
                    <a:lnTo>
                      <a:pt x="88" y="149"/>
                    </a:lnTo>
                    <a:lnTo>
                      <a:pt x="88" y="148"/>
                    </a:lnTo>
                    <a:lnTo>
                      <a:pt x="86" y="148"/>
                    </a:lnTo>
                    <a:lnTo>
                      <a:pt x="86" y="146"/>
                    </a:lnTo>
                    <a:lnTo>
                      <a:pt x="86" y="144"/>
                    </a:lnTo>
                    <a:lnTo>
                      <a:pt x="84" y="144"/>
                    </a:lnTo>
                    <a:lnTo>
                      <a:pt x="84" y="142"/>
                    </a:lnTo>
                    <a:lnTo>
                      <a:pt x="86" y="142"/>
                    </a:lnTo>
                    <a:lnTo>
                      <a:pt x="84" y="142"/>
                    </a:lnTo>
                    <a:lnTo>
                      <a:pt x="84" y="140"/>
                    </a:lnTo>
                    <a:lnTo>
                      <a:pt x="82" y="140"/>
                    </a:lnTo>
                    <a:lnTo>
                      <a:pt x="80" y="142"/>
                    </a:lnTo>
                    <a:lnTo>
                      <a:pt x="82" y="142"/>
                    </a:lnTo>
                    <a:lnTo>
                      <a:pt x="80" y="142"/>
                    </a:lnTo>
                    <a:lnTo>
                      <a:pt x="80" y="140"/>
                    </a:lnTo>
                    <a:lnTo>
                      <a:pt x="80" y="138"/>
                    </a:lnTo>
                    <a:lnTo>
                      <a:pt x="78" y="140"/>
                    </a:lnTo>
                    <a:lnTo>
                      <a:pt x="78" y="142"/>
                    </a:lnTo>
                    <a:lnTo>
                      <a:pt x="76" y="142"/>
                    </a:lnTo>
                    <a:lnTo>
                      <a:pt x="76" y="140"/>
                    </a:lnTo>
                    <a:lnTo>
                      <a:pt x="74" y="142"/>
                    </a:lnTo>
                    <a:lnTo>
                      <a:pt x="73" y="142"/>
                    </a:lnTo>
                    <a:lnTo>
                      <a:pt x="71" y="142"/>
                    </a:lnTo>
                    <a:lnTo>
                      <a:pt x="73" y="140"/>
                    </a:lnTo>
                    <a:lnTo>
                      <a:pt x="71" y="140"/>
                    </a:lnTo>
                    <a:lnTo>
                      <a:pt x="69" y="140"/>
                    </a:lnTo>
                    <a:lnTo>
                      <a:pt x="69" y="142"/>
                    </a:lnTo>
                    <a:lnTo>
                      <a:pt x="69" y="140"/>
                    </a:lnTo>
                    <a:lnTo>
                      <a:pt x="67" y="140"/>
                    </a:lnTo>
                    <a:lnTo>
                      <a:pt x="67" y="138"/>
                    </a:lnTo>
                    <a:lnTo>
                      <a:pt x="67" y="136"/>
                    </a:lnTo>
                    <a:lnTo>
                      <a:pt x="65" y="136"/>
                    </a:lnTo>
                    <a:lnTo>
                      <a:pt x="63" y="136"/>
                    </a:lnTo>
                    <a:lnTo>
                      <a:pt x="63" y="138"/>
                    </a:lnTo>
                    <a:lnTo>
                      <a:pt x="63" y="136"/>
                    </a:lnTo>
                    <a:lnTo>
                      <a:pt x="63" y="138"/>
                    </a:lnTo>
                    <a:lnTo>
                      <a:pt x="61" y="138"/>
                    </a:lnTo>
                    <a:lnTo>
                      <a:pt x="61" y="140"/>
                    </a:lnTo>
                    <a:lnTo>
                      <a:pt x="61" y="142"/>
                    </a:lnTo>
                    <a:lnTo>
                      <a:pt x="59" y="142"/>
                    </a:lnTo>
                    <a:lnTo>
                      <a:pt x="59" y="140"/>
                    </a:lnTo>
                    <a:lnTo>
                      <a:pt x="59" y="138"/>
                    </a:lnTo>
                    <a:lnTo>
                      <a:pt x="59" y="136"/>
                    </a:lnTo>
                    <a:lnTo>
                      <a:pt x="57" y="136"/>
                    </a:lnTo>
                    <a:lnTo>
                      <a:pt x="55" y="136"/>
                    </a:lnTo>
                    <a:lnTo>
                      <a:pt x="57" y="134"/>
                    </a:lnTo>
                    <a:lnTo>
                      <a:pt x="59" y="132"/>
                    </a:lnTo>
                    <a:lnTo>
                      <a:pt x="57" y="130"/>
                    </a:lnTo>
                    <a:lnTo>
                      <a:pt x="57" y="128"/>
                    </a:lnTo>
                    <a:lnTo>
                      <a:pt x="55" y="128"/>
                    </a:lnTo>
                    <a:lnTo>
                      <a:pt x="53" y="126"/>
                    </a:lnTo>
                    <a:lnTo>
                      <a:pt x="53" y="124"/>
                    </a:lnTo>
                    <a:lnTo>
                      <a:pt x="51" y="123"/>
                    </a:lnTo>
                    <a:lnTo>
                      <a:pt x="51" y="121"/>
                    </a:lnTo>
                    <a:lnTo>
                      <a:pt x="51" y="119"/>
                    </a:lnTo>
                    <a:lnTo>
                      <a:pt x="49" y="119"/>
                    </a:lnTo>
                    <a:lnTo>
                      <a:pt x="49" y="121"/>
                    </a:lnTo>
                    <a:lnTo>
                      <a:pt x="48" y="121"/>
                    </a:lnTo>
                    <a:lnTo>
                      <a:pt x="48" y="123"/>
                    </a:lnTo>
                    <a:lnTo>
                      <a:pt x="48" y="124"/>
                    </a:lnTo>
                    <a:lnTo>
                      <a:pt x="46" y="124"/>
                    </a:lnTo>
                    <a:lnTo>
                      <a:pt x="44" y="124"/>
                    </a:lnTo>
                    <a:lnTo>
                      <a:pt x="42" y="124"/>
                    </a:lnTo>
                    <a:lnTo>
                      <a:pt x="40" y="124"/>
                    </a:lnTo>
                    <a:lnTo>
                      <a:pt x="40" y="126"/>
                    </a:lnTo>
                    <a:lnTo>
                      <a:pt x="38" y="126"/>
                    </a:lnTo>
                    <a:lnTo>
                      <a:pt x="36" y="128"/>
                    </a:lnTo>
                    <a:lnTo>
                      <a:pt x="38" y="128"/>
                    </a:lnTo>
                    <a:lnTo>
                      <a:pt x="36" y="128"/>
                    </a:lnTo>
                    <a:lnTo>
                      <a:pt x="36" y="126"/>
                    </a:lnTo>
                    <a:lnTo>
                      <a:pt x="34" y="126"/>
                    </a:lnTo>
                    <a:lnTo>
                      <a:pt x="34" y="124"/>
                    </a:lnTo>
                    <a:lnTo>
                      <a:pt x="32" y="124"/>
                    </a:lnTo>
                    <a:lnTo>
                      <a:pt x="32" y="123"/>
                    </a:lnTo>
                    <a:lnTo>
                      <a:pt x="30" y="123"/>
                    </a:lnTo>
                    <a:lnTo>
                      <a:pt x="30" y="121"/>
                    </a:lnTo>
                    <a:lnTo>
                      <a:pt x="28" y="123"/>
                    </a:lnTo>
                    <a:lnTo>
                      <a:pt x="28" y="121"/>
                    </a:lnTo>
                    <a:lnTo>
                      <a:pt x="28" y="119"/>
                    </a:lnTo>
                    <a:lnTo>
                      <a:pt x="28" y="117"/>
                    </a:lnTo>
                    <a:lnTo>
                      <a:pt x="26" y="117"/>
                    </a:lnTo>
                    <a:lnTo>
                      <a:pt x="26" y="115"/>
                    </a:lnTo>
                    <a:lnTo>
                      <a:pt x="25" y="115"/>
                    </a:lnTo>
                    <a:lnTo>
                      <a:pt x="25" y="113"/>
                    </a:lnTo>
                    <a:lnTo>
                      <a:pt x="25" y="111"/>
                    </a:lnTo>
                    <a:lnTo>
                      <a:pt x="23" y="111"/>
                    </a:lnTo>
                    <a:lnTo>
                      <a:pt x="21" y="111"/>
                    </a:lnTo>
                    <a:lnTo>
                      <a:pt x="19" y="111"/>
                    </a:lnTo>
                    <a:lnTo>
                      <a:pt x="17" y="109"/>
                    </a:lnTo>
                    <a:lnTo>
                      <a:pt x="15" y="109"/>
                    </a:lnTo>
                    <a:lnTo>
                      <a:pt x="13" y="109"/>
                    </a:lnTo>
                    <a:lnTo>
                      <a:pt x="11" y="109"/>
                    </a:lnTo>
                    <a:lnTo>
                      <a:pt x="11" y="107"/>
                    </a:lnTo>
                    <a:lnTo>
                      <a:pt x="9" y="107"/>
                    </a:lnTo>
                    <a:lnTo>
                      <a:pt x="9" y="105"/>
                    </a:lnTo>
                    <a:lnTo>
                      <a:pt x="9" y="103"/>
                    </a:lnTo>
                    <a:lnTo>
                      <a:pt x="9" y="101"/>
                    </a:lnTo>
                    <a:lnTo>
                      <a:pt x="7" y="101"/>
                    </a:lnTo>
                    <a:lnTo>
                      <a:pt x="9" y="101"/>
                    </a:lnTo>
                    <a:lnTo>
                      <a:pt x="7" y="101"/>
                    </a:lnTo>
                    <a:lnTo>
                      <a:pt x="7" y="100"/>
                    </a:lnTo>
                    <a:lnTo>
                      <a:pt x="5" y="100"/>
                    </a:lnTo>
                    <a:lnTo>
                      <a:pt x="3" y="101"/>
                    </a:lnTo>
                    <a:lnTo>
                      <a:pt x="1" y="103"/>
                    </a:lnTo>
                    <a:lnTo>
                      <a:pt x="1" y="101"/>
                    </a:lnTo>
                    <a:lnTo>
                      <a:pt x="1" y="103"/>
                    </a:lnTo>
                    <a:lnTo>
                      <a:pt x="0" y="103"/>
                    </a:lnTo>
                    <a:lnTo>
                      <a:pt x="0" y="101"/>
                    </a:lnTo>
                    <a:lnTo>
                      <a:pt x="1" y="101"/>
                    </a:lnTo>
                    <a:lnTo>
                      <a:pt x="1" y="100"/>
                    </a:lnTo>
                    <a:lnTo>
                      <a:pt x="1" y="101"/>
                    </a:lnTo>
                    <a:lnTo>
                      <a:pt x="1" y="100"/>
                    </a:lnTo>
                    <a:lnTo>
                      <a:pt x="3" y="100"/>
                    </a:lnTo>
                    <a:lnTo>
                      <a:pt x="1" y="98"/>
                    </a:lnTo>
                    <a:lnTo>
                      <a:pt x="3" y="96"/>
                    </a:lnTo>
                    <a:lnTo>
                      <a:pt x="3" y="94"/>
                    </a:lnTo>
                    <a:lnTo>
                      <a:pt x="5" y="96"/>
                    </a:lnTo>
                    <a:lnTo>
                      <a:pt x="7" y="96"/>
                    </a:lnTo>
                    <a:lnTo>
                      <a:pt x="7" y="94"/>
                    </a:lnTo>
                    <a:lnTo>
                      <a:pt x="5" y="94"/>
                    </a:lnTo>
                    <a:lnTo>
                      <a:pt x="5" y="92"/>
                    </a:lnTo>
                    <a:lnTo>
                      <a:pt x="7" y="92"/>
                    </a:lnTo>
                    <a:lnTo>
                      <a:pt x="7" y="90"/>
                    </a:lnTo>
                    <a:lnTo>
                      <a:pt x="7" y="92"/>
                    </a:lnTo>
                    <a:lnTo>
                      <a:pt x="7" y="90"/>
                    </a:lnTo>
                    <a:lnTo>
                      <a:pt x="9" y="90"/>
                    </a:lnTo>
                    <a:lnTo>
                      <a:pt x="9" y="92"/>
                    </a:lnTo>
                    <a:lnTo>
                      <a:pt x="13" y="90"/>
                    </a:lnTo>
                    <a:lnTo>
                      <a:pt x="15" y="90"/>
                    </a:lnTo>
                    <a:lnTo>
                      <a:pt x="17" y="82"/>
                    </a:lnTo>
                    <a:lnTo>
                      <a:pt x="17" y="80"/>
                    </a:lnTo>
                    <a:lnTo>
                      <a:pt x="17" y="76"/>
                    </a:lnTo>
                    <a:lnTo>
                      <a:pt x="17" y="75"/>
                    </a:lnTo>
                    <a:lnTo>
                      <a:pt x="17" y="73"/>
                    </a:lnTo>
                    <a:lnTo>
                      <a:pt x="17" y="71"/>
                    </a:lnTo>
                    <a:lnTo>
                      <a:pt x="17" y="69"/>
                    </a:lnTo>
                    <a:lnTo>
                      <a:pt x="15" y="69"/>
                    </a:lnTo>
                    <a:lnTo>
                      <a:pt x="17" y="69"/>
                    </a:lnTo>
                    <a:lnTo>
                      <a:pt x="17" y="67"/>
                    </a:lnTo>
                    <a:lnTo>
                      <a:pt x="17" y="65"/>
                    </a:lnTo>
                    <a:lnTo>
                      <a:pt x="15" y="63"/>
                    </a:lnTo>
                    <a:lnTo>
                      <a:pt x="15" y="61"/>
                    </a:lnTo>
                    <a:lnTo>
                      <a:pt x="13" y="59"/>
                    </a:lnTo>
                    <a:lnTo>
                      <a:pt x="13" y="57"/>
                    </a:lnTo>
                    <a:lnTo>
                      <a:pt x="13" y="55"/>
                    </a:lnTo>
                    <a:lnTo>
                      <a:pt x="13" y="53"/>
                    </a:lnTo>
                    <a:lnTo>
                      <a:pt x="13" y="51"/>
                    </a:lnTo>
                    <a:lnTo>
                      <a:pt x="13" y="50"/>
                    </a:lnTo>
                    <a:lnTo>
                      <a:pt x="11" y="48"/>
                    </a:lnTo>
                    <a:lnTo>
                      <a:pt x="11" y="46"/>
                    </a:lnTo>
                    <a:lnTo>
                      <a:pt x="13" y="46"/>
                    </a:lnTo>
                    <a:lnTo>
                      <a:pt x="15" y="44"/>
                    </a:lnTo>
                    <a:lnTo>
                      <a:pt x="13" y="42"/>
                    </a:lnTo>
                    <a:lnTo>
                      <a:pt x="13" y="40"/>
                    </a:lnTo>
                    <a:lnTo>
                      <a:pt x="13" y="38"/>
                    </a:lnTo>
                    <a:lnTo>
                      <a:pt x="13" y="36"/>
                    </a:lnTo>
                    <a:lnTo>
                      <a:pt x="15" y="32"/>
                    </a:lnTo>
                    <a:lnTo>
                      <a:pt x="13" y="34"/>
                    </a:lnTo>
                    <a:lnTo>
                      <a:pt x="13" y="32"/>
                    </a:lnTo>
                    <a:lnTo>
                      <a:pt x="13" y="30"/>
                    </a:lnTo>
                    <a:lnTo>
                      <a:pt x="13" y="28"/>
                    </a:lnTo>
                    <a:lnTo>
                      <a:pt x="11" y="28"/>
                    </a:lnTo>
                    <a:lnTo>
                      <a:pt x="11" y="26"/>
                    </a:lnTo>
                    <a:lnTo>
                      <a:pt x="13" y="26"/>
                    </a:lnTo>
                    <a:lnTo>
                      <a:pt x="11" y="26"/>
                    </a:lnTo>
                    <a:lnTo>
                      <a:pt x="13" y="26"/>
                    </a:lnTo>
                    <a:lnTo>
                      <a:pt x="15" y="26"/>
                    </a:lnTo>
                    <a:lnTo>
                      <a:pt x="15" y="25"/>
                    </a:lnTo>
                    <a:lnTo>
                      <a:pt x="15" y="23"/>
                    </a:lnTo>
                    <a:lnTo>
                      <a:pt x="15" y="21"/>
                    </a:lnTo>
                    <a:lnTo>
                      <a:pt x="13" y="21"/>
                    </a:lnTo>
                    <a:lnTo>
                      <a:pt x="13" y="19"/>
                    </a:lnTo>
                    <a:lnTo>
                      <a:pt x="15" y="17"/>
                    </a:lnTo>
                    <a:lnTo>
                      <a:pt x="13" y="17"/>
                    </a:lnTo>
                    <a:lnTo>
                      <a:pt x="11" y="17"/>
                    </a:lnTo>
                    <a:lnTo>
                      <a:pt x="13" y="17"/>
                    </a:lnTo>
                    <a:lnTo>
                      <a:pt x="13" y="15"/>
                    </a:lnTo>
                    <a:lnTo>
                      <a:pt x="15" y="15"/>
                    </a:lnTo>
                    <a:lnTo>
                      <a:pt x="15" y="13"/>
                    </a:lnTo>
                    <a:lnTo>
                      <a:pt x="17" y="9"/>
                    </a:lnTo>
                    <a:lnTo>
                      <a:pt x="19" y="7"/>
                    </a:lnTo>
                    <a:lnTo>
                      <a:pt x="19" y="5"/>
                    </a:lnTo>
                    <a:lnTo>
                      <a:pt x="19" y="3"/>
                    </a:lnTo>
                    <a:lnTo>
                      <a:pt x="21" y="3"/>
                    </a:lnTo>
                    <a:lnTo>
                      <a:pt x="21" y="1"/>
                    </a:lnTo>
                    <a:lnTo>
                      <a:pt x="21" y="3"/>
                    </a:lnTo>
                    <a:lnTo>
                      <a:pt x="23" y="3"/>
                    </a:lnTo>
                    <a:lnTo>
                      <a:pt x="23" y="1"/>
                    </a:lnTo>
                    <a:lnTo>
                      <a:pt x="23" y="0"/>
                    </a:lnTo>
                    <a:lnTo>
                      <a:pt x="25" y="0"/>
                    </a:lnTo>
                    <a:lnTo>
                      <a:pt x="25" y="1"/>
                    </a:lnTo>
                    <a:lnTo>
                      <a:pt x="26" y="0"/>
                    </a:lnTo>
                    <a:lnTo>
                      <a:pt x="26" y="1"/>
                    </a:lnTo>
                    <a:lnTo>
                      <a:pt x="26" y="0"/>
                    </a:lnTo>
                    <a:lnTo>
                      <a:pt x="26" y="1"/>
                    </a:lnTo>
                    <a:lnTo>
                      <a:pt x="28" y="1"/>
                    </a:lnTo>
                    <a:lnTo>
                      <a:pt x="28" y="3"/>
                    </a:lnTo>
                    <a:lnTo>
                      <a:pt x="28" y="5"/>
                    </a:lnTo>
                    <a:lnTo>
                      <a:pt x="30" y="5"/>
                    </a:lnTo>
                    <a:lnTo>
                      <a:pt x="30" y="7"/>
                    </a:lnTo>
                    <a:lnTo>
                      <a:pt x="30" y="9"/>
                    </a:lnTo>
                    <a:lnTo>
                      <a:pt x="30" y="7"/>
                    </a:lnTo>
                    <a:lnTo>
                      <a:pt x="30" y="9"/>
                    </a:lnTo>
                    <a:lnTo>
                      <a:pt x="32" y="9"/>
                    </a:lnTo>
                    <a:lnTo>
                      <a:pt x="30" y="9"/>
                    </a:lnTo>
                    <a:lnTo>
                      <a:pt x="30" y="11"/>
                    </a:lnTo>
                    <a:lnTo>
                      <a:pt x="32" y="13"/>
                    </a:lnTo>
                    <a:lnTo>
                      <a:pt x="34" y="11"/>
                    </a:lnTo>
                    <a:lnTo>
                      <a:pt x="32" y="11"/>
                    </a:lnTo>
                    <a:lnTo>
                      <a:pt x="32" y="9"/>
                    </a:lnTo>
                    <a:lnTo>
                      <a:pt x="34" y="7"/>
                    </a:lnTo>
                    <a:lnTo>
                      <a:pt x="36" y="7"/>
                    </a:lnTo>
                    <a:lnTo>
                      <a:pt x="38" y="7"/>
                    </a:lnTo>
                    <a:lnTo>
                      <a:pt x="36" y="7"/>
                    </a:lnTo>
                    <a:lnTo>
                      <a:pt x="36" y="9"/>
                    </a:lnTo>
                    <a:lnTo>
                      <a:pt x="36" y="7"/>
                    </a:lnTo>
                    <a:lnTo>
                      <a:pt x="36" y="9"/>
                    </a:lnTo>
                    <a:lnTo>
                      <a:pt x="34" y="9"/>
                    </a:lnTo>
                    <a:lnTo>
                      <a:pt x="32" y="11"/>
                    </a:lnTo>
                    <a:lnTo>
                      <a:pt x="34" y="11"/>
                    </a:lnTo>
                    <a:lnTo>
                      <a:pt x="32" y="11"/>
                    </a:lnTo>
                    <a:lnTo>
                      <a:pt x="34" y="11"/>
                    </a:lnTo>
                    <a:lnTo>
                      <a:pt x="36" y="11"/>
                    </a:lnTo>
                    <a:lnTo>
                      <a:pt x="38" y="9"/>
                    </a:lnTo>
                    <a:lnTo>
                      <a:pt x="40" y="9"/>
                    </a:lnTo>
                    <a:lnTo>
                      <a:pt x="38" y="9"/>
                    </a:lnTo>
                    <a:lnTo>
                      <a:pt x="38" y="11"/>
                    </a:lnTo>
                    <a:lnTo>
                      <a:pt x="40" y="11"/>
                    </a:lnTo>
                    <a:lnTo>
                      <a:pt x="40" y="9"/>
                    </a:lnTo>
                    <a:lnTo>
                      <a:pt x="40" y="11"/>
                    </a:lnTo>
                    <a:lnTo>
                      <a:pt x="42" y="9"/>
                    </a:lnTo>
                    <a:lnTo>
                      <a:pt x="42" y="11"/>
                    </a:lnTo>
                    <a:lnTo>
                      <a:pt x="40" y="11"/>
                    </a:lnTo>
                    <a:lnTo>
                      <a:pt x="38" y="13"/>
                    </a:lnTo>
                    <a:lnTo>
                      <a:pt x="38" y="15"/>
                    </a:lnTo>
                    <a:lnTo>
                      <a:pt x="40" y="15"/>
                    </a:lnTo>
                    <a:lnTo>
                      <a:pt x="40" y="13"/>
                    </a:lnTo>
                    <a:lnTo>
                      <a:pt x="42" y="11"/>
                    </a:lnTo>
                    <a:lnTo>
                      <a:pt x="42" y="13"/>
                    </a:lnTo>
                    <a:lnTo>
                      <a:pt x="44" y="13"/>
                    </a:lnTo>
                    <a:lnTo>
                      <a:pt x="46" y="15"/>
                    </a:lnTo>
                    <a:lnTo>
                      <a:pt x="48" y="15"/>
                    </a:lnTo>
                    <a:lnTo>
                      <a:pt x="49" y="15"/>
                    </a:lnTo>
                    <a:lnTo>
                      <a:pt x="51" y="17"/>
                    </a:lnTo>
                    <a:lnTo>
                      <a:pt x="49" y="15"/>
                    </a:lnTo>
                    <a:lnTo>
                      <a:pt x="49" y="17"/>
                    </a:lnTo>
                    <a:lnTo>
                      <a:pt x="51" y="17"/>
                    </a:lnTo>
                    <a:lnTo>
                      <a:pt x="51" y="15"/>
                    </a:lnTo>
                    <a:lnTo>
                      <a:pt x="51" y="13"/>
                    </a:lnTo>
                    <a:lnTo>
                      <a:pt x="53" y="13"/>
                    </a:lnTo>
                    <a:lnTo>
                      <a:pt x="53" y="15"/>
                    </a:lnTo>
                    <a:lnTo>
                      <a:pt x="53" y="17"/>
                    </a:lnTo>
                    <a:lnTo>
                      <a:pt x="55" y="17"/>
                    </a:lnTo>
                    <a:lnTo>
                      <a:pt x="55" y="15"/>
                    </a:lnTo>
                    <a:lnTo>
                      <a:pt x="57" y="13"/>
                    </a:lnTo>
                    <a:lnTo>
                      <a:pt x="55" y="13"/>
                    </a:lnTo>
                    <a:lnTo>
                      <a:pt x="55" y="11"/>
                    </a:lnTo>
                    <a:lnTo>
                      <a:pt x="57" y="9"/>
                    </a:lnTo>
                    <a:lnTo>
                      <a:pt x="57" y="7"/>
                    </a:lnTo>
                    <a:lnTo>
                      <a:pt x="59" y="7"/>
                    </a:lnTo>
                    <a:lnTo>
                      <a:pt x="59" y="9"/>
                    </a:lnTo>
                    <a:lnTo>
                      <a:pt x="59" y="7"/>
                    </a:lnTo>
                    <a:lnTo>
                      <a:pt x="61" y="7"/>
                    </a:lnTo>
                    <a:lnTo>
                      <a:pt x="61" y="9"/>
                    </a:lnTo>
                    <a:lnTo>
                      <a:pt x="63" y="9"/>
                    </a:lnTo>
                    <a:lnTo>
                      <a:pt x="65" y="9"/>
                    </a:lnTo>
                    <a:lnTo>
                      <a:pt x="65" y="7"/>
                    </a:lnTo>
                    <a:lnTo>
                      <a:pt x="65" y="9"/>
                    </a:lnTo>
                    <a:lnTo>
                      <a:pt x="65" y="11"/>
                    </a:lnTo>
                    <a:lnTo>
                      <a:pt x="67" y="11"/>
                    </a:lnTo>
                    <a:lnTo>
                      <a:pt x="69" y="13"/>
                    </a:lnTo>
                    <a:lnTo>
                      <a:pt x="71" y="13"/>
                    </a:lnTo>
                    <a:lnTo>
                      <a:pt x="73" y="13"/>
                    </a:lnTo>
                    <a:lnTo>
                      <a:pt x="73" y="15"/>
                    </a:lnTo>
                    <a:lnTo>
                      <a:pt x="73" y="17"/>
                    </a:lnTo>
                    <a:lnTo>
                      <a:pt x="73" y="19"/>
                    </a:lnTo>
                    <a:lnTo>
                      <a:pt x="74" y="19"/>
                    </a:lnTo>
                    <a:lnTo>
                      <a:pt x="76" y="19"/>
                    </a:lnTo>
                    <a:lnTo>
                      <a:pt x="76" y="21"/>
                    </a:lnTo>
                    <a:lnTo>
                      <a:pt x="76" y="23"/>
                    </a:lnTo>
                    <a:lnTo>
                      <a:pt x="78" y="23"/>
                    </a:lnTo>
                    <a:lnTo>
                      <a:pt x="76" y="23"/>
                    </a:lnTo>
                    <a:lnTo>
                      <a:pt x="76" y="25"/>
                    </a:lnTo>
                    <a:lnTo>
                      <a:pt x="78" y="26"/>
                    </a:lnTo>
                    <a:lnTo>
                      <a:pt x="78" y="28"/>
                    </a:lnTo>
                    <a:lnTo>
                      <a:pt x="76" y="28"/>
                    </a:lnTo>
                    <a:lnTo>
                      <a:pt x="76" y="30"/>
                    </a:lnTo>
                    <a:lnTo>
                      <a:pt x="74" y="30"/>
                    </a:lnTo>
                    <a:lnTo>
                      <a:pt x="74" y="32"/>
                    </a:lnTo>
                    <a:lnTo>
                      <a:pt x="74" y="34"/>
                    </a:lnTo>
                    <a:lnTo>
                      <a:pt x="74" y="36"/>
                    </a:lnTo>
                    <a:lnTo>
                      <a:pt x="76" y="36"/>
                    </a:lnTo>
                    <a:lnTo>
                      <a:pt x="74" y="36"/>
                    </a:lnTo>
                    <a:lnTo>
                      <a:pt x="76" y="36"/>
                    </a:lnTo>
                    <a:lnTo>
                      <a:pt x="76" y="38"/>
                    </a:lnTo>
                    <a:lnTo>
                      <a:pt x="78" y="38"/>
                    </a:lnTo>
                    <a:lnTo>
                      <a:pt x="78" y="40"/>
                    </a:lnTo>
                    <a:lnTo>
                      <a:pt x="78" y="38"/>
                    </a:lnTo>
                    <a:lnTo>
                      <a:pt x="78" y="40"/>
                    </a:lnTo>
                    <a:lnTo>
                      <a:pt x="78" y="42"/>
                    </a:lnTo>
                    <a:lnTo>
                      <a:pt x="80" y="42"/>
                    </a:lnTo>
                    <a:lnTo>
                      <a:pt x="80" y="44"/>
                    </a:lnTo>
                    <a:lnTo>
                      <a:pt x="82" y="44"/>
                    </a:lnTo>
                    <a:lnTo>
                      <a:pt x="84" y="46"/>
                    </a:lnTo>
                    <a:lnTo>
                      <a:pt x="84" y="44"/>
                    </a:lnTo>
                    <a:lnTo>
                      <a:pt x="86" y="46"/>
                    </a:lnTo>
                    <a:lnTo>
                      <a:pt x="86" y="48"/>
                    </a:lnTo>
                    <a:lnTo>
                      <a:pt x="88" y="48"/>
                    </a:lnTo>
                    <a:lnTo>
                      <a:pt x="88" y="50"/>
                    </a:lnTo>
                    <a:lnTo>
                      <a:pt x="90" y="50"/>
                    </a:lnTo>
                    <a:lnTo>
                      <a:pt x="90" y="51"/>
                    </a:lnTo>
                    <a:lnTo>
                      <a:pt x="88" y="51"/>
                    </a:lnTo>
                    <a:lnTo>
                      <a:pt x="88" y="50"/>
                    </a:lnTo>
                    <a:lnTo>
                      <a:pt x="88" y="51"/>
                    </a:lnTo>
                    <a:lnTo>
                      <a:pt x="90" y="51"/>
                    </a:lnTo>
                    <a:lnTo>
                      <a:pt x="92" y="51"/>
                    </a:lnTo>
                    <a:lnTo>
                      <a:pt x="92" y="50"/>
                    </a:lnTo>
                    <a:lnTo>
                      <a:pt x="92" y="51"/>
                    </a:lnTo>
                    <a:lnTo>
                      <a:pt x="94" y="51"/>
                    </a:lnTo>
                    <a:lnTo>
                      <a:pt x="96" y="53"/>
                    </a:lnTo>
                    <a:lnTo>
                      <a:pt x="96" y="51"/>
                    </a:lnTo>
                    <a:lnTo>
                      <a:pt x="98" y="51"/>
                    </a:lnTo>
                    <a:lnTo>
                      <a:pt x="96" y="51"/>
                    </a:lnTo>
                    <a:lnTo>
                      <a:pt x="96" y="50"/>
                    </a:lnTo>
                    <a:lnTo>
                      <a:pt x="98" y="48"/>
                    </a:lnTo>
                    <a:lnTo>
                      <a:pt x="96" y="48"/>
                    </a:lnTo>
                    <a:lnTo>
                      <a:pt x="96" y="46"/>
                    </a:lnTo>
                    <a:lnTo>
                      <a:pt x="98" y="46"/>
                    </a:lnTo>
                    <a:lnTo>
                      <a:pt x="98" y="44"/>
                    </a:lnTo>
                    <a:lnTo>
                      <a:pt x="96" y="44"/>
                    </a:lnTo>
                    <a:lnTo>
                      <a:pt x="98" y="42"/>
                    </a:lnTo>
                    <a:lnTo>
                      <a:pt x="98" y="40"/>
                    </a:lnTo>
                    <a:lnTo>
                      <a:pt x="98" y="38"/>
                    </a:lnTo>
                    <a:lnTo>
                      <a:pt x="99" y="38"/>
                    </a:lnTo>
                    <a:lnTo>
                      <a:pt x="99" y="40"/>
                    </a:lnTo>
                    <a:lnTo>
                      <a:pt x="101" y="38"/>
                    </a:lnTo>
                    <a:lnTo>
                      <a:pt x="99" y="38"/>
                    </a:lnTo>
                    <a:lnTo>
                      <a:pt x="101" y="38"/>
                    </a:lnTo>
                    <a:lnTo>
                      <a:pt x="103" y="38"/>
                    </a:lnTo>
                    <a:lnTo>
                      <a:pt x="101" y="40"/>
                    </a:lnTo>
                    <a:lnTo>
                      <a:pt x="103" y="40"/>
                    </a:lnTo>
                    <a:lnTo>
                      <a:pt x="103" y="38"/>
                    </a:lnTo>
                    <a:lnTo>
                      <a:pt x="105" y="38"/>
                    </a:lnTo>
                    <a:lnTo>
                      <a:pt x="105" y="40"/>
                    </a:lnTo>
                    <a:lnTo>
                      <a:pt x="105" y="38"/>
                    </a:lnTo>
                    <a:lnTo>
                      <a:pt x="105" y="40"/>
                    </a:lnTo>
                    <a:lnTo>
                      <a:pt x="107" y="38"/>
                    </a:lnTo>
                    <a:lnTo>
                      <a:pt x="107" y="40"/>
                    </a:lnTo>
                    <a:lnTo>
                      <a:pt x="107" y="38"/>
                    </a:lnTo>
                    <a:lnTo>
                      <a:pt x="109" y="38"/>
                    </a:lnTo>
                    <a:lnTo>
                      <a:pt x="111" y="38"/>
                    </a:lnTo>
                    <a:lnTo>
                      <a:pt x="111" y="40"/>
                    </a:lnTo>
                    <a:lnTo>
                      <a:pt x="113" y="40"/>
                    </a:lnTo>
                    <a:lnTo>
                      <a:pt x="115" y="40"/>
                    </a:lnTo>
                    <a:lnTo>
                      <a:pt x="113" y="40"/>
                    </a:lnTo>
                    <a:lnTo>
                      <a:pt x="115" y="42"/>
                    </a:lnTo>
                    <a:lnTo>
                      <a:pt x="117" y="42"/>
                    </a:lnTo>
                    <a:lnTo>
                      <a:pt x="117" y="44"/>
                    </a:lnTo>
                    <a:lnTo>
                      <a:pt x="117" y="42"/>
                    </a:lnTo>
                    <a:lnTo>
                      <a:pt x="119" y="44"/>
                    </a:lnTo>
                    <a:lnTo>
                      <a:pt x="119" y="46"/>
                    </a:lnTo>
                    <a:lnTo>
                      <a:pt x="121" y="48"/>
                    </a:lnTo>
                    <a:lnTo>
                      <a:pt x="121" y="50"/>
                    </a:lnTo>
                    <a:lnTo>
                      <a:pt x="119" y="50"/>
                    </a:lnTo>
                    <a:lnTo>
                      <a:pt x="119" y="51"/>
                    </a:lnTo>
                    <a:lnTo>
                      <a:pt x="121" y="51"/>
                    </a:lnTo>
                    <a:lnTo>
                      <a:pt x="123" y="51"/>
                    </a:lnTo>
                    <a:lnTo>
                      <a:pt x="124" y="51"/>
                    </a:lnTo>
                    <a:lnTo>
                      <a:pt x="126" y="51"/>
                    </a:lnTo>
                    <a:lnTo>
                      <a:pt x="124" y="53"/>
                    </a:lnTo>
                    <a:lnTo>
                      <a:pt x="126" y="53"/>
                    </a:lnTo>
                    <a:lnTo>
                      <a:pt x="128" y="53"/>
                    </a:lnTo>
                    <a:lnTo>
                      <a:pt x="128" y="51"/>
                    </a:lnTo>
                    <a:lnTo>
                      <a:pt x="130" y="51"/>
                    </a:lnTo>
                    <a:lnTo>
                      <a:pt x="130" y="53"/>
                    </a:lnTo>
                    <a:lnTo>
                      <a:pt x="132" y="53"/>
                    </a:lnTo>
                    <a:lnTo>
                      <a:pt x="132" y="55"/>
                    </a:lnTo>
                    <a:lnTo>
                      <a:pt x="132" y="57"/>
                    </a:lnTo>
                    <a:lnTo>
                      <a:pt x="134" y="55"/>
                    </a:lnTo>
                    <a:lnTo>
                      <a:pt x="134" y="53"/>
                    </a:lnTo>
                    <a:lnTo>
                      <a:pt x="136" y="53"/>
                    </a:lnTo>
                    <a:lnTo>
                      <a:pt x="138" y="53"/>
                    </a:lnTo>
                    <a:lnTo>
                      <a:pt x="140" y="53"/>
                    </a:lnTo>
                    <a:lnTo>
                      <a:pt x="142" y="53"/>
                    </a:lnTo>
                    <a:lnTo>
                      <a:pt x="142" y="55"/>
                    </a:lnTo>
                    <a:lnTo>
                      <a:pt x="142" y="53"/>
                    </a:lnTo>
                    <a:lnTo>
                      <a:pt x="144" y="53"/>
                    </a:lnTo>
                    <a:lnTo>
                      <a:pt x="144" y="51"/>
                    </a:lnTo>
                    <a:lnTo>
                      <a:pt x="144" y="53"/>
                    </a:lnTo>
                    <a:lnTo>
                      <a:pt x="144" y="55"/>
                    </a:lnTo>
                    <a:lnTo>
                      <a:pt x="146" y="55"/>
                    </a:lnTo>
                    <a:lnTo>
                      <a:pt x="144" y="57"/>
                    </a:lnTo>
                    <a:lnTo>
                      <a:pt x="146" y="57"/>
                    </a:lnTo>
                    <a:lnTo>
                      <a:pt x="146" y="59"/>
                    </a:lnTo>
                    <a:lnTo>
                      <a:pt x="146" y="61"/>
                    </a:lnTo>
                    <a:lnTo>
                      <a:pt x="147" y="61"/>
                    </a:lnTo>
                    <a:lnTo>
                      <a:pt x="147" y="63"/>
                    </a:lnTo>
                    <a:lnTo>
                      <a:pt x="147" y="65"/>
                    </a:lnTo>
                    <a:lnTo>
                      <a:pt x="146" y="65"/>
                    </a:lnTo>
                    <a:lnTo>
                      <a:pt x="146" y="67"/>
                    </a:lnTo>
                    <a:lnTo>
                      <a:pt x="144" y="67"/>
                    </a:lnTo>
                    <a:lnTo>
                      <a:pt x="144" y="69"/>
                    </a:lnTo>
                    <a:lnTo>
                      <a:pt x="142" y="69"/>
                    </a:lnTo>
                    <a:lnTo>
                      <a:pt x="144" y="69"/>
                    </a:lnTo>
                    <a:lnTo>
                      <a:pt x="144" y="71"/>
                    </a:lnTo>
                    <a:lnTo>
                      <a:pt x="146" y="71"/>
                    </a:lnTo>
                    <a:lnTo>
                      <a:pt x="146" y="73"/>
                    </a:lnTo>
                    <a:lnTo>
                      <a:pt x="144" y="73"/>
                    </a:lnTo>
                    <a:lnTo>
                      <a:pt x="144" y="75"/>
                    </a:lnTo>
                    <a:lnTo>
                      <a:pt x="146" y="75"/>
                    </a:lnTo>
                    <a:lnTo>
                      <a:pt x="146" y="76"/>
                    </a:lnTo>
                    <a:lnTo>
                      <a:pt x="146" y="78"/>
                    </a:lnTo>
                    <a:lnTo>
                      <a:pt x="146" y="80"/>
                    </a:lnTo>
                    <a:lnTo>
                      <a:pt x="146" y="82"/>
                    </a:lnTo>
                    <a:lnTo>
                      <a:pt x="147" y="82"/>
                    </a:lnTo>
                    <a:lnTo>
                      <a:pt x="147" y="84"/>
                    </a:lnTo>
                    <a:lnTo>
                      <a:pt x="146" y="84"/>
                    </a:lnTo>
                    <a:lnTo>
                      <a:pt x="146" y="86"/>
                    </a:lnTo>
                    <a:lnTo>
                      <a:pt x="144" y="90"/>
                    </a:lnTo>
                    <a:lnTo>
                      <a:pt x="144" y="92"/>
                    </a:lnTo>
                    <a:lnTo>
                      <a:pt x="142" y="92"/>
                    </a:lnTo>
                    <a:lnTo>
                      <a:pt x="142" y="94"/>
                    </a:lnTo>
                    <a:lnTo>
                      <a:pt x="144" y="94"/>
                    </a:lnTo>
                    <a:lnTo>
                      <a:pt x="144" y="96"/>
                    </a:lnTo>
                    <a:lnTo>
                      <a:pt x="144" y="94"/>
                    </a:lnTo>
                    <a:lnTo>
                      <a:pt x="146" y="94"/>
                    </a:lnTo>
                    <a:lnTo>
                      <a:pt x="144" y="96"/>
                    </a:lnTo>
                    <a:lnTo>
                      <a:pt x="146" y="96"/>
                    </a:lnTo>
                    <a:lnTo>
                      <a:pt x="146" y="98"/>
                    </a:lnTo>
                    <a:lnTo>
                      <a:pt x="147" y="98"/>
                    </a:lnTo>
                    <a:lnTo>
                      <a:pt x="147" y="100"/>
                    </a:lnTo>
                    <a:lnTo>
                      <a:pt x="146" y="100"/>
                    </a:lnTo>
                    <a:lnTo>
                      <a:pt x="146" y="101"/>
                    </a:lnTo>
                    <a:lnTo>
                      <a:pt x="147" y="100"/>
                    </a:lnTo>
                    <a:lnTo>
                      <a:pt x="147" y="101"/>
                    </a:lnTo>
                    <a:lnTo>
                      <a:pt x="147" y="103"/>
                    </a:lnTo>
                    <a:lnTo>
                      <a:pt x="149" y="103"/>
                    </a:lnTo>
                    <a:lnTo>
                      <a:pt x="149" y="105"/>
                    </a:lnTo>
                    <a:lnTo>
                      <a:pt x="149" y="107"/>
                    </a:lnTo>
                    <a:lnTo>
                      <a:pt x="149" y="109"/>
                    </a:lnTo>
                    <a:lnTo>
                      <a:pt x="151" y="109"/>
                    </a:lnTo>
                    <a:lnTo>
                      <a:pt x="149" y="109"/>
                    </a:lnTo>
                    <a:lnTo>
                      <a:pt x="147" y="113"/>
                    </a:lnTo>
                    <a:lnTo>
                      <a:pt x="149" y="113"/>
                    </a:lnTo>
                    <a:lnTo>
                      <a:pt x="149" y="115"/>
                    </a:lnTo>
                    <a:lnTo>
                      <a:pt x="147" y="115"/>
                    </a:lnTo>
                    <a:lnTo>
                      <a:pt x="146" y="115"/>
                    </a:lnTo>
                    <a:lnTo>
                      <a:pt x="146" y="117"/>
                    </a:lnTo>
                    <a:lnTo>
                      <a:pt x="144" y="119"/>
                    </a:lnTo>
                    <a:lnTo>
                      <a:pt x="146" y="121"/>
                    </a:lnTo>
                    <a:lnTo>
                      <a:pt x="146" y="123"/>
                    </a:lnTo>
                    <a:lnTo>
                      <a:pt x="146" y="124"/>
                    </a:lnTo>
                    <a:lnTo>
                      <a:pt x="144" y="124"/>
                    </a:lnTo>
                    <a:lnTo>
                      <a:pt x="142" y="124"/>
                    </a:lnTo>
                    <a:lnTo>
                      <a:pt x="144" y="124"/>
                    </a:lnTo>
                    <a:lnTo>
                      <a:pt x="142" y="128"/>
                    </a:lnTo>
                    <a:lnTo>
                      <a:pt x="138" y="132"/>
                    </a:lnTo>
                    <a:lnTo>
                      <a:pt x="140" y="132"/>
                    </a:lnTo>
                    <a:lnTo>
                      <a:pt x="138" y="134"/>
                    </a:lnTo>
                    <a:lnTo>
                      <a:pt x="138" y="136"/>
                    </a:lnTo>
                    <a:lnTo>
                      <a:pt x="136" y="136"/>
                    </a:lnTo>
                    <a:lnTo>
                      <a:pt x="136" y="138"/>
                    </a:lnTo>
                    <a:lnTo>
                      <a:pt x="136" y="140"/>
                    </a:lnTo>
                    <a:lnTo>
                      <a:pt x="134" y="142"/>
                    </a:lnTo>
                    <a:lnTo>
                      <a:pt x="136" y="142"/>
                    </a:lnTo>
                    <a:lnTo>
                      <a:pt x="134" y="144"/>
                    </a:lnTo>
                    <a:lnTo>
                      <a:pt x="134" y="146"/>
                    </a:lnTo>
                    <a:lnTo>
                      <a:pt x="132" y="146"/>
                    </a:lnTo>
                    <a:lnTo>
                      <a:pt x="132" y="148"/>
                    </a:lnTo>
                    <a:lnTo>
                      <a:pt x="130" y="148"/>
                    </a:lnTo>
                    <a:lnTo>
                      <a:pt x="128" y="148"/>
                    </a:lnTo>
                    <a:lnTo>
                      <a:pt x="126" y="148"/>
                    </a:lnTo>
                    <a:lnTo>
                      <a:pt x="126" y="149"/>
                    </a:lnTo>
                    <a:lnTo>
                      <a:pt x="124" y="149"/>
                    </a:lnTo>
                    <a:lnTo>
                      <a:pt x="124" y="15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3" name="Freeform 80"/>
              <p:cNvSpPr>
                <a:spLocks/>
              </p:cNvSpPr>
              <p:nvPr/>
            </p:nvSpPr>
            <p:spPr bwMode="auto">
              <a:xfrm>
                <a:off x="1738835" y="2333812"/>
                <a:ext cx="492099" cy="614263"/>
              </a:xfrm>
              <a:custGeom>
                <a:avLst/>
                <a:gdLst>
                  <a:gd name="T0" fmla="*/ 92 w 286"/>
                  <a:gd name="T1" fmla="*/ 351 h 357"/>
                  <a:gd name="T2" fmla="*/ 82 w 286"/>
                  <a:gd name="T3" fmla="*/ 355 h 357"/>
                  <a:gd name="T4" fmla="*/ 77 w 286"/>
                  <a:gd name="T5" fmla="*/ 346 h 357"/>
                  <a:gd name="T6" fmla="*/ 75 w 286"/>
                  <a:gd name="T7" fmla="*/ 334 h 357"/>
                  <a:gd name="T8" fmla="*/ 65 w 286"/>
                  <a:gd name="T9" fmla="*/ 336 h 357"/>
                  <a:gd name="T10" fmla="*/ 57 w 286"/>
                  <a:gd name="T11" fmla="*/ 325 h 357"/>
                  <a:gd name="T12" fmla="*/ 50 w 286"/>
                  <a:gd name="T13" fmla="*/ 323 h 357"/>
                  <a:gd name="T14" fmla="*/ 40 w 286"/>
                  <a:gd name="T15" fmla="*/ 323 h 357"/>
                  <a:gd name="T16" fmla="*/ 31 w 286"/>
                  <a:gd name="T17" fmla="*/ 321 h 357"/>
                  <a:gd name="T18" fmla="*/ 29 w 286"/>
                  <a:gd name="T19" fmla="*/ 319 h 357"/>
                  <a:gd name="T20" fmla="*/ 23 w 286"/>
                  <a:gd name="T21" fmla="*/ 305 h 357"/>
                  <a:gd name="T22" fmla="*/ 19 w 286"/>
                  <a:gd name="T23" fmla="*/ 301 h 357"/>
                  <a:gd name="T24" fmla="*/ 9 w 286"/>
                  <a:gd name="T25" fmla="*/ 305 h 357"/>
                  <a:gd name="T26" fmla="*/ 7 w 286"/>
                  <a:gd name="T27" fmla="*/ 294 h 357"/>
                  <a:gd name="T28" fmla="*/ 4 w 286"/>
                  <a:gd name="T29" fmla="*/ 286 h 357"/>
                  <a:gd name="T30" fmla="*/ 6 w 286"/>
                  <a:gd name="T31" fmla="*/ 280 h 357"/>
                  <a:gd name="T32" fmla="*/ 7 w 286"/>
                  <a:gd name="T33" fmla="*/ 278 h 357"/>
                  <a:gd name="T34" fmla="*/ 29 w 286"/>
                  <a:gd name="T35" fmla="*/ 269 h 357"/>
                  <a:gd name="T36" fmla="*/ 31 w 286"/>
                  <a:gd name="T37" fmla="*/ 255 h 357"/>
                  <a:gd name="T38" fmla="*/ 29 w 286"/>
                  <a:gd name="T39" fmla="*/ 244 h 357"/>
                  <a:gd name="T40" fmla="*/ 36 w 286"/>
                  <a:gd name="T41" fmla="*/ 232 h 357"/>
                  <a:gd name="T42" fmla="*/ 32 w 286"/>
                  <a:gd name="T43" fmla="*/ 228 h 357"/>
                  <a:gd name="T44" fmla="*/ 42 w 286"/>
                  <a:gd name="T45" fmla="*/ 217 h 357"/>
                  <a:gd name="T46" fmla="*/ 46 w 286"/>
                  <a:gd name="T47" fmla="*/ 200 h 357"/>
                  <a:gd name="T48" fmla="*/ 44 w 286"/>
                  <a:gd name="T49" fmla="*/ 186 h 357"/>
                  <a:gd name="T50" fmla="*/ 50 w 286"/>
                  <a:gd name="T51" fmla="*/ 171 h 357"/>
                  <a:gd name="T52" fmla="*/ 61 w 286"/>
                  <a:gd name="T53" fmla="*/ 153 h 357"/>
                  <a:gd name="T54" fmla="*/ 71 w 286"/>
                  <a:gd name="T55" fmla="*/ 134 h 357"/>
                  <a:gd name="T56" fmla="*/ 61 w 286"/>
                  <a:gd name="T57" fmla="*/ 125 h 357"/>
                  <a:gd name="T58" fmla="*/ 63 w 286"/>
                  <a:gd name="T59" fmla="*/ 105 h 357"/>
                  <a:gd name="T60" fmla="*/ 88 w 286"/>
                  <a:gd name="T61" fmla="*/ 63 h 357"/>
                  <a:gd name="T62" fmla="*/ 57 w 286"/>
                  <a:gd name="T63" fmla="*/ 44 h 357"/>
                  <a:gd name="T64" fmla="*/ 55 w 286"/>
                  <a:gd name="T65" fmla="*/ 19 h 357"/>
                  <a:gd name="T66" fmla="*/ 94 w 286"/>
                  <a:gd name="T67" fmla="*/ 2 h 357"/>
                  <a:gd name="T68" fmla="*/ 144 w 286"/>
                  <a:gd name="T69" fmla="*/ 34 h 357"/>
                  <a:gd name="T70" fmla="*/ 186 w 286"/>
                  <a:gd name="T71" fmla="*/ 28 h 357"/>
                  <a:gd name="T72" fmla="*/ 219 w 286"/>
                  <a:gd name="T73" fmla="*/ 25 h 357"/>
                  <a:gd name="T74" fmla="*/ 271 w 286"/>
                  <a:gd name="T75" fmla="*/ 42 h 357"/>
                  <a:gd name="T76" fmla="*/ 286 w 286"/>
                  <a:gd name="T77" fmla="*/ 42 h 357"/>
                  <a:gd name="T78" fmla="*/ 275 w 286"/>
                  <a:gd name="T79" fmla="*/ 59 h 357"/>
                  <a:gd name="T80" fmla="*/ 269 w 286"/>
                  <a:gd name="T81" fmla="*/ 80 h 357"/>
                  <a:gd name="T82" fmla="*/ 259 w 286"/>
                  <a:gd name="T83" fmla="*/ 109 h 357"/>
                  <a:gd name="T84" fmla="*/ 244 w 286"/>
                  <a:gd name="T85" fmla="*/ 127 h 357"/>
                  <a:gd name="T86" fmla="*/ 232 w 286"/>
                  <a:gd name="T87" fmla="*/ 138 h 357"/>
                  <a:gd name="T88" fmla="*/ 203 w 286"/>
                  <a:gd name="T89" fmla="*/ 163 h 357"/>
                  <a:gd name="T90" fmla="*/ 213 w 286"/>
                  <a:gd name="T91" fmla="*/ 180 h 357"/>
                  <a:gd name="T92" fmla="*/ 213 w 286"/>
                  <a:gd name="T93" fmla="*/ 205 h 357"/>
                  <a:gd name="T94" fmla="*/ 217 w 286"/>
                  <a:gd name="T95" fmla="*/ 223 h 357"/>
                  <a:gd name="T96" fmla="*/ 200 w 286"/>
                  <a:gd name="T97" fmla="*/ 246 h 357"/>
                  <a:gd name="T98" fmla="*/ 178 w 286"/>
                  <a:gd name="T99" fmla="*/ 255 h 357"/>
                  <a:gd name="T100" fmla="*/ 178 w 286"/>
                  <a:gd name="T101" fmla="*/ 275 h 357"/>
                  <a:gd name="T102" fmla="*/ 152 w 286"/>
                  <a:gd name="T103" fmla="*/ 275 h 357"/>
                  <a:gd name="T104" fmla="*/ 142 w 286"/>
                  <a:gd name="T105" fmla="*/ 296 h 357"/>
                  <a:gd name="T106" fmla="*/ 138 w 286"/>
                  <a:gd name="T107" fmla="*/ 307 h 357"/>
                  <a:gd name="T108" fmla="*/ 136 w 286"/>
                  <a:gd name="T109" fmla="*/ 307 h 357"/>
                  <a:gd name="T110" fmla="*/ 125 w 286"/>
                  <a:gd name="T111" fmla="*/ 313 h 357"/>
                  <a:gd name="T112" fmla="*/ 107 w 286"/>
                  <a:gd name="T113" fmla="*/ 315 h 357"/>
                  <a:gd name="T114" fmla="*/ 105 w 286"/>
                  <a:gd name="T115" fmla="*/ 332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6" h="357">
                    <a:moveTo>
                      <a:pt x="100" y="348"/>
                    </a:moveTo>
                    <a:lnTo>
                      <a:pt x="98" y="348"/>
                    </a:lnTo>
                    <a:lnTo>
                      <a:pt x="96" y="348"/>
                    </a:lnTo>
                    <a:lnTo>
                      <a:pt x="96" y="350"/>
                    </a:lnTo>
                    <a:lnTo>
                      <a:pt x="96" y="351"/>
                    </a:lnTo>
                    <a:lnTo>
                      <a:pt x="94" y="350"/>
                    </a:lnTo>
                    <a:lnTo>
                      <a:pt x="92" y="351"/>
                    </a:lnTo>
                    <a:lnTo>
                      <a:pt x="90" y="351"/>
                    </a:lnTo>
                    <a:lnTo>
                      <a:pt x="90" y="353"/>
                    </a:lnTo>
                    <a:lnTo>
                      <a:pt x="92" y="351"/>
                    </a:lnTo>
                    <a:lnTo>
                      <a:pt x="90" y="353"/>
                    </a:lnTo>
                    <a:lnTo>
                      <a:pt x="90" y="355"/>
                    </a:lnTo>
                    <a:lnTo>
                      <a:pt x="90" y="353"/>
                    </a:lnTo>
                    <a:lnTo>
                      <a:pt x="92" y="355"/>
                    </a:lnTo>
                    <a:lnTo>
                      <a:pt x="90" y="355"/>
                    </a:lnTo>
                    <a:lnTo>
                      <a:pt x="88" y="355"/>
                    </a:lnTo>
                    <a:lnTo>
                      <a:pt x="86" y="355"/>
                    </a:lnTo>
                    <a:lnTo>
                      <a:pt x="84" y="355"/>
                    </a:lnTo>
                    <a:lnTo>
                      <a:pt x="84" y="357"/>
                    </a:lnTo>
                    <a:lnTo>
                      <a:pt x="82" y="355"/>
                    </a:lnTo>
                    <a:lnTo>
                      <a:pt x="80" y="355"/>
                    </a:lnTo>
                    <a:lnTo>
                      <a:pt x="80" y="357"/>
                    </a:lnTo>
                    <a:lnTo>
                      <a:pt x="79" y="357"/>
                    </a:lnTo>
                    <a:lnTo>
                      <a:pt x="79" y="355"/>
                    </a:lnTo>
                    <a:lnTo>
                      <a:pt x="79" y="353"/>
                    </a:lnTo>
                    <a:lnTo>
                      <a:pt x="79" y="351"/>
                    </a:lnTo>
                    <a:lnTo>
                      <a:pt x="77" y="351"/>
                    </a:lnTo>
                    <a:lnTo>
                      <a:pt x="77" y="350"/>
                    </a:lnTo>
                    <a:lnTo>
                      <a:pt x="77" y="348"/>
                    </a:lnTo>
                    <a:lnTo>
                      <a:pt x="77" y="346"/>
                    </a:lnTo>
                    <a:lnTo>
                      <a:pt x="75" y="346"/>
                    </a:lnTo>
                    <a:lnTo>
                      <a:pt x="75" y="344"/>
                    </a:lnTo>
                    <a:lnTo>
                      <a:pt x="75" y="342"/>
                    </a:lnTo>
                    <a:lnTo>
                      <a:pt x="73" y="340"/>
                    </a:lnTo>
                    <a:lnTo>
                      <a:pt x="73" y="338"/>
                    </a:lnTo>
                    <a:lnTo>
                      <a:pt x="73" y="336"/>
                    </a:lnTo>
                    <a:lnTo>
                      <a:pt x="75" y="336"/>
                    </a:lnTo>
                    <a:lnTo>
                      <a:pt x="75" y="334"/>
                    </a:lnTo>
                    <a:lnTo>
                      <a:pt x="77" y="334"/>
                    </a:lnTo>
                    <a:lnTo>
                      <a:pt x="75" y="334"/>
                    </a:lnTo>
                    <a:lnTo>
                      <a:pt x="73" y="334"/>
                    </a:lnTo>
                    <a:lnTo>
                      <a:pt x="71" y="334"/>
                    </a:lnTo>
                    <a:lnTo>
                      <a:pt x="71" y="332"/>
                    </a:lnTo>
                    <a:lnTo>
                      <a:pt x="71" y="330"/>
                    </a:lnTo>
                    <a:lnTo>
                      <a:pt x="69" y="332"/>
                    </a:lnTo>
                    <a:lnTo>
                      <a:pt x="69" y="334"/>
                    </a:lnTo>
                    <a:lnTo>
                      <a:pt x="67" y="332"/>
                    </a:lnTo>
                    <a:lnTo>
                      <a:pt x="67" y="334"/>
                    </a:lnTo>
                    <a:lnTo>
                      <a:pt x="65" y="334"/>
                    </a:lnTo>
                    <a:lnTo>
                      <a:pt x="65" y="336"/>
                    </a:lnTo>
                    <a:lnTo>
                      <a:pt x="65" y="334"/>
                    </a:lnTo>
                    <a:lnTo>
                      <a:pt x="63" y="334"/>
                    </a:lnTo>
                    <a:lnTo>
                      <a:pt x="61" y="334"/>
                    </a:lnTo>
                    <a:lnTo>
                      <a:pt x="59" y="334"/>
                    </a:lnTo>
                    <a:lnTo>
                      <a:pt x="59" y="332"/>
                    </a:lnTo>
                    <a:lnTo>
                      <a:pt x="59" y="330"/>
                    </a:lnTo>
                    <a:lnTo>
                      <a:pt x="57" y="330"/>
                    </a:lnTo>
                    <a:lnTo>
                      <a:pt x="57" y="328"/>
                    </a:lnTo>
                    <a:lnTo>
                      <a:pt x="57" y="326"/>
                    </a:lnTo>
                    <a:lnTo>
                      <a:pt x="57" y="325"/>
                    </a:lnTo>
                    <a:lnTo>
                      <a:pt x="57" y="323"/>
                    </a:lnTo>
                    <a:lnTo>
                      <a:pt x="57" y="321"/>
                    </a:lnTo>
                    <a:lnTo>
                      <a:pt x="55" y="323"/>
                    </a:lnTo>
                    <a:lnTo>
                      <a:pt x="57" y="323"/>
                    </a:lnTo>
                    <a:lnTo>
                      <a:pt x="55" y="323"/>
                    </a:lnTo>
                    <a:lnTo>
                      <a:pt x="54" y="323"/>
                    </a:lnTo>
                    <a:lnTo>
                      <a:pt x="54" y="321"/>
                    </a:lnTo>
                    <a:lnTo>
                      <a:pt x="52" y="321"/>
                    </a:lnTo>
                    <a:lnTo>
                      <a:pt x="50" y="321"/>
                    </a:lnTo>
                    <a:lnTo>
                      <a:pt x="50" y="323"/>
                    </a:lnTo>
                    <a:lnTo>
                      <a:pt x="50" y="321"/>
                    </a:lnTo>
                    <a:lnTo>
                      <a:pt x="50" y="323"/>
                    </a:lnTo>
                    <a:lnTo>
                      <a:pt x="48" y="323"/>
                    </a:lnTo>
                    <a:lnTo>
                      <a:pt x="48" y="321"/>
                    </a:lnTo>
                    <a:lnTo>
                      <a:pt x="46" y="321"/>
                    </a:lnTo>
                    <a:lnTo>
                      <a:pt x="44" y="321"/>
                    </a:lnTo>
                    <a:lnTo>
                      <a:pt x="44" y="323"/>
                    </a:lnTo>
                    <a:lnTo>
                      <a:pt x="42" y="323"/>
                    </a:lnTo>
                    <a:lnTo>
                      <a:pt x="42" y="325"/>
                    </a:lnTo>
                    <a:lnTo>
                      <a:pt x="40" y="323"/>
                    </a:lnTo>
                    <a:lnTo>
                      <a:pt x="38" y="325"/>
                    </a:lnTo>
                    <a:lnTo>
                      <a:pt x="38" y="323"/>
                    </a:lnTo>
                    <a:lnTo>
                      <a:pt x="36" y="323"/>
                    </a:lnTo>
                    <a:lnTo>
                      <a:pt x="34" y="323"/>
                    </a:lnTo>
                    <a:lnTo>
                      <a:pt x="34" y="321"/>
                    </a:lnTo>
                    <a:lnTo>
                      <a:pt x="34" y="319"/>
                    </a:lnTo>
                    <a:lnTo>
                      <a:pt x="32" y="321"/>
                    </a:lnTo>
                    <a:lnTo>
                      <a:pt x="32" y="323"/>
                    </a:lnTo>
                    <a:lnTo>
                      <a:pt x="32" y="321"/>
                    </a:lnTo>
                    <a:lnTo>
                      <a:pt x="31" y="321"/>
                    </a:lnTo>
                    <a:lnTo>
                      <a:pt x="32" y="321"/>
                    </a:lnTo>
                    <a:lnTo>
                      <a:pt x="32" y="319"/>
                    </a:lnTo>
                    <a:lnTo>
                      <a:pt x="31" y="319"/>
                    </a:lnTo>
                    <a:lnTo>
                      <a:pt x="29" y="319"/>
                    </a:lnTo>
                    <a:lnTo>
                      <a:pt x="29" y="317"/>
                    </a:lnTo>
                    <a:lnTo>
                      <a:pt x="29" y="319"/>
                    </a:lnTo>
                    <a:lnTo>
                      <a:pt x="29" y="317"/>
                    </a:lnTo>
                    <a:lnTo>
                      <a:pt x="29" y="319"/>
                    </a:lnTo>
                    <a:lnTo>
                      <a:pt x="29" y="317"/>
                    </a:lnTo>
                    <a:lnTo>
                      <a:pt x="29" y="319"/>
                    </a:lnTo>
                    <a:lnTo>
                      <a:pt x="27" y="319"/>
                    </a:lnTo>
                    <a:lnTo>
                      <a:pt x="27" y="317"/>
                    </a:lnTo>
                    <a:lnTo>
                      <a:pt x="27" y="315"/>
                    </a:lnTo>
                    <a:lnTo>
                      <a:pt x="27" y="313"/>
                    </a:lnTo>
                    <a:lnTo>
                      <a:pt x="25" y="313"/>
                    </a:lnTo>
                    <a:lnTo>
                      <a:pt x="25" y="311"/>
                    </a:lnTo>
                    <a:lnTo>
                      <a:pt x="25" y="309"/>
                    </a:lnTo>
                    <a:lnTo>
                      <a:pt x="23" y="309"/>
                    </a:lnTo>
                    <a:lnTo>
                      <a:pt x="23" y="307"/>
                    </a:lnTo>
                    <a:lnTo>
                      <a:pt x="23" y="305"/>
                    </a:lnTo>
                    <a:lnTo>
                      <a:pt x="23" y="303"/>
                    </a:lnTo>
                    <a:lnTo>
                      <a:pt x="21" y="303"/>
                    </a:lnTo>
                    <a:lnTo>
                      <a:pt x="21" y="301"/>
                    </a:lnTo>
                    <a:lnTo>
                      <a:pt x="21" y="300"/>
                    </a:lnTo>
                    <a:lnTo>
                      <a:pt x="19" y="300"/>
                    </a:lnTo>
                    <a:lnTo>
                      <a:pt x="19" y="301"/>
                    </a:lnTo>
                    <a:lnTo>
                      <a:pt x="19" y="300"/>
                    </a:lnTo>
                    <a:lnTo>
                      <a:pt x="19" y="301"/>
                    </a:lnTo>
                    <a:lnTo>
                      <a:pt x="17" y="301"/>
                    </a:lnTo>
                    <a:lnTo>
                      <a:pt x="19" y="301"/>
                    </a:lnTo>
                    <a:lnTo>
                      <a:pt x="17" y="301"/>
                    </a:lnTo>
                    <a:lnTo>
                      <a:pt x="17" y="303"/>
                    </a:lnTo>
                    <a:lnTo>
                      <a:pt x="15" y="303"/>
                    </a:lnTo>
                    <a:lnTo>
                      <a:pt x="15" y="305"/>
                    </a:lnTo>
                    <a:lnTo>
                      <a:pt x="13" y="307"/>
                    </a:lnTo>
                    <a:lnTo>
                      <a:pt x="11" y="307"/>
                    </a:lnTo>
                    <a:lnTo>
                      <a:pt x="11" y="309"/>
                    </a:lnTo>
                    <a:lnTo>
                      <a:pt x="11" y="307"/>
                    </a:lnTo>
                    <a:lnTo>
                      <a:pt x="9" y="307"/>
                    </a:lnTo>
                    <a:lnTo>
                      <a:pt x="9" y="305"/>
                    </a:lnTo>
                    <a:lnTo>
                      <a:pt x="9" y="303"/>
                    </a:lnTo>
                    <a:lnTo>
                      <a:pt x="11" y="303"/>
                    </a:lnTo>
                    <a:lnTo>
                      <a:pt x="11" y="301"/>
                    </a:lnTo>
                    <a:lnTo>
                      <a:pt x="11" y="300"/>
                    </a:lnTo>
                    <a:lnTo>
                      <a:pt x="7" y="300"/>
                    </a:lnTo>
                    <a:lnTo>
                      <a:pt x="7" y="298"/>
                    </a:lnTo>
                    <a:lnTo>
                      <a:pt x="9" y="296"/>
                    </a:lnTo>
                    <a:lnTo>
                      <a:pt x="7" y="296"/>
                    </a:lnTo>
                    <a:lnTo>
                      <a:pt x="9" y="294"/>
                    </a:lnTo>
                    <a:lnTo>
                      <a:pt x="7" y="294"/>
                    </a:lnTo>
                    <a:lnTo>
                      <a:pt x="7" y="292"/>
                    </a:lnTo>
                    <a:lnTo>
                      <a:pt x="7" y="290"/>
                    </a:lnTo>
                    <a:lnTo>
                      <a:pt x="6" y="290"/>
                    </a:lnTo>
                    <a:lnTo>
                      <a:pt x="6" y="288"/>
                    </a:lnTo>
                    <a:lnTo>
                      <a:pt x="7" y="288"/>
                    </a:lnTo>
                    <a:lnTo>
                      <a:pt x="7" y="286"/>
                    </a:lnTo>
                    <a:lnTo>
                      <a:pt x="9" y="286"/>
                    </a:lnTo>
                    <a:lnTo>
                      <a:pt x="7" y="284"/>
                    </a:lnTo>
                    <a:lnTo>
                      <a:pt x="6" y="286"/>
                    </a:lnTo>
                    <a:lnTo>
                      <a:pt x="4" y="286"/>
                    </a:lnTo>
                    <a:lnTo>
                      <a:pt x="6" y="284"/>
                    </a:lnTo>
                    <a:lnTo>
                      <a:pt x="4" y="284"/>
                    </a:lnTo>
                    <a:lnTo>
                      <a:pt x="2" y="284"/>
                    </a:lnTo>
                    <a:lnTo>
                      <a:pt x="2" y="286"/>
                    </a:lnTo>
                    <a:lnTo>
                      <a:pt x="0" y="286"/>
                    </a:lnTo>
                    <a:lnTo>
                      <a:pt x="0" y="284"/>
                    </a:lnTo>
                    <a:lnTo>
                      <a:pt x="2" y="284"/>
                    </a:lnTo>
                    <a:lnTo>
                      <a:pt x="2" y="282"/>
                    </a:lnTo>
                    <a:lnTo>
                      <a:pt x="4" y="282"/>
                    </a:lnTo>
                    <a:lnTo>
                      <a:pt x="6" y="280"/>
                    </a:lnTo>
                    <a:lnTo>
                      <a:pt x="4" y="278"/>
                    </a:lnTo>
                    <a:lnTo>
                      <a:pt x="6" y="276"/>
                    </a:lnTo>
                    <a:lnTo>
                      <a:pt x="4" y="276"/>
                    </a:lnTo>
                    <a:lnTo>
                      <a:pt x="4" y="275"/>
                    </a:lnTo>
                    <a:lnTo>
                      <a:pt x="6" y="275"/>
                    </a:lnTo>
                    <a:lnTo>
                      <a:pt x="4" y="273"/>
                    </a:lnTo>
                    <a:lnTo>
                      <a:pt x="6" y="273"/>
                    </a:lnTo>
                    <a:lnTo>
                      <a:pt x="7" y="273"/>
                    </a:lnTo>
                    <a:lnTo>
                      <a:pt x="7" y="276"/>
                    </a:lnTo>
                    <a:lnTo>
                      <a:pt x="7" y="278"/>
                    </a:lnTo>
                    <a:lnTo>
                      <a:pt x="9" y="278"/>
                    </a:lnTo>
                    <a:lnTo>
                      <a:pt x="11" y="278"/>
                    </a:lnTo>
                    <a:lnTo>
                      <a:pt x="11" y="276"/>
                    </a:lnTo>
                    <a:lnTo>
                      <a:pt x="13" y="276"/>
                    </a:lnTo>
                    <a:lnTo>
                      <a:pt x="15" y="275"/>
                    </a:lnTo>
                    <a:lnTo>
                      <a:pt x="19" y="269"/>
                    </a:lnTo>
                    <a:lnTo>
                      <a:pt x="21" y="267"/>
                    </a:lnTo>
                    <a:lnTo>
                      <a:pt x="25" y="269"/>
                    </a:lnTo>
                    <a:lnTo>
                      <a:pt x="27" y="269"/>
                    </a:lnTo>
                    <a:lnTo>
                      <a:pt x="29" y="269"/>
                    </a:lnTo>
                    <a:lnTo>
                      <a:pt x="31" y="267"/>
                    </a:lnTo>
                    <a:lnTo>
                      <a:pt x="29" y="267"/>
                    </a:lnTo>
                    <a:lnTo>
                      <a:pt x="29" y="265"/>
                    </a:lnTo>
                    <a:lnTo>
                      <a:pt x="29" y="263"/>
                    </a:lnTo>
                    <a:lnTo>
                      <a:pt x="27" y="261"/>
                    </a:lnTo>
                    <a:lnTo>
                      <a:pt x="29" y="261"/>
                    </a:lnTo>
                    <a:lnTo>
                      <a:pt x="27" y="261"/>
                    </a:lnTo>
                    <a:lnTo>
                      <a:pt x="29" y="259"/>
                    </a:lnTo>
                    <a:lnTo>
                      <a:pt x="31" y="257"/>
                    </a:lnTo>
                    <a:lnTo>
                      <a:pt x="31" y="255"/>
                    </a:lnTo>
                    <a:lnTo>
                      <a:pt x="32" y="255"/>
                    </a:lnTo>
                    <a:lnTo>
                      <a:pt x="32" y="253"/>
                    </a:lnTo>
                    <a:lnTo>
                      <a:pt x="31" y="251"/>
                    </a:lnTo>
                    <a:lnTo>
                      <a:pt x="32" y="251"/>
                    </a:lnTo>
                    <a:lnTo>
                      <a:pt x="32" y="250"/>
                    </a:lnTo>
                    <a:lnTo>
                      <a:pt x="34" y="250"/>
                    </a:lnTo>
                    <a:lnTo>
                      <a:pt x="31" y="248"/>
                    </a:lnTo>
                    <a:lnTo>
                      <a:pt x="31" y="246"/>
                    </a:lnTo>
                    <a:lnTo>
                      <a:pt x="29" y="246"/>
                    </a:lnTo>
                    <a:lnTo>
                      <a:pt x="29" y="244"/>
                    </a:lnTo>
                    <a:lnTo>
                      <a:pt x="31" y="242"/>
                    </a:lnTo>
                    <a:lnTo>
                      <a:pt x="32" y="240"/>
                    </a:lnTo>
                    <a:lnTo>
                      <a:pt x="32" y="242"/>
                    </a:lnTo>
                    <a:lnTo>
                      <a:pt x="34" y="240"/>
                    </a:lnTo>
                    <a:lnTo>
                      <a:pt x="36" y="240"/>
                    </a:lnTo>
                    <a:lnTo>
                      <a:pt x="36" y="238"/>
                    </a:lnTo>
                    <a:lnTo>
                      <a:pt x="34" y="238"/>
                    </a:lnTo>
                    <a:lnTo>
                      <a:pt x="34" y="236"/>
                    </a:lnTo>
                    <a:lnTo>
                      <a:pt x="34" y="234"/>
                    </a:lnTo>
                    <a:lnTo>
                      <a:pt x="36" y="232"/>
                    </a:lnTo>
                    <a:lnTo>
                      <a:pt x="34" y="232"/>
                    </a:lnTo>
                    <a:lnTo>
                      <a:pt x="32" y="232"/>
                    </a:lnTo>
                    <a:lnTo>
                      <a:pt x="31" y="230"/>
                    </a:lnTo>
                    <a:lnTo>
                      <a:pt x="32" y="230"/>
                    </a:lnTo>
                    <a:lnTo>
                      <a:pt x="32" y="228"/>
                    </a:lnTo>
                    <a:lnTo>
                      <a:pt x="31" y="228"/>
                    </a:lnTo>
                    <a:lnTo>
                      <a:pt x="31" y="226"/>
                    </a:lnTo>
                    <a:lnTo>
                      <a:pt x="32" y="228"/>
                    </a:lnTo>
                    <a:lnTo>
                      <a:pt x="32" y="226"/>
                    </a:lnTo>
                    <a:lnTo>
                      <a:pt x="32" y="228"/>
                    </a:lnTo>
                    <a:lnTo>
                      <a:pt x="34" y="226"/>
                    </a:lnTo>
                    <a:lnTo>
                      <a:pt x="36" y="226"/>
                    </a:lnTo>
                    <a:lnTo>
                      <a:pt x="36" y="225"/>
                    </a:lnTo>
                    <a:lnTo>
                      <a:pt x="36" y="223"/>
                    </a:lnTo>
                    <a:lnTo>
                      <a:pt x="36" y="221"/>
                    </a:lnTo>
                    <a:lnTo>
                      <a:pt x="38" y="221"/>
                    </a:lnTo>
                    <a:lnTo>
                      <a:pt x="40" y="223"/>
                    </a:lnTo>
                    <a:lnTo>
                      <a:pt x="40" y="221"/>
                    </a:lnTo>
                    <a:lnTo>
                      <a:pt x="40" y="219"/>
                    </a:lnTo>
                    <a:lnTo>
                      <a:pt x="42" y="217"/>
                    </a:lnTo>
                    <a:lnTo>
                      <a:pt x="42" y="215"/>
                    </a:lnTo>
                    <a:lnTo>
                      <a:pt x="42" y="213"/>
                    </a:lnTo>
                    <a:lnTo>
                      <a:pt x="44" y="213"/>
                    </a:lnTo>
                    <a:lnTo>
                      <a:pt x="44" y="211"/>
                    </a:lnTo>
                    <a:lnTo>
                      <a:pt x="44" y="209"/>
                    </a:lnTo>
                    <a:lnTo>
                      <a:pt x="44" y="207"/>
                    </a:lnTo>
                    <a:lnTo>
                      <a:pt x="46" y="205"/>
                    </a:lnTo>
                    <a:lnTo>
                      <a:pt x="46" y="203"/>
                    </a:lnTo>
                    <a:lnTo>
                      <a:pt x="46" y="201"/>
                    </a:lnTo>
                    <a:lnTo>
                      <a:pt x="46" y="200"/>
                    </a:lnTo>
                    <a:lnTo>
                      <a:pt x="46" y="198"/>
                    </a:lnTo>
                    <a:lnTo>
                      <a:pt x="44" y="196"/>
                    </a:lnTo>
                    <a:lnTo>
                      <a:pt x="44" y="194"/>
                    </a:lnTo>
                    <a:lnTo>
                      <a:pt x="46" y="194"/>
                    </a:lnTo>
                    <a:lnTo>
                      <a:pt x="46" y="192"/>
                    </a:lnTo>
                    <a:lnTo>
                      <a:pt x="46" y="190"/>
                    </a:lnTo>
                    <a:lnTo>
                      <a:pt x="44" y="190"/>
                    </a:lnTo>
                    <a:lnTo>
                      <a:pt x="46" y="190"/>
                    </a:lnTo>
                    <a:lnTo>
                      <a:pt x="46" y="188"/>
                    </a:lnTo>
                    <a:lnTo>
                      <a:pt x="44" y="186"/>
                    </a:lnTo>
                    <a:lnTo>
                      <a:pt x="44" y="184"/>
                    </a:lnTo>
                    <a:lnTo>
                      <a:pt x="46" y="182"/>
                    </a:lnTo>
                    <a:lnTo>
                      <a:pt x="48" y="182"/>
                    </a:lnTo>
                    <a:lnTo>
                      <a:pt x="48" y="180"/>
                    </a:lnTo>
                    <a:lnTo>
                      <a:pt x="50" y="180"/>
                    </a:lnTo>
                    <a:lnTo>
                      <a:pt x="48" y="178"/>
                    </a:lnTo>
                    <a:lnTo>
                      <a:pt x="48" y="176"/>
                    </a:lnTo>
                    <a:lnTo>
                      <a:pt x="48" y="175"/>
                    </a:lnTo>
                    <a:lnTo>
                      <a:pt x="48" y="173"/>
                    </a:lnTo>
                    <a:lnTo>
                      <a:pt x="50" y="171"/>
                    </a:lnTo>
                    <a:lnTo>
                      <a:pt x="50" y="167"/>
                    </a:lnTo>
                    <a:lnTo>
                      <a:pt x="50" y="165"/>
                    </a:lnTo>
                    <a:lnTo>
                      <a:pt x="52" y="161"/>
                    </a:lnTo>
                    <a:lnTo>
                      <a:pt x="54" y="159"/>
                    </a:lnTo>
                    <a:lnTo>
                      <a:pt x="55" y="157"/>
                    </a:lnTo>
                    <a:lnTo>
                      <a:pt x="55" y="155"/>
                    </a:lnTo>
                    <a:lnTo>
                      <a:pt x="57" y="155"/>
                    </a:lnTo>
                    <a:lnTo>
                      <a:pt x="57" y="153"/>
                    </a:lnTo>
                    <a:lnTo>
                      <a:pt x="59" y="153"/>
                    </a:lnTo>
                    <a:lnTo>
                      <a:pt x="61" y="153"/>
                    </a:lnTo>
                    <a:lnTo>
                      <a:pt x="63" y="151"/>
                    </a:lnTo>
                    <a:lnTo>
                      <a:pt x="61" y="148"/>
                    </a:lnTo>
                    <a:lnTo>
                      <a:pt x="59" y="146"/>
                    </a:lnTo>
                    <a:lnTo>
                      <a:pt x="59" y="144"/>
                    </a:lnTo>
                    <a:lnTo>
                      <a:pt x="61" y="140"/>
                    </a:lnTo>
                    <a:lnTo>
                      <a:pt x="61" y="138"/>
                    </a:lnTo>
                    <a:lnTo>
                      <a:pt x="65" y="136"/>
                    </a:lnTo>
                    <a:lnTo>
                      <a:pt x="67" y="136"/>
                    </a:lnTo>
                    <a:lnTo>
                      <a:pt x="69" y="134"/>
                    </a:lnTo>
                    <a:lnTo>
                      <a:pt x="71" y="134"/>
                    </a:lnTo>
                    <a:lnTo>
                      <a:pt x="69" y="132"/>
                    </a:lnTo>
                    <a:lnTo>
                      <a:pt x="71" y="132"/>
                    </a:lnTo>
                    <a:lnTo>
                      <a:pt x="71" y="130"/>
                    </a:lnTo>
                    <a:lnTo>
                      <a:pt x="69" y="130"/>
                    </a:lnTo>
                    <a:lnTo>
                      <a:pt x="67" y="127"/>
                    </a:lnTo>
                    <a:lnTo>
                      <a:pt x="65" y="127"/>
                    </a:lnTo>
                    <a:lnTo>
                      <a:pt x="65" y="128"/>
                    </a:lnTo>
                    <a:lnTo>
                      <a:pt x="65" y="130"/>
                    </a:lnTo>
                    <a:lnTo>
                      <a:pt x="63" y="128"/>
                    </a:lnTo>
                    <a:lnTo>
                      <a:pt x="61" y="125"/>
                    </a:lnTo>
                    <a:lnTo>
                      <a:pt x="59" y="125"/>
                    </a:lnTo>
                    <a:lnTo>
                      <a:pt x="57" y="125"/>
                    </a:lnTo>
                    <a:lnTo>
                      <a:pt x="57" y="123"/>
                    </a:lnTo>
                    <a:lnTo>
                      <a:pt x="57" y="121"/>
                    </a:lnTo>
                    <a:lnTo>
                      <a:pt x="57" y="117"/>
                    </a:lnTo>
                    <a:lnTo>
                      <a:pt x="57" y="111"/>
                    </a:lnTo>
                    <a:lnTo>
                      <a:pt x="57" y="109"/>
                    </a:lnTo>
                    <a:lnTo>
                      <a:pt x="59" y="109"/>
                    </a:lnTo>
                    <a:lnTo>
                      <a:pt x="61" y="107"/>
                    </a:lnTo>
                    <a:lnTo>
                      <a:pt x="63" y="105"/>
                    </a:lnTo>
                    <a:lnTo>
                      <a:pt x="75" y="90"/>
                    </a:lnTo>
                    <a:lnTo>
                      <a:pt x="79" y="94"/>
                    </a:lnTo>
                    <a:lnTo>
                      <a:pt x="84" y="82"/>
                    </a:lnTo>
                    <a:lnTo>
                      <a:pt x="88" y="77"/>
                    </a:lnTo>
                    <a:lnTo>
                      <a:pt x="90" y="75"/>
                    </a:lnTo>
                    <a:lnTo>
                      <a:pt x="90" y="69"/>
                    </a:lnTo>
                    <a:lnTo>
                      <a:pt x="90" y="67"/>
                    </a:lnTo>
                    <a:lnTo>
                      <a:pt x="90" y="65"/>
                    </a:lnTo>
                    <a:lnTo>
                      <a:pt x="90" y="63"/>
                    </a:lnTo>
                    <a:lnTo>
                      <a:pt x="88" y="63"/>
                    </a:lnTo>
                    <a:lnTo>
                      <a:pt x="88" y="61"/>
                    </a:lnTo>
                    <a:lnTo>
                      <a:pt x="88" y="59"/>
                    </a:lnTo>
                    <a:lnTo>
                      <a:pt x="88" y="57"/>
                    </a:lnTo>
                    <a:lnTo>
                      <a:pt x="84" y="63"/>
                    </a:lnTo>
                    <a:lnTo>
                      <a:pt x="73" y="57"/>
                    </a:lnTo>
                    <a:lnTo>
                      <a:pt x="71" y="55"/>
                    </a:lnTo>
                    <a:lnTo>
                      <a:pt x="67" y="53"/>
                    </a:lnTo>
                    <a:lnTo>
                      <a:pt x="61" y="48"/>
                    </a:lnTo>
                    <a:lnTo>
                      <a:pt x="59" y="48"/>
                    </a:lnTo>
                    <a:lnTo>
                      <a:pt x="57" y="44"/>
                    </a:lnTo>
                    <a:lnTo>
                      <a:pt x="59" y="42"/>
                    </a:lnTo>
                    <a:lnTo>
                      <a:pt x="63" y="36"/>
                    </a:lnTo>
                    <a:lnTo>
                      <a:pt x="61" y="36"/>
                    </a:lnTo>
                    <a:lnTo>
                      <a:pt x="63" y="32"/>
                    </a:lnTo>
                    <a:lnTo>
                      <a:pt x="65" y="32"/>
                    </a:lnTo>
                    <a:lnTo>
                      <a:pt x="61" y="28"/>
                    </a:lnTo>
                    <a:lnTo>
                      <a:pt x="59" y="27"/>
                    </a:lnTo>
                    <a:lnTo>
                      <a:pt x="63" y="23"/>
                    </a:lnTo>
                    <a:lnTo>
                      <a:pt x="59" y="21"/>
                    </a:lnTo>
                    <a:lnTo>
                      <a:pt x="55" y="19"/>
                    </a:lnTo>
                    <a:lnTo>
                      <a:pt x="54" y="15"/>
                    </a:lnTo>
                    <a:lnTo>
                      <a:pt x="57" y="9"/>
                    </a:lnTo>
                    <a:lnTo>
                      <a:pt x="63" y="3"/>
                    </a:lnTo>
                    <a:lnTo>
                      <a:pt x="65" y="0"/>
                    </a:lnTo>
                    <a:lnTo>
                      <a:pt x="73" y="5"/>
                    </a:lnTo>
                    <a:lnTo>
                      <a:pt x="75" y="7"/>
                    </a:lnTo>
                    <a:lnTo>
                      <a:pt x="82" y="0"/>
                    </a:lnTo>
                    <a:lnTo>
                      <a:pt x="84" y="3"/>
                    </a:lnTo>
                    <a:lnTo>
                      <a:pt x="90" y="7"/>
                    </a:lnTo>
                    <a:lnTo>
                      <a:pt x="94" y="2"/>
                    </a:lnTo>
                    <a:lnTo>
                      <a:pt x="96" y="0"/>
                    </a:lnTo>
                    <a:lnTo>
                      <a:pt x="104" y="5"/>
                    </a:lnTo>
                    <a:lnTo>
                      <a:pt x="109" y="9"/>
                    </a:lnTo>
                    <a:lnTo>
                      <a:pt x="105" y="13"/>
                    </a:lnTo>
                    <a:lnTo>
                      <a:pt x="104" y="17"/>
                    </a:lnTo>
                    <a:lnTo>
                      <a:pt x="115" y="27"/>
                    </a:lnTo>
                    <a:lnTo>
                      <a:pt x="121" y="19"/>
                    </a:lnTo>
                    <a:lnTo>
                      <a:pt x="121" y="17"/>
                    </a:lnTo>
                    <a:lnTo>
                      <a:pt x="125" y="21"/>
                    </a:lnTo>
                    <a:lnTo>
                      <a:pt x="144" y="34"/>
                    </a:lnTo>
                    <a:lnTo>
                      <a:pt x="148" y="38"/>
                    </a:lnTo>
                    <a:lnTo>
                      <a:pt x="148" y="36"/>
                    </a:lnTo>
                    <a:lnTo>
                      <a:pt x="150" y="34"/>
                    </a:lnTo>
                    <a:lnTo>
                      <a:pt x="153" y="30"/>
                    </a:lnTo>
                    <a:lnTo>
                      <a:pt x="157" y="32"/>
                    </a:lnTo>
                    <a:lnTo>
                      <a:pt x="163" y="25"/>
                    </a:lnTo>
                    <a:lnTo>
                      <a:pt x="173" y="34"/>
                    </a:lnTo>
                    <a:lnTo>
                      <a:pt x="177" y="28"/>
                    </a:lnTo>
                    <a:lnTo>
                      <a:pt x="180" y="25"/>
                    </a:lnTo>
                    <a:lnTo>
                      <a:pt x="186" y="28"/>
                    </a:lnTo>
                    <a:lnTo>
                      <a:pt x="192" y="32"/>
                    </a:lnTo>
                    <a:lnTo>
                      <a:pt x="196" y="28"/>
                    </a:lnTo>
                    <a:lnTo>
                      <a:pt x="196" y="27"/>
                    </a:lnTo>
                    <a:lnTo>
                      <a:pt x="194" y="27"/>
                    </a:lnTo>
                    <a:lnTo>
                      <a:pt x="200" y="19"/>
                    </a:lnTo>
                    <a:lnTo>
                      <a:pt x="203" y="23"/>
                    </a:lnTo>
                    <a:lnTo>
                      <a:pt x="207" y="19"/>
                    </a:lnTo>
                    <a:lnTo>
                      <a:pt x="209" y="19"/>
                    </a:lnTo>
                    <a:lnTo>
                      <a:pt x="209" y="17"/>
                    </a:lnTo>
                    <a:lnTo>
                      <a:pt x="219" y="25"/>
                    </a:lnTo>
                    <a:lnTo>
                      <a:pt x="221" y="25"/>
                    </a:lnTo>
                    <a:lnTo>
                      <a:pt x="221" y="23"/>
                    </a:lnTo>
                    <a:lnTo>
                      <a:pt x="223" y="25"/>
                    </a:lnTo>
                    <a:lnTo>
                      <a:pt x="240" y="30"/>
                    </a:lnTo>
                    <a:lnTo>
                      <a:pt x="250" y="34"/>
                    </a:lnTo>
                    <a:lnTo>
                      <a:pt x="265" y="42"/>
                    </a:lnTo>
                    <a:lnTo>
                      <a:pt x="269" y="42"/>
                    </a:lnTo>
                    <a:lnTo>
                      <a:pt x="269" y="40"/>
                    </a:lnTo>
                    <a:lnTo>
                      <a:pt x="271" y="40"/>
                    </a:lnTo>
                    <a:lnTo>
                      <a:pt x="271" y="42"/>
                    </a:lnTo>
                    <a:lnTo>
                      <a:pt x="273" y="42"/>
                    </a:lnTo>
                    <a:lnTo>
                      <a:pt x="275" y="42"/>
                    </a:lnTo>
                    <a:lnTo>
                      <a:pt x="276" y="40"/>
                    </a:lnTo>
                    <a:lnTo>
                      <a:pt x="278" y="38"/>
                    </a:lnTo>
                    <a:lnTo>
                      <a:pt x="278" y="36"/>
                    </a:lnTo>
                    <a:lnTo>
                      <a:pt x="280" y="38"/>
                    </a:lnTo>
                    <a:lnTo>
                      <a:pt x="282" y="38"/>
                    </a:lnTo>
                    <a:lnTo>
                      <a:pt x="284" y="38"/>
                    </a:lnTo>
                    <a:lnTo>
                      <a:pt x="286" y="40"/>
                    </a:lnTo>
                    <a:lnTo>
                      <a:pt x="286" y="42"/>
                    </a:lnTo>
                    <a:lnTo>
                      <a:pt x="284" y="44"/>
                    </a:lnTo>
                    <a:lnTo>
                      <a:pt x="284" y="46"/>
                    </a:lnTo>
                    <a:lnTo>
                      <a:pt x="284" y="48"/>
                    </a:lnTo>
                    <a:lnTo>
                      <a:pt x="282" y="50"/>
                    </a:lnTo>
                    <a:lnTo>
                      <a:pt x="282" y="52"/>
                    </a:lnTo>
                    <a:lnTo>
                      <a:pt x="282" y="53"/>
                    </a:lnTo>
                    <a:lnTo>
                      <a:pt x="280" y="53"/>
                    </a:lnTo>
                    <a:lnTo>
                      <a:pt x="278" y="55"/>
                    </a:lnTo>
                    <a:lnTo>
                      <a:pt x="276" y="57"/>
                    </a:lnTo>
                    <a:lnTo>
                      <a:pt x="275" y="59"/>
                    </a:lnTo>
                    <a:lnTo>
                      <a:pt x="273" y="61"/>
                    </a:lnTo>
                    <a:lnTo>
                      <a:pt x="273" y="63"/>
                    </a:lnTo>
                    <a:lnTo>
                      <a:pt x="273" y="67"/>
                    </a:lnTo>
                    <a:lnTo>
                      <a:pt x="273" y="69"/>
                    </a:lnTo>
                    <a:lnTo>
                      <a:pt x="273" y="71"/>
                    </a:lnTo>
                    <a:lnTo>
                      <a:pt x="273" y="73"/>
                    </a:lnTo>
                    <a:lnTo>
                      <a:pt x="271" y="75"/>
                    </a:lnTo>
                    <a:lnTo>
                      <a:pt x="271" y="77"/>
                    </a:lnTo>
                    <a:lnTo>
                      <a:pt x="271" y="78"/>
                    </a:lnTo>
                    <a:lnTo>
                      <a:pt x="269" y="80"/>
                    </a:lnTo>
                    <a:lnTo>
                      <a:pt x="271" y="82"/>
                    </a:lnTo>
                    <a:lnTo>
                      <a:pt x="273" y="82"/>
                    </a:lnTo>
                    <a:lnTo>
                      <a:pt x="271" y="86"/>
                    </a:lnTo>
                    <a:lnTo>
                      <a:pt x="269" y="90"/>
                    </a:lnTo>
                    <a:lnTo>
                      <a:pt x="269" y="92"/>
                    </a:lnTo>
                    <a:lnTo>
                      <a:pt x="267" y="94"/>
                    </a:lnTo>
                    <a:lnTo>
                      <a:pt x="265" y="96"/>
                    </a:lnTo>
                    <a:lnTo>
                      <a:pt x="263" y="100"/>
                    </a:lnTo>
                    <a:lnTo>
                      <a:pt x="261" y="105"/>
                    </a:lnTo>
                    <a:lnTo>
                      <a:pt x="259" y="109"/>
                    </a:lnTo>
                    <a:lnTo>
                      <a:pt x="257" y="107"/>
                    </a:lnTo>
                    <a:lnTo>
                      <a:pt x="255" y="109"/>
                    </a:lnTo>
                    <a:lnTo>
                      <a:pt x="253" y="111"/>
                    </a:lnTo>
                    <a:lnTo>
                      <a:pt x="251" y="113"/>
                    </a:lnTo>
                    <a:lnTo>
                      <a:pt x="250" y="115"/>
                    </a:lnTo>
                    <a:lnTo>
                      <a:pt x="250" y="117"/>
                    </a:lnTo>
                    <a:lnTo>
                      <a:pt x="248" y="119"/>
                    </a:lnTo>
                    <a:lnTo>
                      <a:pt x="248" y="121"/>
                    </a:lnTo>
                    <a:lnTo>
                      <a:pt x="246" y="123"/>
                    </a:lnTo>
                    <a:lnTo>
                      <a:pt x="244" y="127"/>
                    </a:lnTo>
                    <a:lnTo>
                      <a:pt x="242" y="128"/>
                    </a:lnTo>
                    <a:lnTo>
                      <a:pt x="240" y="130"/>
                    </a:lnTo>
                    <a:lnTo>
                      <a:pt x="240" y="132"/>
                    </a:lnTo>
                    <a:lnTo>
                      <a:pt x="238" y="134"/>
                    </a:lnTo>
                    <a:lnTo>
                      <a:pt x="236" y="136"/>
                    </a:lnTo>
                    <a:lnTo>
                      <a:pt x="236" y="138"/>
                    </a:lnTo>
                    <a:lnTo>
                      <a:pt x="234" y="138"/>
                    </a:lnTo>
                    <a:lnTo>
                      <a:pt x="236" y="140"/>
                    </a:lnTo>
                    <a:lnTo>
                      <a:pt x="234" y="140"/>
                    </a:lnTo>
                    <a:lnTo>
                      <a:pt x="232" y="138"/>
                    </a:lnTo>
                    <a:lnTo>
                      <a:pt x="228" y="142"/>
                    </a:lnTo>
                    <a:lnTo>
                      <a:pt x="226" y="144"/>
                    </a:lnTo>
                    <a:lnTo>
                      <a:pt x="225" y="142"/>
                    </a:lnTo>
                    <a:lnTo>
                      <a:pt x="219" y="151"/>
                    </a:lnTo>
                    <a:lnTo>
                      <a:pt x="217" y="150"/>
                    </a:lnTo>
                    <a:lnTo>
                      <a:pt x="215" y="148"/>
                    </a:lnTo>
                    <a:lnTo>
                      <a:pt x="209" y="157"/>
                    </a:lnTo>
                    <a:lnTo>
                      <a:pt x="207" y="159"/>
                    </a:lnTo>
                    <a:lnTo>
                      <a:pt x="203" y="161"/>
                    </a:lnTo>
                    <a:lnTo>
                      <a:pt x="203" y="163"/>
                    </a:lnTo>
                    <a:lnTo>
                      <a:pt x="205" y="163"/>
                    </a:lnTo>
                    <a:lnTo>
                      <a:pt x="207" y="165"/>
                    </a:lnTo>
                    <a:lnTo>
                      <a:pt x="209" y="165"/>
                    </a:lnTo>
                    <a:lnTo>
                      <a:pt x="209" y="167"/>
                    </a:lnTo>
                    <a:lnTo>
                      <a:pt x="209" y="169"/>
                    </a:lnTo>
                    <a:lnTo>
                      <a:pt x="211" y="173"/>
                    </a:lnTo>
                    <a:lnTo>
                      <a:pt x="209" y="173"/>
                    </a:lnTo>
                    <a:lnTo>
                      <a:pt x="209" y="176"/>
                    </a:lnTo>
                    <a:lnTo>
                      <a:pt x="211" y="178"/>
                    </a:lnTo>
                    <a:lnTo>
                      <a:pt x="213" y="180"/>
                    </a:lnTo>
                    <a:lnTo>
                      <a:pt x="217" y="182"/>
                    </a:lnTo>
                    <a:lnTo>
                      <a:pt x="219" y="184"/>
                    </a:lnTo>
                    <a:lnTo>
                      <a:pt x="219" y="188"/>
                    </a:lnTo>
                    <a:lnTo>
                      <a:pt x="221" y="190"/>
                    </a:lnTo>
                    <a:lnTo>
                      <a:pt x="217" y="198"/>
                    </a:lnTo>
                    <a:lnTo>
                      <a:pt x="215" y="200"/>
                    </a:lnTo>
                    <a:lnTo>
                      <a:pt x="215" y="201"/>
                    </a:lnTo>
                    <a:lnTo>
                      <a:pt x="217" y="203"/>
                    </a:lnTo>
                    <a:lnTo>
                      <a:pt x="215" y="207"/>
                    </a:lnTo>
                    <a:lnTo>
                      <a:pt x="213" y="205"/>
                    </a:lnTo>
                    <a:lnTo>
                      <a:pt x="211" y="207"/>
                    </a:lnTo>
                    <a:lnTo>
                      <a:pt x="211" y="209"/>
                    </a:lnTo>
                    <a:lnTo>
                      <a:pt x="209" y="213"/>
                    </a:lnTo>
                    <a:lnTo>
                      <a:pt x="209" y="215"/>
                    </a:lnTo>
                    <a:lnTo>
                      <a:pt x="211" y="217"/>
                    </a:lnTo>
                    <a:lnTo>
                      <a:pt x="211" y="219"/>
                    </a:lnTo>
                    <a:lnTo>
                      <a:pt x="213" y="221"/>
                    </a:lnTo>
                    <a:lnTo>
                      <a:pt x="215" y="221"/>
                    </a:lnTo>
                    <a:lnTo>
                      <a:pt x="217" y="221"/>
                    </a:lnTo>
                    <a:lnTo>
                      <a:pt x="217" y="223"/>
                    </a:lnTo>
                    <a:lnTo>
                      <a:pt x="217" y="225"/>
                    </a:lnTo>
                    <a:lnTo>
                      <a:pt x="215" y="226"/>
                    </a:lnTo>
                    <a:lnTo>
                      <a:pt x="215" y="228"/>
                    </a:lnTo>
                    <a:lnTo>
                      <a:pt x="213" y="236"/>
                    </a:lnTo>
                    <a:lnTo>
                      <a:pt x="211" y="238"/>
                    </a:lnTo>
                    <a:lnTo>
                      <a:pt x="207" y="240"/>
                    </a:lnTo>
                    <a:lnTo>
                      <a:pt x="205" y="240"/>
                    </a:lnTo>
                    <a:lnTo>
                      <a:pt x="205" y="242"/>
                    </a:lnTo>
                    <a:lnTo>
                      <a:pt x="202" y="244"/>
                    </a:lnTo>
                    <a:lnTo>
                      <a:pt x="200" y="246"/>
                    </a:lnTo>
                    <a:lnTo>
                      <a:pt x="196" y="248"/>
                    </a:lnTo>
                    <a:lnTo>
                      <a:pt x="194" y="250"/>
                    </a:lnTo>
                    <a:lnTo>
                      <a:pt x="192" y="248"/>
                    </a:lnTo>
                    <a:lnTo>
                      <a:pt x="190" y="248"/>
                    </a:lnTo>
                    <a:lnTo>
                      <a:pt x="188" y="248"/>
                    </a:lnTo>
                    <a:lnTo>
                      <a:pt x="186" y="248"/>
                    </a:lnTo>
                    <a:lnTo>
                      <a:pt x="184" y="250"/>
                    </a:lnTo>
                    <a:lnTo>
                      <a:pt x="182" y="251"/>
                    </a:lnTo>
                    <a:lnTo>
                      <a:pt x="180" y="253"/>
                    </a:lnTo>
                    <a:lnTo>
                      <a:pt x="178" y="255"/>
                    </a:lnTo>
                    <a:lnTo>
                      <a:pt x="177" y="257"/>
                    </a:lnTo>
                    <a:lnTo>
                      <a:pt x="177" y="259"/>
                    </a:lnTo>
                    <a:lnTo>
                      <a:pt x="177" y="261"/>
                    </a:lnTo>
                    <a:lnTo>
                      <a:pt x="177" y="263"/>
                    </a:lnTo>
                    <a:lnTo>
                      <a:pt x="177" y="265"/>
                    </a:lnTo>
                    <a:lnTo>
                      <a:pt x="178" y="265"/>
                    </a:lnTo>
                    <a:lnTo>
                      <a:pt x="178" y="267"/>
                    </a:lnTo>
                    <a:lnTo>
                      <a:pt x="178" y="269"/>
                    </a:lnTo>
                    <a:lnTo>
                      <a:pt x="180" y="271"/>
                    </a:lnTo>
                    <a:lnTo>
                      <a:pt x="178" y="275"/>
                    </a:lnTo>
                    <a:lnTo>
                      <a:pt x="178" y="276"/>
                    </a:lnTo>
                    <a:lnTo>
                      <a:pt x="177" y="276"/>
                    </a:lnTo>
                    <a:lnTo>
                      <a:pt x="165" y="284"/>
                    </a:lnTo>
                    <a:lnTo>
                      <a:pt x="163" y="280"/>
                    </a:lnTo>
                    <a:lnTo>
                      <a:pt x="165" y="276"/>
                    </a:lnTo>
                    <a:lnTo>
                      <a:pt x="155" y="273"/>
                    </a:lnTo>
                    <a:lnTo>
                      <a:pt x="155" y="271"/>
                    </a:lnTo>
                    <a:lnTo>
                      <a:pt x="153" y="275"/>
                    </a:lnTo>
                    <a:lnTo>
                      <a:pt x="152" y="276"/>
                    </a:lnTo>
                    <a:lnTo>
                      <a:pt x="152" y="275"/>
                    </a:lnTo>
                    <a:lnTo>
                      <a:pt x="150" y="276"/>
                    </a:lnTo>
                    <a:lnTo>
                      <a:pt x="150" y="278"/>
                    </a:lnTo>
                    <a:lnTo>
                      <a:pt x="148" y="278"/>
                    </a:lnTo>
                    <a:lnTo>
                      <a:pt x="148" y="280"/>
                    </a:lnTo>
                    <a:lnTo>
                      <a:pt x="146" y="282"/>
                    </a:lnTo>
                    <a:lnTo>
                      <a:pt x="148" y="282"/>
                    </a:lnTo>
                    <a:lnTo>
                      <a:pt x="142" y="292"/>
                    </a:lnTo>
                    <a:lnTo>
                      <a:pt x="142" y="294"/>
                    </a:lnTo>
                    <a:lnTo>
                      <a:pt x="140" y="294"/>
                    </a:lnTo>
                    <a:lnTo>
                      <a:pt x="142" y="296"/>
                    </a:lnTo>
                    <a:lnTo>
                      <a:pt x="142" y="298"/>
                    </a:lnTo>
                    <a:lnTo>
                      <a:pt x="140" y="300"/>
                    </a:lnTo>
                    <a:lnTo>
                      <a:pt x="138" y="300"/>
                    </a:lnTo>
                    <a:lnTo>
                      <a:pt x="140" y="301"/>
                    </a:lnTo>
                    <a:lnTo>
                      <a:pt x="140" y="303"/>
                    </a:lnTo>
                    <a:lnTo>
                      <a:pt x="142" y="305"/>
                    </a:lnTo>
                    <a:lnTo>
                      <a:pt x="140" y="307"/>
                    </a:lnTo>
                    <a:lnTo>
                      <a:pt x="140" y="305"/>
                    </a:lnTo>
                    <a:lnTo>
                      <a:pt x="138" y="305"/>
                    </a:lnTo>
                    <a:lnTo>
                      <a:pt x="138" y="307"/>
                    </a:lnTo>
                    <a:lnTo>
                      <a:pt x="140" y="307"/>
                    </a:lnTo>
                    <a:lnTo>
                      <a:pt x="138" y="309"/>
                    </a:lnTo>
                    <a:lnTo>
                      <a:pt x="138" y="311"/>
                    </a:lnTo>
                    <a:lnTo>
                      <a:pt x="136" y="311"/>
                    </a:lnTo>
                    <a:lnTo>
                      <a:pt x="136" y="309"/>
                    </a:lnTo>
                    <a:lnTo>
                      <a:pt x="136" y="311"/>
                    </a:lnTo>
                    <a:lnTo>
                      <a:pt x="136" y="309"/>
                    </a:lnTo>
                    <a:lnTo>
                      <a:pt x="134" y="309"/>
                    </a:lnTo>
                    <a:lnTo>
                      <a:pt x="136" y="309"/>
                    </a:lnTo>
                    <a:lnTo>
                      <a:pt x="136" y="307"/>
                    </a:lnTo>
                    <a:lnTo>
                      <a:pt x="134" y="307"/>
                    </a:lnTo>
                    <a:lnTo>
                      <a:pt x="134" y="309"/>
                    </a:lnTo>
                    <a:lnTo>
                      <a:pt x="134" y="307"/>
                    </a:lnTo>
                    <a:lnTo>
                      <a:pt x="132" y="309"/>
                    </a:lnTo>
                    <a:lnTo>
                      <a:pt x="132" y="307"/>
                    </a:lnTo>
                    <a:lnTo>
                      <a:pt x="129" y="313"/>
                    </a:lnTo>
                    <a:lnTo>
                      <a:pt x="127" y="311"/>
                    </a:lnTo>
                    <a:lnTo>
                      <a:pt x="127" y="313"/>
                    </a:lnTo>
                    <a:lnTo>
                      <a:pt x="125" y="315"/>
                    </a:lnTo>
                    <a:lnTo>
                      <a:pt x="125" y="313"/>
                    </a:lnTo>
                    <a:lnTo>
                      <a:pt x="123" y="315"/>
                    </a:lnTo>
                    <a:lnTo>
                      <a:pt x="121" y="315"/>
                    </a:lnTo>
                    <a:lnTo>
                      <a:pt x="119" y="315"/>
                    </a:lnTo>
                    <a:lnTo>
                      <a:pt x="115" y="313"/>
                    </a:lnTo>
                    <a:lnTo>
                      <a:pt x="115" y="311"/>
                    </a:lnTo>
                    <a:lnTo>
                      <a:pt x="113" y="309"/>
                    </a:lnTo>
                    <a:lnTo>
                      <a:pt x="111" y="309"/>
                    </a:lnTo>
                    <a:lnTo>
                      <a:pt x="109" y="311"/>
                    </a:lnTo>
                    <a:lnTo>
                      <a:pt x="107" y="313"/>
                    </a:lnTo>
                    <a:lnTo>
                      <a:pt x="107" y="315"/>
                    </a:lnTo>
                    <a:lnTo>
                      <a:pt x="107" y="317"/>
                    </a:lnTo>
                    <a:lnTo>
                      <a:pt x="107" y="319"/>
                    </a:lnTo>
                    <a:lnTo>
                      <a:pt x="107" y="321"/>
                    </a:lnTo>
                    <a:lnTo>
                      <a:pt x="107" y="323"/>
                    </a:lnTo>
                    <a:lnTo>
                      <a:pt x="107" y="325"/>
                    </a:lnTo>
                    <a:lnTo>
                      <a:pt x="109" y="326"/>
                    </a:lnTo>
                    <a:lnTo>
                      <a:pt x="109" y="328"/>
                    </a:lnTo>
                    <a:lnTo>
                      <a:pt x="105" y="330"/>
                    </a:lnTo>
                    <a:lnTo>
                      <a:pt x="107" y="330"/>
                    </a:lnTo>
                    <a:lnTo>
                      <a:pt x="105" y="332"/>
                    </a:lnTo>
                    <a:lnTo>
                      <a:pt x="105" y="334"/>
                    </a:lnTo>
                    <a:lnTo>
                      <a:pt x="104" y="336"/>
                    </a:lnTo>
                    <a:lnTo>
                      <a:pt x="102" y="338"/>
                    </a:lnTo>
                    <a:lnTo>
                      <a:pt x="100" y="342"/>
                    </a:lnTo>
                    <a:lnTo>
                      <a:pt x="98" y="344"/>
                    </a:lnTo>
                    <a:lnTo>
                      <a:pt x="100" y="346"/>
                    </a:lnTo>
                    <a:lnTo>
                      <a:pt x="100" y="34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4" name="Freeform 84"/>
              <p:cNvSpPr>
                <a:spLocks/>
              </p:cNvSpPr>
              <p:nvPr/>
            </p:nvSpPr>
            <p:spPr bwMode="auto">
              <a:xfrm>
                <a:off x="489661" y="1850316"/>
                <a:ext cx="240887" cy="426715"/>
              </a:xfrm>
              <a:custGeom>
                <a:avLst/>
                <a:gdLst>
                  <a:gd name="T0" fmla="*/ 136 w 140"/>
                  <a:gd name="T1" fmla="*/ 75 h 248"/>
                  <a:gd name="T2" fmla="*/ 128 w 140"/>
                  <a:gd name="T3" fmla="*/ 79 h 248"/>
                  <a:gd name="T4" fmla="*/ 123 w 140"/>
                  <a:gd name="T5" fmla="*/ 81 h 248"/>
                  <a:gd name="T6" fmla="*/ 123 w 140"/>
                  <a:gd name="T7" fmla="*/ 86 h 248"/>
                  <a:gd name="T8" fmla="*/ 121 w 140"/>
                  <a:gd name="T9" fmla="*/ 94 h 248"/>
                  <a:gd name="T10" fmla="*/ 123 w 140"/>
                  <a:gd name="T11" fmla="*/ 102 h 248"/>
                  <a:gd name="T12" fmla="*/ 130 w 140"/>
                  <a:gd name="T13" fmla="*/ 111 h 248"/>
                  <a:gd name="T14" fmla="*/ 126 w 140"/>
                  <a:gd name="T15" fmla="*/ 115 h 248"/>
                  <a:gd name="T16" fmla="*/ 121 w 140"/>
                  <a:gd name="T17" fmla="*/ 129 h 248"/>
                  <a:gd name="T18" fmla="*/ 111 w 140"/>
                  <a:gd name="T19" fmla="*/ 135 h 248"/>
                  <a:gd name="T20" fmla="*/ 107 w 140"/>
                  <a:gd name="T21" fmla="*/ 140 h 248"/>
                  <a:gd name="T22" fmla="*/ 109 w 140"/>
                  <a:gd name="T23" fmla="*/ 152 h 248"/>
                  <a:gd name="T24" fmla="*/ 99 w 140"/>
                  <a:gd name="T25" fmla="*/ 163 h 248"/>
                  <a:gd name="T26" fmla="*/ 103 w 140"/>
                  <a:gd name="T27" fmla="*/ 173 h 248"/>
                  <a:gd name="T28" fmla="*/ 98 w 140"/>
                  <a:gd name="T29" fmla="*/ 177 h 248"/>
                  <a:gd name="T30" fmla="*/ 92 w 140"/>
                  <a:gd name="T31" fmla="*/ 179 h 248"/>
                  <a:gd name="T32" fmla="*/ 94 w 140"/>
                  <a:gd name="T33" fmla="*/ 188 h 248"/>
                  <a:gd name="T34" fmla="*/ 88 w 140"/>
                  <a:gd name="T35" fmla="*/ 194 h 248"/>
                  <a:gd name="T36" fmla="*/ 88 w 140"/>
                  <a:gd name="T37" fmla="*/ 208 h 248"/>
                  <a:gd name="T38" fmla="*/ 90 w 140"/>
                  <a:gd name="T39" fmla="*/ 215 h 248"/>
                  <a:gd name="T40" fmla="*/ 82 w 140"/>
                  <a:gd name="T41" fmla="*/ 225 h 248"/>
                  <a:gd name="T42" fmla="*/ 73 w 140"/>
                  <a:gd name="T43" fmla="*/ 233 h 248"/>
                  <a:gd name="T44" fmla="*/ 69 w 140"/>
                  <a:gd name="T45" fmla="*/ 246 h 248"/>
                  <a:gd name="T46" fmla="*/ 61 w 140"/>
                  <a:gd name="T47" fmla="*/ 242 h 248"/>
                  <a:gd name="T48" fmla="*/ 55 w 140"/>
                  <a:gd name="T49" fmla="*/ 240 h 248"/>
                  <a:gd name="T50" fmla="*/ 46 w 140"/>
                  <a:gd name="T51" fmla="*/ 240 h 248"/>
                  <a:gd name="T52" fmla="*/ 44 w 140"/>
                  <a:gd name="T53" fmla="*/ 233 h 248"/>
                  <a:gd name="T54" fmla="*/ 42 w 140"/>
                  <a:gd name="T55" fmla="*/ 221 h 248"/>
                  <a:gd name="T56" fmla="*/ 36 w 140"/>
                  <a:gd name="T57" fmla="*/ 211 h 248"/>
                  <a:gd name="T58" fmla="*/ 26 w 140"/>
                  <a:gd name="T59" fmla="*/ 211 h 248"/>
                  <a:gd name="T60" fmla="*/ 15 w 140"/>
                  <a:gd name="T61" fmla="*/ 209 h 248"/>
                  <a:gd name="T62" fmla="*/ 19 w 140"/>
                  <a:gd name="T63" fmla="*/ 198 h 248"/>
                  <a:gd name="T64" fmla="*/ 23 w 140"/>
                  <a:gd name="T65" fmla="*/ 190 h 248"/>
                  <a:gd name="T66" fmla="*/ 19 w 140"/>
                  <a:gd name="T67" fmla="*/ 183 h 248"/>
                  <a:gd name="T68" fmla="*/ 7 w 140"/>
                  <a:gd name="T69" fmla="*/ 179 h 248"/>
                  <a:gd name="T70" fmla="*/ 7 w 140"/>
                  <a:gd name="T71" fmla="*/ 167 h 248"/>
                  <a:gd name="T72" fmla="*/ 0 w 140"/>
                  <a:gd name="T73" fmla="*/ 165 h 248"/>
                  <a:gd name="T74" fmla="*/ 5 w 140"/>
                  <a:gd name="T75" fmla="*/ 154 h 248"/>
                  <a:gd name="T76" fmla="*/ 13 w 140"/>
                  <a:gd name="T77" fmla="*/ 138 h 248"/>
                  <a:gd name="T78" fmla="*/ 17 w 140"/>
                  <a:gd name="T79" fmla="*/ 133 h 248"/>
                  <a:gd name="T80" fmla="*/ 19 w 140"/>
                  <a:gd name="T81" fmla="*/ 119 h 248"/>
                  <a:gd name="T82" fmla="*/ 23 w 140"/>
                  <a:gd name="T83" fmla="*/ 113 h 248"/>
                  <a:gd name="T84" fmla="*/ 23 w 140"/>
                  <a:gd name="T85" fmla="*/ 106 h 248"/>
                  <a:gd name="T86" fmla="*/ 30 w 140"/>
                  <a:gd name="T87" fmla="*/ 98 h 248"/>
                  <a:gd name="T88" fmla="*/ 42 w 140"/>
                  <a:gd name="T89" fmla="*/ 88 h 248"/>
                  <a:gd name="T90" fmla="*/ 38 w 140"/>
                  <a:gd name="T91" fmla="*/ 79 h 248"/>
                  <a:gd name="T92" fmla="*/ 40 w 140"/>
                  <a:gd name="T93" fmla="*/ 69 h 248"/>
                  <a:gd name="T94" fmla="*/ 48 w 140"/>
                  <a:gd name="T95" fmla="*/ 61 h 248"/>
                  <a:gd name="T96" fmla="*/ 57 w 140"/>
                  <a:gd name="T97" fmla="*/ 56 h 248"/>
                  <a:gd name="T98" fmla="*/ 65 w 140"/>
                  <a:gd name="T99" fmla="*/ 58 h 248"/>
                  <a:gd name="T100" fmla="*/ 67 w 140"/>
                  <a:gd name="T101" fmla="*/ 48 h 248"/>
                  <a:gd name="T102" fmla="*/ 71 w 140"/>
                  <a:gd name="T103" fmla="*/ 36 h 248"/>
                  <a:gd name="T104" fmla="*/ 101 w 140"/>
                  <a:gd name="T105" fmla="*/ 2 h 248"/>
                  <a:gd name="T106" fmla="*/ 119 w 140"/>
                  <a:gd name="T107" fmla="*/ 8 h 248"/>
                  <a:gd name="T108" fmla="*/ 117 w 140"/>
                  <a:gd name="T109" fmla="*/ 19 h 248"/>
                  <a:gd name="T110" fmla="*/ 123 w 140"/>
                  <a:gd name="T111" fmla="*/ 19 h 248"/>
                  <a:gd name="T112" fmla="*/ 128 w 140"/>
                  <a:gd name="T113" fmla="*/ 27 h 248"/>
                  <a:gd name="T114" fmla="*/ 134 w 140"/>
                  <a:gd name="T115" fmla="*/ 35 h 248"/>
                  <a:gd name="T116" fmla="*/ 134 w 140"/>
                  <a:gd name="T117" fmla="*/ 42 h 248"/>
                  <a:gd name="T118" fmla="*/ 132 w 140"/>
                  <a:gd name="T119" fmla="*/ 48 h 248"/>
                  <a:gd name="T120" fmla="*/ 130 w 140"/>
                  <a:gd name="T121" fmla="*/ 52 h 248"/>
                  <a:gd name="T122" fmla="*/ 136 w 140"/>
                  <a:gd name="T123" fmla="*/ 60 h 248"/>
                  <a:gd name="T124" fmla="*/ 136 w 140"/>
                  <a:gd name="T125" fmla="*/ 6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 h="248">
                    <a:moveTo>
                      <a:pt x="140" y="69"/>
                    </a:moveTo>
                    <a:lnTo>
                      <a:pt x="138" y="71"/>
                    </a:lnTo>
                    <a:lnTo>
                      <a:pt x="140" y="71"/>
                    </a:lnTo>
                    <a:lnTo>
                      <a:pt x="138" y="71"/>
                    </a:lnTo>
                    <a:lnTo>
                      <a:pt x="138" y="73"/>
                    </a:lnTo>
                    <a:lnTo>
                      <a:pt x="136" y="73"/>
                    </a:lnTo>
                    <a:lnTo>
                      <a:pt x="136" y="75"/>
                    </a:lnTo>
                    <a:lnTo>
                      <a:pt x="138" y="75"/>
                    </a:lnTo>
                    <a:lnTo>
                      <a:pt x="136" y="75"/>
                    </a:lnTo>
                    <a:lnTo>
                      <a:pt x="134" y="77"/>
                    </a:lnTo>
                    <a:lnTo>
                      <a:pt x="132" y="77"/>
                    </a:lnTo>
                    <a:lnTo>
                      <a:pt x="132" y="79"/>
                    </a:lnTo>
                    <a:lnTo>
                      <a:pt x="132" y="77"/>
                    </a:lnTo>
                    <a:lnTo>
                      <a:pt x="130" y="77"/>
                    </a:lnTo>
                    <a:lnTo>
                      <a:pt x="130" y="79"/>
                    </a:lnTo>
                    <a:lnTo>
                      <a:pt x="130" y="77"/>
                    </a:lnTo>
                    <a:lnTo>
                      <a:pt x="130" y="79"/>
                    </a:lnTo>
                    <a:lnTo>
                      <a:pt x="128" y="79"/>
                    </a:lnTo>
                    <a:lnTo>
                      <a:pt x="128" y="77"/>
                    </a:lnTo>
                    <a:lnTo>
                      <a:pt x="126" y="77"/>
                    </a:lnTo>
                    <a:lnTo>
                      <a:pt x="126" y="75"/>
                    </a:lnTo>
                    <a:lnTo>
                      <a:pt x="124" y="75"/>
                    </a:lnTo>
                    <a:lnTo>
                      <a:pt x="124" y="77"/>
                    </a:lnTo>
                    <a:lnTo>
                      <a:pt x="124" y="79"/>
                    </a:lnTo>
                    <a:lnTo>
                      <a:pt x="123" y="81"/>
                    </a:lnTo>
                    <a:lnTo>
                      <a:pt x="123" y="79"/>
                    </a:lnTo>
                    <a:lnTo>
                      <a:pt x="123" y="81"/>
                    </a:lnTo>
                    <a:lnTo>
                      <a:pt x="121" y="83"/>
                    </a:lnTo>
                    <a:lnTo>
                      <a:pt x="119" y="83"/>
                    </a:lnTo>
                    <a:lnTo>
                      <a:pt x="119" y="85"/>
                    </a:lnTo>
                    <a:lnTo>
                      <a:pt x="119" y="86"/>
                    </a:lnTo>
                    <a:lnTo>
                      <a:pt x="119" y="85"/>
                    </a:lnTo>
                    <a:lnTo>
                      <a:pt x="119" y="86"/>
                    </a:lnTo>
                    <a:lnTo>
                      <a:pt x="121" y="85"/>
                    </a:lnTo>
                    <a:lnTo>
                      <a:pt x="121" y="86"/>
                    </a:lnTo>
                    <a:lnTo>
                      <a:pt x="123" y="86"/>
                    </a:lnTo>
                    <a:lnTo>
                      <a:pt x="121" y="86"/>
                    </a:lnTo>
                    <a:lnTo>
                      <a:pt x="123" y="86"/>
                    </a:lnTo>
                    <a:lnTo>
                      <a:pt x="123" y="88"/>
                    </a:lnTo>
                    <a:lnTo>
                      <a:pt x="123" y="90"/>
                    </a:lnTo>
                    <a:lnTo>
                      <a:pt x="123" y="92"/>
                    </a:lnTo>
                    <a:lnTo>
                      <a:pt x="124" y="92"/>
                    </a:lnTo>
                    <a:lnTo>
                      <a:pt x="124" y="94"/>
                    </a:lnTo>
                    <a:lnTo>
                      <a:pt x="123" y="94"/>
                    </a:lnTo>
                    <a:lnTo>
                      <a:pt x="121" y="94"/>
                    </a:lnTo>
                    <a:lnTo>
                      <a:pt x="119" y="94"/>
                    </a:lnTo>
                    <a:lnTo>
                      <a:pt x="119" y="96"/>
                    </a:lnTo>
                    <a:lnTo>
                      <a:pt x="119" y="98"/>
                    </a:lnTo>
                    <a:lnTo>
                      <a:pt x="121" y="98"/>
                    </a:lnTo>
                    <a:lnTo>
                      <a:pt x="121" y="100"/>
                    </a:lnTo>
                    <a:lnTo>
                      <a:pt x="123" y="100"/>
                    </a:lnTo>
                    <a:lnTo>
                      <a:pt x="124" y="100"/>
                    </a:lnTo>
                    <a:lnTo>
                      <a:pt x="123" y="100"/>
                    </a:lnTo>
                    <a:lnTo>
                      <a:pt x="123" y="102"/>
                    </a:lnTo>
                    <a:lnTo>
                      <a:pt x="124" y="102"/>
                    </a:lnTo>
                    <a:lnTo>
                      <a:pt x="124" y="104"/>
                    </a:lnTo>
                    <a:lnTo>
                      <a:pt x="124" y="106"/>
                    </a:lnTo>
                    <a:lnTo>
                      <a:pt x="126" y="106"/>
                    </a:lnTo>
                    <a:lnTo>
                      <a:pt x="128" y="106"/>
                    </a:lnTo>
                    <a:lnTo>
                      <a:pt x="128" y="108"/>
                    </a:lnTo>
                    <a:lnTo>
                      <a:pt x="128" y="110"/>
                    </a:lnTo>
                    <a:lnTo>
                      <a:pt x="128" y="111"/>
                    </a:lnTo>
                    <a:lnTo>
                      <a:pt x="130" y="111"/>
                    </a:lnTo>
                    <a:lnTo>
                      <a:pt x="132" y="111"/>
                    </a:lnTo>
                    <a:lnTo>
                      <a:pt x="130" y="113"/>
                    </a:lnTo>
                    <a:lnTo>
                      <a:pt x="132" y="113"/>
                    </a:lnTo>
                    <a:lnTo>
                      <a:pt x="130" y="113"/>
                    </a:lnTo>
                    <a:lnTo>
                      <a:pt x="130" y="115"/>
                    </a:lnTo>
                    <a:lnTo>
                      <a:pt x="128" y="115"/>
                    </a:lnTo>
                    <a:lnTo>
                      <a:pt x="126" y="115"/>
                    </a:lnTo>
                    <a:lnTo>
                      <a:pt x="124" y="115"/>
                    </a:lnTo>
                    <a:lnTo>
                      <a:pt x="126" y="115"/>
                    </a:lnTo>
                    <a:lnTo>
                      <a:pt x="126" y="117"/>
                    </a:lnTo>
                    <a:lnTo>
                      <a:pt x="126" y="119"/>
                    </a:lnTo>
                    <a:lnTo>
                      <a:pt x="124" y="119"/>
                    </a:lnTo>
                    <a:lnTo>
                      <a:pt x="124" y="121"/>
                    </a:lnTo>
                    <a:lnTo>
                      <a:pt x="123" y="121"/>
                    </a:lnTo>
                    <a:lnTo>
                      <a:pt x="123" y="123"/>
                    </a:lnTo>
                    <a:lnTo>
                      <a:pt x="123" y="125"/>
                    </a:lnTo>
                    <a:lnTo>
                      <a:pt x="126" y="129"/>
                    </a:lnTo>
                    <a:lnTo>
                      <a:pt x="121" y="129"/>
                    </a:lnTo>
                    <a:lnTo>
                      <a:pt x="119" y="131"/>
                    </a:lnTo>
                    <a:lnTo>
                      <a:pt x="117" y="131"/>
                    </a:lnTo>
                    <a:lnTo>
                      <a:pt x="115" y="131"/>
                    </a:lnTo>
                    <a:lnTo>
                      <a:pt x="115" y="133"/>
                    </a:lnTo>
                    <a:lnTo>
                      <a:pt x="117" y="133"/>
                    </a:lnTo>
                    <a:lnTo>
                      <a:pt x="115" y="133"/>
                    </a:lnTo>
                    <a:lnTo>
                      <a:pt x="113" y="133"/>
                    </a:lnTo>
                    <a:lnTo>
                      <a:pt x="113" y="135"/>
                    </a:lnTo>
                    <a:lnTo>
                      <a:pt x="111" y="135"/>
                    </a:lnTo>
                    <a:lnTo>
                      <a:pt x="109" y="136"/>
                    </a:lnTo>
                    <a:lnTo>
                      <a:pt x="107" y="138"/>
                    </a:lnTo>
                    <a:lnTo>
                      <a:pt x="109" y="138"/>
                    </a:lnTo>
                    <a:lnTo>
                      <a:pt x="109" y="136"/>
                    </a:lnTo>
                    <a:lnTo>
                      <a:pt x="111" y="136"/>
                    </a:lnTo>
                    <a:lnTo>
                      <a:pt x="111" y="138"/>
                    </a:lnTo>
                    <a:lnTo>
                      <a:pt x="109" y="138"/>
                    </a:lnTo>
                    <a:lnTo>
                      <a:pt x="109" y="140"/>
                    </a:lnTo>
                    <a:lnTo>
                      <a:pt x="107" y="140"/>
                    </a:lnTo>
                    <a:lnTo>
                      <a:pt x="109" y="140"/>
                    </a:lnTo>
                    <a:lnTo>
                      <a:pt x="109" y="142"/>
                    </a:lnTo>
                    <a:lnTo>
                      <a:pt x="109" y="144"/>
                    </a:lnTo>
                    <a:lnTo>
                      <a:pt x="109" y="146"/>
                    </a:lnTo>
                    <a:lnTo>
                      <a:pt x="111" y="146"/>
                    </a:lnTo>
                    <a:lnTo>
                      <a:pt x="111" y="148"/>
                    </a:lnTo>
                    <a:lnTo>
                      <a:pt x="111" y="150"/>
                    </a:lnTo>
                    <a:lnTo>
                      <a:pt x="109" y="150"/>
                    </a:lnTo>
                    <a:lnTo>
                      <a:pt x="109" y="152"/>
                    </a:lnTo>
                    <a:lnTo>
                      <a:pt x="107" y="152"/>
                    </a:lnTo>
                    <a:lnTo>
                      <a:pt x="105" y="152"/>
                    </a:lnTo>
                    <a:lnTo>
                      <a:pt x="105" y="154"/>
                    </a:lnTo>
                    <a:lnTo>
                      <a:pt x="105" y="156"/>
                    </a:lnTo>
                    <a:lnTo>
                      <a:pt x="103" y="158"/>
                    </a:lnTo>
                    <a:lnTo>
                      <a:pt x="103" y="160"/>
                    </a:lnTo>
                    <a:lnTo>
                      <a:pt x="101" y="161"/>
                    </a:lnTo>
                    <a:lnTo>
                      <a:pt x="99" y="161"/>
                    </a:lnTo>
                    <a:lnTo>
                      <a:pt x="99" y="163"/>
                    </a:lnTo>
                    <a:lnTo>
                      <a:pt x="99" y="165"/>
                    </a:lnTo>
                    <a:lnTo>
                      <a:pt x="99" y="167"/>
                    </a:lnTo>
                    <a:lnTo>
                      <a:pt x="101" y="167"/>
                    </a:lnTo>
                    <a:lnTo>
                      <a:pt x="101" y="169"/>
                    </a:lnTo>
                    <a:lnTo>
                      <a:pt x="103" y="169"/>
                    </a:lnTo>
                    <a:lnTo>
                      <a:pt x="105" y="169"/>
                    </a:lnTo>
                    <a:lnTo>
                      <a:pt x="105" y="171"/>
                    </a:lnTo>
                    <a:lnTo>
                      <a:pt x="103" y="171"/>
                    </a:lnTo>
                    <a:lnTo>
                      <a:pt x="103" y="173"/>
                    </a:lnTo>
                    <a:lnTo>
                      <a:pt x="101" y="173"/>
                    </a:lnTo>
                    <a:lnTo>
                      <a:pt x="101" y="175"/>
                    </a:lnTo>
                    <a:lnTo>
                      <a:pt x="99" y="175"/>
                    </a:lnTo>
                    <a:lnTo>
                      <a:pt x="99" y="173"/>
                    </a:lnTo>
                    <a:lnTo>
                      <a:pt x="98" y="173"/>
                    </a:lnTo>
                    <a:lnTo>
                      <a:pt x="98" y="175"/>
                    </a:lnTo>
                    <a:lnTo>
                      <a:pt x="99" y="175"/>
                    </a:lnTo>
                    <a:lnTo>
                      <a:pt x="98" y="175"/>
                    </a:lnTo>
                    <a:lnTo>
                      <a:pt x="98" y="177"/>
                    </a:lnTo>
                    <a:lnTo>
                      <a:pt x="96" y="177"/>
                    </a:lnTo>
                    <a:lnTo>
                      <a:pt x="94" y="175"/>
                    </a:lnTo>
                    <a:lnTo>
                      <a:pt x="94" y="177"/>
                    </a:lnTo>
                    <a:lnTo>
                      <a:pt x="92" y="177"/>
                    </a:lnTo>
                    <a:lnTo>
                      <a:pt x="92" y="179"/>
                    </a:lnTo>
                    <a:lnTo>
                      <a:pt x="94" y="179"/>
                    </a:lnTo>
                    <a:lnTo>
                      <a:pt x="92" y="179"/>
                    </a:lnTo>
                    <a:lnTo>
                      <a:pt x="92" y="181"/>
                    </a:lnTo>
                    <a:lnTo>
                      <a:pt x="92" y="179"/>
                    </a:lnTo>
                    <a:lnTo>
                      <a:pt x="90" y="179"/>
                    </a:lnTo>
                    <a:lnTo>
                      <a:pt x="92" y="179"/>
                    </a:lnTo>
                    <a:lnTo>
                      <a:pt x="92" y="181"/>
                    </a:lnTo>
                    <a:lnTo>
                      <a:pt x="90" y="181"/>
                    </a:lnTo>
                    <a:lnTo>
                      <a:pt x="90" y="183"/>
                    </a:lnTo>
                    <a:lnTo>
                      <a:pt x="90" y="184"/>
                    </a:lnTo>
                    <a:lnTo>
                      <a:pt x="90" y="186"/>
                    </a:lnTo>
                    <a:lnTo>
                      <a:pt x="92" y="186"/>
                    </a:lnTo>
                    <a:lnTo>
                      <a:pt x="94" y="188"/>
                    </a:lnTo>
                    <a:lnTo>
                      <a:pt x="94" y="190"/>
                    </a:lnTo>
                    <a:lnTo>
                      <a:pt x="96" y="190"/>
                    </a:lnTo>
                    <a:lnTo>
                      <a:pt x="94" y="190"/>
                    </a:lnTo>
                    <a:lnTo>
                      <a:pt x="92" y="192"/>
                    </a:lnTo>
                    <a:lnTo>
                      <a:pt x="90" y="192"/>
                    </a:lnTo>
                    <a:lnTo>
                      <a:pt x="90" y="194"/>
                    </a:lnTo>
                    <a:lnTo>
                      <a:pt x="88" y="194"/>
                    </a:lnTo>
                    <a:lnTo>
                      <a:pt x="88" y="196"/>
                    </a:lnTo>
                    <a:lnTo>
                      <a:pt x="88" y="194"/>
                    </a:lnTo>
                    <a:lnTo>
                      <a:pt x="88" y="196"/>
                    </a:lnTo>
                    <a:lnTo>
                      <a:pt x="86" y="196"/>
                    </a:lnTo>
                    <a:lnTo>
                      <a:pt x="86" y="198"/>
                    </a:lnTo>
                    <a:lnTo>
                      <a:pt x="88" y="200"/>
                    </a:lnTo>
                    <a:lnTo>
                      <a:pt x="88" y="202"/>
                    </a:lnTo>
                    <a:lnTo>
                      <a:pt x="90" y="204"/>
                    </a:lnTo>
                    <a:lnTo>
                      <a:pt x="90" y="206"/>
                    </a:lnTo>
                    <a:lnTo>
                      <a:pt x="88" y="206"/>
                    </a:lnTo>
                    <a:lnTo>
                      <a:pt x="88" y="208"/>
                    </a:lnTo>
                    <a:lnTo>
                      <a:pt x="86" y="208"/>
                    </a:lnTo>
                    <a:lnTo>
                      <a:pt x="86" y="209"/>
                    </a:lnTo>
                    <a:lnTo>
                      <a:pt x="86" y="211"/>
                    </a:lnTo>
                    <a:lnTo>
                      <a:pt x="88" y="211"/>
                    </a:lnTo>
                    <a:lnTo>
                      <a:pt x="88" y="213"/>
                    </a:lnTo>
                    <a:lnTo>
                      <a:pt x="90" y="213"/>
                    </a:lnTo>
                    <a:lnTo>
                      <a:pt x="88" y="213"/>
                    </a:lnTo>
                    <a:lnTo>
                      <a:pt x="90" y="213"/>
                    </a:lnTo>
                    <a:lnTo>
                      <a:pt x="90" y="215"/>
                    </a:lnTo>
                    <a:lnTo>
                      <a:pt x="92" y="215"/>
                    </a:lnTo>
                    <a:lnTo>
                      <a:pt x="92" y="217"/>
                    </a:lnTo>
                    <a:lnTo>
                      <a:pt x="90" y="219"/>
                    </a:lnTo>
                    <a:lnTo>
                      <a:pt x="88" y="219"/>
                    </a:lnTo>
                    <a:lnTo>
                      <a:pt x="86" y="221"/>
                    </a:lnTo>
                    <a:lnTo>
                      <a:pt x="88" y="223"/>
                    </a:lnTo>
                    <a:lnTo>
                      <a:pt x="86" y="225"/>
                    </a:lnTo>
                    <a:lnTo>
                      <a:pt x="84" y="225"/>
                    </a:lnTo>
                    <a:lnTo>
                      <a:pt x="82" y="225"/>
                    </a:lnTo>
                    <a:lnTo>
                      <a:pt x="82" y="227"/>
                    </a:lnTo>
                    <a:lnTo>
                      <a:pt x="82" y="229"/>
                    </a:lnTo>
                    <a:lnTo>
                      <a:pt x="82" y="231"/>
                    </a:lnTo>
                    <a:lnTo>
                      <a:pt x="80" y="231"/>
                    </a:lnTo>
                    <a:lnTo>
                      <a:pt x="78" y="231"/>
                    </a:lnTo>
                    <a:lnTo>
                      <a:pt x="76" y="231"/>
                    </a:lnTo>
                    <a:lnTo>
                      <a:pt x="76" y="233"/>
                    </a:lnTo>
                    <a:lnTo>
                      <a:pt x="75" y="233"/>
                    </a:lnTo>
                    <a:lnTo>
                      <a:pt x="73" y="233"/>
                    </a:lnTo>
                    <a:lnTo>
                      <a:pt x="73" y="234"/>
                    </a:lnTo>
                    <a:lnTo>
                      <a:pt x="73" y="236"/>
                    </a:lnTo>
                    <a:lnTo>
                      <a:pt x="73" y="238"/>
                    </a:lnTo>
                    <a:lnTo>
                      <a:pt x="71" y="238"/>
                    </a:lnTo>
                    <a:lnTo>
                      <a:pt x="71" y="240"/>
                    </a:lnTo>
                    <a:lnTo>
                      <a:pt x="69" y="240"/>
                    </a:lnTo>
                    <a:lnTo>
                      <a:pt x="69" y="242"/>
                    </a:lnTo>
                    <a:lnTo>
                      <a:pt x="69" y="244"/>
                    </a:lnTo>
                    <a:lnTo>
                      <a:pt x="69" y="246"/>
                    </a:lnTo>
                    <a:lnTo>
                      <a:pt x="67" y="246"/>
                    </a:lnTo>
                    <a:lnTo>
                      <a:pt x="67" y="248"/>
                    </a:lnTo>
                    <a:lnTo>
                      <a:pt x="65" y="248"/>
                    </a:lnTo>
                    <a:lnTo>
                      <a:pt x="65" y="246"/>
                    </a:lnTo>
                    <a:lnTo>
                      <a:pt x="65" y="244"/>
                    </a:lnTo>
                    <a:lnTo>
                      <a:pt x="63" y="242"/>
                    </a:lnTo>
                    <a:lnTo>
                      <a:pt x="63" y="244"/>
                    </a:lnTo>
                    <a:lnTo>
                      <a:pt x="63" y="242"/>
                    </a:lnTo>
                    <a:lnTo>
                      <a:pt x="61" y="242"/>
                    </a:lnTo>
                    <a:lnTo>
                      <a:pt x="59" y="242"/>
                    </a:lnTo>
                    <a:lnTo>
                      <a:pt x="61" y="242"/>
                    </a:lnTo>
                    <a:lnTo>
                      <a:pt x="61" y="240"/>
                    </a:lnTo>
                    <a:lnTo>
                      <a:pt x="59" y="240"/>
                    </a:lnTo>
                    <a:lnTo>
                      <a:pt x="59" y="238"/>
                    </a:lnTo>
                    <a:lnTo>
                      <a:pt x="57" y="236"/>
                    </a:lnTo>
                    <a:lnTo>
                      <a:pt x="57" y="238"/>
                    </a:lnTo>
                    <a:lnTo>
                      <a:pt x="55" y="238"/>
                    </a:lnTo>
                    <a:lnTo>
                      <a:pt x="55" y="240"/>
                    </a:lnTo>
                    <a:lnTo>
                      <a:pt x="53" y="240"/>
                    </a:lnTo>
                    <a:lnTo>
                      <a:pt x="51" y="240"/>
                    </a:lnTo>
                    <a:lnTo>
                      <a:pt x="50" y="240"/>
                    </a:lnTo>
                    <a:lnTo>
                      <a:pt x="50" y="242"/>
                    </a:lnTo>
                    <a:lnTo>
                      <a:pt x="50" y="240"/>
                    </a:lnTo>
                    <a:lnTo>
                      <a:pt x="50" y="242"/>
                    </a:lnTo>
                    <a:lnTo>
                      <a:pt x="48" y="242"/>
                    </a:lnTo>
                    <a:lnTo>
                      <a:pt x="48" y="240"/>
                    </a:lnTo>
                    <a:lnTo>
                      <a:pt x="46" y="240"/>
                    </a:lnTo>
                    <a:lnTo>
                      <a:pt x="44" y="240"/>
                    </a:lnTo>
                    <a:lnTo>
                      <a:pt x="44" y="238"/>
                    </a:lnTo>
                    <a:lnTo>
                      <a:pt x="44" y="236"/>
                    </a:lnTo>
                    <a:lnTo>
                      <a:pt x="46" y="236"/>
                    </a:lnTo>
                    <a:lnTo>
                      <a:pt x="44" y="234"/>
                    </a:lnTo>
                    <a:lnTo>
                      <a:pt x="44" y="236"/>
                    </a:lnTo>
                    <a:lnTo>
                      <a:pt x="42" y="236"/>
                    </a:lnTo>
                    <a:lnTo>
                      <a:pt x="44" y="234"/>
                    </a:lnTo>
                    <a:lnTo>
                      <a:pt x="44" y="233"/>
                    </a:lnTo>
                    <a:lnTo>
                      <a:pt x="46" y="233"/>
                    </a:lnTo>
                    <a:lnTo>
                      <a:pt x="46" y="231"/>
                    </a:lnTo>
                    <a:lnTo>
                      <a:pt x="46" y="229"/>
                    </a:lnTo>
                    <a:lnTo>
                      <a:pt x="44" y="227"/>
                    </a:lnTo>
                    <a:lnTo>
                      <a:pt x="44" y="225"/>
                    </a:lnTo>
                    <a:lnTo>
                      <a:pt x="46" y="225"/>
                    </a:lnTo>
                    <a:lnTo>
                      <a:pt x="46" y="223"/>
                    </a:lnTo>
                    <a:lnTo>
                      <a:pt x="44" y="221"/>
                    </a:lnTo>
                    <a:lnTo>
                      <a:pt x="42" y="221"/>
                    </a:lnTo>
                    <a:lnTo>
                      <a:pt x="42" y="219"/>
                    </a:lnTo>
                    <a:lnTo>
                      <a:pt x="42" y="217"/>
                    </a:lnTo>
                    <a:lnTo>
                      <a:pt x="42" y="215"/>
                    </a:lnTo>
                    <a:lnTo>
                      <a:pt x="40" y="215"/>
                    </a:lnTo>
                    <a:lnTo>
                      <a:pt x="40" y="213"/>
                    </a:lnTo>
                    <a:lnTo>
                      <a:pt x="38" y="213"/>
                    </a:lnTo>
                    <a:lnTo>
                      <a:pt x="36" y="215"/>
                    </a:lnTo>
                    <a:lnTo>
                      <a:pt x="36" y="213"/>
                    </a:lnTo>
                    <a:lnTo>
                      <a:pt x="36" y="211"/>
                    </a:lnTo>
                    <a:lnTo>
                      <a:pt x="34" y="211"/>
                    </a:lnTo>
                    <a:lnTo>
                      <a:pt x="34" y="209"/>
                    </a:lnTo>
                    <a:lnTo>
                      <a:pt x="32" y="209"/>
                    </a:lnTo>
                    <a:lnTo>
                      <a:pt x="32" y="208"/>
                    </a:lnTo>
                    <a:lnTo>
                      <a:pt x="30" y="208"/>
                    </a:lnTo>
                    <a:lnTo>
                      <a:pt x="30" y="209"/>
                    </a:lnTo>
                    <a:lnTo>
                      <a:pt x="28" y="209"/>
                    </a:lnTo>
                    <a:lnTo>
                      <a:pt x="26" y="209"/>
                    </a:lnTo>
                    <a:lnTo>
                      <a:pt x="26" y="211"/>
                    </a:lnTo>
                    <a:lnTo>
                      <a:pt x="26" y="209"/>
                    </a:lnTo>
                    <a:lnTo>
                      <a:pt x="25" y="209"/>
                    </a:lnTo>
                    <a:lnTo>
                      <a:pt x="26" y="209"/>
                    </a:lnTo>
                    <a:lnTo>
                      <a:pt x="25" y="208"/>
                    </a:lnTo>
                    <a:lnTo>
                      <a:pt x="23" y="208"/>
                    </a:lnTo>
                    <a:lnTo>
                      <a:pt x="21" y="208"/>
                    </a:lnTo>
                    <a:lnTo>
                      <a:pt x="19" y="208"/>
                    </a:lnTo>
                    <a:lnTo>
                      <a:pt x="17" y="208"/>
                    </a:lnTo>
                    <a:lnTo>
                      <a:pt x="15" y="209"/>
                    </a:lnTo>
                    <a:lnTo>
                      <a:pt x="15" y="208"/>
                    </a:lnTo>
                    <a:lnTo>
                      <a:pt x="15" y="206"/>
                    </a:lnTo>
                    <a:lnTo>
                      <a:pt x="15" y="204"/>
                    </a:lnTo>
                    <a:lnTo>
                      <a:pt x="13" y="204"/>
                    </a:lnTo>
                    <a:lnTo>
                      <a:pt x="13" y="202"/>
                    </a:lnTo>
                    <a:lnTo>
                      <a:pt x="15" y="202"/>
                    </a:lnTo>
                    <a:lnTo>
                      <a:pt x="15" y="200"/>
                    </a:lnTo>
                    <a:lnTo>
                      <a:pt x="17" y="200"/>
                    </a:lnTo>
                    <a:lnTo>
                      <a:pt x="19" y="198"/>
                    </a:lnTo>
                    <a:lnTo>
                      <a:pt x="21" y="198"/>
                    </a:lnTo>
                    <a:lnTo>
                      <a:pt x="21" y="196"/>
                    </a:lnTo>
                    <a:lnTo>
                      <a:pt x="23" y="196"/>
                    </a:lnTo>
                    <a:lnTo>
                      <a:pt x="25" y="196"/>
                    </a:lnTo>
                    <a:lnTo>
                      <a:pt x="23" y="194"/>
                    </a:lnTo>
                    <a:lnTo>
                      <a:pt x="25" y="194"/>
                    </a:lnTo>
                    <a:lnTo>
                      <a:pt x="25" y="192"/>
                    </a:lnTo>
                    <a:lnTo>
                      <a:pt x="23" y="192"/>
                    </a:lnTo>
                    <a:lnTo>
                      <a:pt x="23" y="190"/>
                    </a:lnTo>
                    <a:lnTo>
                      <a:pt x="23" y="188"/>
                    </a:lnTo>
                    <a:lnTo>
                      <a:pt x="21" y="188"/>
                    </a:lnTo>
                    <a:lnTo>
                      <a:pt x="19" y="188"/>
                    </a:lnTo>
                    <a:lnTo>
                      <a:pt x="19" y="186"/>
                    </a:lnTo>
                    <a:lnTo>
                      <a:pt x="21" y="186"/>
                    </a:lnTo>
                    <a:lnTo>
                      <a:pt x="21" y="184"/>
                    </a:lnTo>
                    <a:lnTo>
                      <a:pt x="19" y="184"/>
                    </a:lnTo>
                    <a:lnTo>
                      <a:pt x="17" y="184"/>
                    </a:lnTo>
                    <a:lnTo>
                      <a:pt x="19" y="183"/>
                    </a:lnTo>
                    <a:lnTo>
                      <a:pt x="17" y="183"/>
                    </a:lnTo>
                    <a:lnTo>
                      <a:pt x="17" y="181"/>
                    </a:lnTo>
                    <a:lnTo>
                      <a:pt x="15" y="181"/>
                    </a:lnTo>
                    <a:lnTo>
                      <a:pt x="15" y="183"/>
                    </a:lnTo>
                    <a:lnTo>
                      <a:pt x="15" y="181"/>
                    </a:lnTo>
                    <a:lnTo>
                      <a:pt x="13" y="181"/>
                    </a:lnTo>
                    <a:lnTo>
                      <a:pt x="11" y="181"/>
                    </a:lnTo>
                    <a:lnTo>
                      <a:pt x="9" y="181"/>
                    </a:lnTo>
                    <a:lnTo>
                      <a:pt x="7" y="179"/>
                    </a:lnTo>
                    <a:lnTo>
                      <a:pt x="7" y="177"/>
                    </a:lnTo>
                    <a:lnTo>
                      <a:pt x="7" y="175"/>
                    </a:lnTo>
                    <a:lnTo>
                      <a:pt x="7" y="173"/>
                    </a:lnTo>
                    <a:lnTo>
                      <a:pt x="7" y="171"/>
                    </a:lnTo>
                    <a:lnTo>
                      <a:pt x="9" y="171"/>
                    </a:lnTo>
                    <a:lnTo>
                      <a:pt x="11" y="171"/>
                    </a:lnTo>
                    <a:lnTo>
                      <a:pt x="9" y="169"/>
                    </a:lnTo>
                    <a:lnTo>
                      <a:pt x="9" y="167"/>
                    </a:lnTo>
                    <a:lnTo>
                      <a:pt x="7" y="167"/>
                    </a:lnTo>
                    <a:lnTo>
                      <a:pt x="5" y="167"/>
                    </a:lnTo>
                    <a:lnTo>
                      <a:pt x="5" y="165"/>
                    </a:lnTo>
                    <a:lnTo>
                      <a:pt x="3" y="165"/>
                    </a:lnTo>
                    <a:lnTo>
                      <a:pt x="3" y="163"/>
                    </a:lnTo>
                    <a:lnTo>
                      <a:pt x="3" y="165"/>
                    </a:lnTo>
                    <a:lnTo>
                      <a:pt x="2" y="165"/>
                    </a:lnTo>
                    <a:lnTo>
                      <a:pt x="2" y="167"/>
                    </a:lnTo>
                    <a:lnTo>
                      <a:pt x="2" y="165"/>
                    </a:lnTo>
                    <a:lnTo>
                      <a:pt x="0" y="165"/>
                    </a:lnTo>
                    <a:lnTo>
                      <a:pt x="0" y="163"/>
                    </a:lnTo>
                    <a:lnTo>
                      <a:pt x="0" y="161"/>
                    </a:lnTo>
                    <a:lnTo>
                      <a:pt x="0" y="160"/>
                    </a:lnTo>
                    <a:lnTo>
                      <a:pt x="0" y="158"/>
                    </a:lnTo>
                    <a:lnTo>
                      <a:pt x="0" y="156"/>
                    </a:lnTo>
                    <a:lnTo>
                      <a:pt x="2" y="156"/>
                    </a:lnTo>
                    <a:lnTo>
                      <a:pt x="3" y="156"/>
                    </a:lnTo>
                    <a:lnTo>
                      <a:pt x="3" y="154"/>
                    </a:lnTo>
                    <a:lnTo>
                      <a:pt x="5" y="154"/>
                    </a:lnTo>
                    <a:lnTo>
                      <a:pt x="7" y="152"/>
                    </a:lnTo>
                    <a:lnTo>
                      <a:pt x="7" y="150"/>
                    </a:lnTo>
                    <a:lnTo>
                      <a:pt x="9" y="148"/>
                    </a:lnTo>
                    <a:lnTo>
                      <a:pt x="9" y="146"/>
                    </a:lnTo>
                    <a:lnTo>
                      <a:pt x="9" y="144"/>
                    </a:lnTo>
                    <a:lnTo>
                      <a:pt x="11" y="144"/>
                    </a:lnTo>
                    <a:lnTo>
                      <a:pt x="13" y="142"/>
                    </a:lnTo>
                    <a:lnTo>
                      <a:pt x="13" y="140"/>
                    </a:lnTo>
                    <a:lnTo>
                      <a:pt x="13" y="138"/>
                    </a:lnTo>
                    <a:lnTo>
                      <a:pt x="15" y="138"/>
                    </a:lnTo>
                    <a:lnTo>
                      <a:pt x="15" y="136"/>
                    </a:lnTo>
                    <a:lnTo>
                      <a:pt x="13" y="136"/>
                    </a:lnTo>
                    <a:lnTo>
                      <a:pt x="15" y="136"/>
                    </a:lnTo>
                    <a:lnTo>
                      <a:pt x="15" y="135"/>
                    </a:lnTo>
                    <a:lnTo>
                      <a:pt x="15" y="136"/>
                    </a:lnTo>
                    <a:lnTo>
                      <a:pt x="17" y="136"/>
                    </a:lnTo>
                    <a:lnTo>
                      <a:pt x="17" y="135"/>
                    </a:lnTo>
                    <a:lnTo>
                      <a:pt x="17" y="133"/>
                    </a:lnTo>
                    <a:lnTo>
                      <a:pt x="15" y="133"/>
                    </a:lnTo>
                    <a:lnTo>
                      <a:pt x="15" y="131"/>
                    </a:lnTo>
                    <a:lnTo>
                      <a:pt x="17" y="129"/>
                    </a:lnTo>
                    <a:lnTo>
                      <a:pt x="17" y="127"/>
                    </a:lnTo>
                    <a:lnTo>
                      <a:pt x="19" y="127"/>
                    </a:lnTo>
                    <a:lnTo>
                      <a:pt x="19" y="125"/>
                    </a:lnTo>
                    <a:lnTo>
                      <a:pt x="19" y="123"/>
                    </a:lnTo>
                    <a:lnTo>
                      <a:pt x="19" y="121"/>
                    </a:lnTo>
                    <a:lnTo>
                      <a:pt x="19" y="119"/>
                    </a:lnTo>
                    <a:lnTo>
                      <a:pt x="21" y="119"/>
                    </a:lnTo>
                    <a:lnTo>
                      <a:pt x="23" y="119"/>
                    </a:lnTo>
                    <a:lnTo>
                      <a:pt x="23" y="117"/>
                    </a:lnTo>
                    <a:lnTo>
                      <a:pt x="25" y="117"/>
                    </a:lnTo>
                    <a:lnTo>
                      <a:pt x="23" y="117"/>
                    </a:lnTo>
                    <a:lnTo>
                      <a:pt x="25" y="117"/>
                    </a:lnTo>
                    <a:lnTo>
                      <a:pt x="23" y="117"/>
                    </a:lnTo>
                    <a:lnTo>
                      <a:pt x="23" y="115"/>
                    </a:lnTo>
                    <a:lnTo>
                      <a:pt x="23" y="113"/>
                    </a:lnTo>
                    <a:lnTo>
                      <a:pt x="21" y="111"/>
                    </a:lnTo>
                    <a:lnTo>
                      <a:pt x="19" y="111"/>
                    </a:lnTo>
                    <a:lnTo>
                      <a:pt x="17" y="111"/>
                    </a:lnTo>
                    <a:lnTo>
                      <a:pt x="17" y="110"/>
                    </a:lnTo>
                    <a:lnTo>
                      <a:pt x="19" y="110"/>
                    </a:lnTo>
                    <a:lnTo>
                      <a:pt x="19" y="108"/>
                    </a:lnTo>
                    <a:lnTo>
                      <a:pt x="21" y="108"/>
                    </a:lnTo>
                    <a:lnTo>
                      <a:pt x="23" y="108"/>
                    </a:lnTo>
                    <a:lnTo>
                      <a:pt x="23" y="106"/>
                    </a:lnTo>
                    <a:lnTo>
                      <a:pt x="26" y="104"/>
                    </a:lnTo>
                    <a:lnTo>
                      <a:pt x="25" y="104"/>
                    </a:lnTo>
                    <a:lnTo>
                      <a:pt x="26" y="102"/>
                    </a:lnTo>
                    <a:lnTo>
                      <a:pt x="28" y="102"/>
                    </a:lnTo>
                    <a:lnTo>
                      <a:pt x="28" y="100"/>
                    </a:lnTo>
                    <a:lnTo>
                      <a:pt x="30" y="100"/>
                    </a:lnTo>
                    <a:lnTo>
                      <a:pt x="28" y="100"/>
                    </a:lnTo>
                    <a:lnTo>
                      <a:pt x="28" y="98"/>
                    </a:lnTo>
                    <a:lnTo>
                      <a:pt x="30" y="98"/>
                    </a:lnTo>
                    <a:lnTo>
                      <a:pt x="32" y="98"/>
                    </a:lnTo>
                    <a:lnTo>
                      <a:pt x="34" y="98"/>
                    </a:lnTo>
                    <a:lnTo>
                      <a:pt x="36" y="96"/>
                    </a:lnTo>
                    <a:lnTo>
                      <a:pt x="36" y="94"/>
                    </a:lnTo>
                    <a:lnTo>
                      <a:pt x="38" y="94"/>
                    </a:lnTo>
                    <a:lnTo>
                      <a:pt x="40" y="94"/>
                    </a:lnTo>
                    <a:lnTo>
                      <a:pt x="40" y="92"/>
                    </a:lnTo>
                    <a:lnTo>
                      <a:pt x="42" y="90"/>
                    </a:lnTo>
                    <a:lnTo>
                      <a:pt x="42" y="88"/>
                    </a:lnTo>
                    <a:lnTo>
                      <a:pt x="40" y="88"/>
                    </a:lnTo>
                    <a:lnTo>
                      <a:pt x="40" y="86"/>
                    </a:lnTo>
                    <a:lnTo>
                      <a:pt x="42" y="86"/>
                    </a:lnTo>
                    <a:lnTo>
                      <a:pt x="40" y="86"/>
                    </a:lnTo>
                    <a:lnTo>
                      <a:pt x="40" y="85"/>
                    </a:lnTo>
                    <a:lnTo>
                      <a:pt x="40" y="83"/>
                    </a:lnTo>
                    <a:lnTo>
                      <a:pt x="40" y="81"/>
                    </a:lnTo>
                    <a:lnTo>
                      <a:pt x="40" y="79"/>
                    </a:lnTo>
                    <a:lnTo>
                      <a:pt x="38" y="79"/>
                    </a:lnTo>
                    <a:lnTo>
                      <a:pt x="38" y="77"/>
                    </a:lnTo>
                    <a:lnTo>
                      <a:pt x="40" y="77"/>
                    </a:lnTo>
                    <a:lnTo>
                      <a:pt x="40" y="75"/>
                    </a:lnTo>
                    <a:lnTo>
                      <a:pt x="42" y="75"/>
                    </a:lnTo>
                    <a:lnTo>
                      <a:pt x="42" y="73"/>
                    </a:lnTo>
                    <a:lnTo>
                      <a:pt x="44" y="73"/>
                    </a:lnTo>
                    <a:lnTo>
                      <a:pt x="44" y="71"/>
                    </a:lnTo>
                    <a:lnTo>
                      <a:pt x="42" y="71"/>
                    </a:lnTo>
                    <a:lnTo>
                      <a:pt x="40" y="69"/>
                    </a:lnTo>
                    <a:lnTo>
                      <a:pt x="38" y="69"/>
                    </a:lnTo>
                    <a:lnTo>
                      <a:pt x="38" y="67"/>
                    </a:lnTo>
                    <a:lnTo>
                      <a:pt x="40" y="67"/>
                    </a:lnTo>
                    <a:lnTo>
                      <a:pt x="40" y="65"/>
                    </a:lnTo>
                    <a:lnTo>
                      <a:pt x="42" y="65"/>
                    </a:lnTo>
                    <a:lnTo>
                      <a:pt x="44" y="65"/>
                    </a:lnTo>
                    <a:lnTo>
                      <a:pt x="44" y="63"/>
                    </a:lnTo>
                    <a:lnTo>
                      <a:pt x="46" y="61"/>
                    </a:lnTo>
                    <a:lnTo>
                      <a:pt x="48" y="61"/>
                    </a:lnTo>
                    <a:lnTo>
                      <a:pt x="48" y="60"/>
                    </a:lnTo>
                    <a:lnTo>
                      <a:pt x="50" y="60"/>
                    </a:lnTo>
                    <a:lnTo>
                      <a:pt x="50" y="61"/>
                    </a:lnTo>
                    <a:lnTo>
                      <a:pt x="51" y="61"/>
                    </a:lnTo>
                    <a:lnTo>
                      <a:pt x="51" y="60"/>
                    </a:lnTo>
                    <a:lnTo>
                      <a:pt x="53" y="60"/>
                    </a:lnTo>
                    <a:lnTo>
                      <a:pt x="53" y="58"/>
                    </a:lnTo>
                    <a:lnTo>
                      <a:pt x="55" y="58"/>
                    </a:lnTo>
                    <a:lnTo>
                      <a:pt x="57" y="56"/>
                    </a:lnTo>
                    <a:lnTo>
                      <a:pt x="57" y="58"/>
                    </a:lnTo>
                    <a:lnTo>
                      <a:pt x="59" y="58"/>
                    </a:lnTo>
                    <a:lnTo>
                      <a:pt x="59" y="60"/>
                    </a:lnTo>
                    <a:lnTo>
                      <a:pt x="61" y="60"/>
                    </a:lnTo>
                    <a:lnTo>
                      <a:pt x="61" y="61"/>
                    </a:lnTo>
                    <a:lnTo>
                      <a:pt x="63" y="61"/>
                    </a:lnTo>
                    <a:lnTo>
                      <a:pt x="63" y="60"/>
                    </a:lnTo>
                    <a:lnTo>
                      <a:pt x="65" y="60"/>
                    </a:lnTo>
                    <a:lnTo>
                      <a:pt x="65" y="58"/>
                    </a:lnTo>
                    <a:lnTo>
                      <a:pt x="63" y="58"/>
                    </a:lnTo>
                    <a:lnTo>
                      <a:pt x="63" y="56"/>
                    </a:lnTo>
                    <a:lnTo>
                      <a:pt x="65" y="56"/>
                    </a:lnTo>
                    <a:lnTo>
                      <a:pt x="63" y="54"/>
                    </a:lnTo>
                    <a:lnTo>
                      <a:pt x="63" y="52"/>
                    </a:lnTo>
                    <a:lnTo>
                      <a:pt x="65" y="52"/>
                    </a:lnTo>
                    <a:lnTo>
                      <a:pt x="67" y="52"/>
                    </a:lnTo>
                    <a:lnTo>
                      <a:pt x="67" y="50"/>
                    </a:lnTo>
                    <a:lnTo>
                      <a:pt x="67" y="48"/>
                    </a:lnTo>
                    <a:lnTo>
                      <a:pt x="67" y="50"/>
                    </a:lnTo>
                    <a:lnTo>
                      <a:pt x="65" y="50"/>
                    </a:lnTo>
                    <a:lnTo>
                      <a:pt x="65" y="48"/>
                    </a:lnTo>
                    <a:lnTo>
                      <a:pt x="67" y="48"/>
                    </a:lnTo>
                    <a:lnTo>
                      <a:pt x="67" y="46"/>
                    </a:lnTo>
                    <a:lnTo>
                      <a:pt x="69" y="46"/>
                    </a:lnTo>
                    <a:lnTo>
                      <a:pt x="69" y="44"/>
                    </a:lnTo>
                    <a:lnTo>
                      <a:pt x="71" y="42"/>
                    </a:lnTo>
                    <a:lnTo>
                      <a:pt x="71" y="36"/>
                    </a:lnTo>
                    <a:lnTo>
                      <a:pt x="71" y="35"/>
                    </a:lnTo>
                    <a:lnTo>
                      <a:pt x="75" y="31"/>
                    </a:lnTo>
                    <a:lnTo>
                      <a:pt x="78" y="29"/>
                    </a:lnTo>
                    <a:lnTo>
                      <a:pt x="82" y="21"/>
                    </a:lnTo>
                    <a:lnTo>
                      <a:pt x="88" y="13"/>
                    </a:lnTo>
                    <a:lnTo>
                      <a:pt x="90" y="8"/>
                    </a:lnTo>
                    <a:lnTo>
                      <a:pt x="92" y="4"/>
                    </a:lnTo>
                    <a:lnTo>
                      <a:pt x="98" y="2"/>
                    </a:lnTo>
                    <a:lnTo>
                      <a:pt x="101" y="2"/>
                    </a:lnTo>
                    <a:lnTo>
                      <a:pt x="109" y="0"/>
                    </a:lnTo>
                    <a:lnTo>
                      <a:pt x="111" y="0"/>
                    </a:lnTo>
                    <a:lnTo>
                      <a:pt x="113" y="0"/>
                    </a:lnTo>
                    <a:lnTo>
                      <a:pt x="115" y="2"/>
                    </a:lnTo>
                    <a:lnTo>
                      <a:pt x="117" y="2"/>
                    </a:lnTo>
                    <a:lnTo>
                      <a:pt x="117" y="4"/>
                    </a:lnTo>
                    <a:lnTo>
                      <a:pt x="117" y="6"/>
                    </a:lnTo>
                    <a:lnTo>
                      <a:pt x="119" y="6"/>
                    </a:lnTo>
                    <a:lnTo>
                      <a:pt x="119" y="8"/>
                    </a:lnTo>
                    <a:lnTo>
                      <a:pt x="119" y="10"/>
                    </a:lnTo>
                    <a:lnTo>
                      <a:pt x="119" y="11"/>
                    </a:lnTo>
                    <a:lnTo>
                      <a:pt x="119" y="13"/>
                    </a:lnTo>
                    <a:lnTo>
                      <a:pt x="117" y="13"/>
                    </a:lnTo>
                    <a:lnTo>
                      <a:pt x="119" y="13"/>
                    </a:lnTo>
                    <a:lnTo>
                      <a:pt x="119" y="15"/>
                    </a:lnTo>
                    <a:lnTo>
                      <a:pt x="117" y="15"/>
                    </a:lnTo>
                    <a:lnTo>
                      <a:pt x="117" y="17"/>
                    </a:lnTo>
                    <a:lnTo>
                      <a:pt x="117" y="19"/>
                    </a:lnTo>
                    <a:lnTo>
                      <a:pt x="119" y="19"/>
                    </a:lnTo>
                    <a:lnTo>
                      <a:pt x="119" y="17"/>
                    </a:lnTo>
                    <a:lnTo>
                      <a:pt x="119" y="19"/>
                    </a:lnTo>
                    <a:lnTo>
                      <a:pt x="121" y="19"/>
                    </a:lnTo>
                    <a:lnTo>
                      <a:pt x="121" y="17"/>
                    </a:lnTo>
                    <a:lnTo>
                      <a:pt x="121" y="19"/>
                    </a:lnTo>
                    <a:lnTo>
                      <a:pt x="121" y="21"/>
                    </a:lnTo>
                    <a:lnTo>
                      <a:pt x="121" y="19"/>
                    </a:lnTo>
                    <a:lnTo>
                      <a:pt x="123" y="19"/>
                    </a:lnTo>
                    <a:lnTo>
                      <a:pt x="123" y="21"/>
                    </a:lnTo>
                    <a:lnTo>
                      <a:pt x="124" y="21"/>
                    </a:lnTo>
                    <a:lnTo>
                      <a:pt x="124" y="23"/>
                    </a:lnTo>
                    <a:lnTo>
                      <a:pt x="126" y="23"/>
                    </a:lnTo>
                    <a:lnTo>
                      <a:pt x="126" y="25"/>
                    </a:lnTo>
                    <a:lnTo>
                      <a:pt x="128" y="25"/>
                    </a:lnTo>
                    <a:lnTo>
                      <a:pt x="126" y="25"/>
                    </a:lnTo>
                    <a:lnTo>
                      <a:pt x="126" y="27"/>
                    </a:lnTo>
                    <a:lnTo>
                      <a:pt x="128" y="27"/>
                    </a:lnTo>
                    <a:lnTo>
                      <a:pt x="128" y="29"/>
                    </a:lnTo>
                    <a:lnTo>
                      <a:pt x="130" y="31"/>
                    </a:lnTo>
                    <a:lnTo>
                      <a:pt x="130" y="33"/>
                    </a:lnTo>
                    <a:lnTo>
                      <a:pt x="132" y="35"/>
                    </a:lnTo>
                    <a:lnTo>
                      <a:pt x="132" y="33"/>
                    </a:lnTo>
                    <a:lnTo>
                      <a:pt x="132" y="35"/>
                    </a:lnTo>
                    <a:lnTo>
                      <a:pt x="134" y="35"/>
                    </a:lnTo>
                    <a:lnTo>
                      <a:pt x="134" y="33"/>
                    </a:lnTo>
                    <a:lnTo>
                      <a:pt x="134" y="35"/>
                    </a:lnTo>
                    <a:lnTo>
                      <a:pt x="132" y="36"/>
                    </a:lnTo>
                    <a:lnTo>
                      <a:pt x="132" y="38"/>
                    </a:lnTo>
                    <a:lnTo>
                      <a:pt x="130" y="38"/>
                    </a:lnTo>
                    <a:lnTo>
                      <a:pt x="132" y="38"/>
                    </a:lnTo>
                    <a:lnTo>
                      <a:pt x="132" y="40"/>
                    </a:lnTo>
                    <a:lnTo>
                      <a:pt x="132" y="42"/>
                    </a:lnTo>
                    <a:lnTo>
                      <a:pt x="134" y="42"/>
                    </a:lnTo>
                    <a:lnTo>
                      <a:pt x="134" y="44"/>
                    </a:lnTo>
                    <a:lnTo>
                      <a:pt x="134" y="42"/>
                    </a:lnTo>
                    <a:lnTo>
                      <a:pt x="134" y="44"/>
                    </a:lnTo>
                    <a:lnTo>
                      <a:pt x="136" y="44"/>
                    </a:lnTo>
                    <a:lnTo>
                      <a:pt x="134" y="44"/>
                    </a:lnTo>
                    <a:lnTo>
                      <a:pt x="136" y="44"/>
                    </a:lnTo>
                    <a:lnTo>
                      <a:pt x="134" y="46"/>
                    </a:lnTo>
                    <a:lnTo>
                      <a:pt x="134" y="44"/>
                    </a:lnTo>
                    <a:lnTo>
                      <a:pt x="134" y="46"/>
                    </a:lnTo>
                    <a:lnTo>
                      <a:pt x="134" y="48"/>
                    </a:lnTo>
                    <a:lnTo>
                      <a:pt x="132" y="48"/>
                    </a:lnTo>
                    <a:lnTo>
                      <a:pt x="130" y="48"/>
                    </a:lnTo>
                    <a:lnTo>
                      <a:pt x="130" y="50"/>
                    </a:lnTo>
                    <a:lnTo>
                      <a:pt x="132" y="50"/>
                    </a:lnTo>
                    <a:lnTo>
                      <a:pt x="132" y="52"/>
                    </a:lnTo>
                    <a:lnTo>
                      <a:pt x="134" y="52"/>
                    </a:lnTo>
                    <a:lnTo>
                      <a:pt x="132" y="52"/>
                    </a:lnTo>
                    <a:lnTo>
                      <a:pt x="132" y="54"/>
                    </a:lnTo>
                    <a:lnTo>
                      <a:pt x="132" y="52"/>
                    </a:lnTo>
                    <a:lnTo>
                      <a:pt x="130" y="52"/>
                    </a:lnTo>
                    <a:lnTo>
                      <a:pt x="130" y="54"/>
                    </a:lnTo>
                    <a:lnTo>
                      <a:pt x="132" y="54"/>
                    </a:lnTo>
                    <a:lnTo>
                      <a:pt x="132" y="56"/>
                    </a:lnTo>
                    <a:lnTo>
                      <a:pt x="132" y="54"/>
                    </a:lnTo>
                    <a:lnTo>
                      <a:pt x="134" y="54"/>
                    </a:lnTo>
                    <a:lnTo>
                      <a:pt x="134" y="56"/>
                    </a:lnTo>
                    <a:lnTo>
                      <a:pt x="134" y="58"/>
                    </a:lnTo>
                    <a:lnTo>
                      <a:pt x="136" y="58"/>
                    </a:lnTo>
                    <a:lnTo>
                      <a:pt x="136" y="60"/>
                    </a:lnTo>
                    <a:lnTo>
                      <a:pt x="134" y="60"/>
                    </a:lnTo>
                    <a:lnTo>
                      <a:pt x="134" y="61"/>
                    </a:lnTo>
                    <a:lnTo>
                      <a:pt x="132" y="61"/>
                    </a:lnTo>
                    <a:lnTo>
                      <a:pt x="132" y="63"/>
                    </a:lnTo>
                    <a:lnTo>
                      <a:pt x="134" y="65"/>
                    </a:lnTo>
                    <a:lnTo>
                      <a:pt x="136" y="65"/>
                    </a:lnTo>
                    <a:lnTo>
                      <a:pt x="136" y="67"/>
                    </a:lnTo>
                    <a:lnTo>
                      <a:pt x="134" y="67"/>
                    </a:lnTo>
                    <a:lnTo>
                      <a:pt x="136" y="67"/>
                    </a:lnTo>
                    <a:lnTo>
                      <a:pt x="134" y="67"/>
                    </a:lnTo>
                    <a:lnTo>
                      <a:pt x="136" y="67"/>
                    </a:lnTo>
                    <a:lnTo>
                      <a:pt x="134" y="67"/>
                    </a:lnTo>
                    <a:lnTo>
                      <a:pt x="134" y="69"/>
                    </a:lnTo>
                    <a:lnTo>
                      <a:pt x="136" y="69"/>
                    </a:lnTo>
                    <a:lnTo>
                      <a:pt x="138" y="71"/>
                    </a:lnTo>
                    <a:lnTo>
                      <a:pt x="138" y="69"/>
                    </a:lnTo>
                    <a:lnTo>
                      <a:pt x="140" y="6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5" name="Freeform 85"/>
              <p:cNvSpPr>
                <a:spLocks/>
              </p:cNvSpPr>
              <p:nvPr/>
            </p:nvSpPr>
            <p:spPr bwMode="auto">
              <a:xfrm>
                <a:off x="240170" y="3576104"/>
                <a:ext cx="113561" cy="196151"/>
              </a:xfrm>
              <a:custGeom>
                <a:avLst/>
                <a:gdLst>
                  <a:gd name="T0" fmla="*/ 20 w 66"/>
                  <a:gd name="T1" fmla="*/ 14 h 114"/>
                  <a:gd name="T2" fmla="*/ 31 w 66"/>
                  <a:gd name="T3" fmla="*/ 16 h 114"/>
                  <a:gd name="T4" fmla="*/ 33 w 66"/>
                  <a:gd name="T5" fmla="*/ 16 h 114"/>
                  <a:gd name="T6" fmla="*/ 41 w 66"/>
                  <a:gd name="T7" fmla="*/ 12 h 114"/>
                  <a:gd name="T8" fmla="*/ 47 w 66"/>
                  <a:gd name="T9" fmla="*/ 16 h 114"/>
                  <a:gd name="T10" fmla="*/ 47 w 66"/>
                  <a:gd name="T11" fmla="*/ 20 h 114"/>
                  <a:gd name="T12" fmla="*/ 49 w 66"/>
                  <a:gd name="T13" fmla="*/ 20 h 114"/>
                  <a:gd name="T14" fmla="*/ 52 w 66"/>
                  <a:gd name="T15" fmla="*/ 27 h 114"/>
                  <a:gd name="T16" fmla="*/ 58 w 66"/>
                  <a:gd name="T17" fmla="*/ 29 h 114"/>
                  <a:gd name="T18" fmla="*/ 62 w 66"/>
                  <a:gd name="T19" fmla="*/ 29 h 114"/>
                  <a:gd name="T20" fmla="*/ 62 w 66"/>
                  <a:gd name="T21" fmla="*/ 35 h 114"/>
                  <a:gd name="T22" fmla="*/ 64 w 66"/>
                  <a:gd name="T23" fmla="*/ 39 h 114"/>
                  <a:gd name="T24" fmla="*/ 66 w 66"/>
                  <a:gd name="T25" fmla="*/ 43 h 114"/>
                  <a:gd name="T26" fmla="*/ 64 w 66"/>
                  <a:gd name="T27" fmla="*/ 47 h 114"/>
                  <a:gd name="T28" fmla="*/ 64 w 66"/>
                  <a:gd name="T29" fmla="*/ 49 h 114"/>
                  <a:gd name="T30" fmla="*/ 64 w 66"/>
                  <a:gd name="T31" fmla="*/ 56 h 114"/>
                  <a:gd name="T32" fmla="*/ 62 w 66"/>
                  <a:gd name="T33" fmla="*/ 66 h 114"/>
                  <a:gd name="T34" fmla="*/ 60 w 66"/>
                  <a:gd name="T35" fmla="*/ 72 h 114"/>
                  <a:gd name="T36" fmla="*/ 58 w 66"/>
                  <a:gd name="T37" fmla="*/ 79 h 114"/>
                  <a:gd name="T38" fmla="*/ 56 w 66"/>
                  <a:gd name="T39" fmla="*/ 74 h 114"/>
                  <a:gd name="T40" fmla="*/ 58 w 66"/>
                  <a:gd name="T41" fmla="*/ 60 h 114"/>
                  <a:gd name="T42" fmla="*/ 54 w 66"/>
                  <a:gd name="T43" fmla="*/ 58 h 114"/>
                  <a:gd name="T44" fmla="*/ 49 w 66"/>
                  <a:gd name="T45" fmla="*/ 64 h 114"/>
                  <a:gd name="T46" fmla="*/ 47 w 66"/>
                  <a:gd name="T47" fmla="*/ 70 h 114"/>
                  <a:gd name="T48" fmla="*/ 45 w 66"/>
                  <a:gd name="T49" fmla="*/ 75 h 114"/>
                  <a:gd name="T50" fmla="*/ 37 w 66"/>
                  <a:gd name="T51" fmla="*/ 85 h 114"/>
                  <a:gd name="T52" fmla="*/ 33 w 66"/>
                  <a:gd name="T53" fmla="*/ 93 h 114"/>
                  <a:gd name="T54" fmla="*/ 31 w 66"/>
                  <a:gd name="T55" fmla="*/ 99 h 114"/>
                  <a:gd name="T56" fmla="*/ 25 w 66"/>
                  <a:gd name="T57" fmla="*/ 106 h 114"/>
                  <a:gd name="T58" fmla="*/ 20 w 66"/>
                  <a:gd name="T59" fmla="*/ 112 h 114"/>
                  <a:gd name="T60" fmla="*/ 14 w 66"/>
                  <a:gd name="T61" fmla="*/ 112 h 114"/>
                  <a:gd name="T62" fmla="*/ 14 w 66"/>
                  <a:gd name="T63" fmla="*/ 106 h 114"/>
                  <a:gd name="T64" fmla="*/ 10 w 66"/>
                  <a:gd name="T65" fmla="*/ 102 h 114"/>
                  <a:gd name="T66" fmla="*/ 4 w 66"/>
                  <a:gd name="T67" fmla="*/ 95 h 114"/>
                  <a:gd name="T68" fmla="*/ 4 w 66"/>
                  <a:gd name="T69" fmla="*/ 87 h 114"/>
                  <a:gd name="T70" fmla="*/ 8 w 66"/>
                  <a:gd name="T71" fmla="*/ 77 h 114"/>
                  <a:gd name="T72" fmla="*/ 12 w 66"/>
                  <a:gd name="T73" fmla="*/ 77 h 114"/>
                  <a:gd name="T74" fmla="*/ 12 w 66"/>
                  <a:gd name="T75" fmla="*/ 79 h 114"/>
                  <a:gd name="T76" fmla="*/ 14 w 66"/>
                  <a:gd name="T77" fmla="*/ 87 h 114"/>
                  <a:gd name="T78" fmla="*/ 22 w 66"/>
                  <a:gd name="T79" fmla="*/ 83 h 114"/>
                  <a:gd name="T80" fmla="*/ 24 w 66"/>
                  <a:gd name="T81" fmla="*/ 77 h 114"/>
                  <a:gd name="T82" fmla="*/ 25 w 66"/>
                  <a:gd name="T83" fmla="*/ 70 h 114"/>
                  <a:gd name="T84" fmla="*/ 22 w 66"/>
                  <a:gd name="T85" fmla="*/ 70 h 114"/>
                  <a:gd name="T86" fmla="*/ 25 w 66"/>
                  <a:gd name="T87" fmla="*/ 64 h 114"/>
                  <a:gd name="T88" fmla="*/ 29 w 66"/>
                  <a:gd name="T89" fmla="*/ 54 h 114"/>
                  <a:gd name="T90" fmla="*/ 37 w 66"/>
                  <a:gd name="T91" fmla="*/ 50 h 114"/>
                  <a:gd name="T92" fmla="*/ 35 w 66"/>
                  <a:gd name="T93" fmla="*/ 49 h 114"/>
                  <a:gd name="T94" fmla="*/ 41 w 66"/>
                  <a:gd name="T95" fmla="*/ 47 h 114"/>
                  <a:gd name="T96" fmla="*/ 43 w 66"/>
                  <a:gd name="T97" fmla="*/ 43 h 114"/>
                  <a:gd name="T98" fmla="*/ 45 w 66"/>
                  <a:gd name="T99" fmla="*/ 39 h 114"/>
                  <a:gd name="T100" fmla="*/ 43 w 66"/>
                  <a:gd name="T101" fmla="*/ 29 h 114"/>
                  <a:gd name="T102" fmla="*/ 37 w 66"/>
                  <a:gd name="T103" fmla="*/ 27 h 114"/>
                  <a:gd name="T104" fmla="*/ 39 w 66"/>
                  <a:gd name="T105" fmla="*/ 22 h 114"/>
                  <a:gd name="T106" fmla="*/ 33 w 66"/>
                  <a:gd name="T107" fmla="*/ 22 h 114"/>
                  <a:gd name="T108" fmla="*/ 33 w 66"/>
                  <a:gd name="T109" fmla="*/ 27 h 114"/>
                  <a:gd name="T110" fmla="*/ 29 w 66"/>
                  <a:gd name="T111" fmla="*/ 35 h 114"/>
                  <a:gd name="T112" fmla="*/ 24 w 66"/>
                  <a:gd name="T113" fmla="*/ 33 h 114"/>
                  <a:gd name="T114" fmla="*/ 18 w 66"/>
                  <a:gd name="T115" fmla="*/ 27 h 114"/>
                  <a:gd name="T116" fmla="*/ 10 w 66"/>
                  <a:gd name="T117" fmla="*/ 18 h 114"/>
                  <a:gd name="T118" fmla="*/ 8 w 66"/>
                  <a:gd name="T119" fmla="*/ 10 h 114"/>
                  <a:gd name="T120" fmla="*/ 4 w 66"/>
                  <a:gd name="T121" fmla="*/ 4 h 114"/>
                  <a:gd name="T122" fmla="*/ 10 w 66"/>
                  <a:gd name="T123" fmla="*/ 4 h 114"/>
                  <a:gd name="T124" fmla="*/ 14 w 66"/>
                  <a:gd name="T125" fmla="*/ 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 h="114">
                    <a:moveTo>
                      <a:pt x="16" y="10"/>
                    </a:moveTo>
                    <a:lnTo>
                      <a:pt x="16" y="12"/>
                    </a:lnTo>
                    <a:lnTo>
                      <a:pt x="16" y="14"/>
                    </a:lnTo>
                    <a:lnTo>
                      <a:pt x="16" y="12"/>
                    </a:lnTo>
                    <a:lnTo>
                      <a:pt x="18" y="14"/>
                    </a:lnTo>
                    <a:lnTo>
                      <a:pt x="20" y="14"/>
                    </a:lnTo>
                    <a:lnTo>
                      <a:pt x="22" y="16"/>
                    </a:lnTo>
                    <a:lnTo>
                      <a:pt x="24" y="16"/>
                    </a:lnTo>
                    <a:lnTo>
                      <a:pt x="25" y="18"/>
                    </a:lnTo>
                    <a:lnTo>
                      <a:pt x="27" y="18"/>
                    </a:lnTo>
                    <a:lnTo>
                      <a:pt x="29" y="18"/>
                    </a:lnTo>
                    <a:lnTo>
                      <a:pt x="31" y="16"/>
                    </a:lnTo>
                    <a:lnTo>
                      <a:pt x="31" y="14"/>
                    </a:lnTo>
                    <a:lnTo>
                      <a:pt x="31" y="16"/>
                    </a:lnTo>
                    <a:lnTo>
                      <a:pt x="33" y="14"/>
                    </a:lnTo>
                    <a:lnTo>
                      <a:pt x="33" y="16"/>
                    </a:lnTo>
                    <a:lnTo>
                      <a:pt x="33" y="14"/>
                    </a:lnTo>
                    <a:lnTo>
                      <a:pt x="33" y="16"/>
                    </a:lnTo>
                    <a:lnTo>
                      <a:pt x="35" y="14"/>
                    </a:lnTo>
                    <a:lnTo>
                      <a:pt x="37" y="14"/>
                    </a:lnTo>
                    <a:lnTo>
                      <a:pt x="39" y="14"/>
                    </a:lnTo>
                    <a:lnTo>
                      <a:pt x="39" y="12"/>
                    </a:lnTo>
                    <a:lnTo>
                      <a:pt x="41" y="14"/>
                    </a:lnTo>
                    <a:lnTo>
                      <a:pt x="41" y="12"/>
                    </a:lnTo>
                    <a:lnTo>
                      <a:pt x="43" y="12"/>
                    </a:lnTo>
                    <a:lnTo>
                      <a:pt x="45" y="12"/>
                    </a:lnTo>
                    <a:lnTo>
                      <a:pt x="47" y="14"/>
                    </a:lnTo>
                    <a:lnTo>
                      <a:pt x="47" y="16"/>
                    </a:lnTo>
                    <a:lnTo>
                      <a:pt x="47" y="14"/>
                    </a:lnTo>
                    <a:lnTo>
                      <a:pt x="47" y="16"/>
                    </a:lnTo>
                    <a:lnTo>
                      <a:pt x="45" y="16"/>
                    </a:lnTo>
                    <a:lnTo>
                      <a:pt x="45" y="18"/>
                    </a:lnTo>
                    <a:lnTo>
                      <a:pt x="47" y="18"/>
                    </a:lnTo>
                    <a:lnTo>
                      <a:pt x="45" y="18"/>
                    </a:lnTo>
                    <a:lnTo>
                      <a:pt x="47" y="18"/>
                    </a:lnTo>
                    <a:lnTo>
                      <a:pt x="47" y="20"/>
                    </a:lnTo>
                    <a:lnTo>
                      <a:pt x="49" y="20"/>
                    </a:lnTo>
                    <a:lnTo>
                      <a:pt x="47" y="20"/>
                    </a:lnTo>
                    <a:lnTo>
                      <a:pt x="47" y="22"/>
                    </a:lnTo>
                    <a:lnTo>
                      <a:pt x="49" y="20"/>
                    </a:lnTo>
                    <a:lnTo>
                      <a:pt x="49" y="22"/>
                    </a:lnTo>
                    <a:lnTo>
                      <a:pt x="49" y="20"/>
                    </a:lnTo>
                    <a:lnTo>
                      <a:pt x="49" y="22"/>
                    </a:lnTo>
                    <a:lnTo>
                      <a:pt x="49" y="24"/>
                    </a:lnTo>
                    <a:lnTo>
                      <a:pt x="50" y="24"/>
                    </a:lnTo>
                    <a:lnTo>
                      <a:pt x="50" y="25"/>
                    </a:lnTo>
                    <a:lnTo>
                      <a:pt x="52" y="25"/>
                    </a:lnTo>
                    <a:lnTo>
                      <a:pt x="52" y="27"/>
                    </a:lnTo>
                    <a:lnTo>
                      <a:pt x="54" y="27"/>
                    </a:lnTo>
                    <a:lnTo>
                      <a:pt x="56" y="27"/>
                    </a:lnTo>
                    <a:lnTo>
                      <a:pt x="56" y="29"/>
                    </a:lnTo>
                    <a:lnTo>
                      <a:pt x="56" y="27"/>
                    </a:lnTo>
                    <a:lnTo>
                      <a:pt x="56" y="29"/>
                    </a:lnTo>
                    <a:lnTo>
                      <a:pt x="58" y="29"/>
                    </a:lnTo>
                    <a:lnTo>
                      <a:pt x="58" y="27"/>
                    </a:lnTo>
                    <a:lnTo>
                      <a:pt x="58" y="29"/>
                    </a:lnTo>
                    <a:lnTo>
                      <a:pt x="58" y="27"/>
                    </a:lnTo>
                    <a:lnTo>
                      <a:pt x="58" y="29"/>
                    </a:lnTo>
                    <a:lnTo>
                      <a:pt x="60" y="29"/>
                    </a:lnTo>
                    <a:lnTo>
                      <a:pt x="62" y="29"/>
                    </a:lnTo>
                    <a:lnTo>
                      <a:pt x="60" y="29"/>
                    </a:lnTo>
                    <a:lnTo>
                      <a:pt x="62" y="31"/>
                    </a:lnTo>
                    <a:lnTo>
                      <a:pt x="62" y="33"/>
                    </a:lnTo>
                    <a:lnTo>
                      <a:pt x="64" y="33"/>
                    </a:lnTo>
                    <a:lnTo>
                      <a:pt x="64" y="35"/>
                    </a:lnTo>
                    <a:lnTo>
                      <a:pt x="62" y="35"/>
                    </a:lnTo>
                    <a:lnTo>
                      <a:pt x="64" y="35"/>
                    </a:lnTo>
                    <a:lnTo>
                      <a:pt x="62" y="35"/>
                    </a:lnTo>
                    <a:lnTo>
                      <a:pt x="64" y="37"/>
                    </a:lnTo>
                    <a:lnTo>
                      <a:pt x="64" y="35"/>
                    </a:lnTo>
                    <a:lnTo>
                      <a:pt x="64" y="37"/>
                    </a:lnTo>
                    <a:lnTo>
                      <a:pt x="64" y="39"/>
                    </a:lnTo>
                    <a:lnTo>
                      <a:pt x="64" y="37"/>
                    </a:lnTo>
                    <a:lnTo>
                      <a:pt x="64" y="39"/>
                    </a:lnTo>
                    <a:lnTo>
                      <a:pt x="64" y="41"/>
                    </a:lnTo>
                    <a:lnTo>
                      <a:pt x="66" y="41"/>
                    </a:lnTo>
                    <a:lnTo>
                      <a:pt x="64" y="43"/>
                    </a:lnTo>
                    <a:lnTo>
                      <a:pt x="66" y="43"/>
                    </a:lnTo>
                    <a:lnTo>
                      <a:pt x="64" y="43"/>
                    </a:lnTo>
                    <a:lnTo>
                      <a:pt x="66" y="43"/>
                    </a:lnTo>
                    <a:lnTo>
                      <a:pt x="64" y="43"/>
                    </a:lnTo>
                    <a:lnTo>
                      <a:pt x="66" y="45"/>
                    </a:lnTo>
                    <a:lnTo>
                      <a:pt x="64" y="45"/>
                    </a:lnTo>
                    <a:lnTo>
                      <a:pt x="64" y="47"/>
                    </a:lnTo>
                    <a:lnTo>
                      <a:pt x="66" y="45"/>
                    </a:lnTo>
                    <a:lnTo>
                      <a:pt x="66" y="47"/>
                    </a:lnTo>
                    <a:lnTo>
                      <a:pt x="64" y="47"/>
                    </a:lnTo>
                    <a:lnTo>
                      <a:pt x="66" y="47"/>
                    </a:lnTo>
                    <a:lnTo>
                      <a:pt x="64" y="47"/>
                    </a:lnTo>
                    <a:lnTo>
                      <a:pt x="64" y="49"/>
                    </a:lnTo>
                    <a:lnTo>
                      <a:pt x="66" y="50"/>
                    </a:lnTo>
                    <a:lnTo>
                      <a:pt x="64" y="50"/>
                    </a:lnTo>
                    <a:lnTo>
                      <a:pt x="66" y="52"/>
                    </a:lnTo>
                    <a:lnTo>
                      <a:pt x="64" y="52"/>
                    </a:lnTo>
                    <a:lnTo>
                      <a:pt x="64" y="54"/>
                    </a:lnTo>
                    <a:lnTo>
                      <a:pt x="64" y="56"/>
                    </a:lnTo>
                    <a:lnTo>
                      <a:pt x="64" y="58"/>
                    </a:lnTo>
                    <a:lnTo>
                      <a:pt x="64" y="60"/>
                    </a:lnTo>
                    <a:lnTo>
                      <a:pt x="64" y="62"/>
                    </a:lnTo>
                    <a:lnTo>
                      <a:pt x="62" y="62"/>
                    </a:lnTo>
                    <a:lnTo>
                      <a:pt x="62" y="64"/>
                    </a:lnTo>
                    <a:lnTo>
                      <a:pt x="62" y="66"/>
                    </a:lnTo>
                    <a:lnTo>
                      <a:pt x="62" y="68"/>
                    </a:lnTo>
                    <a:lnTo>
                      <a:pt x="60" y="68"/>
                    </a:lnTo>
                    <a:lnTo>
                      <a:pt x="62" y="68"/>
                    </a:lnTo>
                    <a:lnTo>
                      <a:pt x="62" y="70"/>
                    </a:lnTo>
                    <a:lnTo>
                      <a:pt x="62" y="72"/>
                    </a:lnTo>
                    <a:lnTo>
                      <a:pt x="60" y="72"/>
                    </a:lnTo>
                    <a:lnTo>
                      <a:pt x="60" y="74"/>
                    </a:lnTo>
                    <a:lnTo>
                      <a:pt x="58" y="75"/>
                    </a:lnTo>
                    <a:lnTo>
                      <a:pt x="60" y="75"/>
                    </a:lnTo>
                    <a:lnTo>
                      <a:pt x="58" y="75"/>
                    </a:lnTo>
                    <a:lnTo>
                      <a:pt x="58" y="77"/>
                    </a:lnTo>
                    <a:lnTo>
                      <a:pt x="58" y="79"/>
                    </a:lnTo>
                    <a:lnTo>
                      <a:pt x="58" y="81"/>
                    </a:lnTo>
                    <a:lnTo>
                      <a:pt x="52" y="79"/>
                    </a:lnTo>
                    <a:lnTo>
                      <a:pt x="52" y="77"/>
                    </a:lnTo>
                    <a:lnTo>
                      <a:pt x="54" y="77"/>
                    </a:lnTo>
                    <a:lnTo>
                      <a:pt x="56" y="75"/>
                    </a:lnTo>
                    <a:lnTo>
                      <a:pt x="56" y="74"/>
                    </a:lnTo>
                    <a:lnTo>
                      <a:pt x="56" y="72"/>
                    </a:lnTo>
                    <a:lnTo>
                      <a:pt x="58" y="68"/>
                    </a:lnTo>
                    <a:lnTo>
                      <a:pt x="58" y="66"/>
                    </a:lnTo>
                    <a:lnTo>
                      <a:pt x="56" y="66"/>
                    </a:lnTo>
                    <a:lnTo>
                      <a:pt x="60" y="60"/>
                    </a:lnTo>
                    <a:lnTo>
                      <a:pt x="58" y="60"/>
                    </a:lnTo>
                    <a:lnTo>
                      <a:pt x="58" y="58"/>
                    </a:lnTo>
                    <a:lnTo>
                      <a:pt x="60" y="58"/>
                    </a:lnTo>
                    <a:lnTo>
                      <a:pt x="56" y="56"/>
                    </a:lnTo>
                    <a:lnTo>
                      <a:pt x="56" y="58"/>
                    </a:lnTo>
                    <a:lnTo>
                      <a:pt x="54" y="56"/>
                    </a:lnTo>
                    <a:lnTo>
                      <a:pt x="54" y="58"/>
                    </a:lnTo>
                    <a:lnTo>
                      <a:pt x="52" y="58"/>
                    </a:lnTo>
                    <a:lnTo>
                      <a:pt x="52" y="60"/>
                    </a:lnTo>
                    <a:lnTo>
                      <a:pt x="50" y="60"/>
                    </a:lnTo>
                    <a:lnTo>
                      <a:pt x="49" y="60"/>
                    </a:lnTo>
                    <a:lnTo>
                      <a:pt x="49" y="62"/>
                    </a:lnTo>
                    <a:lnTo>
                      <a:pt x="49" y="64"/>
                    </a:lnTo>
                    <a:lnTo>
                      <a:pt x="47" y="64"/>
                    </a:lnTo>
                    <a:lnTo>
                      <a:pt x="47" y="66"/>
                    </a:lnTo>
                    <a:lnTo>
                      <a:pt x="47" y="68"/>
                    </a:lnTo>
                    <a:lnTo>
                      <a:pt x="47" y="70"/>
                    </a:lnTo>
                    <a:lnTo>
                      <a:pt x="47" y="72"/>
                    </a:lnTo>
                    <a:lnTo>
                      <a:pt x="47" y="70"/>
                    </a:lnTo>
                    <a:lnTo>
                      <a:pt x="47" y="72"/>
                    </a:lnTo>
                    <a:lnTo>
                      <a:pt x="45" y="72"/>
                    </a:lnTo>
                    <a:lnTo>
                      <a:pt x="45" y="74"/>
                    </a:lnTo>
                    <a:lnTo>
                      <a:pt x="45" y="75"/>
                    </a:lnTo>
                    <a:lnTo>
                      <a:pt x="43" y="75"/>
                    </a:lnTo>
                    <a:lnTo>
                      <a:pt x="45" y="75"/>
                    </a:lnTo>
                    <a:lnTo>
                      <a:pt x="43" y="81"/>
                    </a:lnTo>
                    <a:lnTo>
                      <a:pt x="43" y="83"/>
                    </a:lnTo>
                    <a:lnTo>
                      <a:pt x="41" y="83"/>
                    </a:lnTo>
                    <a:lnTo>
                      <a:pt x="39" y="83"/>
                    </a:lnTo>
                    <a:lnTo>
                      <a:pt x="39" y="85"/>
                    </a:lnTo>
                    <a:lnTo>
                      <a:pt x="37" y="85"/>
                    </a:lnTo>
                    <a:lnTo>
                      <a:pt x="35" y="85"/>
                    </a:lnTo>
                    <a:lnTo>
                      <a:pt x="35" y="87"/>
                    </a:lnTo>
                    <a:lnTo>
                      <a:pt x="35" y="89"/>
                    </a:lnTo>
                    <a:lnTo>
                      <a:pt x="33" y="89"/>
                    </a:lnTo>
                    <a:lnTo>
                      <a:pt x="33" y="91"/>
                    </a:lnTo>
                    <a:lnTo>
                      <a:pt x="33" y="93"/>
                    </a:lnTo>
                    <a:lnTo>
                      <a:pt x="33" y="95"/>
                    </a:lnTo>
                    <a:lnTo>
                      <a:pt x="31" y="95"/>
                    </a:lnTo>
                    <a:lnTo>
                      <a:pt x="31" y="97"/>
                    </a:lnTo>
                    <a:lnTo>
                      <a:pt x="29" y="97"/>
                    </a:lnTo>
                    <a:lnTo>
                      <a:pt x="31" y="97"/>
                    </a:lnTo>
                    <a:lnTo>
                      <a:pt x="31" y="99"/>
                    </a:lnTo>
                    <a:lnTo>
                      <a:pt x="29" y="99"/>
                    </a:lnTo>
                    <a:lnTo>
                      <a:pt x="29" y="100"/>
                    </a:lnTo>
                    <a:lnTo>
                      <a:pt x="29" y="102"/>
                    </a:lnTo>
                    <a:lnTo>
                      <a:pt x="27" y="104"/>
                    </a:lnTo>
                    <a:lnTo>
                      <a:pt x="27" y="106"/>
                    </a:lnTo>
                    <a:lnTo>
                      <a:pt x="25" y="106"/>
                    </a:lnTo>
                    <a:lnTo>
                      <a:pt x="24" y="106"/>
                    </a:lnTo>
                    <a:lnTo>
                      <a:pt x="24" y="108"/>
                    </a:lnTo>
                    <a:lnTo>
                      <a:pt x="22" y="108"/>
                    </a:lnTo>
                    <a:lnTo>
                      <a:pt x="22" y="110"/>
                    </a:lnTo>
                    <a:lnTo>
                      <a:pt x="20" y="110"/>
                    </a:lnTo>
                    <a:lnTo>
                      <a:pt x="20" y="112"/>
                    </a:lnTo>
                    <a:lnTo>
                      <a:pt x="18" y="112"/>
                    </a:lnTo>
                    <a:lnTo>
                      <a:pt x="18" y="114"/>
                    </a:lnTo>
                    <a:lnTo>
                      <a:pt x="18" y="112"/>
                    </a:lnTo>
                    <a:lnTo>
                      <a:pt x="16" y="114"/>
                    </a:lnTo>
                    <a:lnTo>
                      <a:pt x="14" y="114"/>
                    </a:lnTo>
                    <a:lnTo>
                      <a:pt x="14" y="112"/>
                    </a:lnTo>
                    <a:lnTo>
                      <a:pt x="14" y="110"/>
                    </a:lnTo>
                    <a:lnTo>
                      <a:pt x="12" y="110"/>
                    </a:lnTo>
                    <a:lnTo>
                      <a:pt x="14" y="108"/>
                    </a:lnTo>
                    <a:lnTo>
                      <a:pt x="12" y="108"/>
                    </a:lnTo>
                    <a:lnTo>
                      <a:pt x="12" y="106"/>
                    </a:lnTo>
                    <a:lnTo>
                      <a:pt x="14" y="106"/>
                    </a:lnTo>
                    <a:lnTo>
                      <a:pt x="12" y="106"/>
                    </a:lnTo>
                    <a:lnTo>
                      <a:pt x="12" y="104"/>
                    </a:lnTo>
                    <a:lnTo>
                      <a:pt x="12" y="102"/>
                    </a:lnTo>
                    <a:lnTo>
                      <a:pt x="10" y="102"/>
                    </a:lnTo>
                    <a:lnTo>
                      <a:pt x="10" y="100"/>
                    </a:lnTo>
                    <a:lnTo>
                      <a:pt x="10" y="102"/>
                    </a:lnTo>
                    <a:lnTo>
                      <a:pt x="8" y="100"/>
                    </a:lnTo>
                    <a:lnTo>
                      <a:pt x="8" y="99"/>
                    </a:lnTo>
                    <a:lnTo>
                      <a:pt x="6" y="97"/>
                    </a:lnTo>
                    <a:lnTo>
                      <a:pt x="8" y="97"/>
                    </a:lnTo>
                    <a:lnTo>
                      <a:pt x="6" y="95"/>
                    </a:lnTo>
                    <a:lnTo>
                      <a:pt x="4" y="95"/>
                    </a:lnTo>
                    <a:lnTo>
                      <a:pt x="2" y="95"/>
                    </a:lnTo>
                    <a:lnTo>
                      <a:pt x="2" y="93"/>
                    </a:lnTo>
                    <a:lnTo>
                      <a:pt x="0" y="91"/>
                    </a:lnTo>
                    <a:lnTo>
                      <a:pt x="2" y="89"/>
                    </a:lnTo>
                    <a:lnTo>
                      <a:pt x="2" y="87"/>
                    </a:lnTo>
                    <a:lnTo>
                      <a:pt x="4" y="87"/>
                    </a:lnTo>
                    <a:lnTo>
                      <a:pt x="4" y="85"/>
                    </a:lnTo>
                    <a:lnTo>
                      <a:pt x="6" y="85"/>
                    </a:lnTo>
                    <a:lnTo>
                      <a:pt x="6" y="83"/>
                    </a:lnTo>
                    <a:lnTo>
                      <a:pt x="8" y="81"/>
                    </a:lnTo>
                    <a:lnTo>
                      <a:pt x="8" y="79"/>
                    </a:lnTo>
                    <a:lnTo>
                      <a:pt x="8" y="77"/>
                    </a:lnTo>
                    <a:lnTo>
                      <a:pt x="8" y="75"/>
                    </a:lnTo>
                    <a:lnTo>
                      <a:pt x="10" y="75"/>
                    </a:lnTo>
                    <a:lnTo>
                      <a:pt x="10" y="74"/>
                    </a:lnTo>
                    <a:lnTo>
                      <a:pt x="12" y="75"/>
                    </a:lnTo>
                    <a:lnTo>
                      <a:pt x="14" y="75"/>
                    </a:lnTo>
                    <a:lnTo>
                      <a:pt x="12" y="77"/>
                    </a:lnTo>
                    <a:lnTo>
                      <a:pt x="14" y="75"/>
                    </a:lnTo>
                    <a:lnTo>
                      <a:pt x="14" y="77"/>
                    </a:lnTo>
                    <a:lnTo>
                      <a:pt x="12" y="77"/>
                    </a:lnTo>
                    <a:lnTo>
                      <a:pt x="14" y="77"/>
                    </a:lnTo>
                    <a:lnTo>
                      <a:pt x="14" y="79"/>
                    </a:lnTo>
                    <a:lnTo>
                      <a:pt x="12" y="79"/>
                    </a:lnTo>
                    <a:lnTo>
                      <a:pt x="12" y="81"/>
                    </a:lnTo>
                    <a:lnTo>
                      <a:pt x="14" y="81"/>
                    </a:lnTo>
                    <a:lnTo>
                      <a:pt x="14" y="83"/>
                    </a:lnTo>
                    <a:lnTo>
                      <a:pt x="14" y="85"/>
                    </a:lnTo>
                    <a:lnTo>
                      <a:pt x="12" y="85"/>
                    </a:lnTo>
                    <a:lnTo>
                      <a:pt x="14" y="87"/>
                    </a:lnTo>
                    <a:lnTo>
                      <a:pt x="16" y="87"/>
                    </a:lnTo>
                    <a:lnTo>
                      <a:pt x="18" y="87"/>
                    </a:lnTo>
                    <a:lnTo>
                      <a:pt x="18" y="85"/>
                    </a:lnTo>
                    <a:lnTo>
                      <a:pt x="18" y="83"/>
                    </a:lnTo>
                    <a:lnTo>
                      <a:pt x="20" y="83"/>
                    </a:lnTo>
                    <a:lnTo>
                      <a:pt x="22" y="83"/>
                    </a:lnTo>
                    <a:lnTo>
                      <a:pt x="24" y="81"/>
                    </a:lnTo>
                    <a:lnTo>
                      <a:pt x="24" y="79"/>
                    </a:lnTo>
                    <a:lnTo>
                      <a:pt x="25" y="79"/>
                    </a:lnTo>
                    <a:lnTo>
                      <a:pt x="25" y="77"/>
                    </a:lnTo>
                    <a:lnTo>
                      <a:pt x="24" y="75"/>
                    </a:lnTo>
                    <a:lnTo>
                      <a:pt x="24" y="77"/>
                    </a:lnTo>
                    <a:lnTo>
                      <a:pt x="22" y="75"/>
                    </a:lnTo>
                    <a:lnTo>
                      <a:pt x="24" y="75"/>
                    </a:lnTo>
                    <a:lnTo>
                      <a:pt x="24" y="74"/>
                    </a:lnTo>
                    <a:lnTo>
                      <a:pt x="24" y="72"/>
                    </a:lnTo>
                    <a:lnTo>
                      <a:pt x="25" y="72"/>
                    </a:lnTo>
                    <a:lnTo>
                      <a:pt x="25" y="70"/>
                    </a:lnTo>
                    <a:lnTo>
                      <a:pt x="24" y="70"/>
                    </a:lnTo>
                    <a:lnTo>
                      <a:pt x="24" y="72"/>
                    </a:lnTo>
                    <a:lnTo>
                      <a:pt x="24" y="70"/>
                    </a:lnTo>
                    <a:lnTo>
                      <a:pt x="24" y="68"/>
                    </a:lnTo>
                    <a:lnTo>
                      <a:pt x="22" y="68"/>
                    </a:lnTo>
                    <a:lnTo>
                      <a:pt x="22" y="70"/>
                    </a:lnTo>
                    <a:lnTo>
                      <a:pt x="22" y="68"/>
                    </a:lnTo>
                    <a:lnTo>
                      <a:pt x="22" y="70"/>
                    </a:lnTo>
                    <a:lnTo>
                      <a:pt x="22" y="68"/>
                    </a:lnTo>
                    <a:lnTo>
                      <a:pt x="24" y="66"/>
                    </a:lnTo>
                    <a:lnTo>
                      <a:pt x="24" y="64"/>
                    </a:lnTo>
                    <a:lnTo>
                      <a:pt x="25" y="64"/>
                    </a:lnTo>
                    <a:lnTo>
                      <a:pt x="25" y="62"/>
                    </a:lnTo>
                    <a:lnTo>
                      <a:pt x="27" y="62"/>
                    </a:lnTo>
                    <a:lnTo>
                      <a:pt x="27" y="60"/>
                    </a:lnTo>
                    <a:lnTo>
                      <a:pt x="29" y="58"/>
                    </a:lnTo>
                    <a:lnTo>
                      <a:pt x="29" y="56"/>
                    </a:lnTo>
                    <a:lnTo>
                      <a:pt x="29" y="54"/>
                    </a:lnTo>
                    <a:lnTo>
                      <a:pt x="31" y="54"/>
                    </a:lnTo>
                    <a:lnTo>
                      <a:pt x="33" y="56"/>
                    </a:lnTo>
                    <a:lnTo>
                      <a:pt x="33" y="54"/>
                    </a:lnTo>
                    <a:lnTo>
                      <a:pt x="33" y="52"/>
                    </a:lnTo>
                    <a:lnTo>
                      <a:pt x="35" y="50"/>
                    </a:lnTo>
                    <a:lnTo>
                      <a:pt x="37" y="50"/>
                    </a:lnTo>
                    <a:lnTo>
                      <a:pt x="35" y="50"/>
                    </a:lnTo>
                    <a:lnTo>
                      <a:pt x="37" y="50"/>
                    </a:lnTo>
                    <a:lnTo>
                      <a:pt x="37" y="49"/>
                    </a:lnTo>
                    <a:lnTo>
                      <a:pt x="35" y="49"/>
                    </a:lnTo>
                    <a:lnTo>
                      <a:pt x="37" y="49"/>
                    </a:lnTo>
                    <a:lnTo>
                      <a:pt x="35" y="49"/>
                    </a:lnTo>
                    <a:lnTo>
                      <a:pt x="37" y="49"/>
                    </a:lnTo>
                    <a:lnTo>
                      <a:pt x="37" y="47"/>
                    </a:lnTo>
                    <a:lnTo>
                      <a:pt x="39" y="47"/>
                    </a:lnTo>
                    <a:lnTo>
                      <a:pt x="39" y="49"/>
                    </a:lnTo>
                    <a:lnTo>
                      <a:pt x="43" y="49"/>
                    </a:lnTo>
                    <a:lnTo>
                      <a:pt x="41" y="47"/>
                    </a:lnTo>
                    <a:lnTo>
                      <a:pt x="43" y="45"/>
                    </a:lnTo>
                    <a:lnTo>
                      <a:pt x="41" y="45"/>
                    </a:lnTo>
                    <a:lnTo>
                      <a:pt x="41" y="43"/>
                    </a:lnTo>
                    <a:lnTo>
                      <a:pt x="41" y="41"/>
                    </a:lnTo>
                    <a:lnTo>
                      <a:pt x="43" y="41"/>
                    </a:lnTo>
                    <a:lnTo>
                      <a:pt x="43" y="43"/>
                    </a:lnTo>
                    <a:lnTo>
                      <a:pt x="45" y="43"/>
                    </a:lnTo>
                    <a:lnTo>
                      <a:pt x="43" y="41"/>
                    </a:lnTo>
                    <a:lnTo>
                      <a:pt x="43" y="39"/>
                    </a:lnTo>
                    <a:lnTo>
                      <a:pt x="45" y="39"/>
                    </a:lnTo>
                    <a:lnTo>
                      <a:pt x="43" y="39"/>
                    </a:lnTo>
                    <a:lnTo>
                      <a:pt x="45" y="39"/>
                    </a:lnTo>
                    <a:lnTo>
                      <a:pt x="47" y="35"/>
                    </a:lnTo>
                    <a:lnTo>
                      <a:pt x="45" y="35"/>
                    </a:lnTo>
                    <a:lnTo>
                      <a:pt x="47" y="31"/>
                    </a:lnTo>
                    <a:lnTo>
                      <a:pt x="47" y="29"/>
                    </a:lnTo>
                    <a:lnTo>
                      <a:pt x="45" y="29"/>
                    </a:lnTo>
                    <a:lnTo>
                      <a:pt x="43" y="29"/>
                    </a:lnTo>
                    <a:lnTo>
                      <a:pt x="41" y="27"/>
                    </a:lnTo>
                    <a:lnTo>
                      <a:pt x="41" y="29"/>
                    </a:lnTo>
                    <a:lnTo>
                      <a:pt x="39" y="29"/>
                    </a:lnTo>
                    <a:lnTo>
                      <a:pt x="39" y="27"/>
                    </a:lnTo>
                    <a:lnTo>
                      <a:pt x="39" y="25"/>
                    </a:lnTo>
                    <a:lnTo>
                      <a:pt x="37" y="27"/>
                    </a:lnTo>
                    <a:lnTo>
                      <a:pt x="35" y="27"/>
                    </a:lnTo>
                    <a:lnTo>
                      <a:pt x="35" y="25"/>
                    </a:lnTo>
                    <a:lnTo>
                      <a:pt x="37" y="25"/>
                    </a:lnTo>
                    <a:lnTo>
                      <a:pt x="39" y="25"/>
                    </a:lnTo>
                    <a:lnTo>
                      <a:pt x="39" y="24"/>
                    </a:lnTo>
                    <a:lnTo>
                      <a:pt x="39" y="22"/>
                    </a:lnTo>
                    <a:lnTo>
                      <a:pt x="37" y="22"/>
                    </a:lnTo>
                    <a:lnTo>
                      <a:pt x="37" y="20"/>
                    </a:lnTo>
                    <a:lnTo>
                      <a:pt x="37" y="22"/>
                    </a:lnTo>
                    <a:lnTo>
                      <a:pt x="37" y="20"/>
                    </a:lnTo>
                    <a:lnTo>
                      <a:pt x="35" y="20"/>
                    </a:lnTo>
                    <a:lnTo>
                      <a:pt x="33" y="22"/>
                    </a:lnTo>
                    <a:lnTo>
                      <a:pt x="31" y="22"/>
                    </a:lnTo>
                    <a:lnTo>
                      <a:pt x="33" y="22"/>
                    </a:lnTo>
                    <a:lnTo>
                      <a:pt x="31" y="24"/>
                    </a:lnTo>
                    <a:lnTo>
                      <a:pt x="33" y="24"/>
                    </a:lnTo>
                    <a:lnTo>
                      <a:pt x="33" y="25"/>
                    </a:lnTo>
                    <a:lnTo>
                      <a:pt x="33" y="27"/>
                    </a:lnTo>
                    <a:lnTo>
                      <a:pt x="33" y="29"/>
                    </a:lnTo>
                    <a:lnTo>
                      <a:pt x="33" y="31"/>
                    </a:lnTo>
                    <a:lnTo>
                      <a:pt x="33" y="33"/>
                    </a:lnTo>
                    <a:lnTo>
                      <a:pt x="31" y="33"/>
                    </a:lnTo>
                    <a:lnTo>
                      <a:pt x="29" y="33"/>
                    </a:lnTo>
                    <a:lnTo>
                      <a:pt x="29" y="35"/>
                    </a:lnTo>
                    <a:lnTo>
                      <a:pt x="27" y="35"/>
                    </a:lnTo>
                    <a:lnTo>
                      <a:pt x="27" y="33"/>
                    </a:lnTo>
                    <a:lnTo>
                      <a:pt x="25" y="33"/>
                    </a:lnTo>
                    <a:lnTo>
                      <a:pt x="25" y="31"/>
                    </a:lnTo>
                    <a:lnTo>
                      <a:pt x="25" y="33"/>
                    </a:lnTo>
                    <a:lnTo>
                      <a:pt x="24" y="33"/>
                    </a:lnTo>
                    <a:lnTo>
                      <a:pt x="25" y="31"/>
                    </a:lnTo>
                    <a:lnTo>
                      <a:pt x="22" y="29"/>
                    </a:lnTo>
                    <a:lnTo>
                      <a:pt x="22" y="31"/>
                    </a:lnTo>
                    <a:lnTo>
                      <a:pt x="22" y="29"/>
                    </a:lnTo>
                    <a:lnTo>
                      <a:pt x="20" y="27"/>
                    </a:lnTo>
                    <a:lnTo>
                      <a:pt x="18" y="27"/>
                    </a:lnTo>
                    <a:lnTo>
                      <a:pt x="16" y="24"/>
                    </a:lnTo>
                    <a:lnTo>
                      <a:pt x="14" y="24"/>
                    </a:lnTo>
                    <a:lnTo>
                      <a:pt x="12" y="24"/>
                    </a:lnTo>
                    <a:lnTo>
                      <a:pt x="12" y="22"/>
                    </a:lnTo>
                    <a:lnTo>
                      <a:pt x="10" y="20"/>
                    </a:lnTo>
                    <a:lnTo>
                      <a:pt x="10" y="18"/>
                    </a:lnTo>
                    <a:lnTo>
                      <a:pt x="8" y="16"/>
                    </a:lnTo>
                    <a:lnTo>
                      <a:pt x="8" y="14"/>
                    </a:lnTo>
                    <a:lnTo>
                      <a:pt x="6" y="14"/>
                    </a:lnTo>
                    <a:lnTo>
                      <a:pt x="8" y="14"/>
                    </a:lnTo>
                    <a:lnTo>
                      <a:pt x="8" y="12"/>
                    </a:lnTo>
                    <a:lnTo>
                      <a:pt x="8" y="10"/>
                    </a:lnTo>
                    <a:lnTo>
                      <a:pt x="6" y="10"/>
                    </a:lnTo>
                    <a:lnTo>
                      <a:pt x="6" y="8"/>
                    </a:lnTo>
                    <a:lnTo>
                      <a:pt x="8" y="8"/>
                    </a:lnTo>
                    <a:lnTo>
                      <a:pt x="6" y="8"/>
                    </a:lnTo>
                    <a:lnTo>
                      <a:pt x="2" y="6"/>
                    </a:lnTo>
                    <a:lnTo>
                      <a:pt x="4" y="4"/>
                    </a:lnTo>
                    <a:lnTo>
                      <a:pt x="6" y="2"/>
                    </a:lnTo>
                    <a:lnTo>
                      <a:pt x="8" y="0"/>
                    </a:lnTo>
                    <a:lnTo>
                      <a:pt x="8" y="2"/>
                    </a:lnTo>
                    <a:lnTo>
                      <a:pt x="10" y="2"/>
                    </a:lnTo>
                    <a:lnTo>
                      <a:pt x="8" y="4"/>
                    </a:lnTo>
                    <a:lnTo>
                      <a:pt x="10" y="4"/>
                    </a:lnTo>
                    <a:lnTo>
                      <a:pt x="8" y="4"/>
                    </a:lnTo>
                    <a:lnTo>
                      <a:pt x="8" y="6"/>
                    </a:lnTo>
                    <a:lnTo>
                      <a:pt x="10" y="6"/>
                    </a:lnTo>
                    <a:lnTo>
                      <a:pt x="12" y="8"/>
                    </a:lnTo>
                    <a:lnTo>
                      <a:pt x="12" y="6"/>
                    </a:lnTo>
                    <a:lnTo>
                      <a:pt x="14" y="6"/>
                    </a:lnTo>
                    <a:lnTo>
                      <a:pt x="14" y="8"/>
                    </a:lnTo>
                    <a:lnTo>
                      <a:pt x="16" y="8"/>
                    </a:lnTo>
                    <a:lnTo>
                      <a:pt x="14" y="8"/>
                    </a:lnTo>
                    <a:lnTo>
                      <a:pt x="14" y="10"/>
                    </a:lnTo>
                    <a:lnTo>
                      <a:pt x="16" y="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6" name="Freeform 86"/>
              <p:cNvSpPr>
                <a:spLocks/>
              </p:cNvSpPr>
              <p:nvPr/>
            </p:nvSpPr>
            <p:spPr bwMode="auto">
              <a:xfrm>
                <a:off x="3278795" y="3746446"/>
                <a:ext cx="363052" cy="426715"/>
              </a:xfrm>
              <a:custGeom>
                <a:avLst/>
                <a:gdLst>
                  <a:gd name="T0" fmla="*/ 131 w 211"/>
                  <a:gd name="T1" fmla="*/ 11 h 248"/>
                  <a:gd name="T2" fmla="*/ 142 w 211"/>
                  <a:gd name="T3" fmla="*/ 15 h 248"/>
                  <a:gd name="T4" fmla="*/ 158 w 211"/>
                  <a:gd name="T5" fmla="*/ 15 h 248"/>
                  <a:gd name="T6" fmla="*/ 167 w 211"/>
                  <a:gd name="T7" fmla="*/ 23 h 248"/>
                  <a:gd name="T8" fmla="*/ 165 w 211"/>
                  <a:gd name="T9" fmla="*/ 36 h 248"/>
                  <a:gd name="T10" fmla="*/ 154 w 211"/>
                  <a:gd name="T11" fmla="*/ 46 h 248"/>
                  <a:gd name="T12" fmla="*/ 144 w 211"/>
                  <a:gd name="T13" fmla="*/ 63 h 248"/>
                  <a:gd name="T14" fmla="*/ 154 w 211"/>
                  <a:gd name="T15" fmla="*/ 69 h 248"/>
                  <a:gd name="T16" fmla="*/ 144 w 211"/>
                  <a:gd name="T17" fmla="*/ 80 h 248"/>
                  <a:gd name="T18" fmla="*/ 156 w 211"/>
                  <a:gd name="T19" fmla="*/ 92 h 248"/>
                  <a:gd name="T20" fmla="*/ 169 w 211"/>
                  <a:gd name="T21" fmla="*/ 94 h 248"/>
                  <a:gd name="T22" fmla="*/ 177 w 211"/>
                  <a:gd name="T23" fmla="*/ 78 h 248"/>
                  <a:gd name="T24" fmla="*/ 183 w 211"/>
                  <a:gd name="T25" fmla="*/ 99 h 248"/>
                  <a:gd name="T26" fmla="*/ 186 w 211"/>
                  <a:gd name="T27" fmla="*/ 119 h 248"/>
                  <a:gd name="T28" fmla="*/ 196 w 211"/>
                  <a:gd name="T29" fmla="*/ 128 h 248"/>
                  <a:gd name="T30" fmla="*/ 204 w 211"/>
                  <a:gd name="T31" fmla="*/ 149 h 248"/>
                  <a:gd name="T32" fmla="*/ 204 w 211"/>
                  <a:gd name="T33" fmla="*/ 163 h 248"/>
                  <a:gd name="T34" fmla="*/ 194 w 211"/>
                  <a:gd name="T35" fmla="*/ 165 h 248"/>
                  <a:gd name="T36" fmla="*/ 198 w 211"/>
                  <a:gd name="T37" fmla="*/ 176 h 248"/>
                  <a:gd name="T38" fmla="*/ 200 w 211"/>
                  <a:gd name="T39" fmla="*/ 194 h 248"/>
                  <a:gd name="T40" fmla="*/ 204 w 211"/>
                  <a:gd name="T41" fmla="*/ 203 h 248"/>
                  <a:gd name="T42" fmla="*/ 192 w 211"/>
                  <a:gd name="T43" fmla="*/ 213 h 248"/>
                  <a:gd name="T44" fmla="*/ 184 w 211"/>
                  <a:gd name="T45" fmla="*/ 215 h 248"/>
                  <a:gd name="T46" fmla="*/ 177 w 211"/>
                  <a:gd name="T47" fmla="*/ 224 h 248"/>
                  <a:gd name="T48" fmla="*/ 169 w 211"/>
                  <a:gd name="T49" fmla="*/ 224 h 248"/>
                  <a:gd name="T50" fmla="*/ 154 w 211"/>
                  <a:gd name="T51" fmla="*/ 221 h 248"/>
                  <a:gd name="T52" fmla="*/ 144 w 211"/>
                  <a:gd name="T53" fmla="*/ 226 h 248"/>
                  <a:gd name="T54" fmla="*/ 138 w 211"/>
                  <a:gd name="T55" fmla="*/ 242 h 248"/>
                  <a:gd name="T56" fmla="*/ 119 w 211"/>
                  <a:gd name="T57" fmla="*/ 244 h 248"/>
                  <a:gd name="T58" fmla="*/ 111 w 211"/>
                  <a:gd name="T59" fmla="*/ 242 h 248"/>
                  <a:gd name="T60" fmla="*/ 102 w 211"/>
                  <a:gd name="T61" fmla="*/ 234 h 248"/>
                  <a:gd name="T62" fmla="*/ 96 w 211"/>
                  <a:gd name="T63" fmla="*/ 219 h 248"/>
                  <a:gd name="T64" fmla="*/ 88 w 211"/>
                  <a:gd name="T65" fmla="*/ 211 h 248"/>
                  <a:gd name="T66" fmla="*/ 94 w 211"/>
                  <a:gd name="T67" fmla="*/ 196 h 248"/>
                  <a:gd name="T68" fmla="*/ 87 w 211"/>
                  <a:gd name="T69" fmla="*/ 201 h 248"/>
                  <a:gd name="T70" fmla="*/ 73 w 211"/>
                  <a:gd name="T71" fmla="*/ 213 h 248"/>
                  <a:gd name="T72" fmla="*/ 62 w 211"/>
                  <a:gd name="T73" fmla="*/ 213 h 248"/>
                  <a:gd name="T74" fmla="*/ 54 w 211"/>
                  <a:gd name="T75" fmla="*/ 209 h 248"/>
                  <a:gd name="T76" fmla="*/ 37 w 211"/>
                  <a:gd name="T77" fmla="*/ 203 h 248"/>
                  <a:gd name="T78" fmla="*/ 33 w 211"/>
                  <a:gd name="T79" fmla="*/ 188 h 248"/>
                  <a:gd name="T80" fmla="*/ 31 w 211"/>
                  <a:gd name="T81" fmla="*/ 176 h 248"/>
                  <a:gd name="T82" fmla="*/ 25 w 211"/>
                  <a:gd name="T83" fmla="*/ 165 h 248"/>
                  <a:gd name="T84" fmla="*/ 12 w 211"/>
                  <a:gd name="T85" fmla="*/ 157 h 248"/>
                  <a:gd name="T86" fmla="*/ 6 w 211"/>
                  <a:gd name="T87" fmla="*/ 146 h 248"/>
                  <a:gd name="T88" fmla="*/ 2 w 211"/>
                  <a:gd name="T89" fmla="*/ 128 h 248"/>
                  <a:gd name="T90" fmla="*/ 17 w 211"/>
                  <a:gd name="T91" fmla="*/ 123 h 248"/>
                  <a:gd name="T92" fmla="*/ 17 w 211"/>
                  <a:gd name="T93" fmla="*/ 111 h 248"/>
                  <a:gd name="T94" fmla="*/ 10 w 211"/>
                  <a:gd name="T95" fmla="*/ 105 h 248"/>
                  <a:gd name="T96" fmla="*/ 2 w 211"/>
                  <a:gd name="T97" fmla="*/ 96 h 248"/>
                  <a:gd name="T98" fmla="*/ 8 w 211"/>
                  <a:gd name="T99" fmla="*/ 94 h 248"/>
                  <a:gd name="T100" fmla="*/ 21 w 211"/>
                  <a:gd name="T101" fmla="*/ 82 h 248"/>
                  <a:gd name="T102" fmla="*/ 38 w 211"/>
                  <a:gd name="T103" fmla="*/ 73 h 248"/>
                  <a:gd name="T104" fmla="*/ 50 w 211"/>
                  <a:gd name="T105" fmla="*/ 71 h 248"/>
                  <a:gd name="T106" fmla="*/ 58 w 211"/>
                  <a:gd name="T107" fmla="*/ 65 h 248"/>
                  <a:gd name="T108" fmla="*/ 69 w 211"/>
                  <a:gd name="T109" fmla="*/ 55 h 248"/>
                  <a:gd name="T110" fmla="*/ 75 w 211"/>
                  <a:gd name="T111" fmla="*/ 42 h 248"/>
                  <a:gd name="T112" fmla="*/ 79 w 211"/>
                  <a:gd name="T113" fmla="*/ 34 h 248"/>
                  <a:gd name="T114" fmla="*/ 87 w 211"/>
                  <a:gd name="T115" fmla="*/ 40 h 248"/>
                  <a:gd name="T116" fmla="*/ 96 w 211"/>
                  <a:gd name="T117" fmla="*/ 34 h 248"/>
                  <a:gd name="T118" fmla="*/ 110 w 211"/>
                  <a:gd name="T119" fmla="*/ 28 h 248"/>
                  <a:gd name="T120" fmla="*/ 108 w 211"/>
                  <a:gd name="T121" fmla="*/ 15 h 248"/>
                  <a:gd name="T122" fmla="*/ 113 w 211"/>
                  <a:gd name="T123" fmla="*/ 1 h 248"/>
                  <a:gd name="T124" fmla="*/ 123 w 211"/>
                  <a:gd name="T125" fmla="*/ 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48">
                    <a:moveTo>
                      <a:pt x="123" y="3"/>
                    </a:moveTo>
                    <a:lnTo>
                      <a:pt x="125" y="3"/>
                    </a:lnTo>
                    <a:lnTo>
                      <a:pt x="125" y="5"/>
                    </a:lnTo>
                    <a:lnTo>
                      <a:pt x="127" y="5"/>
                    </a:lnTo>
                    <a:lnTo>
                      <a:pt x="129" y="5"/>
                    </a:lnTo>
                    <a:lnTo>
                      <a:pt x="131" y="5"/>
                    </a:lnTo>
                    <a:lnTo>
                      <a:pt x="131" y="7"/>
                    </a:lnTo>
                    <a:lnTo>
                      <a:pt x="133" y="7"/>
                    </a:lnTo>
                    <a:lnTo>
                      <a:pt x="131" y="7"/>
                    </a:lnTo>
                    <a:lnTo>
                      <a:pt x="131" y="9"/>
                    </a:lnTo>
                    <a:lnTo>
                      <a:pt x="131" y="11"/>
                    </a:lnTo>
                    <a:lnTo>
                      <a:pt x="133" y="11"/>
                    </a:lnTo>
                    <a:lnTo>
                      <a:pt x="135" y="13"/>
                    </a:lnTo>
                    <a:lnTo>
                      <a:pt x="136" y="13"/>
                    </a:lnTo>
                    <a:lnTo>
                      <a:pt x="138" y="13"/>
                    </a:lnTo>
                    <a:lnTo>
                      <a:pt x="138" y="15"/>
                    </a:lnTo>
                    <a:lnTo>
                      <a:pt x="138" y="13"/>
                    </a:lnTo>
                    <a:lnTo>
                      <a:pt x="140" y="13"/>
                    </a:lnTo>
                    <a:lnTo>
                      <a:pt x="140" y="15"/>
                    </a:lnTo>
                    <a:lnTo>
                      <a:pt x="140" y="17"/>
                    </a:lnTo>
                    <a:lnTo>
                      <a:pt x="142" y="17"/>
                    </a:lnTo>
                    <a:lnTo>
                      <a:pt x="142" y="15"/>
                    </a:lnTo>
                    <a:lnTo>
                      <a:pt x="144" y="15"/>
                    </a:lnTo>
                    <a:lnTo>
                      <a:pt x="144" y="13"/>
                    </a:lnTo>
                    <a:lnTo>
                      <a:pt x="146" y="13"/>
                    </a:lnTo>
                    <a:lnTo>
                      <a:pt x="148" y="13"/>
                    </a:lnTo>
                    <a:lnTo>
                      <a:pt x="148" y="11"/>
                    </a:lnTo>
                    <a:lnTo>
                      <a:pt x="150" y="11"/>
                    </a:lnTo>
                    <a:lnTo>
                      <a:pt x="152" y="11"/>
                    </a:lnTo>
                    <a:lnTo>
                      <a:pt x="154" y="11"/>
                    </a:lnTo>
                    <a:lnTo>
                      <a:pt x="154" y="13"/>
                    </a:lnTo>
                    <a:lnTo>
                      <a:pt x="156" y="15"/>
                    </a:lnTo>
                    <a:lnTo>
                      <a:pt x="158" y="15"/>
                    </a:lnTo>
                    <a:lnTo>
                      <a:pt x="158" y="17"/>
                    </a:lnTo>
                    <a:lnTo>
                      <a:pt x="160" y="19"/>
                    </a:lnTo>
                    <a:lnTo>
                      <a:pt x="161" y="21"/>
                    </a:lnTo>
                    <a:lnTo>
                      <a:pt x="163" y="19"/>
                    </a:lnTo>
                    <a:lnTo>
                      <a:pt x="165" y="17"/>
                    </a:lnTo>
                    <a:lnTo>
                      <a:pt x="167" y="17"/>
                    </a:lnTo>
                    <a:lnTo>
                      <a:pt x="167" y="19"/>
                    </a:lnTo>
                    <a:lnTo>
                      <a:pt x="169" y="19"/>
                    </a:lnTo>
                    <a:lnTo>
                      <a:pt x="169" y="21"/>
                    </a:lnTo>
                    <a:lnTo>
                      <a:pt x="167" y="21"/>
                    </a:lnTo>
                    <a:lnTo>
                      <a:pt x="167" y="23"/>
                    </a:lnTo>
                    <a:lnTo>
                      <a:pt x="167" y="25"/>
                    </a:lnTo>
                    <a:lnTo>
                      <a:pt x="169" y="25"/>
                    </a:lnTo>
                    <a:lnTo>
                      <a:pt x="169" y="26"/>
                    </a:lnTo>
                    <a:lnTo>
                      <a:pt x="167" y="26"/>
                    </a:lnTo>
                    <a:lnTo>
                      <a:pt x="167" y="28"/>
                    </a:lnTo>
                    <a:lnTo>
                      <a:pt x="167" y="30"/>
                    </a:lnTo>
                    <a:lnTo>
                      <a:pt x="165" y="30"/>
                    </a:lnTo>
                    <a:lnTo>
                      <a:pt x="167" y="32"/>
                    </a:lnTo>
                    <a:lnTo>
                      <a:pt x="165" y="32"/>
                    </a:lnTo>
                    <a:lnTo>
                      <a:pt x="165" y="34"/>
                    </a:lnTo>
                    <a:lnTo>
                      <a:pt x="165" y="36"/>
                    </a:lnTo>
                    <a:lnTo>
                      <a:pt x="165" y="38"/>
                    </a:lnTo>
                    <a:lnTo>
                      <a:pt x="165" y="40"/>
                    </a:lnTo>
                    <a:lnTo>
                      <a:pt x="161" y="40"/>
                    </a:lnTo>
                    <a:lnTo>
                      <a:pt x="161" y="42"/>
                    </a:lnTo>
                    <a:lnTo>
                      <a:pt x="160" y="42"/>
                    </a:lnTo>
                    <a:lnTo>
                      <a:pt x="160" y="44"/>
                    </a:lnTo>
                    <a:lnTo>
                      <a:pt x="158" y="44"/>
                    </a:lnTo>
                    <a:lnTo>
                      <a:pt x="158" y="42"/>
                    </a:lnTo>
                    <a:lnTo>
                      <a:pt x="156" y="44"/>
                    </a:lnTo>
                    <a:lnTo>
                      <a:pt x="154" y="44"/>
                    </a:lnTo>
                    <a:lnTo>
                      <a:pt x="154" y="46"/>
                    </a:lnTo>
                    <a:lnTo>
                      <a:pt x="154" y="48"/>
                    </a:lnTo>
                    <a:lnTo>
                      <a:pt x="152" y="48"/>
                    </a:lnTo>
                    <a:lnTo>
                      <a:pt x="150" y="50"/>
                    </a:lnTo>
                    <a:lnTo>
                      <a:pt x="150" y="51"/>
                    </a:lnTo>
                    <a:lnTo>
                      <a:pt x="150" y="53"/>
                    </a:lnTo>
                    <a:lnTo>
                      <a:pt x="148" y="55"/>
                    </a:lnTo>
                    <a:lnTo>
                      <a:pt x="148" y="57"/>
                    </a:lnTo>
                    <a:lnTo>
                      <a:pt x="146" y="59"/>
                    </a:lnTo>
                    <a:lnTo>
                      <a:pt x="144" y="59"/>
                    </a:lnTo>
                    <a:lnTo>
                      <a:pt x="144" y="61"/>
                    </a:lnTo>
                    <a:lnTo>
                      <a:pt x="144" y="63"/>
                    </a:lnTo>
                    <a:lnTo>
                      <a:pt x="146" y="63"/>
                    </a:lnTo>
                    <a:lnTo>
                      <a:pt x="146" y="61"/>
                    </a:lnTo>
                    <a:lnTo>
                      <a:pt x="148" y="61"/>
                    </a:lnTo>
                    <a:lnTo>
                      <a:pt x="148" y="63"/>
                    </a:lnTo>
                    <a:lnTo>
                      <a:pt x="150" y="65"/>
                    </a:lnTo>
                    <a:lnTo>
                      <a:pt x="150" y="63"/>
                    </a:lnTo>
                    <a:lnTo>
                      <a:pt x="152" y="63"/>
                    </a:lnTo>
                    <a:lnTo>
                      <a:pt x="154" y="63"/>
                    </a:lnTo>
                    <a:lnTo>
                      <a:pt x="154" y="65"/>
                    </a:lnTo>
                    <a:lnTo>
                      <a:pt x="154" y="67"/>
                    </a:lnTo>
                    <a:lnTo>
                      <a:pt x="154" y="69"/>
                    </a:lnTo>
                    <a:lnTo>
                      <a:pt x="152" y="69"/>
                    </a:lnTo>
                    <a:lnTo>
                      <a:pt x="152" y="71"/>
                    </a:lnTo>
                    <a:lnTo>
                      <a:pt x="150" y="71"/>
                    </a:lnTo>
                    <a:lnTo>
                      <a:pt x="150" y="73"/>
                    </a:lnTo>
                    <a:lnTo>
                      <a:pt x="150" y="75"/>
                    </a:lnTo>
                    <a:lnTo>
                      <a:pt x="150" y="76"/>
                    </a:lnTo>
                    <a:lnTo>
                      <a:pt x="148" y="76"/>
                    </a:lnTo>
                    <a:lnTo>
                      <a:pt x="146" y="76"/>
                    </a:lnTo>
                    <a:lnTo>
                      <a:pt x="146" y="78"/>
                    </a:lnTo>
                    <a:lnTo>
                      <a:pt x="144" y="78"/>
                    </a:lnTo>
                    <a:lnTo>
                      <a:pt x="144" y="80"/>
                    </a:lnTo>
                    <a:lnTo>
                      <a:pt x="146" y="82"/>
                    </a:lnTo>
                    <a:lnTo>
                      <a:pt x="146" y="84"/>
                    </a:lnTo>
                    <a:lnTo>
                      <a:pt x="148" y="84"/>
                    </a:lnTo>
                    <a:lnTo>
                      <a:pt x="150" y="84"/>
                    </a:lnTo>
                    <a:lnTo>
                      <a:pt x="152" y="86"/>
                    </a:lnTo>
                    <a:lnTo>
                      <a:pt x="154" y="86"/>
                    </a:lnTo>
                    <a:lnTo>
                      <a:pt x="154" y="88"/>
                    </a:lnTo>
                    <a:lnTo>
                      <a:pt x="152" y="90"/>
                    </a:lnTo>
                    <a:lnTo>
                      <a:pt x="154" y="90"/>
                    </a:lnTo>
                    <a:lnTo>
                      <a:pt x="154" y="92"/>
                    </a:lnTo>
                    <a:lnTo>
                      <a:pt x="156" y="92"/>
                    </a:lnTo>
                    <a:lnTo>
                      <a:pt x="158" y="92"/>
                    </a:lnTo>
                    <a:lnTo>
                      <a:pt x="158" y="94"/>
                    </a:lnTo>
                    <a:lnTo>
                      <a:pt x="160" y="94"/>
                    </a:lnTo>
                    <a:lnTo>
                      <a:pt x="160" y="96"/>
                    </a:lnTo>
                    <a:lnTo>
                      <a:pt x="161" y="96"/>
                    </a:lnTo>
                    <a:lnTo>
                      <a:pt x="163" y="98"/>
                    </a:lnTo>
                    <a:lnTo>
                      <a:pt x="165" y="96"/>
                    </a:lnTo>
                    <a:lnTo>
                      <a:pt x="165" y="98"/>
                    </a:lnTo>
                    <a:lnTo>
                      <a:pt x="167" y="96"/>
                    </a:lnTo>
                    <a:lnTo>
                      <a:pt x="169" y="96"/>
                    </a:lnTo>
                    <a:lnTo>
                      <a:pt x="169" y="94"/>
                    </a:lnTo>
                    <a:lnTo>
                      <a:pt x="171" y="94"/>
                    </a:lnTo>
                    <a:lnTo>
                      <a:pt x="171" y="92"/>
                    </a:lnTo>
                    <a:lnTo>
                      <a:pt x="173" y="92"/>
                    </a:lnTo>
                    <a:lnTo>
                      <a:pt x="173" y="90"/>
                    </a:lnTo>
                    <a:lnTo>
                      <a:pt x="173" y="88"/>
                    </a:lnTo>
                    <a:lnTo>
                      <a:pt x="173" y="84"/>
                    </a:lnTo>
                    <a:lnTo>
                      <a:pt x="173" y="82"/>
                    </a:lnTo>
                    <a:lnTo>
                      <a:pt x="173" y="80"/>
                    </a:lnTo>
                    <a:lnTo>
                      <a:pt x="175" y="80"/>
                    </a:lnTo>
                    <a:lnTo>
                      <a:pt x="175" y="78"/>
                    </a:lnTo>
                    <a:lnTo>
                      <a:pt x="177" y="78"/>
                    </a:lnTo>
                    <a:lnTo>
                      <a:pt x="177" y="80"/>
                    </a:lnTo>
                    <a:lnTo>
                      <a:pt x="179" y="82"/>
                    </a:lnTo>
                    <a:lnTo>
                      <a:pt x="179" y="84"/>
                    </a:lnTo>
                    <a:lnTo>
                      <a:pt x="181" y="86"/>
                    </a:lnTo>
                    <a:lnTo>
                      <a:pt x="183" y="86"/>
                    </a:lnTo>
                    <a:lnTo>
                      <a:pt x="183" y="88"/>
                    </a:lnTo>
                    <a:lnTo>
                      <a:pt x="184" y="92"/>
                    </a:lnTo>
                    <a:lnTo>
                      <a:pt x="183" y="94"/>
                    </a:lnTo>
                    <a:lnTo>
                      <a:pt x="184" y="96"/>
                    </a:lnTo>
                    <a:lnTo>
                      <a:pt x="183" y="98"/>
                    </a:lnTo>
                    <a:lnTo>
                      <a:pt x="183" y="99"/>
                    </a:lnTo>
                    <a:lnTo>
                      <a:pt x="183" y="101"/>
                    </a:lnTo>
                    <a:lnTo>
                      <a:pt x="183" y="105"/>
                    </a:lnTo>
                    <a:lnTo>
                      <a:pt x="184" y="105"/>
                    </a:lnTo>
                    <a:lnTo>
                      <a:pt x="184" y="107"/>
                    </a:lnTo>
                    <a:lnTo>
                      <a:pt x="184" y="109"/>
                    </a:lnTo>
                    <a:lnTo>
                      <a:pt x="184" y="111"/>
                    </a:lnTo>
                    <a:lnTo>
                      <a:pt x="184" y="113"/>
                    </a:lnTo>
                    <a:lnTo>
                      <a:pt x="184" y="115"/>
                    </a:lnTo>
                    <a:lnTo>
                      <a:pt x="184" y="117"/>
                    </a:lnTo>
                    <a:lnTo>
                      <a:pt x="186" y="117"/>
                    </a:lnTo>
                    <a:lnTo>
                      <a:pt x="186" y="119"/>
                    </a:lnTo>
                    <a:lnTo>
                      <a:pt x="188" y="119"/>
                    </a:lnTo>
                    <a:lnTo>
                      <a:pt x="188" y="121"/>
                    </a:lnTo>
                    <a:lnTo>
                      <a:pt x="190" y="121"/>
                    </a:lnTo>
                    <a:lnTo>
                      <a:pt x="190" y="123"/>
                    </a:lnTo>
                    <a:lnTo>
                      <a:pt x="192" y="124"/>
                    </a:lnTo>
                    <a:lnTo>
                      <a:pt x="192" y="126"/>
                    </a:lnTo>
                    <a:lnTo>
                      <a:pt x="192" y="128"/>
                    </a:lnTo>
                    <a:lnTo>
                      <a:pt x="192" y="126"/>
                    </a:lnTo>
                    <a:lnTo>
                      <a:pt x="194" y="126"/>
                    </a:lnTo>
                    <a:lnTo>
                      <a:pt x="194" y="128"/>
                    </a:lnTo>
                    <a:lnTo>
                      <a:pt x="196" y="128"/>
                    </a:lnTo>
                    <a:lnTo>
                      <a:pt x="196" y="130"/>
                    </a:lnTo>
                    <a:lnTo>
                      <a:pt x="196" y="132"/>
                    </a:lnTo>
                    <a:lnTo>
                      <a:pt x="198" y="134"/>
                    </a:lnTo>
                    <a:lnTo>
                      <a:pt x="198" y="136"/>
                    </a:lnTo>
                    <a:lnTo>
                      <a:pt x="200" y="138"/>
                    </a:lnTo>
                    <a:lnTo>
                      <a:pt x="200" y="140"/>
                    </a:lnTo>
                    <a:lnTo>
                      <a:pt x="202" y="142"/>
                    </a:lnTo>
                    <a:lnTo>
                      <a:pt x="202" y="144"/>
                    </a:lnTo>
                    <a:lnTo>
                      <a:pt x="204" y="146"/>
                    </a:lnTo>
                    <a:lnTo>
                      <a:pt x="204" y="148"/>
                    </a:lnTo>
                    <a:lnTo>
                      <a:pt x="204" y="149"/>
                    </a:lnTo>
                    <a:lnTo>
                      <a:pt x="206" y="149"/>
                    </a:lnTo>
                    <a:lnTo>
                      <a:pt x="208" y="149"/>
                    </a:lnTo>
                    <a:lnTo>
                      <a:pt x="209" y="151"/>
                    </a:lnTo>
                    <a:lnTo>
                      <a:pt x="211" y="153"/>
                    </a:lnTo>
                    <a:lnTo>
                      <a:pt x="211" y="155"/>
                    </a:lnTo>
                    <a:lnTo>
                      <a:pt x="211" y="157"/>
                    </a:lnTo>
                    <a:lnTo>
                      <a:pt x="211" y="159"/>
                    </a:lnTo>
                    <a:lnTo>
                      <a:pt x="209" y="161"/>
                    </a:lnTo>
                    <a:lnTo>
                      <a:pt x="208" y="161"/>
                    </a:lnTo>
                    <a:lnTo>
                      <a:pt x="206" y="163"/>
                    </a:lnTo>
                    <a:lnTo>
                      <a:pt x="204" y="163"/>
                    </a:lnTo>
                    <a:lnTo>
                      <a:pt x="202" y="163"/>
                    </a:lnTo>
                    <a:lnTo>
                      <a:pt x="202" y="161"/>
                    </a:lnTo>
                    <a:lnTo>
                      <a:pt x="202" y="159"/>
                    </a:lnTo>
                    <a:lnTo>
                      <a:pt x="202" y="157"/>
                    </a:lnTo>
                    <a:lnTo>
                      <a:pt x="200" y="157"/>
                    </a:lnTo>
                    <a:lnTo>
                      <a:pt x="198" y="157"/>
                    </a:lnTo>
                    <a:lnTo>
                      <a:pt x="198" y="159"/>
                    </a:lnTo>
                    <a:lnTo>
                      <a:pt x="198" y="161"/>
                    </a:lnTo>
                    <a:lnTo>
                      <a:pt x="198" y="163"/>
                    </a:lnTo>
                    <a:lnTo>
                      <a:pt x="196" y="165"/>
                    </a:lnTo>
                    <a:lnTo>
                      <a:pt x="194" y="165"/>
                    </a:lnTo>
                    <a:lnTo>
                      <a:pt x="194" y="167"/>
                    </a:lnTo>
                    <a:lnTo>
                      <a:pt x="194" y="169"/>
                    </a:lnTo>
                    <a:lnTo>
                      <a:pt x="192" y="171"/>
                    </a:lnTo>
                    <a:lnTo>
                      <a:pt x="192" y="173"/>
                    </a:lnTo>
                    <a:lnTo>
                      <a:pt x="190" y="174"/>
                    </a:lnTo>
                    <a:lnTo>
                      <a:pt x="192" y="174"/>
                    </a:lnTo>
                    <a:lnTo>
                      <a:pt x="192" y="176"/>
                    </a:lnTo>
                    <a:lnTo>
                      <a:pt x="194" y="176"/>
                    </a:lnTo>
                    <a:lnTo>
                      <a:pt x="194" y="174"/>
                    </a:lnTo>
                    <a:lnTo>
                      <a:pt x="196" y="174"/>
                    </a:lnTo>
                    <a:lnTo>
                      <a:pt x="198" y="176"/>
                    </a:lnTo>
                    <a:lnTo>
                      <a:pt x="198" y="178"/>
                    </a:lnTo>
                    <a:lnTo>
                      <a:pt x="198" y="180"/>
                    </a:lnTo>
                    <a:lnTo>
                      <a:pt x="198" y="182"/>
                    </a:lnTo>
                    <a:lnTo>
                      <a:pt x="200" y="182"/>
                    </a:lnTo>
                    <a:lnTo>
                      <a:pt x="200" y="184"/>
                    </a:lnTo>
                    <a:lnTo>
                      <a:pt x="198" y="186"/>
                    </a:lnTo>
                    <a:lnTo>
                      <a:pt x="198" y="188"/>
                    </a:lnTo>
                    <a:lnTo>
                      <a:pt x="200" y="188"/>
                    </a:lnTo>
                    <a:lnTo>
                      <a:pt x="202" y="190"/>
                    </a:lnTo>
                    <a:lnTo>
                      <a:pt x="200" y="192"/>
                    </a:lnTo>
                    <a:lnTo>
                      <a:pt x="200" y="194"/>
                    </a:lnTo>
                    <a:lnTo>
                      <a:pt x="200" y="196"/>
                    </a:lnTo>
                    <a:lnTo>
                      <a:pt x="202" y="196"/>
                    </a:lnTo>
                    <a:lnTo>
                      <a:pt x="202" y="198"/>
                    </a:lnTo>
                    <a:lnTo>
                      <a:pt x="200" y="198"/>
                    </a:lnTo>
                    <a:lnTo>
                      <a:pt x="200" y="199"/>
                    </a:lnTo>
                    <a:lnTo>
                      <a:pt x="202" y="199"/>
                    </a:lnTo>
                    <a:lnTo>
                      <a:pt x="202" y="201"/>
                    </a:lnTo>
                    <a:lnTo>
                      <a:pt x="200" y="201"/>
                    </a:lnTo>
                    <a:lnTo>
                      <a:pt x="200" y="203"/>
                    </a:lnTo>
                    <a:lnTo>
                      <a:pt x="202" y="205"/>
                    </a:lnTo>
                    <a:lnTo>
                      <a:pt x="204" y="203"/>
                    </a:lnTo>
                    <a:lnTo>
                      <a:pt x="204" y="205"/>
                    </a:lnTo>
                    <a:lnTo>
                      <a:pt x="204" y="207"/>
                    </a:lnTo>
                    <a:lnTo>
                      <a:pt x="204" y="209"/>
                    </a:lnTo>
                    <a:lnTo>
                      <a:pt x="202" y="209"/>
                    </a:lnTo>
                    <a:lnTo>
                      <a:pt x="202" y="211"/>
                    </a:lnTo>
                    <a:lnTo>
                      <a:pt x="200" y="211"/>
                    </a:lnTo>
                    <a:lnTo>
                      <a:pt x="198" y="211"/>
                    </a:lnTo>
                    <a:lnTo>
                      <a:pt x="196" y="211"/>
                    </a:lnTo>
                    <a:lnTo>
                      <a:pt x="196" y="213"/>
                    </a:lnTo>
                    <a:lnTo>
                      <a:pt x="194" y="213"/>
                    </a:lnTo>
                    <a:lnTo>
                      <a:pt x="192" y="213"/>
                    </a:lnTo>
                    <a:lnTo>
                      <a:pt x="192" y="215"/>
                    </a:lnTo>
                    <a:lnTo>
                      <a:pt x="190" y="215"/>
                    </a:lnTo>
                    <a:lnTo>
                      <a:pt x="190" y="217"/>
                    </a:lnTo>
                    <a:lnTo>
                      <a:pt x="188" y="217"/>
                    </a:lnTo>
                    <a:lnTo>
                      <a:pt x="190" y="217"/>
                    </a:lnTo>
                    <a:lnTo>
                      <a:pt x="188" y="217"/>
                    </a:lnTo>
                    <a:lnTo>
                      <a:pt x="188" y="215"/>
                    </a:lnTo>
                    <a:lnTo>
                      <a:pt x="186" y="213"/>
                    </a:lnTo>
                    <a:lnTo>
                      <a:pt x="184" y="213"/>
                    </a:lnTo>
                    <a:lnTo>
                      <a:pt x="183" y="215"/>
                    </a:lnTo>
                    <a:lnTo>
                      <a:pt x="184" y="215"/>
                    </a:lnTo>
                    <a:lnTo>
                      <a:pt x="184" y="217"/>
                    </a:lnTo>
                    <a:lnTo>
                      <a:pt x="184" y="219"/>
                    </a:lnTo>
                    <a:lnTo>
                      <a:pt x="184" y="221"/>
                    </a:lnTo>
                    <a:lnTo>
                      <a:pt x="183" y="223"/>
                    </a:lnTo>
                    <a:lnTo>
                      <a:pt x="183" y="221"/>
                    </a:lnTo>
                    <a:lnTo>
                      <a:pt x="183" y="223"/>
                    </a:lnTo>
                    <a:lnTo>
                      <a:pt x="181" y="223"/>
                    </a:lnTo>
                    <a:lnTo>
                      <a:pt x="179" y="223"/>
                    </a:lnTo>
                    <a:lnTo>
                      <a:pt x="179" y="224"/>
                    </a:lnTo>
                    <a:lnTo>
                      <a:pt x="177" y="223"/>
                    </a:lnTo>
                    <a:lnTo>
                      <a:pt x="177" y="224"/>
                    </a:lnTo>
                    <a:lnTo>
                      <a:pt x="175" y="224"/>
                    </a:lnTo>
                    <a:lnTo>
                      <a:pt x="175" y="223"/>
                    </a:lnTo>
                    <a:lnTo>
                      <a:pt x="173" y="221"/>
                    </a:lnTo>
                    <a:lnTo>
                      <a:pt x="173" y="219"/>
                    </a:lnTo>
                    <a:lnTo>
                      <a:pt x="171" y="219"/>
                    </a:lnTo>
                    <a:lnTo>
                      <a:pt x="171" y="221"/>
                    </a:lnTo>
                    <a:lnTo>
                      <a:pt x="171" y="223"/>
                    </a:lnTo>
                    <a:lnTo>
                      <a:pt x="171" y="224"/>
                    </a:lnTo>
                    <a:lnTo>
                      <a:pt x="171" y="226"/>
                    </a:lnTo>
                    <a:lnTo>
                      <a:pt x="169" y="226"/>
                    </a:lnTo>
                    <a:lnTo>
                      <a:pt x="169" y="224"/>
                    </a:lnTo>
                    <a:lnTo>
                      <a:pt x="167" y="224"/>
                    </a:lnTo>
                    <a:lnTo>
                      <a:pt x="165" y="224"/>
                    </a:lnTo>
                    <a:lnTo>
                      <a:pt x="163" y="224"/>
                    </a:lnTo>
                    <a:lnTo>
                      <a:pt x="163" y="223"/>
                    </a:lnTo>
                    <a:lnTo>
                      <a:pt x="161" y="223"/>
                    </a:lnTo>
                    <a:lnTo>
                      <a:pt x="161" y="221"/>
                    </a:lnTo>
                    <a:lnTo>
                      <a:pt x="160" y="223"/>
                    </a:lnTo>
                    <a:lnTo>
                      <a:pt x="158" y="223"/>
                    </a:lnTo>
                    <a:lnTo>
                      <a:pt x="156" y="223"/>
                    </a:lnTo>
                    <a:lnTo>
                      <a:pt x="154" y="223"/>
                    </a:lnTo>
                    <a:lnTo>
                      <a:pt x="154" y="221"/>
                    </a:lnTo>
                    <a:lnTo>
                      <a:pt x="154" y="223"/>
                    </a:lnTo>
                    <a:lnTo>
                      <a:pt x="152" y="223"/>
                    </a:lnTo>
                    <a:lnTo>
                      <a:pt x="152" y="221"/>
                    </a:lnTo>
                    <a:lnTo>
                      <a:pt x="150" y="223"/>
                    </a:lnTo>
                    <a:lnTo>
                      <a:pt x="148" y="223"/>
                    </a:lnTo>
                    <a:lnTo>
                      <a:pt x="146" y="223"/>
                    </a:lnTo>
                    <a:lnTo>
                      <a:pt x="144" y="224"/>
                    </a:lnTo>
                    <a:lnTo>
                      <a:pt x="146" y="224"/>
                    </a:lnTo>
                    <a:lnTo>
                      <a:pt x="144" y="226"/>
                    </a:lnTo>
                    <a:lnTo>
                      <a:pt x="146" y="226"/>
                    </a:lnTo>
                    <a:lnTo>
                      <a:pt x="144" y="226"/>
                    </a:lnTo>
                    <a:lnTo>
                      <a:pt x="142" y="228"/>
                    </a:lnTo>
                    <a:lnTo>
                      <a:pt x="144" y="230"/>
                    </a:lnTo>
                    <a:lnTo>
                      <a:pt x="144" y="232"/>
                    </a:lnTo>
                    <a:lnTo>
                      <a:pt x="144" y="234"/>
                    </a:lnTo>
                    <a:lnTo>
                      <a:pt x="142" y="236"/>
                    </a:lnTo>
                    <a:lnTo>
                      <a:pt x="142" y="238"/>
                    </a:lnTo>
                    <a:lnTo>
                      <a:pt x="140" y="238"/>
                    </a:lnTo>
                    <a:lnTo>
                      <a:pt x="140" y="236"/>
                    </a:lnTo>
                    <a:lnTo>
                      <a:pt x="140" y="238"/>
                    </a:lnTo>
                    <a:lnTo>
                      <a:pt x="138" y="240"/>
                    </a:lnTo>
                    <a:lnTo>
                      <a:pt x="138" y="242"/>
                    </a:lnTo>
                    <a:lnTo>
                      <a:pt x="136" y="242"/>
                    </a:lnTo>
                    <a:lnTo>
                      <a:pt x="135" y="242"/>
                    </a:lnTo>
                    <a:lnTo>
                      <a:pt x="133" y="242"/>
                    </a:lnTo>
                    <a:lnTo>
                      <a:pt x="131" y="242"/>
                    </a:lnTo>
                    <a:lnTo>
                      <a:pt x="129" y="242"/>
                    </a:lnTo>
                    <a:lnTo>
                      <a:pt x="127" y="242"/>
                    </a:lnTo>
                    <a:lnTo>
                      <a:pt x="125" y="242"/>
                    </a:lnTo>
                    <a:lnTo>
                      <a:pt x="125" y="244"/>
                    </a:lnTo>
                    <a:lnTo>
                      <a:pt x="123" y="244"/>
                    </a:lnTo>
                    <a:lnTo>
                      <a:pt x="121" y="244"/>
                    </a:lnTo>
                    <a:lnTo>
                      <a:pt x="119" y="244"/>
                    </a:lnTo>
                    <a:lnTo>
                      <a:pt x="117" y="244"/>
                    </a:lnTo>
                    <a:lnTo>
                      <a:pt x="119" y="246"/>
                    </a:lnTo>
                    <a:lnTo>
                      <a:pt x="117" y="248"/>
                    </a:lnTo>
                    <a:lnTo>
                      <a:pt x="115" y="248"/>
                    </a:lnTo>
                    <a:lnTo>
                      <a:pt x="113" y="248"/>
                    </a:lnTo>
                    <a:lnTo>
                      <a:pt x="113" y="246"/>
                    </a:lnTo>
                    <a:lnTo>
                      <a:pt x="111" y="246"/>
                    </a:lnTo>
                    <a:lnTo>
                      <a:pt x="110" y="246"/>
                    </a:lnTo>
                    <a:lnTo>
                      <a:pt x="110" y="244"/>
                    </a:lnTo>
                    <a:lnTo>
                      <a:pt x="111" y="244"/>
                    </a:lnTo>
                    <a:lnTo>
                      <a:pt x="111" y="242"/>
                    </a:lnTo>
                    <a:lnTo>
                      <a:pt x="111" y="240"/>
                    </a:lnTo>
                    <a:lnTo>
                      <a:pt x="111" y="238"/>
                    </a:lnTo>
                    <a:lnTo>
                      <a:pt x="111" y="236"/>
                    </a:lnTo>
                    <a:lnTo>
                      <a:pt x="110" y="236"/>
                    </a:lnTo>
                    <a:lnTo>
                      <a:pt x="108" y="234"/>
                    </a:lnTo>
                    <a:lnTo>
                      <a:pt x="108" y="236"/>
                    </a:lnTo>
                    <a:lnTo>
                      <a:pt x="106" y="234"/>
                    </a:lnTo>
                    <a:lnTo>
                      <a:pt x="106" y="236"/>
                    </a:lnTo>
                    <a:lnTo>
                      <a:pt x="106" y="234"/>
                    </a:lnTo>
                    <a:lnTo>
                      <a:pt x="104" y="234"/>
                    </a:lnTo>
                    <a:lnTo>
                      <a:pt x="102" y="234"/>
                    </a:lnTo>
                    <a:lnTo>
                      <a:pt x="100" y="230"/>
                    </a:lnTo>
                    <a:lnTo>
                      <a:pt x="98" y="230"/>
                    </a:lnTo>
                    <a:lnTo>
                      <a:pt x="100" y="228"/>
                    </a:lnTo>
                    <a:lnTo>
                      <a:pt x="98" y="228"/>
                    </a:lnTo>
                    <a:lnTo>
                      <a:pt x="98" y="226"/>
                    </a:lnTo>
                    <a:lnTo>
                      <a:pt x="98" y="224"/>
                    </a:lnTo>
                    <a:lnTo>
                      <a:pt x="98" y="223"/>
                    </a:lnTo>
                    <a:lnTo>
                      <a:pt x="96" y="223"/>
                    </a:lnTo>
                    <a:lnTo>
                      <a:pt x="96" y="221"/>
                    </a:lnTo>
                    <a:lnTo>
                      <a:pt x="94" y="221"/>
                    </a:lnTo>
                    <a:lnTo>
                      <a:pt x="96" y="219"/>
                    </a:lnTo>
                    <a:lnTo>
                      <a:pt x="94" y="219"/>
                    </a:lnTo>
                    <a:lnTo>
                      <a:pt x="96" y="217"/>
                    </a:lnTo>
                    <a:lnTo>
                      <a:pt x="96" y="215"/>
                    </a:lnTo>
                    <a:lnTo>
                      <a:pt x="94" y="215"/>
                    </a:lnTo>
                    <a:lnTo>
                      <a:pt x="96" y="215"/>
                    </a:lnTo>
                    <a:lnTo>
                      <a:pt x="96" y="213"/>
                    </a:lnTo>
                    <a:lnTo>
                      <a:pt x="94" y="213"/>
                    </a:lnTo>
                    <a:lnTo>
                      <a:pt x="92" y="213"/>
                    </a:lnTo>
                    <a:lnTo>
                      <a:pt x="92" y="211"/>
                    </a:lnTo>
                    <a:lnTo>
                      <a:pt x="90" y="211"/>
                    </a:lnTo>
                    <a:lnTo>
                      <a:pt x="88" y="211"/>
                    </a:lnTo>
                    <a:lnTo>
                      <a:pt x="87" y="209"/>
                    </a:lnTo>
                    <a:lnTo>
                      <a:pt x="88" y="207"/>
                    </a:lnTo>
                    <a:lnTo>
                      <a:pt x="90" y="207"/>
                    </a:lnTo>
                    <a:lnTo>
                      <a:pt x="90" y="205"/>
                    </a:lnTo>
                    <a:lnTo>
                      <a:pt x="90" y="203"/>
                    </a:lnTo>
                    <a:lnTo>
                      <a:pt x="92" y="203"/>
                    </a:lnTo>
                    <a:lnTo>
                      <a:pt x="94" y="203"/>
                    </a:lnTo>
                    <a:lnTo>
                      <a:pt x="94" y="201"/>
                    </a:lnTo>
                    <a:lnTo>
                      <a:pt x="94" y="199"/>
                    </a:lnTo>
                    <a:lnTo>
                      <a:pt x="94" y="198"/>
                    </a:lnTo>
                    <a:lnTo>
                      <a:pt x="94" y="196"/>
                    </a:lnTo>
                    <a:lnTo>
                      <a:pt x="94" y="198"/>
                    </a:lnTo>
                    <a:lnTo>
                      <a:pt x="94" y="196"/>
                    </a:lnTo>
                    <a:lnTo>
                      <a:pt x="92" y="196"/>
                    </a:lnTo>
                    <a:lnTo>
                      <a:pt x="90" y="196"/>
                    </a:lnTo>
                    <a:lnTo>
                      <a:pt x="90" y="194"/>
                    </a:lnTo>
                    <a:lnTo>
                      <a:pt x="90" y="196"/>
                    </a:lnTo>
                    <a:lnTo>
                      <a:pt x="88" y="196"/>
                    </a:lnTo>
                    <a:lnTo>
                      <a:pt x="88" y="198"/>
                    </a:lnTo>
                    <a:lnTo>
                      <a:pt x="88" y="199"/>
                    </a:lnTo>
                    <a:lnTo>
                      <a:pt x="87" y="199"/>
                    </a:lnTo>
                    <a:lnTo>
                      <a:pt x="87" y="201"/>
                    </a:lnTo>
                    <a:lnTo>
                      <a:pt x="85" y="201"/>
                    </a:lnTo>
                    <a:lnTo>
                      <a:pt x="85" y="203"/>
                    </a:lnTo>
                    <a:lnTo>
                      <a:pt x="85" y="205"/>
                    </a:lnTo>
                    <a:lnTo>
                      <a:pt x="83" y="205"/>
                    </a:lnTo>
                    <a:lnTo>
                      <a:pt x="81" y="205"/>
                    </a:lnTo>
                    <a:lnTo>
                      <a:pt x="81" y="207"/>
                    </a:lnTo>
                    <a:lnTo>
                      <a:pt x="79" y="209"/>
                    </a:lnTo>
                    <a:lnTo>
                      <a:pt x="77" y="209"/>
                    </a:lnTo>
                    <a:lnTo>
                      <a:pt x="75" y="209"/>
                    </a:lnTo>
                    <a:lnTo>
                      <a:pt x="75" y="211"/>
                    </a:lnTo>
                    <a:lnTo>
                      <a:pt x="73" y="213"/>
                    </a:lnTo>
                    <a:lnTo>
                      <a:pt x="73" y="215"/>
                    </a:lnTo>
                    <a:lnTo>
                      <a:pt x="73" y="217"/>
                    </a:lnTo>
                    <a:lnTo>
                      <a:pt x="71" y="217"/>
                    </a:lnTo>
                    <a:lnTo>
                      <a:pt x="71" y="215"/>
                    </a:lnTo>
                    <a:lnTo>
                      <a:pt x="69" y="213"/>
                    </a:lnTo>
                    <a:lnTo>
                      <a:pt x="67" y="213"/>
                    </a:lnTo>
                    <a:lnTo>
                      <a:pt x="65" y="213"/>
                    </a:lnTo>
                    <a:lnTo>
                      <a:pt x="65" y="215"/>
                    </a:lnTo>
                    <a:lnTo>
                      <a:pt x="63" y="215"/>
                    </a:lnTo>
                    <a:lnTo>
                      <a:pt x="63" y="213"/>
                    </a:lnTo>
                    <a:lnTo>
                      <a:pt x="62" y="213"/>
                    </a:lnTo>
                    <a:lnTo>
                      <a:pt x="62" y="211"/>
                    </a:lnTo>
                    <a:lnTo>
                      <a:pt x="63" y="211"/>
                    </a:lnTo>
                    <a:lnTo>
                      <a:pt x="63" y="209"/>
                    </a:lnTo>
                    <a:lnTo>
                      <a:pt x="62" y="209"/>
                    </a:lnTo>
                    <a:lnTo>
                      <a:pt x="60" y="209"/>
                    </a:lnTo>
                    <a:lnTo>
                      <a:pt x="60" y="211"/>
                    </a:lnTo>
                    <a:lnTo>
                      <a:pt x="58" y="211"/>
                    </a:lnTo>
                    <a:lnTo>
                      <a:pt x="58" y="209"/>
                    </a:lnTo>
                    <a:lnTo>
                      <a:pt x="56" y="209"/>
                    </a:lnTo>
                    <a:lnTo>
                      <a:pt x="56" y="207"/>
                    </a:lnTo>
                    <a:lnTo>
                      <a:pt x="54" y="209"/>
                    </a:lnTo>
                    <a:lnTo>
                      <a:pt x="52" y="209"/>
                    </a:lnTo>
                    <a:lnTo>
                      <a:pt x="50" y="207"/>
                    </a:lnTo>
                    <a:lnTo>
                      <a:pt x="52" y="205"/>
                    </a:lnTo>
                    <a:lnTo>
                      <a:pt x="50" y="205"/>
                    </a:lnTo>
                    <a:lnTo>
                      <a:pt x="48" y="205"/>
                    </a:lnTo>
                    <a:lnTo>
                      <a:pt x="46" y="205"/>
                    </a:lnTo>
                    <a:lnTo>
                      <a:pt x="42" y="203"/>
                    </a:lnTo>
                    <a:lnTo>
                      <a:pt x="40" y="205"/>
                    </a:lnTo>
                    <a:lnTo>
                      <a:pt x="38" y="205"/>
                    </a:lnTo>
                    <a:lnTo>
                      <a:pt x="37" y="205"/>
                    </a:lnTo>
                    <a:lnTo>
                      <a:pt x="37" y="203"/>
                    </a:lnTo>
                    <a:lnTo>
                      <a:pt x="38" y="203"/>
                    </a:lnTo>
                    <a:lnTo>
                      <a:pt x="37" y="203"/>
                    </a:lnTo>
                    <a:lnTo>
                      <a:pt x="37" y="201"/>
                    </a:lnTo>
                    <a:lnTo>
                      <a:pt x="37" y="199"/>
                    </a:lnTo>
                    <a:lnTo>
                      <a:pt x="37" y="198"/>
                    </a:lnTo>
                    <a:lnTo>
                      <a:pt x="37" y="196"/>
                    </a:lnTo>
                    <a:lnTo>
                      <a:pt x="37" y="194"/>
                    </a:lnTo>
                    <a:lnTo>
                      <a:pt x="35" y="194"/>
                    </a:lnTo>
                    <a:lnTo>
                      <a:pt x="35" y="192"/>
                    </a:lnTo>
                    <a:lnTo>
                      <a:pt x="35" y="190"/>
                    </a:lnTo>
                    <a:lnTo>
                      <a:pt x="33" y="188"/>
                    </a:lnTo>
                    <a:lnTo>
                      <a:pt x="33" y="186"/>
                    </a:lnTo>
                    <a:lnTo>
                      <a:pt x="33" y="184"/>
                    </a:lnTo>
                    <a:lnTo>
                      <a:pt x="31" y="184"/>
                    </a:lnTo>
                    <a:lnTo>
                      <a:pt x="31" y="182"/>
                    </a:lnTo>
                    <a:lnTo>
                      <a:pt x="29" y="182"/>
                    </a:lnTo>
                    <a:lnTo>
                      <a:pt x="29" y="180"/>
                    </a:lnTo>
                    <a:lnTo>
                      <a:pt x="29" y="178"/>
                    </a:lnTo>
                    <a:lnTo>
                      <a:pt x="31" y="178"/>
                    </a:lnTo>
                    <a:lnTo>
                      <a:pt x="29" y="178"/>
                    </a:lnTo>
                    <a:lnTo>
                      <a:pt x="29" y="176"/>
                    </a:lnTo>
                    <a:lnTo>
                      <a:pt x="31" y="176"/>
                    </a:lnTo>
                    <a:lnTo>
                      <a:pt x="33" y="176"/>
                    </a:lnTo>
                    <a:lnTo>
                      <a:pt x="33" y="174"/>
                    </a:lnTo>
                    <a:lnTo>
                      <a:pt x="33" y="173"/>
                    </a:lnTo>
                    <a:lnTo>
                      <a:pt x="31" y="173"/>
                    </a:lnTo>
                    <a:lnTo>
                      <a:pt x="31" y="171"/>
                    </a:lnTo>
                    <a:lnTo>
                      <a:pt x="29" y="171"/>
                    </a:lnTo>
                    <a:lnTo>
                      <a:pt x="29" y="169"/>
                    </a:lnTo>
                    <a:lnTo>
                      <a:pt x="27" y="169"/>
                    </a:lnTo>
                    <a:lnTo>
                      <a:pt x="25" y="169"/>
                    </a:lnTo>
                    <a:lnTo>
                      <a:pt x="25" y="167"/>
                    </a:lnTo>
                    <a:lnTo>
                      <a:pt x="25" y="165"/>
                    </a:lnTo>
                    <a:lnTo>
                      <a:pt x="23" y="165"/>
                    </a:lnTo>
                    <a:lnTo>
                      <a:pt x="21" y="165"/>
                    </a:lnTo>
                    <a:lnTo>
                      <a:pt x="21" y="163"/>
                    </a:lnTo>
                    <a:lnTo>
                      <a:pt x="19" y="161"/>
                    </a:lnTo>
                    <a:lnTo>
                      <a:pt x="19" y="159"/>
                    </a:lnTo>
                    <a:lnTo>
                      <a:pt x="17" y="159"/>
                    </a:lnTo>
                    <a:lnTo>
                      <a:pt x="15" y="161"/>
                    </a:lnTo>
                    <a:lnTo>
                      <a:pt x="15" y="159"/>
                    </a:lnTo>
                    <a:lnTo>
                      <a:pt x="14" y="159"/>
                    </a:lnTo>
                    <a:lnTo>
                      <a:pt x="14" y="157"/>
                    </a:lnTo>
                    <a:lnTo>
                      <a:pt x="12" y="157"/>
                    </a:lnTo>
                    <a:lnTo>
                      <a:pt x="12" y="159"/>
                    </a:lnTo>
                    <a:lnTo>
                      <a:pt x="10" y="159"/>
                    </a:lnTo>
                    <a:lnTo>
                      <a:pt x="8" y="159"/>
                    </a:lnTo>
                    <a:lnTo>
                      <a:pt x="8" y="157"/>
                    </a:lnTo>
                    <a:lnTo>
                      <a:pt x="8" y="155"/>
                    </a:lnTo>
                    <a:lnTo>
                      <a:pt x="6" y="155"/>
                    </a:lnTo>
                    <a:lnTo>
                      <a:pt x="6" y="153"/>
                    </a:lnTo>
                    <a:lnTo>
                      <a:pt x="6" y="151"/>
                    </a:lnTo>
                    <a:lnTo>
                      <a:pt x="6" y="149"/>
                    </a:lnTo>
                    <a:lnTo>
                      <a:pt x="6" y="148"/>
                    </a:lnTo>
                    <a:lnTo>
                      <a:pt x="6" y="146"/>
                    </a:lnTo>
                    <a:lnTo>
                      <a:pt x="6" y="144"/>
                    </a:lnTo>
                    <a:lnTo>
                      <a:pt x="6" y="142"/>
                    </a:lnTo>
                    <a:lnTo>
                      <a:pt x="4" y="140"/>
                    </a:lnTo>
                    <a:lnTo>
                      <a:pt x="6" y="140"/>
                    </a:lnTo>
                    <a:lnTo>
                      <a:pt x="6" y="138"/>
                    </a:lnTo>
                    <a:lnTo>
                      <a:pt x="6" y="136"/>
                    </a:lnTo>
                    <a:lnTo>
                      <a:pt x="4" y="134"/>
                    </a:lnTo>
                    <a:lnTo>
                      <a:pt x="4" y="132"/>
                    </a:lnTo>
                    <a:lnTo>
                      <a:pt x="4" y="130"/>
                    </a:lnTo>
                    <a:lnTo>
                      <a:pt x="2" y="130"/>
                    </a:lnTo>
                    <a:lnTo>
                      <a:pt x="2" y="128"/>
                    </a:lnTo>
                    <a:lnTo>
                      <a:pt x="4" y="126"/>
                    </a:lnTo>
                    <a:lnTo>
                      <a:pt x="6" y="126"/>
                    </a:lnTo>
                    <a:lnTo>
                      <a:pt x="8" y="126"/>
                    </a:lnTo>
                    <a:lnTo>
                      <a:pt x="10" y="126"/>
                    </a:lnTo>
                    <a:lnTo>
                      <a:pt x="12" y="126"/>
                    </a:lnTo>
                    <a:lnTo>
                      <a:pt x="14" y="124"/>
                    </a:lnTo>
                    <a:lnTo>
                      <a:pt x="14" y="126"/>
                    </a:lnTo>
                    <a:lnTo>
                      <a:pt x="15" y="126"/>
                    </a:lnTo>
                    <a:lnTo>
                      <a:pt x="17" y="126"/>
                    </a:lnTo>
                    <a:lnTo>
                      <a:pt x="17" y="124"/>
                    </a:lnTo>
                    <a:lnTo>
                      <a:pt x="17" y="123"/>
                    </a:lnTo>
                    <a:lnTo>
                      <a:pt x="17" y="121"/>
                    </a:lnTo>
                    <a:lnTo>
                      <a:pt x="19" y="121"/>
                    </a:lnTo>
                    <a:lnTo>
                      <a:pt x="21" y="119"/>
                    </a:lnTo>
                    <a:lnTo>
                      <a:pt x="21" y="117"/>
                    </a:lnTo>
                    <a:lnTo>
                      <a:pt x="19" y="117"/>
                    </a:lnTo>
                    <a:lnTo>
                      <a:pt x="19" y="115"/>
                    </a:lnTo>
                    <a:lnTo>
                      <a:pt x="17" y="115"/>
                    </a:lnTo>
                    <a:lnTo>
                      <a:pt x="15" y="115"/>
                    </a:lnTo>
                    <a:lnTo>
                      <a:pt x="15" y="113"/>
                    </a:lnTo>
                    <a:lnTo>
                      <a:pt x="17" y="113"/>
                    </a:lnTo>
                    <a:lnTo>
                      <a:pt x="17" y="111"/>
                    </a:lnTo>
                    <a:lnTo>
                      <a:pt x="19" y="109"/>
                    </a:lnTo>
                    <a:lnTo>
                      <a:pt x="17" y="109"/>
                    </a:lnTo>
                    <a:lnTo>
                      <a:pt x="17" y="107"/>
                    </a:lnTo>
                    <a:lnTo>
                      <a:pt x="15" y="107"/>
                    </a:lnTo>
                    <a:lnTo>
                      <a:pt x="14" y="105"/>
                    </a:lnTo>
                    <a:lnTo>
                      <a:pt x="14" y="103"/>
                    </a:lnTo>
                    <a:lnTo>
                      <a:pt x="12" y="103"/>
                    </a:lnTo>
                    <a:lnTo>
                      <a:pt x="12" y="105"/>
                    </a:lnTo>
                    <a:lnTo>
                      <a:pt x="12" y="103"/>
                    </a:lnTo>
                    <a:lnTo>
                      <a:pt x="10" y="103"/>
                    </a:lnTo>
                    <a:lnTo>
                      <a:pt x="10" y="105"/>
                    </a:lnTo>
                    <a:lnTo>
                      <a:pt x="10" y="103"/>
                    </a:lnTo>
                    <a:lnTo>
                      <a:pt x="8" y="103"/>
                    </a:lnTo>
                    <a:lnTo>
                      <a:pt x="6" y="103"/>
                    </a:lnTo>
                    <a:lnTo>
                      <a:pt x="6" y="101"/>
                    </a:lnTo>
                    <a:lnTo>
                      <a:pt x="4" y="101"/>
                    </a:lnTo>
                    <a:lnTo>
                      <a:pt x="4" y="99"/>
                    </a:lnTo>
                    <a:lnTo>
                      <a:pt x="2" y="99"/>
                    </a:lnTo>
                    <a:lnTo>
                      <a:pt x="2" y="98"/>
                    </a:lnTo>
                    <a:lnTo>
                      <a:pt x="0" y="98"/>
                    </a:lnTo>
                    <a:lnTo>
                      <a:pt x="0" y="96"/>
                    </a:lnTo>
                    <a:lnTo>
                      <a:pt x="2" y="96"/>
                    </a:lnTo>
                    <a:lnTo>
                      <a:pt x="2" y="94"/>
                    </a:lnTo>
                    <a:lnTo>
                      <a:pt x="2" y="92"/>
                    </a:lnTo>
                    <a:lnTo>
                      <a:pt x="2" y="94"/>
                    </a:lnTo>
                    <a:lnTo>
                      <a:pt x="4" y="94"/>
                    </a:lnTo>
                    <a:lnTo>
                      <a:pt x="4" y="92"/>
                    </a:lnTo>
                    <a:lnTo>
                      <a:pt x="4" y="94"/>
                    </a:lnTo>
                    <a:lnTo>
                      <a:pt x="6" y="94"/>
                    </a:lnTo>
                    <a:lnTo>
                      <a:pt x="6" y="96"/>
                    </a:lnTo>
                    <a:lnTo>
                      <a:pt x="6" y="98"/>
                    </a:lnTo>
                    <a:lnTo>
                      <a:pt x="8" y="96"/>
                    </a:lnTo>
                    <a:lnTo>
                      <a:pt x="8" y="94"/>
                    </a:lnTo>
                    <a:lnTo>
                      <a:pt x="8" y="92"/>
                    </a:lnTo>
                    <a:lnTo>
                      <a:pt x="10" y="90"/>
                    </a:lnTo>
                    <a:lnTo>
                      <a:pt x="10" y="88"/>
                    </a:lnTo>
                    <a:lnTo>
                      <a:pt x="12" y="86"/>
                    </a:lnTo>
                    <a:lnTo>
                      <a:pt x="14" y="84"/>
                    </a:lnTo>
                    <a:lnTo>
                      <a:pt x="15" y="84"/>
                    </a:lnTo>
                    <a:lnTo>
                      <a:pt x="17" y="86"/>
                    </a:lnTo>
                    <a:lnTo>
                      <a:pt x="19" y="86"/>
                    </a:lnTo>
                    <a:lnTo>
                      <a:pt x="19" y="84"/>
                    </a:lnTo>
                    <a:lnTo>
                      <a:pt x="21" y="84"/>
                    </a:lnTo>
                    <a:lnTo>
                      <a:pt x="21" y="82"/>
                    </a:lnTo>
                    <a:lnTo>
                      <a:pt x="23" y="82"/>
                    </a:lnTo>
                    <a:lnTo>
                      <a:pt x="25" y="82"/>
                    </a:lnTo>
                    <a:lnTo>
                      <a:pt x="27" y="82"/>
                    </a:lnTo>
                    <a:lnTo>
                      <a:pt x="27" y="80"/>
                    </a:lnTo>
                    <a:lnTo>
                      <a:pt x="29" y="78"/>
                    </a:lnTo>
                    <a:lnTo>
                      <a:pt x="31" y="76"/>
                    </a:lnTo>
                    <a:lnTo>
                      <a:pt x="33" y="76"/>
                    </a:lnTo>
                    <a:lnTo>
                      <a:pt x="35" y="76"/>
                    </a:lnTo>
                    <a:lnTo>
                      <a:pt x="37" y="76"/>
                    </a:lnTo>
                    <a:lnTo>
                      <a:pt x="38" y="75"/>
                    </a:lnTo>
                    <a:lnTo>
                      <a:pt x="38" y="73"/>
                    </a:lnTo>
                    <a:lnTo>
                      <a:pt x="40" y="73"/>
                    </a:lnTo>
                    <a:lnTo>
                      <a:pt x="40" y="71"/>
                    </a:lnTo>
                    <a:lnTo>
                      <a:pt x="42" y="73"/>
                    </a:lnTo>
                    <a:lnTo>
                      <a:pt x="44" y="71"/>
                    </a:lnTo>
                    <a:lnTo>
                      <a:pt x="46" y="71"/>
                    </a:lnTo>
                    <a:lnTo>
                      <a:pt x="46" y="73"/>
                    </a:lnTo>
                    <a:lnTo>
                      <a:pt x="46" y="75"/>
                    </a:lnTo>
                    <a:lnTo>
                      <a:pt x="48" y="75"/>
                    </a:lnTo>
                    <a:lnTo>
                      <a:pt x="48" y="73"/>
                    </a:lnTo>
                    <a:lnTo>
                      <a:pt x="50" y="73"/>
                    </a:lnTo>
                    <a:lnTo>
                      <a:pt x="50" y="71"/>
                    </a:lnTo>
                    <a:lnTo>
                      <a:pt x="50" y="69"/>
                    </a:lnTo>
                    <a:lnTo>
                      <a:pt x="52" y="69"/>
                    </a:lnTo>
                    <a:lnTo>
                      <a:pt x="52" y="71"/>
                    </a:lnTo>
                    <a:lnTo>
                      <a:pt x="52" y="69"/>
                    </a:lnTo>
                    <a:lnTo>
                      <a:pt x="54" y="69"/>
                    </a:lnTo>
                    <a:lnTo>
                      <a:pt x="56" y="69"/>
                    </a:lnTo>
                    <a:lnTo>
                      <a:pt x="56" y="71"/>
                    </a:lnTo>
                    <a:lnTo>
                      <a:pt x="58" y="71"/>
                    </a:lnTo>
                    <a:lnTo>
                      <a:pt x="58" y="69"/>
                    </a:lnTo>
                    <a:lnTo>
                      <a:pt x="58" y="67"/>
                    </a:lnTo>
                    <a:lnTo>
                      <a:pt x="58" y="65"/>
                    </a:lnTo>
                    <a:lnTo>
                      <a:pt x="60" y="65"/>
                    </a:lnTo>
                    <a:lnTo>
                      <a:pt x="60" y="63"/>
                    </a:lnTo>
                    <a:lnTo>
                      <a:pt x="60" y="61"/>
                    </a:lnTo>
                    <a:lnTo>
                      <a:pt x="62" y="61"/>
                    </a:lnTo>
                    <a:lnTo>
                      <a:pt x="63" y="61"/>
                    </a:lnTo>
                    <a:lnTo>
                      <a:pt x="63" y="59"/>
                    </a:lnTo>
                    <a:lnTo>
                      <a:pt x="65" y="57"/>
                    </a:lnTo>
                    <a:lnTo>
                      <a:pt x="65" y="59"/>
                    </a:lnTo>
                    <a:lnTo>
                      <a:pt x="67" y="59"/>
                    </a:lnTo>
                    <a:lnTo>
                      <a:pt x="69" y="57"/>
                    </a:lnTo>
                    <a:lnTo>
                      <a:pt x="69" y="55"/>
                    </a:lnTo>
                    <a:lnTo>
                      <a:pt x="69" y="53"/>
                    </a:lnTo>
                    <a:lnTo>
                      <a:pt x="71" y="53"/>
                    </a:lnTo>
                    <a:lnTo>
                      <a:pt x="71" y="51"/>
                    </a:lnTo>
                    <a:lnTo>
                      <a:pt x="69" y="51"/>
                    </a:lnTo>
                    <a:lnTo>
                      <a:pt x="71" y="50"/>
                    </a:lnTo>
                    <a:lnTo>
                      <a:pt x="73" y="50"/>
                    </a:lnTo>
                    <a:lnTo>
                      <a:pt x="75" y="48"/>
                    </a:lnTo>
                    <a:lnTo>
                      <a:pt x="73" y="46"/>
                    </a:lnTo>
                    <a:lnTo>
                      <a:pt x="73" y="44"/>
                    </a:lnTo>
                    <a:lnTo>
                      <a:pt x="73" y="42"/>
                    </a:lnTo>
                    <a:lnTo>
                      <a:pt x="75" y="42"/>
                    </a:lnTo>
                    <a:lnTo>
                      <a:pt x="75" y="40"/>
                    </a:lnTo>
                    <a:lnTo>
                      <a:pt x="77" y="40"/>
                    </a:lnTo>
                    <a:lnTo>
                      <a:pt x="75" y="40"/>
                    </a:lnTo>
                    <a:lnTo>
                      <a:pt x="75" y="38"/>
                    </a:lnTo>
                    <a:lnTo>
                      <a:pt x="73" y="38"/>
                    </a:lnTo>
                    <a:lnTo>
                      <a:pt x="75" y="38"/>
                    </a:lnTo>
                    <a:lnTo>
                      <a:pt x="75" y="36"/>
                    </a:lnTo>
                    <a:lnTo>
                      <a:pt x="77" y="36"/>
                    </a:lnTo>
                    <a:lnTo>
                      <a:pt x="77" y="38"/>
                    </a:lnTo>
                    <a:lnTo>
                      <a:pt x="77" y="36"/>
                    </a:lnTo>
                    <a:lnTo>
                      <a:pt x="79" y="34"/>
                    </a:lnTo>
                    <a:lnTo>
                      <a:pt x="77" y="34"/>
                    </a:lnTo>
                    <a:lnTo>
                      <a:pt x="79" y="34"/>
                    </a:lnTo>
                    <a:lnTo>
                      <a:pt x="77" y="34"/>
                    </a:lnTo>
                    <a:lnTo>
                      <a:pt x="79" y="34"/>
                    </a:lnTo>
                    <a:lnTo>
                      <a:pt x="81" y="34"/>
                    </a:lnTo>
                    <a:lnTo>
                      <a:pt x="81" y="36"/>
                    </a:lnTo>
                    <a:lnTo>
                      <a:pt x="83" y="36"/>
                    </a:lnTo>
                    <a:lnTo>
                      <a:pt x="85" y="36"/>
                    </a:lnTo>
                    <a:lnTo>
                      <a:pt x="85" y="38"/>
                    </a:lnTo>
                    <a:lnTo>
                      <a:pt x="87" y="38"/>
                    </a:lnTo>
                    <a:lnTo>
                      <a:pt x="87" y="40"/>
                    </a:lnTo>
                    <a:lnTo>
                      <a:pt x="88" y="42"/>
                    </a:lnTo>
                    <a:lnTo>
                      <a:pt x="88" y="40"/>
                    </a:lnTo>
                    <a:lnTo>
                      <a:pt x="90" y="40"/>
                    </a:lnTo>
                    <a:lnTo>
                      <a:pt x="92" y="40"/>
                    </a:lnTo>
                    <a:lnTo>
                      <a:pt x="94" y="40"/>
                    </a:lnTo>
                    <a:lnTo>
                      <a:pt x="94" y="38"/>
                    </a:lnTo>
                    <a:lnTo>
                      <a:pt x="96" y="38"/>
                    </a:lnTo>
                    <a:lnTo>
                      <a:pt x="96" y="36"/>
                    </a:lnTo>
                    <a:lnTo>
                      <a:pt x="96" y="34"/>
                    </a:lnTo>
                    <a:lnTo>
                      <a:pt x="96" y="36"/>
                    </a:lnTo>
                    <a:lnTo>
                      <a:pt x="96" y="34"/>
                    </a:lnTo>
                    <a:lnTo>
                      <a:pt x="98" y="34"/>
                    </a:lnTo>
                    <a:lnTo>
                      <a:pt x="100" y="34"/>
                    </a:lnTo>
                    <a:lnTo>
                      <a:pt x="100" y="36"/>
                    </a:lnTo>
                    <a:lnTo>
                      <a:pt x="102" y="36"/>
                    </a:lnTo>
                    <a:lnTo>
                      <a:pt x="104" y="36"/>
                    </a:lnTo>
                    <a:lnTo>
                      <a:pt x="106" y="36"/>
                    </a:lnTo>
                    <a:lnTo>
                      <a:pt x="108" y="36"/>
                    </a:lnTo>
                    <a:lnTo>
                      <a:pt x="110" y="34"/>
                    </a:lnTo>
                    <a:lnTo>
                      <a:pt x="110" y="32"/>
                    </a:lnTo>
                    <a:lnTo>
                      <a:pt x="110" y="30"/>
                    </a:lnTo>
                    <a:lnTo>
                      <a:pt x="110" y="28"/>
                    </a:lnTo>
                    <a:lnTo>
                      <a:pt x="111" y="28"/>
                    </a:lnTo>
                    <a:lnTo>
                      <a:pt x="111" y="26"/>
                    </a:lnTo>
                    <a:lnTo>
                      <a:pt x="111" y="25"/>
                    </a:lnTo>
                    <a:lnTo>
                      <a:pt x="111" y="23"/>
                    </a:lnTo>
                    <a:lnTo>
                      <a:pt x="111" y="21"/>
                    </a:lnTo>
                    <a:lnTo>
                      <a:pt x="111" y="19"/>
                    </a:lnTo>
                    <a:lnTo>
                      <a:pt x="111" y="17"/>
                    </a:lnTo>
                    <a:lnTo>
                      <a:pt x="111" y="15"/>
                    </a:lnTo>
                    <a:lnTo>
                      <a:pt x="110" y="15"/>
                    </a:lnTo>
                    <a:lnTo>
                      <a:pt x="110" y="17"/>
                    </a:lnTo>
                    <a:lnTo>
                      <a:pt x="108" y="15"/>
                    </a:lnTo>
                    <a:lnTo>
                      <a:pt x="106" y="15"/>
                    </a:lnTo>
                    <a:lnTo>
                      <a:pt x="106" y="13"/>
                    </a:lnTo>
                    <a:lnTo>
                      <a:pt x="106" y="11"/>
                    </a:lnTo>
                    <a:lnTo>
                      <a:pt x="106" y="9"/>
                    </a:lnTo>
                    <a:lnTo>
                      <a:pt x="108" y="9"/>
                    </a:lnTo>
                    <a:lnTo>
                      <a:pt x="108" y="7"/>
                    </a:lnTo>
                    <a:lnTo>
                      <a:pt x="110" y="7"/>
                    </a:lnTo>
                    <a:lnTo>
                      <a:pt x="111" y="7"/>
                    </a:lnTo>
                    <a:lnTo>
                      <a:pt x="111" y="5"/>
                    </a:lnTo>
                    <a:lnTo>
                      <a:pt x="111" y="3"/>
                    </a:lnTo>
                    <a:lnTo>
                      <a:pt x="113" y="1"/>
                    </a:lnTo>
                    <a:lnTo>
                      <a:pt x="113" y="0"/>
                    </a:lnTo>
                    <a:lnTo>
                      <a:pt x="113" y="1"/>
                    </a:lnTo>
                    <a:lnTo>
                      <a:pt x="115" y="1"/>
                    </a:lnTo>
                    <a:lnTo>
                      <a:pt x="117" y="1"/>
                    </a:lnTo>
                    <a:lnTo>
                      <a:pt x="117" y="0"/>
                    </a:lnTo>
                    <a:lnTo>
                      <a:pt x="119" y="0"/>
                    </a:lnTo>
                    <a:lnTo>
                      <a:pt x="119" y="1"/>
                    </a:lnTo>
                    <a:lnTo>
                      <a:pt x="121" y="0"/>
                    </a:lnTo>
                    <a:lnTo>
                      <a:pt x="121" y="1"/>
                    </a:lnTo>
                    <a:lnTo>
                      <a:pt x="123" y="1"/>
                    </a:lnTo>
                    <a:lnTo>
                      <a:pt x="123" y="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7" name="Freeform 87"/>
              <p:cNvSpPr>
                <a:spLocks/>
              </p:cNvSpPr>
              <p:nvPr/>
            </p:nvSpPr>
            <p:spPr bwMode="auto">
              <a:xfrm>
                <a:off x="1592581" y="2850000"/>
                <a:ext cx="409509" cy="607382"/>
              </a:xfrm>
              <a:custGeom>
                <a:avLst/>
                <a:gdLst>
                  <a:gd name="T0" fmla="*/ 185 w 238"/>
                  <a:gd name="T1" fmla="*/ 65 h 353"/>
                  <a:gd name="T2" fmla="*/ 206 w 238"/>
                  <a:gd name="T3" fmla="*/ 75 h 353"/>
                  <a:gd name="T4" fmla="*/ 221 w 238"/>
                  <a:gd name="T5" fmla="*/ 82 h 353"/>
                  <a:gd name="T6" fmla="*/ 237 w 238"/>
                  <a:gd name="T7" fmla="*/ 88 h 353"/>
                  <a:gd name="T8" fmla="*/ 223 w 238"/>
                  <a:gd name="T9" fmla="*/ 103 h 353"/>
                  <a:gd name="T10" fmla="*/ 231 w 238"/>
                  <a:gd name="T11" fmla="*/ 119 h 353"/>
                  <a:gd name="T12" fmla="*/ 223 w 238"/>
                  <a:gd name="T13" fmla="*/ 126 h 353"/>
                  <a:gd name="T14" fmla="*/ 204 w 238"/>
                  <a:gd name="T15" fmla="*/ 130 h 353"/>
                  <a:gd name="T16" fmla="*/ 196 w 238"/>
                  <a:gd name="T17" fmla="*/ 138 h 353"/>
                  <a:gd name="T18" fmla="*/ 190 w 238"/>
                  <a:gd name="T19" fmla="*/ 149 h 353"/>
                  <a:gd name="T20" fmla="*/ 185 w 238"/>
                  <a:gd name="T21" fmla="*/ 134 h 353"/>
                  <a:gd name="T22" fmla="*/ 173 w 238"/>
                  <a:gd name="T23" fmla="*/ 142 h 353"/>
                  <a:gd name="T24" fmla="*/ 173 w 238"/>
                  <a:gd name="T25" fmla="*/ 132 h 353"/>
                  <a:gd name="T26" fmla="*/ 162 w 238"/>
                  <a:gd name="T27" fmla="*/ 113 h 353"/>
                  <a:gd name="T28" fmla="*/ 144 w 238"/>
                  <a:gd name="T29" fmla="*/ 126 h 353"/>
                  <a:gd name="T30" fmla="*/ 140 w 238"/>
                  <a:gd name="T31" fmla="*/ 140 h 353"/>
                  <a:gd name="T32" fmla="*/ 150 w 238"/>
                  <a:gd name="T33" fmla="*/ 165 h 353"/>
                  <a:gd name="T34" fmla="*/ 173 w 238"/>
                  <a:gd name="T35" fmla="*/ 176 h 353"/>
                  <a:gd name="T36" fmla="*/ 202 w 238"/>
                  <a:gd name="T37" fmla="*/ 176 h 353"/>
                  <a:gd name="T38" fmla="*/ 225 w 238"/>
                  <a:gd name="T39" fmla="*/ 173 h 353"/>
                  <a:gd name="T40" fmla="*/ 214 w 238"/>
                  <a:gd name="T41" fmla="*/ 190 h 353"/>
                  <a:gd name="T42" fmla="*/ 200 w 238"/>
                  <a:gd name="T43" fmla="*/ 215 h 353"/>
                  <a:gd name="T44" fmla="*/ 177 w 238"/>
                  <a:gd name="T45" fmla="*/ 219 h 353"/>
                  <a:gd name="T46" fmla="*/ 160 w 238"/>
                  <a:gd name="T47" fmla="*/ 240 h 353"/>
                  <a:gd name="T48" fmla="*/ 146 w 238"/>
                  <a:gd name="T49" fmla="*/ 276 h 353"/>
                  <a:gd name="T50" fmla="*/ 131 w 238"/>
                  <a:gd name="T51" fmla="*/ 311 h 353"/>
                  <a:gd name="T52" fmla="*/ 121 w 238"/>
                  <a:gd name="T53" fmla="*/ 328 h 353"/>
                  <a:gd name="T54" fmla="*/ 102 w 238"/>
                  <a:gd name="T55" fmla="*/ 351 h 353"/>
                  <a:gd name="T56" fmla="*/ 75 w 238"/>
                  <a:gd name="T57" fmla="*/ 340 h 353"/>
                  <a:gd name="T58" fmla="*/ 54 w 238"/>
                  <a:gd name="T59" fmla="*/ 340 h 353"/>
                  <a:gd name="T60" fmla="*/ 41 w 238"/>
                  <a:gd name="T61" fmla="*/ 342 h 353"/>
                  <a:gd name="T62" fmla="*/ 50 w 238"/>
                  <a:gd name="T63" fmla="*/ 321 h 353"/>
                  <a:gd name="T64" fmla="*/ 50 w 238"/>
                  <a:gd name="T65" fmla="*/ 303 h 353"/>
                  <a:gd name="T66" fmla="*/ 41 w 238"/>
                  <a:gd name="T67" fmla="*/ 296 h 353"/>
                  <a:gd name="T68" fmla="*/ 54 w 238"/>
                  <a:gd name="T69" fmla="*/ 282 h 353"/>
                  <a:gd name="T70" fmla="*/ 52 w 238"/>
                  <a:gd name="T71" fmla="*/ 273 h 353"/>
                  <a:gd name="T72" fmla="*/ 39 w 238"/>
                  <a:gd name="T73" fmla="*/ 273 h 353"/>
                  <a:gd name="T74" fmla="*/ 27 w 238"/>
                  <a:gd name="T75" fmla="*/ 274 h 353"/>
                  <a:gd name="T76" fmla="*/ 27 w 238"/>
                  <a:gd name="T77" fmla="*/ 263 h 353"/>
                  <a:gd name="T78" fmla="*/ 21 w 238"/>
                  <a:gd name="T79" fmla="*/ 248 h 353"/>
                  <a:gd name="T80" fmla="*/ 29 w 238"/>
                  <a:gd name="T81" fmla="*/ 242 h 353"/>
                  <a:gd name="T82" fmla="*/ 23 w 238"/>
                  <a:gd name="T83" fmla="*/ 226 h 353"/>
                  <a:gd name="T84" fmla="*/ 16 w 238"/>
                  <a:gd name="T85" fmla="*/ 209 h 353"/>
                  <a:gd name="T86" fmla="*/ 6 w 238"/>
                  <a:gd name="T87" fmla="*/ 188 h 353"/>
                  <a:gd name="T88" fmla="*/ 2 w 238"/>
                  <a:gd name="T89" fmla="*/ 149 h 353"/>
                  <a:gd name="T90" fmla="*/ 8 w 238"/>
                  <a:gd name="T91" fmla="*/ 126 h 353"/>
                  <a:gd name="T92" fmla="*/ 16 w 238"/>
                  <a:gd name="T93" fmla="*/ 111 h 353"/>
                  <a:gd name="T94" fmla="*/ 27 w 238"/>
                  <a:gd name="T95" fmla="*/ 98 h 353"/>
                  <a:gd name="T96" fmla="*/ 29 w 238"/>
                  <a:gd name="T97" fmla="*/ 82 h 353"/>
                  <a:gd name="T98" fmla="*/ 31 w 238"/>
                  <a:gd name="T99" fmla="*/ 69 h 353"/>
                  <a:gd name="T100" fmla="*/ 52 w 238"/>
                  <a:gd name="T101" fmla="*/ 63 h 353"/>
                  <a:gd name="T102" fmla="*/ 71 w 238"/>
                  <a:gd name="T103" fmla="*/ 50 h 353"/>
                  <a:gd name="T104" fmla="*/ 69 w 238"/>
                  <a:gd name="T105" fmla="*/ 38 h 353"/>
                  <a:gd name="T106" fmla="*/ 62 w 238"/>
                  <a:gd name="T107" fmla="*/ 26 h 353"/>
                  <a:gd name="T108" fmla="*/ 81 w 238"/>
                  <a:gd name="T109" fmla="*/ 19 h 353"/>
                  <a:gd name="T110" fmla="*/ 96 w 238"/>
                  <a:gd name="T111" fmla="*/ 9 h 353"/>
                  <a:gd name="T112" fmla="*/ 108 w 238"/>
                  <a:gd name="T113" fmla="*/ 7 h 353"/>
                  <a:gd name="T114" fmla="*/ 117 w 238"/>
                  <a:gd name="T115" fmla="*/ 21 h 353"/>
                  <a:gd name="T116" fmla="*/ 133 w 238"/>
                  <a:gd name="T117" fmla="*/ 23 h 353"/>
                  <a:gd name="T118" fmla="*/ 144 w 238"/>
                  <a:gd name="T119" fmla="*/ 32 h 353"/>
                  <a:gd name="T120" fmla="*/ 160 w 238"/>
                  <a:gd name="T121" fmla="*/ 36 h 353"/>
                  <a:gd name="T122" fmla="*/ 169 w 238"/>
                  <a:gd name="T123" fmla="*/ 57 h 353"/>
                  <a:gd name="T124" fmla="*/ 185 w 238"/>
                  <a:gd name="T125" fmla="*/ 48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8" h="353">
                    <a:moveTo>
                      <a:pt x="185" y="48"/>
                    </a:moveTo>
                    <a:lnTo>
                      <a:pt x="185" y="50"/>
                    </a:lnTo>
                    <a:lnTo>
                      <a:pt x="185" y="51"/>
                    </a:lnTo>
                    <a:lnTo>
                      <a:pt x="183" y="51"/>
                    </a:lnTo>
                    <a:lnTo>
                      <a:pt x="183" y="53"/>
                    </a:lnTo>
                    <a:lnTo>
                      <a:pt x="185" y="53"/>
                    </a:lnTo>
                    <a:lnTo>
                      <a:pt x="183" y="53"/>
                    </a:lnTo>
                    <a:lnTo>
                      <a:pt x="183" y="55"/>
                    </a:lnTo>
                    <a:lnTo>
                      <a:pt x="185" y="55"/>
                    </a:lnTo>
                    <a:lnTo>
                      <a:pt x="185" y="57"/>
                    </a:lnTo>
                    <a:lnTo>
                      <a:pt x="183" y="57"/>
                    </a:lnTo>
                    <a:lnTo>
                      <a:pt x="183" y="59"/>
                    </a:lnTo>
                    <a:lnTo>
                      <a:pt x="183" y="61"/>
                    </a:lnTo>
                    <a:lnTo>
                      <a:pt x="181" y="61"/>
                    </a:lnTo>
                    <a:lnTo>
                      <a:pt x="183" y="63"/>
                    </a:lnTo>
                    <a:lnTo>
                      <a:pt x="183" y="65"/>
                    </a:lnTo>
                    <a:lnTo>
                      <a:pt x="185" y="67"/>
                    </a:lnTo>
                    <a:lnTo>
                      <a:pt x="185" y="65"/>
                    </a:lnTo>
                    <a:lnTo>
                      <a:pt x="187" y="67"/>
                    </a:lnTo>
                    <a:lnTo>
                      <a:pt x="187" y="65"/>
                    </a:lnTo>
                    <a:lnTo>
                      <a:pt x="189" y="65"/>
                    </a:lnTo>
                    <a:lnTo>
                      <a:pt x="189" y="63"/>
                    </a:lnTo>
                    <a:lnTo>
                      <a:pt x="189" y="65"/>
                    </a:lnTo>
                    <a:lnTo>
                      <a:pt x="190" y="65"/>
                    </a:lnTo>
                    <a:lnTo>
                      <a:pt x="192" y="65"/>
                    </a:lnTo>
                    <a:lnTo>
                      <a:pt x="194" y="65"/>
                    </a:lnTo>
                    <a:lnTo>
                      <a:pt x="194" y="67"/>
                    </a:lnTo>
                    <a:lnTo>
                      <a:pt x="194" y="69"/>
                    </a:lnTo>
                    <a:lnTo>
                      <a:pt x="196" y="69"/>
                    </a:lnTo>
                    <a:lnTo>
                      <a:pt x="198" y="69"/>
                    </a:lnTo>
                    <a:lnTo>
                      <a:pt x="200" y="71"/>
                    </a:lnTo>
                    <a:lnTo>
                      <a:pt x="202" y="69"/>
                    </a:lnTo>
                    <a:lnTo>
                      <a:pt x="204" y="71"/>
                    </a:lnTo>
                    <a:lnTo>
                      <a:pt x="204" y="73"/>
                    </a:lnTo>
                    <a:lnTo>
                      <a:pt x="206" y="73"/>
                    </a:lnTo>
                    <a:lnTo>
                      <a:pt x="206" y="75"/>
                    </a:lnTo>
                    <a:lnTo>
                      <a:pt x="206" y="73"/>
                    </a:lnTo>
                    <a:lnTo>
                      <a:pt x="208" y="73"/>
                    </a:lnTo>
                    <a:lnTo>
                      <a:pt x="208" y="75"/>
                    </a:lnTo>
                    <a:lnTo>
                      <a:pt x="208" y="76"/>
                    </a:lnTo>
                    <a:lnTo>
                      <a:pt x="208" y="75"/>
                    </a:lnTo>
                    <a:lnTo>
                      <a:pt x="210" y="75"/>
                    </a:lnTo>
                    <a:lnTo>
                      <a:pt x="212" y="75"/>
                    </a:lnTo>
                    <a:lnTo>
                      <a:pt x="214" y="73"/>
                    </a:lnTo>
                    <a:lnTo>
                      <a:pt x="214" y="71"/>
                    </a:lnTo>
                    <a:lnTo>
                      <a:pt x="215" y="73"/>
                    </a:lnTo>
                    <a:lnTo>
                      <a:pt x="215" y="75"/>
                    </a:lnTo>
                    <a:lnTo>
                      <a:pt x="217" y="75"/>
                    </a:lnTo>
                    <a:lnTo>
                      <a:pt x="217" y="76"/>
                    </a:lnTo>
                    <a:lnTo>
                      <a:pt x="219" y="76"/>
                    </a:lnTo>
                    <a:lnTo>
                      <a:pt x="219" y="78"/>
                    </a:lnTo>
                    <a:lnTo>
                      <a:pt x="219" y="80"/>
                    </a:lnTo>
                    <a:lnTo>
                      <a:pt x="221" y="80"/>
                    </a:lnTo>
                    <a:lnTo>
                      <a:pt x="221" y="82"/>
                    </a:lnTo>
                    <a:lnTo>
                      <a:pt x="223" y="82"/>
                    </a:lnTo>
                    <a:lnTo>
                      <a:pt x="223" y="84"/>
                    </a:lnTo>
                    <a:lnTo>
                      <a:pt x="225" y="84"/>
                    </a:lnTo>
                    <a:lnTo>
                      <a:pt x="225" y="82"/>
                    </a:lnTo>
                    <a:lnTo>
                      <a:pt x="227" y="82"/>
                    </a:lnTo>
                    <a:lnTo>
                      <a:pt x="229" y="80"/>
                    </a:lnTo>
                    <a:lnTo>
                      <a:pt x="229" y="78"/>
                    </a:lnTo>
                    <a:lnTo>
                      <a:pt x="231" y="78"/>
                    </a:lnTo>
                    <a:lnTo>
                      <a:pt x="233" y="80"/>
                    </a:lnTo>
                    <a:lnTo>
                      <a:pt x="233" y="82"/>
                    </a:lnTo>
                    <a:lnTo>
                      <a:pt x="235" y="82"/>
                    </a:lnTo>
                    <a:lnTo>
                      <a:pt x="237" y="82"/>
                    </a:lnTo>
                    <a:lnTo>
                      <a:pt x="237" y="80"/>
                    </a:lnTo>
                    <a:lnTo>
                      <a:pt x="238" y="82"/>
                    </a:lnTo>
                    <a:lnTo>
                      <a:pt x="238" y="84"/>
                    </a:lnTo>
                    <a:lnTo>
                      <a:pt x="238" y="86"/>
                    </a:lnTo>
                    <a:lnTo>
                      <a:pt x="237" y="86"/>
                    </a:lnTo>
                    <a:lnTo>
                      <a:pt x="237" y="88"/>
                    </a:lnTo>
                    <a:lnTo>
                      <a:pt x="235" y="88"/>
                    </a:lnTo>
                    <a:lnTo>
                      <a:pt x="235" y="90"/>
                    </a:lnTo>
                    <a:lnTo>
                      <a:pt x="235" y="88"/>
                    </a:lnTo>
                    <a:lnTo>
                      <a:pt x="235" y="90"/>
                    </a:lnTo>
                    <a:lnTo>
                      <a:pt x="233" y="90"/>
                    </a:lnTo>
                    <a:lnTo>
                      <a:pt x="233" y="88"/>
                    </a:lnTo>
                    <a:lnTo>
                      <a:pt x="231" y="88"/>
                    </a:lnTo>
                    <a:lnTo>
                      <a:pt x="231" y="90"/>
                    </a:lnTo>
                    <a:lnTo>
                      <a:pt x="231" y="92"/>
                    </a:lnTo>
                    <a:lnTo>
                      <a:pt x="231" y="94"/>
                    </a:lnTo>
                    <a:lnTo>
                      <a:pt x="231" y="96"/>
                    </a:lnTo>
                    <a:lnTo>
                      <a:pt x="231" y="98"/>
                    </a:lnTo>
                    <a:lnTo>
                      <a:pt x="229" y="98"/>
                    </a:lnTo>
                    <a:lnTo>
                      <a:pt x="229" y="99"/>
                    </a:lnTo>
                    <a:lnTo>
                      <a:pt x="227" y="101"/>
                    </a:lnTo>
                    <a:lnTo>
                      <a:pt x="225" y="101"/>
                    </a:lnTo>
                    <a:lnTo>
                      <a:pt x="225" y="103"/>
                    </a:lnTo>
                    <a:lnTo>
                      <a:pt x="223" y="103"/>
                    </a:lnTo>
                    <a:lnTo>
                      <a:pt x="225" y="103"/>
                    </a:lnTo>
                    <a:lnTo>
                      <a:pt x="227" y="103"/>
                    </a:lnTo>
                    <a:lnTo>
                      <a:pt x="227" y="105"/>
                    </a:lnTo>
                    <a:lnTo>
                      <a:pt x="229" y="105"/>
                    </a:lnTo>
                    <a:lnTo>
                      <a:pt x="229" y="107"/>
                    </a:lnTo>
                    <a:lnTo>
                      <a:pt x="227" y="109"/>
                    </a:lnTo>
                    <a:lnTo>
                      <a:pt x="227" y="111"/>
                    </a:lnTo>
                    <a:lnTo>
                      <a:pt x="227" y="113"/>
                    </a:lnTo>
                    <a:lnTo>
                      <a:pt x="227" y="115"/>
                    </a:lnTo>
                    <a:lnTo>
                      <a:pt x="225" y="115"/>
                    </a:lnTo>
                    <a:lnTo>
                      <a:pt x="225" y="117"/>
                    </a:lnTo>
                    <a:lnTo>
                      <a:pt x="223" y="117"/>
                    </a:lnTo>
                    <a:lnTo>
                      <a:pt x="223" y="119"/>
                    </a:lnTo>
                    <a:lnTo>
                      <a:pt x="225" y="117"/>
                    </a:lnTo>
                    <a:lnTo>
                      <a:pt x="227" y="117"/>
                    </a:lnTo>
                    <a:lnTo>
                      <a:pt x="229" y="115"/>
                    </a:lnTo>
                    <a:lnTo>
                      <a:pt x="231" y="117"/>
                    </a:lnTo>
                    <a:lnTo>
                      <a:pt x="231" y="119"/>
                    </a:lnTo>
                    <a:lnTo>
                      <a:pt x="229" y="119"/>
                    </a:lnTo>
                    <a:lnTo>
                      <a:pt x="231" y="121"/>
                    </a:lnTo>
                    <a:lnTo>
                      <a:pt x="233" y="121"/>
                    </a:lnTo>
                    <a:lnTo>
                      <a:pt x="235" y="121"/>
                    </a:lnTo>
                    <a:lnTo>
                      <a:pt x="235" y="123"/>
                    </a:lnTo>
                    <a:lnTo>
                      <a:pt x="235" y="124"/>
                    </a:lnTo>
                    <a:lnTo>
                      <a:pt x="233" y="123"/>
                    </a:lnTo>
                    <a:lnTo>
                      <a:pt x="233" y="124"/>
                    </a:lnTo>
                    <a:lnTo>
                      <a:pt x="231" y="124"/>
                    </a:lnTo>
                    <a:lnTo>
                      <a:pt x="231" y="126"/>
                    </a:lnTo>
                    <a:lnTo>
                      <a:pt x="229" y="126"/>
                    </a:lnTo>
                    <a:lnTo>
                      <a:pt x="227" y="126"/>
                    </a:lnTo>
                    <a:lnTo>
                      <a:pt x="225" y="126"/>
                    </a:lnTo>
                    <a:lnTo>
                      <a:pt x="225" y="124"/>
                    </a:lnTo>
                    <a:lnTo>
                      <a:pt x="225" y="126"/>
                    </a:lnTo>
                    <a:lnTo>
                      <a:pt x="223" y="126"/>
                    </a:lnTo>
                    <a:lnTo>
                      <a:pt x="223" y="124"/>
                    </a:lnTo>
                    <a:lnTo>
                      <a:pt x="223" y="126"/>
                    </a:lnTo>
                    <a:lnTo>
                      <a:pt x="219" y="126"/>
                    </a:lnTo>
                    <a:lnTo>
                      <a:pt x="219" y="124"/>
                    </a:lnTo>
                    <a:lnTo>
                      <a:pt x="217" y="124"/>
                    </a:lnTo>
                    <a:lnTo>
                      <a:pt x="215" y="126"/>
                    </a:lnTo>
                    <a:lnTo>
                      <a:pt x="215" y="128"/>
                    </a:lnTo>
                    <a:lnTo>
                      <a:pt x="215" y="130"/>
                    </a:lnTo>
                    <a:lnTo>
                      <a:pt x="214" y="132"/>
                    </a:lnTo>
                    <a:lnTo>
                      <a:pt x="212" y="132"/>
                    </a:lnTo>
                    <a:lnTo>
                      <a:pt x="212" y="134"/>
                    </a:lnTo>
                    <a:lnTo>
                      <a:pt x="210" y="134"/>
                    </a:lnTo>
                    <a:lnTo>
                      <a:pt x="208" y="134"/>
                    </a:lnTo>
                    <a:lnTo>
                      <a:pt x="208" y="136"/>
                    </a:lnTo>
                    <a:lnTo>
                      <a:pt x="208" y="134"/>
                    </a:lnTo>
                    <a:lnTo>
                      <a:pt x="206" y="136"/>
                    </a:lnTo>
                    <a:lnTo>
                      <a:pt x="206" y="134"/>
                    </a:lnTo>
                    <a:lnTo>
                      <a:pt x="208" y="132"/>
                    </a:lnTo>
                    <a:lnTo>
                      <a:pt x="206" y="130"/>
                    </a:lnTo>
                    <a:lnTo>
                      <a:pt x="204" y="130"/>
                    </a:lnTo>
                    <a:lnTo>
                      <a:pt x="204" y="128"/>
                    </a:lnTo>
                    <a:lnTo>
                      <a:pt x="202" y="130"/>
                    </a:lnTo>
                    <a:lnTo>
                      <a:pt x="202" y="132"/>
                    </a:lnTo>
                    <a:lnTo>
                      <a:pt x="204" y="132"/>
                    </a:lnTo>
                    <a:lnTo>
                      <a:pt x="206" y="132"/>
                    </a:lnTo>
                    <a:lnTo>
                      <a:pt x="206" y="134"/>
                    </a:lnTo>
                    <a:lnTo>
                      <a:pt x="204" y="134"/>
                    </a:lnTo>
                    <a:lnTo>
                      <a:pt x="204" y="132"/>
                    </a:lnTo>
                    <a:lnTo>
                      <a:pt x="200" y="132"/>
                    </a:lnTo>
                    <a:lnTo>
                      <a:pt x="200" y="130"/>
                    </a:lnTo>
                    <a:lnTo>
                      <a:pt x="198" y="130"/>
                    </a:lnTo>
                    <a:lnTo>
                      <a:pt x="198" y="132"/>
                    </a:lnTo>
                    <a:lnTo>
                      <a:pt x="196" y="134"/>
                    </a:lnTo>
                    <a:lnTo>
                      <a:pt x="198" y="136"/>
                    </a:lnTo>
                    <a:lnTo>
                      <a:pt x="198" y="138"/>
                    </a:lnTo>
                    <a:lnTo>
                      <a:pt x="196" y="138"/>
                    </a:lnTo>
                    <a:lnTo>
                      <a:pt x="196" y="140"/>
                    </a:lnTo>
                    <a:lnTo>
                      <a:pt x="196" y="138"/>
                    </a:lnTo>
                    <a:lnTo>
                      <a:pt x="196" y="136"/>
                    </a:lnTo>
                    <a:lnTo>
                      <a:pt x="194" y="136"/>
                    </a:lnTo>
                    <a:lnTo>
                      <a:pt x="194" y="138"/>
                    </a:lnTo>
                    <a:lnTo>
                      <a:pt x="194" y="136"/>
                    </a:lnTo>
                    <a:lnTo>
                      <a:pt x="194" y="134"/>
                    </a:lnTo>
                    <a:lnTo>
                      <a:pt x="192" y="134"/>
                    </a:lnTo>
                    <a:lnTo>
                      <a:pt x="192" y="136"/>
                    </a:lnTo>
                    <a:lnTo>
                      <a:pt x="192" y="138"/>
                    </a:lnTo>
                    <a:lnTo>
                      <a:pt x="190" y="138"/>
                    </a:lnTo>
                    <a:lnTo>
                      <a:pt x="192" y="138"/>
                    </a:lnTo>
                    <a:lnTo>
                      <a:pt x="194" y="140"/>
                    </a:lnTo>
                    <a:lnTo>
                      <a:pt x="196" y="142"/>
                    </a:lnTo>
                    <a:lnTo>
                      <a:pt x="196" y="144"/>
                    </a:lnTo>
                    <a:lnTo>
                      <a:pt x="196" y="146"/>
                    </a:lnTo>
                    <a:lnTo>
                      <a:pt x="196" y="148"/>
                    </a:lnTo>
                    <a:lnTo>
                      <a:pt x="194" y="148"/>
                    </a:lnTo>
                    <a:lnTo>
                      <a:pt x="192" y="149"/>
                    </a:lnTo>
                    <a:lnTo>
                      <a:pt x="190" y="149"/>
                    </a:lnTo>
                    <a:lnTo>
                      <a:pt x="190" y="151"/>
                    </a:lnTo>
                    <a:lnTo>
                      <a:pt x="190" y="149"/>
                    </a:lnTo>
                    <a:lnTo>
                      <a:pt x="190" y="151"/>
                    </a:lnTo>
                    <a:lnTo>
                      <a:pt x="189" y="149"/>
                    </a:lnTo>
                    <a:lnTo>
                      <a:pt x="187" y="149"/>
                    </a:lnTo>
                    <a:lnTo>
                      <a:pt x="187" y="148"/>
                    </a:lnTo>
                    <a:lnTo>
                      <a:pt x="185" y="148"/>
                    </a:lnTo>
                    <a:lnTo>
                      <a:pt x="187" y="146"/>
                    </a:lnTo>
                    <a:lnTo>
                      <a:pt x="187" y="144"/>
                    </a:lnTo>
                    <a:lnTo>
                      <a:pt x="185" y="146"/>
                    </a:lnTo>
                    <a:lnTo>
                      <a:pt x="183" y="146"/>
                    </a:lnTo>
                    <a:lnTo>
                      <a:pt x="183" y="144"/>
                    </a:lnTo>
                    <a:lnTo>
                      <a:pt x="185" y="142"/>
                    </a:lnTo>
                    <a:lnTo>
                      <a:pt x="185" y="140"/>
                    </a:lnTo>
                    <a:lnTo>
                      <a:pt x="183" y="138"/>
                    </a:lnTo>
                    <a:lnTo>
                      <a:pt x="183" y="136"/>
                    </a:lnTo>
                    <a:lnTo>
                      <a:pt x="185" y="136"/>
                    </a:lnTo>
                    <a:lnTo>
                      <a:pt x="185" y="134"/>
                    </a:lnTo>
                    <a:lnTo>
                      <a:pt x="183" y="134"/>
                    </a:lnTo>
                    <a:lnTo>
                      <a:pt x="183" y="132"/>
                    </a:lnTo>
                    <a:lnTo>
                      <a:pt x="181" y="132"/>
                    </a:lnTo>
                    <a:lnTo>
                      <a:pt x="179" y="132"/>
                    </a:lnTo>
                    <a:lnTo>
                      <a:pt x="179" y="134"/>
                    </a:lnTo>
                    <a:lnTo>
                      <a:pt x="179" y="132"/>
                    </a:lnTo>
                    <a:lnTo>
                      <a:pt x="179" y="134"/>
                    </a:lnTo>
                    <a:lnTo>
                      <a:pt x="177" y="134"/>
                    </a:lnTo>
                    <a:lnTo>
                      <a:pt x="177" y="136"/>
                    </a:lnTo>
                    <a:lnTo>
                      <a:pt x="175" y="136"/>
                    </a:lnTo>
                    <a:lnTo>
                      <a:pt x="177" y="136"/>
                    </a:lnTo>
                    <a:lnTo>
                      <a:pt x="177" y="138"/>
                    </a:lnTo>
                    <a:lnTo>
                      <a:pt x="175" y="138"/>
                    </a:lnTo>
                    <a:lnTo>
                      <a:pt x="175" y="140"/>
                    </a:lnTo>
                    <a:lnTo>
                      <a:pt x="175" y="142"/>
                    </a:lnTo>
                    <a:lnTo>
                      <a:pt x="173" y="142"/>
                    </a:lnTo>
                    <a:lnTo>
                      <a:pt x="171" y="142"/>
                    </a:lnTo>
                    <a:lnTo>
                      <a:pt x="173" y="142"/>
                    </a:lnTo>
                    <a:lnTo>
                      <a:pt x="173" y="144"/>
                    </a:lnTo>
                    <a:lnTo>
                      <a:pt x="173" y="142"/>
                    </a:lnTo>
                    <a:lnTo>
                      <a:pt x="173" y="144"/>
                    </a:lnTo>
                    <a:lnTo>
                      <a:pt x="171" y="144"/>
                    </a:lnTo>
                    <a:lnTo>
                      <a:pt x="171" y="146"/>
                    </a:lnTo>
                    <a:lnTo>
                      <a:pt x="169" y="146"/>
                    </a:lnTo>
                    <a:lnTo>
                      <a:pt x="167" y="146"/>
                    </a:lnTo>
                    <a:lnTo>
                      <a:pt x="167" y="144"/>
                    </a:lnTo>
                    <a:lnTo>
                      <a:pt x="165" y="144"/>
                    </a:lnTo>
                    <a:lnTo>
                      <a:pt x="165" y="142"/>
                    </a:lnTo>
                    <a:lnTo>
                      <a:pt x="167" y="142"/>
                    </a:lnTo>
                    <a:lnTo>
                      <a:pt x="169" y="142"/>
                    </a:lnTo>
                    <a:lnTo>
                      <a:pt x="169" y="140"/>
                    </a:lnTo>
                    <a:lnTo>
                      <a:pt x="171" y="138"/>
                    </a:lnTo>
                    <a:lnTo>
                      <a:pt x="171" y="136"/>
                    </a:lnTo>
                    <a:lnTo>
                      <a:pt x="171" y="134"/>
                    </a:lnTo>
                    <a:lnTo>
                      <a:pt x="171" y="132"/>
                    </a:lnTo>
                    <a:lnTo>
                      <a:pt x="173" y="132"/>
                    </a:lnTo>
                    <a:lnTo>
                      <a:pt x="173" y="130"/>
                    </a:lnTo>
                    <a:lnTo>
                      <a:pt x="175" y="130"/>
                    </a:lnTo>
                    <a:lnTo>
                      <a:pt x="177" y="130"/>
                    </a:lnTo>
                    <a:lnTo>
                      <a:pt x="177" y="128"/>
                    </a:lnTo>
                    <a:lnTo>
                      <a:pt x="179" y="128"/>
                    </a:lnTo>
                    <a:lnTo>
                      <a:pt x="179" y="126"/>
                    </a:lnTo>
                    <a:lnTo>
                      <a:pt x="177" y="126"/>
                    </a:lnTo>
                    <a:lnTo>
                      <a:pt x="177" y="124"/>
                    </a:lnTo>
                    <a:lnTo>
                      <a:pt x="177" y="123"/>
                    </a:lnTo>
                    <a:lnTo>
                      <a:pt x="175" y="123"/>
                    </a:lnTo>
                    <a:lnTo>
                      <a:pt x="175" y="121"/>
                    </a:lnTo>
                    <a:lnTo>
                      <a:pt x="173" y="119"/>
                    </a:lnTo>
                    <a:lnTo>
                      <a:pt x="169" y="117"/>
                    </a:lnTo>
                    <a:lnTo>
                      <a:pt x="167" y="117"/>
                    </a:lnTo>
                    <a:lnTo>
                      <a:pt x="165" y="117"/>
                    </a:lnTo>
                    <a:lnTo>
                      <a:pt x="165" y="115"/>
                    </a:lnTo>
                    <a:lnTo>
                      <a:pt x="164" y="113"/>
                    </a:lnTo>
                    <a:lnTo>
                      <a:pt x="162" y="113"/>
                    </a:lnTo>
                    <a:lnTo>
                      <a:pt x="160" y="113"/>
                    </a:lnTo>
                    <a:lnTo>
                      <a:pt x="158" y="113"/>
                    </a:lnTo>
                    <a:lnTo>
                      <a:pt x="156" y="113"/>
                    </a:lnTo>
                    <a:lnTo>
                      <a:pt x="156" y="115"/>
                    </a:lnTo>
                    <a:lnTo>
                      <a:pt x="154" y="115"/>
                    </a:lnTo>
                    <a:lnTo>
                      <a:pt x="154" y="113"/>
                    </a:lnTo>
                    <a:lnTo>
                      <a:pt x="152" y="113"/>
                    </a:lnTo>
                    <a:lnTo>
                      <a:pt x="152" y="115"/>
                    </a:lnTo>
                    <a:lnTo>
                      <a:pt x="152" y="117"/>
                    </a:lnTo>
                    <a:lnTo>
                      <a:pt x="150" y="115"/>
                    </a:lnTo>
                    <a:lnTo>
                      <a:pt x="150" y="117"/>
                    </a:lnTo>
                    <a:lnTo>
                      <a:pt x="150" y="119"/>
                    </a:lnTo>
                    <a:lnTo>
                      <a:pt x="150" y="121"/>
                    </a:lnTo>
                    <a:lnTo>
                      <a:pt x="148" y="121"/>
                    </a:lnTo>
                    <a:lnTo>
                      <a:pt x="146" y="121"/>
                    </a:lnTo>
                    <a:lnTo>
                      <a:pt x="146" y="123"/>
                    </a:lnTo>
                    <a:lnTo>
                      <a:pt x="144" y="124"/>
                    </a:lnTo>
                    <a:lnTo>
                      <a:pt x="144" y="126"/>
                    </a:lnTo>
                    <a:lnTo>
                      <a:pt x="144" y="128"/>
                    </a:lnTo>
                    <a:lnTo>
                      <a:pt x="144" y="130"/>
                    </a:lnTo>
                    <a:lnTo>
                      <a:pt x="144" y="132"/>
                    </a:lnTo>
                    <a:lnTo>
                      <a:pt x="142" y="132"/>
                    </a:lnTo>
                    <a:lnTo>
                      <a:pt x="144" y="132"/>
                    </a:lnTo>
                    <a:lnTo>
                      <a:pt x="142" y="132"/>
                    </a:lnTo>
                    <a:lnTo>
                      <a:pt x="144" y="132"/>
                    </a:lnTo>
                    <a:lnTo>
                      <a:pt x="142" y="132"/>
                    </a:lnTo>
                    <a:lnTo>
                      <a:pt x="144" y="132"/>
                    </a:lnTo>
                    <a:lnTo>
                      <a:pt x="144" y="134"/>
                    </a:lnTo>
                    <a:lnTo>
                      <a:pt x="144" y="132"/>
                    </a:lnTo>
                    <a:lnTo>
                      <a:pt x="144" y="134"/>
                    </a:lnTo>
                    <a:lnTo>
                      <a:pt x="144" y="132"/>
                    </a:lnTo>
                    <a:lnTo>
                      <a:pt x="144" y="134"/>
                    </a:lnTo>
                    <a:lnTo>
                      <a:pt x="142" y="136"/>
                    </a:lnTo>
                    <a:lnTo>
                      <a:pt x="140" y="136"/>
                    </a:lnTo>
                    <a:lnTo>
                      <a:pt x="140" y="138"/>
                    </a:lnTo>
                    <a:lnTo>
                      <a:pt x="140" y="140"/>
                    </a:lnTo>
                    <a:lnTo>
                      <a:pt x="139" y="142"/>
                    </a:lnTo>
                    <a:lnTo>
                      <a:pt x="139" y="144"/>
                    </a:lnTo>
                    <a:lnTo>
                      <a:pt x="140" y="144"/>
                    </a:lnTo>
                    <a:lnTo>
                      <a:pt x="140" y="146"/>
                    </a:lnTo>
                    <a:lnTo>
                      <a:pt x="142" y="148"/>
                    </a:lnTo>
                    <a:lnTo>
                      <a:pt x="142" y="149"/>
                    </a:lnTo>
                    <a:lnTo>
                      <a:pt x="144" y="149"/>
                    </a:lnTo>
                    <a:lnTo>
                      <a:pt x="144" y="151"/>
                    </a:lnTo>
                    <a:lnTo>
                      <a:pt x="146" y="151"/>
                    </a:lnTo>
                    <a:lnTo>
                      <a:pt x="146" y="153"/>
                    </a:lnTo>
                    <a:lnTo>
                      <a:pt x="144" y="155"/>
                    </a:lnTo>
                    <a:lnTo>
                      <a:pt x="146" y="155"/>
                    </a:lnTo>
                    <a:lnTo>
                      <a:pt x="148" y="155"/>
                    </a:lnTo>
                    <a:lnTo>
                      <a:pt x="148" y="157"/>
                    </a:lnTo>
                    <a:lnTo>
                      <a:pt x="148" y="159"/>
                    </a:lnTo>
                    <a:lnTo>
                      <a:pt x="148" y="161"/>
                    </a:lnTo>
                    <a:lnTo>
                      <a:pt x="150" y="163"/>
                    </a:lnTo>
                    <a:lnTo>
                      <a:pt x="150" y="165"/>
                    </a:lnTo>
                    <a:lnTo>
                      <a:pt x="150" y="167"/>
                    </a:lnTo>
                    <a:lnTo>
                      <a:pt x="148" y="169"/>
                    </a:lnTo>
                    <a:lnTo>
                      <a:pt x="150" y="169"/>
                    </a:lnTo>
                    <a:lnTo>
                      <a:pt x="150" y="171"/>
                    </a:lnTo>
                    <a:lnTo>
                      <a:pt x="152" y="173"/>
                    </a:lnTo>
                    <a:lnTo>
                      <a:pt x="152" y="174"/>
                    </a:lnTo>
                    <a:lnTo>
                      <a:pt x="152" y="176"/>
                    </a:lnTo>
                    <a:lnTo>
                      <a:pt x="154" y="178"/>
                    </a:lnTo>
                    <a:lnTo>
                      <a:pt x="156" y="178"/>
                    </a:lnTo>
                    <a:lnTo>
                      <a:pt x="160" y="176"/>
                    </a:lnTo>
                    <a:lnTo>
                      <a:pt x="162" y="174"/>
                    </a:lnTo>
                    <a:lnTo>
                      <a:pt x="164" y="173"/>
                    </a:lnTo>
                    <a:lnTo>
                      <a:pt x="165" y="174"/>
                    </a:lnTo>
                    <a:lnTo>
                      <a:pt x="167" y="173"/>
                    </a:lnTo>
                    <a:lnTo>
                      <a:pt x="169" y="173"/>
                    </a:lnTo>
                    <a:lnTo>
                      <a:pt x="171" y="173"/>
                    </a:lnTo>
                    <a:lnTo>
                      <a:pt x="171" y="174"/>
                    </a:lnTo>
                    <a:lnTo>
                      <a:pt x="173" y="176"/>
                    </a:lnTo>
                    <a:lnTo>
                      <a:pt x="173" y="178"/>
                    </a:lnTo>
                    <a:lnTo>
                      <a:pt x="173" y="180"/>
                    </a:lnTo>
                    <a:lnTo>
                      <a:pt x="175" y="182"/>
                    </a:lnTo>
                    <a:lnTo>
                      <a:pt x="179" y="182"/>
                    </a:lnTo>
                    <a:lnTo>
                      <a:pt x="181" y="178"/>
                    </a:lnTo>
                    <a:lnTo>
                      <a:pt x="183" y="178"/>
                    </a:lnTo>
                    <a:lnTo>
                      <a:pt x="185" y="178"/>
                    </a:lnTo>
                    <a:lnTo>
                      <a:pt x="187" y="178"/>
                    </a:lnTo>
                    <a:lnTo>
                      <a:pt x="189" y="178"/>
                    </a:lnTo>
                    <a:lnTo>
                      <a:pt x="190" y="176"/>
                    </a:lnTo>
                    <a:lnTo>
                      <a:pt x="192" y="176"/>
                    </a:lnTo>
                    <a:lnTo>
                      <a:pt x="194" y="174"/>
                    </a:lnTo>
                    <a:lnTo>
                      <a:pt x="194" y="176"/>
                    </a:lnTo>
                    <a:lnTo>
                      <a:pt x="196" y="178"/>
                    </a:lnTo>
                    <a:lnTo>
                      <a:pt x="198" y="178"/>
                    </a:lnTo>
                    <a:lnTo>
                      <a:pt x="200" y="180"/>
                    </a:lnTo>
                    <a:lnTo>
                      <a:pt x="200" y="178"/>
                    </a:lnTo>
                    <a:lnTo>
                      <a:pt x="202" y="176"/>
                    </a:lnTo>
                    <a:lnTo>
                      <a:pt x="204" y="176"/>
                    </a:lnTo>
                    <a:lnTo>
                      <a:pt x="208" y="176"/>
                    </a:lnTo>
                    <a:lnTo>
                      <a:pt x="208" y="174"/>
                    </a:lnTo>
                    <a:lnTo>
                      <a:pt x="210" y="173"/>
                    </a:lnTo>
                    <a:lnTo>
                      <a:pt x="212" y="173"/>
                    </a:lnTo>
                    <a:lnTo>
                      <a:pt x="214" y="171"/>
                    </a:lnTo>
                    <a:lnTo>
                      <a:pt x="214" y="169"/>
                    </a:lnTo>
                    <a:lnTo>
                      <a:pt x="215" y="169"/>
                    </a:lnTo>
                    <a:lnTo>
                      <a:pt x="217" y="167"/>
                    </a:lnTo>
                    <a:lnTo>
                      <a:pt x="217" y="165"/>
                    </a:lnTo>
                    <a:lnTo>
                      <a:pt x="219" y="165"/>
                    </a:lnTo>
                    <a:lnTo>
                      <a:pt x="219" y="167"/>
                    </a:lnTo>
                    <a:lnTo>
                      <a:pt x="219" y="169"/>
                    </a:lnTo>
                    <a:lnTo>
                      <a:pt x="221" y="169"/>
                    </a:lnTo>
                    <a:lnTo>
                      <a:pt x="221" y="171"/>
                    </a:lnTo>
                    <a:lnTo>
                      <a:pt x="223" y="171"/>
                    </a:lnTo>
                    <a:lnTo>
                      <a:pt x="223" y="173"/>
                    </a:lnTo>
                    <a:lnTo>
                      <a:pt x="225" y="173"/>
                    </a:lnTo>
                    <a:lnTo>
                      <a:pt x="225" y="171"/>
                    </a:lnTo>
                    <a:lnTo>
                      <a:pt x="227" y="171"/>
                    </a:lnTo>
                    <a:lnTo>
                      <a:pt x="227" y="173"/>
                    </a:lnTo>
                    <a:lnTo>
                      <a:pt x="229" y="173"/>
                    </a:lnTo>
                    <a:lnTo>
                      <a:pt x="227" y="174"/>
                    </a:lnTo>
                    <a:lnTo>
                      <a:pt x="225" y="174"/>
                    </a:lnTo>
                    <a:lnTo>
                      <a:pt x="225" y="176"/>
                    </a:lnTo>
                    <a:lnTo>
                      <a:pt x="225" y="178"/>
                    </a:lnTo>
                    <a:lnTo>
                      <a:pt x="223" y="178"/>
                    </a:lnTo>
                    <a:lnTo>
                      <a:pt x="223" y="180"/>
                    </a:lnTo>
                    <a:lnTo>
                      <a:pt x="221" y="182"/>
                    </a:lnTo>
                    <a:lnTo>
                      <a:pt x="219" y="184"/>
                    </a:lnTo>
                    <a:lnTo>
                      <a:pt x="219" y="186"/>
                    </a:lnTo>
                    <a:lnTo>
                      <a:pt x="217" y="186"/>
                    </a:lnTo>
                    <a:lnTo>
                      <a:pt x="217" y="188"/>
                    </a:lnTo>
                    <a:lnTo>
                      <a:pt x="215" y="188"/>
                    </a:lnTo>
                    <a:lnTo>
                      <a:pt x="215" y="190"/>
                    </a:lnTo>
                    <a:lnTo>
                      <a:pt x="214" y="190"/>
                    </a:lnTo>
                    <a:lnTo>
                      <a:pt x="212" y="190"/>
                    </a:lnTo>
                    <a:lnTo>
                      <a:pt x="212" y="192"/>
                    </a:lnTo>
                    <a:lnTo>
                      <a:pt x="210" y="192"/>
                    </a:lnTo>
                    <a:lnTo>
                      <a:pt x="208" y="194"/>
                    </a:lnTo>
                    <a:lnTo>
                      <a:pt x="210" y="194"/>
                    </a:lnTo>
                    <a:lnTo>
                      <a:pt x="210" y="196"/>
                    </a:lnTo>
                    <a:lnTo>
                      <a:pt x="212" y="196"/>
                    </a:lnTo>
                    <a:lnTo>
                      <a:pt x="210" y="199"/>
                    </a:lnTo>
                    <a:lnTo>
                      <a:pt x="208" y="199"/>
                    </a:lnTo>
                    <a:lnTo>
                      <a:pt x="206" y="201"/>
                    </a:lnTo>
                    <a:lnTo>
                      <a:pt x="206" y="203"/>
                    </a:lnTo>
                    <a:lnTo>
                      <a:pt x="208" y="205"/>
                    </a:lnTo>
                    <a:lnTo>
                      <a:pt x="208" y="209"/>
                    </a:lnTo>
                    <a:lnTo>
                      <a:pt x="206" y="211"/>
                    </a:lnTo>
                    <a:lnTo>
                      <a:pt x="204" y="211"/>
                    </a:lnTo>
                    <a:lnTo>
                      <a:pt x="204" y="213"/>
                    </a:lnTo>
                    <a:lnTo>
                      <a:pt x="202" y="215"/>
                    </a:lnTo>
                    <a:lnTo>
                      <a:pt x="200" y="215"/>
                    </a:lnTo>
                    <a:lnTo>
                      <a:pt x="200" y="213"/>
                    </a:lnTo>
                    <a:lnTo>
                      <a:pt x="198" y="213"/>
                    </a:lnTo>
                    <a:lnTo>
                      <a:pt x="198" y="211"/>
                    </a:lnTo>
                    <a:lnTo>
                      <a:pt x="196" y="211"/>
                    </a:lnTo>
                    <a:lnTo>
                      <a:pt x="196" y="209"/>
                    </a:lnTo>
                    <a:lnTo>
                      <a:pt x="194" y="209"/>
                    </a:lnTo>
                    <a:lnTo>
                      <a:pt x="192" y="209"/>
                    </a:lnTo>
                    <a:lnTo>
                      <a:pt x="190" y="207"/>
                    </a:lnTo>
                    <a:lnTo>
                      <a:pt x="190" y="209"/>
                    </a:lnTo>
                    <a:lnTo>
                      <a:pt x="189" y="209"/>
                    </a:lnTo>
                    <a:lnTo>
                      <a:pt x="189" y="211"/>
                    </a:lnTo>
                    <a:lnTo>
                      <a:pt x="185" y="215"/>
                    </a:lnTo>
                    <a:lnTo>
                      <a:pt x="183" y="217"/>
                    </a:lnTo>
                    <a:lnTo>
                      <a:pt x="183" y="219"/>
                    </a:lnTo>
                    <a:lnTo>
                      <a:pt x="181" y="219"/>
                    </a:lnTo>
                    <a:lnTo>
                      <a:pt x="179" y="219"/>
                    </a:lnTo>
                    <a:lnTo>
                      <a:pt x="179" y="221"/>
                    </a:lnTo>
                    <a:lnTo>
                      <a:pt x="177" y="219"/>
                    </a:lnTo>
                    <a:lnTo>
                      <a:pt x="175" y="219"/>
                    </a:lnTo>
                    <a:lnTo>
                      <a:pt x="173" y="217"/>
                    </a:lnTo>
                    <a:lnTo>
                      <a:pt x="173" y="219"/>
                    </a:lnTo>
                    <a:lnTo>
                      <a:pt x="171" y="219"/>
                    </a:lnTo>
                    <a:lnTo>
                      <a:pt x="171" y="221"/>
                    </a:lnTo>
                    <a:lnTo>
                      <a:pt x="171" y="223"/>
                    </a:lnTo>
                    <a:lnTo>
                      <a:pt x="169" y="224"/>
                    </a:lnTo>
                    <a:lnTo>
                      <a:pt x="169" y="228"/>
                    </a:lnTo>
                    <a:lnTo>
                      <a:pt x="167" y="228"/>
                    </a:lnTo>
                    <a:lnTo>
                      <a:pt x="167" y="230"/>
                    </a:lnTo>
                    <a:lnTo>
                      <a:pt x="165" y="230"/>
                    </a:lnTo>
                    <a:lnTo>
                      <a:pt x="165" y="232"/>
                    </a:lnTo>
                    <a:lnTo>
                      <a:pt x="165" y="234"/>
                    </a:lnTo>
                    <a:lnTo>
                      <a:pt x="165" y="236"/>
                    </a:lnTo>
                    <a:lnTo>
                      <a:pt x="165" y="238"/>
                    </a:lnTo>
                    <a:lnTo>
                      <a:pt x="164" y="238"/>
                    </a:lnTo>
                    <a:lnTo>
                      <a:pt x="162" y="240"/>
                    </a:lnTo>
                    <a:lnTo>
                      <a:pt x="160" y="240"/>
                    </a:lnTo>
                    <a:lnTo>
                      <a:pt x="160" y="244"/>
                    </a:lnTo>
                    <a:lnTo>
                      <a:pt x="162" y="244"/>
                    </a:lnTo>
                    <a:lnTo>
                      <a:pt x="160" y="248"/>
                    </a:lnTo>
                    <a:lnTo>
                      <a:pt x="158" y="255"/>
                    </a:lnTo>
                    <a:lnTo>
                      <a:pt x="156" y="257"/>
                    </a:lnTo>
                    <a:lnTo>
                      <a:pt x="156" y="259"/>
                    </a:lnTo>
                    <a:lnTo>
                      <a:pt x="156" y="261"/>
                    </a:lnTo>
                    <a:lnTo>
                      <a:pt x="154" y="261"/>
                    </a:lnTo>
                    <a:lnTo>
                      <a:pt x="154" y="263"/>
                    </a:lnTo>
                    <a:lnTo>
                      <a:pt x="152" y="265"/>
                    </a:lnTo>
                    <a:lnTo>
                      <a:pt x="154" y="265"/>
                    </a:lnTo>
                    <a:lnTo>
                      <a:pt x="154" y="267"/>
                    </a:lnTo>
                    <a:lnTo>
                      <a:pt x="150" y="276"/>
                    </a:lnTo>
                    <a:lnTo>
                      <a:pt x="152" y="276"/>
                    </a:lnTo>
                    <a:lnTo>
                      <a:pt x="152" y="278"/>
                    </a:lnTo>
                    <a:lnTo>
                      <a:pt x="150" y="278"/>
                    </a:lnTo>
                    <a:lnTo>
                      <a:pt x="148" y="276"/>
                    </a:lnTo>
                    <a:lnTo>
                      <a:pt x="146" y="276"/>
                    </a:lnTo>
                    <a:lnTo>
                      <a:pt x="146" y="282"/>
                    </a:lnTo>
                    <a:lnTo>
                      <a:pt x="144" y="282"/>
                    </a:lnTo>
                    <a:lnTo>
                      <a:pt x="142" y="282"/>
                    </a:lnTo>
                    <a:lnTo>
                      <a:pt x="142" y="284"/>
                    </a:lnTo>
                    <a:lnTo>
                      <a:pt x="140" y="286"/>
                    </a:lnTo>
                    <a:lnTo>
                      <a:pt x="139" y="290"/>
                    </a:lnTo>
                    <a:lnTo>
                      <a:pt x="139" y="292"/>
                    </a:lnTo>
                    <a:lnTo>
                      <a:pt x="139" y="296"/>
                    </a:lnTo>
                    <a:lnTo>
                      <a:pt x="137" y="298"/>
                    </a:lnTo>
                    <a:lnTo>
                      <a:pt x="137" y="299"/>
                    </a:lnTo>
                    <a:lnTo>
                      <a:pt x="135" y="299"/>
                    </a:lnTo>
                    <a:lnTo>
                      <a:pt x="133" y="301"/>
                    </a:lnTo>
                    <a:lnTo>
                      <a:pt x="135" y="303"/>
                    </a:lnTo>
                    <a:lnTo>
                      <a:pt x="135" y="305"/>
                    </a:lnTo>
                    <a:lnTo>
                      <a:pt x="135" y="307"/>
                    </a:lnTo>
                    <a:lnTo>
                      <a:pt x="135" y="309"/>
                    </a:lnTo>
                    <a:lnTo>
                      <a:pt x="133" y="309"/>
                    </a:lnTo>
                    <a:lnTo>
                      <a:pt x="131" y="311"/>
                    </a:lnTo>
                    <a:lnTo>
                      <a:pt x="131" y="313"/>
                    </a:lnTo>
                    <a:lnTo>
                      <a:pt x="131" y="315"/>
                    </a:lnTo>
                    <a:lnTo>
                      <a:pt x="133" y="315"/>
                    </a:lnTo>
                    <a:lnTo>
                      <a:pt x="133" y="317"/>
                    </a:lnTo>
                    <a:lnTo>
                      <a:pt x="131" y="319"/>
                    </a:lnTo>
                    <a:lnTo>
                      <a:pt x="131" y="321"/>
                    </a:lnTo>
                    <a:lnTo>
                      <a:pt x="133" y="323"/>
                    </a:lnTo>
                    <a:lnTo>
                      <a:pt x="133" y="324"/>
                    </a:lnTo>
                    <a:lnTo>
                      <a:pt x="133" y="326"/>
                    </a:lnTo>
                    <a:lnTo>
                      <a:pt x="131" y="326"/>
                    </a:lnTo>
                    <a:lnTo>
                      <a:pt x="129" y="326"/>
                    </a:lnTo>
                    <a:lnTo>
                      <a:pt x="129" y="328"/>
                    </a:lnTo>
                    <a:lnTo>
                      <a:pt x="125" y="324"/>
                    </a:lnTo>
                    <a:lnTo>
                      <a:pt x="123" y="323"/>
                    </a:lnTo>
                    <a:lnTo>
                      <a:pt x="123" y="321"/>
                    </a:lnTo>
                    <a:lnTo>
                      <a:pt x="121" y="324"/>
                    </a:lnTo>
                    <a:lnTo>
                      <a:pt x="121" y="326"/>
                    </a:lnTo>
                    <a:lnTo>
                      <a:pt x="121" y="328"/>
                    </a:lnTo>
                    <a:lnTo>
                      <a:pt x="119" y="328"/>
                    </a:lnTo>
                    <a:lnTo>
                      <a:pt x="117" y="330"/>
                    </a:lnTo>
                    <a:lnTo>
                      <a:pt x="117" y="332"/>
                    </a:lnTo>
                    <a:lnTo>
                      <a:pt x="117" y="336"/>
                    </a:lnTo>
                    <a:lnTo>
                      <a:pt x="119" y="336"/>
                    </a:lnTo>
                    <a:lnTo>
                      <a:pt x="117" y="338"/>
                    </a:lnTo>
                    <a:lnTo>
                      <a:pt x="116" y="338"/>
                    </a:lnTo>
                    <a:lnTo>
                      <a:pt x="116" y="342"/>
                    </a:lnTo>
                    <a:lnTo>
                      <a:pt x="114" y="342"/>
                    </a:lnTo>
                    <a:lnTo>
                      <a:pt x="114" y="346"/>
                    </a:lnTo>
                    <a:lnTo>
                      <a:pt x="114" y="347"/>
                    </a:lnTo>
                    <a:lnTo>
                      <a:pt x="112" y="347"/>
                    </a:lnTo>
                    <a:lnTo>
                      <a:pt x="110" y="351"/>
                    </a:lnTo>
                    <a:lnTo>
                      <a:pt x="108" y="353"/>
                    </a:lnTo>
                    <a:lnTo>
                      <a:pt x="106" y="353"/>
                    </a:lnTo>
                    <a:lnTo>
                      <a:pt x="104" y="353"/>
                    </a:lnTo>
                    <a:lnTo>
                      <a:pt x="104" y="351"/>
                    </a:lnTo>
                    <a:lnTo>
                      <a:pt x="102" y="351"/>
                    </a:lnTo>
                    <a:lnTo>
                      <a:pt x="98" y="351"/>
                    </a:lnTo>
                    <a:lnTo>
                      <a:pt x="96" y="351"/>
                    </a:lnTo>
                    <a:lnTo>
                      <a:pt x="92" y="351"/>
                    </a:lnTo>
                    <a:lnTo>
                      <a:pt x="91" y="349"/>
                    </a:lnTo>
                    <a:lnTo>
                      <a:pt x="92" y="347"/>
                    </a:lnTo>
                    <a:lnTo>
                      <a:pt x="89" y="346"/>
                    </a:lnTo>
                    <a:lnTo>
                      <a:pt x="87" y="344"/>
                    </a:lnTo>
                    <a:lnTo>
                      <a:pt x="87" y="342"/>
                    </a:lnTo>
                    <a:lnTo>
                      <a:pt x="85" y="340"/>
                    </a:lnTo>
                    <a:lnTo>
                      <a:pt x="83" y="342"/>
                    </a:lnTo>
                    <a:lnTo>
                      <a:pt x="81" y="340"/>
                    </a:lnTo>
                    <a:lnTo>
                      <a:pt x="81" y="338"/>
                    </a:lnTo>
                    <a:lnTo>
                      <a:pt x="81" y="336"/>
                    </a:lnTo>
                    <a:lnTo>
                      <a:pt x="79" y="336"/>
                    </a:lnTo>
                    <a:lnTo>
                      <a:pt x="79" y="338"/>
                    </a:lnTo>
                    <a:lnTo>
                      <a:pt x="77" y="338"/>
                    </a:lnTo>
                    <a:lnTo>
                      <a:pt x="77" y="340"/>
                    </a:lnTo>
                    <a:lnTo>
                      <a:pt x="75" y="340"/>
                    </a:lnTo>
                    <a:lnTo>
                      <a:pt x="75" y="342"/>
                    </a:lnTo>
                    <a:lnTo>
                      <a:pt x="73" y="344"/>
                    </a:lnTo>
                    <a:lnTo>
                      <a:pt x="71" y="344"/>
                    </a:lnTo>
                    <a:lnTo>
                      <a:pt x="71" y="342"/>
                    </a:lnTo>
                    <a:lnTo>
                      <a:pt x="71" y="344"/>
                    </a:lnTo>
                    <a:lnTo>
                      <a:pt x="69" y="344"/>
                    </a:lnTo>
                    <a:lnTo>
                      <a:pt x="69" y="342"/>
                    </a:lnTo>
                    <a:lnTo>
                      <a:pt x="67" y="342"/>
                    </a:lnTo>
                    <a:lnTo>
                      <a:pt x="66" y="344"/>
                    </a:lnTo>
                    <a:lnTo>
                      <a:pt x="64" y="346"/>
                    </a:lnTo>
                    <a:lnTo>
                      <a:pt x="62" y="346"/>
                    </a:lnTo>
                    <a:lnTo>
                      <a:pt x="60" y="346"/>
                    </a:lnTo>
                    <a:lnTo>
                      <a:pt x="60" y="347"/>
                    </a:lnTo>
                    <a:lnTo>
                      <a:pt x="58" y="347"/>
                    </a:lnTo>
                    <a:lnTo>
                      <a:pt x="56" y="349"/>
                    </a:lnTo>
                    <a:lnTo>
                      <a:pt x="54" y="347"/>
                    </a:lnTo>
                    <a:lnTo>
                      <a:pt x="54" y="342"/>
                    </a:lnTo>
                    <a:lnTo>
                      <a:pt x="54" y="340"/>
                    </a:lnTo>
                    <a:lnTo>
                      <a:pt x="52" y="340"/>
                    </a:lnTo>
                    <a:lnTo>
                      <a:pt x="52" y="338"/>
                    </a:lnTo>
                    <a:lnTo>
                      <a:pt x="52" y="336"/>
                    </a:lnTo>
                    <a:lnTo>
                      <a:pt x="54" y="336"/>
                    </a:lnTo>
                    <a:lnTo>
                      <a:pt x="52" y="334"/>
                    </a:lnTo>
                    <a:lnTo>
                      <a:pt x="50" y="334"/>
                    </a:lnTo>
                    <a:lnTo>
                      <a:pt x="48" y="332"/>
                    </a:lnTo>
                    <a:lnTo>
                      <a:pt x="46" y="332"/>
                    </a:lnTo>
                    <a:lnTo>
                      <a:pt x="46" y="334"/>
                    </a:lnTo>
                    <a:lnTo>
                      <a:pt x="48" y="336"/>
                    </a:lnTo>
                    <a:lnTo>
                      <a:pt x="48" y="338"/>
                    </a:lnTo>
                    <a:lnTo>
                      <a:pt x="46" y="338"/>
                    </a:lnTo>
                    <a:lnTo>
                      <a:pt x="46" y="340"/>
                    </a:lnTo>
                    <a:lnTo>
                      <a:pt x="48" y="340"/>
                    </a:lnTo>
                    <a:lnTo>
                      <a:pt x="46" y="342"/>
                    </a:lnTo>
                    <a:lnTo>
                      <a:pt x="44" y="342"/>
                    </a:lnTo>
                    <a:lnTo>
                      <a:pt x="43" y="342"/>
                    </a:lnTo>
                    <a:lnTo>
                      <a:pt x="41" y="342"/>
                    </a:lnTo>
                    <a:lnTo>
                      <a:pt x="41" y="340"/>
                    </a:lnTo>
                    <a:lnTo>
                      <a:pt x="43" y="340"/>
                    </a:lnTo>
                    <a:lnTo>
                      <a:pt x="43" y="338"/>
                    </a:lnTo>
                    <a:lnTo>
                      <a:pt x="44" y="338"/>
                    </a:lnTo>
                    <a:lnTo>
                      <a:pt x="44" y="336"/>
                    </a:lnTo>
                    <a:lnTo>
                      <a:pt x="44" y="334"/>
                    </a:lnTo>
                    <a:lnTo>
                      <a:pt x="44" y="332"/>
                    </a:lnTo>
                    <a:lnTo>
                      <a:pt x="46" y="332"/>
                    </a:lnTo>
                    <a:lnTo>
                      <a:pt x="46" y="330"/>
                    </a:lnTo>
                    <a:lnTo>
                      <a:pt x="46" y="328"/>
                    </a:lnTo>
                    <a:lnTo>
                      <a:pt x="46" y="326"/>
                    </a:lnTo>
                    <a:lnTo>
                      <a:pt x="44" y="326"/>
                    </a:lnTo>
                    <a:lnTo>
                      <a:pt x="43" y="324"/>
                    </a:lnTo>
                    <a:lnTo>
                      <a:pt x="44" y="323"/>
                    </a:lnTo>
                    <a:lnTo>
                      <a:pt x="44" y="321"/>
                    </a:lnTo>
                    <a:lnTo>
                      <a:pt x="46" y="321"/>
                    </a:lnTo>
                    <a:lnTo>
                      <a:pt x="48" y="321"/>
                    </a:lnTo>
                    <a:lnTo>
                      <a:pt x="50" y="321"/>
                    </a:lnTo>
                    <a:lnTo>
                      <a:pt x="50" y="319"/>
                    </a:lnTo>
                    <a:lnTo>
                      <a:pt x="48" y="319"/>
                    </a:lnTo>
                    <a:lnTo>
                      <a:pt x="48" y="317"/>
                    </a:lnTo>
                    <a:lnTo>
                      <a:pt x="48" y="315"/>
                    </a:lnTo>
                    <a:lnTo>
                      <a:pt x="50" y="315"/>
                    </a:lnTo>
                    <a:lnTo>
                      <a:pt x="50" y="313"/>
                    </a:lnTo>
                    <a:lnTo>
                      <a:pt x="52" y="311"/>
                    </a:lnTo>
                    <a:lnTo>
                      <a:pt x="52" y="309"/>
                    </a:lnTo>
                    <a:lnTo>
                      <a:pt x="52" y="307"/>
                    </a:lnTo>
                    <a:lnTo>
                      <a:pt x="50" y="307"/>
                    </a:lnTo>
                    <a:lnTo>
                      <a:pt x="50" y="309"/>
                    </a:lnTo>
                    <a:lnTo>
                      <a:pt x="48" y="309"/>
                    </a:lnTo>
                    <a:lnTo>
                      <a:pt x="48" y="307"/>
                    </a:lnTo>
                    <a:lnTo>
                      <a:pt x="50" y="307"/>
                    </a:lnTo>
                    <a:lnTo>
                      <a:pt x="50" y="305"/>
                    </a:lnTo>
                    <a:lnTo>
                      <a:pt x="52" y="305"/>
                    </a:lnTo>
                    <a:lnTo>
                      <a:pt x="50" y="305"/>
                    </a:lnTo>
                    <a:lnTo>
                      <a:pt x="50" y="303"/>
                    </a:lnTo>
                    <a:lnTo>
                      <a:pt x="48" y="301"/>
                    </a:lnTo>
                    <a:lnTo>
                      <a:pt x="50" y="301"/>
                    </a:lnTo>
                    <a:lnTo>
                      <a:pt x="48" y="301"/>
                    </a:lnTo>
                    <a:lnTo>
                      <a:pt x="46" y="301"/>
                    </a:lnTo>
                    <a:lnTo>
                      <a:pt x="44" y="299"/>
                    </a:lnTo>
                    <a:lnTo>
                      <a:pt x="46" y="299"/>
                    </a:lnTo>
                    <a:lnTo>
                      <a:pt x="48" y="299"/>
                    </a:lnTo>
                    <a:lnTo>
                      <a:pt x="48" y="298"/>
                    </a:lnTo>
                    <a:lnTo>
                      <a:pt x="46" y="298"/>
                    </a:lnTo>
                    <a:lnTo>
                      <a:pt x="46" y="299"/>
                    </a:lnTo>
                    <a:lnTo>
                      <a:pt x="44" y="299"/>
                    </a:lnTo>
                    <a:lnTo>
                      <a:pt x="43" y="299"/>
                    </a:lnTo>
                    <a:lnTo>
                      <a:pt x="43" y="301"/>
                    </a:lnTo>
                    <a:lnTo>
                      <a:pt x="41" y="301"/>
                    </a:lnTo>
                    <a:lnTo>
                      <a:pt x="39" y="301"/>
                    </a:lnTo>
                    <a:lnTo>
                      <a:pt x="39" y="299"/>
                    </a:lnTo>
                    <a:lnTo>
                      <a:pt x="39" y="298"/>
                    </a:lnTo>
                    <a:lnTo>
                      <a:pt x="41" y="296"/>
                    </a:lnTo>
                    <a:lnTo>
                      <a:pt x="41" y="294"/>
                    </a:lnTo>
                    <a:lnTo>
                      <a:pt x="41" y="296"/>
                    </a:lnTo>
                    <a:lnTo>
                      <a:pt x="43" y="296"/>
                    </a:lnTo>
                    <a:lnTo>
                      <a:pt x="43" y="294"/>
                    </a:lnTo>
                    <a:lnTo>
                      <a:pt x="44" y="294"/>
                    </a:lnTo>
                    <a:lnTo>
                      <a:pt x="44" y="292"/>
                    </a:lnTo>
                    <a:lnTo>
                      <a:pt x="46" y="292"/>
                    </a:lnTo>
                    <a:lnTo>
                      <a:pt x="48" y="292"/>
                    </a:lnTo>
                    <a:lnTo>
                      <a:pt x="50" y="292"/>
                    </a:lnTo>
                    <a:lnTo>
                      <a:pt x="50" y="290"/>
                    </a:lnTo>
                    <a:lnTo>
                      <a:pt x="52" y="290"/>
                    </a:lnTo>
                    <a:lnTo>
                      <a:pt x="52" y="288"/>
                    </a:lnTo>
                    <a:lnTo>
                      <a:pt x="52" y="286"/>
                    </a:lnTo>
                    <a:lnTo>
                      <a:pt x="54" y="286"/>
                    </a:lnTo>
                    <a:lnTo>
                      <a:pt x="54" y="284"/>
                    </a:lnTo>
                    <a:lnTo>
                      <a:pt x="56" y="284"/>
                    </a:lnTo>
                    <a:lnTo>
                      <a:pt x="56" y="282"/>
                    </a:lnTo>
                    <a:lnTo>
                      <a:pt x="54" y="282"/>
                    </a:lnTo>
                    <a:lnTo>
                      <a:pt x="54" y="280"/>
                    </a:lnTo>
                    <a:lnTo>
                      <a:pt x="54" y="282"/>
                    </a:lnTo>
                    <a:lnTo>
                      <a:pt x="54" y="284"/>
                    </a:lnTo>
                    <a:lnTo>
                      <a:pt x="52" y="284"/>
                    </a:lnTo>
                    <a:lnTo>
                      <a:pt x="50" y="284"/>
                    </a:lnTo>
                    <a:lnTo>
                      <a:pt x="52" y="282"/>
                    </a:lnTo>
                    <a:lnTo>
                      <a:pt x="52" y="278"/>
                    </a:lnTo>
                    <a:lnTo>
                      <a:pt x="54" y="278"/>
                    </a:lnTo>
                    <a:lnTo>
                      <a:pt x="54" y="276"/>
                    </a:lnTo>
                    <a:lnTo>
                      <a:pt x="56" y="276"/>
                    </a:lnTo>
                    <a:lnTo>
                      <a:pt x="56" y="274"/>
                    </a:lnTo>
                    <a:lnTo>
                      <a:pt x="58" y="274"/>
                    </a:lnTo>
                    <a:lnTo>
                      <a:pt x="56" y="274"/>
                    </a:lnTo>
                    <a:lnTo>
                      <a:pt x="58" y="274"/>
                    </a:lnTo>
                    <a:lnTo>
                      <a:pt x="58" y="273"/>
                    </a:lnTo>
                    <a:lnTo>
                      <a:pt x="56" y="273"/>
                    </a:lnTo>
                    <a:lnTo>
                      <a:pt x="54" y="273"/>
                    </a:lnTo>
                    <a:lnTo>
                      <a:pt x="52" y="273"/>
                    </a:lnTo>
                    <a:lnTo>
                      <a:pt x="50" y="273"/>
                    </a:lnTo>
                    <a:lnTo>
                      <a:pt x="50" y="271"/>
                    </a:lnTo>
                    <a:lnTo>
                      <a:pt x="50" y="269"/>
                    </a:lnTo>
                    <a:lnTo>
                      <a:pt x="48" y="271"/>
                    </a:lnTo>
                    <a:lnTo>
                      <a:pt x="48" y="269"/>
                    </a:lnTo>
                    <a:lnTo>
                      <a:pt x="48" y="267"/>
                    </a:lnTo>
                    <a:lnTo>
                      <a:pt x="50" y="267"/>
                    </a:lnTo>
                    <a:lnTo>
                      <a:pt x="48" y="267"/>
                    </a:lnTo>
                    <a:lnTo>
                      <a:pt x="48" y="265"/>
                    </a:lnTo>
                    <a:lnTo>
                      <a:pt x="46" y="265"/>
                    </a:lnTo>
                    <a:lnTo>
                      <a:pt x="46" y="267"/>
                    </a:lnTo>
                    <a:lnTo>
                      <a:pt x="44" y="269"/>
                    </a:lnTo>
                    <a:lnTo>
                      <a:pt x="43" y="271"/>
                    </a:lnTo>
                    <a:lnTo>
                      <a:pt x="43" y="269"/>
                    </a:lnTo>
                    <a:lnTo>
                      <a:pt x="41" y="269"/>
                    </a:lnTo>
                    <a:lnTo>
                      <a:pt x="41" y="271"/>
                    </a:lnTo>
                    <a:lnTo>
                      <a:pt x="39" y="271"/>
                    </a:lnTo>
                    <a:lnTo>
                      <a:pt x="39" y="273"/>
                    </a:lnTo>
                    <a:lnTo>
                      <a:pt x="39" y="271"/>
                    </a:lnTo>
                    <a:lnTo>
                      <a:pt x="41" y="271"/>
                    </a:lnTo>
                    <a:lnTo>
                      <a:pt x="41" y="269"/>
                    </a:lnTo>
                    <a:lnTo>
                      <a:pt x="39" y="269"/>
                    </a:lnTo>
                    <a:lnTo>
                      <a:pt x="41" y="269"/>
                    </a:lnTo>
                    <a:lnTo>
                      <a:pt x="39" y="269"/>
                    </a:lnTo>
                    <a:lnTo>
                      <a:pt x="37" y="269"/>
                    </a:lnTo>
                    <a:lnTo>
                      <a:pt x="37" y="271"/>
                    </a:lnTo>
                    <a:lnTo>
                      <a:pt x="37" y="273"/>
                    </a:lnTo>
                    <a:lnTo>
                      <a:pt x="35" y="273"/>
                    </a:lnTo>
                    <a:lnTo>
                      <a:pt x="35" y="276"/>
                    </a:lnTo>
                    <a:lnTo>
                      <a:pt x="35" y="278"/>
                    </a:lnTo>
                    <a:lnTo>
                      <a:pt x="33" y="278"/>
                    </a:lnTo>
                    <a:lnTo>
                      <a:pt x="31" y="278"/>
                    </a:lnTo>
                    <a:lnTo>
                      <a:pt x="29" y="280"/>
                    </a:lnTo>
                    <a:lnTo>
                      <a:pt x="29" y="278"/>
                    </a:lnTo>
                    <a:lnTo>
                      <a:pt x="29" y="276"/>
                    </a:lnTo>
                    <a:lnTo>
                      <a:pt x="27" y="274"/>
                    </a:lnTo>
                    <a:lnTo>
                      <a:pt x="27" y="276"/>
                    </a:lnTo>
                    <a:lnTo>
                      <a:pt x="25" y="276"/>
                    </a:lnTo>
                    <a:lnTo>
                      <a:pt x="25" y="274"/>
                    </a:lnTo>
                    <a:lnTo>
                      <a:pt x="25" y="273"/>
                    </a:lnTo>
                    <a:lnTo>
                      <a:pt x="23" y="274"/>
                    </a:lnTo>
                    <a:lnTo>
                      <a:pt x="23" y="273"/>
                    </a:lnTo>
                    <a:lnTo>
                      <a:pt x="21" y="273"/>
                    </a:lnTo>
                    <a:lnTo>
                      <a:pt x="23" y="273"/>
                    </a:lnTo>
                    <a:lnTo>
                      <a:pt x="23" y="271"/>
                    </a:lnTo>
                    <a:lnTo>
                      <a:pt x="25" y="271"/>
                    </a:lnTo>
                    <a:lnTo>
                      <a:pt x="25" y="269"/>
                    </a:lnTo>
                    <a:lnTo>
                      <a:pt x="23" y="269"/>
                    </a:lnTo>
                    <a:lnTo>
                      <a:pt x="23" y="267"/>
                    </a:lnTo>
                    <a:lnTo>
                      <a:pt x="25" y="267"/>
                    </a:lnTo>
                    <a:lnTo>
                      <a:pt x="25" y="265"/>
                    </a:lnTo>
                    <a:lnTo>
                      <a:pt x="25" y="263"/>
                    </a:lnTo>
                    <a:lnTo>
                      <a:pt x="27" y="265"/>
                    </a:lnTo>
                    <a:lnTo>
                      <a:pt x="27" y="263"/>
                    </a:lnTo>
                    <a:lnTo>
                      <a:pt x="27" y="261"/>
                    </a:lnTo>
                    <a:lnTo>
                      <a:pt x="29" y="259"/>
                    </a:lnTo>
                    <a:lnTo>
                      <a:pt x="27" y="261"/>
                    </a:lnTo>
                    <a:lnTo>
                      <a:pt x="25" y="261"/>
                    </a:lnTo>
                    <a:lnTo>
                      <a:pt x="25" y="259"/>
                    </a:lnTo>
                    <a:lnTo>
                      <a:pt x="27" y="259"/>
                    </a:lnTo>
                    <a:lnTo>
                      <a:pt x="27" y="257"/>
                    </a:lnTo>
                    <a:lnTo>
                      <a:pt x="27" y="255"/>
                    </a:lnTo>
                    <a:lnTo>
                      <a:pt x="25" y="255"/>
                    </a:lnTo>
                    <a:lnTo>
                      <a:pt x="27" y="255"/>
                    </a:lnTo>
                    <a:lnTo>
                      <a:pt x="27" y="253"/>
                    </a:lnTo>
                    <a:lnTo>
                      <a:pt x="25" y="253"/>
                    </a:lnTo>
                    <a:lnTo>
                      <a:pt x="23" y="255"/>
                    </a:lnTo>
                    <a:lnTo>
                      <a:pt x="21" y="255"/>
                    </a:lnTo>
                    <a:lnTo>
                      <a:pt x="21" y="253"/>
                    </a:lnTo>
                    <a:lnTo>
                      <a:pt x="21" y="251"/>
                    </a:lnTo>
                    <a:lnTo>
                      <a:pt x="23" y="249"/>
                    </a:lnTo>
                    <a:lnTo>
                      <a:pt x="21" y="248"/>
                    </a:lnTo>
                    <a:lnTo>
                      <a:pt x="23" y="248"/>
                    </a:lnTo>
                    <a:lnTo>
                      <a:pt x="23" y="249"/>
                    </a:lnTo>
                    <a:lnTo>
                      <a:pt x="25" y="249"/>
                    </a:lnTo>
                    <a:lnTo>
                      <a:pt x="25" y="251"/>
                    </a:lnTo>
                    <a:lnTo>
                      <a:pt x="23" y="251"/>
                    </a:lnTo>
                    <a:lnTo>
                      <a:pt x="25" y="253"/>
                    </a:lnTo>
                    <a:lnTo>
                      <a:pt x="25" y="251"/>
                    </a:lnTo>
                    <a:lnTo>
                      <a:pt x="27" y="251"/>
                    </a:lnTo>
                    <a:lnTo>
                      <a:pt x="29" y="251"/>
                    </a:lnTo>
                    <a:lnTo>
                      <a:pt x="29" y="249"/>
                    </a:lnTo>
                    <a:lnTo>
                      <a:pt x="27" y="249"/>
                    </a:lnTo>
                    <a:lnTo>
                      <a:pt x="27" y="248"/>
                    </a:lnTo>
                    <a:lnTo>
                      <a:pt x="29" y="246"/>
                    </a:lnTo>
                    <a:lnTo>
                      <a:pt x="29" y="248"/>
                    </a:lnTo>
                    <a:lnTo>
                      <a:pt x="29" y="246"/>
                    </a:lnTo>
                    <a:lnTo>
                      <a:pt x="31" y="244"/>
                    </a:lnTo>
                    <a:lnTo>
                      <a:pt x="29" y="244"/>
                    </a:lnTo>
                    <a:lnTo>
                      <a:pt x="29" y="242"/>
                    </a:lnTo>
                    <a:lnTo>
                      <a:pt x="27" y="242"/>
                    </a:lnTo>
                    <a:lnTo>
                      <a:pt x="27" y="240"/>
                    </a:lnTo>
                    <a:lnTo>
                      <a:pt x="27" y="242"/>
                    </a:lnTo>
                    <a:lnTo>
                      <a:pt x="25" y="242"/>
                    </a:lnTo>
                    <a:lnTo>
                      <a:pt x="23" y="242"/>
                    </a:lnTo>
                    <a:lnTo>
                      <a:pt x="23" y="240"/>
                    </a:lnTo>
                    <a:lnTo>
                      <a:pt x="23" y="242"/>
                    </a:lnTo>
                    <a:lnTo>
                      <a:pt x="21" y="242"/>
                    </a:lnTo>
                    <a:lnTo>
                      <a:pt x="23" y="240"/>
                    </a:lnTo>
                    <a:lnTo>
                      <a:pt x="21" y="240"/>
                    </a:lnTo>
                    <a:lnTo>
                      <a:pt x="23" y="240"/>
                    </a:lnTo>
                    <a:lnTo>
                      <a:pt x="23" y="238"/>
                    </a:lnTo>
                    <a:lnTo>
                      <a:pt x="23" y="236"/>
                    </a:lnTo>
                    <a:lnTo>
                      <a:pt x="23" y="234"/>
                    </a:lnTo>
                    <a:lnTo>
                      <a:pt x="23" y="232"/>
                    </a:lnTo>
                    <a:lnTo>
                      <a:pt x="23" y="230"/>
                    </a:lnTo>
                    <a:lnTo>
                      <a:pt x="23" y="228"/>
                    </a:lnTo>
                    <a:lnTo>
                      <a:pt x="23" y="226"/>
                    </a:lnTo>
                    <a:lnTo>
                      <a:pt x="23" y="224"/>
                    </a:lnTo>
                    <a:lnTo>
                      <a:pt x="23" y="223"/>
                    </a:lnTo>
                    <a:lnTo>
                      <a:pt x="23" y="221"/>
                    </a:lnTo>
                    <a:lnTo>
                      <a:pt x="23" y="219"/>
                    </a:lnTo>
                    <a:lnTo>
                      <a:pt x="25" y="219"/>
                    </a:lnTo>
                    <a:lnTo>
                      <a:pt x="25" y="217"/>
                    </a:lnTo>
                    <a:lnTo>
                      <a:pt x="25" y="215"/>
                    </a:lnTo>
                    <a:lnTo>
                      <a:pt x="25" y="213"/>
                    </a:lnTo>
                    <a:lnTo>
                      <a:pt x="25" y="211"/>
                    </a:lnTo>
                    <a:lnTo>
                      <a:pt x="23" y="211"/>
                    </a:lnTo>
                    <a:lnTo>
                      <a:pt x="23" y="209"/>
                    </a:lnTo>
                    <a:lnTo>
                      <a:pt x="25" y="209"/>
                    </a:lnTo>
                    <a:lnTo>
                      <a:pt x="23" y="207"/>
                    </a:lnTo>
                    <a:lnTo>
                      <a:pt x="23" y="209"/>
                    </a:lnTo>
                    <a:lnTo>
                      <a:pt x="21" y="209"/>
                    </a:lnTo>
                    <a:lnTo>
                      <a:pt x="19" y="209"/>
                    </a:lnTo>
                    <a:lnTo>
                      <a:pt x="18" y="209"/>
                    </a:lnTo>
                    <a:lnTo>
                      <a:pt x="16" y="209"/>
                    </a:lnTo>
                    <a:lnTo>
                      <a:pt x="16" y="207"/>
                    </a:lnTo>
                    <a:lnTo>
                      <a:pt x="18" y="207"/>
                    </a:lnTo>
                    <a:lnTo>
                      <a:pt x="18" y="205"/>
                    </a:lnTo>
                    <a:lnTo>
                      <a:pt x="16" y="205"/>
                    </a:lnTo>
                    <a:lnTo>
                      <a:pt x="16" y="203"/>
                    </a:lnTo>
                    <a:lnTo>
                      <a:pt x="18" y="201"/>
                    </a:lnTo>
                    <a:lnTo>
                      <a:pt x="18" y="199"/>
                    </a:lnTo>
                    <a:lnTo>
                      <a:pt x="16" y="198"/>
                    </a:lnTo>
                    <a:lnTo>
                      <a:pt x="14" y="198"/>
                    </a:lnTo>
                    <a:lnTo>
                      <a:pt x="14" y="196"/>
                    </a:lnTo>
                    <a:lnTo>
                      <a:pt x="12" y="194"/>
                    </a:lnTo>
                    <a:lnTo>
                      <a:pt x="12" y="192"/>
                    </a:lnTo>
                    <a:lnTo>
                      <a:pt x="10" y="192"/>
                    </a:lnTo>
                    <a:lnTo>
                      <a:pt x="10" y="194"/>
                    </a:lnTo>
                    <a:lnTo>
                      <a:pt x="8" y="194"/>
                    </a:lnTo>
                    <a:lnTo>
                      <a:pt x="6" y="192"/>
                    </a:lnTo>
                    <a:lnTo>
                      <a:pt x="6" y="190"/>
                    </a:lnTo>
                    <a:lnTo>
                      <a:pt x="6" y="188"/>
                    </a:lnTo>
                    <a:lnTo>
                      <a:pt x="4" y="186"/>
                    </a:lnTo>
                    <a:lnTo>
                      <a:pt x="6" y="182"/>
                    </a:lnTo>
                    <a:lnTo>
                      <a:pt x="4" y="182"/>
                    </a:lnTo>
                    <a:lnTo>
                      <a:pt x="4" y="180"/>
                    </a:lnTo>
                    <a:lnTo>
                      <a:pt x="4" y="178"/>
                    </a:lnTo>
                    <a:lnTo>
                      <a:pt x="4" y="173"/>
                    </a:lnTo>
                    <a:lnTo>
                      <a:pt x="4" y="169"/>
                    </a:lnTo>
                    <a:lnTo>
                      <a:pt x="4" y="167"/>
                    </a:lnTo>
                    <a:lnTo>
                      <a:pt x="2" y="163"/>
                    </a:lnTo>
                    <a:lnTo>
                      <a:pt x="0" y="163"/>
                    </a:lnTo>
                    <a:lnTo>
                      <a:pt x="0" y="161"/>
                    </a:lnTo>
                    <a:lnTo>
                      <a:pt x="0" y="159"/>
                    </a:lnTo>
                    <a:lnTo>
                      <a:pt x="0" y="157"/>
                    </a:lnTo>
                    <a:lnTo>
                      <a:pt x="0" y="155"/>
                    </a:lnTo>
                    <a:lnTo>
                      <a:pt x="2" y="155"/>
                    </a:lnTo>
                    <a:lnTo>
                      <a:pt x="2" y="153"/>
                    </a:lnTo>
                    <a:lnTo>
                      <a:pt x="2" y="151"/>
                    </a:lnTo>
                    <a:lnTo>
                      <a:pt x="2" y="149"/>
                    </a:lnTo>
                    <a:lnTo>
                      <a:pt x="2" y="148"/>
                    </a:lnTo>
                    <a:lnTo>
                      <a:pt x="2" y="146"/>
                    </a:lnTo>
                    <a:lnTo>
                      <a:pt x="4" y="144"/>
                    </a:lnTo>
                    <a:lnTo>
                      <a:pt x="2" y="144"/>
                    </a:lnTo>
                    <a:lnTo>
                      <a:pt x="4" y="144"/>
                    </a:lnTo>
                    <a:lnTo>
                      <a:pt x="4" y="142"/>
                    </a:lnTo>
                    <a:lnTo>
                      <a:pt x="2" y="142"/>
                    </a:lnTo>
                    <a:lnTo>
                      <a:pt x="4" y="142"/>
                    </a:lnTo>
                    <a:lnTo>
                      <a:pt x="4" y="140"/>
                    </a:lnTo>
                    <a:lnTo>
                      <a:pt x="4" y="138"/>
                    </a:lnTo>
                    <a:lnTo>
                      <a:pt x="4" y="136"/>
                    </a:lnTo>
                    <a:lnTo>
                      <a:pt x="4" y="134"/>
                    </a:lnTo>
                    <a:lnTo>
                      <a:pt x="6" y="134"/>
                    </a:lnTo>
                    <a:lnTo>
                      <a:pt x="6" y="132"/>
                    </a:lnTo>
                    <a:lnTo>
                      <a:pt x="6" y="130"/>
                    </a:lnTo>
                    <a:lnTo>
                      <a:pt x="6" y="128"/>
                    </a:lnTo>
                    <a:lnTo>
                      <a:pt x="8" y="128"/>
                    </a:lnTo>
                    <a:lnTo>
                      <a:pt x="8" y="126"/>
                    </a:lnTo>
                    <a:lnTo>
                      <a:pt x="6" y="126"/>
                    </a:lnTo>
                    <a:lnTo>
                      <a:pt x="8" y="126"/>
                    </a:lnTo>
                    <a:lnTo>
                      <a:pt x="8" y="124"/>
                    </a:lnTo>
                    <a:lnTo>
                      <a:pt x="10" y="124"/>
                    </a:lnTo>
                    <a:lnTo>
                      <a:pt x="10" y="123"/>
                    </a:lnTo>
                    <a:lnTo>
                      <a:pt x="10" y="121"/>
                    </a:lnTo>
                    <a:lnTo>
                      <a:pt x="10" y="119"/>
                    </a:lnTo>
                    <a:lnTo>
                      <a:pt x="10" y="117"/>
                    </a:lnTo>
                    <a:lnTo>
                      <a:pt x="10" y="115"/>
                    </a:lnTo>
                    <a:lnTo>
                      <a:pt x="12" y="115"/>
                    </a:lnTo>
                    <a:lnTo>
                      <a:pt x="12" y="113"/>
                    </a:lnTo>
                    <a:lnTo>
                      <a:pt x="12" y="115"/>
                    </a:lnTo>
                    <a:lnTo>
                      <a:pt x="14" y="115"/>
                    </a:lnTo>
                    <a:lnTo>
                      <a:pt x="14" y="113"/>
                    </a:lnTo>
                    <a:lnTo>
                      <a:pt x="12" y="113"/>
                    </a:lnTo>
                    <a:lnTo>
                      <a:pt x="14" y="113"/>
                    </a:lnTo>
                    <a:lnTo>
                      <a:pt x="14" y="111"/>
                    </a:lnTo>
                    <a:lnTo>
                      <a:pt x="16" y="111"/>
                    </a:lnTo>
                    <a:lnTo>
                      <a:pt x="14" y="109"/>
                    </a:lnTo>
                    <a:lnTo>
                      <a:pt x="16" y="109"/>
                    </a:lnTo>
                    <a:lnTo>
                      <a:pt x="16" y="107"/>
                    </a:lnTo>
                    <a:lnTo>
                      <a:pt x="18" y="107"/>
                    </a:lnTo>
                    <a:lnTo>
                      <a:pt x="19" y="107"/>
                    </a:lnTo>
                    <a:lnTo>
                      <a:pt x="19" y="105"/>
                    </a:lnTo>
                    <a:lnTo>
                      <a:pt x="21" y="105"/>
                    </a:lnTo>
                    <a:lnTo>
                      <a:pt x="23" y="105"/>
                    </a:lnTo>
                    <a:lnTo>
                      <a:pt x="23" y="103"/>
                    </a:lnTo>
                    <a:lnTo>
                      <a:pt x="23" y="101"/>
                    </a:lnTo>
                    <a:lnTo>
                      <a:pt x="23" y="103"/>
                    </a:lnTo>
                    <a:lnTo>
                      <a:pt x="23" y="101"/>
                    </a:lnTo>
                    <a:lnTo>
                      <a:pt x="23" y="103"/>
                    </a:lnTo>
                    <a:lnTo>
                      <a:pt x="23" y="101"/>
                    </a:lnTo>
                    <a:lnTo>
                      <a:pt x="25" y="101"/>
                    </a:lnTo>
                    <a:lnTo>
                      <a:pt x="27" y="101"/>
                    </a:lnTo>
                    <a:lnTo>
                      <a:pt x="27" y="99"/>
                    </a:lnTo>
                    <a:lnTo>
                      <a:pt x="27" y="98"/>
                    </a:lnTo>
                    <a:lnTo>
                      <a:pt x="27" y="96"/>
                    </a:lnTo>
                    <a:lnTo>
                      <a:pt x="29" y="96"/>
                    </a:lnTo>
                    <a:lnTo>
                      <a:pt x="29" y="94"/>
                    </a:lnTo>
                    <a:lnTo>
                      <a:pt x="27" y="94"/>
                    </a:lnTo>
                    <a:lnTo>
                      <a:pt x="29" y="94"/>
                    </a:lnTo>
                    <a:lnTo>
                      <a:pt x="29" y="92"/>
                    </a:lnTo>
                    <a:lnTo>
                      <a:pt x="31" y="90"/>
                    </a:lnTo>
                    <a:lnTo>
                      <a:pt x="33" y="90"/>
                    </a:lnTo>
                    <a:lnTo>
                      <a:pt x="33" y="88"/>
                    </a:lnTo>
                    <a:lnTo>
                      <a:pt x="31" y="88"/>
                    </a:lnTo>
                    <a:lnTo>
                      <a:pt x="31" y="90"/>
                    </a:lnTo>
                    <a:lnTo>
                      <a:pt x="29" y="90"/>
                    </a:lnTo>
                    <a:lnTo>
                      <a:pt x="29" y="88"/>
                    </a:lnTo>
                    <a:lnTo>
                      <a:pt x="29" y="86"/>
                    </a:lnTo>
                    <a:lnTo>
                      <a:pt x="29" y="84"/>
                    </a:lnTo>
                    <a:lnTo>
                      <a:pt x="29" y="82"/>
                    </a:lnTo>
                    <a:lnTo>
                      <a:pt x="29" y="84"/>
                    </a:lnTo>
                    <a:lnTo>
                      <a:pt x="29" y="82"/>
                    </a:lnTo>
                    <a:lnTo>
                      <a:pt x="27" y="82"/>
                    </a:lnTo>
                    <a:lnTo>
                      <a:pt x="27" y="80"/>
                    </a:lnTo>
                    <a:lnTo>
                      <a:pt x="29" y="80"/>
                    </a:lnTo>
                    <a:lnTo>
                      <a:pt x="27" y="80"/>
                    </a:lnTo>
                    <a:lnTo>
                      <a:pt x="27" y="78"/>
                    </a:lnTo>
                    <a:lnTo>
                      <a:pt x="25" y="78"/>
                    </a:lnTo>
                    <a:lnTo>
                      <a:pt x="25" y="76"/>
                    </a:lnTo>
                    <a:lnTo>
                      <a:pt x="25" y="75"/>
                    </a:lnTo>
                    <a:lnTo>
                      <a:pt x="25" y="73"/>
                    </a:lnTo>
                    <a:lnTo>
                      <a:pt x="25" y="71"/>
                    </a:lnTo>
                    <a:lnTo>
                      <a:pt x="23" y="71"/>
                    </a:lnTo>
                    <a:lnTo>
                      <a:pt x="23" y="69"/>
                    </a:lnTo>
                    <a:lnTo>
                      <a:pt x="23" y="67"/>
                    </a:lnTo>
                    <a:lnTo>
                      <a:pt x="25" y="67"/>
                    </a:lnTo>
                    <a:lnTo>
                      <a:pt x="27" y="67"/>
                    </a:lnTo>
                    <a:lnTo>
                      <a:pt x="29" y="67"/>
                    </a:lnTo>
                    <a:lnTo>
                      <a:pt x="29" y="69"/>
                    </a:lnTo>
                    <a:lnTo>
                      <a:pt x="31" y="69"/>
                    </a:lnTo>
                    <a:lnTo>
                      <a:pt x="33" y="67"/>
                    </a:lnTo>
                    <a:lnTo>
                      <a:pt x="31" y="67"/>
                    </a:lnTo>
                    <a:lnTo>
                      <a:pt x="33" y="67"/>
                    </a:lnTo>
                    <a:lnTo>
                      <a:pt x="35" y="65"/>
                    </a:lnTo>
                    <a:lnTo>
                      <a:pt x="35" y="67"/>
                    </a:lnTo>
                    <a:lnTo>
                      <a:pt x="35" y="65"/>
                    </a:lnTo>
                    <a:lnTo>
                      <a:pt x="35" y="67"/>
                    </a:lnTo>
                    <a:lnTo>
                      <a:pt x="37" y="67"/>
                    </a:lnTo>
                    <a:lnTo>
                      <a:pt x="37" y="69"/>
                    </a:lnTo>
                    <a:lnTo>
                      <a:pt x="39" y="69"/>
                    </a:lnTo>
                    <a:lnTo>
                      <a:pt x="41" y="69"/>
                    </a:lnTo>
                    <a:lnTo>
                      <a:pt x="41" y="67"/>
                    </a:lnTo>
                    <a:lnTo>
                      <a:pt x="43" y="65"/>
                    </a:lnTo>
                    <a:lnTo>
                      <a:pt x="44" y="65"/>
                    </a:lnTo>
                    <a:lnTo>
                      <a:pt x="46" y="63"/>
                    </a:lnTo>
                    <a:lnTo>
                      <a:pt x="48" y="63"/>
                    </a:lnTo>
                    <a:lnTo>
                      <a:pt x="50" y="63"/>
                    </a:lnTo>
                    <a:lnTo>
                      <a:pt x="52" y="63"/>
                    </a:lnTo>
                    <a:lnTo>
                      <a:pt x="52" y="61"/>
                    </a:lnTo>
                    <a:lnTo>
                      <a:pt x="54" y="61"/>
                    </a:lnTo>
                    <a:lnTo>
                      <a:pt x="54" y="59"/>
                    </a:lnTo>
                    <a:lnTo>
                      <a:pt x="56" y="59"/>
                    </a:lnTo>
                    <a:lnTo>
                      <a:pt x="58" y="59"/>
                    </a:lnTo>
                    <a:lnTo>
                      <a:pt x="58" y="57"/>
                    </a:lnTo>
                    <a:lnTo>
                      <a:pt x="60" y="57"/>
                    </a:lnTo>
                    <a:lnTo>
                      <a:pt x="58" y="57"/>
                    </a:lnTo>
                    <a:lnTo>
                      <a:pt x="60" y="55"/>
                    </a:lnTo>
                    <a:lnTo>
                      <a:pt x="60" y="53"/>
                    </a:lnTo>
                    <a:lnTo>
                      <a:pt x="62" y="53"/>
                    </a:lnTo>
                    <a:lnTo>
                      <a:pt x="64" y="53"/>
                    </a:lnTo>
                    <a:lnTo>
                      <a:pt x="66" y="53"/>
                    </a:lnTo>
                    <a:lnTo>
                      <a:pt x="66" y="51"/>
                    </a:lnTo>
                    <a:lnTo>
                      <a:pt x="67" y="51"/>
                    </a:lnTo>
                    <a:lnTo>
                      <a:pt x="69" y="51"/>
                    </a:lnTo>
                    <a:lnTo>
                      <a:pt x="69" y="50"/>
                    </a:lnTo>
                    <a:lnTo>
                      <a:pt x="71" y="50"/>
                    </a:lnTo>
                    <a:lnTo>
                      <a:pt x="71" y="48"/>
                    </a:lnTo>
                    <a:lnTo>
                      <a:pt x="71" y="50"/>
                    </a:lnTo>
                    <a:lnTo>
                      <a:pt x="71" y="48"/>
                    </a:lnTo>
                    <a:lnTo>
                      <a:pt x="73" y="50"/>
                    </a:lnTo>
                    <a:lnTo>
                      <a:pt x="73" y="48"/>
                    </a:lnTo>
                    <a:lnTo>
                      <a:pt x="71" y="48"/>
                    </a:lnTo>
                    <a:lnTo>
                      <a:pt x="71" y="46"/>
                    </a:lnTo>
                    <a:lnTo>
                      <a:pt x="71" y="44"/>
                    </a:lnTo>
                    <a:lnTo>
                      <a:pt x="69" y="42"/>
                    </a:lnTo>
                    <a:lnTo>
                      <a:pt x="71" y="42"/>
                    </a:lnTo>
                    <a:lnTo>
                      <a:pt x="71" y="40"/>
                    </a:lnTo>
                    <a:lnTo>
                      <a:pt x="71" y="42"/>
                    </a:lnTo>
                    <a:lnTo>
                      <a:pt x="69" y="42"/>
                    </a:lnTo>
                    <a:lnTo>
                      <a:pt x="69" y="40"/>
                    </a:lnTo>
                    <a:lnTo>
                      <a:pt x="67" y="42"/>
                    </a:lnTo>
                    <a:lnTo>
                      <a:pt x="67" y="40"/>
                    </a:lnTo>
                    <a:lnTo>
                      <a:pt x="69" y="40"/>
                    </a:lnTo>
                    <a:lnTo>
                      <a:pt x="69" y="38"/>
                    </a:lnTo>
                    <a:lnTo>
                      <a:pt x="67" y="38"/>
                    </a:lnTo>
                    <a:lnTo>
                      <a:pt x="66" y="40"/>
                    </a:lnTo>
                    <a:lnTo>
                      <a:pt x="66" y="38"/>
                    </a:lnTo>
                    <a:lnTo>
                      <a:pt x="66" y="36"/>
                    </a:lnTo>
                    <a:lnTo>
                      <a:pt x="67" y="36"/>
                    </a:lnTo>
                    <a:lnTo>
                      <a:pt x="69" y="36"/>
                    </a:lnTo>
                    <a:lnTo>
                      <a:pt x="69" y="34"/>
                    </a:lnTo>
                    <a:lnTo>
                      <a:pt x="67" y="34"/>
                    </a:lnTo>
                    <a:lnTo>
                      <a:pt x="66" y="32"/>
                    </a:lnTo>
                    <a:lnTo>
                      <a:pt x="67" y="32"/>
                    </a:lnTo>
                    <a:lnTo>
                      <a:pt x="67" y="30"/>
                    </a:lnTo>
                    <a:lnTo>
                      <a:pt x="66" y="30"/>
                    </a:lnTo>
                    <a:lnTo>
                      <a:pt x="66" y="32"/>
                    </a:lnTo>
                    <a:lnTo>
                      <a:pt x="66" y="30"/>
                    </a:lnTo>
                    <a:lnTo>
                      <a:pt x="64" y="30"/>
                    </a:lnTo>
                    <a:lnTo>
                      <a:pt x="64" y="28"/>
                    </a:lnTo>
                    <a:lnTo>
                      <a:pt x="62" y="28"/>
                    </a:lnTo>
                    <a:lnTo>
                      <a:pt x="62" y="26"/>
                    </a:lnTo>
                    <a:lnTo>
                      <a:pt x="64" y="26"/>
                    </a:lnTo>
                    <a:lnTo>
                      <a:pt x="62" y="26"/>
                    </a:lnTo>
                    <a:lnTo>
                      <a:pt x="64" y="25"/>
                    </a:lnTo>
                    <a:lnTo>
                      <a:pt x="64" y="23"/>
                    </a:lnTo>
                    <a:lnTo>
                      <a:pt x="64" y="25"/>
                    </a:lnTo>
                    <a:lnTo>
                      <a:pt x="66" y="25"/>
                    </a:lnTo>
                    <a:lnTo>
                      <a:pt x="67" y="25"/>
                    </a:lnTo>
                    <a:lnTo>
                      <a:pt x="67" y="23"/>
                    </a:lnTo>
                    <a:lnTo>
                      <a:pt x="69" y="23"/>
                    </a:lnTo>
                    <a:lnTo>
                      <a:pt x="69" y="21"/>
                    </a:lnTo>
                    <a:lnTo>
                      <a:pt x="71" y="21"/>
                    </a:lnTo>
                    <a:lnTo>
                      <a:pt x="71" y="23"/>
                    </a:lnTo>
                    <a:lnTo>
                      <a:pt x="73" y="25"/>
                    </a:lnTo>
                    <a:lnTo>
                      <a:pt x="75" y="25"/>
                    </a:lnTo>
                    <a:lnTo>
                      <a:pt x="77" y="23"/>
                    </a:lnTo>
                    <a:lnTo>
                      <a:pt x="79" y="21"/>
                    </a:lnTo>
                    <a:lnTo>
                      <a:pt x="79" y="19"/>
                    </a:lnTo>
                    <a:lnTo>
                      <a:pt x="81" y="19"/>
                    </a:lnTo>
                    <a:lnTo>
                      <a:pt x="83" y="17"/>
                    </a:lnTo>
                    <a:lnTo>
                      <a:pt x="85" y="17"/>
                    </a:lnTo>
                    <a:lnTo>
                      <a:pt x="87" y="17"/>
                    </a:lnTo>
                    <a:lnTo>
                      <a:pt x="87" y="15"/>
                    </a:lnTo>
                    <a:lnTo>
                      <a:pt x="89" y="15"/>
                    </a:lnTo>
                    <a:lnTo>
                      <a:pt x="91" y="15"/>
                    </a:lnTo>
                    <a:lnTo>
                      <a:pt x="92" y="15"/>
                    </a:lnTo>
                    <a:lnTo>
                      <a:pt x="92" y="13"/>
                    </a:lnTo>
                    <a:lnTo>
                      <a:pt x="94" y="13"/>
                    </a:lnTo>
                    <a:lnTo>
                      <a:pt x="94" y="11"/>
                    </a:lnTo>
                    <a:lnTo>
                      <a:pt x="94" y="13"/>
                    </a:lnTo>
                    <a:lnTo>
                      <a:pt x="94" y="11"/>
                    </a:lnTo>
                    <a:lnTo>
                      <a:pt x="92" y="11"/>
                    </a:lnTo>
                    <a:lnTo>
                      <a:pt x="92" y="9"/>
                    </a:lnTo>
                    <a:lnTo>
                      <a:pt x="94" y="9"/>
                    </a:lnTo>
                    <a:lnTo>
                      <a:pt x="94" y="7"/>
                    </a:lnTo>
                    <a:lnTo>
                      <a:pt x="96" y="7"/>
                    </a:lnTo>
                    <a:lnTo>
                      <a:pt x="96" y="9"/>
                    </a:lnTo>
                    <a:lnTo>
                      <a:pt x="96" y="7"/>
                    </a:lnTo>
                    <a:lnTo>
                      <a:pt x="98" y="7"/>
                    </a:lnTo>
                    <a:lnTo>
                      <a:pt x="100" y="5"/>
                    </a:lnTo>
                    <a:lnTo>
                      <a:pt x="100" y="3"/>
                    </a:lnTo>
                    <a:lnTo>
                      <a:pt x="102" y="3"/>
                    </a:lnTo>
                    <a:lnTo>
                      <a:pt x="102" y="1"/>
                    </a:lnTo>
                    <a:lnTo>
                      <a:pt x="104" y="1"/>
                    </a:lnTo>
                    <a:lnTo>
                      <a:pt x="102" y="1"/>
                    </a:lnTo>
                    <a:lnTo>
                      <a:pt x="104" y="1"/>
                    </a:lnTo>
                    <a:lnTo>
                      <a:pt x="104" y="0"/>
                    </a:lnTo>
                    <a:lnTo>
                      <a:pt x="104" y="1"/>
                    </a:lnTo>
                    <a:lnTo>
                      <a:pt x="104" y="0"/>
                    </a:lnTo>
                    <a:lnTo>
                      <a:pt x="106" y="0"/>
                    </a:lnTo>
                    <a:lnTo>
                      <a:pt x="106" y="1"/>
                    </a:lnTo>
                    <a:lnTo>
                      <a:pt x="106" y="3"/>
                    </a:lnTo>
                    <a:lnTo>
                      <a:pt x="108" y="3"/>
                    </a:lnTo>
                    <a:lnTo>
                      <a:pt x="108" y="5"/>
                    </a:lnTo>
                    <a:lnTo>
                      <a:pt x="108" y="7"/>
                    </a:lnTo>
                    <a:lnTo>
                      <a:pt x="108" y="9"/>
                    </a:lnTo>
                    <a:lnTo>
                      <a:pt x="110" y="9"/>
                    </a:lnTo>
                    <a:lnTo>
                      <a:pt x="110" y="11"/>
                    </a:lnTo>
                    <a:lnTo>
                      <a:pt x="110" y="13"/>
                    </a:lnTo>
                    <a:lnTo>
                      <a:pt x="112" y="13"/>
                    </a:lnTo>
                    <a:lnTo>
                      <a:pt x="112" y="15"/>
                    </a:lnTo>
                    <a:lnTo>
                      <a:pt x="112" y="17"/>
                    </a:lnTo>
                    <a:lnTo>
                      <a:pt x="112" y="19"/>
                    </a:lnTo>
                    <a:lnTo>
                      <a:pt x="114" y="19"/>
                    </a:lnTo>
                    <a:lnTo>
                      <a:pt x="114" y="17"/>
                    </a:lnTo>
                    <a:lnTo>
                      <a:pt x="114" y="19"/>
                    </a:lnTo>
                    <a:lnTo>
                      <a:pt x="114" y="17"/>
                    </a:lnTo>
                    <a:lnTo>
                      <a:pt x="114" y="19"/>
                    </a:lnTo>
                    <a:lnTo>
                      <a:pt x="114" y="17"/>
                    </a:lnTo>
                    <a:lnTo>
                      <a:pt x="114" y="19"/>
                    </a:lnTo>
                    <a:lnTo>
                      <a:pt x="116" y="19"/>
                    </a:lnTo>
                    <a:lnTo>
                      <a:pt x="117" y="19"/>
                    </a:lnTo>
                    <a:lnTo>
                      <a:pt x="117" y="21"/>
                    </a:lnTo>
                    <a:lnTo>
                      <a:pt x="116" y="21"/>
                    </a:lnTo>
                    <a:lnTo>
                      <a:pt x="117" y="21"/>
                    </a:lnTo>
                    <a:lnTo>
                      <a:pt x="117" y="23"/>
                    </a:lnTo>
                    <a:lnTo>
                      <a:pt x="117" y="21"/>
                    </a:lnTo>
                    <a:lnTo>
                      <a:pt x="119" y="19"/>
                    </a:lnTo>
                    <a:lnTo>
                      <a:pt x="119" y="21"/>
                    </a:lnTo>
                    <a:lnTo>
                      <a:pt x="119" y="23"/>
                    </a:lnTo>
                    <a:lnTo>
                      <a:pt x="121" y="23"/>
                    </a:lnTo>
                    <a:lnTo>
                      <a:pt x="123" y="23"/>
                    </a:lnTo>
                    <a:lnTo>
                      <a:pt x="123" y="25"/>
                    </a:lnTo>
                    <a:lnTo>
                      <a:pt x="125" y="23"/>
                    </a:lnTo>
                    <a:lnTo>
                      <a:pt x="127" y="25"/>
                    </a:lnTo>
                    <a:lnTo>
                      <a:pt x="127" y="23"/>
                    </a:lnTo>
                    <a:lnTo>
                      <a:pt x="129" y="23"/>
                    </a:lnTo>
                    <a:lnTo>
                      <a:pt x="129" y="21"/>
                    </a:lnTo>
                    <a:lnTo>
                      <a:pt x="131" y="21"/>
                    </a:lnTo>
                    <a:lnTo>
                      <a:pt x="133" y="21"/>
                    </a:lnTo>
                    <a:lnTo>
                      <a:pt x="133" y="23"/>
                    </a:lnTo>
                    <a:lnTo>
                      <a:pt x="135" y="23"/>
                    </a:lnTo>
                    <a:lnTo>
                      <a:pt x="135" y="21"/>
                    </a:lnTo>
                    <a:lnTo>
                      <a:pt x="135" y="23"/>
                    </a:lnTo>
                    <a:lnTo>
                      <a:pt x="135" y="21"/>
                    </a:lnTo>
                    <a:lnTo>
                      <a:pt x="137" y="21"/>
                    </a:lnTo>
                    <a:lnTo>
                      <a:pt x="139" y="21"/>
                    </a:lnTo>
                    <a:lnTo>
                      <a:pt x="139" y="23"/>
                    </a:lnTo>
                    <a:lnTo>
                      <a:pt x="140" y="23"/>
                    </a:lnTo>
                    <a:lnTo>
                      <a:pt x="142" y="23"/>
                    </a:lnTo>
                    <a:lnTo>
                      <a:pt x="140" y="23"/>
                    </a:lnTo>
                    <a:lnTo>
                      <a:pt x="142" y="21"/>
                    </a:lnTo>
                    <a:lnTo>
                      <a:pt x="142" y="23"/>
                    </a:lnTo>
                    <a:lnTo>
                      <a:pt x="142" y="25"/>
                    </a:lnTo>
                    <a:lnTo>
                      <a:pt x="142" y="26"/>
                    </a:lnTo>
                    <a:lnTo>
                      <a:pt x="142" y="28"/>
                    </a:lnTo>
                    <a:lnTo>
                      <a:pt x="142" y="30"/>
                    </a:lnTo>
                    <a:lnTo>
                      <a:pt x="144" y="30"/>
                    </a:lnTo>
                    <a:lnTo>
                      <a:pt x="144" y="32"/>
                    </a:lnTo>
                    <a:lnTo>
                      <a:pt x="144" y="34"/>
                    </a:lnTo>
                    <a:lnTo>
                      <a:pt x="146" y="34"/>
                    </a:lnTo>
                    <a:lnTo>
                      <a:pt x="148" y="34"/>
                    </a:lnTo>
                    <a:lnTo>
                      <a:pt x="150" y="34"/>
                    </a:lnTo>
                    <a:lnTo>
                      <a:pt x="150" y="36"/>
                    </a:lnTo>
                    <a:lnTo>
                      <a:pt x="150" y="34"/>
                    </a:lnTo>
                    <a:lnTo>
                      <a:pt x="152" y="34"/>
                    </a:lnTo>
                    <a:lnTo>
                      <a:pt x="152" y="32"/>
                    </a:lnTo>
                    <a:lnTo>
                      <a:pt x="154" y="34"/>
                    </a:lnTo>
                    <a:lnTo>
                      <a:pt x="154" y="32"/>
                    </a:lnTo>
                    <a:lnTo>
                      <a:pt x="156" y="30"/>
                    </a:lnTo>
                    <a:lnTo>
                      <a:pt x="156" y="32"/>
                    </a:lnTo>
                    <a:lnTo>
                      <a:pt x="156" y="34"/>
                    </a:lnTo>
                    <a:lnTo>
                      <a:pt x="158" y="34"/>
                    </a:lnTo>
                    <a:lnTo>
                      <a:pt x="160" y="34"/>
                    </a:lnTo>
                    <a:lnTo>
                      <a:pt x="162" y="34"/>
                    </a:lnTo>
                    <a:lnTo>
                      <a:pt x="160" y="34"/>
                    </a:lnTo>
                    <a:lnTo>
                      <a:pt x="160" y="36"/>
                    </a:lnTo>
                    <a:lnTo>
                      <a:pt x="158" y="36"/>
                    </a:lnTo>
                    <a:lnTo>
                      <a:pt x="158" y="38"/>
                    </a:lnTo>
                    <a:lnTo>
                      <a:pt x="158" y="40"/>
                    </a:lnTo>
                    <a:lnTo>
                      <a:pt x="160" y="42"/>
                    </a:lnTo>
                    <a:lnTo>
                      <a:pt x="160" y="44"/>
                    </a:lnTo>
                    <a:lnTo>
                      <a:pt x="160" y="46"/>
                    </a:lnTo>
                    <a:lnTo>
                      <a:pt x="162" y="46"/>
                    </a:lnTo>
                    <a:lnTo>
                      <a:pt x="162" y="48"/>
                    </a:lnTo>
                    <a:lnTo>
                      <a:pt x="162" y="50"/>
                    </a:lnTo>
                    <a:lnTo>
                      <a:pt x="162" y="51"/>
                    </a:lnTo>
                    <a:lnTo>
                      <a:pt x="164" y="51"/>
                    </a:lnTo>
                    <a:lnTo>
                      <a:pt x="164" y="53"/>
                    </a:lnTo>
                    <a:lnTo>
                      <a:pt x="164" y="55"/>
                    </a:lnTo>
                    <a:lnTo>
                      <a:pt x="164" y="57"/>
                    </a:lnTo>
                    <a:lnTo>
                      <a:pt x="165" y="57"/>
                    </a:lnTo>
                    <a:lnTo>
                      <a:pt x="165" y="55"/>
                    </a:lnTo>
                    <a:lnTo>
                      <a:pt x="167" y="55"/>
                    </a:lnTo>
                    <a:lnTo>
                      <a:pt x="169" y="57"/>
                    </a:lnTo>
                    <a:lnTo>
                      <a:pt x="169" y="55"/>
                    </a:lnTo>
                    <a:lnTo>
                      <a:pt x="171" y="55"/>
                    </a:lnTo>
                    <a:lnTo>
                      <a:pt x="173" y="55"/>
                    </a:lnTo>
                    <a:lnTo>
                      <a:pt x="175" y="55"/>
                    </a:lnTo>
                    <a:lnTo>
                      <a:pt x="177" y="55"/>
                    </a:lnTo>
                    <a:lnTo>
                      <a:pt x="175" y="53"/>
                    </a:lnTo>
                    <a:lnTo>
                      <a:pt x="175" y="55"/>
                    </a:lnTo>
                    <a:lnTo>
                      <a:pt x="175" y="53"/>
                    </a:lnTo>
                    <a:lnTo>
                      <a:pt x="177" y="51"/>
                    </a:lnTo>
                    <a:lnTo>
                      <a:pt x="175" y="53"/>
                    </a:lnTo>
                    <a:lnTo>
                      <a:pt x="175" y="51"/>
                    </a:lnTo>
                    <a:lnTo>
                      <a:pt x="177" y="51"/>
                    </a:lnTo>
                    <a:lnTo>
                      <a:pt x="179" y="50"/>
                    </a:lnTo>
                    <a:lnTo>
                      <a:pt x="181" y="51"/>
                    </a:lnTo>
                    <a:lnTo>
                      <a:pt x="181" y="50"/>
                    </a:lnTo>
                    <a:lnTo>
                      <a:pt x="181" y="48"/>
                    </a:lnTo>
                    <a:lnTo>
                      <a:pt x="183" y="48"/>
                    </a:lnTo>
                    <a:lnTo>
                      <a:pt x="185" y="4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8" name="Freeform 88"/>
              <p:cNvSpPr>
                <a:spLocks/>
              </p:cNvSpPr>
              <p:nvPr/>
            </p:nvSpPr>
            <p:spPr bwMode="auto">
              <a:xfrm>
                <a:off x="4187285" y="3101211"/>
                <a:ext cx="1039258" cy="939461"/>
              </a:xfrm>
              <a:custGeom>
                <a:avLst/>
                <a:gdLst>
                  <a:gd name="T0" fmla="*/ 540 w 604"/>
                  <a:gd name="T1" fmla="*/ 53 h 546"/>
                  <a:gd name="T2" fmla="*/ 548 w 604"/>
                  <a:gd name="T3" fmla="*/ 80 h 546"/>
                  <a:gd name="T4" fmla="*/ 559 w 604"/>
                  <a:gd name="T5" fmla="*/ 119 h 546"/>
                  <a:gd name="T6" fmla="*/ 581 w 604"/>
                  <a:gd name="T7" fmla="*/ 128 h 546"/>
                  <a:gd name="T8" fmla="*/ 602 w 604"/>
                  <a:gd name="T9" fmla="*/ 152 h 546"/>
                  <a:gd name="T10" fmla="*/ 598 w 604"/>
                  <a:gd name="T11" fmla="*/ 178 h 546"/>
                  <a:gd name="T12" fmla="*/ 579 w 604"/>
                  <a:gd name="T13" fmla="*/ 186 h 546"/>
                  <a:gd name="T14" fmla="*/ 554 w 604"/>
                  <a:gd name="T15" fmla="*/ 209 h 546"/>
                  <a:gd name="T16" fmla="*/ 538 w 604"/>
                  <a:gd name="T17" fmla="*/ 236 h 546"/>
                  <a:gd name="T18" fmla="*/ 519 w 604"/>
                  <a:gd name="T19" fmla="*/ 257 h 546"/>
                  <a:gd name="T20" fmla="*/ 536 w 604"/>
                  <a:gd name="T21" fmla="*/ 284 h 546"/>
                  <a:gd name="T22" fmla="*/ 540 w 604"/>
                  <a:gd name="T23" fmla="*/ 311 h 546"/>
                  <a:gd name="T24" fmla="*/ 521 w 604"/>
                  <a:gd name="T25" fmla="*/ 338 h 546"/>
                  <a:gd name="T26" fmla="*/ 486 w 604"/>
                  <a:gd name="T27" fmla="*/ 361 h 546"/>
                  <a:gd name="T28" fmla="*/ 465 w 604"/>
                  <a:gd name="T29" fmla="*/ 380 h 546"/>
                  <a:gd name="T30" fmla="*/ 436 w 604"/>
                  <a:gd name="T31" fmla="*/ 417 h 546"/>
                  <a:gd name="T32" fmla="*/ 398 w 604"/>
                  <a:gd name="T33" fmla="*/ 428 h 546"/>
                  <a:gd name="T34" fmla="*/ 371 w 604"/>
                  <a:gd name="T35" fmla="*/ 434 h 546"/>
                  <a:gd name="T36" fmla="*/ 362 w 604"/>
                  <a:gd name="T37" fmla="*/ 453 h 546"/>
                  <a:gd name="T38" fmla="*/ 352 w 604"/>
                  <a:gd name="T39" fmla="*/ 490 h 546"/>
                  <a:gd name="T40" fmla="*/ 363 w 604"/>
                  <a:gd name="T41" fmla="*/ 507 h 546"/>
                  <a:gd name="T42" fmla="*/ 342 w 604"/>
                  <a:gd name="T43" fmla="*/ 538 h 546"/>
                  <a:gd name="T44" fmla="*/ 315 w 604"/>
                  <a:gd name="T45" fmla="*/ 532 h 546"/>
                  <a:gd name="T46" fmla="*/ 277 w 604"/>
                  <a:gd name="T47" fmla="*/ 521 h 546"/>
                  <a:gd name="T48" fmla="*/ 244 w 604"/>
                  <a:gd name="T49" fmla="*/ 523 h 546"/>
                  <a:gd name="T50" fmla="*/ 219 w 604"/>
                  <a:gd name="T51" fmla="*/ 532 h 546"/>
                  <a:gd name="T52" fmla="*/ 187 w 604"/>
                  <a:gd name="T53" fmla="*/ 544 h 546"/>
                  <a:gd name="T54" fmla="*/ 162 w 604"/>
                  <a:gd name="T55" fmla="*/ 536 h 546"/>
                  <a:gd name="T56" fmla="*/ 141 w 604"/>
                  <a:gd name="T57" fmla="*/ 509 h 546"/>
                  <a:gd name="T58" fmla="*/ 129 w 604"/>
                  <a:gd name="T59" fmla="*/ 474 h 546"/>
                  <a:gd name="T60" fmla="*/ 108 w 604"/>
                  <a:gd name="T61" fmla="*/ 459 h 546"/>
                  <a:gd name="T62" fmla="*/ 79 w 604"/>
                  <a:gd name="T63" fmla="*/ 448 h 546"/>
                  <a:gd name="T64" fmla="*/ 46 w 604"/>
                  <a:gd name="T65" fmla="*/ 444 h 546"/>
                  <a:gd name="T66" fmla="*/ 23 w 604"/>
                  <a:gd name="T67" fmla="*/ 428 h 546"/>
                  <a:gd name="T68" fmla="*/ 8 w 604"/>
                  <a:gd name="T69" fmla="*/ 411 h 546"/>
                  <a:gd name="T70" fmla="*/ 8 w 604"/>
                  <a:gd name="T71" fmla="*/ 382 h 546"/>
                  <a:gd name="T72" fmla="*/ 20 w 604"/>
                  <a:gd name="T73" fmla="*/ 361 h 546"/>
                  <a:gd name="T74" fmla="*/ 45 w 604"/>
                  <a:gd name="T75" fmla="*/ 336 h 546"/>
                  <a:gd name="T76" fmla="*/ 64 w 604"/>
                  <a:gd name="T77" fmla="*/ 355 h 546"/>
                  <a:gd name="T78" fmla="*/ 91 w 604"/>
                  <a:gd name="T79" fmla="*/ 378 h 546"/>
                  <a:gd name="T80" fmla="*/ 116 w 604"/>
                  <a:gd name="T81" fmla="*/ 401 h 546"/>
                  <a:gd name="T82" fmla="*/ 143 w 604"/>
                  <a:gd name="T83" fmla="*/ 413 h 546"/>
                  <a:gd name="T84" fmla="*/ 166 w 604"/>
                  <a:gd name="T85" fmla="*/ 436 h 546"/>
                  <a:gd name="T86" fmla="*/ 183 w 604"/>
                  <a:gd name="T87" fmla="*/ 453 h 546"/>
                  <a:gd name="T88" fmla="*/ 214 w 604"/>
                  <a:gd name="T89" fmla="*/ 461 h 546"/>
                  <a:gd name="T90" fmla="*/ 271 w 604"/>
                  <a:gd name="T91" fmla="*/ 375 h 546"/>
                  <a:gd name="T92" fmla="*/ 333 w 604"/>
                  <a:gd name="T93" fmla="*/ 217 h 546"/>
                  <a:gd name="T94" fmla="*/ 331 w 604"/>
                  <a:gd name="T95" fmla="*/ 178 h 546"/>
                  <a:gd name="T96" fmla="*/ 327 w 604"/>
                  <a:gd name="T97" fmla="*/ 150 h 546"/>
                  <a:gd name="T98" fmla="*/ 339 w 604"/>
                  <a:gd name="T99" fmla="*/ 123 h 546"/>
                  <a:gd name="T100" fmla="*/ 315 w 604"/>
                  <a:gd name="T101" fmla="*/ 109 h 546"/>
                  <a:gd name="T102" fmla="*/ 323 w 604"/>
                  <a:gd name="T103" fmla="*/ 80 h 546"/>
                  <a:gd name="T104" fmla="*/ 348 w 604"/>
                  <a:gd name="T105" fmla="*/ 71 h 546"/>
                  <a:gd name="T106" fmla="*/ 369 w 604"/>
                  <a:gd name="T107" fmla="*/ 57 h 546"/>
                  <a:gd name="T108" fmla="*/ 396 w 604"/>
                  <a:gd name="T109" fmla="*/ 48 h 546"/>
                  <a:gd name="T110" fmla="*/ 413 w 604"/>
                  <a:gd name="T111" fmla="*/ 44 h 546"/>
                  <a:gd name="T112" fmla="*/ 440 w 604"/>
                  <a:gd name="T113" fmla="*/ 42 h 546"/>
                  <a:gd name="T114" fmla="*/ 458 w 604"/>
                  <a:gd name="T115" fmla="*/ 59 h 546"/>
                  <a:gd name="T116" fmla="*/ 483 w 604"/>
                  <a:gd name="T117" fmla="*/ 59 h 546"/>
                  <a:gd name="T118" fmla="*/ 504 w 604"/>
                  <a:gd name="T119" fmla="*/ 46 h 546"/>
                  <a:gd name="T120" fmla="*/ 515 w 604"/>
                  <a:gd name="T121" fmla="*/ 15 h 546"/>
                  <a:gd name="T122" fmla="*/ 540 w 604"/>
                  <a:gd name="T123" fmla="*/ 2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 h="546">
                    <a:moveTo>
                      <a:pt x="534" y="21"/>
                    </a:moveTo>
                    <a:lnTo>
                      <a:pt x="533" y="23"/>
                    </a:lnTo>
                    <a:lnTo>
                      <a:pt x="531" y="25"/>
                    </a:lnTo>
                    <a:lnTo>
                      <a:pt x="531" y="27"/>
                    </a:lnTo>
                    <a:lnTo>
                      <a:pt x="531" y="28"/>
                    </a:lnTo>
                    <a:lnTo>
                      <a:pt x="531" y="30"/>
                    </a:lnTo>
                    <a:lnTo>
                      <a:pt x="533" y="32"/>
                    </a:lnTo>
                    <a:lnTo>
                      <a:pt x="533" y="34"/>
                    </a:lnTo>
                    <a:lnTo>
                      <a:pt x="533" y="36"/>
                    </a:lnTo>
                    <a:lnTo>
                      <a:pt x="533" y="38"/>
                    </a:lnTo>
                    <a:lnTo>
                      <a:pt x="533" y="40"/>
                    </a:lnTo>
                    <a:lnTo>
                      <a:pt x="531" y="40"/>
                    </a:lnTo>
                    <a:lnTo>
                      <a:pt x="531" y="42"/>
                    </a:lnTo>
                    <a:lnTo>
                      <a:pt x="529" y="42"/>
                    </a:lnTo>
                    <a:lnTo>
                      <a:pt x="529" y="44"/>
                    </a:lnTo>
                    <a:lnTo>
                      <a:pt x="529" y="46"/>
                    </a:lnTo>
                    <a:lnTo>
                      <a:pt x="529" y="48"/>
                    </a:lnTo>
                    <a:lnTo>
                      <a:pt x="531" y="48"/>
                    </a:lnTo>
                    <a:lnTo>
                      <a:pt x="533" y="48"/>
                    </a:lnTo>
                    <a:lnTo>
                      <a:pt x="534" y="48"/>
                    </a:lnTo>
                    <a:lnTo>
                      <a:pt x="536" y="48"/>
                    </a:lnTo>
                    <a:lnTo>
                      <a:pt x="538" y="48"/>
                    </a:lnTo>
                    <a:lnTo>
                      <a:pt x="538" y="50"/>
                    </a:lnTo>
                    <a:lnTo>
                      <a:pt x="538" y="52"/>
                    </a:lnTo>
                    <a:lnTo>
                      <a:pt x="540" y="53"/>
                    </a:lnTo>
                    <a:lnTo>
                      <a:pt x="542" y="53"/>
                    </a:lnTo>
                    <a:lnTo>
                      <a:pt x="542" y="55"/>
                    </a:lnTo>
                    <a:lnTo>
                      <a:pt x="544" y="55"/>
                    </a:lnTo>
                    <a:lnTo>
                      <a:pt x="544" y="57"/>
                    </a:lnTo>
                    <a:lnTo>
                      <a:pt x="542" y="57"/>
                    </a:lnTo>
                    <a:lnTo>
                      <a:pt x="540" y="57"/>
                    </a:lnTo>
                    <a:lnTo>
                      <a:pt x="540" y="59"/>
                    </a:lnTo>
                    <a:lnTo>
                      <a:pt x="540" y="61"/>
                    </a:lnTo>
                    <a:lnTo>
                      <a:pt x="542" y="63"/>
                    </a:lnTo>
                    <a:lnTo>
                      <a:pt x="540" y="63"/>
                    </a:lnTo>
                    <a:lnTo>
                      <a:pt x="542" y="63"/>
                    </a:lnTo>
                    <a:lnTo>
                      <a:pt x="540" y="65"/>
                    </a:lnTo>
                    <a:lnTo>
                      <a:pt x="542" y="65"/>
                    </a:lnTo>
                    <a:lnTo>
                      <a:pt x="542" y="67"/>
                    </a:lnTo>
                    <a:lnTo>
                      <a:pt x="542" y="65"/>
                    </a:lnTo>
                    <a:lnTo>
                      <a:pt x="542" y="67"/>
                    </a:lnTo>
                    <a:lnTo>
                      <a:pt x="544" y="69"/>
                    </a:lnTo>
                    <a:lnTo>
                      <a:pt x="544" y="71"/>
                    </a:lnTo>
                    <a:lnTo>
                      <a:pt x="546" y="71"/>
                    </a:lnTo>
                    <a:lnTo>
                      <a:pt x="546" y="73"/>
                    </a:lnTo>
                    <a:lnTo>
                      <a:pt x="548" y="73"/>
                    </a:lnTo>
                    <a:lnTo>
                      <a:pt x="548" y="75"/>
                    </a:lnTo>
                    <a:lnTo>
                      <a:pt x="546" y="77"/>
                    </a:lnTo>
                    <a:lnTo>
                      <a:pt x="548" y="78"/>
                    </a:lnTo>
                    <a:lnTo>
                      <a:pt x="548" y="80"/>
                    </a:lnTo>
                    <a:lnTo>
                      <a:pt x="548" y="82"/>
                    </a:lnTo>
                    <a:lnTo>
                      <a:pt x="548" y="84"/>
                    </a:lnTo>
                    <a:lnTo>
                      <a:pt x="550" y="84"/>
                    </a:lnTo>
                    <a:lnTo>
                      <a:pt x="550" y="86"/>
                    </a:lnTo>
                    <a:lnTo>
                      <a:pt x="552" y="86"/>
                    </a:lnTo>
                    <a:lnTo>
                      <a:pt x="552" y="88"/>
                    </a:lnTo>
                    <a:lnTo>
                      <a:pt x="554" y="88"/>
                    </a:lnTo>
                    <a:lnTo>
                      <a:pt x="554" y="90"/>
                    </a:lnTo>
                    <a:lnTo>
                      <a:pt x="554" y="92"/>
                    </a:lnTo>
                    <a:lnTo>
                      <a:pt x="554" y="94"/>
                    </a:lnTo>
                    <a:lnTo>
                      <a:pt x="554" y="96"/>
                    </a:lnTo>
                    <a:lnTo>
                      <a:pt x="554" y="98"/>
                    </a:lnTo>
                    <a:lnTo>
                      <a:pt x="554" y="100"/>
                    </a:lnTo>
                    <a:lnTo>
                      <a:pt x="556" y="102"/>
                    </a:lnTo>
                    <a:lnTo>
                      <a:pt x="556" y="103"/>
                    </a:lnTo>
                    <a:lnTo>
                      <a:pt x="556" y="105"/>
                    </a:lnTo>
                    <a:lnTo>
                      <a:pt x="558" y="105"/>
                    </a:lnTo>
                    <a:lnTo>
                      <a:pt x="558" y="107"/>
                    </a:lnTo>
                    <a:lnTo>
                      <a:pt x="558" y="109"/>
                    </a:lnTo>
                    <a:lnTo>
                      <a:pt x="558" y="111"/>
                    </a:lnTo>
                    <a:lnTo>
                      <a:pt x="559" y="111"/>
                    </a:lnTo>
                    <a:lnTo>
                      <a:pt x="559" y="113"/>
                    </a:lnTo>
                    <a:lnTo>
                      <a:pt x="559" y="115"/>
                    </a:lnTo>
                    <a:lnTo>
                      <a:pt x="559" y="117"/>
                    </a:lnTo>
                    <a:lnTo>
                      <a:pt x="559" y="119"/>
                    </a:lnTo>
                    <a:lnTo>
                      <a:pt x="561" y="119"/>
                    </a:lnTo>
                    <a:lnTo>
                      <a:pt x="563" y="121"/>
                    </a:lnTo>
                    <a:lnTo>
                      <a:pt x="561" y="123"/>
                    </a:lnTo>
                    <a:lnTo>
                      <a:pt x="563" y="125"/>
                    </a:lnTo>
                    <a:lnTo>
                      <a:pt x="565" y="127"/>
                    </a:lnTo>
                    <a:lnTo>
                      <a:pt x="565" y="125"/>
                    </a:lnTo>
                    <a:lnTo>
                      <a:pt x="567" y="125"/>
                    </a:lnTo>
                    <a:lnTo>
                      <a:pt x="567" y="123"/>
                    </a:lnTo>
                    <a:lnTo>
                      <a:pt x="567" y="125"/>
                    </a:lnTo>
                    <a:lnTo>
                      <a:pt x="569" y="125"/>
                    </a:lnTo>
                    <a:lnTo>
                      <a:pt x="569" y="127"/>
                    </a:lnTo>
                    <a:lnTo>
                      <a:pt x="569" y="125"/>
                    </a:lnTo>
                    <a:lnTo>
                      <a:pt x="571" y="125"/>
                    </a:lnTo>
                    <a:lnTo>
                      <a:pt x="573" y="125"/>
                    </a:lnTo>
                    <a:lnTo>
                      <a:pt x="575" y="123"/>
                    </a:lnTo>
                    <a:lnTo>
                      <a:pt x="577" y="123"/>
                    </a:lnTo>
                    <a:lnTo>
                      <a:pt x="577" y="121"/>
                    </a:lnTo>
                    <a:lnTo>
                      <a:pt x="577" y="123"/>
                    </a:lnTo>
                    <a:lnTo>
                      <a:pt x="579" y="123"/>
                    </a:lnTo>
                    <a:lnTo>
                      <a:pt x="579" y="125"/>
                    </a:lnTo>
                    <a:lnTo>
                      <a:pt x="581" y="125"/>
                    </a:lnTo>
                    <a:lnTo>
                      <a:pt x="581" y="127"/>
                    </a:lnTo>
                    <a:lnTo>
                      <a:pt x="581" y="128"/>
                    </a:lnTo>
                    <a:lnTo>
                      <a:pt x="582" y="128"/>
                    </a:lnTo>
                    <a:lnTo>
                      <a:pt x="581" y="128"/>
                    </a:lnTo>
                    <a:lnTo>
                      <a:pt x="581" y="130"/>
                    </a:lnTo>
                    <a:lnTo>
                      <a:pt x="582" y="130"/>
                    </a:lnTo>
                    <a:lnTo>
                      <a:pt x="584" y="132"/>
                    </a:lnTo>
                    <a:lnTo>
                      <a:pt x="586" y="132"/>
                    </a:lnTo>
                    <a:lnTo>
                      <a:pt x="588" y="134"/>
                    </a:lnTo>
                    <a:lnTo>
                      <a:pt x="588" y="136"/>
                    </a:lnTo>
                    <a:lnTo>
                      <a:pt x="590" y="136"/>
                    </a:lnTo>
                    <a:lnTo>
                      <a:pt x="592" y="136"/>
                    </a:lnTo>
                    <a:lnTo>
                      <a:pt x="594" y="136"/>
                    </a:lnTo>
                    <a:lnTo>
                      <a:pt x="594" y="138"/>
                    </a:lnTo>
                    <a:lnTo>
                      <a:pt x="596" y="138"/>
                    </a:lnTo>
                    <a:lnTo>
                      <a:pt x="596" y="140"/>
                    </a:lnTo>
                    <a:lnTo>
                      <a:pt x="598" y="140"/>
                    </a:lnTo>
                    <a:lnTo>
                      <a:pt x="598" y="142"/>
                    </a:lnTo>
                    <a:lnTo>
                      <a:pt x="598" y="144"/>
                    </a:lnTo>
                    <a:lnTo>
                      <a:pt x="598" y="146"/>
                    </a:lnTo>
                    <a:lnTo>
                      <a:pt x="598" y="144"/>
                    </a:lnTo>
                    <a:lnTo>
                      <a:pt x="600" y="144"/>
                    </a:lnTo>
                    <a:lnTo>
                      <a:pt x="600" y="146"/>
                    </a:lnTo>
                    <a:lnTo>
                      <a:pt x="598" y="146"/>
                    </a:lnTo>
                    <a:lnTo>
                      <a:pt x="600" y="146"/>
                    </a:lnTo>
                    <a:lnTo>
                      <a:pt x="600" y="148"/>
                    </a:lnTo>
                    <a:lnTo>
                      <a:pt x="600" y="150"/>
                    </a:lnTo>
                    <a:lnTo>
                      <a:pt x="602" y="150"/>
                    </a:lnTo>
                    <a:lnTo>
                      <a:pt x="602" y="152"/>
                    </a:lnTo>
                    <a:lnTo>
                      <a:pt x="602" y="153"/>
                    </a:lnTo>
                    <a:lnTo>
                      <a:pt x="604" y="153"/>
                    </a:lnTo>
                    <a:lnTo>
                      <a:pt x="604" y="155"/>
                    </a:lnTo>
                    <a:lnTo>
                      <a:pt x="602" y="155"/>
                    </a:lnTo>
                    <a:lnTo>
                      <a:pt x="604" y="155"/>
                    </a:lnTo>
                    <a:lnTo>
                      <a:pt x="604" y="157"/>
                    </a:lnTo>
                    <a:lnTo>
                      <a:pt x="602" y="157"/>
                    </a:lnTo>
                    <a:lnTo>
                      <a:pt x="602" y="159"/>
                    </a:lnTo>
                    <a:lnTo>
                      <a:pt x="602" y="161"/>
                    </a:lnTo>
                    <a:lnTo>
                      <a:pt x="604" y="161"/>
                    </a:lnTo>
                    <a:lnTo>
                      <a:pt x="604" y="163"/>
                    </a:lnTo>
                    <a:lnTo>
                      <a:pt x="602" y="163"/>
                    </a:lnTo>
                    <a:lnTo>
                      <a:pt x="602" y="165"/>
                    </a:lnTo>
                    <a:lnTo>
                      <a:pt x="600" y="167"/>
                    </a:lnTo>
                    <a:lnTo>
                      <a:pt x="602" y="169"/>
                    </a:lnTo>
                    <a:lnTo>
                      <a:pt x="600" y="169"/>
                    </a:lnTo>
                    <a:lnTo>
                      <a:pt x="602" y="171"/>
                    </a:lnTo>
                    <a:lnTo>
                      <a:pt x="602" y="173"/>
                    </a:lnTo>
                    <a:lnTo>
                      <a:pt x="600" y="173"/>
                    </a:lnTo>
                    <a:lnTo>
                      <a:pt x="600" y="175"/>
                    </a:lnTo>
                    <a:lnTo>
                      <a:pt x="602" y="175"/>
                    </a:lnTo>
                    <a:lnTo>
                      <a:pt x="602" y="177"/>
                    </a:lnTo>
                    <a:lnTo>
                      <a:pt x="600" y="177"/>
                    </a:lnTo>
                    <a:lnTo>
                      <a:pt x="600" y="178"/>
                    </a:lnTo>
                    <a:lnTo>
                      <a:pt x="598" y="178"/>
                    </a:lnTo>
                    <a:lnTo>
                      <a:pt x="598" y="177"/>
                    </a:lnTo>
                    <a:lnTo>
                      <a:pt x="598" y="178"/>
                    </a:lnTo>
                    <a:lnTo>
                      <a:pt x="596" y="178"/>
                    </a:lnTo>
                    <a:lnTo>
                      <a:pt x="594" y="178"/>
                    </a:lnTo>
                    <a:lnTo>
                      <a:pt x="594" y="180"/>
                    </a:lnTo>
                    <a:lnTo>
                      <a:pt x="596" y="180"/>
                    </a:lnTo>
                    <a:lnTo>
                      <a:pt x="596" y="182"/>
                    </a:lnTo>
                    <a:lnTo>
                      <a:pt x="594" y="182"/>
                    </a:lnTo>
                    <a:lnTo>
                      <a:pt x="594" y="180"/>
                    </a:lnTo>
                    <a:lnTo>
                      <a:pt x="592" y="180"/>
                    </a:lnTo>
                    <a:lnTo>
                      <a:pt x="592" y="182"/>
                    </a:lnTo>
                    <a:lnTo>
                      <a:pt x="592" y="180"/>
                    </a:lnTo>
                    <a:lnTo>
                      <a:pt x="590" y="180"/>
                    </a:lnTo>
                    <a:lnTo>
                      <a:pt x="588" y="180"/>
                    </a:lnTo>
                    <a:lnTo>
                      <a:pt x="588" y="182"/>
                    </a:lnTo>
                    <a:lnTo>
                      <a:pt x="588" y="180"/>
                    </a:lnTo>
                    <a:lnTo>
                      <a:pt x="586" y="180"/>
                    </a:lnTo>
                    <a:lnTo>
                      <a:pt x="586" y="182"/>
                    </a:lnTo>
                    <a:lnTo>
                      <a:pt x="584" y="182"/>
                    </a:lnTo>
                    <a:lnTo>
                      <a:pt x="584" y="180"/>
                    </a:lnTo>
                    <a:lnTo>
                      <a:pt x="582" y="182"/>
                    </a:lnTo>
                    <a:lnTo>
                      <a:pt x="582" y="184"/>
                    </a:lnTo>
                    <a:lnTo>
                      <a:pt x="581" y="184"/>
                    </a:lnTo>
                    <a:lnTo>
                      <a:pt x="579" y="184"/>
                    </a:lnTo>
                    <a:lnTo>
                      <a:pt x="579" y="186"/>
                    </a:lnTo>
                    <a:lnTo>
                      <a:pt x="577" y="186"/>
                    </a:lnTo>
                    <a:lnTo>
                      <a:pt x="575" y="186"/>
                    </a:lnTo>
                    <a:lnTo>
                      <a:pt x="573" y="186"/>
                    </a:lnTo>
                    <a:lnTo>
                      <a:pt x="573" y="188"/>
                    </a:lnTo>
                    <a:lnTo>
                      <a:pt x="571" y="188"/>
                    </a:lnTo>
                    <a:lnTo>
                      <a:pt x="571" y="190"/>
                    </a:lnTo>
                    <a:lnTo>
                      <a:pt x="571" y="188"/>
                    </a:lnTo>
                    <a:lnTo>
                      <a:pt x="569" y="190"/>
                    </a:lnTo>
                    <a:lnTo>
                      <a:pt x="567" y="190"/>
                    </a:lnTo>
                    <a:lnTo>
                      <a:pt x="567" y="192"/>
                    </a:lnTo>
                    <a:lnTo>
                      <a:pt x="565" y="192"/>
                    </a:lnTo>
                    <a:lnTo>
                      <a:pt x="565" y="194"/>
                    </a:lnTo>
                    <a:lnTo>
                      <a:pt x="563" y="196"/>
                    </a:lnTo>
                    <a:lnTo>
                      <a:pt x="563" y="198"/>
                    </a:lnTo>
                    <a:lnTo>
                      <a:pt x="563" y="200"/>
                    </a:lnTo>
                    <a:lnTo>
                      <a:pt x="563" y="201"/>
                    </a:lnTo>
                    <a:lnTo>
                      <a:pt x="561" y="201"/>
                    </a:lnTo>
                    <a:lnTo>
                      <a:pt x="561" y="203"/>
                    </a:lnTo>
                    <a:lnTo>
                      <a:pt x="559" y="203"/>
                    </a:lnTo>
                    <a:lnTo>
                      <a:pt x="559" y="205"/>
                    </a:lnTo>
                    <a:lnTo>
                      <a:pt x="558" y="205"/>
                    </a:lnTo>
                    <a:lnTo>
                      <a:pt x="558" y="207"/>
                    </a:lnTo>
                    <a:lnTo>
                      <a:pt x="558" y="209"/>
                    </a:lnTo>
                    <a:lnTo>
                      <a:pt x="556" y="209"/>
                    </a:lnTo>
                    <a:lnTo>
                      <a:pt x="554" y="209"/>
                    </a:lnTo>
                    <a:lnTo>
                      <a:pt x="556" y="211"/>
                    </a:lnTo>
                    <a:lnTo>
                      <a:pt x="556" y="213"/>
                    </a:lnTo>
                    <a:lnTo>
                      <a:pt x="556" y="215"/>
                    </a:lnTo>
                    <a:lnTo>
                      <a:pt x="554" y="215"/>
                    </a:lnTo>
                    <a:lnTo>
                      <a:pt x="554" y="217"/>
                    </a:lnTo>
                    <a:lnTo>
                      <a:pt x="552" y="217"/>
                    </a:lnTo>
                    <a:lnTo>
                      <a:pt x="552" y="219"/>
                    </a:lnTo>
                    <a:lnTo>
                      <a:pt x="552" y="221"/>
                    </a:lnTo>
                    <a:lnTo>
                      <a:pt x="552" y="223"/>
                    </a:lnTo>
                    <a:lnTo>
                      <a:pt x="552" y="221"/>
                    </a:lnTo>
                    <a:lnTo>
                      <a:pt x="552" y="223"/>
                    </a:lnTo>
                    <a:lnTo>
                      <a:pt x="552" y="225"/>
                    </a:lnTo>
                    <a:lnTo>
                      <a:pt x="550" y="225"/>
                    </a:lnTo>
                    <a:lnTo>
                      <a:pt x="550" y="226"/>
                    </a:lnTo>
                    <a:lnTo>
                      <a:pt x="548" y="226"/>
                    </a:lnTo>
                    <a:lnTo>
                      <a:pt x="548" y="228"/>
                    </a:lnTo>
                    <a:lnTo>
                      <a:pt x="546" y="228"/>
                    </a:lnTo>
                    <a:lnTo>
                      <a:pt x="544" y="228"/>
                    </a:lnTo>
                    <a:lnTo>
                      <a:pt x="544" y="230"/>
                    </a:lnTo>
                    <a:lnTo>
                      <a:pt x="542" y="230"/>
                    </a:lnTo>
                    <a:lnTo>
                      <a:pt x="542" y="232"/>
                    </a:lnTo>
                    <a:lnTo>
                      <a:pt x="540" y="232"/>
                    </a:lnTo>
                    <a:lnTo>
                      <a:pt x="538" y="232"/>
                    </a:lnTo>
                    <a:lnTo>
                      <a:pt x="538" y="234"/>
                    </a:lnTo>
                    <a:lnTo>
                      <a:pt x="538" y="236"/>
                    </a:lnTo>
                    <a:lnTo>
                      <a:pt x="538" y="238"/>
                    </a:lnTo>
                    <a:lnTo>
                      <a:pt x="538" y="240"/>
                    </a:lnTo>
                    <a:lnTo>
                      <a:pt x="536" y="240"/>
                    </a:lnTo>
                    <a:lnTo>
                      <a:pt x="534" y="240"/>
                    </a:lnTo>
                    <a:lnTo>
                      <a:pt x="533" y="240"/>
                    </a:lnTo>
                    <a:lnTo>
                      <a:pt x="533" y="242"/>
                    </a:lnTo>
                    <a:lnTo>
                      <a:pt x="533" y="244"/>
                    </a:lnTo>
                    <a:lnTo>
                      <a:pt x="533" y="246"/>
                    </a:lnTo>
                    <a:lnTo>
                      <a:pt x="531" y="246"/>
                    </a:lnTo>
                    <a:lnTo>
                      <a:pt x="529" y="246"/>
                    </a:lnTo>
                    <a:lnTo>
                      <a:pt x="529" y="248"/>
                    </a:lnTo>
                    <a:lnTo>
                      <a:pt x="527" y="248"/>
                    </a:lnTo>
                    <a:lnTo>
                      <a:pt x="527" y="246"/>
                    </a:lnTo>
                    <a:lnTo>
                      <a:pt x="525" y="246"/>
                    </a:lnTo>
                    <a:lnTo>
                      <a:pt x="525" y="248"/>
                    </a:lnTo>
                    <a:lnTo>
                      <a:pt x="523" y="248"/>
                    </a:lnTo>
                    <a:lnTo>
                      <a:pt x="523" y="250"/>
                    </a:lnTo>
                    <a:lnTo>
                      <a:pt x="521" y="250"/>
                    </a:lnTo>
                    <a:lnTo>
                      <a:pt x="521" y="251"/>
                    </a:lnTo>
                    <a:lnTo>
                      <a:pt x="521" y="253"/>
                    </a:lnTo>
                    <a:lnTo>
                      <a:pt x="521" y="255"/>
                    </a:lnTo>
                    <a:lnTo>
                      <a:pt x="521" y="253"/>
                    </a:lnTo>
                    <a:lnTo>
                      <a:pt x="521" y="255"/>
                    </a:lnTo>
                    <a:lnTo>
                      <a:pt x="519" y="255"/>
                    </a:lnTo>
                    <a:lnTo>
                      <a:pt x="519" y="257"/>
                    </a:lnTo>
                    <a:lnTo>
                      <a:pt x="517" y="257"/>
                    </a:lnTo>
                    <a:lnTo>
                      <a:pt x="517" y="259"/>
                    </a:lnTo>
                    <a:lnTo>
                      <a:pt x="515" y="259"/>
                    </a:lnTo>
                    <a:lnTo>
                      <a:pt x="517" y="259"/>
                    </a:lnTo>
                    <a:lnTo>
                      <a:pt x="519" y="261"/>
                    </a:lnTo>
                    <a:lnTo>
                      <a:pt x="521" y="263"/>
                    </a:lnTo>
                    <a:lnTo>
                      <a:pt x="521" y="265"/>
                    </a:lnTo>
                    <a:lnTo>
                      <a:pt x="519" y="267"/>
                    </a:lnTo>
                    <a:lnTo>
                      <a:pt x="519" y="269"/>
                    </a:lnTo>
                    <a:lnTo>
                      <a:pt x="521" y="271"/>
                    </a:lnTo>
                    <a:lnTo>
                      <a:pt x="519" y="271"/>
                    </a:lnTo>
                    <a:lnTo>
                      <a:pt x="521" y="273"/>
                    </a:lnTo>
                    <a:lnTo>
                      <a:pt x="523" y="275"/>
                    </a:lnTo>
                    <a:lnTo>
                      <a:pt x="525" y="275"/>
                    </a:lnTo>
                    <a:lnTo>
                      <a:pt x="525" y="276"/>
                    </a:lnTo>
                    <a:lnTo>
                      <a:pt x="525" y="278"/>
                    </a:lnTo>
                    <a:lnTo>
                      <a:pt x="525" y="280"/>
                    </a:lnTo>
                    <a:lnTo>
                      <a:pt x="527" y="280"/>
                    </a:lnTo>
                    <a:lnTo>
                      <a:pt x="527" y="282"/>
                    </a:lnTo>
                    <a:lnTo>
                      <a:pt x="529" y="282"/>
                    </a:lnTo>
                    <a:lnTo>
                      <a:pt x="531" y="282"/>
                    </a:lnTo>
                    <a:lnTo>
                      <a:pt x="531" y="284"/>
                    </a:lnTo>
                    <a:lnTo>
                      <a:pt x="533" y="284"/>
                    </a:lnTo>
                    <a:lnTo>
                      <a:pt x="534" y="284"/>
                    </a:lnTo>
                    <a:lnTo>
                      <a:pt x="536" y="284"/>
                    </a:lnTo>
                    <a:lnTo>
                      <a:pt x="536" y="286"/>
                    </a:lnTo>
                    <a:lnTo>
                      <a:pt x="536" y="288"/>
                    </a:lnTo>
                    <a:lnTo>
                      <a:pt x="536" y="290"/>
                    </a:lnTo>
                    <a:lnTo>
                      <a:pt x="534" y="290"/>
                    </a:lnTo>
                    <a:lnTo>
                      <a:pt x="534" y="292"/>
                    </a:lnTo>
                    <a:lnTo>
                      <a:pt x="536" y="292"/>
                    </a:lnTo>
                    <a:lnTo>
                      <a:pt x="538" y="292"/>
                    </a:lnTo>
                    <a:lnTo>
                      <a:pt x="538" y="290"/>
                    </a:lnTo>
                    <a:lnTo>
                      <a:pt x="540" y="290"/>
                    </a:lnTo>
                    <a:lnTo>
                      <a:pt x="540" y="292"/>
                    </a:lnTo>
                    <a:lnTo>
                      <a:pt x="542" y="292"/>
                    </a:lnTo>
                    <a:lnTo>
                      <a:pt x="544" y="292"/>
                    </a:lnTo>
                    <a:lnTo>
                      <a:pt x="544" y="294"/>
                    </a:lnTo>
                    <a:lnTo>
                      <a:pt x="542" y="294"/>
                    </a:lnTo>
                    <a:lnTo>
                      <a:pt x="542" y="296"/>
                    </a:lnTo>
                    <a:lnTo>
                      <a:pt x="542" y="298"/>
                    </a:lnTo>
                    <a:lnTo>
                      <a:pt x="542" y="300"/>
                    </a:lnTo>
                    <a:lnTo>
                      <a:pt x="540" y="301"/>
                    </a:lnTo>
                    <a:lnTo>
                      <a:pt x="540" y="303"/>
                    </a:lnTo>
                    <a:lnTo>
                      <a:pt x="540" y="305"/>
                    </a:lnTo>
                    <a:lnTo>
                      <a:pt x="542" y="307"/>
                    </a:lnTo>
                    <a:lnTo>
                      <a:pt x="542" y="309"/>
                    </a:lnTo>
                    <a:lnTo>
                      <a:pt x="540" y="311"/>
                    </a:lnTo>
                    <a:lnTo>
                      <a:pt x="542" y="311"/>
                    </a:lnTo>
                    <a:lnTo>
                      <a:pt x="540" y="311"/>
                    </a:lnTo>
                    <a:lnTo>
                      <a:pt x="540" y="313"/>
                    </a:lnTo>
                    <a:lnTo>
                      <a:pt x="540" y="315"/>
                    </a:lnTo>
                    <a:lnTo>
                      <a:pt x="540" y="317"/>
                    </a:lnTo>
                    <a:lnTo>
                      <a:pt x="538" y="317"/>
                    </a:lnTo>
                    <a:lnTo>
                      <a:pt x="538" y="319"/>
                    </a:lnTo>
                    <a:lnTo>
                      <a:pt x="538" y="321"/>
                    </a:lnTo>
                    <a:lnTo>
                      <a:pt x="536" y="321"/>
                    </a:lnTo>
                    <a:lnTo>
                      <a:pt x="536" y="323"/>
                    </a:lnTo>
                    <a:lnTo>
                      <a:pt x="534" y="325"/>
                    </a:lnTo>
                    <a:lnTo>
                      <a:pt x="534" y="323"/>
                    </a:lnTo>
                    <a:lnTo>
                      <a:pt x="533" y="323"/>
                    </a:lnTo>
                    <a:lnTo>
                      <a:pt x="533" y="325"/>
                    </a:lnTo>
                    <a:lnTo>
                      <a:pt x="531" y="326"/>
                    </a:lnTo>
                    <a:lnTo>
                      <a:pt x="529" y="326"/>
                    </a:lnTo>
                    <a:lnTo>
                      <a:pt x="529" y="328"/>
                    </a:lnTo>
                    <a:lnTo>
                      <a:pt x="527" y="328"/>
                    </a:lnTo>
                    <a:lnTo>
                      <a:pt x="527" y="330"/>
                    </a:lnTo>
                    <a:lnTo>
                      <a:pt x="525" y="332"/>
                    </a:lnTo>
                    <a:lnTo>
                      <a:pt x="525" y="334"/>
                    </a:lnTo>
                    <a:lnTo>
                      <a:pt x="525" y="336"/>
                    </a:lnTo>
                    <a:lnTo>
                      <a:pt x="525" y="338"/>
                    </a:lnTo>
                    <a:lnTo>
                      <a:pt x="523" y="338"/>
                    </a:lnTo>
                    <a:lnTo>
                      <a:pt x="523" y="336"/>
                    </a:lnTo>
                    <a:lnTo>
                      <a:pt x="521" y="336"/>
                    </a:lnTo>
                    <a:lnTo>
                      <a:pt x="521" y="338"/>
                    </a:lnTo>
                    <a:lnTo>
                      <a:pt x="517" y="338"/>
                    </a:lnTo>
                    <a:lnTo>
                      <a:pt x="513" y="338"/>
                    </a:lnTo>
                    <a:lnTo>
                      <a:pt x="511" y="340"/>
                    </a:lnTo>
                    <a:lnTo>
                      <a:pt x="509" y="340"/>
                    </a:lnTo>
                    <a:lnTo>
                      <a:pt x="509" y="342"/>
                    </a:lnTo>
                    <a:lnTo>
                      <a:pt x="508" y="344"/>
                    </a:lnTo>
                    <a:lnTo>
                      <a:pt x="508" y="346"/>
                    </a:lnTo>
                    <a:lnTo>
                      <a:pt x="506" y="346"/>
                    </a:lnTo>
                    <a:lnTo>
                      <a:pt x="506" y="348"/>
                    </a:lnTo>
                    <a:lnTo>
                      <a:pt x="504" y="348"/>
                    </a:lnTo>
                    <a:lnTo>
                      <a:pt x="504" y="350"/>
                    </a:lnTo>
                    <a:lnTo>
                      <a:pt x="502" y="351"/>
                    </a:lnTo>
                    <a:lnTo>
                      <a:pt x="502" y="350"/>
                    </a:lnTo>
                    <a:lnTo>
                      <a:pt x="500" y="350"/>
                    </a:lnTo>
                    <a:lnTo>
                      <a:pt x="498" y="351"/>
                    </a:lnTo>
                    <a:lnTo>
                      <a:pt x="496" y="351"/>
                    </a:lnTo>
                    <a:lnTo>
                      <a:pt x="494" y="351"/>
                    </a:lnTo>
                    <a:lnTo>
                      <a:pt x="492" y="351"/>
                    </a:lnTo>
                    <a:lnTo>
                      <a:pt x="490" y="351"/>
                    </a:lnTo>
                    <a:lnTo>
                      <a:pt x="488" y="353"/>
                    </a:lnTo>
                    <a:lnTo>
                      <a:pt x="488" y="355"/>
                    </a:lnTo>
                    <a:lnTo>
                      <a:pt x="488" y="357"/>
                    </a:lnTo>
                    <a:lnTo>
                      <a:pt x="488" y="359"/>
                    </a:lnTo>
                    <a:lnTo>
                      <a:pt x="488" y="361"/>
                    </a:lnTo>
                    <a:lnTo>
                      <a:pt x="486" y="361"/>
                    </a:lnTo>
                    <a:lnTo>
                      <a:pt x="485" y="363"/>
                    </a:lnTo>
                    <a:lnTo>
                      <a:pt x="485" y="361"/>
                    </a:lnTo>
                    <a:lnTo>
                      <a:pt x="483" y="361"/>
                    </a:lnTo>
                    <a:lnTo>
                      <a:pt x="481" y="361"/>
                    </a:lnTo>
                    <a:lnTo>
                      <a:pt x="479" y="361"/>
                    </a:lnTo>
                    <a:lnTo>
                      <a:pt x="479" y="359"/>
                    </a:lnTo>
                    <a:lnTo>
                      <a:pt x="477" y="357"/>
                    </a:lnTo>
                    <a:lnTo>
                      <a:pt x="477" y="359"/>
                    </a:lnTo>
                    <a:lnTo>
                      <a:pt x="475" y="359"/>
                    </a:lnTo>
                    <a:lnTo>
                      <a:pt x="473" y="359"/>
                    </a:lnTo>
                    <a:lnTo>
                      <a:pt x="473" y="361"/>
                    </a:lnTo>
                    <a:lnTo>
                      <a:pt x="473" y="363"/>
                    </a:lnTo>
                    <a:lnTo>
                      <a:pt x="473" y="365"/>
                    </a:lnTo>
                    <a:lnTo>
                      <a:pt x="471" y="365"/>
                    </a:lnTo>
                    <a:lnTo>
                      <a:pt x="469" y="365"/>
                    </a:lnTo>
                    <a:lnTo>
                      <a:pt x="469" y="367"/>
                    </a:lnTo>
                    <a:lnTo>
                      <a:pt x="471" y="367"/>
                    </a:lnTo>
                    <a:lnTo>
                      <a:pt x="469" y="369"/>
                    </a:lnTo>
                    <a:lnTo>
                      <a:pt x="469" y="371"/>
                    </a:lnTo>
                    <a:lnTo>
                      <a:pt x="469" y="373"/>
                    </a:lnTo>
                    <a:lnTo>
                      <a:pt x="467" y="373"/>
                    </a:lnTo>
                    <a:lnTo>
                      <a:pt x="467" y="375"/>
                    </a:lnTo>
                    <a:lnTo>
                      <a:pt x="465" y="376"/>
                    </a:lnTo>
                    <a:lnTo>
                      <a:pt x="465" y="378"/>
                    </a:lnTo>
                    <a:lnTo>
                      <a:pt x="465" y="380"/>
                    </a:lnTo>
                    <a:lnTo>
                      <a:pt x="465" y="382"/>
                    </a:lnTo>
                    <a:lnTo>
                      <a:pt x="463" y="384"/>
                    </a:lnTo>
                    <a:lnTo>
                      <a:pt x="461" y="384"/>
                    </a:lnTo>
                    <a:lnTo>
                      <a:pt x="461" y="386"/>
                    </a:lnTo>
                    <a:lnTo>
                      <a:pt x="460" y="388"/>
                    </a:lnTo>
                    <a:lnTo>
                      <a:pt x="458" y="390"/>
                    </a:lnTo>
                    <a:lnTo>
                      <a:pt x="456" y="392"/>
                    </a:lnTo>
                    <a:lnTo>
                      <a:pt x="454" y="392"/>
                    </a:lnTo>
                    <a:lnTo>
                      <a:pt x="452" y="392"/>
                    </a:lnTo>
                    <a:lnTo>
                      <a:pt x="450" y="394"/>
                    </a:lnTo>
                    <a:lnTo>
                      <a:pt x="448" y="396"/>
                    </a:lnTo>
                    <a:lnTo>
                      <a:pt x="446" y="396"/>
                    </a:lnTo>
                    <a:lnTo>
                      <a:pt x="444" y="398"/>
                    </a:lnTo>
                    <a:lnTo>
                      <a:pt x="442" y="400"/>
                    </a:lnTo>
                    <a:lnTo>
                      <a:pt x="442" y="401"/>
                    </a:lnTo>
                    <a:lnTo>
                      <a:pt x="442" y="403"/>
                    </a:lnTo>
                    <a:lnTo>
                      <a:pt x="440" y="403"/>
                    </a:lnTo>
                    <a:lnTo>
                      <a:pt x="438" y="407"/>
                    </a:lnTo>
                    <a:lnTo>
                      <a:pt x="436" y="409"/>
                    </a:lnTo>
                    <a:lnTo>
                      <a:pt x="438" y="409"/>
                    </a:lnTo>
                    <a:lnTo>
                      <a:pt x="438" y="411"/>
                    </a:lnTo>
                    <a:lnTo>
                      <a:pt x="438" y="413"/>
                    </a:lnTo>
                    <a:lnTo>
                      <a:pt x="438" y="415"/>
                    </a:lnTo>
                    <a:lnTo>
                      <a:pt x="436" y="415"/>
                    </a:lnTo>
                    <a:lnTo>
                      <a:pt x="436" y="417"/>
                    </a:lnTo>
                    <a:lnTo>
                      <a:pt x="435" y="417"/>
                    </a:lnTo>
                    <a:lnTo>
                      <a:pt x="435" y="419"/>
                    </a:lnTo>
                    <a:lnTo>
                      <a:pt x="433" y="421"/>
                    </a:lnTo>
                    <a:lnTo>
                      <a:pt x="431" y="421"/>
                    </a:lnTo>
                    <a:lnTo>
                      <a:pt x="429" y="421"/>
                    </a:lnTo>
                    <a:lnTo>
                      <a:pt x="427" y="421"/>
                    </a:lnTo>
                    <a:lnTo>
                      <a:pt x="425" y="421"/>
                    </a:lnTo>
                    <a:lnTo>
                      <a:pt x="423" y="421"/>
                    </a:lnTo>
                    <a:lnTo>
                      <a:pt x="423" y="419"/>
                    </a:lnTo>
                    <a:lnTo>
                      <a:pt x="423" y="417"/>
                    </a:lnTo>
                    <a:lnTo>
                      <a:pt x="421" y="417"/>
                    </a:lnTo>
                    <a:lnTo>
                      <a:pt x="419" y="417"/>
                    </a:lnTo>
                    <a:lnTo>
                      <a:pt x="417" y="417"/>
                    </a:lnTo>
                    <a:lnTo>
                      <a:pt x="415" y="417"/>
                    </a:lnTo>
                    <a:lnTo>
                      <a:pt x="413" y="417"/>
                    </a:lnTo>
                    <a:lnTo>
                      <a:pt x="412" y="417"/>
                    </a:lnTo>
                    <a:lnTo>
                      <a:pt x="410" y="417"/>
                    </a:lnTo>
                    <a:lnTo>
                      <a:pt x="408" y="417"/>
                    </a:lnTo>
                    <a:lnTo>
                      <a:pt x="406" y="419"/>
                    </a:lnTo>
                    <a:lnTo>
                      <a:pt x="406" y="421"/>
                    </a:lnTo>
                    <a:lnTo>
                      <a:pt x="404" y="421"/>
                    </a:lnTo>
                    <a:lnTo>
                      <a:pt x="404" y="423"/>
                    </a:lnTo>
                    <a:lnTo>
                      <a:pt x="402" y="425"/>
                    </a:lnTo>
                    <a:lnTo>
                      <a:pt x="400" y="426"/>
                    </a:lnTo>
                    <a:lnTo>
                      <a:pt x="398" y="428"/>
                    </a:lnTo>
                    <a:lnTo>
                      <a:pt x="396" y="428"/>
                    </a:lnTo>
                    <a:lnTo>
                      <a:pt x="396" y="430"/>
                    </a:lnTo>
                    <a:lnTo>
                      <a:pt x="394" y="430"/>
                    </a:lnTo>
                    <a:lnTo>
                      <a:pt x="392" y="432"/>
                    </a:lnTo>
                    <a:lnTo>
                      <a:pt x="390" y="432"/>
                    </a:lnTo>
                    <a:lnTo>
                      <a:pt x="388" y="434"/>
                    </a:lnTo>
                    <a:lnTo>
                      <a:pt x="388" y="436"/>
                    </a:lnTo>
                    <a:lnTo>
                      <a:pt x="390" y="436"/>
                    </a:lnTo>
                    <a:lnTo>
                      <a:pt x="390" y="438"/>
                    </a:lnTo>
                    <a:lnTo>
                      <a:pt x="388" y="438"/>
                    </a:lnTo>
                    <a:lnTo>
                      <a:pt x="387" y="436"/>
                    </a:lnTo>
                    <a:lnTo>
                      <a:pt x="385" y="436"/>
                    </a:lnTo>
                    <a:lnTo>
                      <a:pt x="385" y="438"/>
                    </a:lnTo>
                    <a:lnTo>
                      <a:pt x="383" y="438"/>
                    </a:lnTo>
                    <a:lnTo>
                      <a:pt x="383" y="436"/>
                    </a:lnTo>
                    <a:lnTo>
                      <a:pt x="381" y="436"/>
                    </a:lnTo>
                    <a:lnTo>
                      <a:pt x="379" y="434"/>
                    </a:lnTo>
                    <a:lnTo>
                      <a:pt x="379" y="432"/>
                    </a:lnTo>
                    <a:lnTo>
                      <a:pt x="377" y="430"/>
                    </a:lnTo>
                    <a:lnTo>
                      <a:pt x="377" y="428"/>
                    </a:lnTo>
                    <a:lnTo>
                      <a:pt x="375" y="428"/>
                    </a:lnTo>
                    <a:lnTo>
                      <a:pt x="375" y="430"/>
                    </a:lnTo>
                    <a:lnTo>
                      <a:pt x="375" y="432"/>
                    </a:lnTo>
                    <a:lnTo>
                      <a:pt x="373" y="434"/>
                    </a:lnTo>
                    <a:lnTo>
                      <a:pt x="371" y="434"/>
                    </a:lnTo>
                    <a:lnTo>
                      <a:pt x="369" y="434"/>
                    </a:lnTo>
                    <a:lnTo>
                      <a:pt x="367" y="436"/>
                    </a:lnTo>
                    <a:lnTo>
                      <a:pt x="367" y="434"/>
                    </a:lnTo>
                    <a:lnTo>
                      <a:pt x="365" y="434"/>
                    </a:lnTo>
                    <a:lnTo>
                      <a:pt x="365" y="432"/>
                    </a:lnTo>
                    <a:lnTo>
                      <a:pt x="363" y="432"/>
                    </a:lnTo>
                    <a:lnTo>
                      <a:pt x="362" y="432"/>
                    </a:lnTo>
                    <a:lnTo>
                      <a:pt x="362" y="434"/>
                    </a:lnTo>
                    <a:lnTo>
                      <a:pt x="362" y="436"/>
                    </a:lnTo>
                    <a:lnTo>
                      <a:pt x="362" y="438"/>
                    </a:lnTo>
                    <a:lnTo>
                      <a:pt x="360" y="438"/>
                    </a:lnTo>
                    <a:lnTo>
                      <a:pt x="360" y="440"/>
                    </a:lnTo>
                    <a:lnTo>
                      <a:pt x="360" y="438"/>
                    </a:lnTo>
                    <a:lnTo>
                      <a:pt x="358" y="438"/>
                    </a:lnTo>
                    <a:lnTo>
                      <a:pt x="358" y="440"/>
                    </a:lnTo>
                    <a:lnTo>
                      <a:pt x="356" y="440"/>
                    </a:lnTo>
                    <a:lnTo>
                      <a:pt x="356" y="442"/>
                    </a:lnTo>
                    <a:lnTo>
                      <a:pt x="356" y="448"/>
                    </a:lnTo>
                    <a:lnTo>
                      <a:pt x="354" y="448"/>
                    </a:lnTo>
                    <a:lnTo>
                      <a:pt x="354" y="450"/>
                    </a:lnTo>
                    <a:lnTo>
                      <a:pt x="354" y="451"/>
                    </a:lnTo>
                    <a:lnTo>
                      <a:pt x="356" y="451"/>
                    </a:lnTo>
                    <a:lnTo>
                      <a:pt x="358" y="453"/>
                    </a:lnTo>
                    <a:lnTo>
                      <a:pt x="360" y="453"/>
                    </a:lnTo>
                    <a:lnTo>
                      <a:pt x="362" y="453"/>
                    </a:lnTo>
                    <a:lnTo>
                      <a:pt x="362" y="457"/>
                    </a:lnTo>
                    <a:lnTo>
                      <a:pt x="362" y="459"/>
                    </a:lnTo>
                    <a:lnTo>
                      <a:pt x="360" y="459"/>
                    </a:lnTo>
                    <a:lnTo>
                      <a:pt x="360" y="461"/>
                    </a:lnTo>
                    <a:lnTo>
                      <a:pt x="360" y="463"/>
                    </a:lnTo>
                    <a:lnTo>
                      <a:pt x="358" y="463"/>
                    </a:lnTo>
                    <a:lnTo>
                      <a:pt x="356" y="463"/>
                    </a:lnTo>
                    <a:lnTo>
                      <a:pt x="354" y="463"/>
                    </a:lnTo>
                    <a:lnTo>
                      <a:pt x="354" y="465"/>
                    </a:lnTo>
                    <a:lnTo>
                      <a:pt x="354" y="467"/>
                    </a:lnTo>
                    <a:lnTo>
                      <a:pt x="354" y="469"/>
                    </a:lnTo>
                    <a:lnTo>
                      <a:pt x="354" y="473"/>
                    </a:lnTo>
                    <a:lnTo>
                      <a:pt x="354" y="474"/>
                    </a:lnTo>
                    <a:lnTo>
                      <a:pt x="354" y="476"/>
                    </a:lnTo>
                    <a:lnTo>
                      <a:pt x="354" y="478"/>
                    </a:lnTo>
                    <a:lnTo>
                      <a:pt x="354" y="480"/>
                    </a:lnTo>
                    <a:lnTo>
                      <a:pt x="352" y="480"/>
                    </a:lnTo>
                    <a:lnTo>
                      <a:pt x="352" y="482"/>
                    </a:lnTo>
                    <a:lnTo>
                      <a:pt x="350" y="482"/>
                    </a:lnTo>
                    <a:lnTo>
                      <a:pt x="348" y="482"/>
                    </a:lnTo>
                    <a:lnTo>
                      <a:pt x="348" y="484"/>
                    </a:lnTo>
                    <a:lnTo>
                      <a:pt x="348" y="486"/>
                    </a:lnTo>
                    <a:lnTo>
                      <a:pt x="348" y="488"/>
                    </a:lnTo>
                    <a:lnTo>
                      <a:pt x="350" y="490"/>
                    </a:lnTo>
                    <a:lnTo>
                      <a:pt x="352" y="490"/>
                    </a:lnTo>
                    <a:lnTo>
                      <a:pt x="354" y="492"/>
                    </a:lnTo>
                    <a:lnTo>
                      <a:pt x="356" y="492"/>
                    </a:lnTo>
                    <a:lnTo>
                      <a:pt x="358" y="492"/>
                    </a:lnTo>
                    <a:lnTo>
                      <a:pt x="358" y="494"/>
                    </a:lnTo>
                    <a:lnTo>
                      <a:pt x="360" y="494"/>
                    </a:lnTo>
                    <a:lnTo>
                      <a:pt x="362" y="494"/>
                    </a:lnTo>
                    <a:lnTo>
                      <a:pt x="363" y="494"/>
                    </a:lnTo>
                    <a:lnTo>
                      <a:pt x="363" y="496"/>
                    </a:lnTo>
                    <a:lnTo>
                      <a:pt x="365" y="496"/>
                    </a:lnTo>
                    <a:lnTo>
                      <a:pt x="365" y="498"/>
                    </a:lnTo>
                    <a:lnTo>
                      <a:pt x="367" y="499"/>
                    </a:lnTo>
                    <a:lnTo>
                      <a:pt x="369" y="499"/>
                    </a:lnTo>
                    <a:lnTo>
                      <a:pt x="369" y="498"/>
                    </a:lnTo>
                    <a:lnTo>
                      <a:pt x="371" y="498"/>
                    </a:lnTo>
                    <a:lnTo>
                      <a:pt x="373" y="499"/>
                    </a:lnTo>
                    <a:lnTo>
                      <a:pt x="371" y="499"/>
                    </a:lnTo>
                    <a:lnTo>
                      <a:pt x="371" y="501"/>
                    </a:lnTo>
                    <a:lnTo>
                      <a:pt x="371" y="503"/>
                    </a:lnTo>
                    <a:lnTo>
                      <a:pt x="369" y="503"/>
                    </a:lnTo>
                    <a:lnTo>
                      <a:pt x="367" y="503"/>
                    </a:lnTo>
                    <a:lnTo>
                      <a:pt x="365" y="503"/>
                    </a:lnTo>
                    <a:lnTo>
                      <a:pt x="365" y="505"/>
                    </a:lnTo>
                    <a:lnTo>
                      <a:pt x="363" y="503"/>
                    </a:lnTo>
                    <a:lnTo>
                      <a:pt x="363" y="505"/>
                    </a:lnTo>
                    <a:lnTo>
                      <a:pt x="363" y="507"/>
                    </a:lnTo>
                    <a:lnTo>
                      <a:pt x="362" y="507"/>
                    </a:lnTo>
                    <a:lnTo>
                      <a:pt x="362" y="509"/>
                    </a:lnTo>
                    <a:lnTo>
                      <a:pt x="360" y="509"/>
                    </a:lnTo>
                    <a:lnTo>
                      <a:pt x="358" y="509"/>
                    </a:lnTo>
                    <a:lnTo>
                      <a:pt x="356" y="509"/>
                    </a:lnTo>
                    <a:lnTo>
                      <a:pt x="354" y="511"/>
                    </a:lnTo>
                    <a:lnTo>
                      <a:pt x="354" y="513"/>
                    </a:lnTo>
                    <a:lnTo>
                      <a:pt x="356" y="513"/>
                    </a:lnTo>
                    <a:lnTo>
                      <a:pt x="354" y="513"/>
                    </a:lnTo>
                    <a:lnTo>
                      <a:pt x="354" y="515"/>
                    </a:lnTo>
                    <a:lnTo>
                      <a:pt x="354" y="517"/>
                    </a:lnTo>
                    <a:lnTo>
                      <a:pt x="352" y="517"/>
                    </a:lnTo>
                    <a:lnTo>
                      <a:pt x="352" y="515"/>
                    </a:lnTo>
                    <a:lnTo>
                      <a:pt x="350" y="515"/>
                    </a:lnTo>
                    <a:lnTo>
                      <a:pt x="348" y="515"/>
                    </a:lnTo>
                    <a:lnTo>
                      <a:pt x="348" y="517"/>
                    </a:lnTo>
                    <a:lnTo>
                      <a:pt x="348" y="521"/>
                    </a:lnTo>
                    <a:lnTo>
                      <a:pt x="348" y="523"/>
                    </a:lnTo>
                    <a:lnTo>
                      <a:pt x="346" y="523"/>
                    </a:lnTo>
                    <a:lnTo>
                      <a:pt x="346" y="524"/>
                    </a:lnTo>
                    <a:lnTo>
                      <a:pt x="344" y="524"/>
                    </a:lnTo>
                    <a:lnTo>
                      <a:pt x="342" y="528"/>
                    </a:lnTo>
                    <a:lnTo>
                      <a:pt x="342" y="532"/>
                    </a:lnTo>
                    <a:lnTo>
                      <a:pt x="344" y="536"/>
                    </a:lnTo>
                    <a:lnTo>
                      <a:pt x="342" y="538"/>
                    </a:lnTo>
                    <a:lnTo>
                      <a:pt x="342" y="540"/>
                    </a:lnTo>
                    <a:lnTo>
                      <a:pt x="342" y="542"/>
                    </a:lnTo>
                    <a:lnTo>
                      <a:pt x="340" y="542"/>
                    </a:lnTo>
                    <a:lnTo>
                      <a:pt x="339" y="542"/>
                    </a:lnTo>
                    <a:lnTo>
                      <a:pt x="337" y="542"/>
                    </a:lnTo>
                    <a:lnTo>
                      <a:pt x="335" y="542"/>
                    </a:lnTo>
                    <a:lnTo>
                      <a:pt x="333" y="542"/>
                    </a:lnTo>
                    <a:lnTo>
                      <a:pt x="331" y="542"/>
                    </a:lnTo>
                    <a:lnTo>
                      <a:pt x="329" y="542"/>
                    </a:lnTo>
                    <a:lnTo>
                      <a:pt x="329" y="540"/>
                    </a:lnTo>
                    <a:lnTo>
                      <a:pt x="327" y="540"/>
                    </a:lnTo>
                    <a:lnTo>
                      <a:pt x="325" y="540"/>
                    </a:lnTo>
                    <a:lnTo>
                      <a:pt x="325" y="542"/>
                    </a:lnTo>
                    <a:lnTo>
                      <a:pt x="323" y="542"/>
                    </a:lnTo>
                    <a:lnTo>
                      <a:pt x="323" y="540"/>
                    </a:lnTo>
                    <a:lnTo>
                      <a:pt x="321" y="540"/>
                    </a:lnTo>
                    <a:lnTo>
                      <a:pt x="321" y="542"/>
                    </a:lnTo>
                    <a:lnTo>
                      <a:pt x="321" y="540"/>
                    </a:lnTo>
                    <a:lnTo>
                      <a:pt x="321" y="538"/>
                    </a:lnTo>
                    <a:lnTo>
                      <a:pt x="319" y="538"/>
                    </a:lnTo>
                    <a:lnTo>
                      <a:pt x="317" y="538"/>
                    </a:lnTo>
                    <a:lnTo>
                      <a:pt x="317" y="536"/>
                    </a:lnTo>
                    <a:lnTo>
                      <a:pt x="315" y="536"/>
                    </a:lnTo>
                    <a:lnTo>
                      <a:pt x="315" y="534"/>
                    </a:lnTo>
                    <a:lnTo>
                      <a:pt x="315" y="532"/>
                    </a:lnTo>
                    <a:lnTo>
                      <a:pt x="315" y="530"/>
                    </a:lnTo>
                    <a:lnTo>
                      <a:pt x="314" y="530"/>
                    </a:lnTo>
                    <a:lnTo>
                      <a:pt x="314" y="528"/>
                    </a:lnTo>
                    <a:lnTo>
                      <a:pt x="312" y="528"/>
                    </a:lnTo>
                    <a:lnTo>
                      <a:pt x="308" y="524"/>
                    </a:lnTo>
                    <a:lnTo>
                      <a:pt x="306" y="523"/>
                    </a:lnTo>
                    <a:lnTo>
                      <a:pt x="304" y="523"/>
                    </a:lnTo>
                    <a:lnTo>
                      <a:pt x="302" y="523"/>
                    </a:lnTo>
                    <a:lnTo>
                      <a:pt x="298" y="521"/>
                    </a:lnTo>
                    <a:lnTo>
                      <a:pt x="296" y="521"/>
                    </a:lnTo>
                    <a:lnTo>
                      <a:pt x="294" y="521"/>
                    </a:lnTo>
                    <a:lnTo>
                      <a:pt x="294" y="523"/>
                    </a:lnTo>
                    <a:lnTo>
                      <a:pt x="292" y="523"/>
                    </a:lnTo>
                    <a:lnTo>
                      <a:pt x="290" y="523"/>
                    </a:lnTo>
                    <a:lnTo>
                      <a:pt x="289" y="524"/>
                    </a:lnTo>
                    <a:lnTo>
                      <a:pt x="287" y="524"/>
                    </a:lnTo>
                    <a:lnTo>
                      <a:pt x="285" y="524"/>
                    </a:lnTo>
                    <a:lnTo>
                      <a:pt x="283" y="524"/>
                    </a:lnTo>
                    <a:lnTo>
                      <a:pt x="283" y="523"/>
                    </a:lnTo>
                    <a:lnTo>
                      <a:pt x="281" y="523"/>
                    </a:lnTo>
                    <a:lnTo>
                      <a:pt x="279" y="523"/>
                    </a:lnTo>
                    <a:lnTo>
                      <a:pt x="279" y="524"/>
                    </a:lnTo>
                    <a:lnTo>
                      <a:pt x="279" y="523"/>
                    </a:lnTo>
                    <a:lnTo>
                      <a:pt x="279" y="521"/>
                    </a:lnTo>
                    <a:lnTo>
                      <a:pt x="277" y="521"/>
                    </a:lnTo>
                    <a:lnTo>
                      <a:pt x="279" y="521"/>
                    </a:lnTo>
                    <a:lnTo>
                      <a:pt x="279" y="519"/>
                    </a:lnTo>
                    <a:lnTo>
                      <a:pt x="277" y="519"/>
                    </a:lnTo>
                    <a:lnTo>
                      <a:pt x="275" y="519"/>
                    </a:lnTo>
                    <a:lnTo>
                      <a:pt x="273" y="519"/>
                    </a:lnTo>
                    <a:lnTo>
                      <a:pt x="271" y="519"/>
                    </a:lnTo>
                    <a:lnTo>
                      <a:pt x="269" y="519"/>
                    </a:lnTo>
                    <a:lnTo>
                      <a:pt x="269" y="517"/>
                    </a:lnTo>
                    <a:lnTo>
                      <a:pt x="267" y="517"/>
                    </a:lnTo>
                    <a:lnTo>
                      <a:pt x="265" y="519"/>
                    </a:lnTo>
                    <a:lnTo>
                      <a:pt x="264" y="519"/>
                    </a:lnTo>
                    <a:lnTo>
                      <a:pt x="262" y="519"/>
                    </a:lnTo>
                    <a:lnTo>
                      <a:pt x="260" y="519"/>
                    </a:lnTo>
                    <a:lnTo>
                      <a:pt x="260" y="517"/>
                    </a:lnTo>
                    <a:lnTo>
                      <a:pt x="258" y="517"/>
                    </a:lnTo>
                    <a:lnTo>
                      <a:pt x="256" y="519"/>
                    </a:lnTo>
                    <a:lnTo>
                      <a:pt x="254" y="519"/>
                    </a:lnTo>
                    <a:lnTo>
                      <a:pt x="254" y="517"/>
                    </a:lnTo>
                    <a:lnTo>
                      <a:pt x="252" y="517"/>
                    </a:lnTo>
                    <a:lnTo>
                      <a:pt x="250" y="517"/>
                    </a:lnTo>
                    <a:lnTo>
                      <a:pt x="248" y="517"/>
                    </a:lnTo>
                    <a:lnTo>
                      <a:pt x="248" y="519"/>
                    </a:lnTo>
                    <a:lnTo>
                      <a:pt x="246" y="521"/>
                    </a:lnTo>
                    <a:lnTo>
                      <a:pt x="246" y="523"/>
                    </a:lnTo>
                    <a:lnTo>
                      <a:pt x="244" y="523"/>
                    </a:lnTo>
                    <a:lnTo>
                      <a:pt x="242" y="524"/>
                    </a:lnTo>
                    <a:lnTo>
                      <a:pt x="242" y="523"/>
                    </a:lnTo>
                    <a:lnTo>
                      <a:pt x="242" y="524"/>
                    </a:lnTo>
                    <a:lnTo>
                      <a:pt x="241" y="524"/>
                    </a:lnTo>
                    <a:lnTo>
                      <a:pt x="239" y="524"/>
                    </a:lnTo>
                    <a:lnTo>
                      <a:pt x="239" y="523"/>
                    </a:lnTo>
                    <a:lnTo>
                      <a:pt x="237" y="523"/>
                    </a:lnTo>
                    <a:lnTo>
                      <a:pt x="235" y="523"/>
                    </a:lnTo>
                    <a:lnTo>
                      <a:pt x="235" y="524"/>
                    </a:lnTo>
                    <a:lnTo>
                      <a:pt x="235" y="526"/>
                    </a:lnTo>
                    <a:lnTo>
                      <a:pt x="233" y="526"/>
                    </a:lnTo>
                    <a:lnTo>
                      <a:pt x="233" y="528"/>
                    </a:lnTo>
                    <a:lnTo>
                      <a:pt x="231" y="528"/>
                    </a:lnTo>
                    <a:lnTo>
                      <a:pt x="229" y="528"/>
                    </a:lnTo>
                    <a:lnTo>
                      <a:pt x="229" y="526"/>
                    </a:lnTo>
                    <a:lnTo>
                      <a:pt x="227" y="526"/>
                    </a:lnTo>
                    <a:lnTo>
                      <a:pt x="227" y="528"/>
                    </a:lnTo>
                    <a:lnTo>
                      <a:pt x="227" y="530"/>
                    </a:lnTo>
                    <a:lnTo>
                      <a:pt x="225" y="530"/>
                    </a:lnTo>
                    <a:lnTo>
                      <a:pt x="223" y="532"/>
                    </a:lnTo>
                    <a:lnTo>
                      <a:pt x="223" y="530"/>
                    </a:lnTo>
                    <a:lnTo>
                      <a:pt x="221" y="530"/>
                    </a:lnTo>
                    <a:lnTo>
                      <a:pt x="221" y="532"/>
                    </a:lnTo>
                    <a:lnTo>
                      <a:pt x="219" y="530"/>
                    </a:lnTo>
                    <a:lnTo>
                      <a:pt x="219" y="532"/>
                    </a:lnTo>
                    <a:lnTo>
                      <a:pt x="217" y="532"/>
                    </a:lnTo>
                    <a:lnTo>
                      <a:pt x="217" y="534"/>
                    </a:lnTo>
                    <a:lnTo>
                      <a:pt x="216" y="536"/>
                    </a:lnTo>
                    <a:lnTo>
                      <a:pt x="214" y="536"/>
                    </a:lnTo>
                    <a:lnTo>
                      <a:pt x="214" y="538"/>
                    </a:lnTo>
                    <a:lnTo>
                      <a:pt x="214" y="540"/>
                    </a:lnTo>
                    <a:lnTo>
                      <a:pt x="212" y="540"/>
                    </a:lnTo>
                    <a:lnTo>
                      <a:pt x="212" y="542"/>
                    </a:lnTo>
                    <a:lnTo>
                      <a:pt x="210" y="542"/>
                    </a:lnTo>
                    <a:lnTo>
                      <a:pt x="210" y="544"/>
                    </a:lnTo>
                    <a:lnTo>
                      <a:pt x="208" y="544"/>
                    </a:lnTo>
                    <a:lnTo>
                      <a:pt x="206" y="544"/>
                    </a:lnTo>
                    <a:lnTo>
                      <a:pt x="204" y="544"/>
                    </a:lnTo>
                    <a:lnTo>
                      <a:pt x="202" y="544"/>
                    </a:lnTo>
                    <a:lnTo>
                      <a:pt x="202" y="542"/>
                    </a:lnTo>
                    <a:lnTo>
                      <a:pt x="200" y="542"/>
                    </a:lnTo>
                    <a:lnTo>
                      <a:pt x="198" y="542"/>
                    </a:lnTo>
                    <a:lnTo>
                      <a:pt x="196" y="544"/>
                    </a:lnTo>
                    <a:lnTo>
                      <a:pt x="194" y="544"/>
                    </a:lnTo>
                    <a:lnTo>
                      <a:pt x="194" y="546"/>
                    </a:lnTo>
                    <a:lnTo>
                      <a:pt x="192" y="546"/>
                    </a:lnTo>
                    <a:lnTo>
                      <a:pt x="191" y="546"/>
                    </a:lnTo>
                    <a:lnTo>
                      <a:pt x="189" y="546"/>
                    </a:lnTo>
                    <a:lnTo>
                      <a:pt x="189" y="544"/>
                    </a:lnTo>
                    <a:lnTo>
                      <a:pt x="187" y="544"/>
                    </a:lnTo>
                    <a:lnTo>
                      <a:pt x="187" y="542"/>
                    </a:lnTo>
                    <a:lnTo>
                      <a:pt x="185" y="542"/>
                    </a:lnTo>
                    <a:lnTo>
                      <a:pt x="183" y="542"/>
                    </a:lnTo>
                    <a:lnTo>
                      <a:pt x="181" y="542"/>
                    </a:lnTo>
                    <a:lnTo>
                      <a:pt x="179" y="542"/>
                    </a:lnTo>
                    <a:lnTo>
                      <a:pt x="179" y="544"/>
                    </a:lnTo>
                    <a:lnTo>
                      <a:pt x="177" y="544"/>
                    </a:lnTo>
                    <a:lnTo>
                      <a:pt x="175" y="542"/>
                    </a:lnTo>
                    <a:lnTo>
                      <a:pt x="177" y="542"/>
                    </a:lnTo>
                    <a:lnTo>
                      <a:pt x="177" y="540"/>
                    </a:lnTo>
                    <a:lnTo>
                      <a:pt x="175" y="540"/>
                    </a:lnTo>
                    <a:lnTo>
                      <a:pt x="177" y="538"/>
                    </a:lnTo>
                    <a:lnTo>
                      <a:pt x="177" y="536"/>
                    </a:lnTo>
                    <a:lnTo>
                      <a:pt x="175" y="536"/>
                    </a:lnTo>
                    <a:lnTo>
                      <a:pt x="175" y="534"/>
                    </a:lnTo>
                    <a:lnTo>
                      <a:pt x="173" y="534"/>
                    </a:lnTo>
                    <a:lnTo>
                      <a:pt x="173" y="536"/>
                    </a:lnTo>
                    <a:lnTo>
                      <a:pt x="171" y="536"/>
                    </a:lnTo>
                    <a:lnTo>
                      <a:pt x="169" y="536"/>
                    </a:lnTo>
                    <a:lnTo>
                      <a:pt x="168" y="536"/>
                    </a:lnTo>
                    <a:lnTo>
                      <a:pt x="166" y="536"/>
                    </a:lnTo>
                    <a:lnTo>
                      <a:pt x="164" y="536"/>
                    </a:lnTo>
                    <a:lnTo>
                      <a:pt x="162" y="536"/>
                    </a:lnTo>
                    <a:lnTo>
                      <a:pt x="162" y="534"/>
                    </a:lnTo>
                    <a:lnTo>
                      <a:pt x="162" y="536"/>
                    </a:lnTo>
                    <a:lnTo>
                      <a:pt x="162" y="534"/>
                    </a:lnTo>
                    <a:lnTo>
                      <a:pt x="160" y="536"/>
                    </a:lnTo>
                    <a:lnTo>
                      <a:pt x="160" y="534"/>
                    </a:lnTo>
                    <a:lnTo>
                      <a:pt x="158" y="532"/>
                    </a:lnTo>
                    <a:lnTo>
                      <a:pt x="156" y="532"/>
                    </a:lnTo>
                    <a:lnTo>
                      <a:pt x="156" y="530"/>
                    </a:lnTo>
                    <a:lnTo>
                      <a:pt x="154" y="532"/>
                    </a:lnTo>
                    <a:lnTo>
                      <a:pt x="152" y="530"/>
                    </a:lnTo>
                    <a:lnTo>
                      <a:pt x="152" y="528"/>
                    </a:lnTo>
                    <a:lnTo>
                      <a:pt x="152" y="526"/>
                    </a:lnTo>
                    <a:lnTo>
                      <a:pt x="150" y="524"/>
                    </a:lnTo>
                    <a:lnTo>
                      <a:pt x="150" y="523"/>
                    </a:lnTo>
                    <a:lnTo>
                      <a:pt x="148" y="523"/>
                    </a:lnTo>
                    <a:lnTo>
                      <a:pt x="148" y="521"/>
                    </a:lnTo>
                    <a:lnTo>
                      <a:pt x="148" y="519"/>
                    </a:lnTo>
                    <a:lnTo>
                      <a:pt x="146" y="519"/>
                    </a:lnTo>
                    <a:lnTo>
                      <a:pt x="146" y="517"/>
                    </a:lnTo>
                    <a:lnTo>
                      <a:pt x="144" y="517"/>
                    </a:lnTo>
                    <a:lnTo>
                      <a:pt x="144" y="515"/>
                    </a:lnTo>
                    <a:lnTo>
                      <a:pt x="143" y="515"/>
                    </a:lnTo>
                    <a:lnTo>
                      <a:pt x="143" y="513"/>
                    </a:lnTo>
                    <a:lnTo>
                      <a:pt x="141" y="513"/>
                    </a:lnTo>
                    <a:lnTo>
                      <a:pt x="139" y="513"/>
                    </a:lnTo>
                    <a:lnTo>
                      <a:pt x="139" y="511"/>
                    </a:lnTo>
                    <a:lnTo>
                      <a:pt x="141" y="509"/>
                    </a:lnTo>
                    <a:lnTo>
                      <a:pt x="139" y="509"/>
                    </a:lnTo>
                    <a:lnTo>
                      <a:pt x="139" y="507"/>
                    </a:lnTo>
                    <a:lnTo>
                      <a:pt x="139" y="505"/>
                    </a:lnTo>
                    <a:lnTo>
                      <a:pt x="137" y="505"/>
                    </a:lnTo>
                    <a:lnTo>
                      <a:pt x="135" y="503"/>
                    </a:lnTo>
                    <a:lnTo>
                      <a:pt x="135" y="501"/>
                    </a:lnTo>
                    <a:lnTo>
                      <a:pt x="135" y="499"/>
                    </a:lnTo>
                    <a:lnTo>
                      <a:pt x="135" y="498"/>
                    </a:lnTo>
                    <a:lnTo>
                      <a:pt x="135" y="496"/>
                    </a:lnTo>
                    <a:lnTo>
                      <a:pt x="135" y="494"/>
                    </a:lnTo>
                    <a:lnTo>
                      <a:pt x="135" y="492"/>
                    </a:lnTo>
                    <a:lnTo>
                      <a:pt x="135" y="490"/>
                    </a:lnTo>
                    <a:lnTo>
                      <a:pt x="133" y="490"/>
                    </a:lnTo>
                    <a:lnTo>
                      <a:pt x="133" y="488"/>
                    </a:lnTo>
                    <a:lnTo>
                      <a:pt x="131" y="486"/>
                    </a:lnTo>
                    <a:lnTo>
                      <a:pt x="131" y="484"/>
                    </a:lnTo>
                    <a:lnTo>
                      <a:pt x="131" y="482"/>
                    </a:lnTo>
                    <a:lnTo>
                      <a:pt x="129" y="480"/>
                    </a:lnTo>
                    <a:lnTo>
                      <a:pt x="131" y="480"/>
                    </a:lnTo>
                    <a:lnTo>
                      <a:pt x="129" y="478"/>
                    </a:lnTo>
                    <a:lnTo>
                      <a:pt x="131" y="478"/>
                    </a:lnTo>
                    <a:lnTo>
                      <a:pt x="131" y="476"/>
                    </a:lnTo>
                    <a:lnTo>
                      <a:pt x="129" y="476"/>
                    </a:lnTo>
                    <a:lnTo>
                      <a:pt x="131" y="476"/>
                    </a:lnTo>
                    <a:lnTo>
                      <a:pt x="129" y="474"/>
                    </a:lnTo>
                    <a:lnTo>
                      <a:pt x="129" y="473"/>
                    </a:lnTo>
                    <a:lnTo>
                      <a:pt x="129" y="471"/>
                    </a:lnTo>
                    <a:lnTo>
                      <a:pt x="131" y="471"/>
                    </a:lnTo>
                    <a:lnTo>
                      <a:pt x="131" y="469"/>
                    </a:lnTo>
                    <a:lnTo>
                      <a:pt x="129" y="469"/>
                    </a:lnTo>
                    <a:lnTo>
                      <a:pt x="129" y="467"/>
                    </a:lnTo>
                    <a:lnTo>
                      <a:pt x="129" y="465"/>
                    </a:lnTo>
                    <a:lnTo>
                      <a:pt x="127" y="465"/>
                    </a:lnTo>
                    <a:lnTo>
                      <a:pt x="125" y="465"/>
                    </a:lnTo>
                    <a:lnTo>
                      <a:pt x="125" y="463"/>
                    </a:lnTo>
                    <a:lnTo>
                      <a:pt x="125" y="465"/>
                    </a:lnTo>
                    <a:lnTo>
                      <a:pt x="123" y="465"/>
                    </a:lnTo>
                    <a:lnTo>
                      <a:pt x="123" y="463"/>
                    </a:lnTo>
                    <a:lnTo>
                      <a:pt x="123" y="465"/>
                    </a:lnTo>
                    <a:lnTo>
                      <a:pt x="123" y="463"/>
                    </a:lnTo>
                    <a:lnTo>
                      <a:pt x="121" y="463"/>
                    </a:lnTo>
                    <a:lnTo>
                      <a:pt x="119" y="463"/>
                    </a:lnTo>
                    <a:lnTo>
                      <a:pt x="118" y="463"/>
                    </a:lnTo>
                    <a:lnTo>
                      <a:pt x="118" y="461"/>
                    </a:lnTo>
                    <a:lnTo>
                      <a:pt x="116" y="461"/>
                    </a:lnTo>
                    <a:lnTo>
                      <a:pt x="114" y="461"/>
                    </a:lnTo>
                    <a:lnTo>
                      <a:pt x="112" y="461"/>
                    </a:lnTo>
                    <a:lnTo>
                      <a:pt x="110" y="461"/>
                    </a:lnTo>
                    <a:lnTo>
                      <a:pt x="110" y="459"/>
                    </a:lnTo>
                    <a:lnTo>
                      <a:pt x="108" y="459"/>
                    </a:lnTo>
                    <a:lnTo>
                      <a:pt x="108" y="457"/>
                    </a:lnTo>
                    <a:lnTo>
                      <a:pt x="106" y="459"/>
                    </a:lnTo>
                    <a:lnTo>
                      <a:pt x="106" y="457"/>
                    </a:lnTo>
                    <a:lnTo>
                      <a:pt x="104" y="459"/>
                    </a:lnTo>
                    <a:lnTo>
                      <a:pt x="104" y="461"/>
                    </a:lnTo>
                    <a:lnTo>
                      <a:pt x="102" y="461"/>
                    </a:lnTo>
                    <a:lnTo>
                      <a:pt x="100" y="461"/>
                    </a:lnTo>
                    <a:lnTo>
                      <a:pt x="100" y="459"/>
                    </a:lnTo>
                    <a:lnTo>
                      <a:pt x="98" y="459"/>
                    </a:lnTo>
                    <a:lnTo>
                      <a:pt x="98" y="457"/>
                    </a:lnTo>
                    <a:lnTo>
                      <a:pt x="96" y="457"/>
                    </a:lnTo>
                    <a:lnTo>
                      <a:pt x="96" y="455"/>
                    </a:lnTo>
                    <a:lnTo>
                      <a:pt x="95" y="457"/>
                    </a:lnTo>
                    <a:lnTo>
                      <a:pt x="93" y="457"/>
                    </a:lnTo>
                    <a:lnTo>
                      <a:pt x="93" y="455"/>
                    </a:lnTo>
                    <a:lnTo>
                      <a:pt x="91" y="453"/>
                    </a:lnTo>
                    <a:lnTo>
                      <a:pt x="91" y="455"/>
                    </a:lnTo>
                    <a:lnTo>
                      <a:pt x="91" y="453"/>
                    </a:lnTo>
                    <a:lnTo>
                      <a:pt x="89" y="453"/>
                    </a:lnTo>
                    <a:lnTo>
                      <a:pt x="87" y="451"/>
                    </a:lnTo>
                    <a:lnTo>
                      <a:pt x="85" y="451"/>
                    </a:lnTo>
                    <a:lnTo>
                      <a:pt x="81" y="450"/>
                    </a:lnTo>
                    <a:lnTo>
                      <a:pt x="83" y="450"/>
                    </a:lnTo>
                    <a:lnTo>
                      <a:pt x="81" y="450"/>
                    </a:lnTo>
                    <a:lnTo>
                      <a:pt x="79" y="448"/>
                    </a:lnTo>
                    <a:lnTo>
                      <a:pt x="77" y="448"/>
                    </a:lnTo>
                    <a:lnTo>
                      <a:pt x="77" y="446"/>
                    </a:lnTo>
                    <a:lnTo>
                      <a:pt x="75" y="446"/>
                    </a:lnTo>
                    <a:lnTo>
                      <a:pt x="75" y="444"/>
                    </a:lnTo>
                    <a:lnTo>
                      <a:pt x="73" y="444"/>
                    </a:lnTo>
                    <a:lnTo>
                      <a:pt x="73" y="446"/>
                    </a:lnTo>
                    <a:lnTo>
                      <a:pt x="71" y="446"/>
                    </a:lnTo>
                    <a:lnTo>
                      <a:pt x="71" y="444"/>
                    </a:lnTo>
                    <a:lnTo>
                      <a:pt x="70" y="444"/>
                    </a:lnTo>
                    <a:lnTo>
                      <a:pt x="70" y="442"/>
                    </a:lnTo>
                    <a:lnTo>
                      <a:pt x="70" y="444"/>
                    </a:lnTo>
                    <a:lnTo>
                      <a:pt x="68" y="444"/>
                    </a:lnTo>
                    <a:lnTo>
                      <a:pt x="66" y="444"/>
                    </a:lnTo>
                    <a:lnTo>
                      <a:pt x="64" y="444"/>
                    </a:lnTo>
                    <a:lnTo>
                      <a:pt x="62" y="444"/>
                    </a:lnTo>
                    <a:lnTo>
                      <a:pt x="60" y="444"/>
                    </a:lnTo>
                    <a:lnTo>
                      <a:pt x="58" y="444"/>
                    </a:lnTo>
                    <a:lnTo>
                      <a:pt x="56" y="444"/>
                    </a:lnTo>
                    <a:lnTo>
                      <a:pt x="54" y="444"/>
                    </a:lnTo>
                    <a:lnTo>
                      <a:pt x="54" y="446"/>
                    </a:lnTo>
                    <a:lnTo>
                      <a:pt x="52" y="446"/>
                    </a:lnTo>
                    <a:lnTo>
                      <a:pt x="52" y="444"/>
                    </a:lnTo>
                    <a:lnTo>
                      <a:pt x="50" y="444"/>
                    </a:lnTo>
                    <a:lnTo>
                      <a:pt x="48" y="444"/>
                    </a:lnTo>
                    <a:lnTo>
                      <a:pt x="46" y="444"/>
                    </a:lnTo>
                    <a:lnTo>
                      <a:pt x="46" y="442"/>
                    </a:lnTo>
                    <a:lnTo>
                      <a:pt x="46" y="440"/>
                    </a:lnTo>
                    <a:lnTo>
                      <a:pt x="45" y="440"/>
                    </a:lnTo>
                    <a:lnTo>
                      <a:pt x="45" y="438"/>
                    </a:lnTo>
                    <a:lnTo>
                      <a:pt x="45" y="436"/>
                    </a:lnTo>
                    <a:lnTo>
                      <a:pt x="45" y="434"/>
                    </a:lnTo>
                    <a:lnTo>
                      <a:pt x="43" y="432"/>
                    </a:lnTo>
                    <a:lnTo>
                      <a:pt x="41" y="434"/>
                    </a:lnTo>
                    <a:lnTo>
                      <a:pt x="39" y="434"/>
                    </a:lnTo>
                    <a:lnTo>
                      <a:pt x="37" y="434"/>
                    </a:lnTo>
                    <a:lnTo>
                      <a:pt x="37" y="436"/>
                    </a:lnTo>
                    <a:lnTo>
                      <a:pt x="37" y="434"/>
                    </a:lnTo>
                    <a:lnTo>
                      <a:pt x="35" y="434"/>
                    </a:lnTo>
                    <a:lnTo>
                      <a:pt x="37" y="432"/>
                    </a:lnTo>
                    <a:lnTo>
                      <a:pt x="35" y="432"/>
                    </a:lnTo>
                    <a:lnTo>
                      <a:pt x="35" y="430"/>
                    </a:lnTo>
                    <a:lnTo>
                      <a:pt x="33" y="430"/>
                    </a:lnTo>
                    <a:lnTo>
                      <a:pt x="31" y="430"/>
                    </a:lnTo>
                    <a:lnTo>
                      <a:pt x="29" y="430"/>
                    </a:lnTo>
                    <a:lnTo>
                      <a:pt x="27" y="430"/>
                    </a:lnTo>
                    <a:lnTo>
                      <a:pt x="27" y="432"/>
                    </a:lnTo>
                    <a:lnTo>
                      <a:pt x="27" y="430"/>
                    </a:lnTo>
                    <a:lnTo>
                      <a:pt x="25" y="430"/>
                    </a:lnTo>
                    <a:lnTo>
                      <a:pt x="23" y="430"/>
                    </a:lnTo>
                    <a:lnTo>
                      <a:pt x="23" y="428"/>
                    </a:lnTo>
                    <a:lnTo>
                      <a:pt x="25" y="428"/>
                    </a:lnTo>
                    <a:lnTo>
                      <a:pt x="23" y="428"/>
                    </a:lnTo>
                    <a:lnTo>
                      <a:pt x="25" y="426"/>
                    </a:lnTo>
                    <a:lnTo>
                      <a:pt x="23" y="426"/>
                    </a:lnTo>
                    <a:lnTo>
                      <a:pt x="22" y="426"/>
                    </a:lnTo>
                    <a:lnTo>
                      <a:pt x="22" y="425"/>
                    </a:lnTo>
                    <a:lnTo>
                      <a:pt x="20" y="426"/>
                    </a:lnTo>
                    <a:lnTo>
                      <a:pt x="18" y="426"/>
                    </a:lnTo>
                    <a:lnTo>
                      <a:pt x="18" y="425"/>
                    </a:lnTo>
                    <a:lnTo>
                      <a:pt x="16" y="423"/>
                    </a:lnTo>
                    <a:lnTo>
                      <a:pt x="16" y="425"/>
                    </a:lnTo>
                    <a:lnTo>
                      <a:pt x="16" y="423"/>
                    </a:lnTo>
                    <a:lnTo>
                      <a:pt x="14" y="423"/>
                    </a:lnTo>
                    <a:lnTo>
                      <a:pt x="14" y="421"/>
                    </a:lnTo>
                    <a:lnTo>
                      <a:pt x="14" y="419"/>
                    </a:lnTo>
                    <a:lnTo>
                      <a:pt x="12" y="419"/>
                    </a:lnTo>
                    <a:lnTo>
                      <a:pt x="12" y="417"/>
                    </a:lnTo>
                    <a:lnTo>
                      <a:pt x="12" y="415"/>
                    </a:lnTo>
                    <a:lnTo>
                      <a:pt x="10" y="415"/>
                    </a:lnTo>
                    <a:lnTo>
                      <a:pt x="8" y="415"/>
                    </a:lnTo>
                    <a:lnTo>
                      <a:pt x="8" y="417"/>
                    </a:lnTo>
                    <a:lnTo>
                      <a:pt x="8" y="415"/>
                    </a:lnTo>
                    <a:lnTo>
                      <a:pt x="6" y="415"/>
                    </a:lnTo>
                    <a:lnTo>
                      <a:pt x="8" y="413"/>
                    </a:lnTo>
                    <a:lnTo>
                      <a:pt x="8" y="411"/>
                    </a:lnTo>
                    <a:lnTo>
                      <a:pt x="8" y="409"/>
                    </a:lnTo>
                    <a:lnTo>
                      <a:pt x="6" y="409"/>
                    </a:lnTo>
                    <a:lnTo>
                      <a:pt x="4" y="409"/>
                    </a:lnTo>
                    <a:lnTo>
                      <a:pt x="2" y="409"/>
                    </a:lnTo>
                    <a:lnTo>
                      <a:pt x="2" y="411"/>
                    </a:lnTo>
                    <a:lnTo>
                      <a:pt x="0" y="409"/>
                    </a:lnTo>
                    <a:lnTo>
                      <a:pt x="0" y="407"/>
                    </a:lnTo>
                    <a:lnTo>
                      <a:pt x="2" y="407"/>
                    </a:lnTo>
                    <a:lnTo>
                      <a:pt x="2" y="405"/>
                    </a:lnTo>
                    <a:lnTo>
                      <a:pt x="2" y="403"/>
                    </a:lnTo>
                    <a:lnTo>
                      <a:pt x="0" y="401"/>
                    </a:lnTo>
                    <a:lnTo>
                      <a:pt x="0" y="400"/>
                    </a:lnTo>
                    <a:lnTo>
                      <a:pt x="2" y="400"/>
                    </a:lnTo>
                    <a:lnTo>
                      <a:pt x="2" y="398"/>
                    </a:lnTo>
                    <a:lnTo>
                      <a:pt x="4" y="396"/>
                    </a:lnTo>
                    <a:lnTo>
                      <a:pt x="2" y="396"/>
                    </a:lnTo>
                    <a:lnTo>
                      <a:pt x="2" y="394"/>
                    </a:lnTo>
                    <a:lnTo>
                      <a:pt x="4" y="394"/>
                    </a:lnTo>
                    <a:lnTo>
                      <a:pt x="6" y="394"/>
                    </a:lnTo>
                    <a:lnTo>
                      <a:pt x="6" y="392"/>
                    </a:lnTo>
                    <a:lnTo>
                      <a:pt x="6" y="390"/>
                    </a:lnTo>
                    <a:lnTo>
                      <a:pt x="6" y="388"/>
                    </a:lnTo>
                    <a:lnTo>
                      <a:pt x="6" y="386"/>
                    </a:lnTo>
                    <a:lnTo>
                      <a:pt x="8" y="384"/>
                    </a:lnTo>
                    <a:lnTo>
                      <a:pt x="8" y="382"/>
                    </a:lnTo>
                    <a:lnTo>
                      <a:pt x="8" y="384"/>
                    </a:lnTo>
                    <a:lnTo>
                      <a:pt x="10" y="384"/>
                    </a:lnTo>
                    <a:lnTo>
                      <a:pt x="10" y="382"/>
                    </a:lnTo>
                    <a:lnTo>
                      <a:pt x="10" y="380"/>
                    </a:lnTo>
                    <a:lnTo>
                      <a:pt x="10" y="378"/>
                    </a:lnTo>
                    <a:lnTo>
                      <a:pt x="10" y="375"/>
                    </a:lnTo>
                    <a:lnTo>
                      <a:pt x="10" y="373"/>
                    </a:lnTo>
                    <a:lnTo>
                      <a:pt x="8" y="375"/>
                    </a:lnTo>
                    <a:lnTo>
                      <a:pt x="8" y="373"/>
                    </a:lnTo>
                    <a:lnTo>
                      <a:pt x="6" y="371"/>
                    </a:lnTo>
                    <a:lnTo>
                      <a:pt x="8" y="371"/>
                    </a:lnTo>
                    <a:lnTo>
                      <a:pt x="8" y="369"/>
                    </a:lnTo>
                    <a:lnTo>
                      <a:pt x="10" y="367"/>
                    </a:lnTo>
                    <a:lnTo>
                      <a:pt x="10" y="365"/>
                    </a:lnTo>
                    <a:lnTo>
                      <a:pt x="12" y="365"/>
                    </a:lnTo>
                    <a:lnTo>
                      <a:pt x="14" y="367"/>
                    </a:lnTo>
                    <a:lnTo>
                      <a:pt x="16" y="367"/>
                    </a:lnTo>
                    <a:lnTo>
                      <a:pt x="18" y="367"/>
                    </a:lnTo>
                    <a:lnTo>
                      <a:pt x="18" y="369"/>
                    </a:lnTo>
                    <a:lnTo>
                      <a:pt x="20" y="369"/>
                    </a:lnTo>
                    <a:lnTo>
                      <a:pt x="20" y="367"/>
                    </a:lnTo>
                    <a:lnTo>
                      <a:pt x="20" y="365"/>
                    </a:lnTo>
                    <a:lnTo>
                      <a:pt x="20" y="363"/>
                    </a:lnTo>
                    <a:lnTo>
                      <a:pt x="22" y="363"/>
                    </a:lnTo>
                    <a:lnTo>
                      <a:pt x="20" y="361"/>
                    </a:lnTo>
                    <a:lnTo>
                      <a:pt x="22" y="359"/>
                    </a:lnTo>
                    <a:lnTo>
                      <a:pt x="23" y="359"/>
                    </a:lnTo>
                    <a:lnTo>
                      <a:pt x="23" y="357"/>
                    </a:lnTo>
                    <a:lnTo>
                      <a:pt x="23" y="355"/>
                    </a:lnTo>
                    <a:lnTo>
                      <a:pt x="25" y="355"/>
                    </a:lnTo>
                    <a:lnTo>
                      <a:pt x="23" y="355"/>
                    </a:lnTo>
                    <a:lnTo>
                      <a:pt x="23" y="353"/>
                    </a:lnTo>
                    <a:lnTo>
                      <a:pt x="23" y="351"/>
                    </a:lnTo>
                    <a:lnTo>
                      <a:pt x="25" y="351"/>
                    </a:lnTo>
                    <a:lnTo>
                      <a:pt x="27" y="351"/>
                    </a:lnTo>
                    <a:lnTo>
                      <a:pt x="29" y="351"/>
                    </a:lnTo>
                    <a:lnTo>
                      <a:pt x="31" y="351"/>
                    </a:lnTo>
                    <a:lnTo>
                      <a:pt x="31" y="350"/>
                    </a:lnTo>
                    <a:lnTo>
                      <a:pt x="33" y="350"/>
                    </a:lnTo>
                    <a:lnTo>
                      <a:pt x="33" y="348"/>
                    </a:lnTo>
                    <a:lnTo>
                      <a:pt x="35" y="348"/>
                    </a:lnTo>
                    <a:lnTo>
                      <a:pt x="37" y="346"/>
                    </a:lnTo>
                    <a:lnTo>
                      <a:pt x="39" y="346"/>
                    </a:lnTo>
                    <a:lnTo>
                      <a:pt x="39" y="344"/>
                    </a:lnTo>
                    <a:lnTo>
                      <a:pt x="41" y="344"/>
                    </a:lnTo>
                    <a:lnTo>
                      <a:pt x="41" y="342"/>
                    </a:lnTo>
                    <a:lnTo>
                      <a:pt x="41" y="340"/>
                    </a:lnTo>
                    <a:lnTo>
                      <a:pt x="41" y="338"/>
                    </a:lnTo>
                    <a:lnTo>
                      <a:pt x="43" y="338"/>
                    </a:lnTo>
                    <a:lnTo>
                      <a:pt x="45" y="336"/>
                    </a:lnTo>
                    <a:lnTo>
                      <a:pt x="46" y="336"/>
                    </a:lnTo>
                    <a:lnTo>
                      <a:pt x="48" y="336"/>
                    </a:lnTo>
                    <a:lnTo>
                      <a:pt x="50" y="336"/>
                    </a:lnTo>
                    <a:lnTo>
                      <a:pt x="50" y="334"/>
                    </a:lnTo>
                    <a:lnTo>
                      <a:pt x="52" y="332"/>
                    </a:lnTo>
                    <a:lnTo>
                      <a:pt x="52" y="330"/>
                    </a:lnTo>
                    <a:lnTo>
                      <a:pt x="54" y="330"/>
                    </a:lnTo>
                    <a:lnTo>
                      <a:pt x="56" y="332"/>
                    </a:lnTo>
                    <a:lnTo>
                      <a:pt x="56" y="334"/>
                    </a:lnTo>
                    <a:lnTo>
                      <a:pt x="58" y="334"/>
                    </a:lnTo>
                    <a:lnTo>
                      <a:pt x="58" y="336"/>
                    </a:lnTo>
                    <a:lnTo>
                      <a:pt x="60" y="340"/>
                    </a:lnTo>
                    <a:lnTo>
                      <a:pt x="60" y="342"/>
                    </a:lnTo>
                    <a:lnTo>
                      <a:pt x="60" y="344"/>
                    </a:lnTo>
                    <a:lnTo>
                      <a:pt x="58" y="346"/>
                    </a:lnTo>
                    <a:lnTo>
                      <a:pt x="60" y="346"/>
                    </a:lnTo>
                    <a:lnTo>
                      <a:pt x="60" y="348"/>
                    </a:lnTo>
                    <a:lnTo>
                      <a:pt x="58" y="348"/>
                    </a:lnTo>
                    <a:lnTo>
                      <a:pt x="60" y="348"/>
                    </a:lnTo>
                    <a:lnTo>
                      <a:pt x="60" y="350"/>
                    </a:lnTo>
                    <a:lnTo>
                      <a:pt x="60" y="351"/>
                    </a:lnTo>
                    <a:lnTo>
                      <a:pt x="62" y="351"/>
                    </a:lnTo>
                    <a:lnTo>
                      <a:pt x="62" y="353"/>
                    </a:lnTo>
                    <a:lnTo>
                      <a:pt x="64" y="353"/>
                    </a:lnTo>
                    <a:lnTo>
                      <a:pt x="64" y="355"/>
                    </a:lnTo>
                    <a:lnTo>
                      <a:pt x="66" y="353"/>
                    </a:lnTo>
                    <a:lnTo>
                      <a:pt x="66" y="355"/>
                    </a:lnTo>
                    <a:lnTo>
                      <a:pt x="66" y="357"/>
                    </a:lnTo>
                    <a:lnTo>
                      <a:pt x="68" y="357"/>
                    </a:lnTo>
                    <a:lnTo>
                      <a:pt x="68" y="359"/>
                    </a:lnTo>
                    <a:lnTo>
                      <a:pt x="68" y="361"/>
                    </a:lnTo>
                    <a:lnTo>
                      <a:pt x="70" y="361"/>
                    </a:lnTo>
                    <a:lnTo>
                      <a:pt x="71" y="363"/>
                    </a:lnTo>
                    <a:lnTo>
                      <a:pt x="71" y="361"/>
                    </a:lnTo>
                    <a:lnTo>
                      <a:pt x="71" y="363"/>
                    </a:lnTo>
                    <a:lnTo>
                      <a:pt x="73" y="363"/>
                    </a:lnTo>
                    <a:lnTo>
                      <a:pt x="73" y="365"/>
                    </a:lnTo>
                    <a:lnTo>
                      <a:pt x="75" y="365"/>
                    </a:lnTo>
                    <a:lnTo>
                      <a:pt x="75" y="367"/>
                    </a:lnTo>
                    <a:lnTo>
                      <a:pt x="77" y="367"/>
                    </a:lnTo>
                    <a:lnTo>
                      <a:pt x="77" y="369"/>
                    </a:lnTo>
                    <a:lnTo>
                      <a:pt x="79" y="371"/>
                    </a:lnTo>
                    <a:lnTo>
                      <a:pt x="81" y="371"/>
                    </a:lnTo>
                    <a:lnTo>
                      <a:pt x="83" y="371"/>
                    </a:lnTo>
                    <a:lnTo>
                      <a:pt x="83" y="373"/>
                    </a:lnTo>
                    <a:lnTo>
                      <a:pt x="85" y="373"/>
                    </a:lnTo>
                    <a:lnTo>
                      <a:pt x="87" y="375"/>
                    </a:lnTo>
                    <a:lnTo>
                      <a:pt x="89" y="376"/>
                    </a:lnTo>
                    <a:lnTo>
                      <a:pt x="91" y="376"/>
                    </a:lnTo>
                    <a:lnTo>
                      <a:pt x="91" y="378"/>
                    </a:lnTo>
                    <a:lnTo>
                      <a:pt x="93" y="378"/>
                    </a:lnTo>
                    <a:lnTo>
                      <a:pt x="93" y="380"/>
                    </a:lnTo>
                    <a:lnTo>
                      <a:pt x="95" y="380"/>
                    </a:lnTo>
                    <a:lnTo>
                      <a:pt x="96" y="380"/>
                    </a:lnTo>
                    <a:lnTo>
                      <a:pt x="98" y="380"/>
                    </a:lnTo>
                    <a:lnTo>
                      <a:pt x="98" y="382"/>
                    </a:lnTo>
                    <a:lnTo>
                      <a:pt x="98" y="384"/>
                    </a:lnTo>
                    <a:lnTo>
                      <a:pt x="100" y="384"/>
                    </a:lnTo>
                    <a:lnTo>
                      <a:pt x="100" y="386"/>
                    </a:lnTo>
                    <a:lnTo>
                      <a:pt x="102" y="386"/>
                    </a:lnTo>
                    <a:lnTo>
                      <a:pt x="102" y="388"/>
                    </a:lnTo>
                    <a:lnTo>
                      <a:pt x="104" y="388"/>
                    </a:lnTo>
                    <a:lnTo>
                      <a:pt x="104" y="390"/>
                    </a:lnTo>
                    <a:lnTo>
                      <a:pt x="106" y="390"/>
                    </a:lnTo>
                    <a:lnTo>
                      <a:pt x="108" y="390"/>
                    </a:lnTo>
                    <a:lnTo>
                      <a:pt x="108" y="392"/>
                    </a:lnTo>
                    <a:lnTo>
                      <a:pt x="108" y="394"/>
                    </a:lnTo>
                    <a:lnTo>
                      <a:pt x="108" y="396"/>
                    </a:lnTo>
                    <a:lnTo>
                      <a:pt x="110" y="396"/>
                    </a:lnTo>
                    <a:lnTo>
                      <a:pt x="112" y="398"/>
                    </a:lnTo>
                    <a:lnTo>
                      <a:pt x="114" y="398"/>
                    </a:lnTo>
                    <a:lnTo>
                      <a:pt x="116" y="400"/>
                    </a:lnTo>
                    <a:lnTo>
                      <a:pt x="118" y="400"/>
                    </a:lnTo>
                    <a:lnTo>
                      <a:pt x="118" y="401"/>
                    </a:lnTo>
                    <a:lnTo>
                      <a:pt x="116" y="401"/>
                    </a:lnTo>
                    <a:lnTo>
                      <a:pt x="116" y="403"/>
                    </a:lnTo>
                    <a:lnTo>
                      <a:pt x="118" y="405"/>
                    </a:lnTo>
                    <a:lnTo>
                      <a:pt x="118" y="407"/>
                    </a:lnTo>
                    <a:lnTo>
                      <a:pt x="119" y="407"/>
                    </a:lnTo>
                    <a:lnTo>
                      <a:pt x="121" y="407"/>
                    </a:lnTo>
                    <a:lnTo>
                      <a:pt x="123" y="407"/>
                    </a:lnTo>
                    <a:lnTo>
                      <a:pt x="123" y="405"/>
                    </a:lnTo>
                    <a:lnTo>
                      <a:pt x="123" y="403"/>
                    </a:lnTo>
                    <a:lnTo>
                      <a:pt x="125" y="403"/>
                    </a:lnTo>
                    <a:lnTo>
                      <a:pt x="125" y="401"/>
                    </a:lnTo>
                    <a:lnTo>
                      <a:pt x="127" y="403"/>
                    </a:lnTo>
                    <a:lnTo>
                      <a:pt x="129" y="403"/>
                    </a:lnTo>
                    <a:lnTo>
                      <a:pt x="129" y="405"/>
                    </a:lnTo>
                    <a:lnTo>
                      <a:pt x="131" y="405"/>
                    </a:lnTo>
                    <a:lnTo>
                      <a:pt x="133" y="405"/>
                    </a:lnTo>
                    <a:lnTo>
                      <a:pt x="133" y="403"/>
                    </a:lnTo>
                    <a:lnTo>
                      <a:pt x="135" y="403"/>
                    </a:lnTo>
                    <a:lnTo>
                      <a:pt x="135" y="405"/>
                    </a:lnTo>
                    <a:lnTo>
                      <a:pt x="137" y="405"/>
                    </a:lnTo>
                    <a:lnTo>
                      <a:pt x="139" y="405"/>
                    </a:lnTo>
                    <a:lnTo>
                      <a:pt x="141" y="405"/>
                    </a:lnTo>
                    <a:lnTo>
                      <a:pt x="141" y="407"/>
                    </a:lnTo>
                    <a:lnTo>
                      <a:pt x="141" y="409"/>
                    </a:lnTo>
                    <a:lnTo>
                      <a:pt x="141" y="411"/>
                    </a:lnTo>
                    <a:lnTo>
                      <a:pt x="143" y="413"/>
                    </a:lnTo>
                    <a:lnTo>
                      <a:pt x="143" y="415"/>
                    </a:lnTo>
                    <a:lnTo>
                      <a:pt x="144" y="415"/>
                    </a:lnTo>
                    <a:lnTo>
                      <a:pt x="144" y="417"/>
                    </a:lnTo>
                    <a:lnTo>
                      <a:pt x="146" y="417"/>
                    </a:lnTo>
                    <a:lnTo>
                      <a:pt x="146" y="419"/>
                    </a:lnTo>
                    <a:lnTo>
                      <a:pt x="148" y="419"/>
                    </a:lnTo>
                    <a:lnTo>
                      <a:pt x="148" y="421"/>
                    </a:lnTo>
                    <a:lnTo>
                      <a:pt x="150" y="421"/>
                    </a:lnTo>
                    <a:lnTo>
                      <a:pt x="150" y="423"/>
                    </a:lnTo>
                    <a:lnTo>
                      <a:pt x="152" y="423"/>
                    </a:lnTo>
                    <a:lnTo>
                      <a:pt x="152" y="425"/>
                    </a:lnTo>
                    <a:lnTo>
                      <a:pt x="154" y="425"/>
                    </a:lnTo>
                    <a:lnTo>
                      <a:pt x="154" y="426"/>
                    </a:lnTo>
                    <a:lnTo>
                      <a:pt x="156" y="426"/>
                    </a:lnTo>
                    <a:lnTo>
                      <a:pt x="158" y="426"/>
                    </a:lnTo>
                    <a:lnTo>
                      <a:pt x="160" y="426"/>
                    </a:lnTo>
                    <a:lnTo>
                      <a:pt x="160" y="428"/>
                    </a:lnTo>
                    <a:lnTo>
                      <a:pt x="162" y="428"/>
                    </a:lnTo>
                    <a:lnTo>
                      <a:pt x="160" y="428"/>
                    </a:lnTo>
                    <a:lnTo>
                      <a:pt x="160" y="430"/>
                    </a:lnTo>
                    <a:lnTo>
                      <a:pt x="162" y="430"/>
                    </a:lnTo>
                    <a:lnTo>
                      <a:pt x="164" y="430"/>
                    </a:lnTo>
                    <a:lnTo>
                      <a:pt x="166" y="432"/>
                    </a:lnTo>
                    <a:lnTo>
                      <a:pt x="166" y="434"/>
                    </a:lnTo>
                    <a:lnTo>
                      <a:pt x="166" y="436"/>
                    </a:lnTo>
                    <a:lnTo>
                      <a:pt x="166" y="438"/>
                    </a:lnTo>
                    <a:lnTo>
                      <a:pt x="166" y="440"/>
                    </a:lnTo>
                    <a:lnTo>
                      <a:pt x="166" y="442"/>
                    </a:lnTo>
                    <a:lnTo>
                      <a:pt x="168" y="442"/>
                    </a:lnTo>
                    <a:lnTo>
                      <a:pt x="166" y="442"/>
                    </a:lnTo>
                    <a:lnTo>
                      <a:pt x="166" y="444"/>
                    </a:lnTo>
                    <a:lnTo>
                      <a:pt x="166" y="446"/>
                    </a:lnTo>
                    <a:lnTo>
                      <a:pt x="166" y="448"/>
                    </a:lnTo>
                    <a:lnTo>
                      <a:pt x="168" y="448"/>
                    </a:lnTo>
                    <a:lnTo>
                      <a:pt x="168" y="450"/>
                    </a:lnTo>
                    <a:lnTo>
                      <a:pt x="168" y="451"/>
                    </a:lnTo>
                    <a:lnTo>
                      <a:pt x="168" y="453"/>
                    </a:lnTo>
                    <a:lnTo>
                      <a:pt x="169" y="453"/>
                    </a:lnTo>
                    <a:lnTo>
                      <a:pt x="171" y="453"/>
                    </a:lnTo>
                    <a:lnTo>
                      <a:pt x="171" y="455"/>
                    </a:lnTo>
                    <a:lnTo>
                      <a:pt x="171" y="457"/>
                    </a:lnTo>
                    <a:lnTo>
                      <a:pt x="173" y="457"/>
                    </a:lnTo>
                    <a:lnTo>
                      <a:pt x="173" y="455"/>
                    </a:lnTo>
                    <a:lnTo>
                      <a:pt x="175" y="455"/>
                    </a:lnTo>
                    <a:lnTo>
                      <a:pt x="177" y="455"/>
                    </a:lnTo>
                    <a:lnTo>
                      <a:pt x="177" y="453"/>
                    </a:lnTo>
                    <a:lnTo>
                      <a:pt x="179" y="455"/>
                    </a:lnTo>
                    <a:lnTo>
                      <a:pt x="179" y="453"/>
                    </a:lnTo>
                    <a:lnTo>
                      <a:pt x="181" y="453"/>
                    </a:lnTo>
                    <a:lnTo>
                      <a:pt x="183" y="453"/>
                    </a:lnTo>
                    <a:lnTo>
                      <a:pt x="185" y="455"/>
                    </a:lnTo>
                    <a:lnTo>
                      <a:pt x="187" y="455"/>
                    </a:lnTo>
                    <a:lnTo>
                      <a:pt x="189" y="455"/>
                    </a:lnTo>
                    <a:lnTo>
                      <a:pt x="189" y="457"/>
                    </a:lnTo>
                    <a:lnTo>
                      <a:pt x="189" y="459"/>
                    </a:lnTo>
                    <a:lnTo>
                      <a:pt x="191" y="461"/>
                    </a:lnTo>
                    <a:lnTo>
                      <a:pt x="191" y="471"/>
                    </a:lnTo>
                    <a:lnTo>
                      <a:pt x="191" y="474"/>
                    </a:lnTo>
                    <a:lnTo>
                      <a:pt x="191" y="476"/>
                    </a:lnTo>
                    <a:lnTo>
                      <a:pt x="192" y="476"/>
                    </a:lnTo>
                    <a:lnTo>
                      <a:pt x="194" y="474"/>
                    </a:lnTo>
                    <a:lnTo>
                      <a:pt x="196" y="474"/>
                    </a:lnTo>
                    <a:lnTo>
                      <a:pt x="196" y="473"/>
                    </a:lnTo>
                    <a:lnTo>
                      <a:pt x="196" y="471"/>
                    </a:lnTo>
                    <a:lnTo>
                      <a:pt x="198" y="471"/>
                    </a:lnTo>
                    <a:lnTo>
                      <a:pt x="200" y="471"/>
                    </a:lnTo>
                    <a:lnTo>
                      <a:pt x="202" y="469"/>
                    </a:lnTo>
                    <a:lnTo>
                      <a:pt x="202" y="467"/>
                    </a:lnTo>
                    <a:lnTo>
                      <a:pt x="204" y="465"/>
                    </a:lnTo>
                    <a:lnTo>
                      <a:pt x="206" y="465"/>
                    </a:lnTo>
                    <a:lnTo>
                      <a:pt x="208" y="465"/>
                    </a:lnTo>
                    <a:lnTo>
                      <a:pt x="210" y="465"/>
                    </a:lnTo>
                    <a:lnTo>
                      <a:pt x="212" y="463"/>
                    </a:lnTo>
                    <a:lnTo>
                      <a:pt x="214" y="463"/>
                    </a:lnTo>
                    <a:lnTo>
                      <a:pt x="214" y="461"/>
                    </a:lnTo>
                    <a:lnTo>
                      <a:pt x="216" y="463"/>
                    </a:lnTo>
                    <a:lnTo>
                      <a:pt x="217" y="463"/>
                    </a:lnTo>
                    <a:lnTo>
                      <a:pt x="219" y="463"/>
                    </a:lnTo>
                    <a:lnTo>
                      <a:pt x="219" y="461"/>
                    </a:lnTo>
                    <a:lnTo>
                      <a:pt x="221" y="459"/>
                    </a:lnTo>
                    <a:lnTo>
                      <a:pt x="219" y="459"/>
                    </a:lnTo>
                    <a:lnTo>
                      <a:pt x="219" y="457"/>
                    </a:lnTo>
                    <a:lnTo>
                      <a:pt x="219" y="455"/>
                    </a:lnTo>
                    <a:lnTo>
                      <a:pt x="219" y="453"/>
                    </a:lnTo>
                    <a:lnTo>
                      <a:pt x="217" y="453"/>
                    </a:lnTo>
                    <a:lnTo>
                      <a:pt x="217" y="451"/>
                    </a:lnTo>
                    <a:lnTo>
                      <a:pt x="219" y="451"/>
                    </a:lnTo>
                    <a:lnTo>
                      <a:pt x="217" y="451"/>
                    </a:lnTo>
                    <a:lnTo>
                      <a:pt x="217" y="450"/>
                    </a:lnTo>
                    <a:lnTo>
                      <a:pt x="217" y="440"/>
                    </a:lnTo>
                    <a:lnTo>
                      <a:pt x="225" y="438"/>
                    </a:lnTo>
                    <a:lnTo>
                      <a:pt x="231" y="434"/>
                    </a:lnTo>
                    <a:lnTo>
                      <a:pt x="237" y="428"/>
                    </a:lnTo>
                    <a:lnTo>
                      <a:pt x="244" y="423"/>
                    </a:lnTo>
                    <a:lnTo>
                      <a:pt x="244" y="421"/>
                    </a:lnTo>
                    <a:lnTo>
                      <a:pt x="250" y="413"/>
                    </a:lnTo>
                    <a:lnTo>
                      <a:pt x="254" y="407"/>
                    </a:lnTo>
                    <a:lnTo>
                      <a:pt x="260" y="398"/>
                    </a:lnTo>
                    <a:lnTo>
                      <a:pt x="267" y="378"/>
                    </a:lnTo>
                    <a:lnTo>
                      <a:pt x="271" y="375"/>
                    </a:lnTo>
                    <a:lnTo>
                      <a:pt x="277" y="367"/>
                    </a:lnTo>
                    <a:lnTo>
                      <a:pt x="285" y="361"/>
                    </a:lnTo>
                    <a:lnTo>
                      <a:pt x="294" y="350"/>
                    </a:lnTo>
                    <a:lnTo>
                      <a:pt x="296" y="346"/>
                    </a:lnTo>
                    <a:lnTo>
                      <a:pt x="302" y="340"/>
                    </a:lnTo>
                    <a:lnTo>
                      <a:pt x="312" y="332"/>
                    </a:lnTo>
                    <a:lnTo>
                      <a:pt x="319" y="325"/>
                    </a:lnTo>
                    <a:lnTo>
                      <a:pt x="325" y="319"/>
                    </a:lnTo>
                    <a:lnTo>
                      <a:pt x="327" y="298"/>
                    </a:lnTo>
                    <a:lnTo>
                      <a:pt x="331" y="280"/>
                    </a:lnTo>
                    <a:lnTo>
                      <a:pt x="337" y="259"/>
                    </a:lnTo>
                    <a:lnTo>
                      <a:pt x="346" y="230"/>
                    </a:lnTo>
                    <a:lnTo>
                      <a:pt x="346" y="226"/>
                    </a:lnTo>
                    <a:lnTo>
                      <a:pt x="333" y="223"/>
                    </a:lnTo>
                    <a:lnTo>
                      <a:pt x="333" y="225"/>
                    </a:lnTo>
                    <a:lnTo>
                      <a:pt x="331" y="225"/>
                    </a:lnTo>
                    <a:lnTo>
                      <a:pt x="329" y="225"/>
                    </a:lnTo>
                    <a:lnTo>
                      <a:pt x="329" y="223"/>
                    </a:lnTo>
                    <a:lnTo>
                      <a:pt x="331" y="223"/>
                    </a:lnTo>
                    <a:lnTo>
                      <a:pt x="331" y="221"/>
                    </a:lnTo>
                    <a:lnTo>
                      <a:pt x="331" y="219"/>
                    </a:lnTo>
                    <a:lnTo>
                      <a:pt x="333" y="219"/>
                    </a:lnTo>
                    <a:lnTo>
                      <a:pt x="331" y="219"/>
                    </a:lnTo>
                    <a:lnTo>
                      <a:pt x="331" y="217"/>
                    </a:lnTo>
                    <a:lnTo>
                      <a:pt x="333" y="217"/>
                    </a:lnTo>
                    <a:lnTo>
                      <a:pt x="333" y="215"/>
                    </a:lnTo>
                    <a:lnTo>
                      <a:pt x="333" y="217"/>
                    </a:lnTo>
                    <a:lnTo>
                      <a:pt x="333" y="215"/>
                    </a:lnTo>
                    <a:lnTo>
                      <a:pt x="333" y="213"/>
                    </a:lnTo>
                    <a:lnTo>
                      <a:pt x="333" y="211"/>
                    </a:lnTo>
                    <a:lnTo>
                      <a:pt x="333" y="209"/>
                    </a:lnTo>
                    <a:lnTo>
                      <a:pt x="333" y="207"/>
                    </a:lnTo>
                    <a:lnTo>
                      <a:pt x="331" y="205"/>
                    </a:lnTo>
                    <a:lnTo>
                      <a:pt x="333" y="205"/>
                    </a:lnTo>
                    <a:lnTo>
                      <a:pt x="333" y="203"/>
                    </a:lnTo>
                    <a:lnTo>
                      <a:pt x="333" y="201"/>
                    </a:lnTo>
                    <a:lnTo>
                      <a:pt x="331" y="201"/>
                    </a:lnTo>
                    <a:lnTo>
                      <a:pt x="331" y="200"/>
                    </a:lnTo>
                    <a:lnTo>
                      <a:pt x="333" y="198"/>
                    </a:lnTo>
                    <a:lnTo>
                      <a:pt x="333" y="196"/>
                    </a:lnTo>
                    <a:lnTo>
                      <a:pt x="329" y="194"/>
                    </a:lnTo>
                    <a:lnTo>
                      <a:pt x="329" y="192"/>
                    </a:lnTo>
                    <a:lnTo>
                      <a:pt x="329" y="190"/>
                    </a:lnTo>
                    <a:lnTo>
                      <a:pt x="329" y="188"/>
                    </a:lnTo>
                    <a:lnTo>
                      <a:pt x="329" y="186"/>
                    </a:lnTo>
                    <a:lnTo>
                      <a:pt x="331" y="186"/>
                    </a:lnTo>
                    <a:lnTo>
                      <a:pt x="329" y="184"/>
                    </a:lnTo>
                    <a:lnTo>
                      <a:pt x="331" y="182"/>
                    </a:lnTo>
                    <a:lnTo>
                      <a:pt x="331" y="180"/>
                    </a:lnTo>
                    <a:lnTo>
                      <a:pt x="331" y="178"/>
                    </a:lnTo>
                    <a:lnTo>
                      <a:pt x="331" y="177"/>
                    </a:lnTo>
                    <a:lnTo>
                      <a:pt x="329" y="177"/>
                    </a:lnTo>
                    <a:lnTo>
                      <a:pt x="327" y="177"/>
                    </a:lnTo>
                    <a:lnTo>
                      <a:pt x="327" y="175"/>
                    </a:lnTo>
                    <a:lnTo>
                      <a:pt x="327" y="173"/>
                    </a:lnTo>
                    <a:lnTo>
                      <a:pt x="325" y="173"/>
                    </a:lnTo>
                    <a:lnTo>
                      <a:pt x="325" y="171"/>
                    </a:lnTo>
                    <a:lnTo>
                      <a:pt x="325" y="169"/>
                    </a:lnTo>
                    <a:lnTo>
                      <a:pt x="325" y="167"/>
                    </a:lnTo>
                    <a:lnTo>
                      <a:pt x="325" y="165"/>
                    </a:lnTo>
                    <a:lnTo>
                      <a:pt x="323" y="165"/>
                    </a:lnTo>
                    <a:lnTo>
                      <a:pt x="323" y="163"/>
                    </a:lnTo>
                    <a:lnTo>
                      <a:pt x="323" y="161"/>
                    </a:lnTo>
                    <a:lnTo>
                      <a:pt x="323" y="159"/>
                    </a:lnTo>
                    <a:lnTo>
                      <a:pt x="325" y="159"/>
                    </a:lnTo>
                    <a:lnTo>
                      <a:pt x="325" y="157"/>
                    </a:lnTo>
                    <a:lnTo>
                      <a:pt x="325" y="155"/>
                    </a:lnTo>
                    <a:lnTo>
                      <a:pt x="323" y="155"/>
                    </a:lnTo>
                    <a:lnTo>
                      <a:pt x="323" y="153"/>
                    </a:lnTo>
                    <a:lnTo>
                      <a:pt x="325" y="153"/>
                    </a:lnTo>
                    <a:lnTo>
                      <a:pt x="323" y="153"/>
                    </a:lnTo>
                    <a:lnTo>
                      <a:pt x="323" y="152"/>
                    </a:lnTo>
                    <a:lnTo>
                      <a:pt x="325" y="152"/>
                    </a:lnTo>
                    <a:lnTo>
                      <a:pt x="327" y="152"/>
                    </a:lnTo>
                    <a:lnTo>
                      <a:pt x="327" y="150"/>
                    </a:lnTo>
                    <a:lnTo>
                      <a:pt x="327" y="148"/>
                    </a:lnTo>
                    <a:lnTo>
                      <a:pt x="327" y="146"/>
                    </a:lnTo>
                    <a:lnTo>
                      <a:pt x="327" y="144"/>
                    </a:lnTo>
                    <a:lnTo>
                      <a:pt x="325" y="142"/>
                    </a:lnTo>
                    <a:lnTo>
                      <a:pt x="325" y="140"/>
                    </a:lnTo>
                    <a:lnTo>
                      <a:pt x="325" y="138"/>
                    </a:lnTo>
                    <a:lnTo>
                      <a:pt x="327" y="136"/>
                    </a:lnTo>
                    <a:lnTo>
                      <a:pt x="325" y="136"/>
                    </a:lnTo>
                    <a:lnTo>
                      <a:pt x="325" y="134"/>
                    </a:lnTo>
                    <a:lnTo>
                      <a:pt x="327" y="134"/>
                    </a:lnTo>
                    <a:lnTo>
                      <a:pt x="327" y="132"/>
                    </a:lnTo>
                    <a:lnTo>
                      <a:pt x="329" y="132"/>
                    </a:lnTo>
                    <a:lnTo>
                      <a:pt x="329" y="130"/>
                    </a:lnTo>
                    <a:lnTo>
                      <a:pt x="329" y="128"/>
                    </a:lnTo>
                    <a:lnTo>
                      <a:pt x="331" y="128"/>
                    </a:lnTo>
                    <a:lnTo>
                      <a:pt x="331" y="130"/>
                    </a:lnTo>
                    <a:lnTo>
                      <a:pt x="331" y="128"/>
                    </a:lnTo>
                    <a:lnTo>
                      <a:pt x="333" y="128"/>
                    </a:lnTo>
                    <a:lnTo>
                      <a:pt x="335" y="128"/>
                    </a:lnTo>
                    <a:lnTo>
                      <a:pt x="335" y="130"/>
                    </a:lnTo>
                    <a:lnTo>
                      <a:pt x="337" y="128"/>
                    </a:lnTo>
                    <a:lnTo>
                      <a:pt x="339" y="128"/>
                    </a:lnTo>
                    <a:lnTo>
                      <a:pt x="339" y="127"/>
                    </a:lnTo>
                    <a:lnTo>
                      <a:pt x="339" y="125"/>
                    </a:lnTo>
                    <a:lnTo>
                      <a:pt x="339" y="123"/>
                    </a:lnTo>
                    <a:lnTo>
                      <a:pt x="337" y="123"/>
                    </a:lnTo>
                    <a:lnTo>
                      <a:pt x="337" y="125"/>
                    </a:lnTo>
                    <a:lnTo>
                      <a:pt x="335" y="125"/>
                    </a:lnTo>
                    <a:lnTo>
                      <a:pt x="335" y="123"/>
                    </a:lnTo>
                    <a:lnTo>
                      <a:pt x="333" y="123"/>
                    </a:lnTo>
                    <a:lnTo>
                      <a:pt x="331" y="125"/>
                    </a:lnTo>
                    <a:lnTo>
                      <a:pt x="329" y="123"/>
                    </a:lnTo>
                    <a:lnTo>
                      <a:pt x="327" y="121"/>
                    </a:lnTo>
                    <a:lnTo>
                      <a:pt x="329" y="121"/>
                    </a:lnTo>
                    <a:lnTo>
                      <a:pt x="327" y="119"/>
                    </a:lnTo>
                    <a:lnTo>
                      <a:pt x="325" y="119"/>
                    </a:lnTo>
                    <a:lnTo>
                      <a:pt x="325" y="117"/>
                    </a:lnTo>
                    <a:lnTo>
                      <a:pt x="327" y="115"/>
                    </a:lnTo>
                    <a:lnTo>
                      <a:pt x="325" y="115"/>
                    </a:lnTo>
                    <a:lnTo>
                      <a:pt x="325" y="113"/>
                    </a:lnTo>
                    <a:lnTo>
                      <a:pt x="323" y="113"/>
                    </a:lnTo>
                    <a:lnTo>
                      <a:pt x="323" y="111"/>
                    </a:lnTo>
                    <a:lnTo>
                      <a:pt x="321" y="111"/>
                    </a:lnTo>
                    <a:lnTo>
                      <a:pt x="321" y="109"/>
                    </a:lnTo>
                    <a:lnTo>
                      <a:pt x="321" y="107"/>
                    </a:lnTo>
                    <a:lnTo>
                      <a:pt x="319" y="107"/>
                    </a:lnTo>
                    <a:lnTo>
                      <a:pt x="319" y="109"/>
                    </a:lnTo>
                    <a:lnTo>
                      <a:pt x="317" y="107"/>
                    </a:lnTo>
                    <a:lnTo>
                      <a:pt x="317" y="109"/>
                    </a:lnTo>
                    <a:lnTo>
                      <a:pt x="315" y="109"/>
                    </a:lnTo>
                    <a:lnTo>
                      <a:pt x="315" y="107"/>
                    </a:lnTo>
                    <a:lnTo>
                      <a:pt x="314" y="105"/>
                    </a:lnTo>
                    <a:lnTo>
                      <a:pt x="314" y="103"/>
                    </a:lnTo>
                    <a:lnTo>
                      <a:pt x="312" y="103"/>
                    </a:lnTo>
                    <a:lnTo>
                      <a:pt x="314" y="102"/>
                    </a:lnTo>
                    <a:lnTo>
                      <a:pt x="314" y="100"/>
                    </a:lnTo>
                    <a:lnTo>
                      <a:pt x="314" y="98"/>
                    </a:lnTo>
                    <a:lnTo>
                      <a:pt x="315" y="98"/>
                    </a:lnTo>
                    <a:lnTo>
                      <a:pt x="315" y="96"/>
                    </a:lnTo>
                    <a:lnTo>
                      <a:pt x="315" y="94"/>
                    </a:lnTo>
                    <a:lnTo>
                      <a:pt x="315" y="92"/>
                    </a:lnTo>
                    <a:lnTo>
                      <a:pt x="317" y="92"/>
                    </a:lnTo>
                    <a:lnTo>
                      <a:pt x="317" y="90"/>
                    </a:lnTo>
                    <a:lnTo>
                      <a:pt x="315" y="90"/>
                    </a:lnTo>
                    <a:lnTo>
                      <a:pt x="315" y="88"/>
                    </a:lnTo>
                    <a:lnTo>
                      <a:pt x="314" y="88"/>
                    </a:lnTo>
                    <a:lnTo>
                      <a:pt x="314" y="86"/>
                    </a:lnTo>
                    <a:lnTo>
                      <a:pt x="315" y="86"/>
                    </a:lnTo>
                    <a:lnTo>
                      <a:pt x="317" y="86"/>
                    </a:lnTo>
                    <a:lnTo>
                      <a:pt x="319" y="86"/>
                    </a:lnTo>
                    <a:lnTo>
                      <a:pt x="319" y="84"/>
                    </a:lnTo>
                    <a:lnTo>
                      <a:pt x="321" y="84"/>
                    </a:lnTo>
                    <a:lnTo>
                      <a:pt x="323" y="84"/>
                    </a:lnTo>
                    <a:lnTo>
                      <a:pt x="323" y="82"/>
                    </a:lnTo>
                    <a:lnTo>
                      <a:pt x="323" y="80"/>
                    </a:lnTo>
                    <a:lnTo>
                      <a:pt x="325" y="80"/>
                    </a:lnTo>
                    <a:lnTo>
                      <a:pt x="325" y="82"/>
                    </a:lnTo>
                    <a:lnTo>
                      <a:pt x="327" y="82"/>
                    </a:lnTo>
                    <a:lnTo>
                      <a:pt x="327" y="80"/>
                    </a:lnTo>
                    <a:lnTo>
                      <a:pt x="327" y="78"/>
                    </a:lnTo>
                    <a:lnTo>
                      <a:pt x="329" y="77"/>
                    </a:lnTo>
                    <a:lnTo>
                      <a:pt x="329" y="78"/>
                    </a:lnTo>
                    <a:lnTo>
                      <a:pt x="331" y="78"/>
                    </a:lnTo>
                    <a:lnTo>
                      <a:pt x="333" y="78"/>
                    </a:lnTo>
                    <a:lnTo>
                      <a:pt x="333" y="77"/>
                    </a:lnTo>
                    <a:lnTo>
                      <a:pt x="335" y="77"/>
                    </a:lnTo>
                    <a:lnTo>
                      <a:pt x="335" y="75"/>
                    </a:lnTo>
                    <a:lnTo>
                      <a:pt x="335" y="73"/>
                    </a:lnTo>
                    <a:lnTo>
                      <a:pt x="337" y="73"/>
                    </a:lnTo>
                    <a:lnTo>
                      <a:pt x="339" y="73"/>
                    </a:lnTo>
                    <a:lnTo>
                      <a:pt x="339" y="71"/>
                    </a:lnTo>
                    <a:lnTo>
                      <a:pt x="340" y="71"/>
                    </a:lnTo>
                    <a:lnTo>
                      <a:pt x="340" y="73"/>
                    </a:lnTo>
                    <a:lnTo>
                      <a:pt x="342" y="73"/>
                    </a:lnTo>
                    <a:lnTo>
                      <a:pt x="342" y="75"/>
                    </a:lnTo>
                    <a:lnTo>
                      <a:pt x="342" y="73"/>
                    </a:lnTo>
                    <a:lnTo>
                      <a:pt x="344" y="73"/>
                    </a:lnTo>
                    <a:lnTo>
                      <a:pt x="346" y="73"/>
                    </a:lnTo>
                    <a:lnTo>
                      <a:pt x="348" y="73"/>
                    </a:lnTo>
                    <a:lnTo>
                      <a:pt x="348" y="71"/>
                    </a:lnTo>
                    <a:lnTo>
                      <a:pt x="348" y="69"/>
                    </a:lnTo>
                    <a:lnTo>
                      <a:pt x="350" y="69"/>
                    </a:lnTo>
                    <a:lnTo>
                      <a:pt x="350" y="67"/>
                    </a:lnTo>
                    <a:lnTo>
                      <a:pt x="350" y="65"/>
                    </a:lnTo>
                    <a:lnTo>
                      <a:pt x="350" y="63"/>
                    </a:lnTo>
                    <a:lnTo>
                      <a:pt x="350" y="61"/>
                    </a:lnTo>
                    <a:lnTo>
                      <a:pt x="350" y="59"/>
                    </a:lnTo>
                    <a:lnTo>
                      <a:pt x="350" y="57"/>
                    </a:lnTo>
                    <a:lnTo>
                      <a:pt x="352" y="57"/>
                    </a:lnTo>
                    <a:lnTo>
                      <a:pt x="352" y="55"/>
                    </a:lnTo>
                    <a:lnTo>
                      <a:pt x="352" y="53"/>
                    </a:lnTo>
                    <a:lnTo>
                      <a:pt x="354" y="53"/>
                    </a:lnTo>
                    <a:lnTo>
                      <a:pt x="356" y="52"/>
                    </a:lnTo>
                    <a:lnTo>
                      <a:pt x="356" y="53"/>
                    </a:lnTo>
                    <a:lnTo>
                      <a:pt x="358" y="53"/>
                    </a:lnTo>
                    <a:lnTo>
                      <a:pt x="358" y="55"/>
                    </a:lnTo>
                    <a:lnTo>
                      <a:pt x="360" y="55"/>
                    </a:lnTo>
                    <a:lnTo>
                      <a:pt x="360" y="53"/>
                    </a:lnTo>
                    <a:lnTo>
                      <a:pt x="362" y="53"/>
                    </a:lnTo>
                    <a:lnTo>
                      <a:pt x="363" y="53"/>
                    </a:lnTo>
                    <a:lnTo>
                      <a:pt x="365" y="53"/>
                    </a:lnTo>
                    <a:lnTo>
                      <a:pt x="365" y="55"/>
                    </a:lnTo>
                    <a:lnTo>
                      <a:pt x="367" y="55"/>
                    </a:lnTo>
                    <a:lnTo>
                      <a:pt x="369" y="55"/>
                    </a:lnTo>
                    <a:lnTo>
                      <a:pt x="369" y="57"/>
                    </a:lnTo>
                    <a:lnTo>
                      <a:pt x="369" y="59"/>
                    </a:lnTo>
                    <a:lnTo>
                      <a:pt x="371" y="59"/>
                    </a:lnTo>
                    <a:lnTo>
                      <a:pt x="373" y="59"/>
                    </a:lnTo>
                    <a:lnTo>
                      <a:pt x="375" y="59"/>
                    </a:lnTo>
                    <a:lnTo>
                      <a:pt x="375" y="57"/>
                    </a:lnTo>
                    <a:lnTo>
                      <a:pt x="375" y="55"/>
                    </a:lnTo>
                    <a:lnTo>
                      <a:pt x="377" y="55"/>
                    </a:lnTo>
                    <a:lnTo>
                      <a:pt x="379" y="55"/>
                    </a:lnTo>
                    <a:lnTo>
                      <a:pt x="379" y="57"/>
                    </a:lnTo>
                    <a:lnTo>
                      <a:pt x="381" y="57"/>
                    </a:lnTo>
                    <a:lnTo>
                      <a:pt x="383" y="57"/>
                    </a:lnTo>
                    <a:lnTo>
                      <a:pt x="385" y="55"/>
                    </a:lnTo>
                    <a:lnTo>
                      <a:pt x="387" y="55"/>
                    </a:lnTo>
                    <a:lnTo>
                      <a:pt x="387" y="57"/>
                    </a:lnTo>
                    <a:lnTo>
                      <a:pt x="388" y="57"/>
                    </a:lnTo>
                    <a:lnTo>
                      <a:pt x="388" y="59"/>
                    </a:lnTo>
                    <a:lnTo>
                      <a:pt x="388" y="57"/>
                    </a:lnTo>
                    <a:lnTo>
                      <a:pt x="390" y="57"/>
                    </a:lnTo>
                    <a:lnTo>
                      <a:pt x="392" y="55"/>
                    </a:lnTo>
                    <a:lnTo>
                      <a:pt x="392" y="53"/>
                    </a:lnTo>
                    <a:lnTo>
                      <a:pt x="394" y="53"/>
                    </a:lnTo>
                    <a:lnTo>
                      <a:pt x="394" y="52"/>
                    </a:lnTo>
                    <a:lnTo>
                      <a:pt x="396" y="52"/>
                    </a:lnTo>
                    <a:lnTo>
                      <a:pt x="396" y="50"/>
                    </a:lnTo>
                    <a:lnTo>
                      <a:pt x="396" y="48"/>
                    </a:lnTo>
                    <a:lnTo>
                      <a:pt x="394" y="48"/>
                    </a:lnTo>
                    <a:lnTo>
                      <a:pt x="394" y="46"/>
                    </a:lnTo>
                    <a:lnTo>
                      <a:pt x="396" y="46"/>
                    </a:lnTo>
                    <a:lnTo>
                      <a:pt x="396" y="44"/>
                    </a:lnTo>
                    <a:lnTo>
                      <a:pt x="396" y="42"/>
                    </a:lnTo>
                    <a:lnTo>
                      <a:pt x="398" y="40"/>
                    </a:lnTo>
                    <a:lnTo>
                      <a:pt x="398" y="38"/>
                    </a:lnTo>
                    <a:lnTo>
                      <a:pt x="398" y="36"/>
                    </a:lnTo>
                    <a:lnTo>
                      <a:pt x="400" y="34"/>
                    </a:lnTo>
                    <a:lnTo>
                      <a:pt x="400" y="36"/>
                    </a:lnTo>
                    <a:lnTo>
                      <a:pt x="402" y="36"/>
                    </a:lnTo>
                    <a:lnTo>
                      <a:pt x="402" y="38"/>
                    </a:lnTo>
                    <a:lnTo>
                      <a:pt x="402" y="40"/>
                    </a:lnTo>
                    <a:lnTo>
                      <a:pt x="402" y="42"/>
                    </a:lnTo>
                    <a:lnTo>
                      <a:pt x="404" y="42"/>
                    </a:lnTo>
                    <a:lnTo>
                      <a:pt x="406" y="42"/>
                    </a:lnTo>
                    <a:lnTo>
                      <a:pt x="406" y="44"/>
                    </a:lnTo>
                    <a:lnTo>
                      <a:pt x="408" y="44"/>
                    </a:lnTo>
                    <a:lnTo>
                      <a:pt x="408" y="46"/>
                    </a:lnTo>
                    <a:lnTo>
                      <a:pt x="410" y="46"/>
                    </a:lnTo>
                    <a:lnTo>
                      <a:pt x="410" y="48"/>
                    </a:lnTo>
                    <a:lnTo>
                      <a:pt x="412" y="48"/>
                    </a:lnTo>
                    <a:lnTo>
                      <a:pt x="412" y="46"/>
                    </a:lnTo>
                    <a:lnTo>
                      <a:pt x="413" y="46"/>
                    </a:lnTo>
                    <a:lnTo>
                      <a:pt x="413" y="44"/>
                    </a:lnTo>
                    <a:lnTo>
                      <a:pt x="413" y="46"/>
                    </a:lnTo>
                    <a:lnTo>
                      <a:pt x="415" y="46"/>
                    </a:lnTo>
                    <a:lnTo>
                      <a:pt x="415" y="44"/>
                    </a:lnTo>
                    <a:lnTo>
                      <a:pt x="417" y="46"/>
                    </a:lnTo>
                    <a:lnTo>
                      <a:pt x="417" y="44"/>
                    </a:lnTo>
                    <a:lnTo>
                      <a:pt x="419" y="44"/>
                    </a:lnTo>
                    <a:lnTo>
                      <a:pt x="419" y="46"/>
                    </a:lnTo>
                    <a:lnTo>
                      <a:pt x="421" y="46"/>
                    </a:lnTo>
                    <a:lnTo>
                      <a:pt x="423" y="48"/>
                    </a:lnTo>
                    <a:lnTo>
                      <a:pt x="423" y="50"/>
                    </a:lnTo>
                    <a:lnTo>
                      <a:pt x="425" y="50"/>
                    </a:lnTo>
                    <a:lnTo>
                      <a:pt x="425" y="48"/>
                    </a:lnTo>
                    <a:lnTo>
                      <a:pt x="427" y="48"/>
                    </a:lnTo>
                    <a:lnTo>
                      <a:pt x="429" y="48"/>
                    </a:lnTo>
                    <a:lnTo>
                      <a:pt x="431" y="48"/>
                    </a:lnTo>
                    <a:lnTo>
                      <a:pt x="431" y="46"/>
                    </a:lnTo>
                    <a:lnTo>
                      <a:pt x="433" y="44"/>
                    </a:lnTo>
                    <a:lnTo>
                      <a:pt x="433" y="42"/>
                    </a:lnTo>
                    <a:lnTo>
                      <a:pt x="435" y="42"/>
                    </a:lnTo>
                    <a:lnTo>
                      <a:pt x="435" y="40"/>
                    </a:lnTo>
                    <a:lnTo>
                      <a:pt x="435" y="42"/>
                    </a:lnTo>
                    <a:lnTo>
                      <a:pt x="436" y="40"/>
                    </a:lnTo>
                    <a:lnTo>
                      <a:pt x="438" y="40"/>
                    </a:lnTo>
                    <a:lnTo>
                      <a:pt x="440" y="40"/>
                    </a:lnTo>
                    <a:lnTo>
                      <a:pt x="440" y="42"/>
                    </a:lnTo>
                    <a:lnTo>
                      <a:pt x="440" y="44"/>
                    </a:lnTo>
                    <a:lnTo>
                      <a:pt x="438" y="44"/>
                    </a:lnTo>
                    <a:lnTo>
                      <a:pt x="438" y="46"/>
                    </a:lnTo>
                    <a:lnTo>
                      <a:pt x="438" y="48"/>
                    </a:lnTo>
                    <a:lnTo>
                      <a:pt x="440" y="48"/>
                    </a:lnTo>
                    <a:lnTo>
                      <a:pt x="440" y="50"/>
                    </a:lnTo>
                    <a:lnTo>
                      <a:pt x="440" y="52"/>
                    </a:lnTo>
                    <a:lnTo>
                      <a:pt x="442" y="52"/>
                    </a:lnTo>
                    <a:lnTo>
                      <a:pt x="440" y="52"/>
                    </a:lnTo>
                    <a:lnTo>
                      <a:pt x="442" y="52"/>
                    </a:lnTo>
                    <a:lnTo>
                      <a:pt x="442" y="53"/>
                    </a:lnTo>
                    <a:lnTo>
                      <a:pt x="444" y="53"/>
                    </a:lnTo>
                    <a:lnTo>
                      <a:pt x="444" y="55"/>
                    </a:lnTo>
                    <a:lnTo>
                      <a:pt x="446" y="55"/>
                    </a:lnTo>
                    <a:lnTo>
                      <a:pt x="446" y="57"/>
                    </a:lnTo>
                    <a:lnTo>
                      <a:pt x="448" y="57"/>
                    </a:lnTo>
                    <a:lnTo>
                      <a:pt x="450" y="57"/>
                    </a:lnTo>
                    <a:lnTo>
                      <a:pt x="450" y="55"/>
                    </a:lnTo>
                    <a:lnTo>
                      <a:pt x="452" y="55"/>
                    </a:lnTo>
                    <a:lnTo>
                      <a:pt x="452" y="57"/>
                    </a:lnTo>
                    <a:lnTo>
                      <a:pt x="454" y="55"/>
                    </a:lnTo>
                    <a:lnTo>
                      <a:pt x="454" y="57"/>
                    </a:lnTo>
                    <a:lnTo>
                      <a:pt x="456" y="57"/>
                    </a:lnTo>
                    <a:lnTo>
                      <a:pt x="456" y="59"/>
                    </a:lnTo>
                    <a:lnTo>
                      <a:pt x="458" y="59"/>
                    </a:lnTo>
                    <a:lnTo>
                      <a:pt x="458" y="57"/>
                    </a:lnTo>
                    <a:lnTo>
                      <a:pt x="460" y="57"/>
                    </a:lnTo>
                    <a:lnTo>
                      <a:pt x="461" y="57"/>
                    </a:lnTo>
                    <a:lnTo>
                      <a:pt x="461" y="59"/>
                    </a:lnTo>
                    <a:lnTo>
                      <a:pt x="463" y="57"/>
                    </a:lnTo>
                    <a:lnTo>
                      <a:pt x="465" y="57"/>
                    </a:lnTo>
                    <a:lnTo>
                      <a:pt x="465" y="55"/>
                    </a:lnTo>
                    <a:lnTo>
                      <a:pt x="465" y="53"/>
                    </a:lnTo>
                    <a:lnTo>
                      <a:pt x="467" y="53"/>
                    </a:lnTo>
                    <a:lnTo>
                      <a:pt x="469" y="53"/>
                    </a:lnTo>
                    <a:lnTo>
                      <a:pt x="471" y="53"/>
                    </a:lnTo>
                    <a:lnTo>
                      <a:pt x="471" y="55"/>
                    </a:lnTo>
                    <a:lnTo>
                      <a:pt x="473" y="55"/>
                    </a:lnTo>
                    <a:lnTo>
                      <a:pt x="473" y="57"/>
                    </a:lnTo>
                    <a:lnTo>
                      <a:pt x="475" y="57"/>
                    </a:lnTo>
                    <a:lnTo>
                      <a:pt x="477" y="57"/>
                    </a:lnTo>
                    <a:lnTo>
                      <a:pt x="479" y="59"/>
                    </a:lnTo>
                    <a:lnTo>
                      <a:pt x="477" y="59"/>
                    </a:lnTo>
                    <a:lnTo>
                      <a:pt x="479" y="59"/>
                    </a:lnTo>
                    <a:lnTo>
                      <a:pt x="479" y="61"/>
                    </a:lnTo>
                    <a:lnTo>
                      <a:pt x="481" y="63"/>
                    </a:lnTo>
                    <a:lnTo>
                      <a:pt x="481" y="61"/>
                    </a:lnTo>
                    <a:lnTo>
                      <a:pt x="483" y="61"/>
                    </a:lnTo>
                    <a:lnTo>
                      <a:pt x="485" y="59"/>
                    </a:lnTo>
                    <a:lnTo>
                      <a:pt x="483" y="59"/>
                    </a:lnTo>
                    <a:lnTo>
                      <a:pt x="483" y="57"/>
                    </a:lnTo>
                    <a:lnTo>
                      <a:pt x="485" y="57"/>
                    </a:lnTo>
                    <a:lnTo>
                      <a:pt x="485" y="55"/>
                    </a:lnTo>
                    <a:lnTo>
                      <a:pt x="486" y="55"/>
                    </a:lnTo>
                    <a:lnTo>
                      <a:pt x="486" y="53"/>
                    </a:lnTo>
                    <a:lnTo>
                      <a:pt x="486" y="52"/>
                    </a:lnTo>
                    <a:lnTo>
                      <a:pt x="486" y="50"/>
                    </a:lnTo>
                    <a:lnTo>
                      <a:pt x="488" y="48"/>
                    </a:lnTo>
                    <a:lnTo>
                      <a:pt x="488" y="50"/>
                    </a:lnTo>
                    <a:lnTo>
                      <a:pt x="490" y="50"/>
                    </a:lnTo>
                    <a:lnTo>
                      <a:pt x="492" y="48"/>
                    </a:lnTo>
                    <a:lnTo>
                      <a:pt x="492" y="50"/>
                    </a:lnTo>
                    <a:lnTo>
                      <a:pt x="494" y="50"/>
                    </a:lnTo>
                    <a:lnTo>
                      <a:pt x="494" y="48"/>
                    </a:lnTo>
                    <a:lnTo>
                      <a:pt x="494" y="50"/>
                    </a:lnTo>
                    <a:lnTo>
                      <a:pt x="496" y="50"/>
                    </a:lnTo>
                    <a:lnTo>
                      <a:pt x="498" y="50"/>
                    </a:lnTo>
                    <a:lnTo>
                      <a:pt x="500" y="48"/>
                    </a:lnTo>
                    <a:lnTo>
                      <a:pt x="498" y="48"/>
                    </a:lnTo>
                    <a:lnTo>
                      <a:pt x="498" y="46"/>
                    </a:lnTo>
                    <a:lnTo>
                      <a:pt x="500" y="48"/>
                    </a:lnTo>
                    <a:lnTo>
                      <a:pt x="500" y="46"/>
                    </a:lnTo>
                    <a:lnTo>
                      <a:pt x="502" y="46"/>
                    </a:lnTo>
                    <a:lnTo>
                      <a:pt x="502" y="48"/>
                    </a:lnTo>
                    <a:lnTo>
                      <a:pt x="504" y="46"/>
                    </a:lnTo>
                    <a:lnTo>
                      <a:pt x="506" y="46"/>
                    </a:lnTo>
                    <a:lnTo>
                      <a:pt x="508" y="46"/>
                    </a:lnTo>
                    <a:lnTo>
                      <a:pt x="508" y="44"/>
                    </a:lnTo>
                    <a:lnTo>
                      <a:pt x="508" y="42"/>
                    </a:lnTo>
                    <a:lnTo>
                      <a:pt x="508" y="40"/>
                    </a:lnTo>
                    <a:lnTo>
                      <a:pt x="508" y="38"/>
                    </a:lnTo>
                    <a:lnTo>
                      <a:pt x="508" y="36"/>
                    </a:lnTo>
                    <a:lnTo>
                      <a:pt x="508" y="34"/>
                    </a:lnTo>
                    <a:lnTo>
                      <a:pt x="509" y="32"/>
                    </a:lnTo>
                    <a:lnTo>
                      <a:pt x="509" y="30"/>
                    </a:lnTo>
                    <a:lnTo>
                      <a:pt x="509" y="28"/>
                    </a:lnTo>
                    <a:lnTo>
                      <a:pt x="509" y="27"/>
                    </a:lnTo>
                    <a:lnTo>
                      <a:pt x="511" y="27"/>
                    </a:lnTo>
                    <a:lnTo>
                      <a:pt x="511" y="25"/>
                    </a:lnTo>
                    <a:lnTo>
                      <a:pt x="513" y="25"/>
                    </a:lnTo>
                    <a:lnTo>
                      <a:pt x="513" y="23"/>
                    </a:lnTo>
                    <a:lnTo>
                      <a:pt x="511" y="23"/>
                    </a:lnTo>
                    <a:lnTo>
                      <a:pt x="509" y="21"/>
                    </a:lnTo>
                    <a:lnTo>
                      <a:pt x="509" y="19"/>
                    </a:lnTo>
                    <a:lnTo>
                      <a:pt x="511" y="19"/>
                    </a:lnTo>
                    <a:lnTo>
                      <a:pt x="509" y="17"/>
                    </a:lnTo>
                    <a:lnTo>
                      <a:pt x="511" y="17"/>
                    </a:lnTo>
                    <a:lnTo>
                      <a:pt x="511" y="15"/>
                    </a:lnTo>
                    <a:lnTo>
                      <a:pt x="513" y="15"/>
                    </a:lnTo>
                    <a:lnTo>
                      <a:pt x="515" y="15"/>
                    </a:lnTo>
                    <a:lnTo>
                      <a:pt x="515" y="13"/>
                    </a:lnTo>
                    <a:lnTo>
                      <a:pt x="517" y="13"/>
                    </a:lnTo>
                    <a:lnTo>
                      <a:pt x="517" y="15"/>
                    </a:lnTo>
                    <a:lnTo>
                      <a:pt x="519" y="15"/>
                    </a:lnTo>
                    <a:lnTo>
                      <a:pt x="521" y="13"/>
                    </a:lnTo>
                    <a:lnTo>
                      <a:pt x="523" y="13"/>
                    </a:lnTo>
                    <a:lnTo>
                      <a:pt x="525" y="13"/>
                    </a:lnTo>
                    <a:lnTo>
                      <a:pt x="525" y="11"/>
                    </a:lnTo>
                    <a:lnTo>
                      <a:pt x="527" y="11"/>
                    </a:lnTo>
                    <a:lnTo>
                      <a:pt x="527" y="9"/>
                    </a:lnTo>
                    <a:lnTo>
                      <a:pt x="529" y="9"/>
                    </a:lnTo>
                    <a:lnTo>
                      <a:pt x="529" y="11"/>
                    </a:lnTo>
                    <a:lnTo>
                      <a:pt x="531" y="9"/>
                    </a:lnTo>
                    <a:lnTo>
                      <a:pt x="531" y="7"/>
                    </a:lnTo>
                    <a:lnTo>
                      <a:pt x="533" y="5"/>
                    </a:lnTo>
                    <a:lnTo>
                      <a:pt x="531" y="5"/>
                    </a:lnTo>
                    <a:lnTo>
                      <a:pt x="531" y="3"/>
                    </a:lnTo>
                    <a:lnTo>
                      <a:pt x="533" y="3"/>
                    </a:lnTo>
                    <a:lnTo>
                      <a:pt x="533" y="2"/>
                    </a:lnTo>
                    <a:lnTo>
                      <a:pt x="534" y="2"/>
                    </a:lnTo>
                    <a:lnTo>
                      <a:pt x="536" y="2"/>
                    </a:lnTo>
                    <a:lnTo>
                      <a:pt x="536" y="0"/>
                    </a:lnTo>
                    <a:lnTo>
                      <a:pt x="538" y="0"/>
                    </a:lnTo>
                    <a:lnTo>
                      <a:pt x="538" y="2"/>
                    </a:lnTo>
                    <a:lnTo>
                      <a:pt x="540" y="2"/>
                    </a:lnTo>
                    <a:lnTo>
                      <a:pt x="540" y="0"/>
                    </a:lnTo>
                    <a:lnTo>
                      <a:pt x="542" y="0"/>
                    </a:lnTo>
                    <a:lnTo>
                      <a:pt x="544" y="0"/>
                    </a:lnTo>
                    <a:lnTo>
                      <a:pt x="544" y="2"/>
                    </a:lnTo>
                    <a:lnTo>
                      <a:pt x="544" y="3"/>
                    </a:lnTo>
                    <a:lnTo>
                      <a:pt x="546" y="3"/>
                    </a:lnTo>
                    <a:lnTo>
                      <a:pt x="546" y="5"/>
                    </a:lnTo>
                    <a:lnTo>
                      <a:pt x="548" y="5"/>
                    </a:lnTo>
                    <a:lnTo>
                      <a:pt x="548" y="7"/>
                    </a:lnTo>
                    <a:lnTo>
                      <a:pt x="546" y="7"/>
                    </a:lnTo>
                    <a:lnTo>
                      <a:pt x="546" y="9"/>
                    </a:lnTo>
                    <a:lnTo>
                      <a:pt x="544" y="7"/>
                    </a:lnTo>
                    <a:lnTo>
                      <a:pt x="544" y="9"/>
                    </a:lnTo>
                    <a:lnTo>
                      <a:pt x="544" y="11"/>
                    </a:lnTo>
                    <a:lnTo>
                      <a:pt x="542" y="11"/>
                    </a:lnTo>
                    <a:lnTo>
                      <a:pt x="542" y="13"/>
                    </a:lnTo>
                    <a:lnTo>
                      <a:pt x="540" y="13"/>
                    </a:lnTo>
                    <a:lnTo>
                      <a:pt x="540" y="15"/>
                    </a:lnTo>
                    <a:lnTo>
                      <a:pt x="538" y="15"/>
                    </a:lnTo>
                    <a:lnTo>
                      <a:pt x="538" y="17"/>
                    </a:lnTo>
                    <a:lnTo>
                      <a:pt x="536" y="17"/>
                    </a:lnTo>
                    <a:lnTo>
                      <a:pt x="536" y="19"/>
                    </a:lnTo>
                    <a:lnTo>
                      <a:pt x="534" y="19"/>
                    </a:lnTo>
                    <a:lnTo>
                      <a:pt x="534" y="2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09" name="Freeform 89"/>
              <p:cNvSpPr>
                <a:spLocks/>
              </p:cNvSpPr>
              <p:nvPr/>
            </p:nvSpPr>
            <p:spPr bwMode="auto">
              <a:xfrm>
                <a:off x="501706" y="3834198"/>
                <a:ext cx="239168" cy="473172"/>
              </a:xfrm>
              <a:custGeom>
                <a:avLst/>
                <a:gdLst>
                  <a:gd name="T0" fmla="*/ 137 w 139"/>
                  <a:gd name="T1" fmla="*/ 45 h 275"/>
                  <a:gd name="T2" fmla="*/ 133 w 139"/>
                  <a:gd name="T3" fmla="*/ 43 h 275"/>
                  <a:gd name="T4" fmla="*/ 125 w 139"/>
                  <a:gd name="T5" fmla="*/ 47 h 275"/>
                  <a:gd name="T6" fmla="*/ 117 w 139"/>
                  <a:gd name="T7" fmla="*/ 50 h 275"/>
                  <a:gd name="T8" fmla="*/ 121 w 139"/>
                  <a:gd name="T9" fmla="*/ 54 h 275"/>
                  <a:gd name="T10" fmla="*/ 123 w 139"/>
                  <a:gd name="T11" fmla="*/ 62 h 275"/>
                  <a:gd name="T12" fmla="*/ 123 w 139"/>
                  <a:gd name="T13" fmla="*/ 70 h 275"/>
                  <a:gd name="T14" fmla="*/ 125 w 139"/>
                  <a:gd name="T15" fmla="*/ 75 h 275"/>
                  <a:gd name="T16" fmla="*/ 125 w 139"/>
                  <a:gd name="T17" fmla="*/ 93 h 275"/>
                  <a:gd name="T18" fmla="*/ 125 w 139"/>
                  <a:gd name="T19" fmla="*/ 104 h 275"/>
                  <a:gd name="T20" fmla="*/ 127 w 139"/>
                  <a:gd name="T21" fmla="*/ 104 h 275"/>
                  <a:gd name="T22" fmla="*/ 131 w 139"/>
                  <a:gd name="T23" fmla="*/ 104 h 275"/>
                  <a:gd name="T24" fmla="*/ 129 w 139"/>
                  <a:gd name="T25" fmla="*/ 110 h 275"/>
                  <a:gd name="T26" fmla="*/ 119 w 139"/>
                  <a:gd name="T27" fmla="*/ 122 h 275"/>
                  <a:gd name="T28" fmla="*/ 108 w 139"/>
                  <a:gd name="T29" fmla="*/ 141 h 275"/>
                  <a:gd name="T30" fmla="*/ 98 w 139"/>
                  <a:gd name="T31" fmla="*/ 158 h 275"/>
                  <a:gd name="T32" fmla="*/ 100 w 139"/>
                  <a:gd name="T33" fmla="*/ 173 h 275"/>
                  <a:gd name="T34" fmla="*/ 94 w 139"/>
                  <a:gd name="T35" fmla="*/ 187 h 275"/>
                  <a:gd name="T36" fmla="*/ 96 w 139"/>
                  <a:gd name="T37" fmla="*/ 204 h 275"/>
                  <a:gd name="T38" fmla="*/ 98 w 139"/>
                  <a:gd name="T39" fmla="*/ 225 h 275"/>
                  <a:gd name="T40" fmla="*/ 98 w 139"/>
                  <a:gd name="T41" fmla="*/ 243 h 275"/>
                  <a:gd name="T42" fmla="*/ 98 w 139"/>
                  <a:gd name="T43" fmla="*/ 254 h 275"/>
                  <a:gd name="T44" fmla="*/ 83 w 139"/>
                  <a:gd name="T45" fmla="*/ 262 h 275"/>
                  <a:gd name="T46" fmla="*/ 69 w 139"/>
                  <a:gd name="T47" fmla="*/ 264 h 275"/>
                  <a:gd name="T48" fmla="*/ 56 w 139"/>
                  <a:gd name="T49" fmla="*/ 273 h 275"/>
                  <a:gd name="T50" fmla="*/ 44 w 139"/>
                  <a:gd name="T51" fmla="*/ 270 h 275"/>
                  <a:gd name="T52" fmla="*/ 37 w 139"/>
                  <a:gd name="T53" fmla="*/ 262 h 275"/>
                  <a:gd name="T54" fmla="*/ 37 w 139"/>
                  <a:gd name="T55" fmla="*/ 248 h 275"/>
                  <a:gd name="T56" fmla="*/ 33 w 139"/>
                  <a:gd name="T57" fmla="*/ 233 h 275"/>
                  <a:gd name="T58" fmla="*/ 33 w 139"/>
                  <a:gd name="T59" fmla="*/ 222 h 275"/>
                  <a:gd name="T60" fmla="*/ 29 w 139"/>
                  <a:gd name="T61" fmla="*/ 214 h 275"/>
                  <a:gd name="T62" fmla="*/ 21 w 139"/>
                  <a:gd name="T63" fmla="*/ 206 h 275"/>
                  <a:gd name="T64" fmla="*/ 16 w 139"/>
                  <a:gd name="T65" fmla="*/ 193 h 275"/>
                  <a:gd name="T66" fmla="*/ 12 w 139"/>
                  <a:gd name="T67" fmla="*/ 187 h 275"/>
                  <a:gd name="T68" fmla="*/ 8 w 139"/>
                  <a:gd name="T69" fmla="*/ 179 h 275"/>
                  <a:gd name="T70" fmla="*/ 2 w 139"/>
                  <a:gd name="T71" fmla="*/ 166 h 275"/>
                  <a:gd name="T72" fmla="*/ 14 w 139"/>
                  <a:gd name="T73" fmla="*/ 160 h 275"/>
                  <a:gd name="T74" fmla="*/ 25 w 139"/>
                  <a:gd name="T75" fmla="*/ 150 h 275"/>
                  <a:gd name="T76" fmla="*/ 35 w 139"/>
                  <a:gd name="T77" fmla="*/ 147 h 275"/>
                  <a:gd name="T78" fmla="*/ 43 w 139"/>
                  <a:gd name="T79" fmla="*/ 141 h 275"/>
                  <a:gd name="T80" fmla="*/ 50 w 139"/>
                  <a:gd name="T81" fmla="*/ 143 h 275"/>
                  <a:gd name="T82" fmla="*/ 60 w 139"/>
                  <a:gd name="T83" fmla="*/ 141 h 275"/>
                  <a:gd name="T84" fmla="*/ 60 w 139"/>
                  <a:gd name="T85" fmla="*/ 131 h 275"/>
                  <a:gd name="T86" fmla="*/ 66 w 139"/>
                  <a:gd name="T87" fmla="*/ 120 h 275"/>
                  <a:gd name="T88" fmla="*/ 69 w 139"/>
                  <a:gd name="T89" fmla="*/ 106 h 275"/>
                  <a:gd name="T90" fmla="*/ 79 w 139"/>
                  <a:gd name="T91" fmla="*/ 97 h 275"/>
                  <a:gd name="T92" fmla="*/ 92 w 139"/>
                  <a:gd name="T93" fmla="*/ 91 h 275"/>
                  <a:gd name="T94" fmla="*/ 89 w 139"/>
                  <a:gd name="T95" fmla="*/ 83 h 275"/>
                  <a:gd name="T96" fmla="*/ 87 w 139"/>
                  <a:gd name="T97" fmla="*/ 73 h 275"/>
                  <a:gd name="T98" fmla="*/ 71 w 139"/>
                  <a:gd name="T99" fmla="*/ 73 h 275"/>
                  <a:gd name="T100" fmla="*/ 66 w 139"/>
                  <a:gd name="T101" fmla="*/ 66 h 275"/>
                  <a:gd name="T102" fmla="*/ 58 w 139"/>
                  <a:gd name="T103" fmla="*/ 43 h 275"/>
                  <a:gd name="T104" fmla="*/ 62 w 139"/>
                  <a:gd name="T105" fmla="*/ 37 h 275"/>
                  <a:gd name="T106" fmla="*/ 64 w 139"/>
                  <a:gd name="T107" fmla="*/ 24 h 275"/>
                  <a:gd name="T108" fmla="*/ 77 w 139"/>
                  <a:gd name="T109" fmla="*/ 18 h 275"/>
                  <a:gd name="T110" fmla="*/ 104 w 139"/>
                  <a:gd name="T111" fmla="*/ 4 h 275"/>
                  <a:gd name="T112" fmla="*/ 116 w 139"/>
                  <a:gd name="T113" fmla="*/ 14 h 275"/>
                  <a:gd name="T114" fmla="*/ 129 w 139"/>
                  <a:gd name="T115" fmla="*/ 31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 h="275">
                    <a:moveTo>
                      <a:pt x="137" y="39"/>
                    </a:moveTo>
                    <a:lnTo>
                      <a:pt x="137" y="41"/>
                    </a:lnTo>
                    <a:lnTo>
                      <a:pt x="135" y="41"/>
                    </a:lnTo>
                    <a:lnTo>
                      <a:pt x="137" y="41"/>
                    </a:lnTo>
                    <a:lnTo>
                      <a:pt x="137" y="43"/>
                    </a:lnTo>
                    <a:lnTo>
                      <a:pt x="139" y="43"/>
                    </a:lnTo>
                    <a:lnTo>
                      <a:pt x="137" y="43"/>
                    </a:lnTo>
                    <a:lnTo>
                      <a:pt x="139" y="43"/>
                    </a:lnTo>
                    <a:lnTo>
                      <a:pt x="137" y="43"/>
                    </a:lnTo>
                    <a:lnTo>
                      <a:pt x="137" y="45"/>
                    </a:lnTo>
                    <a:lnTo>
                      <a:pt x="137" y="47"/>
                    </a:lnTo>
                    <a:lnTo>
                      <a:pt x="135" y="47"/>
                    </a:lnTo>
                    <a:lnTo>
                      <a:pt x="135" y="48"/>
                    </a:lnTo>
                    <a:lnTo>
                      <a:pt x="135" y="47"/>
                    </a:lnTo>
                    <a:lnTo>
                      <a:pt x="133" y="47"/>
                    </a:lnTo>
                    <a:lnTo>
                      <a:pt x="135" y="45"/>
                    </a:lnTo>
                    <a:lnTo>
                      <a:pt x="133" y="45"/>
                    </a:lnTo>
                    <a:lnTo>
                      <a:pt x="133" y="43"/>
                    </a:lnTo>
                    <a:lnTo>
                      <a:pt x="133" y="45"/>
                    </a:lnTo>
                    <a:lnTo>
                      <a:pt x="133" y="43"/>
                    </a:lnTo>
                    <a:lnTo>
                      <a:pt x="133" y="45"/>
                    </a:lnTo>
                    <a:lnTo>
                      <a:pt x="131" y="45"/>
                    </a:lnTo>
                    <a:lnTo>
                      <a:pt x="129" y="45"/>
                    </a:lnTo>
                    <a:lnTo>
                      <a:pt x="129" y="43"/>
                    </a:lnTo>
                    <a:lnTo>
                      <a:pt x="127" y="43"/>
                    </a:lnTo>
                    <a:lnTo>
                      <a:pt x="127" y="45"/>
                    </a:lnTo>
                    <a:lnTo>
                      <a:pt x="125" y="45"/>
                    </a:lnTo>
                    <a:lnTo>
                      <a:pt x="127" y="45"/>
                    </a:lnTo>
                    <a:lnTo>
                      <a:pt x="125" y="45"/>
                    </a:lnTo>
                    <a:lnTo>
                      <a:pt x="125" y="47"/>
                    </a:lnTo>
                    <a:lnTo>
                      <a:pt x="125" y="48"/>
                    </a:lnTo>
                    <a:lnTo>
                      <a:pt x="125" y="50"/>
                    </a:lnTo>
                    <a:lnTo>
                      <a:pt x="125" y="52"/>
                    </a:lnTo>
                    <a:lnTo>
                      <a:pt x="125" y="54"/>
                    </a:lnTo>
                    <a:lnTo>
                      <a:pt x="123" y="54"/>
                    </a:lnTo>
                    <a:lnTo>
                      <a:pt x="121" y="54"/>
                    </a:lnTo>
                    <a:lnTo>
                      <a:pt x="121" y="52"/>
                    </a:lnTo>
                    <a:lnTo>
                      <a:pt x="119" y="52"/>
                    </a:lnTo>
                    <a:lnTo>
                      <a:pt x="119" y="50"/>
                    </a:lnTo>
                    <a:lnTo>
                      <a:pt x="117" y="50"/>
                    </a:lnTo>
                    <a:lnTo>
                      <a:pt x="117" y="52"/>
                    </a:lnTo>
                    <a:lnTo>
                      <a:pt x="119" y="52"/>
                    </a:lnTo>
                    <a:lnTo>
                      <a:pt x="119" y="54"/>
                    </a:lnTo>
                    <a:lnTo>
                      <a:pt x="117" y="54"/>
                    </a:lnTo>
                    <a:lnTo>
                      <a:pt x="119" y="54"/>
                    </a:lnTo>
                    <a:lnTo>
                      <a:pt x="119" y="56"/>
                    </a:lnTo>
                    <a:lnTo>
                      <a:pt x="119" y="54"/>
                    </a:lnTo>
                    <a:lnTo>
                      <a:pt x="119" y="56"/>
                    </a:lnTo>
                    <a:lnTo>
                      <a:pt x="121" y="56"/>
                    </a:lnTo>
                    <a:lnTo>
                      <a:pt x="121" y="54"/>
                    </a:lnTo>
                    <a:lnTo>
                      <a:pt x="121" y="56"/>
                    </a:lnTo>
                    <a:lnTo>
                      <a:pt x="121" y="54"/>
                    </a:lnTo>
                    <a:lnTo>
                      <a:pt x="123" y="56"/>
                    </a:lnTo>
                    <a:lnTo>
                      <a:pt x="123" y="58"/>
                    </a:lnTo>
                    <a:lnTo>
                      <a:pt x="123" y="60"/>
                    </a:lnTo>
                    <a:lnTo>
                      <a:pt x="121" y="60"/>
                    </a:lnTo>
                    <a:lnTo>
                      <a:pt x="123" y="60"/>
                    </a:lnTo>
                    <a:lnTo>
                      <a:pt x="123" y="62"/>
                    </a:lnTo>
                    <a:lnTo>
                      <a:pt x="121" y="62"/>
                    </a:lnTo>
                    <a:lnTo>
                      <a:pt x="123" y="62"/>
                    </a:lnTo>
                    <a:lnTo>
                      <a:pt x="123" y="64"/>
                    </a:lnTo>
                    <a:lnTo>
                      <a:pt x="125" y="64"/>
                    </a:lnTo>
                    <a:lnTo>
                      <a:pt x="125" y="66"/>
                    </a:lnTo>
                    <a:lnTo>
                      <a:pt x="123" y="66"/>
                    </a:lnTo>
                    <a:lnTo>
                      <a:pt x="125" y="66"/>
                    </a:lnTo>
                    <a:lnTo>
                      <a:pt x="123" y="66"/>
                    </a:lnTo>
                    <a:lnTo>
                      <a:pt x="123" y="68"/>
                    </a:lnTo>
                    <a:lnTo>
                      <a:pt x="123" y="66"/>
                    </a:lnTo>
                    <a:lnTo>
                      <a:pt x="123" y="68"/>
                    </a:lnTo>
                    <a:lnTo>
                      <a:pt x="123" y="70"/>
                    </a:lnTo>
                    <a:lnTo>
                      <a:pt x="123" y="72"/>
                    </a:lnTo>
                    <a:lnTo>
                      <a:pt x="123" y="70"/>
                    </a:lnTo>
                    <a:lnTo>
                      <a:pt x="123" y="72"/>
                    </a:lnTo>
                    <a:lnTo>
                      <a:pt x="123" y="73"/>
                    </a:lnTo>
                    <a:lnTo>
                      <a:pt x="123" y="72"/>
                    </a:lnTo>
                    <a:lnTo>
                      <a:pt x="123" y="73"/>
                    </a:lnTo>
                    <a:lnTo>
                      <a:pt x="123" y="75"/>
                    </a:lnTo>
                    <a:lnTo>
                      <a:pt x="123" y="77"/>
                    </a:lnTo>
                    <a:lnTo>
                      <a:pt x="125" y="77"/>
                    </a:lnTo>
                    <a:lnTo>
                      <a:pt x="125" y="75"/>
                    </a:lnTo>
                    <a:lnTo>
                      <a:pt x="127" y="75"/>
                    </a:lnTo>
                    <a:lnTo>
                      <a:pt x="127" y="77"/>
                    </a:lnTo>
                    <a:lnTo>
                      <a:pt x="127" y="79"/>
                    </a:lnTo>
                    <a:lnTo>
                      <a:pt x="125" y="81"/>
                    </a:lnTo>
                    <a:lnTo>
                      <a:pt x="125" y="83"/>
                    </a:lnTo>
                    <a:lnTo>
                      <a:pt x="125" y="85"/>
                    </a:lnTo>
                    <a:lnTo>
                      <a:pt x="125" y="87"/>
                    </a:lnTo>
                    <a:lnTo>
                      <a:pt x="125" y="89"/>
                    </a:lnTo>
                    <a:lnTo>
                      <a:pt x="125" y="91"/>
                    </a:lnTo>
                    <a:lnTo>
                      <a:pt x="125" y="93"/>
                    </a:lnTo>
                    <a:lnTo>
                      <a:pt x="125" y="95"/>
                    </a:lnTo>
                    <a:lnTo>
                      <a:pt x="125" y="97"/>
                    </a:lnTo>
                    <a:lnTo>
                      <a:pt x="125" y="98"/>
                    </a:lnTo>
                    <a:lnTo>
                      <a:pt x="123" y="98"/>
                    </a:lnTo>
                    <a:lnTo>
                      <a:pt x="123" y="100"/>
                    </a:lnTo>
                    <a:lnTo>
                      <a:pt x="123" y="102"/>
                    </a:lnTo>
                    <a:lnTo>
                      <a:pt x="125" y="102"/>
                    </a:lnTo>
                    <a:lnTo>
                      <a:pt x="125" y="104"/>
                    </a:lnTo>
                    <a:lnTo>
                      <a:pt x="123" y="104"/>
                    </a:lnTo>
                    <a:lnTo>
                      <a:pt x="125" y="104"/>
                    </a:lnTo>
                    <a:lnTo>
                      <a:pt x="123" y="104"/>
                    </a:lnTo>
                    <a:lnTo>
                      <a:pt x="123" y="106"/>
                    </a:lnTo>
                    <a:lnTo>
                      <a:pt x="125" y="106"/>
                    </a:lnTo>
                    <a:lnTo>
                      <a:pt x="123" y="106"/>
                    </a:lnTo>
                    <a:lnTo>
                      <a:pt x="125" y="106"/>
                    </a:lnTo>
                    <a:lnTo>
                      <a:pt x="125" y="104"/>
                    </a:lnTo>
                    <a:lnTo>
                      <a:pt x="127" y="104"/>
                    </a:lnTo>
                    <a:lnTo>
                      <a:pt x="125" y="106"/>
                    </a:lnTo>
                    <a:lnTo>
                      <a:pt x="127" y="106"/>
                    </a:lnTo>
                    <a:lnTo>
                      <a:pt x="127" y="104"/>
                    </a:lnTo>
                    <a:lnTo>
                      <a:pt x="127" y="106"/>
                    </a:lnTo>
                    <a:lnTo>
                      <a:pt x="125" y="106"/>
                    </a:lnTo>
                    <a:lnTo>
                      <a:pt x="125" y="108"/>
                    </a:lnTo>
                    <a:lnTo>
                      <a:pt x="125" y="106"/>
                    </a:lnTo>
                    <a:lnTo>
                      <a:pt x="127" y="106"/>
                    </a:lnTo>
                    <a:lnTo>
                      <a:pt x="125" y="106"/>
                    </a:lnTo>
                    <a:lnTo>
                      <a:pt x="127" y="106"/>
                    </a:lnTo>
                    <a:lnTo>
                      <a:pt x="127" y="104"/>
                    </a:lnTo>
                    <a:lnTo>
                      <a:pt x="129" y="104"/>
                    </a:lnTo>
                    <a:lnTo>
                      <a:pt x="131" y="104"/>
                    </a:lnTo>
                    <a:lnTo>
                      <a:pt x="133" y="104"/>
                    </a:lnTo>
                    <a:lnTo>
                      <a:pt x="135" y="104"/>
                    </a:lnTo>
                    <a:lnTo>
                      <a:pt x="133" y="104"/>
                    </a:lnTo>
                    <a:lnTo>
                      <a:pt x="135" y="104"/>
                    </a:lnTo>
                    <a:lnTo>
                      <a:pt x="137" y="106"/>
                    </a:lnTo>
                    <a:lnTo>
                      <a:pt x="135" y="106"/>
                    </a:lnTo>
                    <a:lnTo>
                      <a:pt x="133" y="108"/>
                    </a:lnTo>
                    <a:lnTo>
                      <a:pt x="131" y="108"/>
                    </a:lnTo>
                    <a:lnTo>
                      <a:pt x="131" y="110"/>
                    </a:lnTo>
                    <a:lnTo>
                      <a:pt x="129" y="110"/>
                    </a:lnTo>
                    <a:lnTo>
                      <a:pt x="127" y="112"/>
                    </a:lnTo>
                    <a:lnTo>
                      <a:pt x="125" y="114"/>
                    </a:lnTo>
                    <a:lnTo>
                      <a:pt x="123" y="114"/>
                    </a:lnTo>
                    <a:lnTo>
                      <a:pt x="123" y="116"/>
                    </a:lnTo>
                    <a:lnTo>
                      <a:pt x="121" y="118"/>
                    </a:lnTo>
                    <a:lnTo>
                      <a:pt x="119" y="122"/>
                    </a:lnTo>
                    <a:lnTo>
                      <a:pt x="119" y="120"/>
                    </a:lnTo>
                    <a:lnTo>
                      <a:pt x="121" y="118"/>
                    </a:lnTo>
                    <a:lnTo>
                      <a:pt x="119" y="120"/>
                    </a:lnTo>
                    <a:lnTo>
                      <a:pt x="119" y="122"/>
                    </a:lnTo>
                    <a:lnTo>
                      <a:pt x="117" y="122"/>
                    </a:lnTo>
                    <a:lnTo>
                      <a:pt x="117" y="123"/>
                    </a:lnTo>
                    <a:lnTo>
                      <a:pt x="116" y="125"/>
                    </a:lnTo>
                    <a:lnTo>
                      <a:pt x="110" y="131"/>
                    </a:lnTo>
                    <a:lnTo>
                      <a:pt x="110" y="133"/>
                    </a:lnTo>
                    <a:lnTo>
                      <a:pt x="110" y="135"/>
                    </a:lnTo>
                    <a:lnTo>
                      <a:pt x="110" y="137"/>
                    </a:lnTo>
                    <a:lnTo>
                      <a:pt x="110" y="139"/>
                    </a:lnTo>
                    <a:lnTo>
                      <a:pt x="110" y="141"/>
                    </a:lnTo>
                    <a:lnTo>
                      <a:pt x="108" y="141"/>
                    </a:lnTo>
                    <a:lnTo>
                      <a:pt x="108" y="143"/>
                    </a:lnTo>
                    <a:lnTo>
                      <a:pt x="106" y="143"/>
                    </a:lnTo>
                    <a:lnTo>
                      <a:pt x="104" y="145"/>
                    </a:lnTo>
                    <a:lnTo>
                      <a:pt x="102" y="147"/>
                    </a:lnTo>
                    <a:lnTo>
                      <a:pt x="100" y="148"/>
                    </a:lnTo>
                    <a:lnTo>
                      <a:pt x="98" y="152"/>
                    </a:lnTo>
                    <a:lnTo>
                      <a:pt x="96" y="154"/>
                    </a:lnTo>
                    <a:lnTo>
                      <a:pt x="96" y="156"/>
                    </a:lnTo>
                    <a:lnTo>
                      <a:pt x="96" y="158"/>
                    </a:lnTo>
                    <a:lnTo>
                      <a:pt x="98" y="158"/>
                    </a:lnTo>
                    <a:lnTo>
                      <a:pt x="96" y="158"/>
                    </a:lnTo>
                    <a:lnTo>
                      <a:pt x="98" y="160"/>
                    </a:lnTo>
                    <a:lnTo>
                      <a:pt x="98" y="162"/>
                    </a:lnTo>
                    <a:lnTo>
                      <a:pt x="98" y="164"/>
                    </a:lnTo>
                    <a:lnTo>
                      <a:pt x="98" y="166"/>
                    </a:lnTo>
                    <a:lnTo>
                      <a:pt x="98" y="168"/>
                    </a:lnTo>
                    <a:lnTo>
                      <a:pt x="100" y="168"/>
                    </a:lnTo>
                    <a:lnTo>
                      <a:pt x="100" y="170"/>
                    </a:lnTo>
                    <a:lnTo>
                      <a:pt x="100" y="172"/>
                    </a:lnTo>
                    <a:lnTo>
                      <a:pt x="100" y="173"/>
                    </a:lnTo>
                    <a:lnTo>
                      <a:pt x="98" y="175"/>
                    </a:lnTo>
                    <a:lnTo>
                      <a:pt x="98" y="177"/>
                    </a:lnTo>
                    <a:lnTo>
                      <a:pt x="96" y="177"/>
                    </a:lnTo>
                    <a:lnTo>
                      <a:pt x="96" y="179"/>
                    </a:lnTo>
                    <a:lnTo>
                      <a:pt x="96" y="181"/>
                    </a:lnTo>
                    <a:lnTo>
                      <a:pt x="94" y="183"/>
                    </a:lnTo>
                    <a:lnTo>
                      <a:pt x="96" y="183"/>
                    </a:lnTo>
                    <a:lnTo>
                      <a:pt x="94" y="183"/>
                    </a:lnTo>
                    <a:lnTo>
                      <a:pt x="94" y="185"/>
                    </a:lnTo>
                    <a:lnTo>
                      <a:pt x="94" y="187"/>
                    </a:lnTo>
                    <a:lnTo>
                      <a:pt x="96" y="187"/>
                    </a:lnTo>
                    <a:lnTo>
                      <a:pt x="96" y="189"/>
                    </a:lnTo>
                    <a:lnTo>
                      <a:pt x="98" y="189"/>
                    </a:lnTo>
                    <a:lnTo>
                      <a:pt x="98" y="191"/>
                    </a:lnTo>
                    <a:lnTo>
                      <a:pt x="98" y="193"/>
                    </a:lnTo>
                    <a:lnTo>
                      <a:pt x="98" y="195"/>
                    </a:lnTo>
                    <a:lnTo>
                      <a:pt x="96" y="195"/>
                    </a:lnTo>
                    <a:lnTo>
                      <a:pt x="96" y="200"/>
                    </a:lnTo>
                    <a:lnTo>
                      <a:pt x="96" y="202"/>
                    </a:lnTo>
                    <a:lnTo>
                      <a:pt x="96" y="204"/>
                    </a:lnTo>
                    <a:lnTo>
                      <a:pt x="96" y="206"/>
                    </a:lnTo>
                    <a:lnTo>
                      <a:pt x="96" y="208"/>
                    </a:lnTo>
                    <a:lnTo>
                      <a:pt x="98" y="208"/>
                    </a:lnTo>
                    <a:lnTo>
                      <a:pt x="98" y="210"/>
                    </a:lnTo>
                    <a:lnTo>
                      <a:pt x="98" y="212"/>
                    </a:lnTo>
                    <a:lnTo>
                      <a:pt x="98" y="214"/>
                    </a:lnTo>
                    <a:lnTo>
                      <a:pt x="98" y="218"/>
                    </a:lnTo>
                    <a:lnTo>
                      <a:pt x="98" y="220"/>
                    </a:lnTo>
                    <a:lnTo>
                      <a:pt x="98" y="222"/>
                    </a:lnTo>
                    <a:lnTo>
                      <a:pt x="98" y="225"/>
                    </a:lnTo>
                    <a:lnTo>
                      <a:pt x="98" y="227"/>
                    </a:lnTo>
                    <a:lnTo>
                      <a:pt x="98" y="229"/>
                    </a:lnTo>
                    <a:lnTo>
                      <a:pt x="98" y="231"/>
                    </a:lnTo>
                    <a:lnTo>
                      <a:pt x="98" y="233"/>
                    </a:lnTo>
                    <a:lnTo>
                      <a:pt x="96" y="235"/>
                    </a:lnTo>
                    <a:lnTo>
                      <a:pt x="96" y="237"/>
                    </a:lnTo>
                    <a:lnTo>
                      <a:pt x="96" y="239"/>
                    </a:lnTo>
                    <a:lnTo>
                      <a:pt x="96" y="241"/>
                    </a:lnTo>
                    <a:lnTo>
                      <a:pt x="96" y="243"/>
                    </a:lnTo>
                    <a:lnTo>
                      <a:pt x="98" y="243"/>
                    </a:lnTo>
                    <a:lnTo>
                      <a:pt x="98" y="245"/>
                    </a:lnTo>
                    <a:lnTo>
                      <a:pt x="100" y="245"/>
                    </a:lnTo>
                    <a:lnTo>
                      <a:pt x="100" y="247"/>
                    </a:lnTo>
                    <a:lnTo>
                      <a:pt x="100" y="248"/>
                    </a:lnTo>
                    <a:lnTo>
                      <a:pt x="100" y="250"/>
                    </a:lnTo>
                    <a:lnTo>
                      <a:pt x="102" y="250"/>
                    </a:lnTo>
                    <a:lnTo>
                      <a:pt x="100" y="250"/>
                    </a:lnTo>
                    <a:lnTo>
                      <a:pt x="100" y="252"/>
                    </a:lnTo>
                    <a:lnTo>
                      <a:pt x="98" y="252"/>
                    </a:lnTo>
                    <a:lnTo>
                      <a:pt x="98" y="254"/>
                    </a:lnTo>
                    <a:lnTo>
                      <a:pt x="96" y="254"/>
                    </a:lnTo>
                    <a:lnTo>
                      <a:pt x="94" y="254"/>
                    </a:lnTo>
                    <a:lnTo>
                      <a:pt x="94" y="256"/>
                    </a:lnTo>
                    <a:lnTo>
                      <a:pt x="92" y="256"/>
                    </a:lnTo>
                    <a:lnTo>
                      <a:pt x="91" y="258"/>
                    </a:lnTo>
                    <a:lnTo>
                      <a:pt x="89" y="258"/>
                    </a:lnTo>
                    <a:lnTo>
                      <a:pt x="89" y="260"/>
                    </a:lnTo>
                    <a:lnTo>
                      <a:pt x="87" y="260"/>
                    </a:lnTo>
                    <a:lnTo>
                      <a:pt x="85" y="262"/>
                    </a:lnTo>
                    <a:lnTo>
                      <a:pt x="83" y="262"/>
                    </a:lnTo>
                    <a:lnTo>
                      <a:pt x="81" y="262"/>
                    </a:lnTo>
                    <a:lnTo>
                      <a:pt x="79" y="262"/>
                    </a:lnTo>
                    <a:lnTo>
                      <a:pt x="79" y="264"/>
                    </a:lnTo>
                    <a:lnTo>
                      <a:pt x="77" y="264"/>
                    </a:lnTo>
                    <a:lnTo>
                      <a:pt x="75" y="264"/>
                    </a:lnTo>
                    <a:lnTo>
                      <a:pt x="75" y="262"/>
                    </a:lnTo>
                    <a:lnTo>
                      <a:pt x="73" y="262"/>
                    </a:lnTo>
                    <a:lnTo>
                      <a:pt x="71" y="262"/>
                    </a:lnTo>
                    <a:lnTo>
                      <a:pt x="69" y="262"/>
                    </a:lnTo>
                    <a:lnTo>
                      <a:pt x="69" y="264"/>
                    </a:lnTo>
                    <a:lnTo>
                      <a:pt x="68" y="264"/>
                    </a:lnTo>
                    <a:lnTo>
                      <a:pt x="66" y="264"/>
                    </a:lnTo>
                    <a:lnTo>
                      <a:pt x="66" y="266"/>
                    </a:lnTo>
                    <a:lnTo>
                      <a:pt x="64" y="268"/>
                    </a:lnTo>
                    <a:lnTo>
                      <a:pt x="62" y="268"/>
                    </a:lnTo>
                    <a:lnTo>
                      <a:pt x="62" y="270"/>
                    </a:lnTo>
                    <a:lnTo>
                      <a:pt x="60" y="270"/>
                    </a:lnTo>
                    <a:lnTo>
                      <a:pt x="58" y="270"/>
                    </a:lnTo>
                    <a:lnTo>
                      <a:pt x="58" y="272"/>
                    </a:lnTo>
                    <a:lnTo>
                      <a:pt x="56" y="273"/>
                    </a:lnTo>
                    <a:lnTo>
                      <a:pt x="54" y="275"/>
                    </a:lnTo>
                    <a:lnTo>
                      <a:pt x="54" y="273"/>
                    </a:lnTo>
                    <a:lnTo>
                      <a:pt x="52" y="273"/>
                    </a:lnTo>
                    <a:lnTo>
                      <a:pt x="50" y="273"/>
                    </a:lnTo>
                    <a:lnTo>
                      <a:pt x="50" y="275"/>
                    </a:lnTo>
                    <a:lnTo>
                      <a:pt x="48" y="273"/>
                    </a:lnTo>
                    <a:lnTo>
                      <a:pt x="48" y="272"/>
                    </a:lnTo>
                    <a:lnTo>
                      <a:pt x="48" y="270"/>
                    </a:lnTo>
                    <a:lnTo>
                      <a:pt x="46" y="270"/>
                    </a:lnTo>
                    <a:lnTo>
                      <a:pt x="44" y="270"/>
                    </a:lnTo>
                    <a:lnTo>
                      <a:pt x="44" y="268"/>
                    </a:lnTo>
                    <a:lnTo>
                      <a:pt x="44" y="270"/>
                    </a:lnTo>
                    <a:lnTo>
                      <a:pt x="43" y="270"/>
                    </a:lnTo>
                    <a:lnTo>
                      <a:pt x="41" y="270"/>
                    </a:lnTo>
                    <a:lnTo>
                      <a:pt x="41" y="268"/>
                    </a:lnTo>
                    <a:lnTo>
                      <a:pt x="41" y="266"/>
                    </a:lnTo>
                    <a:lnTo>
                      <a:pt x="41" y="264"/>
                    </a:lnTo>
                    <a:lnTo>
                      <a:pt x="41" y="262"/>
                    </a:lnTo>
                    <a:lnTo>
                      <a:pt x="39" y="262"/>
                    </a:lnTo>
                    <a:lnTo>
                      <a:pt x="37" y="262"/>
                    </a:lnTo>
                    <a:lnTo>
                      <a:pt x="37" y="260"/>
                    </a:lnTo>
                    <a:lnTo>
                      <a:pt x="37" y="258"/>
                    </a:lnTo>
                    <a:lnTo>
                      <a:pt x="35" y="258"/>
                    </a:lnTo>
                    <a:lnTo>
                      <a:pt x="35" y="256"/>
                    </a:lnTo>
                    <a:lnTo>
                      <a:pt x="35" y="254"/>
                    </a:lnTo>
                    <a:lnTo>
                      <a:pt x="35" y="252"/>
                    </a:lnTo>
                    <a:lnTo>
                      <a:pt x="37" y="252"/>
                    </a:lnTo>
                    <a:lnTo>
                      <a:pt x="37" y="250"/>
                    </a:lnTo>
                    <a:lnTo>
                      <a:pt x="35" y="250"/>
                    </a:lnTo>
                    <a:lnTo>
                      <a:pt x="37" y="248"/>
                    </a:lnTo>
                    <a:lnTo>
                      <a:pt x="37" y="247"/>
                    </a:lnTo>
                    <a:lnTo>
                      <a:pt x="37" y="245"/>
                    </a:lnTo>
                    <a:lnTo>
                      <a:pt x="37" y="243"/>
                    </a:lnTo>
                    <a:lnTo>
                      <a:pt x="37" y="241"/>
                    </a:lnTo>
                    <a:lnTo>
                      <a:pt x="37" y="239"/>
                    </a:lnTo>
                    <a:lnTo>
                      <a:pt x="37" y="237"/>
                    </a:lnTo>
                    <a:lnTo>
                      <a:pt x="35" y="237"/>
                    </a:lnTo>
                    <a:lnTo>
                      <a:pt x="33" y="237"/>
                    </a:lnTo>
                    <a:lnTo>
                      <a:pt x="33" y="235"/>
                    </a:lnTo>
                    <a:lnTo>
                      <a:pt x="33" y="233"/>
                    </a:lnTo>
                    <a:lnTo>
                      <a:pt x="35" y="233"/>
                    </a:lnTo>
                    <a:lnTo>
                      <a:pt x="35" y="231"/>
                    </a:lnTo>
                    <a:lnTo>
                      <a:pt x="33" y="229"/>
                    </a:lnTo>
                    <a:lnTo>
                      <a:pt x="33" y="227"/>
                    </a:lnTo>
                    <a:lnTo>
                      <a:pt x="33" y="225"/>
                    </a:lnTo>
                    <a:lnTo>
                      <a:pt x="35" y="225"/>
                    </a:lnTo>
                    <a:lnTo>
                      <a:pt x="35" y="223"/>
                    </a:lnTo>
                    <a:lnTo>
                      <a:pt x="33" y="223"/>
                    </a:lnTo>
                    <a:lnTo>
                      <a:pt x="31" y="223"/>
                    </a:lnTo>
                    <a:lnTo>
                      <a:pt x="33" y="222"/>
                    </a:lnTo>
                    <a:lnTo>
                      <a:pt x="31" y="222"/>
                    </a:lnTo>
                    <a:lnTo>
                      <a:pt x="31" y="220"/>
                    </a:lnTo>
                    <a:lnTo>
                      <a:pt x="31" y="218"/>
                    </a:lnTo>
                    <a:lnTo>
                      <a:pt x="31" y="216"/>
                    </a:lnTo>
                    <a:lnTo>
                      <a:pt x="33" y="216"/>
                    </a:lnTo>
                    <a:lnTo>
                      <a:pt x="33" y="214"/>
                    </a:lnTo>
                    <a:lnTo>
                      <a:pt x="33" y="212"/>
                    </a:lnTo>
                    <a:lnTo>
                      <a:pt x="31" y="212"/>
                    </a:lnTo>
                    <a:lnTo>
                      <a:pt x="31" y="214"/>
                    </a:lnTo>
                    <a:lnTo>
                      <a:pt x="29" y="214"/>
                    </a:lnTo>
                    <a:lnTo>
                      <a:pt x="29" y="212"/>
                    </a:lnTo>
                    <a:lnTo>
                      <a:pt x="27" y="212"/>
                    </a:lnTo>
                    <a:lnTo>
                      <a:pt x="25" y="212"/>
                    </a:lnTo>
                    <a:lnTo>
                      <a:pt x="23" y="212"/>
                    </a:lnTo>
                    <a:lnTo>
                      <a:pt x="23" y="210"/>
                    </a:lnTo>
                    <a:lnTo>
                      <a:pt x="25" y="210"/>
                    </a:lnTo>
                    <a:lnTo>
                      <a:pt x="25" y="208"/>
                    </a:lnTo>
                    <a:lnTo>
                      <a:pt x="25" y="206"/>
                    </a:lnTo>
                    <a:lnTo>
                      <a:pt x="23" y="206"/>
                    </a:lnTo>
                    <a:lnTo>
                      <a:pt x="21" y="206"/>
                    </a:lnTo>
                    <a:lnTo>
                      <a:pt x="21" y="204"/>
                    </a:lnTo>
                    <a:lnTo>
                      <a:pt x="21" y="202"/>
                    </a:lnTo>
                    <a:lnTo>
                      <a:pt x="21" y="200"/>
                    </a:lnTo>
                    <a:lnTo>
                      <a:pt x="19" y="200"/>
                    </a:lnTo>
                    <a:lnTo>
                      <a:pt x="18" y="200"/>
                    </a:lnTo>
                    <a:lnTo>
                      <a:pt x="18" y="198"/>
                    </a:lnTo>
                    <a:lnTo>
                      <a:pt x="18" y="197"/>
                    </a:lnTo>
                    <a:lnTo>
                      <a:pt x="18" y="195"/>
                    </a:lnTo>
                    <a:lnTo>
                      <a:pt x="18" y="193"/>
                    </a:lnTo>
                    <a:lnTo>
                      <a:pt x="16" y="193"/>
                    </a:lnTo>
                    <a:lnTo>
                      <a:pt x="14" y="193"/>
                    </a:lnTo>
                    <a:lnTo>
                      <a:pt x="14" y="191"/>
                    </a:lnTo>
                    <a:lnTo>
                      <a:pt x="12" y="193"/>
                    </a:lnTo>
                    <a:lnTo>
                      <a:pt x="12" y="191"/>
                    </a:lnTo>
                    <a:lnTo>
                      <a:pt x="12" y="189"/>
                    </a:lnTo>
                    <a:lnTo>
                      <a:pt x="12" y="187"/>
                    </a:lnTo>
                    <a:lnTo>
                      <a:pt x="12" y="189"/>
                    </a:lnTo>
                    <a:lnTo>
                      <a:pt x="10" y="189"/>
                    </a:lnTo>
                    <a:lnTo>
                      <a:pt x="10" y="187"/>
                    </a:lnTo>
                    <a:lnTo>
                      <a:pt x="12" y="187"/>
                    </a:lnTo>
                    <a:lnTo>
                      <a:pt x="10" y="187"/>
                    </a:lnTo>
                    <a:lnTo>
                      <a:pt x="10" y="185"/>
                    </a:lnTo>
                    <a:lnTo>
                      <a:pt x="10" y="187"/>
                    </a:lnTo>
                    <a:lnTo>
                      <a:pt x="8" y="187"/>
                    </a:lnTo>
                    <a:lnTo>
                      <a:pt x="8" y="185"/>
                    </a:lnTo>
                    <a:lnTo>
                      <a:pt x="6" y="185"/>
                    </a:lnTo>
                    <a:lnTo>
                      <a:pt x="8" y="185"/>
                    </a:lnTo>
                    <a:lnTo>
                      <a:pt x="8" y="183"/>
                    </a:lnTo>
                    <a:lnTo>
                      <a:pt x="8" y="181"/>
                    </a:lnTo>
                    <a:lnTo>
                      <a:pt x="8" y="179"/>
                    </a:lnTo>
                    <a:lnTo>
                      <a:pt x="6" y="179"/>
                    </a:lnTo>
                    <a:lnTo>
                      <a:pt x="4" y="177"/>
                    </a:lnTo>
                    <a:lnTo>
                      <a:pt x="4" y="175"/>
                    </a:lnTo>
                    <a:lnTo>
                      <a:pt x="4" y="173"/>
                    </a:lnTo>
                    <a:lnTo>
                      <a:pt x="2" y="172"/>
                    </a:lnTo>
                    <a:lnTo>
                      <a:pt x="2" y="170"/>
                    </a:lnTo>
                    <a:lnTo>
                      <a:pt x="2" y="168"/>
                    </a:lnTo>
                    <a:lnTo>
                      <a:pt x="0" y="168"/>
                    </a:lnTo>
                    <a:lnTo>
                      <a:pt x="2" y="168"/>
                    </a:lnTo>
                    <a:lnTo>
                      <a:pt x="2" y="166"/>
                    </a:lnTo>
                    <a:lnTo>
                      <a:pt x="4" y="166"/>
                    </a:lnTo>
                    <a:lnTo>
                      <a:pt x="4" y="164"/>
                    </a:lnTo>
                    <a:lnTo>
                      <a:pt x="6" y="164"/>
                    </a:lnTo>
                    <a:lnTo>
                      <a:pt x="6" y="166"/>
                    </a:lnTo>
                    <a:lnTo>
                      <a:pt x="8" y="166"/>
                    </a:lnTo>
                    <a:lnTo>
                      <a:pt x="10" y="166"/>
                    </a:lnTo>
                    <a:lnTo>
                      <a:pt x="10" y="164"/>
                    </a:lnTo>
                    <a:lnTo>
                      <a:pt x="12" y="162"/>
                    </a:lnTo>
                    <a:lnTo>
                      <a:pt x="12" y="160"/>
                    </a:lnTo>
                    <a:lnTo>
                      <a:pt x="14" y="160"/>
                    </a:lnTo>
                    <a:lnTo>
                      <a:pt x="14" y="158"/>
                    </a:lnTo>
                    <a:lnTo>
                      <a:pt x="16" y="156"/>
                    </a:lnTo>
                    <a:lnTo>
                      <a:pt x="16" y="154"/>
                    </a:lnTo>
                    <a:lnTo>
                      <a:pt x="18" y="154"/>
                    </a:lnTo>
                    <a:lnTo>
                      <a:pt x="19" y="154"/>
                    </a:lnTo>
                    <a:lnTo>
                      <a:pt x="21" y="154"/>
                    </a:lnTo>
                    <a:lnTo>
                      <a:pt x="23" y="154"/>
                    </a:lnTo>
                    <a:lnTo>
                      <a:pt x="23" y="152"/>
                    </a:lnTo>
                    <a:lnTo>
                      <a:pt x="23" y="150"/>
                    </a:lnTo>
                    <a:lnTo>
                      <a:pt x="25" y="150"/>
                    </a:lnTo>
                    <a:lnTo>
                      <a:pt x="27" y="152"/>
                    </a:lnTo>
                    <a:lnTo>
                      <a:pt x="29" y="152"/>
                    </a:lnTo>
                    <a:lnTo>
                      <a:pt x="31" y="152"/>
                    </a:lnTo>
                    <a:lnTo>
                      <a:pt x="31" y="150"/>
                    </a:lnTo>
                    <a:lnTo>
                      <a:pt x="29" y="150"/>
                    </a:lnTo>
                    <a:lnTo>
                      <a:pt x="31" y="150"/>
                    </a:lnTo>
                    <a:lnTo>
                      <a:pt x="31" y="148"/>
                    </a:lnTo>
                    <a:lnTo>
                      <a:pt x="33" y="148"/>
                    </a:lnTo>
                    <a:lnTo>
                      <a:pt x="35" y="148"/>
                    </a:lnTo>
                    <a:lnTo>
                      <a:pt x="35" y="147"/>
                    </a:lnTo>
                    <a:lnTo>
                      <a:pt x="37" y="147"/>
                    </a:lnTo>
                    <a:lnTo>
                      <a:pt x="39" y="148"/>
                    </a:lnTo>
                    <a:lnTo>
                      <a:pt x="39" y="147"/>
                    </a:lnTo>
                    <a:lnTo>
                      <a:pt x="39" y="148"/>
                    </a:lnTo>
                    <a:lnTo>
                      <a:pt x="41" y="148"/>
                    </a:lnTo>
                    <a:lnTo>
                      <a:pt x="41" y="147"/>
                    </a:lnTo>
                    <a:lnTo>
                      <a:pt x="41" y="145"/>
                    </a:lnTo>
                    <a:lnTo>
                      <a:pt x="41" y="143"/>
                    </a:lnTo>
                    <a:lnTo>
                      <a:pt x="39" y="143"/>
                    </a:lnTo>
                    <a:lnTo>
                      <a:pt x="43" y="141"/>
                    </a:lnTo>
                    <a:lnTo>
                      <a:pt x="44" y="141"/>
                    </a:lnTo>
                    <a:lnTo>
                      <a:pt x="44" y="139"/>
                    </a:lnTo>
                    <a:lnTo>
                      <a:pt x="46" y="139"/>
                    </a:lnTo>
                    <a:lnTo>
                      <a:pt x="46" y="141"/>
                    </a:lnTo>
                    <a:lnTo>
                      <a:pt x="48" y="141"/>
                    </a:lnTo>
                    <a:lnTo>
                      <a:pt x="48" y="143"/>
                    </a:lnTo>
                    <a:lnTo>
                      <a:pt x="50" y="141"/>
                    </a:lnTo>
                    <a:lnTo>
                      <a:pt x="50" y="139"/>
                    </a:lnTo>
                    <a:lnTo>
                      <a:pt x="50" y="141"/>
                    </a:lnTo>
                    <a:lnTo>
                      <a:pt x="50" y="143"/>
                    </a:lnTo>
                    <a:lnTo>
                      <a:pt x="50" y="145"/>
                    </a:lnTo>
                    <a:lnTo>
                      <a:pt x="52" y="145"/>
                    </a:lnTo>
                    <a:lnTo>
                      <a:pt x="54" y="145"/>
                    </a:lnTo>
                    <a:lnTo>
                      <a:pt x="54" y="143"/>
                    </a:lnTo>
                    <a:lnTo>
                      <a:pt x="54" y="145"/>
                    </a:lnTo>
                    <a:lnTo>
                      <a:pt x="56" y="143"/>
                    </a:lnTo>
                    <a:lnTo>
                      <a:pt x="58" y="143"/>
                    </a:lnTo>
                    <a:lnTo>
                      <a:pt x="60" y="143"/>
                    </a:lnTo>
                    <a:lnTo>
                      <a:pt x="58" y="141"/>
                    </a:lnTo>
                    <a:lnTo>
                      <a:pt x="60" y="141"/>
                    </a:lnTo>
                    <a:lnTo>
                      <a:pt x="60" y="139"/>
                    </a:lnTo>
                    <a:lnTo>
                      <a:pt x="60" y="137"/>
                    </a:lnTo>
                    <a:lnTo>
                      <a:pt x="62" y="137"/>
                    </a:lnTo>
                    <a:lnTo>
                      <a:pt x="62" y="135"/>
                    </a:lnTo>
                    <a:lnTo>
                      <a:pt x="64" y="135"/>
                    </a:lnTo>
                    <a:lnTo>
                      <a:pt x="64" y="133"/>
                    </a:lnTo>
                    <a:lnTo>
                      <a:pt x="64" y="131"/>
                    </a:lnTo>
                    <a:lnTo>
                      <a:pt x="64" y="133"/>
                    </a:lnTo>
                    <a:lnTo>
                      <a:pt x="62" y="131"/>
                    </a:lnTo>
                    <a:lnTo>
                      <a:pt x="60" y="131"/>
                    </a:lnTo>
                    <a:lnTo>
                      <a:pt x="62" y="131"/>
                    </a:lnTo>
                    <a:lnTo>
                      <a:pt x="62" y="129"/>
                    </a:lnTo>
                    <a:lnTo>
                      <a:pt x="62" y="127"/>
                    </a:lnTo>
                    <a:lnTo>
                      <a:pt x="60" y="127"/>
                    </a:lnTo>
                    <a:lnTo>
                      <a:pt x="62" y="127"/>
                    </a:lnTo>
                    <a:lnTo>
                      <a:pt x="64" y="125"/>
                    </a:lnTo>
                    <a:lnTo>
                      <a:pt x="64" y="123"/>
                    </a:lnTo>
                    <a:lnTo>
                      <a:pt x="64" y="122"/>
                    </a:lnTo>
                    <a:lnTo>
                      <a:pt x="66" y="122"/>
                    </a:lnTo>
                    <a:lnTo>
                      <a:pt x="66" y="120"/>
                    </a:lnTo>
                    <a:lnTo>
                      <a:pt x="68" y="120"/>
                    </a:lnTo>
                    <a:lnTo>
                      <a:pt x="68" y="118"/>
                    </a:lnTo>
                    <a:lnTo>
                      <a:pt x="68" y="116"/>
                    </a:lnTo>
                    <a:lnTo>
                      <a:pt x="68" y="118"/>
                    </a:lnTo>
                    <a:lnTo>
                      <a:pt x="68" y="116"/>
                    </a:lnTo>
                    <a:lnTo>
                      <a:pt x="68" y="114"/>
                    </a:lnTo>
                    <a:lnTo>
                      <a:pt x="68" y="112"/>
                    </a:lnTo>
                    <a:lnTo>
                      <a:pt x="68" y="110"/>
                    </a:lnTo>
                    <a:lnTo>
                      <a:pt x="68" y="108"/>
                    </a:lnTo>
                    <a:lnTo>
                      <a:pt x="69" y="106"/>
                    </a:lnTo>
                    <a:lnTo>
                      <a:pt x="71" y="106"/>
                    </a:lnTo>
                    <a:lnTo>
                      <a:pt x="73" y="106"/>
                    </a:lnTo>
                    <a:lnTo>
                      <a:pt x="73" y="104"/>
                    </a:lnTo>
                    <a:lnTo>
                      <a:pt x="75" y="104"/>
                    </a:lnTo>
                    <a:lnTo>
                      <a:pt x="75" y="102"/>
                    </a:lnTo>
                    <a:lnTo>
                      <a:pt x="77" y="102"/>
                    </a:lnTo>
                    <a:lnTo>
                      <a:pt x="77" y="100"/>
                    </a:lnTo>
                    <a:lnTo>
                      <a:pt x="77" y="98"/>
                    </a:lnTo>
                    <a:lnTo>
                      <a:pt x="79" y="98"/>
                    </a:lnTo>
                    <a:lnTo>
                      <a:pt x="79" y="97"/>
                    </a:lnTo>
                    <a:lnTo>
                      <a:pt x="81" y="97"/>
                    </a:lnTo>
                    <a:lnTo>
                      <a:pt x="83" y="97"/>
                    </a:lnTo>
                    <a:lnTo>
                      <a:pt x="83" y="95"/>
                    </a:lnTo>
                    <a:lnTo>
                      <a:pt x="85" y="95"/>
                    </a:lnTo>
                    <a:lnTo>
                      <a:pt x="87" y="95"/>
                    </a:lnTo>
                    <a:lnTo>
                      <a:pt x="87" y="93"/>
                    </a:lnTo>
                    <a:lnTo>
                      <a:pt x="89" y="93"/>
                    </a:lnTo>
                    <a:lnTo>
                      <a:pt x="91" y="93"/>
                    </a:lnTo>
                    <a:lnTo>
                      <a:pt x="92" y="93"/>
                    </a:lnTo>
                    <a:lnTo>
                      <a:pt x="92" y="91"/>
                    </a:lnTo>
                    <a:lnTo>
                      <a:pt x="92" y="89"/>
                    </a:lnTo>
                    <a:lnTo>
                      <a:pt x="92" y="87"/>
                    </a:lnTo>
                    <a:lnTo>
                      <a:pt x="92" y="85"/>
                    </a:lnTo>
                    <a:lnTo>
                      <a:pt x="91" y="85"/>
                    </a:lnTo>
                    <a:lnTo>
                      <a:pt x="91" y="87"/>
                    </a:lnTo>
                    <a:lnTo>
                      <a:pt x="91" y="85"/>
                    </a:lnTo>
                    <a:lnTo>
                      <a:pt x="89" y="85"/>
                    </a:lnTo>
                    <a:lnTo>
                      <a:pt x="89" y="83"/>
                    </a:lnTo>
                    <a:lnTo>
                      <a:pt x="87" y="83"/>
                    </a:lnTo>
                    <a:lnTo>
                      <a:pt x="89" y="83"/>
                    </a:lnTo>
                    <a:lnTo>
                      <a:pt x="89" y="81"/>
                    </a:lnTo>
                    <a:lnTo>
                      <a:pt x="89" y="79"/>
                    </a:lnTo>
                    <a:lnTo>
                      <a:pt x="91" y="79"/>
                    </a:lnTo>
                    <a:lnTo>
                      <a:pt x="91" y="77"/>
                    </a:lnTo>
                    <a:lnTo>
                      <a:pt x="89" y="77"/>
                    </a:lnTo>
                    <a:lnTo>
                      <a:pt x="91" y="77"/>
                    </a:lnTo>
                    <a:lnTo>
                      <a:pt x="91" y="75"/>
                    </a:lnTo>
                    <a:lnTo>
                      <a:pt x="89" y="73"/>
                    </a:lnTo>
                    <a:lnTo>
                      <a:pt x="87" y="72"/>
                    </a:lnTo>
                    <a:lnTo>
                      <a:pt x="87" y="73"/>
                    </a:lnTo>
                    <a:lnTo>
                      <a:pt x="87" y="75"/>
                    </a:lnTo>
                    <a:lnTo>
                      <a:pt x="87" y="77"/>
                    </a:lnTo>
                    <a:lnTo>
                      <a:pt x="83" y="75"/>
                    </a:lnTo>
                    <a:lnTo>
                      <a:pt x="81" y="79"/>
                    </a:lnTo>
                    <a:lnTo>
                      <a:pt x="79" y="79"/>
                    </a:lnTo>
                    <a:lnTo>
                      <a:pt x="73" y="77"/>
                    </a:lnTo>
                    <a:lnTo>
                      <a:pt x="73" y="79"/>
                    </a:lnTo>
                    <a:lnTo>
                      <a:pt x="73" y="77"/>
                    </a:lnTo>
                    <a:lnTo>
                      <a:pt x="71" y="79"/>
                    </a:lnTo>
                    <a:lnTo>
                      <a:pt x="71" y="73"/>
                    </a:lnTo>
                    <a:lnTo>
                      <a:pt x="73" y="73"/>
                    </a:lnTo>
                    <a:lnTo>
                      <a:pt x="73" y="75"/>
                    </a:lnTo>
                    <a:lnTo>
                      <a:pt x="73" y="73"/>
                    </a:lnTo>
                    <a:lnTo>
                      <a:pt x="75" y="73"/>
                    </a:lnTo>
                    <a:lnTo>
                      <a:pt x="75" y="72"/>
                    </a:lnTo>
                    <a:lnTo>
                      <a:pt x="73" y="70"/>
                    </a:lnTo>
                    <a:lnTo>
                      <a:pt x="69" y="68"/>
                    </a:lnTo>
                    <a:lnTo>
                      <a:pt x="69" y="66"/>
                    </a:lnTo>
                    <a:lnTo>
                      <a:pt x="68" y="64"/>
                    </a:lnTo>
                    <a:lnTo>
                      <a:pt x="66" y="66"/>
                    </a:lnTo>
                    <a:lnTo>
                      <a:pt x="64" y="64"/>
                    </a:lnTo>
                    <a:lnTo>
                      <a:pt x="60" y="60"/>
                    </a:lnTo>
                    <a:lnTo>
                      <a:pt x="58" y="56"/>
                    </a:lnTo>
                    <a:lnTo>
                      <a:pt x="56" y="56"/>
                    </a:lnTo>
                    <a:lnTo>
                      <a:pt x="62" y="48"/>
                    </a:lnTo>
                    <a:lnTo>
                      <a:pt x="62" y="47"/>
                    </a:lnTo>
                    <a:lnTo>
                      <a:pt x="64" y="47"/>
                    </a:lnTo>
                    <a:lnTo>
                      <a:pt x="62" y="45"/>
                    </a:lnTo>
                    <a:lnTo>
                      <a:pt x="60" y="45"/>
                    </a:lnTo>
                    <a:lnTo>
                      <a:pt x="58" y="43"/>
                    </a:lnTo>
                    <a:lnTo>
                      <a:pt x="56" y="43"/>
                    </a:lnTo>
                    <a:lnTo>
                      <a:pt x="56" y="41"/>
                    </a:lnTo>
                    <a:lnTo>
                      <a:pt x="52" y="39"/>
                    </a:lnTo>
                    <a:lnTo>
                      <a:pt x="50" y="39"/>
                    </a:lnTo>
                    <a:lnTo>
                      <a:pt x="50" y="37"/>
                    </a:lnTo>
                    <a:lnTo>
                      <a:pt x="48" y="37"/>
                    </a:lnTo>
                    <a:lnTo>
                      <a:pt x="52" y="35"/>
                    </a:lnTo>
                    <a:lnTo>
                      <a:pt x="56" y="35"/>
                    </a:lnTo>
                    <a:lnTo>
                      <a:pt x="58" y="35"/>
                    </a:lnTo>
                    <a:lnTo>
                      <a:pt x="62" y="37"/>
                    </a:lnTo>
                    <a:lnTo>
                      <a:pt x="64" y="35"/>
                    </a:lnTo>
                    <a:lnTo>
                      <a:pt x="66" y="33"/>
                    </a:lnTo>
                    <a:lnTo>
                      <a:pt x="68" y="31"/>
                    </a:lnTo>
                    <a:lnTo>
                      <a:pt x="68" y="29"/>
                    </a:lnTo>
                    <a:lnTo>
                      <a:pt x="69" y="29"/>
                    </a:lnTo>
                    <a:lnTo>
                      <a:pt x="68" y="29"/>
                    </a:lnTo>
                    <a:lnTo>
                      <a:pt x="68" y="27"/>
                    </a:lnTo>
                    <a:lnTo>
                      <a:pt x="68" y="25"/>
                    </a:lnTo>
                    <a:lnTo>
                      <a:pt x="66" y="25"/>
                    </a:lnTo>
                    <a:lnTo>
                      <a:pt x="64" y="24"/>
                    </a:lnTo>
                    <a:lnTo>
                      <a:pt x="64" y="20"/>
                    </a:lnTo>
                    <a:lnTo>
                      <a:pt x="66" y="22"/>
                    </a:lnTo>
                    <a:lnTo>
                      <a:pt x="66" y="20"/>
                    </a:lnTo>
                    <a:lnTo>
                      <a:pt x="66" y="18"/>
                    </a:lnTo>
                    <a:lnTo>
                      <a:pt x="69" y="16"/>
                    </a:lnTo>
                    <a:lnTo>
                      <a:pt x="69" y="18"/>
                    </a:lnTo>
                    <a:lnTo>
                      <a:pt x="71" y="18"/>
                    </a:lnTo>
                    <a:lnTo>
                      <a:pt x="73" y="18"/>
                    </a:lnTo>
                    <a:lnTo>
                      <a:pt x="73" y="20"/>
                    </a:lnTo>
                    <a:lnTo>
                      <a:pt x="77" y="18"/>
                    </a:lnTo>
                    <a:lnTo>
                      <a:pt x="79" y="16"/>
                    </a:lnTo>
                    <a:lnTo>
                      <a:pt x="81" y="16"/>
                    </a:lnTo>
                    <a:lnTo>
                      <a:pt x="89" y="10"/>
                    </a:lnTo>
                    <a:lnTo>
                      <a:pt x="91" y="6"/>
                    </a:lnTo>
                    <a:lnTo>
                      <a:pt x="96" y="2"/>
                    </a:lnTo>
                    <a:lnTo>
                      <a:pt x="96" y="0"/>
                    </a:lnTo>
                    <a:lnTo>
                      <a:pt x="98" y="2"/>
                    </a:lnTo>
                    <a:lnTo>
                      <a:pt x="100" y="2"/>
                    </a:lnTo>
                    <a:lnTo>
                      <a:pt x="102" y="2"/>
                    </a:lnTo>
                    <a:lnTo>
                      <a:pt x="104" y="4"/>
                    </a:lnTo>
                    <a:lnTo>
                      <a:pt x="106" y="4"/>
                    </a:lnTo>
                    <a:lnTo>
                      <a:pt x="106" y="6"/>
                    </a:lnTo>
                    <a:lnTo>
                      <a:pt x="108" y="6"/>
                    </a:lnTo>
                    <a:lnTo>
                      <a:pt x="108" y="8"/>
                    </a:lnTo>
                    <a:lnTo>
                      <a:pt x="110" y="8"/>
                    </a:lnTo>
                    <a:lnTo>
                      <a:pt x="110" y="10"/>
                    </a:lnTo>
                    <a:lnTo>
                      <a:pt x="112" y="10"/>
                    </a:lnTo>
                    <a:lnTo>
                      <a:pt x="114" y="10"/>
                    </a:lnTo>
                    <a:lnTo>
                      <a:pt x="114" y="12"/>
                    </a:lnTo>
                    <a:lnTo>
                      <a:pt x="116" y="14"/>
                    </a:lnTo>
                    <a:lnTo>
                      <a:pt x="117" y="14"/>
                    </a:lnTo>
                    <a:lnTo>
                      <a:pt x="117" y="16"/>
                    </a:lnTo>
                    <a:lnTo>
                      <a:pt x="119" y="16"/>
                    </a:lnTo>
                    <a:lnTo>
                      <a:pt x="121" y="18"/>
                    </a:lnTo>
                    <a:lnTo>
                      <a:pt x="123" y="20"/>
                    </a:lnTo>
                    <a:lnTo>
                      <a:pt x="125" y="25"/>
                    </a:lnTo>
                    <a:lnTo>
                      <a:pt x="127" y="25"/>
                    </a:lnTo>
                    <a:lnTo>
                      <a:pt x="127" y="27"/>
                    </a:lnTo>
                    <a:lnTo>
                      <a:pt x="131" y="31"/>
                    </a:lnTo>
                    <a:lnTo>
                      <a:pt x="129" y="31"/>
                    </a:lnTo>
                    <a:lnTo>
                      <a:pt x="129" y="33"/>
                    </a:lnTo>
                    <a:lnTo>
                      <a:pt x="129" y="35"/>
                    </a:lnTo>
                    <a:lnTo>
                      <a:pt x="129" y="37"/>
                    </a:lnTo>
                    <a:lnTo>
                      <a:pt x="131" y="35"/>
                    </a:lnTo>
                    <a:lnTo>
                      <a:pt x="131" y="33"/>
                    </a:lnTo>
                    <a:lnTo>
                      <a:pt x="133" y="35"/>
                    </a:lnTo>
                    <a:lnTo>
                      <a:pt x="135" y="35"/>
                    </a:lnTo>
                    <a:lnTo>
                      <a:pt x="135" y="39"/>
                    </a:lnTo>
                    <a:lnTo>
                      <a:pt x="137" y="3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0" name="Freeform 90"/>
              <p:cNvSpPr>
                <a:spLocks noEditPoints="1"/>
              </p:cNvSpPr>
              <p:nvPr/>
            </p:nvSpPr>
            <p:spPr bwMode="auto">
              <a:xfrm>
                <a:off x="720224" y="3930552"/>
                <a:ext cx="32692" cy="86031"/>
              </a:xfrm>
              <a:custGeom>
                <a:avLst/>
                <a:gdLst>
                  <a:gd name="T0" fmla="*/ 6 w 19"/>
                  <a:gd name="T1" fmla="*/ 46 h 50"/>
                  <a:gd name="T2" fmla="*/ 8 w 19"/>
                  <a:gd name="T3" fmla="*/ 46 h 50"/>
                  <a:gd name="T4" fmla="*/ 12 w 19"/>
                  <a:gd name="T5" fmla="*/ 46 h 50"/>
                  <a:gd name="T6" fmla="*/ 12 w 19"/>
                  <a:gd name="T7" fmla="*/ 46 h 50"/>
                  <a:gd name="T8" fmla="*/ 14 w 19"/>
                  <a:gd name="T9" fmla="*/ 46 h 50"/>
                  <a:gd name="T10" fmla="*/ 14 w 19"/>
                  <a:gd name="T11" fmla="*/ 46 h 50"/>
                  <a:gd name="T12" fmla="*/ 14 w 19"/>
                  <a:gd name="T13" fmla="*/ 46 h 50"/>
                  <a:gd name="T14" fmla="*/ 15 w 19"/>
                  <a:gd name="T15" fmla="*/ 48 h 50"/>
                  <a:gd name="T16" fmla="*/ 15 w 19"/>
                  <a:gd name="T17" fmla="*/ 48 h 50"/>
                  <a:gd name="T18" fmla="*/ 14 w 19"/>
                  <a:gd name="T19" fmla="*/ 48 h 50"/>
                  <a:gd name="T20" fmla="*/ 12 w 19"/>
                  <a:gd name="T21" fmla="*/ 48 h 50"/>
                  <a:gd name="T22" fmla="*/ 12 w 19"/>
                  <a:gd name="T23" fmla="*/ 50 h 50"/>
                  <a:gd name="T24" fmla="*/ 10 w 19"/>
                  <a:gd name="T25" fmla="*/ 50 h 50"/>
                  <a:gd name="T26" fmla="*/ 8 w 19"/>
                  <a:gd name="T27" fmla="*/ 48 h 50"/>
                  <a:gd name="T28" fmla="*/ 6 w 19"/>
                  <a:gd name="T29" fmla="*/ 48 h 50"/>
                  <a:gd name="T30" fmla="*/ 8 w 19"/>
                  <a:gd name="T31" fmla="*/ 46 h 50"/>
                  <a:gd name="T32" fmla="*/ 8 w 19"/>
                  <a:gd name="T33" fmla="*/ 46 h 50"/>
                  <a:gd name="T34" fmla="*/ 8 w 19"/>
                  <a:gd name="T35" fmla="*/ 46 h 50"/>
                  <a:gd name="T36" fmla="*/ 10 w 19"/>
                  <a:gd name="T37" fmla="*/ 46 h 50"/>
                  <a:gd name="T38" fmla="*/ 8 w 19"/>
                  <a:gd name="T39" fmla="*/ 46 h 50"/>
                  <a:gd name="T40" fmla="*/ 8 w 19"/>
                  <a:gd name="T41" fmla="*/ 48 h 50"/>
                  <a:gd name="T42" fmla="*/ 8 w 19"/>
                  <a:gd name="T43" fmla="*/ 46 h 50"/>
                  <a:gd name="T44" fmla="*/ 10 w 19"/>
                  <a:gd name="T45" fmla="*/ 48 h 50"/>
                  <a:gd name="T46" fmla="*/ 10 w 19"/>
                  <a:gd name="T47" fmla="*/ 46 h 50"/>
                  <a:gd name="T48" fmla="*/ 10 w 19"/>
                  <a:gd name="T49" fmla="*/ 46 h 50"/>
                  <a:gd name="T50" fmla="*/ 6 w 19"/>
                  <a:gd name="T51" fmla="*/ 46 h 50"/>
                  <a:gd name="T52" fmla="*/ 6 w 19"/>
                  <a:gd name="T53" fmla="*/ 44 h 50"/>
                  <a:gd name="T54" fmla="*/ 8 w 19"/>
                  <a:gd name="T55" fmla="*/ 42 h 50"/>
                  <a:gd name="T56" fmla="*/ 10 w 19"/>
                  <a:gd name="T57" fmla="*/ 44 h 50"/>
                  <a:gd name="T58" fmla="*/ 0 w 19"/>
                  <a:gd name="T59" fmla="*/ 2 h 50"/>
                  <a:gd name="T60" fmla="*/ 0 w 19"/>
                  <a:gd name="T61" fmla="*/ 0 h 50"/>
                  <a:gd name="T62" fmla="*/ 19 w 19"/>
                  <a:gd name="T63" fmla="*/ 10 h 50"/>
                  <a:gd name="T64" fmla="*/ 19 w 19"/>
                  <a:gd name="T65" fmla="*/ 12 h 50"/>
                  <a:gd name="T66" fmla="*/ 19 w 19"/>
                  <a:gd name="T67" fmla="*/ 12 h 50"/>
                  <a:gd name="T68" fmla="*/ 19 w 19"/>
                  <a:gd name="T69" fmla="*/ 12 h 50"/>
                  <a:gd name="T70" fmla="*/ 19 w 19"/>
                  <a:gd name="T71" fmla="*/ 14 h 50"/>
                  <a:gd name="T72" fmla="*/ 19 w 19"/>
                  <a:gd name="T73" fmla="*/ 14 h 50"/>
                  <a:gd name="T74" fmla="*/ 19 w 19"/>
                  <a:gd name="T75" fmla="*/ 14 h 50"/>
                  <a:gd name="T76" fmla="*/ 19 w 19"/>
                  <a:gd name="T77" fmla="*/ 14 h 50"/>
                  <a:gd name="T78" fmla="*/ 19 w 19"/>
                  <a:gd name="T79" fmla="*/ 16 h 50"/>
                  <a:gd name="T80" fmla="*/ 19 w 19"/>
                  <a:gd name="T81" fmla="*/ 16 h 50"/>
                  <a:gd name="T82" fmla="*/ 17 w 19"/>
                  <a:gd name="T83" fmla="*/ 16 h 50"/>
                  <a:gd name="T84" fmla="*/ 17 w 19"/>
                  <a:gd name="T85" fmla="*/ 14 h 50"/>
                  <a:gd name="T86" fmla="*/ 17 w 19"/>
                  <a:gd name="T87" fmla="*/ 14 h 50"/>
                  <a:gd name="T88" fmla="*/ 17 w 19"/>
                  <a:gd name="T89" fmla="*/ 14 h 50"/>
                  <a:gd name="T90" fmla="*/ 19 w 19"/>
                  <a:gd name="T91" fmla="*/ 14 h 50"/>
                  <a:gd name="T92" fmla="*/ 19 w 19"/>
                  <a:gd name="T93" fmla="*/ 14 h 50"/>
                  <a:gd name="T94" fmla="*/ 19 w 19"/>
                  <a:gd name="T95" fmla="*/ 12 h 50"/>
                  <a:gd name="T96" fmla="*/ 19 w 19"/>
                  <a:gd name="T97" fmla="*/ 10 h 50"/>
                  <a:gd name="T98" fmla="*/ 19 w 19"/>
                  <a:gd name="T99" fmla="*/ 10 h 50"/>
                  <a:gd name="T100" fmla="*/ 19 w 19"/>
                  <a:gd name="T101" fmla="*/ 12 h 50"/>
                  <a:gd name="T102" fmla="*/ 19 w 19"/>
                  <a:gd name="T103" fmla="*/ 12 h 50"/>
                  <a:gd name="T104" fmla="*/ 17 w 19"/>
                  <a:gd name="T105" fmla="*/ 12 h 50"/>
                  <a:gd name="T106" fmla="*/ 17 w 19"/>
                  <a:gd name="T107" fmla="*/ 14 h 50"/>
                  <a:gd name="T108" fmla="*/ 17 w 19"/>
                  <a:gd name="T109" fmla="*/ 14 h 50"/>
                  <a:gd name="T110" fmla="*/ 17 w 19"/>
                  <a:gd name="T111" fmla="*/ 12 h 50"/>
                  <a:gd name="T112" fmla="*/ 17 w 19"/>
                  <a:gd name="T113" fmla="*/ 10 h 50"/>
                  <a:gd name="T114" fmla="*/ 19 w 19"/>
                  <a:gd name="T115" fmla="*/ 1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 h="50">
                    <a:moveTo>
                      <a:pt x="6" y="46"/>
                    </a:moveTo>
                    <a:lnTo>
                      <a:pt x="6" y="48"/>
                    </a:lnTo>
                    <a:lnTo>
                      <a:pt x="6" y="46"/>
                    </a:lnTo>
                    <a:lnTo>
                      <a:pt x="6" y="46"/>
                    </a:lnTo>
                    <a:lnTo>
                      <a:pt x="6" y="46"/>
                    </a:lnTo>
                    <a:lnTo>
                      <a:pt x="6" y="46"/>
                    </a:lnTo>
                    <a:lnTo>
                      <a:pt x="6" y="46"/>
                    </a:lnTo>
                    <a:lnTo>
                      <a:pt x="6" y="46"/>
                    </a:lnTo>
                    <a:lnTo>
                      <a:pt x="6" y="46"/>
                    </a:lnTo>
                    <a:lnTo>
                      <a:pt x="8" y="46"/>
                    </a:lnTo>
                    <a:lnTo>
                      <a:pt x="8" y="46"/>
                    </a:lnTo>
                    <a:lnTo>
                      <a:pt x="6" y="46"/>
                    </a:lnTo>
                    <a:close/>
                    <a:moveTo>
                      <a:pt x="12" y="46"/>
                    </a:moveTo>
                    <a:lnTo>
                      <a:pt x="12" y="46"/>
                    </a:lnTo>
                    <a:lnTo>
                      <a:pt x="12" y="46"/>
                    </a:lnTo>
                    <a:lnTo>
                      <a:pt x="12" y="46"/>
                    </a:lnTo>
                    <a:lnTo>
                      <a:pt x="12" y="46"/>
                    </a:lnTo>
                    <a:lnTo>
                      <a:pt x="14" y="46"/>
                    </a:lnTo>
                    <a:lnTo>
                      <a:pt x="12" y="46"/>
                    </a:lnTo>
                    <a:lnTo>
                      <a:pt x="12"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6"/>
                    </a:lnTo>
                    <a:lnTo>
                      <a:pt x="14" y="48"/>
                    </a:lnTo>
                    <a:lnTo>
                      <a:pt x="14" y="46"/>
                    </a:lnTo>
                    <a:lnTo>
                      <a:pt x="15" y="48"/>
                    </a:lnTo>
                    <a:lnTo>
                      <a:pt x="15" y="48"/>
                    </a:lnTo>
                    <a:lnTo>
                      <a:pt x="15" y="48"/>
                    </a:lnTo>
                    <a:lnTo>
                      <a:pt x="15" y="48"/>
                    </a:lnTo>
                    <a:lnTo>
                      <a:pt x="15" y="48"/>
                    </a:lnTo>
                    <a:lnTo>
                      <a:pt x="15" y="48"/>
                    </a:lnTo>
                    <a:lnTo>
                      <a:pt x="15" y="48"/>
                    </a:lnTo>
                    <a:lnTo>
                      <a:pt x="15" y="48"/>
                    </a:lnTo>
                    <a:lnTo>
                      <a:pt x="15" y="48"/>
                    </a:lnTo>
                    <a:lnTo>
                      <a:pt x="14" y="48"/>
                    </a:lnTo>
                    <a:lnTo>
                      <a:pt x="14" y="48"/>
                    </a:lnTo>
                    <a:lnTo>
                      <a:pt x="14" y="48"/>
                    </a:lnTo>
                    <a:lnTo>
                      <a:pt x="14" y="48"/>
                    </a:lnTo>
                    <a:lnTo>
                      <a:pt x="14" y="48"/>
                    </a:lnTo>
                    <a:lnTo>
                      <a:pt x="14" y="48"/>
                    </a:lnTo>
                    <a:lnTo>
                      <a:pt x="14" y="48"/>
                    </a:lnTo>
                    <a:lnTo>
                      <a:pt x="12" y="48"/>
                    </a:lnTo>
                    <a:lnTo>
                      <a:pt x="12" y="50"/>
                    </a:lnTo>
                    <a:lnTo>
                      <a:pt x="12" y="50"/>
                    </a:lnTo>
                    <a:lnTo>
                      <a:pt x="12" y="50"/>
                    </a:lnTo>
                    <a:lnTo>
                      <a:pt x="12" y="50"/>
                    </a:lnTo>
                    <a:lnTo>
                      <a:pt x="12" y="50"/>
                    </a:lnTo>
                    <a:lnTo>
                      <a:pt x="12" y="50"/>
                    </a:lnTo>
                    <a:lnTo>
                      <a:pt x="12" y="50"/>
                    </a:lnTo>
                    <a:lnTo>
                      <a:pt x="12" y="50"/>
                    </a:lnTo>
                    <a:lnTo>
                      <a:pt x="10" y="50"/>
                    </a:lnTo>
                    <a:lnTo>
                      <a:pt x="10" y="50"/>
                    </a:lnTo>
                    <a:lnTo>
                      <a:pt x="10" y="50"/>
                    </a:lnTo>
                    <a:lnTo>
                      <a:pt x="10" y="50"/>
                    </a:lnTo>
                    <a:lnTo>
                      <a:pt x="10" y="50"/>
                    </a:lnTo>
                    <a:lnTo>
                      <a:pt x="8" y="48"/>
                    </a:lnTo>
                    <a:lnTo>
                      <a:pt x="8" y="48"/>
                    </a:lnTo>
                    <a:lnTo>
                      <a:pt x="8" y="48"/>
                    </a:lnTo>
                    <a:lnTo>
                      <a:pt x="8" y="48"/>
                    </a:lnTo>
                    <a:lnTo>
                      <a:pt x="8" y="48"/>
                    </a:lnTo>
                    <a:lnTo>
                      <a:pt x="6" y="48"/>
                    </a:lnTo>
                    <a:lnTo>
                      <a:pt x="6" y="48"/>
                    </a:lnTo>
                    <a:lnTo>
                      <a:pt x="6" y="48"/>
                    </a:lnTo>
                    <a:lnTo>
                      <a:pt x="8" y="48"/>
                    </a:lnTo>
                    <a:lnTo>
                      <a:pt x="8" y="48"/>
                    </a:lnTo>
                    <a:lnTo>
                      <a:pt x="8" y="48"/>
                    </a:lnTo>
                    <a:lnTo>
                      <a:pt x="8" y="46"/>
                    </a:lnTo>
                    <a:lnTo>
                      <a:pt x="8" y="46"/>
                    </a:lnTo>
                    <a:lnTo>
                      <a:pt x="8" y="46"/>
                    </a:lnTo>
                    <a:lnTo>
                      <a:pt x="8" y="46"/>
                    </a:lnTo>
                    <a:lnTo>
                      <a:pt x="8" y="46"/>
                    </a:lnTo>
                    <a:lnTo>
                      <a:pt x="8" y="46"/>
                    </a:lnTo>
                    <a:lnTo>
                      <a:pt x="8" y="46"/>
                    </a:lnTo>
                    <a:lnTo>
                      <a:pt x="8" y="46"/>
                    </a:lnTo>
                    <a:lnTo>
                      <a:pt x="8" y="46"/>
                    </a:lnTo>
                    <a:lnTo>
                      <a:pt x="8" y="46"/>
                    </a:lnTo>
                    <a:lnTo>
                      <a:pt x="8" y="46"/>
                    </a:lnTo>
                    <a:lnTo>
                      <a:pt x="8" y="46"/>
                    </a:lnTo>
                    <a:lnTo>
                      <a:pt x="8" y="46"/>
                    </a:lnTo>
                    <a:lnTo>
                      <a:pt x="10" y="46"/>
                    </a:lnTo>
                    <a:lnTo>
                      <a:pt x="10" y="46"/>
                    </a:lnTo>
                    <a:lnTo>
                      <a:pt x="10" y="46"/>
                    </a:lnTo>
                    <a:lnTo>
                      <a:pt x="8" y="46"/>
                    </a:lnTo>
                    <a:lnTo>
                      <a:pt x="8" y="46"/>
                    </a:lnTo>
                    <a:lnTo>
                      <a:pt x="8" y="46"/>
                    </a:lnTo>
                    <a:lnTo>
                      <a:pt x="8" y="46"/>
                    </a:lnTo>
                    <a:lnTo>
                      <a:pt x="8" y="46"/>
                    </a:lnTo>
                    <a:lnTo>
                      <a:pt x="8" y="46"/>
                    </a:lnTo>
                    <a:lnTo>
                      <a:pt x="8" y="46"/>
                    </a:lnTo>
                    <a:lnTo>
                      <a:pt x="8" y="48"/>
                    </a:lnTo>
                    <a:lnTo>
                      <a:pt x="8" y="48"/>
                    </a:lnTo>
                    <a:lnTo>
                      <a:pt x="8" y="48"/>
                    </a:lnTo>
                    <a:lnTo>
                      <a:pt x="8" y="48"/>
                    </a:lnTo>
                    <a:lnTo>
                      <a:pt x="8" y="48"/>
                    </a:lnTo>
                    <a:lnTo>
                      <a:pt x="8" y="48"/>
                    </a:lnTo>
                    <a:lnTo>
                      <a:pt x="8" y="48"/>
                    </a:lnTo>
                    <a:lnTo>
                      <a:pt x="8" y="46"/>
                    </a:lnTo>
                    <a:lnTo>
                      <a:pt x="8" y="46"/>
                    </a:lnTo>
                    <a:lnTo>
                      <a:pt x="8" y="46"/>
                    </a:lnTo>
                    <a:lnTo>
                      <a:pt x="10" y="46"/>
                    </a:lnTo>
                    <a:lnTo>
                      <a:pt x="10" y="46"/>
                    </a:lnTo>
                    <a:lnTo>
                      <a:pt x="10" y="48"/>
                    </a:lnTo>
                    <a:lnTo>
                      <a:pt x="10" y="48"/>
                    </a:lnTo>
                    <a:lnTo>
                      <a:pt x="10" y="46"/>
                    </a:lnTo>
                    <a:lnTo>
                      <a:pt x="10" y="46"/>
                    </a:lnTo>
                    <a:lnTo>
                      <a:pt x="10" y="46"/>
                    </a:lnTo>
                    <a:lnTo>
                      <a:pt x="10" y="46"/>
                    </a:lnTo>
                    <a:lnTo>
                      <a:pt x="10" y="46"/>
                    </a:lnTo>
                    <a:lnTo>
                      <a:pt x="10" y="46"/>
                    </a:lnTo>
                    <a:lnTo>
                      <a:pt x="10" y="46"/>
                    </a:lnTo>
                    <a:lnTo>
                      <a:pt x="10" y="46"/>
                    </a:lnTo>
                    <a:lnTo>
                      <a:pt x="10" y="46"/>
                    </a:lnTo>
                    <a:lnTo>
                      <a:pt x="10" y="46"/>
                    </a:lnTo>
                    <a:lnTo>
                      <a:pt x="8" y="46"/>
                    </a:lnTo>
                    <a:lnTo>
                      <a:pt x="6" y="46"/>
                    </a:lnTo>
                    <a:lnTo>
                      <a:pt x="6" y="46"/>
                    </a:lnTo>
                    <a:lnTo>
                      <a:pt x="6" y="46"/>
                    </a:lnTo>
                    <a:lnTo>
                      <a:pt x="6" y="46"/>
                    </a:lnTo>
                    <a:lnTo>
                      <a:pt x="6" y="46"/>
                    </a:lnTo>
                    <a:lnTo>
                      <a:pt x="6" y="46"/>
                    </a:lnTo>
                    <a:lnTo>
                      <a:pt x="6" y="46"/>
                    </a:lnTo>
                    <a:lnTo>
                      <a:pt x="6" y="44"/>
                    </a:lnTo>
                    <a:lnTo>
                      <a:pt x="6" y="44"/>
                    </a:lnTo>
                    <a:lnTo>
                      <a:pt x="6" y="44"/>
                    </a:lnTo>
                    <a:lnTo>
                      <a:pt x="8" y="44"/>
                    </a:lnTo>
                    <a:lnTo>
                      <a:pt x="8" y="42"/>
                    </a:lnTo>
                    <a:lnTo>
                      <a:pt x="8" y="42"/>
                    </a:lnTo>
                    <a:lnTo>
                      <a:pt x="8" y="42"/>
                    </a:lnTo>
                    <a:lnTo>
                      <a:pt x="8" y="42"/>
                    </a:lnTo>
                    <a:lnTo>
                      <a:pt x="10" y="42"/>
                    </a:lnTo>
                    <a:lnTo>
                      <a:pt x="10" y="44"/>
                    </a:lnTo>
                    <a:lnTo>
                      <a:pt x="10" y="44"/>
                    </a:lnTo>
                    <a:lnTo>
                      <a:pt x="10" y="44"/>
                    </a:lnTo>
                    <a:lnTo>
                      <a:pt x="12" y="46"/>
                    </a:lnTo>
                    <a:close/>
                    <a:moveTo>
                      <a:pt x="0" y="2"/>
                    </a:moveTo>
                    <a:lnTo>
                      <a:pt x="0" y="2"/>
                    </a:lnTo>
                    <a:lnTo>
                      <a:pt x="0" y="2"/>
                    </a:lnTo>
                    <a:lnTo>
                      <a:pt x="0" y="2"/>
                    </a:lnTo>
                    <a:lnTo>
                      <a:pt x="0" y="2"/>
                    </a:lnTo>
                    <a:lnTo>
                      <a:pt x="0" y="2"/>
                    </a:lnTo>
                    <a:lnTo>
                      <a:pt x="0" y="0"/>
                    </a:lnTo>
                    <a:lnTo>
                      <a:pt x="0" y="0"/>
                    </a:lnTo>
                    <a:lnTo>
                      <a:pt x="0" y="0"/>
                    </a:lnTo>
                    <a:lnTo>
                      <a:pt x="0" y="0"/>
                    </a:lnTo>
                    <a:lnTo>
                      <a:pt x="0" y="0"/>
                    </a:lnTo>
                    <a:lnTo>
                      <a:pt x="0" y="2"/>
                    </a:lnTo>
                    <a:close/>
                    <a:moveTo>
                      <a:pt x="19" y="10"/>
                    </a:move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2"/>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4"/>
                    </a:lnTo>
                    <a:lnTo>
                      <a:pt x="19" y="16"/>
                    </a:lnTo>
                    <a:lnTo>
                      <a:pt x="19" y="16"/>
                    </a:lnTo>
                    <a:lnTo>
                      <a:pt x="19" y="16"/>
                    </a:lnTo>
                    <a:lnTo>
                      <a:pt x="19" y="16"/>
                    </a:lnTo>
                    <a:lnTo>
                      <a:pt x="19" y="16"/>
                    </a:lnTo>
                    <a:lnTo>
                      <a:pt x="19" y="16"/>
                    </a:lnTo>
                    <a:lnTo>
                      <a:pt x="19" y="16"/>
                    </a:lnTo>
                    <a:lnTo>
                      <a:pt x="19" y="16"/>
                    </a:lnTo>
                    <a:lnTo>
                      <a:pt x="19" y="16"/>
                    </a:lnTo>
                    <a:lnTo>
                      <a:pt x="17" y="16"/>
                    </a:lnTo>
                    <a:lnTo>
                      <a:pt x="17" y="16"/>
                    </a:lnTo>
                    <a:lnTo>
                      <a:pt x="17" y="16"/>
                    </a:lnTo>
                    <a:lnTo>
                      <a:pt x="17" y="16"/>
                    </a:lnTo>
                    <a:lnTo>
                      <a:pt x="17" y="16"/>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7" y="14"/>
                    </a:lnTo>
                    <a:lnTo>
                      <a:pt x="19" y="14"/>
                    </a:lnTo>
                    <a:lnTo>
                      <a:pt x="19" y="14"/>
                    </a:lnTo>
                    <a:lnTo>
                      <a:pt x="19" y="14"/>
                    </a:lnTo>
                    <a:lnTo>
                      <a:pt x="19" y="14"/>
                    </a:lnTo>
                    <a:lnTo>
                      <a:pt x="19" y="14"/>
                    </a:lnTo>
                    <a:lnTo>
                      <a:pt x="19" y="14"/>
                    </a:lnTo>
                    <a:lnTo>
                      <a:pt x="19" y="14"/>
                    </a:lnTo>
                    <a:lnTo>
                      <a:pt x="19" y="12"/>
                    </a:lnTo>
                    <a:lnTo>
                      <a:pt x="19" y="12"/>
                    </a:lnTo>
                    <a:lnTo>
                      <a:pt x="19" y="12"/>
                    </a:lnTo>
                    <a:lnTo>
                      <a:pt x="19" y="12"/>
                    </a:lnTo>
                    <a:lnTo>
                      <a:pt x="19" y="10"/>
                    </a:lnTo>
                    <a:lnTo>
                      <a:pt x="19" y="10"/>
                    </a:lnTo>
                    <a:lnTo>
                      <a:pt x="19" y="10"/>
                    </a:lnTo>
                    <a:close/>
                    <a:moveTo>
                      <a:pt x="19" y="10"/>
                    </a:moveTo>
                    <a:lnTo>
                      <a:pt x="19" y="10"/>
                    </a:lnTo>
                    <a:lnTo>
                      <a:pt x="19" y="10"/>
                    </a:lnTo>
                    <a:lnTo>
                      <a:pt x="19" y="10"/>
                    </a:lnTo>
                    <a:lnTo>
                      <a:pt x="19" y="10"/>
                    </a:lnTo>
                    <a:lnTo>
                      <a:pt x="19" y="10"/>
                    </a:lnTo>
                    <a:lnTo>
                      <a:pt x="19" y="10"/>
                    </a:lnTo>
                    <a:lnTo>
                      <a:pt x="19" y="10"/>
                    </a:lnTo>
                    <a:lnTo>
                      <a:pt x="19" y="12"/>
                    </a:lnTo>
                    <a:lnTo>
                      <a:pt x="19" y="10"/>
                    </a:lnTo>
                    <a:lnTo>
                      <a:pt x="19" y="12"/>
                    </a:lnTo>
                    <a:lnTo>
                      <a:pt x="19" y="12"/>
                    </a:lnTo>
                    <a:lnTo>
                      <a:pt x="19" y="10"/>
                    </a:lnTo>
                    <a:lnTo>
                      <a:pt x="19" y="10"/>
                    </a:lnTo>
                    <a:lnTo>
                      <a:pt x="19" y="12"/>
                    </a:lnTo>
                    <a:lnTo>
                      <a:pt x="19" y="12"/>
                    </a:lnTo>
                    <a:lnTo>
                      <a:pt x="19" y="12"/>
                    </a:lnTo>
                    <a:lnTo>
                      <a:pt x="19" y="12"/>
                    </a:lnTo>
                    <a:lnTo>
                      <a:pt x="19" y="12"/>
                    </a:lnTo>
                    <a:lnTo>
                      <a:pt x="19" y="12"/>
                    </a:lnTo>
                    <a:lnTo>
                      <a:pt x="19" y="12"/>
                    </a:lnTo>
                    <a:lnTo>
                      <a:pt x="17" y="12"/>
                    </a:lnTo>
                    <a:lnTo>
                      <a:pt x="17" y="12"/>
                    </a:lnTo>
                    <a:lnTo>
                      <a:pt x="17" y="12"/>
                    </a:lnTo>
                    <a:lnTo>
                      <a:pt x="17" y="12"/>
                    </a:lnTo>
                    <a:lnTo>
                      <a:pt x="17" y="12"/>
                    </a:lnTo>
                    <a:lnTo>
                      <a:pt x="17" y="14"/>
                    </a:lnTo>
                    <a:lnTo>
                      <a:pt x="17" y="14"/>
                    </a:lnTo>
                    <a:lnTo>
                      <a:pt x="17" y="14"/>
                    </a:lnTo>
                    <a:lnTo>
                      <a:pt x="17" y="14"/>
                    </a:lnTo>
                    <a:lnTo>
                      <a:pt x="17" y="14"/>
                    </a:lnTo>
                    <a:lnTo>
                      <a:pt x="17" y="14"/>
                    </a:lnTo>
                    <a:lnTo>
                      <a:pt x="17" y="14"/>
                    </a:lnTo>
                    <a:lnTo>
                      <a:pt x="17" y="14"/>
                    </a:lnTo>
                    <a:lnTo>
                      <a:pt x="17" y="14"/>
                    </a:lnTo>
                    <a:lnTo>
                      <a:pt x="17" y="12"/>
                    </a:lnTo>
                    <a:lnTo>
                      <a:pt x="17" y="12"/>
                    </a:lnTo>
                    <a:lnTo>
                      <a:pt x="17" y="12"/>
                    </a:lnTo>
                    <a:lnTo>
                      <a:pt x="17" y="12"/>
                    </a:lnTo>
                    <a:lnTo>
                      <a:pt x="17" y="12"/>
                    </a:lnTo>
                    <a:lnTo>
                      <a:pt x="17" y="10"/>
                    </a:lnTo>
                    <a:lnTo>
                      <a:pt x="17" y="10"/>
                    </a:lnTo>
                    <a:lnTo>
                      <a:pt x="17" y="10"/>
                    </a:lnTo>
                    <a:lnTo>
                      <a:pt x="17" y="10"/>
                    </a:lnTo>
                    <a:lnTo>
                      <a:pt x="19" y="10"/>
                    </a:lnTo>
                    <a:lnTo>
                      <a:pt x="19" y="10"/>
                    </a:lnTo>
                    <a:lnTo>
                      <a:pt x="19" y="10"/>
                    </a:lnTo>
                    <a:lnTo>
                      <a:pt x="19" y="10"/>
                    </a:lnTo>
                    <a:lnTo>
                      <a:pt x="19" y="10"/>
                    </a:lnTo>
                    <a:lnTo>
                      <a:pt x="19" y="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1" name="Freeform 91"/>
              <p:cNvSpPr>
                <a:spLocks noEditPoints="1"/>
              </p:cNvSpPr>
              <p:nvPr/>
            </p:nvSpPr>
            <p:spPr bwMode="auto">
              <a:xfrm>
                <a:off x="706459" y="3911626"/>
                <a:ext cx="30971" cy="101518"/>
              </a:xfrm>
              <a:custGeom>
                <a:avLst/>
                <a:gdLst>
                  <a:gd name="T0" fmla="*/ 16 w 18"/>
                  <a:gd name="T1" fmla="*/ 59 h 59"/>
                  <a:gd name="T2" fmla="*/ 16 w 18"/>
                  <a:gd name="T3" fmla="*/ 59 h 59"/>
                  <a:gd name="T4" fmla="*/ 16 w 18"/>
                  <a:gd name="T5" fmla="*/ 59 h 59"/>
                  <a:gd name="T6" fmla="*/ 16 w 18"/>
                  <a:gd name="T7" fmla="*/ 59 h 59"/>
                  <a:gd name="T8" fmla="*/ 16 w 18"/>
                  <a:gd name="T9" fmla="*/ 59 h 59"/>
                  <a:gd name="T10" fmla="*/ 16 w 18"/>
                  <a:gd name="T11" fmla="*/ 57 h 59"/>
                  <a:gd name="T12" fmla="*/ 16 w 18"/>
                  <a:gd name="T13" fmla="*/ 57 h 59"/>
                  <a:gd name="T14" fmla="*/ 16 w 18"/>
                  <a:gd name="T15" fmla="*/ 57 h 59"/>
                  <a:gd name="T16" fmla="*/ 16 w 18"/>
                  <a:gd name="T17" fmla="*/ 57 h 59"/>
                  <a:gd name="T18" fmla="*/ 16 w 18"/>
                  <a:gd name="T19" fmla="*/ 59 h 59"/>
                  <a:gd name="T20" fmla="*/ 0 w 18"/>
                  <a:gd name="T21" fmla="*/ 11 h 59"/>
                  <a:gd name="T22" fmla="*/ 0 w 18"/>
                  <a:gd name="T23" fmla="*/ 11 h 59"/>
                  <a:gd name="T24" fmla="*/ 0 w 18"/>
                  <a:gd name="T25" fmla="*/ 11 h 59"/>
                  <a:gd name="T26" fmla="*/ 0 w 18"/>
                  <a:gd name="T27" fmla="*/ 11 h 59"/>
                  <a:gd name="T28" fmla="*/ 0 w 18"/>
                  <a:gd name="T29" fmla="*/ 11 h 59"/>
                  <a:gd name="T30" fmla="*/ 18 w 18"/>
                  <a:gd name="T31" fmla="*/ 2 h 59"/>
                  <a:gd name="T32" fmla="*/ 18 w 18"/>
                  <a:gd name="T33" fmla="*/ 2 h 59"/>
                  <a:gd name="T34" fmla="*/ 18 w 18"/>
                  <a:gd name="T35" fmla="*/ 2 h 59"/>
                  <a:gd name="T36" fmla="*/ 18 w 18"/>
                  <a:gd name="T37" fmla="*/ 0 h 59"/>
                  <a:gd name="T38" fmla="*/ 18 w 18"/>
                  <a:gd name="T39" fmla="*/ 2 h 59"/>
                  <a:gd name="T40" fmla="*/ 18 w 18"/>
                  <a:gd name="T41" fmla="*/ 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59">
                    <a:moveTo>
                      <a:pt x="16" y="59"/>
                    </a:moveTo>
                    <a:lnTo>
                      <a:pt x="16" y="59"/>
                    </a:lnTo>
                    <a:lnTo>
                      <a:pt x="16" y="59"/>
                    </a:lnTo>
                    <a:lnTo>
                      <a:pt x="16" y="59"/>
                    </a:lnTo>
                    <a:lnTo>
                      <a:pt x="16" y="59"/>
                    </a:lnTo>
                    <a:lnTo>
                      <a:pt x="16" y="57"/>
                    </a:lnTo>
                    <a:lnTo>
                      <a:pt x="16" y="57"/>
                    </a:lnTo>
                    <a:lnTo>
                      <a:pt x="16" y="57"/>
                    </a:lnTo>
                    <a:lnTo>
                      <a:pt x="16" y="57"/>
                    </a:lnTo>
                    <a:lnTo>
                      <a:pt x="16" y="59"/>
                    </a:lnTo>
                    <a:close/>
                    <a:moveTo>
                      <a:pt x="0" y="11"/>
                    </a:moveTo>
                    <a:lnTo>
                      <a:pt x="0" y="11"/>
                    </a:lnTo>
                    <a:lnTo>
                      <a:pt x="0" y="11"/>
                    </a:lnTo>
                    <a:lnTo>
                      <a:pt x="0" y="11"/>
                    </a:lnTo>
                    <a:lnTo>
                      <a:pt x="0" y="11"/>
                    </a:lnTo>
                    <a:close/>
                    <a:moveTo>
                      <a:pt x="18" y="2"/>
                    </a:moveTo>
                    <a:lnTo>
                      <a:pt x="18" y="2"/>
                    </a:lnTo>
                    <a:lnTo>
                      <a:pt x="18" y="2"/>
                    </a:lnTo>
                    <a:lnTo>
                      <a:pt x="18" y="0"/>
                    </a:lnTo>
                    <a:lnTo>
                      <a:pt x="18" y="2"/>
                    </a:lnTo>
                    <a:lnTo>
                      <a:pt x="1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2" name="Freeform 92"/>
              <p:cNvSpPr>
                <a:spLocks/>
              </p:cNvSpPr>
              <p:nvPr/>
            </p:nvSpPr>
            <p:spPr bwMode="auto">
              <a:xfrm>
                <a:off x="489661" y="3450499"/>
                <a:ext cx="395744" cy="461127"/>
              </a:xfrm>
              <a:custGeom>
                <a:avLst/>
                <a:gdLst>
                  <a:gd name="T0" fmla="*/ 205 w 230"/>
                  <a:gd name="T1" fmla="*/ 43 h 268"/>
                  <a:gd name="T2" fmla="*/ 201 w 230"/>
                  <a:gd name="T3" fmla="*/ 66 h 268"/>
                  <a:gd name="T4" fmla="*/ 228 w 230"/>
                  <a:gd name="T5" fmla="*/ 83 h 268"/>
                  <a:gd name="T6" fmla="*/ 211 w 230"/>
                  <a:gd name="T7" fmla="*/ 104 h 268"/>
                  <a:gd name="T8" fmla="*/ 217 w 230"/>
                  <a:gd name="T9" fmla="*/ 135 h 268"/>
                  <a:gd name="T10" fmla="*/ 197 w 230"/>
                  <a:gd name="T11" fmla="*/ 158 h 268"/>
                  <a:gd name="T12" fmla="*/ 194 w 230"/>
                  <a:gd name="T13" fmla="*/ 177 h 268"/>
                  <a:gd name="T14" fmla="*/ 182 w 230"/>
                  <a:gd name="T15" fmla="*/ 193 h 268"/>
                  <a:gd name="T16" fmla="*/ 178 w 230"/>
                  <a:gd name="T17" fmla="*/ 214 h 268"/>
                  <a:gd name="T18" fmla="*/ 188 w 230"/>
                  <a:gd name="T19" fmla="*/ 218 h 268"/>
                  <a:gd name="T20" fmla="*/ 188 w 230"/>
                  <a:gd name="T21" fmla="*/ 222 h 268"/>
                  <a:gd name="T22" fmla="*/ 184 w 230"/>
                  <a:gd name="T23" fmla="*/ 231 h 268"/>
                  <a:gd name="T24" fmla="*/ 180 w 230"/>
                  <a:gd name="T25" fmla="*/ 237 h 268"/>
                  <a:gd name="T26" fmla="*/ 176 w 230"/>
                  <a:gd name="T27" fmla="*/ 241 h 268"/>
                  <a:gd name="T28" fmla="*/ 171 w 230"/>
                  <a:gd name="T29" fmla="*/ 247 h 268"/>
                  <a:gd name="T30" fmla="*/ 167 w 230"/>
                  <a:gd name="T31" fmla="*/ 247 h 268"/>
                  <a:gd name="T32" fmla="*/ 165 w 230"/>
                  <a:gd name="T33" fmla="*/ 248 h 268"/>
                  <a:gd name="T34" fmla="*/ 161 w 230"/>
                  <a:gd name="T35" fmla="*/ 252 h 268"/>
                  <a:gd name="T36" fmla="*/ 155 w 230"/>
                  <a:gd name="T37" fmla="*/ 262 h 268"/>
                  <a:gd name="T38" fmla="*/ 149 w 230"/>
                  <a:gd name="T39" fmla="*/ 268 h 268"/>
                  <a:gd name="T40" fmla="*/ 149 w 230"/>
                  <a:gd name="T41" fmla="*/ 268 h 268"/>
                  <a:gd name="T42" fmla="*/ 146 w 230"/>
                  <a:gd name="T43" fmla="*/ 260 h 268"/>
                  <a:gd name="T44" fmla="*/ 136 w 230"/>
                  <a:gd name="T45" fmla="*/ 260 h 268"/>
                  <a:gd name="T46" fmla="*/ 130 w 230"/>
                  <a:gd name="T47" fmla="*/ 243 h 268"/>
                  <a:gd name="T48" fmla="*/ 119 w 230"/>
                  <a:gd name="T49" fmla="*/ 233 h 268"/>
                  <a:gd name="T50" fmla="*/ 109 w 230"/>
                  <a:gd name="T51" fmla="*/ 225 h 268"/>
                  <a:gd name="T52" fmla="*/ 96 w 230"/>
                  <a:gd name="T53" fmla="*/ 193 h 268"/>
                  <a:gd name="T54" fmla="*/ 86 w 230"/>
                  <a:gd name="T55" fmla="*/ 177 h 268"/>
                  <a:gd name="T56" fmla="*/ 75 w 230"/>
                  <a:gd name="T57" fmla="*/ 160 h 268"/>
                  <a:gd name="T58" fmla="*/ 75 w 230"/>
                  <a:gd name="T59" fmla="*/ 141 h 268"/>
                  <a:gd name="T60" fmla="*/ 75 w 230"/>
                  <a:gd name="T61" fmla="*/ 129 h 268"/>
                  <a:gd name="T62" fmla="*/ 69 w 230"/>
                  <a:gd name="T63" fmla="*/ 123 h 268"/>
                  <a:gd name="T64" fmla="*/ 59 w 230"/>
                  <a:gd name="T65" fmla="*/ 110 h 268"/>
                  <a:gd name="T66" fmla="*/ 51 w 230"/>
                  <a:gd name="T67" fmla="*/ 93 h 268"/>
                  <a:gd name="T68" fmla="*/ 38 w 230"/>
                  <a:gd name="T69" fmla="*/ 98 h 268"/>
                  <a:gd name="T70" fmla="*/ 19 w 230"/>
                  <a:gd name="T71" fmla="*/ 89 h 268"/>
                  <a:gd name="T72" fmla="*/ 3 w 230"/>
                  <a:gd name="T73" fmla="*/ 87 h 268"/>
                  <a:gd name="T74" fmla="*/ 3 w 230"/>
                  <a:gd name="T75" fmla="*/ 72 h 268"/>
                  <a:gd name="T76" fmla="*/ 7 w 230"/>
                  <a:gd name="T77" fmla="*/ 72 h 268"/>
                  <a:gd name="T78" fmla="*/ 19 w 230"/>
                  <a:gd name="T79" fmla="*/ 72 h 268"/>
                  <a:gd name="T80" fmla="*/ 30 w 230"/>
                  <a:gd name="T81" fmla="*/ 60 h 268"/>
                  <a:gd name="T82" fmla="*/ 40 w 230"/>
                  <a:gd name="T83" fmla="*/ 64 h 268"/>
                  <a:gd name="T84" fmla="*/ 48 w 230"/>
                  <a:gd name="T85" fmla="*/ 81 h 268"/>
                  <a:gd name="T86" fmla="*/ 59 w 230"/>
                  <a:gd name="T87" fmla="*/ 89 h 268"/>
                  <a:gd name="T88" fmla="*/ 75 w 230"/>
                  <a:gd name="T89" fmla="*/ 108 h 268"/>
                  <a:gd name="T90" fmla="*/ 86 w 230"/>
                  <a:gd name="T91" fmla="*/ 104 h 268"/>
                  <a:gd name="T92" fmla="*/ 90 w 230"/>
                  <a:gd name="T93" fmla="*/ 104 h 268"/>
                  <a:gd name="T94" fmla="*/ 94 w 230"/>
                  <a:gd name="T95" fmla="*/ 93 h 268"/>
                  <a:gd name="T96" fmla="*/ 107 w 230"/>
                  <a:gd name="T97" fmla="*/ 83 h 268"/>
                  <a:gd name="T98" fmla="*/ 124 w 230"/>
                  <a:gd name="T99" fmla="*/ 72 h 268"/>
                  <a:gd name="T100" fmla="*/ 140 w 230"/>
                  <a:gd name="T101" fmla="*/ 39 h 268"/>
                  <a:gd name="T102" fmla="*/ 123 w 230"/>
                  <a:gd name="T103" fmla="*/ 47 h 268"/>
                  <a:gd name="T104" fmla="*/ 121 w 230"/>
                  <a:gd name="T105" fmla="*/ 33 h 268"/>
                  <a:gd name="T106" fmla="*/ 136 w 230"/>
                  <a:gd name="T107" fmla="*/ 22 h 268"/>
                  <a:gd name="T108" fmla="*/ 149 w 230"/>
                  <a:gd name="T109" fmla="*/ 20 h 268"/>
                  <a:gd name="T110" fmla="*/ 161 w 230"/>
                  <a:gd name="T111" fmla="*/ 18 h 268"/>
                  <a:gd name="T112" fmla="*/ 171 w 230"/>
                  <a:gd name="T113" fmla="*/ 4 h 268"/>
                  <a:gd name="T114" fmla="*/ 172 w 230"/>
                  <a:gd name="T115" fmla="*/ 16 h 268"/>
                  <a:gd name="T116" fmla="*/ 184 w 230"/>
                  <a:gd name="T117" fmla="*/ 1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0" h="268">
                    <a:moveTo>
                      <a:pt x="194" y="25"/>
                    </a:moveTo>
                    <a:lnTo>
                      <a:pt x="196" y="27"/>
                    </a:lnTo>
                    <a:lnTo>
                      <a:pt x="197" y="27"/>
                    </a:lnTo>
                    <a:lnTo>
                      <a:pt x="197" y="29"/>
                    </a:lnTo>
                    <a:lnTo>
                      <a:pt x="199" y="37"/>
                    </a:lnTo>
                    <a:lnTo>
                      <a:pt x="205" y="39"/>
                    </a:lnTo>
                    <a:lnTo>
                      <a:pt x="207" y="41"/>
                    </a:lnTo>
                    <a:lnTo>
                      <a:pt x="205" y="43"/>
                    </a:lnTo>
                    <a:lnTo>
                      <a:pt x="203" y="45"/>
                    </a:lnTo>
                    <a:lnTo>
                      <a:pt x="201" y="47"/>
                    </a:lnTo>
                    <a:lnTo>
                      <a:pt x="201" y="50"/>
                    </a:lnTo>
                    <a:lnTo>
                      <a:pt x="201" y="52"/>
                    </a:lnTo>
                    <a:lnTo>
                      <a:pt x="201" y="60"/>
                    </a:lnTo>
                    <a:lnTo>
                      <a:pt x="203" y="60"/>
                    </a:lnTo>
                    <a:lnTo>
                      <a:pt x="201" y="64"/>
                    </a:lnTo>
                    <a:lnTo>
                      <a:pt x="201" y="66"/>
                    </a:lnTo>
                    <a:lnTo>
                      <a:pt x="201" y="72"/>
                    </a:lnTo>
                    <a:lnTo>
                      <a:pt x="201" y="77"/>
                    </a:lnTo>
                    <a:lnTo>
                      <a:pt x="203" y="79"/>
                    </a:lnTo>
                    <a:lnTo>
                      <a:pt x="205" y="85"/>
                    </a:lnTo>
                    <a:lnTo>
                      <a:pt x="209" y="89"/>
                    </a:lnTo>
                    <a:lnTo>
                      <a:pt x="224" y="83"/>
                    </a:lnTo>
                    <a:lnTo>
                      <a:pt x="226" y="83"/>
                    </a:lnTo>
                    <a:lnTo>
                      <a:pt x="228" y="83"/>
                    </a:lnTo>
                    <a:lnTo>
                      <a:pt x="228" y="85"/>
                    </a:lnTo>
                    <a:lnTo>
                      <a:pt x="228" y="87"/>
                    </a:lnTo>
                    <a:lnTo>
                      <a:pt x="230" y="89"/>
                    </a:lnTo>
                    <a:lnTo>
                      <a:pt x="224" y="89"/>
                    </a:lnTo>
                    <a:lnTo>
                      <a:pt x="221" y="89"/>
                    </a:lnTo>
                    <a:lnTo>
                      <a:pt x="213" y="91"/>
                    </a:lnTo>
                    <a:lnTo>
                      <a:pt x="213" y="100"/>
                    </a:lnTo>
                    <a:lnTo>
                      <a:pt x="211" y="104"/>
                    </a:lnTo>
                    <a:lnTo>
                      <a:pt x="211" y="108"/>
                    </a:lnTo>
                    <a:lnTo>
                      <a:pt x="211" y="110"/>
                    </a:lnTo>
                    <a:lnTo>
                      <a:pt x="209" y="116"/>
                    </a:lnTo>
                    <a:lnTo>
                      <a:pt x="209" y="122"/>
                    </a:lnTo>
                    <a:lnTo>
                      <a:pt x="213" y="125"/>
                    </a:lnTo>
                    <a:lnTo>
                      <a:pt x="213" y="127"/>
                    </a:lnTo>
                    <a:lnTo>
                      <a:pt x="211" y="133"/>
                    </a:lnTo>
                    <a:lnTo>
                      <a:pt x="217" y="135"/>
                    </a:lnTo>
                    <a:lnTo>
                      <a:pt x="217" y="147"/>
                    </a:lnTo>
                    <a:lnTo>
                      <a:pt x="213" y="145"/>
                    </a:lnTo>
                    <a:lnTo>
                      <a:pt x="213" y="148"/>
                    </a:lnTo>
                    <a:lnTo>
                      <a:pt x="211" y="148"/>
                    </a:lnTo>
                    <a:lnTo>
                      <a:pt x="207" y="147"/>
                    </a:lnTo>
                    <a:lnTo>
                      <a:pt x="199" y="150"/>
                    </a:lnTo>
                    <a:lnTo>
                      <a:pt x="199" y="152"/>
                    </a:lnTo>
                    <a:lnTo>
                      <a:pt x="197" y="158"/>
                    </a:lnTo>
                    <a:lnTo>
                      <a:pt x="194" y="156"/>
                    </a:lnTo>
                    <a:lnTo>
                      <a:pt x="186" y="152"/>
                    </a:lnTo>
                    <a:lnTo>
                      <a:pt x="178" y="158"/>
                    </a:lnTo>
                    <a:lnTo>
                      <a:pt x="190" y="168"/>
                    </a:lnTo>
                    <a:lnTo>
                      <a:pt x="184" y="175"/>
                    </a:lnTo>
                    <a:lnTo>
                      <a:pt x="188" y="177"/>
                    </a:lnTo>
                    <a:lnTo>
                      <a:pt x="190" y="177"/>
                    </a:lnTo>
                    <a:lnTo>
                      <a:pt x="194" y="177"/>
                    </a:lnTo>
                    <a:lnTo>
                      <a:pt x="194" y="181"/>
                    </a:lnTo>
                    <a:lnTo>
                      <a:pt x="192" y="181"/>
                    </a:lnTo>
                    <a:lnTo>
                      <a:pt x="192" y="183"/>
                    </a:lnTo>
                    <a:lnTo>
                      <a:pt x="188" y="187"/>
                    </a:lnTo>
                    <a:lnTo>
                      <a:pt x="186" y="187"/>
                    </a:lnTo>
                    <a:lnTo>
                      <a:pt x="186" y="189"/>
                    </a:lnTo>
                    <a:lnTo>
                      <a:pt x="184" y="191"/>
                    </a:lnTo>
                    <a:lnTo>
                      <a:pt x="182" y="193"/>
                    </a:lnTo>
                    <a:lnTo>
                      <a:pt x="167" y="210"/>
                    </a:lnTo>
                    <a:lnTo>
                      <a:pt x="169" y="210"/>
                    </a:lnTo>
                    <a:lnTo>
                      <a:pt x="171" y="210"/>
                    </a:lnTo>
                    <a:lnTo>
                      <a:pt x="172" y="210"/>
                    </a:lnTo>
                    <a:lnTo>
                      <a:pt x="172" y="212"/>
                    </a:lnTo>
                    <a:lnTo>
                      <a:pt x="174" y="212"/>
                    </a:lnTo>
                    <a:lnTo>
                      <a:pt x="176" y="214"/>
                    </a:lnTo>
                    <a:lnTo>
                      <a:pt x="178" y="214"/>
                    </a:lnTo>
                    <a:lnTo>
                      <a:pt x="180" y="214"/>
                    </a:lnTo>
                    <a:lnTo>
                      <a:pt x="182" y="214"/>
                    </a:lnTo>
                    <a:lnTo>
                      <a:pt x="184" y="212"/>
                    </a:lnTo>
                    <a:lnTo>
                      <a:pt x="184" y="214"/>
                    </a:lnTo>
                    <a:lnTo>
                      <a:pt x="186" y="214"/>
                    </a:lnTo>
                    <a:lnTo>
                      <a:pt x="186" y="216"/>
                    </a:lnTo>
                    <a:lnTo>
                      <a:pt x="188" y="216"/>
                    </a:lnTo>
                    <a:lnTo>
                      <a:pt x="188" y="218"/>
                    </a:lnTo>
                    <a:lnTo>
                      <a:pt x="190" y="218"/>
                    </a:lnTo>
                    <a:lnTo>
                      <a:pt x="192" y="218"/>
                    </a:lnTo>
                    <a:lnTo>
                      <a:pt x="192" y="220"/>
                    </a:lnTo>
                    <a:lnTo>
                      <a:pt x="192" y="222"/>
                    </a:lnTo>
                    <a:lnTo>
                      <a:pt x="192" y="220"/>
                    </a:lnTo>
                    <a:lnTo>
                      <a:pt x="190" y="220"/>
                    </a:lnTo>
                    <a:lnTo>
                      <a:pt x="188" y="220"/>
                    </a:lnTo>
                    <a:lnTo>
                      <a:pt x="188" y="222"/>
                    </a:lnTo>
                    <a:lnTo>
                      <a:pt x="188" y="223"/>
                    </a:lnTo>
                    <a:lnTo>
                      <a:pt x="186" y="223"/>
                    </a:lnTo>
                    <a:lnTo>
                      <a:pt x="186" y="225"/>
                    </a:lnTo>
                    <a:lnTo>
                      <a:pt x="186" y="227"/>
                    </a:lnTo>
                    <a:lnTo>
                      <a:pt x="188" y="227"/>
                    </a:lnTo>
                    <a:lnTo>
                      <a:pt x="186" y="229"/>
                    </a:lnTo>
                    <a:lnTo>
                      <a:pt x="186" y="231"/>
                    </a:lnTo>
                    <a:lnTo>
                      <a:pt x="184" y="231"/>
                    </a:lnTo>
                    <a:lnTo>
                      <a:pt x="184" y="233"/>
                    </a:lnTo>
                    <a:lnTo>
                      <a:pt x="184" y="231"/>
                    </a:lnTo>
                    <a:lnTo>
                      <a:pt x="182" y="231"/>
                    </a:lnTo>
                    <a:lnTo>
                      <a:pt x="184" y="231"/>
                    </a:lnTo>
                    <a:lnTo>
                      <a:pt x="182" y="231"/>
                    </a:lnTo>
                    <a:lnTo>
                      <a:pt x="182" y="233"/>
                    </a:lnTo>
                    <a:lnTo>
                      <a:pt x="180" y="235"/>
                    </a:lnTo>
                    <a:lnTo>
                      <a:pt x="180" y="237"/>
                    </a:lnTo>
                    <a:lnTo>
                      <a:pt x="178" y="237"/>
                    </a:lnTo>
                    <a:lnTo>
                      <a:pt x="178" y="239"/>
                    </a:lnTo>
                    <a:lnTo>
                      <a:pt x="178" y="237"/>
                    </a:lnTo>
                    <a:lnTo>
                      <a:pt x="178" y="235"/>
                    </a:lnTo>
                    <a:lnTo>
                      <a:pt x="178" y="237"/>
                    </a:lnTo>
                    <a:lnTo>
                      <a:pt x="178" y="239"/>
                    </a:lnTo>
                    <a:lnTo>
                      <a:pt x="176" y="239"/>
                    </a:lnTo>
                    <a:lnTo>
                      <a:pt x="176" y="241"/>
                    </a:lnTo>
                    <a:lnTo>
                      <a:pt x="174" y="241"/>
                    </a:lnTo>
                    <a:lnTo>
                      <a:pt x="174" y="243"/>
                    </a:lnTo>
                    <a:lnTo>
                      <a:pt x="172" y="243"/>
                    </a:lnTo>
                    <a:lnTo>
                      <a:pt x="172" y="245"/>
                    </a:lnTo>
                    <a:lnTo>
                      <a:pt x="172" y="247"/>
                    </a:lnTo>
                    <a:lnTo>
                      <a:pt x="171" y="247"/>
                    </a:lnTo>
                    <a:lnTo>
                      <a:pt x="171" y="248"/>
                    </a:lnTo>
                    <a:lnTo>
                      <a:pt x="171" y="247"/>
                    </a:lnTo>
                    <a:lnTo>
                      <a:pt x="171" y="245"/>
                    </a:lnTo>
                    <a:lnTo>
                      <a:pt x="171" y="243"/>
                    </a:lnTo>
                    <a:lnTo>
                      <a:pt x="171" y="245"/>
                    </a:lnTo>
                    <a:lnTo>
                      <a:pt x="169" y="245"/>
                    </a:lnTo>
                    <a:lnTo>
                      <a:pt x="169" y="247"/>
                    </a:lnTo>
                    <a:lnTo>
                      <a:pt x="169" y="248"/>
                    </a:lnTo>
                    <a:lnTo>
                      <a:pt x="167" y="248"/>
                    </a:lnTo>
                    <a:lnTo>
                      <a:pt x="167" y="247"/>
                    </a:lnTo>
                    <a:lnTo>
                      <a:pt x="167" y="248"/>
                    </a:lnTo>
                    <a:lnTo>
                      <a:pt x="165" y="248"/>
                    </a:lnTo>
                    <a:lnTo>
                      <a:pt x="167" y="248"/>
                    </a:lnTo>
                    <a:lnTo>
                      <a:pt x="165" y="248"/>
                    </a:lnTo>
                    <a:lnTo>
                      <a:pt x="165" y="250"/>
                    </a:lnTo>
                    <a:lnTo>
                      <a:pt x="165" y="248"/>
                    </a:lnTo>
                    <a:lnTo>
                      <a:pt x="165" y="250"/>
                    </a:lnTo>
                    <a:lnTo>
                      <a:pt x="165" y="248"/>
                    </a:lnTo>
                    <a:lnTo>
                      <a:pt x="165" y="250"/>
                    </a:lnTo>
                    <a:lnTo>
                      <a:pt x="163" y="250"/>
                    </a:lnTo>
                    <a:lnTo>
                      <a:pt x="165" y="250"/>
                    </a:lnTo>
                    <a:lnTo>
                      <a:pt x="163" y="250"/>
                    </a:lnTo>
                    <a:lnTo>
                      <a:pt x="163" y="252"/>
                    </a:lnTo>
                    <a:lnTo>
                      <a:pt x="163" y="250"/>
                    </a:lnTo>
                    <a:lnTo>
                      <a:pt x="163" y="252"/>
                    </a:lnTo>
                    <a:lnTo>
                      <a:pt x="161" y="252"/>
                    </a:lnTo>
                    <a:lnTo>
                      <a:pt x="161" y="254"/>
                    </a:lnTo>
                    <a:lnTo>
                      <a:pt x="159" y="254"/>
                    </a:lnTo>
                    <a:lnTo>
                      <a:pt x="159" y="256"/>
                    </a:lnTo>
                    <a:lnTo>
                      <a:pt x="157" y="256"/>
                    </a:lnTo>
                    <a:lnTo>
                      <a:pt x="157" y="258"/>
                    </a:lnTo>
                    <a:lnTo>
                      <a:pt x="155" y="258"/>
                    </a:lnTo>
                    <a:lnTo>
                      <a:pt x="155" y="260"/>
                    </a:lnTo>
                    <a:lnTo>
                      <a:pt x="155" y="262"/>
                    </a:lnTo>
                    <a:lnTo>
                      <a:pt x="155" y="264"/>
                    </a:lnTo>
                    <a:lnTo>
                      <a:pt x="153" y="264"/>
                    </a:lnTo>
                    <a:lnTo>
                      <a:pt x="153" y="262"/>
                    </a:lnTo>
                    <a:lnTo>
                      <a:pt x="151" y="262"/>
                    </a:lnTo>
                    <a:lnTo>
                      <a:pt x="151" y="264"/>
                    </a:lnTo>
                    <a:lnTo>
                      <a:pt x="151" y="266"/>
                    </a:lnTo>
                    <a:lnTo>
                      <a:pt x="149" y="266"/>
                    </a:lnTo>
                    <a:lnTo>
                      <a:pt x="149" y="268"/>
                    </a:lnTo>
                    <a:lnTo>
                      <a:pt x="149" y="266"/>
                    </a:lnTo>
                    <a:lnTo>
                      <a:pt x="149" y="268"/>
                    </a:lnTo>
                    <a:lnTo>
                      <a:pt x="148" y="268"/>
                    </a:lnTo>
                    <a:lnTo>
                      <a:pt x="149" y="268"/>
                    </a:lnTo>
                    <a:lnTo>
                      <a:pt x="148" y="268"/>
                    </a:lnTo>
                    <a:lnTo>
                      <a:pt x="149" y="268"/>
                    </a:lnTo>
                    <a:lnTo>
                      <a:pt x="148" y="268"/>
                    </a:lnTo>
                    <a:lnTo>
                      <a:pt x="149" y="268"/>
                    </a:lnTo>
                    <a:lnTo>
                      <a:pt x="148" y="268"/>
                    </a:lnTo>
                    <a:lnTo>
                      <a:pt x="146" y="268"/>
                    </a:lnTo>
                    <a:lnTo>
                      <a:pt x="148" y="268"/>
                    </a:lnTo>
                    <a:lnTo>
                      <a:pt x="146" y="268"/>
                    </a:lnTo>
                    <a:lnTo>
                      <a:pt x="146" y="266"/>
                    </a:lnTo>
                    <a:lnTo>
                      <a:pt x="146" y="264"/>
                    </a:lnTo>
                    <a:lnTo>
                      <a:pt x="146" y="262"/>
                    </a:lnTo>
                    <a:lnTo>
                      <a:pt x="146" y="260"/>
                    </a:lnTo>
                    <a:lnTo>
                      <a:pt x="146" y="262"/>
                    </a:lnTo>
                    <a:lnTo>
                      <a:pt x="144" y="262"/>
                    </a:lnTo>
                    <a:lnTo>
                      <a:pt x="142" y="262"/>
                    </a:lnTo>
                    <a:lnTo>
                      <a:pt x="142" y="258"/>
                    </a:lnTo>
                    <a:lnTo>
                      <a:pt x="140" y="258"/>
                    </a:lnTo>
                    <a:lnTo>
                      <a:pt x="138" y="256"/>
                    </a:lnTo>
                    <a:lnTo>
                      <a:pt x="138" y="258"/>
                    </a:lnTo>
                    <a:lnTo>
                      <a:pt x="136" y="260"/>
                    </a:lnTo>
                    <a:lnTo>
                      <a:pt x="136" y="258"/>
                    </a:lnTo>
                    <a:lnTo>
                      <a:pt x="136" y="256"/>
                    </a:lnTo>
                    <a:lnTo>
                      <a:pt x="136" y="254"/>
                    </a:lnTo>
                    <a:lnTo>
                      <a:pt x="138" y="254"/>
                    </a:lnTo>
                    <a:lnTo>
                      <a:pt x="134" y="250"/>
                    </a:lnTo>
                    <a:lnTo>
                      <a:pt x="134" y="248"/>
                    </a:lnTo>
                    <a:lnTo>
                      <a:pt x="132" y="248"/>
                    </a:lnTo>
                    <a:lnTo>
                      <a:pt x="130" y="243"/>
                    </a:lnTo>
                    <a:lnTo>
                      <a:pt x="128" y="241"/>
                    </a:lnTo>
                    <a:lnTo>
                      <a:pt x="126" y="239"/>
                    </a:lnTo>
                    <a:lnTo>
                      <a:pt x="124" y="239"/>
                    </a:lnTo>
                    <a:lnTo>
                      <a:pt x="124" y="237"/>
                    </a:lnTo>
                    <a:lnTo>
                      <a:pt x="123" y="237"/>
                    </a:lnTo>
                    <a:lnTo>
                      <a:pt x="121" y="235"/>
                    </a:lnTo>
                    <a:lnTo>
                      <a:pt x="121" y="233"/>
                    </a:lnTo>
                    <a:lnTo>
                      <a:pt x="119" y="233"/>
                    </a:lnTo>
                    <a:lnTo>
                      <a:pt x="117" y="233"/>
                    </a:lnTo>
                    <a:lnTo>
                      <a:pt x="117" y="231"/>
                    </a:lnTo>
                    <a:lnTo>
                      <a:pt x="115" y="231"/>
                    </a:lnTo>
                    <a:lnTo>
                      <a:pt x="115" y="229"/>
                    </a:lnTo>
                    <a:lnTo>
                      <a:pt x="113" y="229"/>
                    </a:lnTo>
                    <a:lnTo>
                      <a:pt x="113" y="227"/>
                    </a:lnTo>
                    <a:lnTo>
                      <a:pt x="111" y="227"/>
                    </a:lnTo>
                    <a:lnTo>
                      <a:pt x="109" y="225"/>
                    </a:lnTo>
                    <a:lnTo>
                      <a:pt x="107" y="225"/>
                    </a:lnTo>
                    <a:lnTo>
                      <a:pt x="105" y="225"/>
                    </a:lnTo>
                    <a:lnTo>
                      <a:pt x="103" y="223"/>
                    </a:lnTo>
                    <a:lnTo>
                      <a:pt x="105" y="223"/>
                    </a:lnTo>
                    <a:lnTo>
                      <a:pt x="105" y="214"/>
                    </a:lnTo>
                    <a:lnTo>
                      <a:pt x="103" y="208"/>
                    </a:lnTo>
                    <a:lnTo>
                      <a:pt x="96" y="195"/>
                    </a:lnTo>
                    <a:lnTo>
                      <a:pt x="96" y="193"/>
                    </a:lnTo>
                    <a:lnTo>
                      <a:pt x="94" y="191"/>
                    </a:lnTo>
                    <a:lnTo>
                      <a:pt x="92" y="189"/>
                    </a:lnTo>
                    <a:lnTo>
                      <a:pt x="90" y="183"/>
                    </a:lnTo>
                    <a:lnTo>
                      <a:pt x="90" y="181"/>
                    </a:lnTo>
                    <a:lnTo>
                      <a:pt x="88" y="181"/>
                    </a:lnTo>
                    <a:lnTo>
                      <a:pt x="88" y="179"/>
                    </a:lnTo>
                    <a:lnTo>
                      <a:pt x="86" y="179"/>
                    </a:lnTo>
                    <a:lnTo>
                      <a:pt x="86" y="177"/>
                    </a:lnTo>
                    <a:lnTo>
                      <a:pt x="84" y="177"/>
                    </a:lnTo>
                    <a:lnTo>
                      <a:pt x="84" y="175"/>
                    </a:lnTo>
                    <a:lnTo>
                      <a:pt x="82" y="173"/>
                    </a:lnTo>
                    <a:lnTo>
                      <a:pt x="80" y="170"/>
                    </a:lnTo>
                    <a:lnTo>
                      <a:pt x="78" y="168"/>
                    </a:lnTo>
                    <a:lnTo>
                      <a:pt x="76" y="164"/>
                    </a:lnTo>
                    <a:lnTo>
                      <a:pt x="75" y="162"/>
                    </a:lnTo>
                    <a:lnTo>
                      <a:pt x="75" y="160"/>
                    </a:lnTo>
                    <a:lnTo>
                      <a:pt x="73" y="158"/>
                    </a:lnTo>
                    <a:lnTo>
                      <a:pt x="73" y="156"/>
                    </a:lnTo>
                    <a:lnTo>
                      <a:pt x="73" y="152"/>
                    </a:lnTo>
                    <a:lnTo>
                      <a:pt x="73" y="150"/>
                    </a:lnTo>
                    <a:lnTo>
                      <a:pt x="73" y="148"/>
                    </a:lnTo>
                    <a:lnTo>
                      <a:pt x="75" y="147"/>
                    </a:lnTo>
                    <a:lnTo>
                      <a:pt x="75" y="145"/>
                    </a:lnTo>
                    <a:lnTo>
                      <a:pt x="75" y="141"/>
                    </a:lnTo>
                    <a:lnTo>
                      <a:pt x="75" y="139"/>
                    </a:lnTo>
                    <a:lnTo>
                      <a:pt x="75" y="137"/>
                    </a:lnTo>
                    <a:lnTo>
                      <a:pt x="76" y="137"/>
                    </a:lnTo>
                    <a:lnTo>
                      <a:pt x="75" y="135"/>
                    </a:lnTo>
                    <a:lnTo>
                      <a:pt x="73" y="133"/>
                    </a:lnTo>
                    <a:lnTo>
                      <a:pt x="73" y="131"/>
                    </a:lnTo>
                    <a:lnTo>
                      <a:pt x="75" y="131"/>
                    </a:lnTo>
                    <a:lnTo>
                      <a:pt x="75" y="129"/>
                    </a:lnTo>
                    <a:lnTo>
                      <a:pt x="73" y="129"/>
                    </a:lnTo>
                    <a:lnTo>
                      <a:pt x="75" y="129"/>
                    </a:lnTo>
                    <a:lnTo>
                      <a:pt x="73" y="129"/>
                    </a:lnTo>
                    <a:lnTo>
                      <a:pt x="73" y="127"/>
                    </a:lnTo>
                    <a:lnTo>
                      <a:pt x="71" y="127"/>
                    </a:lnTo>
                    <a:lnTo>
                      <a:pt x="71" y="125"/>
                    </a:lnTo>
                    <a:lnTo>
                      <a:pt x="69" y="125"/>
                    </a:lnTo>
                    <a:lnTo>
                      <a:pt x="69" y="123"/>
                    </a:lnTo>
                    <a:lnTo>
                      <a:pt x="67" y="123"/>
                    </a:lnTo>
                    <a:lnTo>
                      <a:pt x="65" y="122"/>
                    </a:lnTo>
                    <a:lnTo>
                      <a:pt x="63" y="122"/>
                    </a:lnTo>
                    <a:lnTo>
                      <a:pt x="61" y="120"/>
                    </a:lnTo>
                    <a:lnTo>
                      <a:pt x="59" y="118"/>
                    </a:lnTo>
                    <a:lnTo>
                      <a:pt x="59" y="116"/>
                    </a:lnTo>
                    <a:lnTo>
                      <a:pt x="57" y="114"/>
                    </a:lnTo>
                    <a:lnTo>
                      <a:pt x="59" y="110"/>
                    </a:lnTo>
                    <a:lnTo>
                      <a:pt x="57" y="106"/>
                    </a:lnTo>
                    <a:lnTo>
                      <a:pt x="55" y="106"/>
                    </a:lnTo>
                    <a:lnTo>
                      <a:pt x="55" y="104"/>
                    </a:lnTo>
                    <a:lnTo>
                      <a:pt x="53" y="104"/>
                    </a:lnTo>
                    <a:lnTo>
                      <a:pt x="51" y="102"/>
                    </a:lnTo>
                    <a:lnTo>
                      <a:pt x="51" y="98"/>
                    </a:lnTo>
                    <a:lnTo>
                      <a:pt x="50" y="97"/>
                    </a:lnTo>
                    <a:lnTo>
                      <a:pt x="51" y="93"/>
                    </a:lnTo>
                    <a:lnTo>
                      <a:pt x="50" y="93"/>
                    </a:lnTo>
                    <a:lnTo>
                      <a:pt x="48" y="95"/>
                    </a:lnTo>
                    <a:lnTo>
                      <a:pt x="46" y="95"/>
                    </a:lnTo>
                    <a:lnTo>
                      <a:pt x="46" y="93"/>
                    </a:lnTo>
                    <a:lnTo>
                      <a:pt x="46" y="95"/>
                    </a:lnTo>
                    <a:lnTo>
                      <a:pt x="44" y="97"/>
                    </a:lnTo>
                    <a:lnTo>
                      <a:pt x="42" y="97"/>
                    </a:lnTo>
                    <a:lnTo>
                      <a:pt x="38" y="98"/>
                    </a:lnTo>
                    <a:lnTo>
                      <a:pt x="36" y="97"/>
                    </a:lnTo>
                    <a:lnTo>
                      <a:pt x="30" y="98"/>
                    </a:lnTo>
                    <a:lnTo>
                      <a:pt x="21" y="97"/>
                    </a:lnTo>
                    <a:lnTo>
                      <a:pt x="23" y="93"/>
                    </a:lnTo>
                    <a:lnTo>
                      <a:pt x="26" y="87"/>
                    </a:lnTo>
                    <a:lnTo>
                      <a:pt x="21" y="85"/>
                    </a:lnTo>
                    <a:lnTo>
                      <a:pt x="19" y="87"/>
                    </a:lnTo>
                    <a:lnTo>
                      <a:pt x="19" y="89"/>
                    </a:lnTo>
                    <a:lnTo>
                      <a:pt x="17" y="89"/>
                    </a:lnTo>
                    <a:lnTo>
                      <a:pt x="15" y="93"/>
                    </a:lnTo>
                    <a:lnTo>
                      <a:pt x="13" y="95"/>
                    </a:lnTo>
                    <a:lnTo>
                      <a:pt x="11" y="95"/>
                    </a:lnTo>
                    <a:lnTo>
                      <a:pt x="11" y="93"/>
                    </a:lnTo>
                    <a:lnTo>
                      <a:pt x="7" y="89"/>
                    </a:lnTo>
                    <a:lnTo>
                      <a:pt x="5" y="89"/>
                    </a:lnTo>
                    <a:lnTo>
                      <a:pt x="3" y="87"/>
                    </a:lnTo>
                    <a:lnTo>
                      <a:pt x="3" y="85"/>
                    </a:lnTo>
                    <a:lnTo>
                      <a:pt x="2" y="85"/>
                    </a:lnTo>
                    <a:lnTo>
                      <a:pt x="0" y="85"/>
                    </a:lnTo>
                    <a:lnTo>
                      <a:pt x="0" y="83"/>
                    </a:lnTo>
                    <a:lnTo>
                      <a:pt x="2" y="81"/>
                    </a:lnTo>
                    <a:lnTo>
                      <a:pt x="2" y="79"/>
                    </a:lnTo>
                    <a:lnTo>
                      <a:pt x="3" y="73"/>
                    </a:lnTo>
                    <a:lnTo>
                      <a:pt x="3" y="72"/>
                    </a:lnTo>
                    <a:lnTo>
                      <a:pt x="3" y="70"/>
                    </a:lnTo>
                    <a:lnTo>
                      <a:pt x="5" y="70"/>
                    </a:lnTo>
                    <a:lnTo>
                      <a:pt x="5" y="72"/>
                    </a:lnTo>
                    <a:lnTo>
                      <a:pt x="5" y="70"/>
                    </a:lnTo>
                    <a:lnTo>
                      <a:pt x="7" y="70"/>
                    </a:lnTo>
                    <a:lnTo>
                      <a:pt x="7" y="72"/>
                    </a:lnTo>
                    <a:lnTo>
                      <a:pt x="9" y="72"/>
                    </a:lnTo>
                    <a:lnTo>
                      <a:pt x="7" y="72"/>
                    </a:lnTo>
                    <a:lnTo>
                      <a:pt x="9" y="73"/>
                    </a:lnTo>
                    <a:lnTo>
                      <a:pt x="11" y="77"/>
                    </a:lnTo>
                    <a:lnTo>
                      <a:pt x="13" y="75"/>
                    </a:lnTo>
                    <a:lnTo>
                      <a:pt x="15" y="77"/>
                    </a:lnTo>
                    <a:lnTo>
                      <a:pt x="17" y="75"/>
                    </a:lnTo>
                    <a:lnTo>
                      <a:pt x="15" y="75"/>
                    </a:lnTo>
                    <a:lnTo>
                      <a:pt x="17" y="72"/>
                    </a:lnTo>
                    <a:lnTo>
                      <a:pt x="19" y="72"/>
                    </a:lnTo>
                    <a:lnTo>
                      <a:pt x="19" y="70"/>
                    </a:lnTo>
                    <a:lnTo>
                      <a:pt x="25" y="73"/>
                    </a:lnTo>
                    <a:lnTo>
                      <a:pt x="26" y="73"/>
                    </a:lnTo>
                    <a:lnTo>
                      <a:pt x="28" y="72"/>
                    </a:lnTo>
                    <a:lnTo>
                      <a:pt x="28" y="70"/>
                    </a:lnTo>
                    <a:lnTo>
                      <a:pt x="26" y="68"/>
                    </a:lnTo>
                    <a:lnTo>
                      <a:pt x="28" y="62"/>
                    </a:lnTo>
                    <a:lnTo>
                      <a:pt x="30" y="60"/>
                    </a:lnTo>
                    <a:lnTo>
                      <a:pt x="30" y="58"/>
                    </a:lnTo>
                    <a:lnTo>
                      <a:pt x="32" y="56"/>
                    </a:lnTo>
                    <a:lnTo>
                      <a:pt x="32" y="58"/>
                    </a:lnTo>
                    <a:lnTo>
                      <a:pt x="34" y="58"/>
                    </a:lnTo>
                    <a:lnTo>
                      <a:pt x="36" y="58"/>
                    </a:lnTo>
                    <a:lnTo>
                      <a:pt x="38" y="60"/>
                    </a:lnTo>
                    <a:lnTo>
                      <a:pt x="38" y="62"/>
                    </a:lnTo>
                    <a:lnTo>
                      <a:pt x="40" y="64"/>
                    </a:lnTo>
                    <a:lnTo>
                      <a:pt x="42" y="66"/>
                    </a:lnTo>
                    <a:lnTo>
                      <a:pt x="42" y="68"/>
                    </a:lnTo>
                    <a:lnTo>
                      <a:pt x="42" y="70"/>
                    </a:lnTo>
                    <a:lnTo>
                      <a:pt x="44" y="72"/>
                    </a:lnTo>
                    <a:lnTo>
                      <a:pt x="44" y="75"/>
                    </a:lnTo>
                    <a:lnTo>
                      <a:pt x="44" y="79"/>
                    </a:lnTo>
                    <a:lnTo>
                      <a:pt x="46" y="81"/>
                    </a:lnTo>
                    <a:lnTo>
                      <a:pt x="48" y="81"/>
                    </a:lnTo>
                    <a:lnTo>
                      <a:pt x="50" y="81"/>
                    </a:lnTo>
                    <a:lnTo>
                      <a:pt x="51" y="81"/>
                    </a:lnTo>
                    <a:lnTo>
                      <a:pt x="51" y="79"/>
                    </a:lnTo>
                    <a:lnTo>
                      <a:pt x="53" y="81"/>
                    </a:lnTo>
                    <a:lnTo>
                      <a:pt x="55" y="81"/>
                    </a:lnTo>
                    <a:lnTo>
                      <a:pt x="57" y="81"/>
                    </a:lnTo>
                    <a:lnTo>
                      <a:pt x="59" y="87"/>
                    </a:lnTo>
                    <a:lnTo>
                      <a:pt x="59" y="89"/>
                    </a:lnTo>
                    <a:lnTo>
                      <a:pt x="61" y="95"/>
                    </a:lnTo>
                    <a:lnTo>
                      <a:pt x="61" y="102"/>
                    </a:lnTo>
                    <a:lnTo>
                      <a:pt x="63" y="106"/>
                    </a:lnTo>
                    <a:lnTo>
                      <a:pt x="65" y="108"/>
                    </a:lnTo>
                    <a:lnTo>
                      <a:pt x="69" y="110"/>
                    </a:lnTo>
                    <a:lnTo>
                      <a:pt x="71" y="110"/>
                    </a:lnTo>
                    <a:lnTo>
                      <a:pt x="73" y="110"/>
                    </a:lnTo>
                    <a:lnTo>
                      <a:pt x="75" y="108"/>
                    </a:lnTo>
                    <a:lnTo>
                      <a:pt x="76" y="108"/>
                    </a:lnTo>
                    <a:lnTo>
                      <a:pt x="78" y="106"/>
                    </a:lnTo>
                    <a:lnTo>
                      <a:pt x="78" y="104"/>
                    </a:lnTo>
                    <a:lnTo>
                      <a:pt x="82" y="102"/>
                    </a:lnTo>
                    <a:lnTo>
                      <a:pt x="84" y="100"/>
                    </a:lnTo>
                    <a:lnTo>
                      <a:pt x="84" y="98"/>
                    </a:lnTo>
                    <a:lnTo>
                      <a:pt x="86" y="102"/>
                    </a:lnTo>
                    <a:lnTo>
                      <a:pt x="86" y="104"/>
                    </a:lnTo>
                    <a:lnTo>
                      <a:pt x="86" y="106"/>
                    </a:lnTo>
                    <a:lnTo>
                      <a:pt x="86" y="108"/>
                    </a:lnTo>
                    <a:lnTo>
                      <a:pt x="84" y="108"/>
                    </a:lnTo>
                    <a:lnTo>
                      <a:pt x="84" y="110"/>
                    </a:lnTo>
                    <a:lnTo>
                      <a:pt x="86" y="108"/>
                    </a:lnTo>
                    <a:lnTo>
                      <a:pt x="88" y="108"/>
                    </a:lnTo>
                    <a:lnTo>
                      <a:pt x="90" y="106"/>
                    </a:lnTo>
                    <a:lnTo>
                      <a:pt x="90" y="104"/>
                    </a:lnTo>
                    <a:lnTo>
                      <a:pt x="92" y="102"/>
                    </a:lnTo>
                    <a:lnTo>
                      <a:pt x="90" y="102"/>
                    </a:lnTo>
                    <a:lnTo>
                      <a:pt x="92" y="100"/>
                    </a:lnTo>
                    <a:lnTo>
                      <a:pt x="92" y="98"/>
                    </a:lnTo>
                    <a:lnTo>
                      <a:pt x="94" y="98"/>
                    </a:lnTo>
                    <a:lnTo>
                      <a:pt x="96" y="95"/>
                    </a:lnTo>
                    <a:lnTo>
                      <a:pt x="94" y="95"/>
                    </a:lnTo>
                    <a:lnTo>
                      <a:pt x="94" y="93"/>
                    </a:lnTo>
                    <a:lnTo>
                      <a:pt x="92" y="91"/>
                    </a:lnTo>
                    <a:lnTo>
                      <a:pt x="94" y="89"/>
                    </a:lnTo>
                    <a:lnTo>
                      <a:pt x="96" y="89"/>
                    </a:lnTo>
                    <a:lnTo>
                      <a:pt x="99" y="85"/>
                    </a:lnTo>
                    <a:lnTo>
                      <a:pt x="99" y="83"/>
                    </a:lnTo>
                    <a:lnTo>
                      <a:pt x="101" y="83"/>
                    </a:lnTo>
                    <a:lnTo>
                      <a:pt x="105" y="83"/>
                    </a:lnTo>
                    <a:lnTo>
                      <a:pt x="107" y="83"/>
                    </a:lnTo>
                    <a:lnTo>
                      <a:pt x="109" y="81"/>
                    </a:lnTo>
                    <a:lnTo>
                      <a:pt x="111" y="79"/>
                    </a:lnTo>
                    <a:lnTo>
                      <a:pt x="113" y="81"/>
                    </a:lnTo>
                    <a:lnTo>
                      <a:pt x="115" y="81"/>
                    </a:lnTo>
                    <a:lnTo>
                      <a:pt x="119" y="79"/>
                    </a:lnTo>
                    <a:lnTo>
                      <a:pt x="121" y="77"/>
                    </a:lnTo>
                    <a:lnTo>
                      <a:pt x="123" y="75"/>
                    </a:lnTo>
                    <a:lnTo>
                      <a:pt x="124" y="72"/>
                    </a:lnTo>
                    <a:lnTo>
                      <a:pt x="130" y="66"/>
                    </a:lnTo>
                    <a:lnTo>
                      <a:pt x="134" y="58"/>
                    </a:lnTo>
                    <a:lnTo>
                      <a:pt x="138" y="50"/>
                    </a:lnTo>
                    <a:lnTo>
                      <a:pt x="138" y="48"/>
                    </a:lnTo>
                    <a:lnTo>
                      <a:pt x="140" y="47"/>
                    </a:lnTo>
                    <a:lnTo>
                      <a:pt x="140" y="45"/>
                    </a:lnTo>
                    <a:lnTo>
                      <a:pt x="138" y="45"/>
                    </a:lnTo>
                    <a:lnTo>
                      <a:pt x="140" y="39"/>
                    </a:lnTo>
                    <a:lnTo>
                      <a:pt x="138" y="39"/>
                    </a:lnTo>
                    <a:lnTo>
                      <a:pt x="136" y="37"/>
                    </a:lnTo>
                    <a:lnTo>
                      <a:pt x="134" y="43"/>
                    </a:lnTo>
                    <a:lnTo>
                      <a:pt x="132" y="47"/>
                    </a:lnTo>
                    <a:lnTo>
                      <a:pt x="132" y="45"/>
                    </a:lnTo>
                    <a:lnTo>
                      <a:pt x="126" y="43"/>
                    </a:lnTo>
                    <a:lnTo>
                      <a:pt x="124" y="45"/>
                    </a:lnTo>
                    <a:lnTo>
                      <a:pt x="123" y="47"/>
                    </a:lnTo>
                    <a:lnTo>
                      <a:pt x="123" y="48"/>
                    </a:lnTo>
                    <a:lnTo>
                      <a:pt x="121" y="52"/>
                    </a:lnTo>
                    <a:lnTo>
                      <a:pt x="117" y="48"/>
                    </a:lnTo>
                    <a:lnTo>
                      <a:pt x="117" y="47"/>
                    </a:lnTo>
                    <a:lnTo>
                      <a:pt x="119" y="43"/>
                    </a:lnTo>
                    <a:lnTo>
                      <a:pt x="119" y="41"/>
                    </a:lnTo>
                    <a:lnTo>
                      <a:pt x="121" y="35"/>
                    </a:lnTo>
                    <a:lnTo>
                      <a:pt x="121" y="33"/>
                    </a:lnTo>
                    <a:lnTo>
                      <a:pt x="121" y="29"/>
                    </a:lnTo>
                    <a:lnTo>
                      <a:pt x="128" y="20"/>
                    </a:lnTo>
                    <a:lnTo>
                      <a:pt x="130" y="20"/>
                    </a:lnTo>
                    <a:lnTo>
                      <a:pt x="132" y="20"/>
                    </a:lnTo>
                    <a:lnTo>
                      <a:pt x="136" y="20"/>
                    </a:lnTo>
                    <a:lnTo>
                      <a:pt x="136" y="22"/>
                    </a:lnTo>
                    <a:lnTo>
                      <a:pt x="136" y="20"/>
                    </a:lnTo>
                    <a:lnTo>
                      <a:pt x="136" y="22"/>
                    </a:lnTo>
                    <a:lnTo>
                      <a:pt x="138" y="22"/>
                    </a:lnTo>
                    <a:lnTo>
                      <a:pt x="142" y="20"/>
                    </a:lnTo>
                    <a:lnTo>
                      <a:pt x="144" y="20"/>
                    </a:lnTo>
                    <a:lnTo>
                      <a:pt x="144" y="18"/>
                    </a:lnTo>
                    <a:lnTo>
                      <a:pt x="146" y="16"/>
                    </a:lnTo>
                    <a:lnTo>
                      <a:pt x="148" y="16"/>
                    </a:lnTo>
                    <a:lnTo>
                      <a:pt x="149" y="18"/>
                    </a:lnTo>
                    <a:lnTo>
                      <a:pt x="149" y="20"/>
                    </a:lnTo>
                    <a:lnTo>
                      <a:pt x="149" y="18"/>
                    </a:lnTo>
                    <a:lnTo>
                      <a:pt x="153" y="22"/>
                    </a:lnTo>
                    <a:lnTo>
                      <a:pt x="153" y="23"/>
                    </a:lnTo>
                    <a:lnTo>
                      <a:pt x="155" y="23"/>
                    </a:lnTo>
                    <a:lnTo>
                      <a:pt x="157" y="22"/>
                    </a:lnTo>
                    <a:lnTo>
                      <a:pt x="159" y="20"/>
                    </a:lnTo>
                    <a:lnTo>
                      <a:pt x="161" y="20"/>
                    </a:lnTo>
                    <a:lnTo>
                      <a:pt x="161" y="18"/>
                    </a:lnTo>
                    <a:lnTo>
                      <a:pt x="163" y="16"/>
                    </a:lnTo>
                    <a:lnTo>
                      <a:pt x="163" y="14"/>
                    </a:lnTo>
                    <a:lnTo>
                      <a:pt x="161" y="12"/>
                    </a:lnTo>
                    <a:lnTo>
                      <a:pt x="167" y="0"/>
                    </a:lnTo>
                    <a:lnTo>
                      <a:pt x="169" y="0"/>
                    </a:lnTo>
                    <a:lnTo>
                      <a:pt x="169" y="2"/>
                    </a:lnTo>
                    <a:lnTo>
                      <a:pt x="171" y="2"/>
                    </a:lnTo>
                    <a:lnTo>
                      <a:pt x="171" y="4"/>
                    </a:lnTo>
                    <a:lnTo>
                      <a:pt x="171" y="6"/>
                    </a:lnTo>
                    <a:lnTo>
                      <a:pt x="172" y="6"/>
                    </a:lnTo>
                    <a:lnTo>
                      <a:pt x="171" y="10"/>
                    </a:lnTo>
                    <a:lnTo>
                      <a:pt x="169" y="16"/>
                    </a:lnTo>
                    <a:lnTo>
                      <a:pt x="171" y="16"/>
                    </a:lnTo>
                    <a:lnTo>
                      <a:pt x="171" y="18"/>
                    </a:lnTo>
                    <a:lnTo>
                      <a:pt x="172" y="18"/>
                    </a:lnTo>
                    <a:lnTo>
                      <a:pt x="172" y="16"/>
                    </a:lnTo>
                    <a:lnTo>
                      <a:pt x="174" y="16"/>
                    </a:lnTo>
                    <a:lnTo>
                      <a:pt x="174" y="18"/>
                    </a:lnTo>
                    <a:lnTo>
                      <a:pt x="176" y="20"/>
                    </a:lnTo>
                    <a:lnTo>
                      <a:pt x="178" y="20"/>
                    </a:lnTo>
                    <a:lnTo>
                      <a:pt x="182" y="18"/>
                    </a:lnTo>
                    <a:lnTo>
                      <a:pt x="184" y="18"/>
                    </a:lnTo>
                    <a:lnTo>
                      <a:pt x="184" y="16"/>
                    </a:lnTo>
                    <a:lnTo>
                      <a:pt x="184" y="14"/>
                    </a:lnTo>
                    <a:lnTo>
                      <a:pt x="186" y="14"/>
                    </a:lnTo>
                    <a:lnTo>
                      <a:pt x="186" y="16"/>
                    </a:lnTo>
                    <a:lnTo>
                      <a:pt x="188" y="16"/>
                    </a:lnTo>
                    <a:lnTo>
                      <a:pt x="188" y="18"/>
                    </a:lnTo>
                    <a:lnTo>
                      <a:pt x="190" y="22"/>
                    </a:lnTo>
                    <a:lnTo>
                      <a:pt x="192" y="23"/>
                    </a:lnTo>
                    <a:lnTo>
                      <a:pt x="194" y="2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3" name="Freeform 93"/>
              <p:cNvSpPr>
                <a:spLocks noEditPoints="1"/>
              </p:cNvSpPr>
              <p:nvPr/>
            </p:nvSpPr>
            <p:spPr bwMode="auto">
              <a:xfrm>
                <a:off x="756357" y="3854845"/>
                <a:ext cx="46458" cy="56781"/>
              </a:xfrm>
              <a:custGeom>
                <a:avLst/>
                <a:gdLst>
                  <a:gd name="T0" fmla="*/ 0 w 27"/>
                  <a:gd name="T1" fmla="*/ 33 h 33"/>
                  <a:gd name="T2" fmla="*/ 0 w 27"/>
                  <a:gd name="T3" fmla="*/ 33 h 33"/>
                  <a:gd name="T4" fmla="*/ 0 w 27"/>
                  <a:gd name="T5" fmla="*/ 31 h 33"/>
                  <a:gd name="T6" fmla="*/ 0 w 27"/>
                  <a:gd name="T7" fmla="*/ 31 h 33"/>
                  <a:gd name="T8" fmla="*/ 2 w 27"/>
                  <a:gd name="T9" fmla="*/ 31 h 33"/>
                  <a:gd name="T10" fmla="*/ 2 w 27"/>
                  <a:gd name="T11" fmla="*/ 31 h 33"/>
                  <a:gd name="T12" fmla="*/ 2 w 27"/>
                  <a:gd name="T13" fmla="*/ 29 h 33"/>
                  <a:gd name="T14" fmla="*/ 2 w 27"/>
                  <a:gd name="T15" fmla="*/ 27 h 33"/>
                  <a:gd name="T16" fmla="*/ 2 w 27"/>
                  <a:gd name="T17" fmla="*/ 27 h 33"/>
                  <a:gd name="T18" fmla="*/ 2 w 27"/>
                  <a:gd name="T19" fmla="*/ 27 h 33"/>
                  <a:gd name="T20" fmla="*/ 2 w 27"/>
                  <a:gd name="T21" fmla="*/ 27 h 33"/>
                  <a:gd name="T22" fmla="*/ 2 w 27"/>
                  <a:gd name="T23" fmla="*/ 27 h 33"/>
                  <a:gd name="T24" fmla="*/ 2 w 27"/>
                  <a:gd name="T25" fmla="*/ 29 h 33"/>
                  <a:gd name="T26" fmla="*/ 2 w 27"/>
                  <a:gd name="T27" fmla="*/ 29 h 33"/>
                  <a:gd name="T28" fmla="*/ 2 w 27"/>
                  <a:gd name="T29" fmla="*/ 29 h 33"/>
                  <a:gd name="T30" fmla="*/ 2 w 27"/>
                  <a:gd name="T31" fmla="*/ 31 h 33"/>
                  <a:gd name="T32" fmla="*/ 2 w 27"/>
                  <a:gd name="T33" fmla="*/ 31 h 33"/>
                  <a:gd name="T34" fmla="*/ 2 w 27"/>
                  <a:gd name="T35" fmla="*/ 31 h 33"/>
                  <a:gd name="T36" fmla="*/ 2 w 27"/>
                  <a:gd name="T37" fmla="*/ 31 h 33"/>
                  <a:gd name="T38" fmla="*/ 2 w 27"/>
                  <a:gd name="T39" fmla="*/ 31 h 33"/>
                  <a:gd name="T40" fmla="*/ 2 w 27"/>
                  <a:gd name="T41" fmla="*/ 31 h 33"/>
                  <a:gd name="T42" fmla="*/ 0 w 27"/>
                  <a:gd name="T43" fmla="*/ 33 h 33"/>
                  <a:gd name="T44" fmla="*/ 0 w 27"/>
                  <a:gd name="T45" fmla="*/ 33 h 33"/>
                  <a:gd name="T46" fmla="*/ 17 w 27"/>
                  <a:gd name="T47" fmla="*/ 13 h 33"/>
                  <a:gd name="T48" fmla="*/ 17 w 27"/>
                  <a:gd name="T49" fmla="*/ 13 h 33"/>
                  <a:gd name="T50" fmla="*/ 17 w 27"/>
                  <a:gd name="T51" fmla="*/ 13 h 33"/>
                  <a:gd name="T52" fmla="*/ 17 w 27"/>
                  <a:gd name="T53" fmla="*/ 13 h 33"/>
                  <a:gd name="T54" fmla="*/ 17 w 27"/>
                  <a:gd name="T55" fmla="*/ 12 h 33"/>
                  <a:gd name="T56" fmla="*/ 17 w 27"/>
                  <a:gd name="T57" fmla="*/ 12 h 33"/>
                  <a:gd name="T58" fmla="*/ 17 w 27"/>
                  <a:gd name="T59" fmla="*/ 12 h 33"/>
                  <a:gd name="T60" fmla="*/ 19 w 27"/>
                  <a:gd name="T61" fmla="*/ 12 h 33"/>
                  <a:gd name="T62" fmla="*/ 19 w 27"/>
                  <a:gd name="T63" fmla="*/ 12 h 33"/>
                  <a:gd name="T64" fmla="*/ 19 w 27"/>
                  <a:gd name="T65" fmla="*/ 12 h 33"/>
                  <a:gd name="T66" fmla="*/ 17 w 27"/>
                  <a:gd name="T67" fmla="*/ 12 h 33"/>
                  <a:gd name="T68" fmla="*/ 17 w 27"/>
                  <a:gd name="T69" fmla="*/ 13 h 33"/>
                  <a:gd name="T70" fmla="*/ 17 w 27"/>
                  <a:gd name="T71" fmla="*/ 13 h 33"/>
                  <a:gd name="T72" fmla="*/ 17 w 27"/>
                  <a:gd name="T73" fmla="*/ 13 h 33"/>
                  <a:gd name="T74" fmla="*/ 27 w 27"/>
                  <a:gd name="T75" fmla="*/ 0 h 33"/>
                  <a:gd name="T76" fmla="*/ 27 w 27"/>
                  <a:gd name="T77" fmla="*/ 0 h 33"/>
                  <a:gd name="T78" fmla="*/ 27 w 27"/>
                  <a:gd name="T79" fmla="*/ 0 h 33"/>
                  <a:gd name="T80" fmla="*/ 27 w 27"/>
                  <a:gd name="T81" fmla="*/ 0 h 33"/>
                  <a:gd name="T82" fmla="*/ 27 w 27"/>
                  <a:gd name="T83" fmla="*/ 0 h 33"/>
                  <a:gd name="T84" fmla="*/ 27 w 27"/>
                  <a:gd name="T85" fmla="*/ 0 h 33"/>
                  <a:gd name="T86" fmla="*/ 27 w 27"/>
                  <a:gd name="T8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 h="33">
                    <a:moveTo>
                      <a:pt x="0" y="33"/>
                    </a:moveTo>
                    <a:lnTo>
                      <a:pt x="0" y="33"/>
                    </a:lnTo>
                    <a:lnTo>
                      <a:pt x="0" y="33"/>
                    </a:lnTo>
                    <a:lnTo>
                      <a:pt x="0" y="33"/>
                    </a:lnTo>
                    <a:lnTo>
                      <a:pt x="0" y="33"/>
                    </a:lnTo>
                    <a:lnTo>
                      <a:pt x="0" y="31"/>
                    </a:lnTo>
                    <a:lnTo>
                      <a:pt x="0" y="31"/>
                    </a:lnTo>
                    <a:lnTo>
                      <a:pt x="0" y="31"/>
                    </a:lnTo>
                    <a:lnTo>
                      <a:pt x="0" y="31"/>
                    </a:lnTo>
                    <a:lnTo>
                      <a:pt x="2" y="31"/>
                    </a:lnTo>
                    <a:lnTo>
                      <a:pt x="2" y="31"/>
                    </a:lnTo>
                    <a:lnTo>
                      <a:pt x="2" y="31"/>
                    </a:lnTo>
                    <a:lnTo>
                      <a:pt x="2" y="29"/>
                    </a:lnTo>
                    <a:lnTo>
                      <a:pt x="2" y="29"/>
                    </a:lnTo>
                    <a:lnTo>
                      <a:pt x="2" y="29"/>
                    </a:lnTo>
                    <a:lnTo>
                      <a:pt x="2" y="27"/>
                    </a:lnTo>
                    <a:lnTo>
                      <a:pt x="2" y="27"/>
                    </a:lnTo>
                    <a:lnTo>
                      <a:pt x="2" y="27"/>
                    </a:lnTo>
                    <a:lnTo>
                      <a:pt x="2" y="27"/>
                    </a:lnTo>
                    <a:lnTo>
                      <a:pt x="2" y="27"/>
                    </a:lnTo>
                    <a:lnTo>
                      <a:pt x="2" y="27"/>
                    </a:lnTo>
                    <a:lnTo>
                      <a:pt x="2" y="27"/>
                    </a:lnTo>
                    <a:lnTo>
                      <a:pt x="2" y="27"/>
                    </a:lnTo>
                    <a:lnTo>
                      <a:pt x="2" y="27"/>
                    </a:lnTo>
                    <a:lnTo>
                      <a:pt x="2" y="27"/>
                    </a:lnTo>
                    <a:lnTo>
                      <a:pt x="2" y="29"/>
                    </a:lnTo>
                    <a:lnTo>
                      <a:pt x="2" y="29"/>
                    </a:lnTo>
                    <a:lnTo>
                      <a:pt x="2" y="29"/>
                    </a:lnTo>
                    <a:lnTo>
                      <a:pt x="2" y="29"/>
                    </a:lnTo>
                    <a:lnTo>
                      <a:pt x="2" y="29"/>
                    </a:lnTo>
                    <a:lnTo>
                      <a:pt x="2" y="29"/>
                    </a:lnTo>
                    <a:lnTo>
                      <a:pt x="2" y="31"/>
                    </a:lnTo>
                    <a:lnTo>
                      <a:pt x="2" y="31"/>
                    </a:lnTo>
                    <a:lnTo>
                      <a:pt x="2" y="31"/>
                    </a:lnTo>
                    <a:lnTo>
                      <a:pt x="2" y="31"/>
                    </a:lnTo>
                    <a:lnTo>
                      <a:pt x="2" y="31"/>
                    </a:lnTo>
                    <a:lnTo>
                      <a:pt x="2" y="31"/>
                    </a:lnTo>
                    <a:lnTo>
                      <a:pt x="2" y="31"/>
                    </a:lnTo>
                    <a:lnTo>
                      <a:pt x="2" y="31"/>
                    </a:lnTo>
                    <a:lnTo>
                      <a:pt x="2" y="31"/>
                    </a:lnTo>
                    <a:lnTo>
                      <a:pt x="2" y="31"/>
                    </a:lnTo>
                    <a:lnTo>
                      <a:pt x="2" y="31"/>
                    </a:lnTo>
                    <a:lnTo>
                      <a:pt x="0" y="31"/>
                    </a:lnTo>
                    <a:lnTo>
                      <a:pt x="0" y="33"/>
                    </a:lnTo>
                    <a:lnTo>
                      <a:pt x="0" y="33"/>
                    </a:lnTo>
                    <a:lnTo>
                      <a:pt x="0" y="33"/>
                    </a:lnTo>
                    <a:close/>
                    <a:moveTo>
                      <a:pt x="17" y="13"/>
                    </a:moveTo>
                    <a:lnTo>
                      <a:pt x="17" y="13"/>
                    </a:lnTo>
                    <a:lnTo>
                      <a:pt x="17" y="13"/>
                    </a:lnTo>
                    <a:lnTo>
                      <a:pt x="17" y="13"/>
                    </a:lnTo>
                    <a:lnTo>
                      <a:pt x="17" y="13"/>
                    </a:lnTo>
                    <a:lnTo>
                      <a:pt x="17" y="13"/>
                    </a:lnTo>
                    <a:lnTo>
                      <a:pt x="17" y="13"/>
                    </a:lnTo>
                    <a:lnTo>
                      <a:pt x="17" y="13"/>
                    </a:lnTo>
                    <a:lnTo>
                      <a:pt x="17" y="12"/>
                    </a:lnTo>
                    <a:lnTo>
                      <a:pt x="17" y="12"/>
                    </a:lnTo>
                    <a:lnTo>
                      <a:pt x="17" y="12"/>
                    </a:lnTo>
                    <a:lnTo>
                      <a:pt x="17" y="12"/>
                    </a:lnTo>
                    <a:lnTo>
                      <a:pt x="17" y="12"/>
                    </a:lnTo>
                    <a:lnTo>
                      <a:pt x="17" y="12"/>
                    </a:lnTo>
                    <a:lnTo>
                      <a:pt x="19" y="12"/>
                    </a:lnTo>
                    <a:lnTo>
                      <a:pt x="19" y="12"/>
                    </a:lnTo>
                    <a:lnTo>
                      <a:pt x="19" y="12"/>
                    </a:lnTo>
                    <a:lnTo>
                      <a:pt x="19" y="12"/>
                    </a:lnTo>
                    <a:lnTo>
                      <a:pt x="19" y="12"/>
                    </a:lnTo>
                    <a:lnTo>
                      <a:pt x="19" y="12"/>
                    </a:lnTo>
                    <a:lnTo>
                      <a:pt x="19" y="12"/>
                    </a:lnTo>
                    <a:lnTo>
                      <a:pt x="17" y="12"/>
                    </a:lnTo>
                    <a:lnTo>
                      <a:pt x="19" y="13"/>
                    </a:lnTo>
                    <a:lnTo>
                      <a:pt x="17" y="13"/>
                    </a:lnTo>
                    <a:lnTo>
                      <a:pt x="17" y="13"/>
                    </a:lnTo>
                    <a:lnTo>
                      <a:pt x="17" y="13"/>
                    </a:lnTo>
                    <a:lnTo>
                      <a:pt x="17" y="13"/>
                    </a:lnTo>
                    <a:lnTo>
                      <a:pt x="17" y="13"/>
                    </a:lnTo>
                    <a:lnTo>
                      <a:pt x="17" y="13"/>
                    </a:lnTo>
                    <a:close/>
                    <a:moveTo>
                      <a:pt x="27" y="0"/>
                    </a:moveTo>
                    <a:lnTo>
                      <a:pt x="27" y="2"/>
                    </a:lnTo>
                    <a:lnTo>
                      <a:pt x="27" y="0"/>
                    </a:lnTo>
                    <a:lnTo>
                      <a:pt x="27" y="0"/>
                    </a:lnTo>
                    <a:lnTo>
                      <a:pt x="27" y="0"/>
                    </a:lnTo>
                    <a:lnTo>
                      <a:pt x="27" y="0"/>
                    </a:lnTo>
                    <a:lnTo>
                      <a:pt x="27" y="0"/>
                    </a:lnTo>
                    <a:lnTo>
                      <a:pt x="27" y="0"/>
                    </a:lnTo>
                    <a:lnTo>
                      <a:pt x="27" y="0"/>
                    </a:lnTo>
                    <a:lnTo>
                      <a:pt x="27" y="0"/>
                    </a:lnTo>
                    <a:lnTo>
                      <a:pt x="27" y="0"/>
                    </a:lnTo>
                    <a:lnTo>
                      <a:pt x="27" y="0"/>
                    </a:lnTo>
                    <a:lnTo>
                      <a:pt x="27"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4" name="Rectangle 94"/>
              <p:cNvSpPr>
                <a:spLocks noChangeArrowheads="1"/>
              </p:cNvSpPr>
              <p:nvPr/>
            </p:nvSpPr>
            <p:spPr bwMode="auto">
              <a:xfrm>
                <a:off x="799373" y="3854845"/>
                <a:ext cx="1721" cy="1721"/>
              </a:xfrm>
              <a:prstGeom prst="rect">
                <a:avLst/>
              </a:pr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5" name="Freeform 95"/>
              <p:cNvSpPr>
                <a:spLocks/>
              </p:cNvSpPr>
              <p:nvPr/>
            </p:nvSpPr>
            <p:spPr bwMode="auto">
              <a:xfrm>
                <a:off x="909493" y="1234332"/>
                <a:ext cx="511026" cy="688250"/>
              </a:xfrm>
              <a:custGeom>
                <a:avLst/>
                <a:gdLst>
                  <a:gd name="T0" fmla="*/ 282 w 297"/>
                  <a:gd name="T1" fmla="*/ 62 h 400"/>
                  <a:gd name="T2" fmla="*/ 288 w 297"/>
                  <a:gd name="T3" fmla="*/ 71 h 400"/>
                  <a:gd name="T4" fmla="*/ 292 w 297"/>
                  <a:gd name="T5" fmla="*/ 77 h 400"/>
                  <a:gd name="T6" fmla="*/ 286 w 297"/>
                  <a:gd name="T7" fmla="*/ 81 h 400"/>
                  <a:gd name="T8" fmla="*/ 272 w 297"/>
                  <a:gd name="T9" fmla="*/ 75 h 400"/>
                  <a:gd name="T10" fmla="*/ 286 w 297"/>
                  <a:gd name="T11" fmla="*/ 83 h 400"/>
                  <a:gd name="T12" fmla="*/ 295 w 297"/>
                  <a:gd name="T13" fmla="*/ 96 h 400"/>
                  <a:gd name="T14" fmla="*/ 294 w 297"/>
                  <a:gd name="T15" fmla="*/ 104 h 400"/>
                  <a:gd name="T16" fmla="*/ 295 w 297"/>
                  <a:gd name="T17" fmla="*/ 120 h 400"/>
                  <a:gd name="T18" fmla="*/ 297 w 297"/>
                  <a:gd name="T19" fmla="*/ 121 h 400"/>
                  <a:gd name="T20" fmla="*/ 295 w 297"/>
                  <a:gd name="T21" fmla="*/ 127 h 400"/>
                  <a:gd name="T22" fmla="*/ 295 w 297"/>
                  <a:gd name="T23" fmla="*/ 133 h 400"/>
                  <a:gd name="T24" fmla="*/ 292 w 297"/>
                  <a:gd name="T25" fmla="*/ 135 h 400"/>
                  <a:gd name="T26" fmla="*/ 290 w 297"/>
                  <a:gd name="T27" fmla="*/ 127 h 400"/>
                  <a:gd name="T28" fmla="*/ 286 w 297"/>
                  <a:gd name="T29" fmla="*/ 133 h 400"/>
                  <a:gd name="T30" fmla="*/ 282 w 297"/>
                  <a:gd name="T31" fmla="*/ 139 h 400"/>
                  <a:gd name="T32" fmla="*/ 274 w 297"/>
                  <a:gd name="T33" fmla="*/ 141 h 400"/>
                  <a:gd name="T34" fmla="*/ 272 w 297"/>
                  <a:gd name="T35" fmla="*/ 141 h 400"/>
                  <a:gd name="T36" fmla="*/ 267 w 297"/>
                  <a:gd name="T37" fmla="*/ 150 h 400"/>
                  <a:gd name="T38" fmla="*/ 269 w 297"/>
                  <a:gd name="T39" fmla="*/ 156 h 400"/>
                  <a:gd name="T40" fmla="*/ 265 w 297"/>
                  <a:gd name="T41" fmla="*/ 162 h 400"/>
                  <a:gd name="T42" fmla="*/ 257 w 297"/>
                  <a:gd name="T43" fmla="*/ 166 h 400"/>
                  <a:gd name="T44" fmla="*/ 242 w 297"/>
                  <a:gd name="T45" fmla="*/ 150 h 400"/>
                  <a:gd name="T46" fmla="*/ 257 w 297"/>
                  <a:gd name="T47" fmla="*/ 166 h 400"/>
                  <a:gd name="T48" fmla="*/ 261 w 297"/>
                  <a:gd name="T49" fmla="*/ 173 h 400"/>
                  <a:gd name="T50" fmla="*/ 255 w 297"/>
                  <a:gd name="T51" fmla="*/ 181 h 400"/>
                  <a:gd name="T52" fmla="*/ 251 w 297"/>
                  <a:gd name="T53" fmla="*/ 191 h 400"/>
                  <a:gd name="T54" fmla="*/ 245 w 297"/>
                  <a:gd name="T55" fmla="*/ 193 h 400"/>
                  <a:gd name="T56" fmla="*/ 249 w 297"/>
                  <a:gd name="T57" fmla="*/ 202 h 400"/>
                  <a:gd name="T58" fmla="*/ 251 w 297"/>
                  <a:gd name="T59" fmla="*/ 210 h 400"/>
                  <a:gd name="T60" fmla="*/ 259 w 297"/>
                  <a:gd name="T61" fmla="*/ 216 h 400"/>
                  <a:gd name="T62" fmla="*/ 263 w 297"/>
                  <a:gd name="T63" fmla="*/ 221 h 400"/>
                  <a:gd name="T64" fmla="*/ 265 w 297"/>
                  <a:gd name="T65" fmla="*/ 237 h 400"/>
                  <a:gd name="T66" fmla="*/ 265 w 297"/>
                  <a:gd name="T67" fmla="*/ 252 h 400"/>
                  <a:gd name="T68" fmla="*/ 238 w 297"/>
                  <a:gd name="T69" fmla="*/ 258 h 400"/>
                  <a:gd name="T70" fmla="*/ 236 w 297"/>
                  <a:gd name="T71" fmla="*/ 287 h 400"/>
                  <a:gd name="T72" fmla="*/ 230 w 297"/>
                  <a:gd name="T73" fmla="*/ 327 h 400"/>
                  <a:gd name="T74" fmla="*/ 236 w 297"/>
                  <a:gd name="T75" fmla="*/ 348 h 400"/>
                  <a:gd name="T76" fmla="*/ 228 w 297"/>
                  <a:gd name="T77" fmla="*/ 360 h 400"/>
                  <a:gd name="T78" fmla="*/ 224 w 297"/>
                  <a:gd name="T79" fmla="*/ 383 h 400"/>
                  <a:gd name="T80" fmla="*/ 207 w 297"/>
                  <a:gd name="T81" fmla="*/ 400 h 400"/>
                  <a:gd name="T82" fmla="*/ 186 w 297"/>
                  <a:gd name="T83" fmla="*/ 385 h 400"/>
                  <a:gd name="T84" fmla="*/ 136 w 297"/>
                  <a:gd name="T85" fmla="*/ 379 h 400"/>
                  <a:gd name="T86" fmla="*/ 124 w 297"/>
                  <a:gd name="T87" fmla="*/ 362 h 400"/>
                  <a:gd name="T88" fmla="*/ 103 w 297"/>
                  <a:gd name="T89" fmla="*/ 352 h 400"/>
                  <a:gd name="T90" fmla="*/ 96 w 297"/>
                  <a:gd name="T91" fmla="*/ 354 h 400"/>
                  <a:gd name="T92" fmla="*/ 86 w 297"/>
                  <a:gd name="T93" fmla="*/ 358 h 400"/>
                  <a:gd name="T94" fmla="*/ 65 w 297"/>
                  <a:gd name="T95" fmla="*/ 366 h 400"/>
                  <a:gd name="T96" fmla="*/ 1 w 297"/>
                  <a:gd name="T97" fmla="*/ 273 h 400"/>
                  <a:gd name="T98" fmla="*/ 25 w 297"/>
                  <a:gd name="T99" fmla="*/ 258 h 400"/>
                  <a:gd name="T100" fmla="*/ 65 w 297"/>
                  <a:gd name="T101" fmla="*/ 245 h 400"/>
                  <a:gd name="T102" fmla="*/ 101 w 297"/>
                  <a:gd name="T103" fmla="*/ 233 h 400"/>
                  <a:gd name="T104" fmla="*/ 119 w 297"/>
                  <a:gd name="T105" fmla="*/ 202 h 400"/>
                  <a:gd name="T106" fmla="*/ 113 w 297"/>
                  <a:gd name="T107" fmla="*/ 160 h 400"/>
                  <a:gd name="T108" fmla="*/ 142 w 297"/>
                  <a:gd name="T109" fmla="*/ 139 h 400"/>
                  <a:gd name="T110" fmla="*/ 151 w 297"/>
                  <a:gd name="T111" fmla="*/ 112 h 400"/>
                  <a:gd name="T112" fmla="*/ 155 w 297"/>
                  <a:gd name="T113" fmla="*/ 81 h 400"/>
                  <a:gd name="T114" fmla="*/ 171 w 297"/>
                  <a:gd name="T115" fmla="*/ 68 h 400"/>
                  <a:gd name="T116" fmla="*/ 197 w 297"/>
                  <a:gd name="T117" fmla="*/ 48 h 400"/>
                  <a:gd name="T118" fmla="*/ 247 w 297"/>
                  <a:gd name="T119" fmla="*/ 25 h 400"/>
                  <a:gd name="T120" fmla="*/ 276 w 297"/>
                  <a:gd name="T121" fmla="*/ 5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7" h="400">
                    <a:moveTo>
                      <a:pt x="280" y="56"/>
                    </a:moveTo>
                    <a:lnTo>
                      <a:pt x="282" y="58"/>
                    </a:lnTo>
                    <a:lnTo>
                      <a:pt x="282" y="60"/>
                    </a:lnTo>
                    <a:lnTo>
                      <a:pt x="284" y="60"/>
                    </a:lnTo>
                    <a:lnTo>
                      <a:pt x="284" y="62"/>
                    </a:lnTo>
                    <a:lnTo>
                      <a:pt x="286" y="62"/>
                    </a:lnTo>
                    <a:lnTo>
                      <a:pt x="286" y="64"/>
                    </a:lnTo>
                    <a:lnTo>
                      <a:pt x="284" y="64"/>
                    </a:lnTo>
                    <a:lnTo>
                      <a:pt x="284" y="62"/>
                    </a:lnTo>
                    <a:lnTo>
                      <a:pt x="284" y="64"/>
                    </a:lnTo>
                    <a:lnTo>
                      <a:pt x="286" y="64"/>
                    </a:lnTo>
                    <a:lnTo>
                      <a:pt x="284" y="64"/>
                    </a:lnTo>
                    <a:lnTo>
                      <a:pt x="284" y="62"/>
                    </a:lnTo>
                    <a:lnTo>
                      <a:pt x="282" y="64"/>
                    </a:lnTo>
                    <a:lnTo>
                      <a:pt x="282" y="62"/>
                    </a:lnTo>
                    <a:lnTo>
                      <a:pt x="280" y="62"/>
                    </a:lnTo>
                    <a:lnTo>
                      <a:pt x="282" y="62"/>
                    </a:lnTo>
                    <a:lnTo>
                      <a:pt x="282" y="64"/>
                    </a:lnTo>
                    <a:lnTo>
                      <a:pt x="284" y="64"/>
                    </a:lnTo>
                    <a:lnTo>
                      <a:pt x="284" y="66"/>
                    </a:lnTo>
                    <a:lnTo>
                      <a:pt x="286" y="66"/>
                    </a:lnTo>
                    <a:lnTo>
                      <a:pt x="284" y="66"/>
                    </a:lnTo>
                    <a:lnTo>
                      <a:pt x="286" y="66"/>
                    </a:lnTo>
                    <a:lnTo>
                      <a:pt x="288" y="66"/>
                    </a:lnTo>
                    <a:lnTo>
                      <a:pt x="288" y="68"/>
                    </a:lnTo>
                    <a:lnTo>
                      <a:pt x="286" y="66"/>
                    </a:lnTo>
                    <a:lnTo>
                      <a:pt x="286" y="68"/>
                    </a:lnTo>
                    <a:lnTo>
                      <a:pt x="288" y="68"/>
                    </a:lnTo>
                    <a:lnTo>
                      <a:pt x="286" y="68"/>
                    </a:lnTo>
                    <a:lnTo>
                      <a:pt x="286" y="70"/>
                    </a:lnTo>
                    <a:lnTo>
                      <a:pt x="288" y="70"/>
                    </a:lnTo>
                    <a:lnTo>
                      <a:pt x="286" y="70"/>
                    </a:lnTo>
                    <a:lnTo>
                      <a:pt x="288" y="70"/>
                    </a:lnTo>
                    <a:lnTo>
                      <a:pt x="288" y="71"/>
                    </a:lnTo>
                    <a:lnTo>
                      <a:pt x="288" y="73"/>
                    </a:lnTo>
                    <a:lnTo>
                      <a:pt x="290" y="73"/>
                    </a:lnTo>
                    <a:lnTo>
                      <a:pt x="290" y="75"/>
                    </a:lnTo>
                    <a:lnTo>
                      <a:pt x="290" y="73"/>
                    </a:lnTo>
                    <a:lnTo>
                      <a:pt x="292" y="73"/>
                    </a:lnTo>
                    <a:lnTo>
                      <a:pt x="294" y="73"/>
                    </a:lnTo>
                    <a:lnTo>
                      <a:pt x="294" y="75"/>
                    </a:lnTo>
                    <a:lnTo>
                      <a:pt x="292" y="75"/>
                    </a:lnTo>
                    <a:lnTo>
                      <a:pt x="292" y="73"/>
                    </a:lnTo>
                    <a:lnTo>
                      <a:pt x="292" y="75"/>
                    </a:lnTo>
                    <a:lnTo>
                      <a:pt x="292" y="73"/>
                    </a:lnTo>
                    <a:lnTo>
                      <a:pt x="292" y="75"/>
                    </a:lnTo>
                    <a:lnTo>
                      <a:pt x="292" y="77"/>
                    </a:lnTo>
                    <a:lnTo>
                      <a:pt x="292" y="79"/>
                    </a:lnTo>
                    <a:lnTo>
                      <a:pt x="294" y="79"/>
                    </a:lnTo>
                    <a:lnTo>
                      <a:pt x="292" y="79"/>
                    </a:lnTo>
                    <a:lnTo>
                      <a:pt x="292" y="77"/>
                    </a:lnTo>
                    <a:lnTo>
                      <a:pt x="290" y="77"/>
                    </a:lnTo>
                    <a:lnTo>
                      <a:pt x="292" y="77"/>
                    </a:lnTo>
                    <a:lnTo>
                      <a:pt x="290" y="77"/>
                    </a:lnTo>
                    <a:lnTo>
                      <a:pt x="288" y="77"/>
                    </a:lnTo>
                    <a:lnTo>
                      <a:pt x="286" y="77"/>
                    </a:lnTo>
                    <a:lnTo>
                      <a:pt x="288" y="77"/>
                    </a:lnTo>
                    <a:lnTo>
                      <a:pt x="286" y="77"/>
                    </a:lnTo>
                    <a:lnTo>
                      <a:pt x="288" y="77"/>
                    </a:lnTo>
                    <a:lnTo>
                      <a:pt x="288" y="79"/>
                    </a:lnTo>
                    <a:lnTo>
                      <a:pt x="290" y="79"/>
                    </a:lnTo>
                    <a:lnTo>
                      <a:pt x="288" y="79"/>
                    </a:lnTo>
                    <a:lnTo>
                      <a:pt x="288" y="81"/>
                    </a:lnTo>
                    <a:lnTo>
                      <a:pt x="288" y="79"/>
                    </a:lnTo>
                    <a:lnTo>
                      <a:pt x="288" y="81"/>
                    </a:lnTo>
                    <a:lnTo>
                      <a:pt x="290" y="81"/>
                    </a:lnTo>
                    <a:lnTo>
                      <a:pt x="288" y="81"/>
                    </a:lnTo>
                    <a:lnTo>
                      <a:pt x="286" y="81"/>
                    </a:lnTo>
                    <a:lnTo>
                      <a:pt x="286" y="79"/>
                    </a:lnTo>
                    <a:lnTo>
                      <a:pt x="284" y="79"/>
                    </a:lnTo>
                    <a:lnTo>
                      <a:pt x="282" y="79"/>
                    </a:lnTo>
                    <a:lnTo>
                      <a:pt x="284" y="79"/>
                    </a:lnTo>
                    <a:lnTo>
                      <a:pt x="282" y="79"/>
                    </a:lnTo>
                    <a:lnTo>
                      <a:pt x="280" y="77"/>
                    </a:lnTo>
                    <a:lnTo>
                      <a:pt x="280" y="79"/>
                    </a:lnTo>
                    <a:lnTo>
                      <a:pt x="278" y="77"/>
                    </a:lnTo>
                    <a:lnTo>
                      <a:pt x="276" y="77"/>
                    </a:lnTo>
                    <a:lnTo>
                      <a:pt x="274" y="77"/>
                    </a:lnTo>
                    <a:lnTo>
                      <a:pt x="274" y="75"/>
                    </a:lnTo>
                    <a:lnTo>
                      <a:pt x="272" y="75"/>
                    </a:lnTo>
                    <a:lnTo>
                      <a:pt x="274" y="77"/>
                    </a:lnTo>
                    <a:lnTo>
                      <a:pt x="272" y="77"/>
                    </a:lnTo>
                    <a:lnTo>
                      <a:pt x="272" y="75"/>
                    </a:lnTo>
                    <a:lnTo>
                      <a:pt x="270" y="75"/>
                    </a:lnTo>
                    <a:lnTo>
                      <a:pt x="272" y="75"/>
                    </a:lnTo>
                    <a:lnTo>
                      <a:pt x="272" y="77"/>
                    </a:lnTo>
                    <a:lnTo>
                      <a:pt x="274" y="77"/>
                    </a:lnTo>
                    <a:lnTo>
                      <a:pt x="276" y="77"/>
                    </a:lnTo>
                    <a:lnTo>
                      <a:pt x="276" y="79"/>
                    </a:lnTo>
                    <a:lnTo>
                      <a:pt x="276" y="77"/>
                    </a:lnTo>
                    <a:lnTo>
                      <a:pt x="276" y="79"/>
                    </a:lnTo>
                    <a:lnTo>
                      <a:pt x="278" y="79"/>
                    </a:lnTo>
                    <a:lnTo>
                      <a:pt x="280" y="79"/>
                    </a:lnTo>
                    <a:lnTo>
                      <a:pt x="282" y="79"/>
                    </a:lnTo>
                    <a:lnTo>
                      <a:pt x="284" y="79"/>
                    </a:lnTo>
                    <a:lnTo>
                      <a:pt x="282" y="79"/>
                    </a:lnTo>
                    <a:lnTo>
                      <a:pt x="284" y="81"/>
                    </a:lnTo>
                    <a:lnTo>
                      <a:pt x="286" y="81"/>
                    </a:lnTo>
                    <a:lnTo>
                      <a:pt x="288" y="83"/>
                    </a:lnTo>
                    <a:lnTo>
                      <a:pt x="286" y="83"/>
                    </a:lnTo>
                    <a:lnTo>
                      <a:pt x="284" y="83"/>
                    </a:lnTo>
                    <a:lnTo>
                      <a:pt x="286" y="83"/>
                    </a:lnTo>
                    <a:lnTo>
                      <a:pt x="290" y="87"/>
                    </a:lnTo>
                    <a:lnTo>
                      <a:pt x="290" y="89"/>
                    </a:lnTo>
                    <a:lnTo>
                      <a:pt x="288" y="89"/>
                    </a:lnTo>
                    <a:lnTo>
                      <a:pt x="290" y="89"/>
                    </a:lnTo>
                    <a:lnTo>
                      <a:pt x="290" y="91"/>
                    </a:lnTo>
                    <a:lnTo>
                      <a:pt x="290" y="93"/>
                    </a:lnTo>
                    <a:lnTo>
                      <a:pt x="292" y="93"/>
                    </a:lnTo>
                    <a:lnTo>
                      <a:pt x="294" y="93"/>
                    </a:lnTo>
                    <a:lnTo>
                      <a:pt x="294" y="95"/>
                    </a:lnTo>
                    <a:lnTo>
                      <a:pt x="294" y="93"/>
                    </a:lnTo>
                    <a:lnTo>
                      <a:pt x="294" y="95"/>
                    </a:lnTo>
                    <a:lnTo>
                      <a:pt x="294" y="93"/>
                    </a:lnTo>
                    <a:lnTo>
                      <a:pt x="294" y="95"/>
                    </a:lnTo>
                    <a:lnTo>
                      <a:pt x="295" y="95"/>
                    </a:lnTo>
                    <a:lnTo>
                      <a:pt x="294" y="95"/>
                    </a:lnTo>
                    <a:lnTo>
                      <a:pt x="295" y="95"/>
                    </a:lnTo>
                    <a:lnTo>
                      <a:pt x="295" y="96"/>
                    </a:lnTo>
                    <a:lnTo>
                      <a:pt x="294" y="96"/>
                    </a:lnTo>
                    <a:lnTo>
                      <a:pt x="295" y="96"/>
                    </a:lnTo>
                    <a:lnTo>
                      <a:pt x="294" y="96"/>
                    </a:lnTo>
                    <a:lnTo>
                      <a:pt x="295" y="96"/>
                    </a:lnTo>
                    <a:lnTo>
                      <a:pt x="294" y="96"/>
                    </a:lnTo>
                    <a:lnTo>
                      <a:pt x="295" y="96"/>
                    </a:lnTo>
                    <a:lnTo>
                      <a:pt x="294" y="96"/>
                    </a:lnTo>
                    <a:lnTo>
                      <a:pt x="294" y="98"/>
                    </a:lnTo>
                    <a:lnTo>
                      <a:pt x="295" y="98"/>
                    </a:lnTo>
                    <a:lnTo>
                      <a:pt x="294" y="98"/>
                    </a:lnTo>
                    <a:lnTo>
                      <a:pt x="294" y="100"/>
                    </a:lnTo>
                    <a:lnTo>
                      <a:pt x="295" y="100"/>
                    </a:lnTo>
                    <a:lnTo>
                      <a:pt x="294" y="100"/>
                    </a:lnTo>
                    <a:lnTo>
                      <a:pt x="295" y="100"/>
                    </a:lnTo>
                    <a:lnTo>
                      <a:pt x="295" y="102"/>
                    </a:lnTo>
                    <a:lnTo>
                      <a:pt x="295" y="104"/>
                    </a:lnTo>
                    <a:lnTo>
                      <a:pt x="294" y="104"/>
                    </a:lnTo>
                    <a:lnTo>
                      <a:pt x="294" y="106"/>
                    </a:lnTo>
                    <a:lnTo>
                      <a:pt x="295" y="106"/>
                    </a:lnTo>
                    <a:lnTo>
                      <a:pt x="295" y="104"/>
                    </a:lnTo>
                    <a:lnTo>
                      <a:pt x="297" y="104"/>
                    </a:lnTo>
                    <a:lnTo>
                      <a:pt x="297" y="106"/>
                    </a:lnTo>
                    <a:lnTo>
                      <a:pt x="297" y="108"/>
                    </a:lnTo>
                    <a:lnTo>
                      <a:pt x="297" y="110"/>
                    </a:lnTo>
                    <a:lnTo>
                      <a:pt x="297" y="112"/>
                    </a:lnTo>
                    <a:lnTo>
                      <a:pt x="297" y="114"/>
                    </a:lnTo>
                    <a:lnTo>
                      <a:pt x="297" y="116"/>
                    </a:lnTo>
                    <a:lnTo>
                      <a:pt x="297" y="118"/>
                    </a:lnTo>
                    <a:lnTo>
                      <a:pt x="297" y="116"/>
                    </a:lnTo>
                    <a:lnTo>
                      <a:pt x="297" y="118"/>
                    </a:lnTo>
                    <a:lnTo>
                      <a:pt x="295" y="118"/>
                    </a:lnTo>
                    <a:lnTo>
                      <a:pt x="297" y="118"/>
                    </a:lnTo>
                    <a:lnTo>
                      <a:pt x="295" y="118"/>
                    </a:lnTo>
                    <a:lnTo>
                      <a:pt x="295" y="120"/>
                    </a:lnTo>
                    <a:lnTo>
                      <a:pt x="294" y="121"/>
                    </a:lnTo>
                    <a:lnTo>
                      <a:pt x="295" y="121"/>
                    </a:lnTo>
                    <a:lnTo>
                      <a:pt x="294" y="121"/>
                    </a:lnTo>
                    <a:lnTo>
                      <a:pt x="295" y="121"/>
                    </a:lnTo>
                    <a:lnTo>
                      <a:pt x="294" y="121"/>
                    </a:lnTo>
                    <a:lnTo>
                      <a:pt x="295" y="121"/>
                    </a:lnTo>
                    <a:lnTo>
                      <a:pt x="294" y="121"/>
                    </a:lnTo>
                    <a:lnTo>
                      <a:pt x="295" y="121"/>
                    </a:lnTo>
                    <a:lnTo>
                      <a:pt x="294" y="121"/>
                    </a:lnTo>
                    <a:lnTo>
                      <a:pt x="295" y="121"/>
                    </a:lnTo>
                    <a:lnTo>
                      <a:pt x="295" y="120"/>
                    </a:lnTo>
                    <a:lnTo>
                      <a:pt x="295" y="121"/>
                    </a:lnTo>
                    <a:lnTo>
                      <a:pt x="295" y="120"/>
                    </a:lnTo>
                    <a:lnTo>
                      <a:pt x="295" y="121"/>
                    </a:lnTo>
                    <a:lnTo>
                      <a:pt x="295" y="120"/>
                    </a:lnTo>
                    <a:lnTo>
                      <a:pt x="297" y="120"/>
                    </a:lnTo>
                    <a:lnTo>
                      <a:pt x="297" y="121"/>
                    </a:lnTo>
                    <a:lnTo>
                      <a:pt x="295" y="121"/>
                    </a:lnTo>
                    <a:lnTo>
                      <a:pt x="297" y="121"/>
                    </a:lnTo>
                    <a:lnTo>
                      <a:pt x="295" y="121"/>
                    </a:lnTo>
                    <a:lnTo>
                      <a:pt x="297" y="121"/>
                    </a:lnTo>
                    <a:lnTo>
                      <a:pt x="297" y="123"/>
                    </a:lnTo>
                    <a:lnTo>
                      <a:pt x="295" y="123"/>
                    </a:lnTo>
                    <a:lnTo>
                      <a:pt x="295" y="125"/>
                    </a:lnTo>
                    <a:lnTo>
                      <a:pt x="294" y="125"/>
                    </a:lnTo>
                    <a:lnTo>
                      <a:pt x="295" y="125"/>
                    </a:lnTo>
                    <a:lnTo>
                      <a:pt x="294" y="125"/>
                    </a:lnTo>
                    <a:lnTo>
                      <a:pt x="295" y="127"/>
                    </a:lnTo>
                    <a:lnTo>
                      <a:pt x="295" y="125"/>
                    </a:lnTo>
                    <a:lnTo>
                      <a:pt x="295" y="127"/>
                    </a:lnTo>
                    <a:lnTo>
                      <a:pt x="295" y="125"/>
                    </a:lnTo>
                    <a:lnTo>
                      <a:pt x="295" y="127"/>
                    </a:lnTo>
                    <a:lnTo>
                      <a:pt x="297" y="127"/>
                    </a:lnTo>
                    <a:lnTo>
                      <a:pt x="295" y="127"/>
                    </a:lnTo>
                    <a:lnTo>
                      <a:pt x="295" y="125"/>
                    </a:lnTo>
                    <a:lnTo>
                      <a:pt x="295" y="127"/>
                    </a:lnTo>
                    <a:lnTo>
                      <a:pt x="295" y="125"/>
                    </a:lnTo>
                    <a:lnTo>
                      <a:pt x="297" y="125"/>
                    </a:lnTo>
                    <a:lnTo>
                      <a:pt x="297" y="127"/>
                    </a:lnTo>
                    <a:lnTo>
                      <a:pt x="297" y="125"/>
                    </a:lnTo>
                    <a:lnTo>
                      <a:pt x="297" y="127"/>
                    </a:lnTo>
                    <a:lnTo>
                      <a:pt x="295" y="127"/>
                    </a:lnTo>
                    <a:lnTo>
                      <a:pt x="295" y="129"/>
                    </a:lnTo>
                    <a:lnTo>
                      <a:pt x="295" y="127"/>
                    </a:lnTo>
                    <a:lnTo>
                      <a:pt x="295" y="129"/>
                    </a:lnTo>
                    <a:lnTo>
                      <a:pt x="297" y="129"/>
                    </a:lnTo>
                    <a:lnTo>
                      <a:pt x="295" y="129"/>
                    </a:lnTo>
                    <a:lnTo>
                      <a:pt x="297" y="129"/>
                    </a:lnTo>
                    <a:lnTo>
                      <a:pt x="297" y="131"/>
                    </a:lnTo>
                    <a:lnTo>
                      <a:pt x="297" y="133"/>
                    </a:lnTo>
                    <a:lnTo>
                      <a:pt x="295" y="133"/>
                    </a:lnTo>
                    <a:lnTo>
                      <a:pt x="295" y="131"/>
                    </a:lnTo>
                    <a:lnTo>
                      <a:pt x="295" y="133"/>
                    </a:lnTo>
                    <a:lnTo>
                      <a:pt x="294" y="133"/>
                    </a:lnTo>
                    <a:lnTo>
                      <a:pt x="294" y="131"/>
                    </a:lnTo>
                    <a:lnTo>
                      <a:pt x="295" y="131"/>
                    </a:lnTo>
                    <a:lnTo>
                      <a:pt x="295" y="129"/>
                    </a:lnTo>
                    <a:lnTo>
                      <a:pt x="294" y="129"/>
                    </a:lnTo>
                    <a:lnTo>
                      <a:pt x="295" y="129"/>
                    </a:lnTo>
                    <a:lnTo>
                      <a:pt x="294" y="129"/>
                    </a:lnTo>
                    <a:lnTo>
                      <a:pt x="294" y="131"/>
                    </a:lnTo>
                    <a:lnTo>
                      <a:pt x="294" y="133"/>
                    </a:lnTo>
                    <a:lnTo>
                      <a:pt x="295" y="133"/>
                    </a:lnTo>
                    <a:lnTo>
                      <a:pt x="294" y="133"/>
                    </a:lnTo>
                    <a:lnTo>
                      <a:pt x="295" y="133"/>
                    </a:lnTo>
                    <a:lnTo>
                      <a:pt x="294" y="133"/>
                    </a:lnTo>
                    <a:lnTo>
                      <a:pt x="294" y="135"/>
                    </a:lnTo>
                    <a:lnTo>
                      <a:pt x="292" y="135"/>
                    </a:lnTo>
                    <a:lnTo>
                      <a:pt x="292" y="133"/>
                    </a:lnTo>
                    <a:lnTo>
                      <a:pt x="292" y="131"/>
                    </a:lnTo>
                    <a:lnTo>
                      <a:pt x="292" y="129"/>
                    </a:lnTo>
                    <a:lnTo>
                      <a:pt x="292" y="127"/>
                    </a:lnTo>
                    <a:lnTo>
                      <a:pt x="290" y="127"/>
                    </a:lnTo>
                    <a:lnTo>
                      <a:pt x="292" y="127"/>
                    </a:lnTo>
                    <a:lnTo>
                      <a:pt x="290" y="127"/>
                    </a:lnTo>
                    <a:lnTo>
                      <a:pt x="292" y="127"/>
                    </a:lnTo>
                    <a:lnTo>
                      <a:pt x="292" y="125"/>
                    </a:lnTo>
                    <a:lnTo>
                      <a:pt x="290" y="125"/>
                    </a:lnTo>
                    <a:lnTo>
                      <a:pt x="292" y="125"/>
                    </a:lnTo>
                    <a:lnTo>
                      <a:pt x="290" y="125"/>
                    </a:lnTo>
                    <a:lnTo>
                      <a:pt x="292" y="125"/>
                    </a:lnTo>
                    <a:lnTo>
                      <a:pt x="292" y="127"/>
                    </a:lnTo>
                    <a:lnTo>
                      <a:pt x="292" y="125"/>
                    </a:lnTo>
                    <a:lnTo>
                      <a:pt x="290" y="125"/>
                    </a:lnTo>
                    <a:lnTo>
                      <a:pt x="290" y="127"/>
                    </a:lnTo>
                    <a:lnTo>
                      <a:pt x="290" y="125"/>
                    </a:lnTo>
                    <a:lnTo>
                      <a:pt x="290" y="127"/>
                    </a:lnTo>
                    <a:lnTo>
                      <a:pt x="290" y="129"/>
                    </a:lnTo>
                    <a:lnTo>
                      <a:pt x="288" y="129"/>
                    </a:lnTo>
                    <a:lnTo>
                      <a:pt x="290" y="129"/>
                    </a:lnTo>
                    <a:lnTo>
                      <a:pt x="288" y="129"/>
                    </a:lnTo>
                    <a:lnTo>
                      <a:pt x="290" y="129"/>
                    </a:lnTo>
                    <a:lnTo>
                      <a:pt x="288" y="129"/>
                    </a:lnTo>
                    <a:lnTo>
                      <a:pt x="290" y="129"/>
                    </a:lnTo>
                    <a:lnTo>
                      <a:pt x="290" y="131"/>
                    </a:lnTo>
                    <a:lnTo>
                      <a:pt x="288" y="131"/>
                    </a:lnTo>
                    <a:lnTo>
                      <a:pt x="290" y="131"/>
                    </a:lnTo>
                    <a:lnTo>
                      <a:pt x="288" y="131"/>
                    </a:lnTo>
                    <a:lnTo>
                      <a:pt x="286" y="131"/>
                    </a:lnTo>
                    <a:lnTo>
                      <a:pt x="288" y="131"/>
                    </a:lnTo>
                    <a:lnTo>
                      <a:pt x="288" y="133"/>
                    </a:lnTo>
                    <a:lnTo>
                      <a:pt x="286" y="133"/>
                    </a:lnTo>
                    <a:lnTo>
                      <a:pt x="288" y="133"/>
                    </a:lnTo>
                    <a:lnTo>
                      <a:pt x="286" y="133"/>
                    </a:lnTo>
                    <a:lnTo>
                      <a:pt x="288" y="133"/>
                    </a:lnTo>
                    <a:lnTo>
                      <a:pt x="286" y="133"/>
                    </a:lnTo>
                    <a:lnTo>
                      <a:pt x="288" y="133"/>
                    </a:lnTo>
                    <a:lnTo>
                      <a:pt x="286" y="133"/>
                    </a:lnTo>
                    <a:lnTo>
                      <a:pt x="286" y="135"/>
                    </a:lnTo>
                    <a:lnTo>
                      <a:pt x="286" y="137"/>
                    </a:lnTo>
                    <a:lnTo>
                      <a:pt x="286" y="139"/>
                    </a:lnTo>
                    <a:lnTo>
                      <a:pt x="286" y="137"/>
                    </a:lnTo>
                    <a:lnTo>
                      <a:pt x="284" y="137"/>
                    </a:lnTo>
                    <a:lnTo>
                      <a:pt x="286" y="137"/>
                    </a:lnTo>
                    <a:lnTo>
                      <a:pt x="284" y="137"/>
                    </a:lnTo>
                    <a:lnTo>
                      <a:pt x="286" y="137"/>
                    </a:lnTo>
                    <a:lnTo>
                      <a:pt x="284" y="137"/>
                    </a:lnTo>
                    <a:lnTo>
                      <a:pt x="284" y="139"/>
                    </a:lnTo>
                    <a:lnTo>
                      <a:pt x="282" y="139"/>
                    </a:lnTo>
                    <a:lnTo>
                      <a:pt x="284" y="139"/>
                    </a:lnTo>
                    <a:lnTo>
                      <a:pt x="282" y="139"/>
                    </a:lnTo>
                    <a:lnTo>
                      <a:pt x="282" y="141"/>
                    </a:lnTo>
                    <a:lnTo>
                      <a:pt x="280" y="141"/>
                    </a:lnTo>
                    <a:lnTo>
                      <a:pt x="280" y="139"/>
                    </a:lnTo>
                    <a:lnTo>
                      <a:pt x="280" y="141"/>
                    </a:lnTo>
                    <a:lnTo>
                      <a:pt x="278" y="141"/>
                    </a:lnTo>
                    <a:lnTo>
                      <a:pt x="280" y="141"/>
                    </a:lnTo>
                    <a:lnTo>
                      <a:pt x="278" y="141"/>
                    </a:lnTo>
                    <a:lnTo>
                      <a:pt x="280" y="141"/>
                    </a:lnTo>
                    <a:lnTo>
                      <a:pt x="278" y="141"/>
                    </a:lnTo>
                    <a:lnTo>
                      <a:pt x="278" y="143"/>
                    </a:lnTo>
                    <a:lnTo>
                      <a:pt x="276" y="143"/>
                    </a:lnTo>
                    <a:lnTo>
                      <a:pt x="278" y="143"/>
                    </a:lnTo>
                    <a:lnTo>
                      <a:pt x="276" y="143"/>
                    </a:lnTo>
                    <a:lnTo>
                      <a:pt x="276" y="141"/>
                    </a:lnTo>
                    <a:lnTo>
                      <a:pt x="274" y="141"/>
                    </a:lnTo>
                    <a:lnTo>
                      <a:pt x="272" y="141"/>
                    </a:lnTo>
                    <a:lnTo>
                      <a:pt x="274" y="141"/>
                    </a:lnTo>
                    <a:lnTo>
                      <a:pt x="272" y="141"/>
                    </a:lnTo>
                    <a:lnTo>
                      <a:pt x="274" y="141"/>
                    </a:lnTo>
                    <a:lnTo>
                      <a:pt x="272" y="141"/>
                    </a:lnTo>
                    <a:lnTo>
                      <a:pt x="274" y="141"/>
                    </a:lnTo>
                    <a:lnTo>
                      <a:pt x="274" y="143"/>
                    </a:lnTo>
                    <a:lnTo>
                      <a:pt x="272" y="141"/>
                    </a:lnTo>
                    <a:lnTo>
                      <a:pt x="274" y="143"/>
                    </a:lnTo>
                    <a:lnTo>
                      <a:pt x="272" y="143"/>
                    </a:lnTo>
                    <a:lnTo>
                      <a:pt x="272" y="141"/>
                    </a:lnTo>
                    <a:lnTo>
                      <a:pt x="272" y="143"/>
                    </a:lnTo>
                    <a:lnTo>
                      <a:pt x="272" y="141"/>
                    </a:lnTo>
                    <a:lnTo>
                      <a:pt x="272" y="143"/>
                    </a:lnTo>
                    <a:lnTo>
                      <a:pt x="272" y="141"/>
                    </a:lnTo>
                    <a:lnTo>
                      <a:pt x="270" y="141"/>
                    </a:lnTo>
                    <a:lnTo>
                      <a:pt x="272" y="141"/>
                    </a:lnTo>
                    <a:lnTo>
                      <a:pt x="270" y="141"/>
                    </a:lnTo>
                    <a:lnTo>
                      <a:pt x="270" y="143"/>
                    </a:lnTo>
                    <a:lnTo>
                      <a:pt x="270" y="141"/>
                    </a:lnTo>
                    <a:lnTo>
                      <a:pt x="270" y="143"/>
                    </a:lnTo>
                    <a:lnTo>
                      <a:pt x="269" y="141"/>
                    </a:lnTo>
                    <a:lnTo>
                      <a:pt x="267" y="141"/>
                    </a:lnTo>
                    <a:lnTo>
                      <a:pt x="267" y="139"/>
                    </a:lnTo>
                    <a:lnTo>
                      <a:pt x="267" y="141"/>
                    </a:lnTo>
                    <a:lnTo>
                      <a:pt x="269" y="141"/>
                    </a:lnTo>
                    <a:lnTo>
                      <a:pt x="269" y="143"/>
                    </a:lnTo>
                    <a:lnTo>
                      <a:pt x="269" y="145"/>
                    </a:lnTo>
                    <a:lnTo>
                      <a:pt x="270" y="145"/>
                    </a:lnTo>
                    <a:lnTo>
                      <a:pt x="270" y="146"/>
                    </a:lnTo>
                    <a:lnTo>
                      <a:pt x="269" y="146"/>
                    </a:lnTo>
                    <a:lnTo>
                      <a:pt x="269" y="148"/>
                    </a:lnTo>
                    <a:lnTo>
                      <a:pt x="267" y="148"/>
                    </a:lnTo>
                    <a:lnTo>
                      <a:pt x="267" y="150"/>
                    </a:lnTo>
                    <a:lnTo>
                      <a:pt x="269" y="150"/>
                    </a:lnTo>
                    <a:lnTo>
                      <a:pt x="267" y="150"/>
                    </a:lnTo>
                    <a:lnTo>
                      <a:pt x="269" y="150"/>
                    </a:lnTo>
                    <a:lnTo>
                      <a:pt x="267" y="152"/>
                    </a:lnTo>
                    <a:lnTo>
                      <a:pt x="269" y="152"/>
                    </a:lnTo>
                    <a:lnTo>
                      <a:pt x="269" y="154"/>
                    </a:lnTo>
                    <a:lnTo>
                      <a:pt x="269" y="156"/>
                    </a:lnTo>
                    <a:lnTo>
                      <a:pt x="269" y="154"/>
                    </a:lnTo>
                    <a:lnTo>
                      <a:pt x="267" y="154"/>
                    </a:lnTo>
                    <a:lnTo>
                      <a:pt x="269" y="154"/>
                    </a:lnTo>
                    <a:lnTo>
                      <a:pt x="269" y="156"/>
                    </a:lnTo>
                    <a:lnTo>
                      <a:pt x="270" y="156"/>
                    </a:lnTo>
                    <a:lnTo>
                      <a:pt x="270" y="158"/>
                    </a:lnTo>
                    <a:lnTo>
                      <a:pt x="270" y="156"/>
                    </a:lnTo>
                    <a:lnTo>
                      <a:pt x="269" y="156"/>
                    </a:lnTo>
                    <a:lnTo>
                      <a:pt x="269" y="158"/>
                    </a:lnTo>
                    <a:lnTo>
                      <a:pt x="269" y="156"/>
                    </a:lnTo>
                    <a:lnTo>
                      <a:pt x="269" y="158"/>
                    </a:lnTo>
                    <a:lnTo>
                      <a:pt x="267" y="158"/>
                    </a:lnTo>
                    <a:lnTo>
                      <a:pt x="269" y="158"/>
                    </a:lnTo>
                    <a:lnTo>
                      <a:pt x="267" y="158"/>
                    </a:lnTo>
                    <a:lnTo>
                      <a:pt x="267" y="156"/>
                    </a:lnTo>
                    <a:lnTo>
                      <a:pt x="265" y="156"/>
                    </a:lnTo>
                    <a:lnTo>
                      <a:pt x="267" y="156"/>
                    </a:lnTo>
                    <a:lnTo>
                      <a:pt x="267" y="158"/>
                    </a:lnTo>
                    <a:lnTo>
                      <a:pt x="267" y="160"/>
                    </a:lnTo>
                    <a:lnTo>
                      <a:pt x="265" y="160"/>
                    </a:lnTo>
                    <a:lnTo>
                      <a:pt x="267" y="160"/>
                    </a:lnTo>
                    <a:lnTo>
                      <a:pt x="265" y="160"/>
                    </a:lnTo>
                    <a:lnTo>
                      <a:pt x="265" y="162"/>
                    </a:lnTo>
                    <a:lnTo>
                      <a:pt x="267" y="162"/>
                    </a:lnTo>
                    <a:lnTo>
                      <a:pt x="267" y="160"/>
                    </a:lnTo>
                    <a:lnTo>
                      <a:pt x="267" y="162"/>
                    </a:lnTo>
                    <a:lnTo>
                      <a:pt x="265" y="162"/>
                    </a:lnTo>
                    <a:lnTo>
                      <a:pt x="267" y="162"/>
                    </a:lnTo>
                    <a:lnTo>
                      <a:pt x="267" y="164"/>
                    </a:lnTo>
                    <a:lnTo>
                      <a:pt x="267" y="166"/>
                    </a:lnTo>
                    <a:lnTo>
                      <a:pt x="265" y="166"/>
                    </a:lnTo>
                    <a:lnTo>
                      <a:pt x="267" y="166"/>
                    </a:lnTo>
                    <a:lnTo>
                      <a:pt x="265" y="166"/>
                    </a:lnTo>
                    <a:lnTo>
                      <a:pt x="265" y="168"/>
                    </a:lnTo>
                    <a:lnTo>
                      <a:pt x="267" y="168"/>
                    </a:lnTo>
                    <a:lnTo>
                      <a:pt x="265" y="168"/>
                    </a:lnTo>
                    <a:lnTo>
                      <a:pt x="263" y="168"/>
                    </a:lnTo>
                    <a:lnTo>
                      <a:pt x="265" y="168"/>
                    </a:lnTo>
                    <a:lnTo>
                      <a:pt x="263" y="168"/>
                    </a:lnTo>
                    <a:lnTo>
                      <a:pt x="261" y="168"/>
                    </a:lnTo>
                    <a:lnTo>
                      <a:pt x="259" y="168"/>
                    </a:lnTo>
                    <a:lnTo>
                      <a:pt x="257" y="166"/>
                    </a:lnTo>
                    <a:lnTo>
                      <a:pt x="257" y="168"/>
                    </a:lnTo>
                    <a:lnTo>
                      <a:pt x="257" y="166"/>
                    </a:lnTo>
                    <a:lnTo>
                      <a:pt x="255" y="166"/>
                    </a:lnTo>
                    <a:lnTo>
                      <a:pt x="253" y="166"/>
                    </a:lnTo>
                    <a:lnTo>
                      <a:pt x="251" y="166"/>
                    </a:lnTo>
                    <a:lnTo>
                      <a:pt x="251" y="164"/>
                    </a:lnTo>
                    <a:lnTo>
                      <a:pt x="249" y="164"/>
                    </a:lnTo>
                    <a:lnTo>
                      <a:pt x="249" y="162"/>
                    </a:lnTo>
                    <a:lnTo>
                      <a:pt x="247" y="162"/>
                    </a:lnTo>
                    <a:lnTo>
                      <a:pt x="249" y="162"/>
                    </a:lnTo>
                    <a:lnTo>
                      <a:pt x="247" y="162"/>
                    </a:lnTo>
                    <a:lnTo>
                      <a:pt x="247" y="160"/>
                    </a:lnTo>
                    <a:lnTo>
                      <a:pt x="247" y="158"/>
                    </a:lnTo>
                    <a:lnTo>
                      <a:pt x="247" y="156"/>
                    </a:lnTo>
                    <a:lnTo>
                      <a:pt x="245" y="156"/>
                    </a:lnTo>
                    <a:lnTo>
                      <a:pt x="244" y="152"/>
                    </a:lnTo>
                    <a:lnTo>
                      <a:pt x="242" y="150"/>
                    </a:lnTo>
                    <a:lnTo>
                      <a:pt x="242" y="148"/>
                    </a:lnTo>
                    <a:lnTo>
                      <a:pt x="242" y="150"/>
                    </a:lnTo>
                    <a:lnTo>
                      <a:pt x="242" y="152"/>
                    </a:lnTo>
                    <a:lnTo>
                      <a:pt x="244" y="152"/>
                    </a:lnTo>
                    <a:lnTo>
                      <a:pt x="245" y="156"/>
                    </a:lnTo>
                    <a:lnTo>
                      <a:pt x="247" y="156"/>
                    </a:lnTo>
                    <a:lnTo>
                      <a:pt x="247" y="158"/>
                    </a:lnTo>
                    <a:lnTo>
                      <a:pt x="247" y="160"/>
                    </a:lnTo>
                    <a:lnTo>
                      <a:pt x="247" y="162"/>
                    </a:lnTo>
                    <a:lnTo>
                      <a:pt x="249" y="164"/>
                    </a:lnTo>
                    <a:lnTo>
                      <a:pt x="247" y="164"/>
                    </a:lnTo>
                    <a:lnTo>
                      <a:pt x="247" y="162"/>
                    </a:lnTo>
                    <a:lnTo>
                      <a:pt x="247" y="164"/>
                    </a:lnTo>
                    <a:lnTo>
                      <a:pt x="249" y="164"/>
                    </a:lnTo>
                    <a:lnTo>
                      <a:pt x="251" y="164"/>
                    </a:lnTo>
                    <a:lnTo>
                      <a:pt x="251" y="166"/>
                    </a:lnTo>
                    <a:lnTo>
                      <a:pt x="253" y="166"/>
                    </a:lnTo>
                    <a:lnTo>
                      <a:pt x="255" y="166"/>
                    </a:lnTo>
                    <a:lnTo>
                      <a:pt x="257" y="166"/>
                    </a:lnTo>
                    <a:lnTo>
                      <a:pt x="255" y="168"/>
                    </a:lnTo>
                    <a:lnTo>
                      <a:pt x="257" y="168"/>
                    </a:lnTo>
                    <a:lnTo>
                      <a:pt x="257" y="166"/>
                    </a:lnTo>
                    <a:lnTo>
                      <a:pt x="257" y="168"/>
                    </a:lnTo>
                    <a:lnTo>
                      <a:pt x="257" y="166"/>
                    </a:lnTo>
                    <a:lnTo>
                      <a:pt x="257" y="168"/>
                    </a:lnTo>
                    <a:lnTo>
                      <a:pt x="259" y="168"/>
                    </a:lnTo>
                    <a:lnTo>
                      <a:pt x="261" y="168"/>
                    </a:lnTo>
                    <a:lnTo>
                      <a:pt x="261" y="170"/>
                    </a:lnTo>
                    <a:lnTo>
                      <a:pt x="263" y="170"/>
                    </a:lnTo>
                    <a:lnTo>
                      <a:pt x="261" y="170"/>
                    </a:lnTo>
                    <a:lnTo>
                      <a:pt x="263" y="170"/>
                    </a:lnTo>
                    <a:lnTo>
                      <a:pt x="263" y="171"/>
                    </a:lnTo>
                    <a:lnTo>
                      <a:pt x="263" y="173"/>
                    </a:lnTo>
                    <a:lnTo>
                      <a:pt x="261" y="173"/>
                    </a:lnTo>
                    <a:lnTo>
                      <a:pt x="263" y="173"/>
                    </a:lnTo>
                    <a:lnTo>
                      <a:pt x="261" y="173"/>
                    </a:lnTo>
                    <a:lnTo>
                      <a:pt x="263" y="173"/>
                    </a:lnTo>
                    <a:lnTo>
                      <a:pt x="263" y="175"/>
                    </a:lnTo>
                    <a:lnTo>
                      <a:pt x="263" y="177"/>
                    </a:lnTo>
                    <a:lnTo>
                      <a:pt x="263" y="175"/>
                    </a:lnTo>
                    <a:lnTo>
                      <a:pt x="263" y="177"/>
                    </a:lnTo>
                    <a:lnTo>
                      <a:pt x="261" y="177"/>
                    </a:lnTo>
                    <a:lnTo>
                      <a:pt x="263" y="177"/>
                    </a:lnTo>
                    <a:lnTo>
                      <a:pt x="261" y="177"/>
                    </a:lnTo>
                    <a:lnTo>
                      <a:pt x="261" y="179"/>
                    </a:lnTo>
                    <a:lnTo>
                      <a:pt x="263" y="179"/>
                    </a:lnTo>
                    <a:lnTo>
                      <a:pt x="261" y="179"/>
                    </a:lnTo>
                    <a:lnTo>
                      <a:pt x="259" y="179"/>
                    </a:lnTo>
                    <a:lnTo>
                      <a:pt x="259" y="181"/>
                    </a:lnTo>
                    <a:lnTo>
                      <a:pt x="259" y="179"/>
                    </a:lnTo>
                    <a:lnTo>
                      <a:pt x="259" y="181"/>
                    </a:lnTo>
                    <a:lnTo>
                      <a:pt x="257" y="181"/>
                    </a:lnTo>
                    <a:lnTo>
                      <a:pt x="255" y="181"/>
                    </a:lnTo>
                    <a:lnTo>
                      <a:pt x="255" y="179"/>
                    </a:lnTo>
                    <a:lnTo>
                      <a:pt x="253" y="179"/>
                    </a:lnTo>
                    <a:lnTo>
                      <a:pt x="255" y="179"/>
                    </a:lnTo>
                    <a:lnTo>
                      <a:pt x="255" y="181"/>
                    </a:lnTo>
                    <a:lnTo>
                      <a:pt x="255" y="183"/>
                    </a:lnTo>
                    <a:lnTo>
                      <a:pt x="255" y="185"/>
                    </a:lnTo>
                    <a:lnTo>
                      <a:pt x="253" y="185"/>
                    </a:lnTo>
                    <a:lnTo>
                      <a:pt x="255" y="185"/>
                    </a:lnTo>
                    <a:lnTo>
                      <a:pt x="255" y="187"/>
                    </a:lnTo>
                    <a:lnTo>
                      <a:pt x="255" y="189"/>
                    </a:lnTo>
                    <a:lnTo>
                      <a:pt x="253" y="189"/>
                    </a:lnTo>
                    <a:lnTo>
                      <a:pt x="255" y="189"/>
                    </a:lnTo>
                    <a:lnTo>
                      <a:pt x="253" y="189"/>
                    </a:lnTo>
                    <a:lnTo>
                      <a:pt x="255" y="189"/>
                    </a:lnTo>
                    <a:lnTo>
                      <a:pt x="255" y="191"/>
                    </a:lnTo>
                    <a:lnTo>
                      <a:pt x="253" y="191"/>
                    </a:lnTo>
                    <a:lnTo>
                      <a:pt x="251" y="191"/>
                    </a:lnTo>
                    <a:lnTo>
                      <a:pt x="249" y="191"/>
                    </a:lnTo>
                    <a:lnTo>
                      <a:pt x="249" y="193"/>
                    </a:lnTo>
                    <a:lnTo>
                      <a:pt x="249" y="191"/>
                    </a:lnTo>
                    <a:lnTo>
                      <a:pt x="249" y="193"/>
                    </a:lnTo>
                    <a:lnTo>
                      <a:pt x="247" y="191"/>
                    </a:lnTo>
                    <a:lnTo>
                      <a:pt x="247" y="193"/>
                    </a:lnTo>
                    <a:lnTo>
                      <a:pt x="247" y="191"/>
                    </a:lnTo>
                    <a:lnTo>
                      <a:pt x="247" y="193"/>
                    </a:lnTo>
                    <a:lnTo>
                      <a:pt x="247" y="191"/>
                    </a:lnTo>
                    <a:lnTo>
                      <a:pt x="247" y="193"/>
                    </a:lnTo>
                    <a:lnTo>
                      <a:pt x="247" y="191"/>
                    </a:lnTo>
                    <a:lnTo>
                      <a:pt x="245" y="191"/>
                    </a:lnTo>
                    <a:lnTo>
                      <a:pt x="247" y="191"/>
                    </a:lnTo>
                    <a:lnTo>
                      <a:pt x="245" y="191"/>
                    </a:lnTo>
                    <a:lnTo>
                      <a:pt x="244" y="191"/>
                    </a:lnTo>
                    <a:lnTo>
                      <a:pt x="245" y="191"/>
                    </a:lnTo>
                    <a:lnTo>
                      <a:pt x="245" y="193"/>
                    </a:lnTo>
                    <a:lnTo>
                      <a:pt x="245" y="191"/>
                    </a:lnTo>
                    <a:lnTo>
                      <a:pt x="247" y="193"/>
                    </a:lnTo>
                    <a:lnTo>
                      <a:pt x="247" y="195"/>
                    </a:lnTo>
                    <a:lnTo>
                      <a:pt x="247" y="196"/>
                    </a:lnTo>
                    <a:lnTo>
                      <a:pt x="249" y="196"/>
                    </a:lnTo>
                    <a:lnTo>
                      <a:pt x="249" y="195"/>
                    </a:lnTo>
                    <a:lnTo>
                      <a:pt x="249" y="196"/>
                    </a:lnTo>
                    <a:lnTo>
                      <a:pt x="249" y="195"/>
                    </a:lnTo>
                    <a:lnTo>
                      <a:pt x="249" y="196"/>
                    </a:lnTo>
                    <a:lnTo>
                      <a:pt x="251" y="196"/>
                    </a:lnTo>
                    <a:lnTo>
                      <a:pt x="251" y="198"/>
                    </a:lnTo>
                    <a:lnTo>
                      <a:pt x="249" y="198"/>
                    </a:lnTo>
                    <a:lnTo>
                      <a:pt x="247" y="200"/>
                    </a:lnTo>
                    <a:lnTo>
                      <a:pt x="249" y="200"/>
                    </a:lnTo>
                    <a:lnTo>
                      <a:pt x="249" y="202"/>
                    </a:lnTo>
                    <a:lnTo>
                      <a:pt x="247" y="202"/>
                    </a:lnTo>
                    <a:lnTo>
                      <a:pt x="249" y="202"/>
                    </a:lnTo>
                    <a:lnTo>
                      <a:pt x="251" y="202"/>
                    </a:lnTo>
                    <a:lnTo>
                      <a:pt x="251" y="204"/>
                    </a:lnTo>
                    <a:lnTo>
                      <a:pt x="249" y="204"/>
                    </a:lnTo>
                    <a:lnTo>
                      <a:pt x="249" y="206"/>
                    </a:lnTo>
                    <a:lnTo>
                      <a:pt x="249" y="208"/>
                    </a:lnTo>
                    <a:lnTo>
                      <a:pt x="251" y="208"/>
                    </a:lnTo>
                    <a:lnTo>
                      <a:pt x="251" y="206"/>
                    </a:lnTo>
                    <a:lnTo>
                      <a:pt x="253" y="206"/>
                    </a:lnTo>
                    <a:lnTo>
                      <a:pt x="255" y="206"/>
                    </a:lnTo>
                    <a:lnTo>
                      <a:pt x="253" y="206"/>
                    </a:lnTo>
                    <a:lnTo>
                      <a:pt x="255" y="206"/>
                    </a:lnTo>
                    <a:lnTo>
                      <a:pt x="253" y="206"/>
                    </a:lnTo>
                    <a:lnTo>
                      <a:pt x="253" y="208"/>
                    </a:lnTo>
                    <a:lnTo>
                      <a:pt x="253" y="206"/>
                    </a:lnTo>
                    <a:lnTo>
                      <a:pt x="253" y="208"/>
                    </a:lnTo>
                    <a:lnTo>
                      <a:pt x="251" y="208"/>
                    </a:lnTo>
                    <a:lnTo>
                      <a:pt x="251" y="210"/>
                    </a:lnTo>
                    <a:lnTo>
                      <a:pt x="253" y="210"/>
                    </a:lnTo>
                    <a:lnTo>
                      <a:pt x="251" y="210"/>
                    </a:lnTo>
                    <a:lnTo>
                      <a:pt x="251" y="212"/>
                    </a:lnTo>
                    <a:lnTo>
                      <a:pt x="251" y="214"/>
                    </a:lnTo>
                    <a:lnTo>
                      <a:pt x="253" y="214"/>
                    </a:lnTo>
                    <a:lnTo>
                      <a:pt x="251" y="214"/>
                    </a:lnTo>
                    <a:lnTo>
                      <a:pt x="253" y="214"/>
                    </a:lnTo>
                    <a:lnTo>
                      <a:pt x="251" y="214"/>
                    </a:lnTo>
                    <a:lnTo>
                      <a:pt x="253" y="214"/>
                    </a:lnTo>
                    <a:lnTo>
                      <a:pt x="251" y="214"/>
                    </a:lnTo>
                    <a:lnTo>
                      <a:pt x="253" y="214"/>
                    </a:lnTo>
                    <a:lnTo>
                      <a:pt x="251" y="214"/>
                    </a:lnTo>
                    <a:lnTo>
                      <a:pt x="253" y="214"/>
                    </a:lnTo>
                    <a:lnTo>
                      <a:pt x="255" y="214"/>
                    </a:lnTo>
                    <a:lnTo>
                      <a:pt x="257" y="214"/>
                    </a:lnTo>
                    <a:lnTo>
                      <a:pt x="257" y="216"/>
                    </a:lnTo>
                    <a:lnTo>
                      <a:pt x="259" y="216"/>
                    </a:lnTo>
                    <a:lnTo>
                      <a:pt x="259" y="214"/>
                    </a:lnTo>
                    <a:lnTo>
                      <a:pt x="259" y="212"/>
                    </a:lnTo>
                    <a:lnTo>
                      <a:pt x="261" y="212"/>
                    </a:lnTo>
                    <a:lnTo>
                      <a:pt x="261" y="214"/>
                    </a:lnTo>
                    <a:lnTo>
                      <a:pt x="261" y="216"/>
                    </a:lnTo>
                    <a:lnTo>
                      <a:pt x="263" y="216"/>
                    </a:lnTo>
                    <a:lnTo>
                      <a:pt x="261" y="216"/>
                    </a:lnTo>
                    <a:lnTo>
                      <a:pt x="263" y="216"/>
                    </a:lnTo>
                    <a:lnTo>
                      <a:pt x="263" y="218"/>
                    </a:lnTo>
                    <a:lnTo>
                      <a:pt x="261" y="218"/>
                    </a:lnTo>
                    <a:lnTo>
                      <a:pt x="263" y="218"/>
                    </a:lnTo>
                    <a:lnTo>
                      <a:pt x="263" y="220"/>
                    </a:lnTo>
                    <a:lnTo>
                      <a:pt x="263" y="218"/>
                    </a:lnTo>
                    <a:lnTo>
                      <a:pt x="263" y="220"/>
                    </a:lnTo>
                    <a:lnTo>
                      <a:pt x="263" y="218"/>
                    </a:lnTo>
                    <a:lnTo>
                      <a:pt x="263" y="220"/>
                    </a:lnTo>
                    <a:lnTo>
                      <a:pt x="263" y="221"/>
                    </a:lnTo>
                    <a:lnTo>
                      <a:pt x="263" y="223"/>
                    </a:lnTo>
                    <a:lnTo>
                      <a:pt x="261" y="223"/>
                    </a:lnTo>
                    <a:lnTo>
                      <a:pt x="261" y="225"/>
                    </a:lnTo>
                    <a:lnTo>
                      <a:pt x="263" y="225"/>
                    </a:lnTo>
                    <a:lnTo>
                      <a:pt x="261" y="225"/>
                    </a:lnTo>
                    <a:lnTo>
                      <a:pt x="263" y="225"/>
                    </a:lnTo>
                    <a:lnTo>
                      <a:pt x="263" y="227"/>
                    </a:lnTo>
                    <a:lnTo>
                      <a:pt x="261" y="227"/>
                    </a:lnTo>
                    <a:lnTo>
                      <a:pt x="261" y="229"/>
                    </a:lnTo>
                    <a:lnTo>
                      <a:pt x="263" y="229"/>
                    </a:lnTo>
                    <a:lnTo>
                      <a:pt x="263" y="227"/>
                    </a:lnTo>
                    <a:lnTo>
                      <a:pt x="265" y="227"/>
                    </a:lnTo>
                    <a:lnTo>
                      <a:pt x="265" y="229"/>
                    </a:lnTo>
                    <a:lnTo>
                      <a:pt x="265" y="231"/>
                    </a:lnTo>
                    <a:lnTo>
                      <a:pt x="265" y="233"/>
                    </a:lnTo>
                    <a:lnTo>
                      <a:pt x="265" y="235"/>
                    </a:lnTo>
                    <a:lnTo>
                      <a:pt x="265" y="237"/>
                    </a:lnTo>
                    <a:lnTo>
                      <a:pt x="263" y="237"/>
                    </a:lnTo>
                    <a:lnTo>
                      <a:pt x="263" y="235"/>
                    </a:lnTo>
                    <a:lnTo>
                      <a:pt x="263" y="237"/>
                    </a:lnTo>
                    <a:lnTo>
                      <a:pt x="263" y="239"/>
                    </a:lnTo>
                    <a:lnTo>
                      <a:pt x="263" y="241"/>
                    </a:lnTo>
                    <a:lnTo>
                      <a:pt x="261" y="243"/>
                    </a:lnTo>
                    <a:lnTo>
                      <a:pt x="261" y="245"/>
                    </a:lnTo>
                    <a:lnTo>
                      <a:pt x="261" y="246"/>
                    </a:lnTo>
                    <a:lnTo>
                      <a:pt x="261" y="245"/>
                    </a:lnTo>
                    <a:lnTo>
                      <a:pt x="263" y="245"/>
                    </a:lnTo>
                    <a:lnTo>
                      <a:pt x="263" y="246"/>
                    </a:lnTo>
                    <a:lnTo>
                      <a:pt x="265" y="246"/>
                    </a:lnTo>
                    <a:lnTo>
                      <a:pt x="265" y="248"/>
                    </a:lnTo>
                    <a:lnTo>
                      <a:pt x="267" y="248"/>
                    </a:lnTo>
                    <a:lnTo>
                      <a:pt x="267" y="250"/>
                    </a:lnTo>
                    <a:lnTo>
                      <a:pt x="265" y="250"/>
                    </a:lnTo>
                    <a:lnTo>
                      <a:pt x="265" y="252"/>
                    </a:lnTo>
                    <a:lnTo>
                      <a:pt x="263" y="254"/>
                    </a:lnTo>
                    <a:lnTo>
                      <a:pt x="263" y="256"/>
                    </a:lnTo>
                    <a:lnTo>
                      <a:pt x="261" y="256"/>
                    </a:lnTo>
                    <a:lnTo>
                      <a:pt x="261" y="258"/>
                    </a:lnTo>
                    <a:lnTo>
                      <a:pt x="261" y="260"/>
                    </a:lnTo>
                    <a:lnTo>
                      <a:pt x="259" y="262"/>
                    </a:lnTo>
                    <a:lnTo>
                      <a:pt x="257" y="262"/>
                    </a:lnTo>
                    <a:lnTo>
                      <a:pt x="255" y="264"/>
                    </a:lnTo>
                    <a:lnTo>
                      <a:pt x="253" y="266"/>
                    </a:lnTo>
                    <a:lnTo>
                      <a:pt x="251" y="266"/>
                    </a:lnTo>
                    <a:lnTo>
                      <a:pt x="249" y="264"/>
                    </a:lnTo>
                    <a:lnTo>
                      <a:pt x="247" y="264"/>
                    </a:lnTo>
                    <a:lnTo>
                      <a:pt x="247" y="262"/>
                    </a:lnTo>
                    <a:lnTo>
                      <a:pt x="245" y="262"/>
                    </a:lnTo>
                    <a:lnTo>
                      <a:pt x="242" y="260"/>
                    </a:lnTo>
                    <a:lnTo>
                      <a:pt x="240" y="258"/>
                    </a:lnTo>
                    <a:lnTo>
                      <a:pt x="238" y="258"/>
                    </a:lnTo>
                    <a:lnTo>
                      <a:pt x="238" y="260"/>
                    </a:lnTo>
                    <a:lnTo>
                      <a:pt x="238" y="262"/>
                    </a:lnTo>
                    <a:lnTo>
                      <a:pt x="238" y="264"/>
                    </a:lnTo>
                    <a:lnTo>
                      <a:pt x="238" y="266"/>
                    </a:lnTo>
                    <a:lnTo>
                      <a:pt x="236" y="268"/>
                    </a:lnTo>
                    <a:lnTo>
                      <a:pt x="238" y="268"/>
                    </a:lnTo>
                    <a:lnTo>
                      <a:pt x="238" y="270"/>
                    </a:lnTo>
                    <a:lnTo>
                      <a:pt x="240" y="271"/>
                    </a:lnTo>
                    <a:lnTo>
                      <a:pt x="238" y="275"/>
                    </a:lnTo>
                    <a:lnTo>
                      <a:pt x="236" y="279"/>
                    </a:lnTo>
                    <a:lnTo>
                      <a:pt x="236" y="281"/>
                    </a:lnTo>
                    <a:lnTo>
                      <a:pt x="234" y="281"/>
                    </a:lnTo>
                    <a:lnTo>
                      <a:pt x="234" y="283"/>
                    </a:lnTo>
                    <a:lnTo>
                      <a:pt x="232" y="285"/>
                    </a:lnTo>
                    <a:lnTo>
                      <a:pt x="234" y="285"/>
                    </a:lnTo>
                    <a:lnTo>
                      <a:pt x="236" y="285"/>
                    </a:lnTo>
                    <a:lnTo>
                      <a:pt x="236" y="287"/>
                    </a:lnTo>
                    <a:lnTo>
                      <a:pt x="234" y="289"/>
                    </a:lnTo>
                    <a:lnTo>
                      <a:pt x="232" y="289"/>
                    </a:lnTo>
                    <a:lnTo>
                      <a:pt x="230" y="291"/>
                    </a:lnTo>
                    <a:lnTo>
                      <a:pt x="226" y="293"/>
                    </a:lnTo>
                    <a:lnTo>
                      <a:pt x="224" y="294"/>
                    </a:lnTo>
                    <a:lnTo>
                      <a:pt x="224" y="296"/>
                    </a:lnTo>
                    <a:lnTo>
                      <a:pt x="224" y="300"/>
                    </a:lnTo>
                    <a:lnTo>
                      <a:pt x="224" y="302"/>
                    </a:lnTo>
                    <a:lnTo>
                      <a:pt x="224" y="308"/>
                    </a:lnTo>
                    <a:lnTo>
                      <a:pt x="224" y="312"/>
                    </a:lnTo>
                    <a:lnTo>
                      <a:pt x="224" y="314"/>
                    </a:lnTo>
                    <a:lnTo>
                      <a:pt x="226" y="321"/>
                    </a:lnTo>
                    <a:lnTo>
                      <a:pt x="228" y="321"/>
                    </a:lnTo>
                    <a:lnTo>
                      <a:pt x="228" y="323"/>
                    </a:lnTo>
                    <a:lnTo>
                      <a:pt x="230" y="323"/>
                    </a:lnTo>
                    <a:lnTo>
                      <a:pt x="230" y="325"/>
                    </a:lnTo>
                    <a:lnTo>
                      <a:pt x="230" y="327"/>
                    </a:lnTo>
                    <a:lnTo>
                      <a:pt x="232" y="327"/>
                    </a:lnTo>
                    <a:lnTo>
                      <a:pt x="234" y="329"/>
                    </a:lnTo>
                    <a:lnTo>
                      <a:pt x="236" y="329"/>
                    </a:lnTo>
                    <a:lnTo>
                      <a:pt x="238" y="329"/>
                    </a:lnTo>
                    <a:lnTo>
                      <a:pt x="240" y="331"/>
                    </a:lnTo>
                    <a:lnTo>
                      <a:pt x="242" y="333"/>
                    </a:lnTo>
                    <a:lnTo>
                      <a:pt x="242" y="335"/>
                    </a:lnTo>
                    <a:lnTo>
                      <a:pt x="242" y="337"/>
                    </a:lnTo>
                    <a:lnTo>
                      <a:pt x="240" y="337"/>
                    </a:lnTo>
                    <a:lnTo>
                      <a:pt x="240" y="339"/>
                    </a:lnTo>
                    <a:lnTo>
                      <a:pt x="240" y="341"/>
                    </a:lnTo>
                    <a:lnTo>
                      <a:pt x="240" y="343"/>
                    </a:lnTo>
                    <a:lnTo>
                      <a:pt x="238" y="343"/>
                    </a:lnTo>
                    <a:lnTo>
                      <a:pt x="238" y="344"/>
                    </a:lnTo>
                    <a:lnTo>
                      <a:pt x="238" y="346"/>
                    </a:lnTo>
                    <a:lnTo>
                      <a:pt x="236" y="346"/>
                    </a:lnTo>
                    <a:lnTo>
                      <a:pt x="236" y="348"/>
                    </a:lnTo>
                    <a:lnTo>
                      <a:pt x="234" y="348"/>
                    </a:lnTo>
                    <a:lnTo>
                      <a:pt x="234" y="350"/>
                    </a:lnTo>
                    <a:lnTo>
                      <a:pt x="234" y="352"/>
                    </a:lnTo>
                    <a:lnTo>
                      <a:pt x="232" y="352"/>
                    </a:lnTo>
                    <a:lnTo>
                      <a:pt x="230" y="352"/>
                    </a:lnTo>
                    <a:lnTo>
                      <a:pt x="230" y="354"/>
                    </a:lnTo>
                    <a:lnTo>
                      <a:pt x="228" y="354"/>
                    </a:lnTo>
                    <a:lnTo>
                      <a:pt x="226" y="354"/>
                    </a:lnTo>
                    <a:lnTo>
                      <a:pt x="226" y="356"/>
                    </a:lnTo>
                    <a:lnTo>
                      <a:pt x="224" y="356"/>
                    </a:lnTo>
                    <a:lnTo>
                      <a:pt x="224" y="358"/>
                    </a:lnTo>
                    <a:lnTo>
                      <a:pt x="226" y="358"/>
                    </a:lnTo>
                    <a:lnTo>
                      <a:pt x="226" y="360"/>
                    </a:lnTo>
                    <a:lnTo>
                      <a:pt x="228" y="358"/>
                    </a:lnTo>
                    <a:lnTo>
                      <a:pt x="228" y="360"/>
                    </a:lnTo>
                    <a:lnTo>
                      <a:pt x="228" y="358"/>
                    </a:lnTo>
                    <a:lnTo>
                      <a:pt x="228" y="360"/>
                    </a:lnTo>
                    <a:lnTo>
                      <a:pt x="230" y="360"/>
                    </a:lnTo>
                    <a:lnTo>
                      <a:pt x="230" y="362"/>
                    </a:lnTo>
                    <a:lnTo>
                      <a:pt x="230" y="364"/>
                    </a:lnTo>
                    <a:lnTo>
                      <a:pt x="230" y="366"/>
                    </a:lnTo>
                    <a:lnTo>
                      <a:pt x="228" y="366"/>
                    </a:lnTo>
                    <a:lnTo>
                      <a:pt x="228" y="368"/>
                    </a:lnTo>
                    <a:lnTo>
                      <a:pt x="228" y="369"/>
                    </a:lnTo>
                    <a:lnTo>
                      <a:pt x="226" y="371"/>
                    </a:lnTo>
                    <a:lnTo>
                      <a:pt x="226" y="373"/>
                    </a:lnTo>
                    <a:lnTo>
                      <a:pt x="224" y="373"/>
                    </a:lnTo>
                    <a:lnTo>
                      <a:pt x="224" y="375"/>
                    </a:lnTo>
                    <a:lnTo>
                      <a:pt x="226" y="377"/>
                    </a:lnTo>
                    <a:lnTo>
                      <a:pt x="228" y="377"/>
                    </a:lnTo>
                    <a:lnTo>
                      <a:pt x="226" y="379"/>
                    </a:lnTo>
                    <a:lnTo>
                      <a:pt x="226" y="381"/>
                    </a:lnTo>
                    <a:lnTo>
                      <a:pt x="224" y="381"/>
                    </a:lnTo>
                    <a:lnTo>
                      <a:pt x="224" y="383"/>
                    </a:lnTo>
                    <a:lnTo>
                      <a:pt x="222" y="383"/>
                    </a:lnTo>
                    <a:lnTo>
                      <a:pt x="222" y="385"/>
                    </a:lnTo>
                    <a:lnTo>
                      <a:pt x="221" y="385"/>
                    </a:lnTo>
                    <a:lnTo>
                      <a:pt x="221" y="387"/>
                    </a:lnTo>
                    <a:lnTo>
                      <a:pt x="219" y="387"/>
                    </a:lnTo>
                    <a:lnTo>
                      <a:pt x="219" y="389"/>
                    </a:lnTo>
                    <a:lnTo>
                      <a:pt x="217" y="391"/>
                    </a:lnTo>
                    <a:lnTo>
                      <a:pt x="215" y="391"/>
                    </a:lnTo>
                    <a:lnTo>
                      <a:pt x="215" y="393"/>
                    </a:lnTo>
                    <a:lnTo>
                      <a:pt x="215" y="391"/>
                    </a:lnTo>
                    <a:lnTo>
                      <a:pt x="213" y="393"/>
                    </a:lnTo>
                    <a:lnTo>
                      <a:pt x="211" y="393"/>
                    </a:lnTo>
                    <a:lnTo>
                      <a:pt x="211" y="394"/>
                    </a:lnTo>
                    <a:lnTo>
                      <a:pt x="209" y="396"/>
                    </a:lnTo>
                    <a:lnTo>
                      <a:pt x="209" y="398"/>
                    </a:lnTo>
                    <a:lnTo>
                      <a:pt x="207" y="398"/>
                    </a:lnTo>
                    <a:lnTo>
                      <a:pt x="207" y="400"/>
                    </a:lnTo>
                    <a:lnTo>
                      <a:pt x="205" y="400"/>
                    </a:lnTo>
                    <a:lnTo>
                      <a:pt x="205" y="398"/>
                    </a:lnTo>
                    <a:lnTo>
                      <a:pt x="201" y="396"/>
                    </a:lnTo>
                    <a:lnTo>
                      <a:pt x="199" y="396"/>
                    </a:lnTo>
                    <a:lnTo>
                      <a:pt x="197" y="396"/>
                    </a:lnTo>
                    <a:lnTo>
                      <a:pt x="197" y="394"/>
                    </a:lnTo>
                    <a:lnTo>
                      <a:pt x="196" y="394"/>
                    </a:lnTo>
                    <a:lnTo>
                      <a:pt x="194" y="394"/>
                    </a:lnTo>
                    <a:lnTo>
                      <a:pt x="196" y="393"/>
                    </a:lnTo>
                    <a:lnTo>
                      <a:pt x="196" y="391"/>
                    </a:lnTo>
                    <a:lnTo>
                      <a:pt x="194" y="389"/>
                    </a:lnTo>
                    <a:lnTo>
                      <a:pt x="192" y="387"/>
                    </a:lnTo>
                    <a:lnTo>
                      <a:pt x="192" y="385"/>
                    </a:lnTo>
                    <a:lnTo>
                      <a:pt x="192" y="383"/>
                    </a:lnTo>
                    <a:lnTo>
                      <a:pt x="190" y="383"/>
                    </a:lnTo>
                    <a:lnTo>
                      <a:pt x="186" y="383"/>
                    </a:lnTo>
                    <a:lnTo>
                      <a:pt x="186" y="385"/>
                    </a:lnTo>
                    <a:lnTo>
                      <a:pt x="182" y="383"/>
                    </a:lnTo>
                    <a:lnTo>
                      <a:pt x="182" y="381"/>
                    </a:lnTo>
                    <a:lnTo>
                      <a:pt x="180" y="381"/>
                    </a:lnTo>
                    <a:lnTo>
                      <a:pt x="178" y="381"/>
                    </a:lnTo>
                    <a:lnTo>
                      <a:pt x="176" y="383"/>
                    </a:lnTo>
                    <a:lnTo>
                      <a:pt x="172" y="385"/>
                    </a:lnTo>
                    <a:lnTo>
                      <a:pt x="171" y="385"/>
                    </a:lnTo>
                    <a:lnTo>
                      <a:pt x="144" y="387"/>
                    </a:lnTo>
                    <a:lnTo>
                      <a:pt x="142" y="383"/>
                    </a:lnTo>
                    <a:lnTo>
                      <a:pt x="140" y="381"/>
                    </a:lnTo>
                    <a:lnTo>
                      <a:pt x="140" y="383"/>
                    </a:lnTo>
                    <a:lnTo>
                      <a:pt x="138" y="383"/>
                    </a:lnTo>
                    <a:lnTo>
                      <a:pt x="138" y="381"/>
                    </a:lnTo>
                    <a:lnTo>
                      <a:pt x="136" y="381"/>
                    </a:lnTo>
                    <a:lnTo>
                      <a:pt x="136" y="383"/>
                    </a:lnTo>
                    <a:lnTo>
                      <a:pt x="136" y="381"/>
                    </a:lnTo>
                    <a:lnTo>
                      <a:pt x="136" y="379"/>
                    </a:lnTo>
                    <a:lnTo>
                      <a:pt x="136" y="377"/>
                    </a:lnTo>
                    <a:lnTo>
                      <a:pt x="138" y="377"/>
                    </a:lnTo>
                    <a:lnTo>
                      <a:pt x="140" y="377"/>
                    </a:lnTo>
                    <a:lnTo>
                      <a:pt x="140" y="375"/>
                    </a:lnTo>
                    <a:lnTo>
                      <a:pt x="140" y="373"/>
                    </a:lnTo>
                    <a:lnTo>
                      <a:pt x="138" y="373"/>
                    </a:lnTo>
                    <a:lnTo>
                      <a:pt x="136" y="373"/>
                    </a:lnTo>
                    <a:lnTo>
                      <a:pt x="136" y="371"/>
                    </a:lnTo>
                    <a:lnTo>
                      <a:pt x="134" y="373"/>
                    </a:lnTo>
                    <a:lnTo>
                      <a:pt x="134" y="371"/>
                    </a:lnTo>
                    <a:lnTo>
                      <a:pt x="132" y="371"/>
                    </a:lnTo>
                    <a:lnTo>
                      <a:pt x="132" y="369"/>
                    </a:lnTo>
                    <a:lnTo>
                      <a:pt x="130" y="368"/>
                    </a:lnTo>
                    <a:lnTo>
                      <a:pt x="128" y="366"/>
                    </a:lnTo>
                    <a:lnTo>
                      <a:pt x="126" y="364"/>
                    </a:lnTo>
                    <a:lnTo>
                      <a:pt x="126" y="362"/>
                    </a:lnTo>
                    <a:lnTo>
                      <a:pt x="124" y="362"/>
                    </a:lnTo>
                    <a:lnTo>
                      <a:pt x="123" y="362"/>
                    </a:lnTo>
                    <a:lnTo>
                      <a:pt x="121" y="360"/>
                    </a:lnTo>
                    <a:lnTo>
                      <a:pt x="121" y="362"/>
                    </a:lnTo>
                    <a:lnTo>
                      <a:pt x="119" y="362"/>
                    </a:lnTo>
                    <a:lnTo>
                      <a:pt x="117" y="362"/>
                    </a:lnTo>
                    <a:lnTo>
                      <a:pt x="117" y="364"/>
                    </a:lnTo>
                    <a:lnTo>
                      <a:pt x="115" y="364"/>
                    </a:lnTo>
                    <a:lnTo>
                      <a:pt x="115" y="366"/>
                    </a:lnTo>
                    <a:lnTo>
                      <a:pt x="113" y="366"/>
                    </a:lnTo>
                    <a:lnTo>
                      <a:pt x="113" y="364"/>
                    </a:lnTo>
                    <a:lnTo>
                      <a:pt x="113" y="362"/>
                    </a:lnTo>
                    <a:lnTo>
                      <a:pt x="113" y="360"/>
                    </a:lnTo>
                    <a:lnTo>
                      <a:pt x="113" y="358"/>
                    </a:lnTo>
                    <a:lnTo>
                      <a:pt x="111" y="358"/>
                    </a:lnTo>
                    <a:lnTo>
                      <a:pt x="111" y="356"/>
                    </a:lnTo>
                    <a:lnTo>
                      <a:pt x="105" y="352"/>
                    </a:lnTo>
                    <a:lnTo>
                      <a:pt x="103" y="352"/>
                    </a:lnTo>
                    <a:lnTo>
                      <a:pt x="103" y="350"/>
                    </a:lnTo>
                    <a:lnTo>
                      <a:pt x="99" y="350"/>
                    </a:lnTo>
                    <a:lnTo>
                      <a:pt x="99" y="348"/>
                    </a:lnTo>
                    <a:lnTo>
                      <a:pt x="98" y="348"/>
                    </a:lnTo>
                    <a:lnTo>
                      <a:pt x="96" y="348"/>
                    </a:lnTo>
                    <a:lnTo>
                      <a:pt x="96" y="346"/>
                    </a:lnTo>
                    <a:lnTo>
                      <a:pt x="94" y="346"/>
                    </a:lnTo>
                    <a:lnTo>
                      <a:pt x="94" y="348"/>
                    </a:lnTo>
                    <a:lnTo>
                      <a:pt x="92" y="348"/>
                    </a:lnTo>
                    <a:lnTo>
                      <a:pt x="90" y="348"/>
                    </a:lnTo>
                    <a:lnTo>
                      <a:pt x="90" y="350"/>
                    </a:lnTo>
                    <a:lnTo>
                      <a:pt x="90" y="352"/>
                    </a:lnTo>
                    <a:lnTo>
                      <a:pt x="90" y="354"/>
                    </a:lnTo>
                    <a:lnTo>
                      <a:pt x="90" y="356"/>
                    </a:lnTo>
                    <a:lnTo>
                      <a:pt x="92" y="356"/>
                    </a:lnTo>
                    <a:lnTo>
                      <a:pt x="94" y="354"/>
                    </a:lnTo>
                    <a:lnTo>
                      <a:pt x="96" y="354"/>
                    </a:lnTo>
                    <a:lnTo>
                      <a:pt x="96" y="356"/>
                    </a:lnTo>
                    <a:lnTo>
                      <a:pt x="98" y="358"/>
                    </a:lnTo>
                    <a:lnTo>
                      <a:pt x="99" y="358"/>
                    </a:lnTo>
                    <a:lnTo>
                      <a:pt x="98" y="360"/>
                    </a:lnTo>
                    <a:lnTo>
                      <a:pt x="98" y="362"/>
                    </a:lnTo>
                    <a:lnTo>
                      <a:pt x="98" y="360"/>
                    </a:lnTo>
                    <a:lnTo>
                      <a:pt x="98" y="362"/>
                    </a:lnTo>
                    <a:lnTo>
                      <a:pt x="96" y="362"/>
                    </a:lnTo>
                    <a:lnTo>
                      <a:pt x="96" y="364"/>
                    </a:lnTo>
                    <a:lnTo>
                      <a:pt x="94" y="364"/>
                    </a:lnTo>
                    <a:lnTo>
                      <a:pt x="92" y="364"/>
                    </a:lnTo>
                    <a:lnTo>
                      <a:pt x="92" y="366"/>
                    </a:lnTo>
                    <a:lnTo>
                      <a:pt x="90" y="366"/>
                    </a:lnTo>
                    <a:lnTo>
                      <a:pt x="88" y="364"/>
                    </a:lnTo>
                    <a:lnTo>
                      <a:pt x="86" y="362"/>
                    </a:lnTo>
                    <a:lnTo>
                      <a:pt x="86" y="360"/>
                    </a:lnTo>
                    <a:lnTo>
                      <a:pt x="86" y="358"/>
                    </a:lnTo>
                    <a:lnTo>
                      <a:pt x="84" y="356"/>
                    </a:lnTo>
                    <a:lnTo>
                      <a:pt x="82" y="356"/>
                    </a:lnTo>
                    <a:lnTo>
                      <a:pt x="82" y="358"/>
                    </a:lnTo>
                    <a:lnTo>
                      <a:pt x="82" y="360"/>
                    </a:lnTo>
                    <a:lnTo>
                      <a:pt x="80" y="360"/>
                    </a:lnTo>
                    <a:lnTo>
                      <a:pt x="78" y="360"/>
                    </a:lnTo>
                    <a:lnTo>
                      <a:pt x="76" y="360"/>
                    </a:lnTo>
                    <a:lnTo>
                      <a:pt x="74" y="360"/>
                    </a:lnTo>
                    <a:lnTo>
                      <a:pt x="73" y="360"/>
                    </a:lnTo>
                    <a:lnTo>
                      <a:pt x="73" y="362"/>
                    </a:lnTo>
                    <a:lnTo>
                      <a:pt x="73" y="360"/>
                    </a:lnTo>
                    <a:lnTo>
                      <a:pt x="71" y="362"/>
                    </a:lnTo>
                    <a:lnTo>
                      <a:pt x="71" y="364"/>
                    </a:lnTo>
                    <a:lnTo>
                      <a:pt x="69" y="364"/>
                    </a:lnTo>
                    <a:lnTo>
                      <a:pt x="67" y="364"/>
                    </a:lnTo>
                    <a:lnTo>
                      <a:pt x="67" y="366"/>
                    </a:lnTo>
                    <a:lnTo>
                      <a:pt x="65" y="366"/>
                    </a:lnTo>
                    <a:lnTo>
                      <a:pt x="63" y="366"/>
                    </a:lnTo>
                    <a:lnTo>
                      <a:pt x="63" y="364"/>
                    </a:lnTo>
                    <a:lnTo>
                      <a:pt x="61" y="364"/>
                    </a:lnTo>
                    <a:lnTo>
                      <a:pt x="59" y="362"/>
                    </a:lnTo>
                    <a:lnTo>
                      <a:pt x="59" y="364"/>
                    </a:lnTo>
                    <a:lnTo>
                      <a:pt x="21" y="294"/>
                    </a:lnTo>
                    <a:lnTo>
                      <a:pt x="7" y="285"/>
                    </a:lnTo>
                    <a:lnTo>
                      <a:pt x="5" y="285"/>
                    </a:lnTo>
                    <a:lnTo>
                      <a:pt x="5" y="283"/>
                    </a:lnTo>
                    <a:lnTo>
                      <a:pt x="3" y="281"/>
                    </a:lnTo>
                    <a:lnTo>
                      <a:pt x="1" y="279"/>
                    </a:lnTo>
                    <a:lnTo>
                      <a:pt x="1" y="277"/>
                    </a:lnTo>
                    <a:lnTo>
                      <a:pt x="0" y="279"/>
                    </a:lnTo>
                    <a:lnTo>
                      <a:pt x="0" y="277"/>
                    </a:lnTo>
                    <a:lnTo>
                      <a:pt x="1" y="277"/>
                    </a:lnTo>
                    <a:lnTo>
                      <a:pt x="1" y="275"/>
                    </a:lnTo>
                    <a:lnTo>
                      <a:pt x="1" y="273"/>
                    </a:lnTo>
                    <a:lnTo>
                      <a:pt x="0" y="271"/>
                    </a:lnTo>
                    <a:lnTo>
                      <a:pt x="0" y="270"/>
                    </a:lnTo>
                    <a:lnTo>
                      <a:pt x="0" y="268"/>
                    </a:lnTo>
                    <a:lnTo>
                      <a:pt x="0" y="266"/>
                    </a:lnTo>
                    <a:lnTo>
                      <a:pt x="1" y="266"/>
                    </a:lnTo>
                    <a:lnTo>
                      <a:pt x="3" y="264"/>
                    </a:lnTo>
                    <a:lnTo>
                      <a:pt x="9" y="262"/>
                    </a:lnTo>
                    <a:lnTo>
                      <a:pt x="11" y="260"/>
                    </a:lnTo>
                    <a:lnTo>
                      <a:pt x="11" y="262"/>
                    </a:lnTo>
                    <a:lnTo>
                      <a:pt x="13" y="262"/>
                    </a:lnTo>
                    <a:lnTo>
                      <a:pt x="15" y="262"/>
                    </a:lnTo>
                    <a:lnTo>
                      <a:pt x="17" y="262"/>
                    </a:lnTo>
                    <a:lnTo>
                      <a:pt x="19" y="262"/>
                    </a:lnTo>
                    <a:lnTo>
                      <a:pt x="21" y="262"/>
                    </a:lnTo>
                    <a:lnTo>
                      <a:pt x="21" y="260"/>
                    </a:lnTo>
                    <a:lnTo>
                      <a:pt x="25" y="260"/>
                    </a:lnTo>
                    <a:lnTo>
                      <a:pt x="25" y="258"/>
                    </a:lnTo>
                    <a:lnTo>
                      <a:pt x="26" y="258"/>
                    </a:lnTo>
                    <a:lnTo>
                      <a:pt x="30" y="258"/>
                    </a:lnTo>
                    <a:lnTo>
                      <a:pt x="34" y="256"/>
                    </a:lnTo>
                    <a:lnTo>
                      <a:pt x="36" y="256"/>
                    </a:lnTo>
                    <a:lnTo>
                      <a:pt x="36" y="254"/>
                    </a:lnTo>
                    <a:lnTo>
                      <a:pt x="40" y="254"/>
                    </a:lnTo>
                    <a:lnTo>
                      <a:pt x="44" y="254"/>
                    </a:lnTo>
                    <a:lnTo>
                      <a:pt x="44" y="252"/>
                    </a:lnTo>
                    <a:lnTo>
                      <a:pt x="46" y="252"/>
                    </a:lnTo>
                    <a:lnTo>
                      <a:pt x="48" y="252"/>
                    </a:lnTo>
                    <a:lnTo>
                      <a:pt x="50" y="250"/>
                    </a:lnTo>
                    <a:lnTo>
                      <a:pt x="51" y="250"/>
                    </a:lnTo>
                    <a:lnTo>
                      <a:pt x="53" y="250"/>
                    </a:lnTo>
                    <a:lnTo>
                      <a:pt x="61" y="246"/>
                    </a:lnTo>
                    <a:lnTo>
                      <a:pt x="63" y="246"/>
                    </a:lnTo>
                    <a:lnTo>
                      <a:pt x="65" y="246"/>
                    </a:lnTo>
                    <a:lnTo>
                      <a:pt x="65" y="245"/>
                    </a:lnTo>
                    <a:lnTo>
                      <a:pt x="67" y="245"/>
                    </a:lnTo>
                    <a:lnTo>
                      <a:pt x="69" y="245"/>
                    </a:lnTo>
                    <a:lnTo>
                      <a:pt x="71" y="245"/>
                    </a:lnTo>
                    <a:lnTo>
                      <a:pt x="73" y="245"/>
                    </a:lnTo>
                    <a:lnTo>
                      <a:pt x="74" y="243"/>
                    </a:lnTo>
                    <a:lnTo>
                      <a:pt x="76" y="243"/>
                    </a:lnTo>
                    <a:lnTo>
                      <a:pt x="76" y="245"/>
                    </a:lnTo>
                    <a:lnTo>
                      <a:pt x="78" y="245"/>
                    </a:lnTo>
                    <a:lnTo>
                      <a:pt x="78" y="243"/>
                    </a:lnTo>
                    <a:lnTo>
                      <a:pt x="86" y="241"/>
                    </a:lnTo>
                    <a:lnTo>
                      <a:pt x="88" y="241"/>
                    </a:lnTo>
                    <a:lnTo>
                      <a:pt x="88" y="239"/>
                    </a:lnTo>
                    <a:lnTo>
                      <a:pt x="90" y="239"/>
                    </a:lnTo>
                    <a:lnTo>
                      <a:pt x="92" y="239"/>
                    </a:lnTo>
                    <a:lnTo>
                      <a:pt x="99" y="235"/>
                    </a:lnTo>
                    <a:lnTo>
                      <a:pt x="99" y="233"/>
                    </a:lnTo>
                    <a:lnTo>
                      <a:pt x="101" y="233"/>
                    </a:lnTo>
                    <a:lnTo>
                      <a:pt x="101" y="231"/>
                    </a:lnTo>
                    <a:lnTo>
                      <a:pt x="107" y="227"/>
                    </a:lnTo>
                    <a:lnTo>
                      <a:pt x="107" y="229"/>
                    </a:lnTo>
                    <a:lnTo>
                      <a:pt x="107" y="227"/>
                    </a:lnTo>
                    <a:lnTo>
                      <a:pt x="109" y="227"/>
                    </a:lnTo>
                    <a:lnTo>
                      <a:pt x="115" y="223"/>
                    </a:lnTo>
                    <a:lnTo>
                      <a:pt x="117" y="218"/>
                    </a:lnTo>
                    <a:lnTo>
                      <a:pt x="115" y="218"/>
                    </a:lnTo>
                    <a:lnTo>
                      <a:pt x="117" y="216"/>
                    </a:lnTo>
                    <a:lnTo>
                      <a:pt x="117" y="214"/>
                    </a:lnTo>
                    <a:lnTo>
                      <a:pt x="117" y="212"/>
                    </a:lnTo>
                    <a:lnTo>
                      <a:pt x="115" y="210"/>
                    </a:lnTo>
                    <a:lnTo>
                      <a:pt x="115" y="208"/>
                    </a:lnTo>
                    <a:lnTo>
                      <a:pt x="117" y="206"/>
                    </a:lnTo>
                    <a:lnTo>
                      <a:pt x="117" y="204"/>
                    </a:lnTo>
                    <a:lnTo>
                      <a:pt x="119" y="204"/>
                    </a:lnTo>
                    <a:lnTo>
                      <a:pt x="119" y="202"/>
                    </a:lnTo>
                    <a:lnTo>
                      <a:pt x="119" y="200"/>
                    </a:lnTo>
                    <a:lnTo>
                      <a:pt x="119" y="198"/>
                    </a:lnTo>
                    <a:lnTo>
                      <a:pt x="119" y="196"/>
                    </a:lnTo>
                    <a:lnTo>
                      <a:pt x="117" y="195"/>
                    </a:lnTo>
                    <a:lnTo>
                      <a:pt x="117" y="193"/>
                    </a:lnTo>
                    <a:lnTo>
                      <a:pt x="117" y="191"/>
                    </a:lnTo>
                    <a:lnTo>
                      <a:pt x="117" y="189"/>
                    </a:lnTo>
                    <a:lnTo>
                      <a:pt x="117" y="187"/>
                    </a:lnTo>
                    <a:lnTo>
                      <a:pt x="117" y="185"/>
                    </a:lnTo>
                    <a:lnTo>
                      <a:pt x="115" y="183"/>
                    </a:lnTo>
                    <a:lnTo>
                      <a:pt x="113" y="179"/>
                    </a:lnTo>
                    <a:lnTo>
                      <a:pt x="113" y="177"/>
                    </a:lnTo>
                    <a:lnTo>
                      <a:pt x="113" y="171"/>
                    </a:lnTo>
                    <a:lnTo>
                      <a:pt x="113" y="168"/>
                    </a:lnTo>
                    <a:lnTo>
                      <a:pt x="111" y="168"/>
                    </a:lnTo>
                    <a:lnTo>
                      <a:pt x="113" y="166"/>
                    </a:lnTo>
                    <a:lnTo>
                      <a:pt x="113" y="160"/>
                    </a:lnTo>
                    <a:lnTo>
                      <a:pt x="113" y="158"/>
                    </a:lnTo>
                    <a:lnTo>
                      <a:pt x="113" y="154"/>
                    </a:lnTo>
                    <a:lnTo>
                      <a:pt x="119" y="154"/>
                    </a:lnTo>
                    <a:lnTo>
                      <a:pt x="121" y="154"/>
                    </a:lnTo>
                    <a:lnTo>
                      <a:pt x="126" y="152"/>
                    </a:lnTo>
                    <a:lnTo>
                      <a:pt x="126" y="150"/>
                    </a:lnTo>
                    <a:lnTo>
                      <a:pt x="128" y="150"/>
                    </a:lnTo>
                    <a:lnTo>
                      <a:pt x="132" y="150"/>
                    </a:lnTo>
                    <a:lnTo>
                      <a:pt x="134" y="148"/>
                    </a:lnTo>
                    <a:lnTo>
                      <a:pt x="136" y="148"/>
                    </a:lnTo>
                    <a:lnTo>
                      <a:pt x="136" y="146"/>
                    </a:lnTo>
                    <a:lnTo>
                      <a:pt x="138" y="146"/>
                    </a:lnTo>
                    <a:lnTo>
                      <a:pt x="138" y="145"/>
                    </a:lnTo>
                    <a:lnTo>
                      <a:pt x="140" y="145"/>
                    </a:lnTo>
                    <a:lnTo>
                      <a:pt x="140" y="143"/>
                    </a:lnTo>
                    <a:lnTo>
                      <a:pt x="140" y="139"/>
                    </a:lnTo>
                    <a:lnTo>
                      <a:pt x="142" y="139"/>
                    </a:lnTo>
                    <a:lnTo>
                      <a:pt x="144" y="137"/>
                    </a:lnTo>
                    <a:lnTo>
                      <a:pt x="142" y="135"/>
                    </a:lnTo>
                    <a:lnTo>
                      <a:pt x="142" y="133"/>
                    </a:lnTo>
                    <a:lnTo>
                      <a:pt x="142" y="129"/>
                    </a:lnTo>
                    <a:lnTo>
                      <a:pt x="142" y="127"/>
                    </a:lnTo>
                    <a:lnTo>
                      <a:pt x="140" y="127"/>
                    </a:lnTo>
                    <a:lnTo>
                      <a:pt x="140" y="125"/>
                    </a:lnTo>
                    <a:lnTo>
                      <a:pt x="140" y="121"/>
                    </a:lnTo>
                    <a:lnTo>
                      <a:pt x="142" y="120"/>
                    </a:lnTo>
                    <a:lnTo>
                      <a:pt x="142" y="118"/>
                    </a:lnTo>
                    <a:lnTo>
                      <a:pt x="144" y="116"/>
                    </a:lnTo>
                    <a:lnTo>
                      <a:pt x="142" y="116"/>
                    </a:lnTo>
                    <a:lnTo>
                      <a:pt x="144" y="114"/>
                    </a:lnTo>
                    <a:lnTo>
                      <a:pt x="146" y="112"/>
                    </a:lnTo>
                    <a:lnTo>
                      <a:pt x="148" y="112"/>
                    </a:lnTo>
                    <a:lnTo>
                      <a:pt x="149" y="112"/>
                    </a:lnTo>
                    <a:lnTo>
                      <a:pt x="151" y="112"/>
                    </a:lnTo>
                    <a:lnTo>
                      <a:pt x="151" y="106"/>
                    </a:lnTo>
                    <a:lnTo>
                      <a:pt x="153" y="104"/>
                    </a:lnTo>
                    <a:lnTo>
                      <a:pt x="155" y="104"/>
                    </a:lnTo>
                    <a:lnTo>
                      <a:pt x="155" y="102"/>
                    </a:lnTo>
                    <a:lnTo>
                      <a:pt x="153" y="100"/>
                    </a:lnTo>
                    <a:lnTo>
                      <a:pt x="151" y="100"/>
                    </a:lnTo>
                    <a:lnTo>
                      <a:pt x="149" y="98"/>
                    </a:lnTo>
                    <a:lnTo>
                      <a:pt x="148" y="96"/>
                    </a:lnTo>
                    <a:lnTo>
                      <a:pt x="148" y="95"/>
                    </a:lnTo>
                    <a:lnTo>
                      <a:pt x="149" y="95"/>
                    </a:lnTo>
                    <a:lnTo>
                      <a:pt x="149" y="93"/>
                    </a:lnTo>
                    <a:lnTo>
                      <a:pt x="149" y="89"/>
                    </a:lnTo>
                    <a:lnTo>
                      <a:pt x="151" y="89"/>
                    </a:lnTo>
                    <a:lnTo>
                      <a:pt x="151" y="87"/>
                    </a:lnTo>
                    <a:lnTo>
                      <a:pt x="153" y="85"/>
                    </a:lnTo>
                    <a:lnTo>
                      <a:pt x="153" y="83"/>
                    </a:lnTo>
                    <a:lnTo>
                      <a:pt x="155" y="81"/>
                    </a:lnTo>
                    <a:lnTo>
                      <a:pt x="159" y="83"/>
                    </a:lnTo>
                    <a:lnTo>
                      <a:pt x="161" y="83"/>
                    </a:lnTo>
                    <a:lnTo>
                      <a:pt x="163" y="83"/>
                    </a:lnTo>
                    <a:lnTo>
                      <a:pt x="165" y="83"/>
                    </a:lnTo>
                    <a:lnTo>
                      <a:pt x="163" y="83"/>
                    </a:lnTo>
                    <a:lnTo>
                      <a:pt x="163" y="81"/>
                    </a:lnTo>
                    <a:lnTo>
                      <a:pt x="167" y="79"/>
                    </a:lnTo>
                    <a:lnTo>
                      <a:pt x="167" y="77"/>
                    </a:lnTo>
                    <a:lnTo>
                      <a:pt x="167" y="75"/>
                    </a:lnTo>
                    <a:lnTo>
                      <a:pt x="165" y="75"/>
                    </a:lnTo>
                    <a:lnTo>
                      <a:pt x="163" y="73"/>
                    </a:lnTo>
                    <a:lnTo>
                      <a:pt x="163" y="71"/>
                    </a:lnTo>
                    <a:lnTo>
                      <a:pt x="165" y="71"/>
                    </a:lnTo>
                    <a:lnTo>
                      <a:pt x="167" y="71"/>
                    </a:lnTo>
                    <a:lnTo>
                      <a:pt x="169" y="70"/>
                    </a:lnTo>
                    <a:lnTo>
                      <a:pt x="171" y="70"/>
                    </a:lnTo>
                    <a:lnTo>
                      <a:pt x="171" y="68"/>
                    </a:lnTo>
                    <a:lnTo>
                      <a:pt x="171" y="66"/>
                    </a:lnTo>
                    <a:lnTo>
                      <a:pt x="174" y="64"/>
                    </a:lnTo>
                    <a:lnTo>
                      <a:pt x="174" y="62"/>
                    </a:lnTo>
                    <a:lnTo>
                      <a:pt x="176" y="62"/>
                    </a:lnTo>
                    <a:lnTo>
                      <a:pt x="178" y="62"/>
                    </a:lnTo>
                    <a:lnTo>
                      <a:pt x="180" y="62"/>
                    </a:lnTo>
                    <a:lnTo>
                      <a:pt x="180" y="58"/>
                    </a:lnTo>
                    <a:lnTo>
                      <a:pt x="180" y="54"/>
                    </a:lnTo>
                    <a:lnTo>
                      <a:pt x="184" y="56"/>
                    </a:lnTo>
                    <a:lnTo>
                      <a:pt x="186" y="56"/>
                    </a:lnTo>
                    <a:lnTo>
                      <a:pt x="188" y="56"/>
                    </a:lnTo>
                    <a:lnTo>
                      <a:pt x="190" y="58"/>
                    </a:lnTo>
                    <a:lnTo>
                      <a:pt x="190" y="60"/>
                    </a:lnTo>
                    <a:lnTo>
                      <a:pt x="192" y="58"/>
                    </a:lnTo>
                    <a:lnTo>
                      <a:pt x="194" y="56"/>
                    </a:lnTo>
                    <a:lnTo>
                      <a:pt x="196" y="52"/>
                    </a:lnTo>
                    <a:lnTo>
                      <a:pt x="197" y="48"/>
                    </a:lnTo>
                    <a:lnTo>
                      <a:pt x="199" y="43"/>
                    </a:lnTo>
                    <a:lnTo>
                      <a:pt x="201" y="41"/>
                    </a:lnTo>
                    <a:lnTo>
                      <a:pt x="201" y="39"/>
                    </a:lnTo>
                    <a:lnTo>
                      <a:pt x="203" y="35"/>
                    </a:lnTo>
                    <a:lnTo>
                      <a:pt x="203" y="33"/>
                    </a:lnTo>
                    <a:lnTo>
                      <a:pt x="205" y="23"/>
                    </a:lnTo>
                    <a:lnTo>
                      <a:pt x="205" y="20"/>
                    </a:lnTo>
                    <a:lnTo>
                      <a:pt x="207" y="18"/>
                    </a:lnTo>
                    <a:lnTo>
                      <a:pt x="209" y="8"/>
                    </a:lnTo>
                    <a:lnTo>
                      <a:pt x="211" y="6"/>
                    </a:lnTo>
                    <a:lnTo>
                      <a:pt x="211" y="4"/>
                    </a:lnTo>
                    <a:lnTo>
                      <a:pt x="211" y="2"/>
                    </a:lnTo>
                    <a:lnTo>
                      <a:pt x="211" y="0"/>
                    </a:lnTo>
                    <a:lnTo>
                      <a:pt x="224" y="10"/>
                    </a:lnTo>
                    <a:lnTo>
                      <a:pt x="238" y="20"/>
                    </a:lnTo>
                    <a:lnTo>
                      <a:pt x="244" y="22"/>
                    </a:lnTo>
                    <a:lnTo>
                      <a:pt x="247" y="25"/>
                    </a:lnTo>
                    <a:lnTo>
                      <a:pt x="253" y="31"/>
                    </a:lnTo>
                    <a:lnTo>
                      <a:pt x="257" y="33"/>
                    </a:lnTo>
                    <a:lnTo>
                      <a:pt x="257" y="35"/>
                    </a:lnTo>
                    <a:lnTo>
                      <a:pt x="253" y="43"/>
                    </a:lnTo>
                    <a:lnTo>
                      <a:pt x="255" y="45"/>
                    </a:lnTo>
                    <a:lnTo>
                      <a:pt x="251" y="52"/>
                    </a:lnTo>
                    <a:lnTo>
                      <a:pt x="253" y="54"/>
                    </a:lnTo>
                    <a:lnTo>
                      <a:pt x="261" y="60"/>
                    </a:lnTo>
                    <a:lnTo>
                      <a:pt x="265" y="58"/>
                    </a:lnTo>
                    <a:lnTo>
                      <a:pt x="265" y="56"/>
                    </a:lnTo>
                    <a:lnTo>
                      <a:pt x="267" y="54"/>
                    </a:lnTo>
                    <a:lnTo>
                      <a:pt x="267" y="56"/>
                    </a:lnTo>
                    <a:lnTo>
                      <a:pt x="269" y="56"/>
                    </a:lnTo>
                    <a:lnTo>
                      <a:pt x="270" y="56"/>
                    </a:lnTo>
                    <a:lnTo>
                      <a:pt x="270" y="58"/>
                    </a:lnTo>
                    <a:lnTo>
                      <a:pt x="274" y="52"/>
                    </a:lnTo>
                    <a:lnTo>
                      <a:pt x="276" y="54"/>
                    </a:lnTo>
                    <a:lnTo>
                      <a:pt x="278" y="54"/>
                    </a:lnTo>
                    <a:lnTo>
                      <a:pt x="280" y="54"/>
                    </a:lnTo>
                    <a:lnTo>
                      <a:pt x="280" y="5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6" name="Freeform 96"/>
              <p:cNvSpPr>
                <a:spLocks noEditPoints="1"/>
              </p:cNvSpPr>
              <p:nvPr/>
            </p:nvSpPr>
            <p:spPr bwMode="auto">
              <a:xfrm>
                <a:off x="1344811" y="1344453"/>
                <a:ext cx="75707" cy="311433"/>
              </a:xfrm>
              <a:custGeom>
                <a:avLst/>
                <a:gdLst>
                  <a:gd name="T0" fmla="*/ 12 w 44"/>
                  <a:gd name="T1" fmla="*/ 161 h 181"/>
                  <a:gd name="T2" fmla="*/ 25 w 44"/>
                  <a:gd name="T3" fmla="*/ 173 h 181"/>
                  <a:gd name="T4" fmla="*/ 23 w 44"/>
                  <a:gd name="T5" fmla="*/ 173 h 181"/>
                  <a:gd name="T6" fmla="*/ 23 w 44"/>
                  <a:gd name="T7" fmla="*/ 167 h 181"/>
                  <a:gd name="T8" fmla="*/ 12 w 44"/>
                  <a:gd name="T9" fmla="*/ 157 h 181"/>
                  <a:gd name="T10" fmla="*/ 21 w 44"/>
                  <a:gd name="T11" fmla="*/ 163 h 181"/>
                  <a:gd name="T12" fmla="*/ 12 w 44"/>
                  <a:gd name="T13" fmla="*/ 156 h 181"/>
                  <a:gd name="T14" fmla="*/ 12 w 44"/>
                  <a:gd name="T15" fmla="*/ 154 h 181"/>
                  <a:gd name="T16" fmla="*/ 12 w 44"/>
                  <a:gd name="T17" fmla="*/ 150 h 181"/>
                  <a:gd name="T18" fmla="*/ 12 w 44"/>
                  <a:gd name="T19" fmla="*/ 157 h 181"/>
                  <a:gd name="T20" fmla="*/ 16 w 44"/>
                  <a:gd name="T21" fmla="*/ 154 h 181"/>
                  <a:gd name="T22" fmla="*/ 4 w 44"/>
                  <a:gd name="T23" fmla="*/ 144 h 181"/>
                  <a:gd name="T24" fmla="*/ 6 w 44"/>
                  <a:gd name="T25" fmla="*/ 146 h 181"/>
                  <a:gd name="T26" fmla="*/ 10 w 44"/>
                  <a:gd name="T27" fmla="*/ 144 h 181"/>
                  <a:gd name="T28" fmla="*/ 17 w 44"/>
                  <a:gd name="T29" fmla="*/ 136 h 181"/>
                  <a:gd name="T30" fmla="*/ 16 w 44"/>
                  <a:gd name="T31" fmla="*/ 131 h 181"/>
                  <a:gd name="T32" fmla="*/ 6 w 44"/>
                  <a:gd name="T33" fmla="*/ 123 h 181"/>
                  <a:gd name="T34" fmla="*/ 8 w 44"/>
                  <a:gd name="T35" fmla="*/ 121 h 181"/>
                  <a:gd name="T36" fmla="*/ 8 w 44"/>
                  <a:gd name="T37" fmla="*/ 119 h 181"/>
                  <a:gd name="T38" fmla="*/ 4 w 44"/>
                  <a:gd name="T39" fmla="*/ 119 h 181"/>
                  <a:gd name="T40" fmla="*/ 6 w 44"/>
                  <a:gd name="T41" fmla="*/ 119 h 181"/>
                  <a:gd name="T42" fmla="*/ 8 w 44"/>
                  <a:gd name="T43" fmla="*/ 115 h 181"/>
                  <a:gd name="T44" fmla="*/ 10 w 44"/>
                  <a:gd name="T45" fmla="*/ 111 h 181"/>
                  <a:gd name="T46" fmla="*/ 10 w 44"/>
                  <a:gd name="T47" fmla="*/ 109 h 181"/>
                  <a:gd name="T48" fmla="*/ 17 w 44"/>
                  <a:gd name="T49" fmla="*/ 113 h 181"/>
                  <a:gd name="T50" fmla="*/ 17 w 44"/>
                  <a:gd name="T51" fmla="*/ 113 h 181"/>
                  <a:gd name="T52" fmla="*/ 12 w 44"/>
                  <a:gd name="T53" fmla="*/ 109 h 181"/>
                  <a:gd name="T54" fmla="*/ 17 w 44"/>
                  <a:gd name="T55" fmla="*/ 111 h 181"/>
                  <a:gd name="T56" fmla="*/ 17 w 44"/>
                  <a:gd name="T57" fmla="*/ 111 h 181"/>
                  <a:gd name="T58" fmla="*/ 17 w 44"/>
                  <a:gd name="T59" fmla="*/ 111 h 181"/>
                  <a:gd name="T60" fmla="*/ 16 w 44"/>
                  <a:gd name="T61" fmla="*/ 109 h 181"/>
                  <a:gd name="T62" fmla="*/ 16 w 44"/>
                  <a:gd name="T63" fmla="*/ 109 h 181"/>
                  <a:gd name="T64" fmla="*/ 16 w 44"/>
                  <a:gd name="T65" fmla="*/ 107 h 181"/>
                  <a:gd name="T66" fmla="*/ 17 w 44"/>
                  <a:gd name="T67" fmla="*/ 102 h 181"/>
                  <a:gd name="T68" fmla="*/ 16 w 44"/>
                  <a:gd name="T69" fmla="*/ 96 h 181"/>
                  <a:gd name="T70" fmla="*/ 16 w 44"/>
                  <a:gd name="T71" fmla="*/ 92 h 181"/>
                  <a:gd name="T72" fmla="*/ 16 w 44"/>
                  <a:gd name="T73" fmla="*/ 77 h 181"/>
                  <a:gd name="T74" fmla="*/ 19 w 44"/>
                  <a:gd name="T75" fmla="*/ 81 h 181"/>
                  <a:gd name="T76" fmla="*/ 19 w 44"/>
                  <a:gd name="T77" fmla="*/ 79 h 181"/>
                  <a:gd name="T78" fmla="*/ 42 w 44"/>
                  <a:gd name="T79" fmla="*/ 71 h 181"/>
                  <a:gd name="T80" fmla="*/ 37 w 44"/>
                  <a:gd name="T81" fmla="*/ 69 h 181"/>
                  <a:gd name="T82" fmla="*/ 37 w 44"/>
                  <a:gd name="T83" fmla="*/ 65 h 181"/>
                  <a:gd name="T84" fmla="*/ 44 w 44"/>
                  <a:gd name="T85" fmla="*/ 61 h 181"/>
                  <a:gd name="T86" fmla="*/ 42 w 44"/>
                  <a:gd name="T87" fmla="*/ 36 h 181"/>
                  <a:gd name="T88" fmla="*/ 37 w 44"/>
                  <a:gd name="T89" fmla="*/ 29 h 181"/>
                  <a:gd name="T90" fmla="*/ 39 w 44"/>
                  <a:gd name="T91" fmla="*/ 25 h 181"/>
                  <a:gd name="T92" fmla="*/ 39 w 44"/>
                  <a:gd name="T93" fmla="*/ 25 h 181"/>
                  <a:gd name="T94" fmla="*/ 39 w 44"/>
                  <a:gd name="T95" fmla="*/ 25 h 181"/>
                  <a:gd name="T96" fmla="*/ 33 w 44"/>
                  <a:gd name="T97" fmla="*/ 19 h 181"/>
                  <a:gd name="T98" fmla="*/ 41 w 44"/>
                  <a:gd name="T99" fmla="*/ 21 h 181"/>
                  <a:gd name="T100" fmla="*/ 41 w 44"/>
                  <a:gd name="T101" fmla="*/ 21 h 181"/>
                  <a:gd name="T102" fmla="*/ 35 w 44"/>
                  <a:gd name="T103" fmla="*/ 17 h 181"/>
                  <a:gd name="T104" fmla="*/ 41 w 44"/>
                  <a:gd name="T105" fmla="*/ 19 h 181"/>
                  <a:gd name="T106" fmla="*/ 39 w 44"/>
                  <a:gd name="T107" fmla="*/ 21 h 181"/>
                  <a:gd name="T108" fmla="*/ 41 w 44"/>
                  <a:gd name="T109" fmla="*/ 19 h 181"/>
                  <a:gd name="T110" fmla="*/ 42 w 44"/>
                  <a:gd name="T111" fmla="*/ 17 h 181"/>
                  <a:gd name="T112" fmla="*/ 37 w 44"/>
                  <a:gd name="T113" fmla="*/ 9 h 181"/>
                  <a:gd name="T114" fmla="*/ 37 w 44"/>
                  <a:gd name="T115" fmla="*/ 9 h 181"/>
                  <a:gd name="T116" fmla="*/ 35 w 44"/>
                  <a:gd name="T117" fmla="*/ 7 h 181"/>
                  <a:gd name="T118" fmla="*/ 37 w 44"/>
                  <a:gd name="T119" fmla="*/ 7 h 181"/>
                  <a:gd name="T120" fmla="*/ 31 w 44"/>
                  <a:gd name="T1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 h="181">
                    <a:moveTo>
                      <a:pt x="21" y="179"/>
                    </a:moveTo>
                    <a:lnTo>
                      <a:pt x="21" y="181"/>
                    </a:lnTo>
                    <a:lnTo>
                      <a:pt x="21" y="179"/>
                    </a:lnTo>
                    <a:lnTo>
                      <a:pt x="21" y="181"/>
                    </a:lnTo>
                    <a:lnTo>
                      <a:pt x="21" y="179"/>
                    </a:lnTo>
                    <a:close/>
                    <a:moveTo>
                      <a:pt x="12" y="161"/>
                    </a:moveTo>
                    <a:lnTo>
                      <a:pt x="12" y="163"/>
                    </a:lnTo>
                    <a:lnTo>
                      <a:pt x="10" y="163"/>
                    </a:lnTo>
                    <a:lnTo>
                      <a:pt x="10" y="161"/>
                    </a:lnTo>
                    <a:lnTo>
                      <a:pt x="12" y="161"/>
                    </a:lnTo>
                    <a:close/>
                    <a:moveTo>
                      <a:pt x="25" y="171"/>
                    </a:moveTo>
                    <a:lnTo>
                      <a:pt x="25" y="173"/>
                    </a:lnTo>
                    <a:lnTo>
                      <a:pt x="25" y="175"/>
                    </a:lnTo>
                    <a:lnTo>
                      <a:pt x="25" y="173"/>
                    </a:lnTo>
                    <a:lnTo>
                      <a:pt x="23" y="175"/>
                    </a:lnTo>
                    <a:lnTo>
                      <a:pt x="23" y="173"/>
                    </a:lnTo>
                    <a:lnTo>
                      <a:pt x="23" y="171"/>
                    </a:lnTo>
                    <a:lnTo>
                      <a:pt x="23" y="173"/>
                    </a:lnTo>
                    <a:lnTo>
                      <a:pt x="23" y="171"/>
                    </a:lnTo>
                    <a:lnTo>
                      <a:pt x="25" y="171"/>
                    </a:lnTo>
                    <a:close/>
                    <a:moveTo>
                      <a:pt x="21" y="167"/>
                    </a:moveTo>
                    <a:lnTo>
                      <a:pt x="21" y="169"/>
                    </a:lnTo>
                    <a:lnTo>
                      <a:pt x="21" y="167"/>
                    </a:lnTo>
                    <a:close/>
                    <a:moveTo>
                      <a:pt x="23" y="167"/>
                    </a:moveTo>
                    <a:lnTo>
                      <a:pt x="21" y="165"/>
                    </a:lnTo>
                    <a:lnTo>
                      <a:pt x="23" y="165"/>
                    </a:lnTo>
                    <a:lnTo>
                      <a:pt x="23" y="167"/>
                    </a:lnTo>
                    <a:close/>
                    <a:moveTo>
                      <a:pt x="10" y="157"/>
                    </a:moveTo>
                    <a:lnTo>
                      <a:pt x="10" y="156"/>
                    </a:lnTo>
                    <a:lnTo>
                      <a:pt x="12" y="157"/>
                    </a:lnTo>
                    <a:lnTo>
                      <a:pt x="10" y="157"/>
                    </a:lnTo>
                    <a:close/>
                    <a:moveTo>
                      <a:pt x="21" y="163"/>
                    </a:moveTo>
                    <a:lnTo>
                      <a:pt x="23" y="163"/>
                    </a:lnTo>
                    <a:lnTo>
                      <a:pt x="23" y="165"/>
                    </a:lnTo>
                    <a:lnTo>
                      <a:pt x="21" y="165"/>
                    </a:lnTo>
                    <a:lnTo>
                      <a:pt x="21" y="163"/>
                    </a:lnTo>
                    <a:close/>
                    <a:moveTo>
                      <a:pt x="12" y="156"/>
                    </a:moveTo>
                    <a:lnTo>
                      <a:pt x="12" y="157"/>
                    </a:lnTo>
                    <a:lnTo>
                      <a:pt x="10" y="156"/>
                    </a:lnTo>
                    <a:lnTo>
                      <a:pt x="12" y="156"/>
                    </a:lnTo>
                    <a:lnTo>
                      <a:pt x="12" y="154"/>
                    </a:lnTo>
                    <a:lnTo>
                      <a:pt x="12" y="156"/>
                    </a:lnTo>
                    <a:close/>
                    <a:moveTo>
                      <a:pt x="23" y="163"/>
                    </a:moveTo>
                    <a:lnTo>
                      <a:pt x="25" y="163"/>
                    </a:lnTo>
                    <a:lnTo>
                      <a:pt x="23" y="163"/>
                    </a:lnTo>
                    <a:close/>
                    <a:moveTo>
                      <a:pt x="12" y="154"/>
                    </a:moveTo>
                    <a:lnTo>
                      <a:pt x="12" y="156"/>
                    </a:lnTo>
                    <a:lnTo>
                      <a:pt x="12" y="154"/>
                    </a:lnTo>
                    <a:close/>
                    <a:moveTo>
                      <a:pt x="10" y="150"/>
                    </a:moveTo>
                    <a:lnTo>
                      <a:pt x="12" y="150"/>
                    </a:lnTo>
                    <a:lnTo>
                      <a:pt x="12" y="152"/>
                    </a:lnTo>
                    <a:lnTo>
                      <a:pt x="10" y="152"/>
                    </a:lnTo>
                    <a:lnTo>
                      <a:pt x="10" y="150"/>
                    </a:lnTo>
                    <a:lnTo>
                      <a:pt x="12" y="150"/>
                    </a:lnTo>
                    <a:lnTo>
                      <a:pt x="10" y="150"/>
                    </a:lnTo>
                    <a:close/>
                    <a:moveTo>
                      <a:pt x="16" y="154"/>
                    </a:moveTo>
                    <a:lnTo>
                      <a:pt x="16" y="156"/>
                    </a:lnTo>
                    <a:lnTo>
                      <a:pt x="16" y="157"/>
                    </a:lnTo>
                    <a:lnTo>
                      <a:pt x="14" y="157"/>
                    </a:lnTo>
                    <a:lnTo>
                      <a:pt x="12" y="157"/>
                    </a:lnTo>
                    <a:lnTo>
                      <a:pt x="12" y="156"/>
                    </a:lnTo>
                    <a:lnTo>
                      <a:pt x="14" y="156"/>
                    </a:lnTo>
                    <a:lnTo>
                      <a:pt x="14" y="154"/>
                    </a:lnTo>
                    <a:lnTo>
                      <a:pt x="14" y="152"/>
                    </a:lnTo>
                    <a:lnTo>
                      <a:pt x="16" y="152"/>
                    </a:lnTo>
                    <a:lnTo>
                      <a:pt x="16" y="154"/>
                    </a:lnTo>
                    <a:close/>
                    <a:moveTo>
                      <a:pt x="2" y="144"/>
                    </a:moveTo>
                    <a:lnTo>
                      <a:pt x="0" y="142"/>
                    </a:lnTo>
                    <a:lnTo>
                      <a:pt x="2" y="144"/>
                    </a:lnTo>
                    <a:lnTo>
                      <a:pt x="2" y="142"/>
                    </a:lnTo>
                    <a:lnTo>
                      <a:pt x="2" y="144"/>
                    </a:lnTo>
                    <a:close/>
                    <a:moveTo>
                      <a:pt x="4" y="144"/>
                    </a:moveTo>
                    <a:lnTo>
                      <a:pt x="4" y="146"/>
                    </a:lnTo>
                    <a:lnTo>
                      <a:pt x="4" y="144"/>
                    </a:lnTo>
                    <a:lnTo>
                      <a:pt x="4" y="146"/>
                    </a:lnTo>
                    <a:lnTo>
                      <a:pt x="4" y="144"/>
                    </a:lnTo>
                    <a:close/>
                    <a:moveTo>
                      <a:pt x="8" y="146"/>
                    </a:moveTo>
                    <a:lnTo>
                      <a:pt x="6" y="146"/>
                    </a:lnTo>
                    <a:lnTo>
                      <a:pt x="6" y="148"/>
                    </a:lnTo>
                    <a:lnTo>
                      <a:pt x="6" y="146"/>
                    </a:lnTo>
                    <a:lnTo>
                      <a:pt x="8" y="146"/>
                    </a:lnTo>
                    <a:close/>
                    <a:moveTo>
                      <a:pt x="10" y="146"/>
                    </a:moveTo>
                    <a:lnTo>
                      <a:pt x="8" y="146"/>
                    </a:lnTo>
                    <a:lnTo>
                      <a:pt x="10" y="144"/>
                    </a:lnTo>
                    <a:lnTo>
                      <a:pt x="10" y="146"/>
                    </a:lnTo>
                    <a:lnTo>
                      <a:pt x="10" y="144"/>
                    </a:lnTo>
                    <a:lnTo>
                      <a:pt x="10" y="146"/>
                    </a:lnTo>
                    <a:close/>
                    <a:moveTo>
                      <a:pt x="17" y="136"/>
                    </a:moveTo>
                    <a:lnTo>
                      <a:pt x="17" y="138"/>
                    </a:lnTo>
                    <a:lnTo>
                      <a:pt x="17" y="136"/>
                    </a:lnTo>
                    <a:close/>
                    <a:moveTo>
                      <a:pt x="17" y="132"/>
                    </a:moveTo>
                    <a:lnTo>
                      <a:pt x="17" y="134"/>
                    </a:lnTo>
                    <a:lnTo>
                      <a:pt x="17" y="132"/>
                    </a:lnTo>
                    <a:lnTo>
                      <a:pt x="17" y="134"/>
                    </a:lnTo>
                    <a:lnTo>
                      <a:pt x="16" y="132"/>
                    </a:lnTo>
                    <a:lnTo>
                      <a:pt x="16" y="131"/>
                    </a:lnTo>
                    <a:lnTo>
                      <a:pt x="17" y="131"/>
                    </a:lnTo>
                    <a:lnTo>
                      <a:pt x="17" y="132"/>
                    </a:lnTo>
                    <a:close/>
                    <a:moveTo>
                      <a:pt x="6" y="123"/>
                    </a:moveTo>
                    <a:lnTo>
                      <a:pt x="4" y="121"/>
                    </a:lnTo>
                    <a:lnTo>
                      <a:pt x="6" y="121"/>
                    </a:lnTo>
                    <a:lnTo>
                      <a:pt x="6" y="123"/>
                    </a:lnTo>
                    <a:close/>
                    <a:moveTo>
                      <a:pt x="8" y="121"/>
                    </a:moveTo>
                    <a:lnTo>
                      <a:pt x="6" y="121"/>
                    </a:lnTo>
                    <a:lnTo>
                      <a:pt x="8" y="121"/>
                    </a:lnTo>
                    <a:close/>
                    <a:moveTo>
                      <a:pt x="8" y="121"/>
                    </a:moveTo>
                    <a:lnTo>
                      <a:pt x="6" y="121"/>
                    </a:lnTo>
                    <a:lnTo>
                      <a:pt x="8" y="121"/>
                    </a:lnTo>
                    <a:lnTo>
                      <a:pt x="6" y="121"/>
                    </a:lnTo>
                    <a:lnTo>
                      <a:pt x="8" y="121"/>
                    </a:lnTo>
                    <a:close/>
                    <a:moveTo>
                      <a:pt x="10" y="121"/>
                    </a:moveTo>
                    <a:lnTo>
                      <a:pt x="8" y="121"/>
                    </a:lnTo>
                    <a:lnTo>
                      <a:pt x="10" y="121"/>
                    </a:lnTo>
                    <a:close/>
                    <a:moveTo>
                      <a:pt x="8" y="119"/>
                    </a:moveTo>
                    <a:lnTo>
                      <a:pt x="6" y="119"/>
                    </a:lnTo>
                    <a:lnTo>
                      <a:pt x="8" y="119"/>
                    </a:lnTo>
                    <a:lnTo>
                      <a:pt x="8" y="121"/>
                    </a:lnTo>
                    <a:lnTo>
                      <a:pt x="6" y="121"/>
                    </a:lnTo>
                    <a:lnTo>
                      <a:pt x="4" y="121"/>
                    </a:lnTo>
                    <a:lnTo>
                      <a:pt x="4" y="119"/>
                    </a:lnTo>
                    <a:lnTo>
                      <a:pt x="2" y="119"/>
                    </a:lnTo>
                    <a:lnTo>
                      <a:pt x="2" y="117"/>
                    </a:lnTo>
                    <a:lnTo>
                      <a:pt x="4" y="119"/>
                    </a:lnTo>
                    <a:lnTo>
                      <a:pt x="4" y="117"/>
                    </a:lnTo>
                    <a:lnTo>
                      <a:pt x="6" y="117"/>
                    </a:lnTo>
                    <a:lnTo>
                      <a:pt x="6" y="119"/>
                    </a:lnTo>
                    <a:lnTo>
                      <a:pt x="8" y="119"/>
                    </a:lnTo>
                    <a:close/>
                    <a:moveTo>
                      <a:pt x="8" y="119"/>
                    </a:moveTo>
                    <a:lnTo>
                      <a:pt x="10" y="119"/>
                    </a:lnTo>
                    <a:lnTo>
                      <a:pt x="8" y="119"/>
                    </a:lnTo>
                    <a:close/>
                    <a:moveTo>
                      <a:pt x="8" y="117"/>
                    </a:moveTo>
                    <a:lnTo>
                      <a:pt x="8" y="115"/>
                    </a:lnTo>
                    <a:lnTo>
                      <a:pt x="8" y="117"/>
                    </a:lnTo>
                    <a:close/>
                    <a:moveTo>
                      <a:pt x="14" y="117"/>
                    </a:moveTo>
                    <a:lnTo>
                      <a:pt x="12" y="117"/>
                    </a:lnTo>
                    <a:lnTo>
                      <a:pt x="14" y="117"/>
                    </a:lnTo>
                    <a:close/>
                    <a:moveTo>
                      <a:pt x="12" y="111"/>
                    </a:moveTo>
                    <a:lnTo>
                      <a:pt x="10" y="111"/>
                    </a:lnTo>
                    <a:lnTo>
                      <a:pt x="12" y="109"/>
                    </a:lnTo>
                    <a:lnTo>
                      <a:pt x="12" y="111"/>
                    </a:lnTo>
                    <a:close/>
                    <a:moveTo>
                      <a:pt x="12" y="109"/>
                    </a:moveTo>
                    <a:lnTo>
                      <a:pt x="10" y="109"/>
                    </a:lnTo>
                    <a:lnTo>
                      <a:pt x="10" y="111"/>
                    </a:lnTo>
                    <a:lnTo>
                      <a:pt x="10" y="109"/>
                    </a:lnTo>
                    <a:lnTo>
                      <a:pt x="12" y="109"/>
                    </a:lnTo>
                    <a:lnTo>
                      <a:pt x="10" y="109"/>
                    </a:lnTo>
                    <a:lnTo>
                      <a:pt x="12" y="109"/>
                    </a:lnTo>
                    <a:close/>
                    <a:moveTo>
                      <a:pt x="17" y="113"/>
                    </a:moveTo>
                    <a:lnTo>
                      <a:pt x="16" y="113"/>
                    </a:lnTo>
                    <a:lnTo>
                      <a:pt x="17" y="113"/>
                    </a:lnTo>
                    <a:close/>
                    <a:moveTo>
                      <a:pt x="10" y="107"/>
                    </a:moveTo>
                    <a:lnTo>
                      <a:pt x="10" y="109"/>
                    </a:lnTo>
                    <a:lnTo>
                      <a:pt x="10" y="107"/>
                    </a:lnTo>
                    <a:close/>
                    <a:moveTo>
                      <a:pt x="17" y="113"/>
                    </a:moveTo>
                    <a:lnTo>
                      <a:pt x="19" y="113"/>
                    </a:lnTo>
                    <a:lnTo>
                      <a:pt x="17" y="113"/>
                    </a:lnTo>
                    <a:close/>
                    <a:moveTo>
                      <a:pt x="14" y="109"/>
                    </a:moveTo>
                    <a:lnTo>
                      <a:pt x="12" y="109"/>
                    </a:lnTo>
                    <a:lnTo>
                      <a:pt x="14" y="109"/>
                    </a:lnTo>
                    <a:close/>
                    <a:moveTo>
                      <a:pt x="12" y="109"/>
                    </a:moveTo>
                    <a:lnTo>
                      <a:pt x="12" y="107"/>
                    </a:lnTo>
                    <a:lnTo>
                      <a:pt x="12" y="109"/>
                    </a:lnTo>
                    <a:close/>
                    <a:moveTo>
                      <a:pt x="17" y="113"/>
                    </a:moveTo>
                    <a:lnTo>
                      <a:pt x="16" y="113"/>
                    </a:lnTo>
                    <a:lnTo>
                      <a:pt x="17" y="113"/>
                    </a:lnTo>
                    <a:lnTo>
                      <a:pt x="16" y="113"/>
                    </a:lnTo>
                    <a:lnTo>
                      <a:pt x="16" y="111"/>
                    </a:lnTo>
                    <a:lnTo>
                      <a:pt x="17" y="111"/>
                    </a:lnTo>
                    <a:lnTo>
                      <a:pt x="17" y="113"/>
                    </a:lnTo>
                    <a:close/>
                    <a:moveTo>
                      <a:pt x="14" y="109"/>
                    </a:moveTo>
                    <a:lnTo>
                      <a:pt x="14" y="107"/>
                    </a:lnTo>
                    <a:lnTo>
                      <a:pt x="14" y="109"/>
                    </a:lnTo>
                    <a:close/>
                    <a:moveTo>
                      <a:pt x="17" y="113"/>
                    </a:moveTo>
                    <a:lnTo>
                      <a:pt x="17" y="111"/>
                    </a:lnTo>
                    <a:lnTo>
                      <a:pt x="19" y="111"/>
                    </a:lnTo>
                    <a:lnTo>
                      <a:pt x="17" y="111"/>
                    </a:lnTo>
                    <a:lnTo>
                      <a:pt x="17" y="113"/>
                    </a:lnTo>
                    <a:close/>
                    <a:moveTo>
                      <a:pt x="17" y="111"/>
                    </a:moveTo>
                    <a:lnTo>
                      <a:pt x="17" y="113"/>
                    </a:lnTo>
                    <a:lnTo>
                      <a:pt x="17" y="111"/>
                    </a:lnTo>
                    <a:close/>
                    <a:moveTo>
                      <a:pt x="12" y="107"/>
                    </a:moveTo>
                    <a:lnTo>
                      <a:pt x="14" y="107"/>
                    </a:lnTo>
                    <a:lnTo>
                      <a:pt x="12" y="107"/>
                    </a:lnTo>
                    <a:close/>
                    <a:moveTo>
                      <a:pt x="16" y="109"/>
                    </a:moveTo>
                    <a:lnTo>
                      <a:pt x="14" y="109"/>
                    </a:lnTo>
                    <a:lnTo>
                      <a:pt x="16" y="109"/>
                    </a:lnTo>
                    <a:lnTo>
                      <a:pt x="14" y="109"/>
                    </a:lnTo>
                    <a:lnTo>
                      <a:pt x="16" y="109"/>
                    </a:lnTo>
                    <a:lnTo>
                      <a:pt x="16" y="107"/>
                    </a:lnTo>
                    <a:lnTo>
                      <a:pt x="16" y="109"/>
                    </a:lnTo>
                    <a:lnTo>
                      <a:pt x="16" y="107"/>
                    </a:lnTo>
                    <a:lnTo>
                      <a:pt x="16" y="109"/>
                    </a:lnTo>
                    <a:close/>
                    <a:moveTo>
                      <a:pt x="17" y="109"/>
                    </a:moveTo>
                    <a:lnTo>
                      <a:pt x="17" y="107"/>
                    </a:lnTo>
                    <a:lnTo>
                      <a:pt x="17" y="109"/>
                    </a:lnTo>
                    <a:close/>
                    <a:moveTo>
                      <a:pt x="16" y="107"/>
                    </a:moveTo>
                    <a:lnTo>
                      <a:pt x="17" y="107"/>
                    </a:lnTo>
                    <a:lnTo>
                      <a:pt x="16" y="107"/>
                    </a:lnTo>
                    <a:close/>
                    <a:moveTo>
                      <a:pt x="12" y="104"/>
                    </a:moveTo>
                    <a:lnTo>
                      <a:pt x="12" y="106"/>
                    </a:lnTo>
                    <a:lnTo>
                      <a:pt x="12" y="104"/>
                    </a:lnTo>
                    <a:close/>
                    <a:moveTo>
                      <a:pt x="17" y="102"/>
                    </a:moveTo>
                    <a:lnTo>
                      <a:pt x="17" y="104"/>
                    </a:lnTo>
                    <a:lnTo>
                      <a:pt x="17" y="102"/>
                    </a:lnTo>
                    <a:close/>
                    <a:moveTo>
                      <a:pt x="16" y="100"/>
                    </a:moveTo>
                    <a:lnTo>
                      <a:pt x="14" y="100"/>
                    </a:lnTo>
                    <a:lnTo>
                      <a:pt x="16" y="100"/>
                    </a:lnTo>
                    <a:lnTo>
                      <a:pt x="14" y="100"/>
                    </a:lnTo>
                    <a:lnTo>
                      <a:pt x="16" y="100"/>
                    </a:lnTo>
                    <a:close/>
                    <a:moveTo>
                      <a:pt x="16" y="96"/>
                    </a:moveTo>
                    <a:lnTo>
                      <a:pt x="14" y="96"/>
                    </a:lnTo>
                    <a:lnTo>
                      <a:pt x="16" y="96"/>
                    </a:lnTo>
                    <a:close/>
                    <a:moveTo>
                      <a:pt x="14" y="96"/>
                    </a:moveTo>
                    <a:lnTo>
                      <a:pt x="14" y="94"/>
                    </a:lnTo>
                    <a:lnTo>
                      <a:pt x="14" y="96"/>
                    </a:lnTo>
                    <a:close/>
                    <a:moveTo>
                      <a:pt x="16" y="92"/>
                    </a:moveTo>
                    <a:lnTo>
                      <a:pt x="16" y="94"/>
                    </a:lnTo>
                    <a:lnTo>
                      <a:pt x="16" y="92"/>
                    </a:lnTo>
                    <a:close/>
                    <a:moveTo>
                      <a:pt x="16" y="82"/>
                    </a:moveTo>
                    <a:lnTo>
                      <a:pt x="17" y="82"/>
                    </a:lnTo>
                    <a:lnTo>
                      <a:pt x="16" y="82"/>
                    </a:lnTo>
                    <a:close/>
                    <a:moveTo>
                      <a:pt x="16" y="77"/>
                    </a:moveTo>
                    <a:lnTo>
                      <a:pt x="16" y="79"/>
                    </a:lnTo>
                    <a:lnTo>
                      <a:pt x="16" y="77"/>
                    </a:lnTo>
                    <a:lnTo>
                      <a:pt x="16" y="79"/>
                    </a:lnTo>
                    <a:lnTo>
                      <a:pt x="16" y="77"/>
                    </a:lnTo>
                    <a:close/>
                    <a:moveTo>
                      <a:pt x="19" y="79"/>
                    </a:moveTo>
                    <a:lnTo>
                      <a:pt x="19" y="81"/>
                    </a:lnTo>
                    <a:lnTo>
                      <a:pt x="19" y="79"/>
                    </a:lnTo>
                    <a:close/>
                    <a:moveTo>
                      <a:pt x="17" y="77"/>
                    </a:moveTo>
                    <a:lnTo>
                      <a:pt x="17" y="79"/>
                    </a:lnTo>
                    <a:lnTo>
                      <a:pt x="17" y="77"/>
                    </a:lnTo>
                    <a:close/>
                    <a:moveTo>
                      <a:pt x="21" y="79"/>
                    </a:moveTo>
                    <a:lnTo>
                      <a:pt x="19" y="79"/>
                    </a:lnTo>
                    <a:lnTo>
                      <a:pt x="21" y="79"/>
                    </a:lnTo>
                    <a:close/>
                    <a:moveTo>
                      <a:pt x="25" y="81"/>
                    </a:moveTo>
                    <a:lnTo>
                      <a:pt x="25" y="79"/>
                    </a:lnTo>
                    <a:lnTo>
                      <a:pt x="25" y="81"/>
                    </a:lnTo>
                    <a:close/>
                    <a:moveTo>
                      <a:pt x="41" y="71"/>
                    </a:moveTo>
                    <a:lnTo>
                      <a:pt x="42" y="71"/>
                    </a:lnTo>
                    <a:lnTo>
                      <a:pt x="41" y="71"/>
                    </a:lnTo>
                    <a:close/>
                    <a:moveTo>
                      <a:pt x="39" y="67"/>
                    </a:moveTo>
                    <a:lnTo>
                      <a:pt x="39" y="69"/>
                    </a:lnTo>
                    <a:lnTo>
                      <a:pt x="37" y="69"/>
                    </a:lnTo>
                    <a:lnTo>
                      <a:pt x="37" y="67"/>
                    </a:lnTo>
                    <a:lnTo>
                      <a:pt x="37" y="69"/>
                    </a:lnTo>
                    <a:lnTo>
                      <a:pt x="37" y="67"/>
                    </a:lnTo>
                    <a:lnTo>
                      <a:pt x="39" y="67"/>
                    </a:lnTo>
                    <a:close/>
                    <a:moveTo>
                      <a:pt x="39" y="67"/>
                    </a:moveTo>
                    <a:lnTo>
                      <a:pt x="37" y="67"/>
                    </a:lnTo>
                    <a:lnTo>
                      <a:pt x="39" y="67"/>
                    </a:lnTo>
                    <a:close/>
                    <a:moveTo>
                      <a:pt x="37" y="65"/>
                    </a:moveTo>
                    <a:lnTo>
                      <a:pt x="35" y="65"/>
                    </a:lnTo>
                    <a:lnTo>
                      <a:pt x="37" y="65"/>
                    </a:lnTo>
                    <a:close/>
                    <a:moveTo>
                      <a:pt x="42" y="61"/>
                    </a:moveTo>
                    <a:lnTo>
                      <a:pt x="44" y="61"/>
                    </a:lnTo>
                    <a:lnTo>
                      <a:pt x="42" y="61"/>
                    </a:lnTo>
                    <a:close/>
                    <a:moveTo>
                      <a:pt x="44" y="61"/>
                    </a:moveTo>
                    <a:lnTo>
                      <a:pt x="42" y="61"/>
                    </a:lnTo>
                    <a:lnTo>
                      <a:pt x="44" y="61"/>
                    </a:lnTo>
                    <a:lnTo>
                      <a:pt x="42" y="61"/>
                    </a:lnTo>
                    <a:lnTo>
                      <a:pt x="44" y="61"/>
                    </a:lnTo>
                    <a:close/>
                    <a:moveTo>
                      <a:pt x="42" y="34"/>
                    </a:moveTo>
                    <a:lnTo>
                      <a:pt x="42" y="36"/>
                    </a:lnTo>
                    <a:lnTo>
                      <a:pt x="42" y="34"/>
                    </a:lnTo>
                    <a:close/>
                    <a:moveTo>
                      <a:pt x="39" y="27"/>
                    </a:moveTo>
                    <a:lnTo>
                      <a:pt x="37" y="27"/>
                    </a:lnTo>
                    <a:lnTo>
                      <a:pt x="39" y="27"/>
                    </a:lnTo>
                    <a:lnTo>
                      <a:pt x="37" y="27"/>
                    </a:lnTo>
                    <a:lnTo>
                      <a:pt x="37" y="29"/>
                    </a:lnTo>
                    <a:lnTo>
                      <a:pt x="37" y="27"/>
                    </a:lnTo>
                    <a:lnTo>
                      <a:pt x="39" y="27"/>
                    </a:lnTo>
                    <a:close/>
                    <a:moveTo>
                      <a:pt x="21" y="13"/>
                    </a:moveTo>
                    <a:lnTo>
                      <a:pt x="23" y="13"/>
                    </a:lnTo>
                    <a:lnTo>
                      <a:pt x="21" y="13"/>
                    </a:lnTo>
                    <a:close/>
                    <a:moveTo>
                      <a:pt x="39" y="25"/>
                    </a:moveTo>
                    <a:lnTo>
                      <a:pt x="41" y="25"/>
                    </a:lnTo>
                    <a:lnTo>
                      <a:pt x="41" y="27"/>
                    </a:lnTo>
                    <a:lnTo>
                      <a:pt x="39" y="27"/>
                    </a:lnTo>
                    <a:lnTo>
                      <a:pt x="41" y="27"/>
                    </a:lnTo>
                    <a:lnTo>
                      <a:pt x="39" y="27"/>
                    </a:lnTo>
                    <a:lnTo>
                      <a:pt x="39" y="25"/>
                    </a:lnTo>
                    <a:lnTo>
                      <a:pt x="39" y="27"/>
                    </a:lnTo>
                    <a:lnTo>
                      <a:pt x="39" y="25"/>
                    </a:lnTo>
                    <a:lnTo>
                      <a:pt x="37" y="25"/>
                    </a:lnTo>
                    <a:lnTo>
                      <a:pt x="37" y="23"/>
                    </a:lnTo>
                    <a:lnTo>
                      <a:pt x="39" y="23"/>
                    </a:lnTo>
                    <a:lnTo>
                      <a:pt x="39" y="25"/>
                    </a:lnTo>
                    <a:close/>
                    <a:moveTo>
                      <a:pt x="35" y="21"/>
                    </a:moveTo>
                    <a:lnTo>
                      <a:pt x="33" y="19"/>
                    </a:lnTo>
                    <a:lnTo>
                      <a:pt x="35" y="19"/>
                    </a:lnTo>
                    <a:lnTo>
                      <a:pt x="35" y="21"/>
                    </a:lnTo>
                    <a:close/>
                    <a:moveTo>
                      <a:pt x="35" y="19"/>
                    </a:moveTo>
                    <a:lnTo>
                      <a:pt x="33" y="19"/>
                    </a:lnTo>
                    <a:lnTo>
                      <a:pt x="35" y="19"/>
                    </a:lnTo>
                    <a:close/>
                    <a:moveTo>
                      <a:pt x="31" y="15"/>
                    </a:moveTo>
                    <a:lnTo>
                      <a:pt x="31" y="17"/>
                    </a:lnTo>
                    <a:lnTo>
                      <a:pt x="31" y="15"/>
                    </a:lnTo>
                    <a:close/>
                    <a:moveTo>
                      <a:pt x="39" y="21"/>
                    </a:moveTo>
                    <a:lnTo>
                      <a:pt x="41" y="21"/>
                    </a:lnTo>
                    <a:lnTo>
                      <a:pt x="41" y="23"/>
                    </a:lnTo>
                    <a:lnTo>
                      <a:pt x="39" y="23"/>
                    </a:lnTo>
                    <a:lnTo>
                      <a:pt x="39" y="21"/>
                    </a:lnTo>
                    <a:close/>
                    <a:moveTo>
                      <a:pt x="41" y="21"/>
                    </a:moveTo>
                    <a:lnTo>
                      <a:pt x="39" y="21"/>
                    </a:lnTo>
                    <a:lnTo>
                      <a:pt x="41" y="21"/>
                    </a:lnTo>
                    <a:close/>
                    <a:moveTo>
                      <a:pt x="39" y="19"/>
                    </a:moveTo>
                    <a:lnTo>
                      <a:pt x="39" y="21"/>
                    </a:lnTo>
                    <a:lnTo>
                      <a:pt x="37" y="21"/>
                    </a:lnTo>
                    <a:lnTo>
                      <a:pt x="35" y="21"/>
                    </a:lnTo>
                    <a:lnTo>
                      <a:pt x="35" y="19"/>
                    </a:lnTo>
                    <a:lnTo>
                      <a:pt x="35" y="17"/>
                    </a:lnTo>
                    <a:lnTo>
                      <a:pt x="35" y="19"/>
                    </a:lnTo>
                    <a:lnTo>
                      <a:pt x="37" y="19"/>
                    </a:lnTo>
                    <a:lnTo>
                      <a:pt x="39" y="19"/>
                    </a:lnTo>
                    <a:lnTo>
                      <a:pt x="39" y="21"/>
                    </a:lnTo>
                    <a:lnTo>
                      <a:pt x="39" y="19"/>
                    </a:lnTo>
                    <a:close/>
                    <a:moveTo>
                      <a:pt x="41" y="19"/>
                    </a:moveTo>
                    <a:lnTo>
                      <a:pt x="41" y="21"/>
                    </a:lnTo>
                    <a:lnTo>
                      <a:pt x="41" y="19"/>
                    </a:lnTo>
                    <a:lnTo>
                      <a:pt x="41" y="21"/>
                    </a:lnTo>
                    <a:lnTo>
                      <a:pt x="41" y="19"/>
                    </a:lnTo>
                    <a:lnTo>
                      <a:pt x="41" y="21"/>
                    </a:lnTo>
                    <a:lnTo>
                      <a:pt x="39" y="21"/>
                    </a:lnTo>
                    <a:lnTo>
                      <a:pt x="39" y="19"/>
                    </a:lnTo>
                    <a:lnTo>
                      <a:pt x="41" y="19"/>
                    </a:lnTo>
                    <a:lnTo>
                      <a:pt x="39" y="19"/>
                    </a:lnTo>
                    <a:lnTo>
                      <a:pt x="41" y="19"/>
                    </a:lnTo>
                    <a:lnTo>
                      <a:pt x="39" y="19"/>
                    </a:lnTo>
                    <a:lnTo>
                      <a:pt x="41" y="19"/>
                    </a:lnTo>
                    <a:close/>
                    <a:moveTo>
                      <a:pt x="42" y="15"/>
                    </a:moveTo>
                    <a:lnTo>
                      <a:pt x="41" y="15"/>
                    </a:lnTo>
                    <a:lnTo>
                      <a:pt x="42" y="15"/>
                    </a:lnTo>
                    <a:close/>
                    <a:moveTo>
                      <a:pt x="42" y="17"/>
                    </a:moveTo>
                    <a:lnTo>
                      <a:pt x="42" y="15"/>
                    </a:lnTo>
                    <a:lnTo>
                      <a:pt x="42" y="17"/>
                    </a:lnTo>
                    <a:close/>
                    <a:moveTo>
                      <a:pt x="42" y="17"/>
                    </a:moveTo>
                    <a:lnTo>
                      <a:pt x="42" y="15"/>
                    </a:lnTo>
                    <a:lnTo>
                      <a:pt x="42" y="17"/>
                    </a:lnTo>
                    <a:lnTo>
                      <a:pt x="42" y="15"/>
                    </a:lnTo>
                    <a:lnTo>
                      <a:pt x="42" y="17"/>
                    </a:lnTo>
                    <a:close/>
                    <a:moveTo>
                      <a:pt x="37" y="9"/>
                    </a:moveTo>
                    <a:lnTo>
                      <a:pt x="37" y="7"/>
                    </a:lnTo>
                    <a:lnTo>
                      <a:pt x="35" y="7"/>
                    </a:lnTo>
                    <a:lnTo>
                      <a:pt x="37" y="7"/>
                    </a:lnTo>
                    <a:lnTo>
                      <a:pt x="37" y="9"/>
                    </a:lnTo>
                    <a:close/>
                    <a:moveTo>
                      <a:pt x="39" y="9"/>
                    </a:moveTo>
                    <a:lnTo>
                      <a:pt x="37" y="9"/>
                    </a:lnTo>
                    <a:lnTo>
                      <a:pt x="39" y="9"/>
                    </a:lnTo>
                    <a:close/>
                    <a:moveTo>
                      <a:pt x="37" y="9"/>
                    </a:moveTo>
                    <a:lnTo>
                      <a:pt x="37" y="7"/>
                    </a:lnTo>
                    <a:lnTo>
                      <a:pt x="37" y="9"/>
                    </a:lnTo>
                    <a:close/>
                    <a:moveTo>
                      <a:pt x="37" y="7"/>
                    </a:moveTo>
                    <a:lnTo>
                      <a:pt x="35" y="7"/>
                    </a:lnTo>
                    <a:lnTo>
                      <a:pt x="35" y="6"/>
                    </a:lnTo>
                    <a:lnTo>
                      <a:pt x="37" y="7"/>
                    </a:lnTo>
                    <a:close/>
                    <a:moveTo>
                      <a:pt x="39" y="9"/>
                    </a:moveTo>
                    <a:lnTo>
                      <a:pt x="39" y="7"/>
                    </a:lnTo>
                    <a:lnTo>
                      <a:pt x="39" y="9"/>
                    </a:lnTo>
                    <a:close/>
                    <a:moveTo>
                      <a:pt x="37" y="7"/>
                    </a:moveTo>
                    <a:lnTo>
                      <a:pt x="37" y="6"/>
                    </a:lnTo>
                    <a:lnTo>
                      <a:pt x="37" y="7"/>
                    </a:lnTo>
                    <a:close/>
                    <a:moveTo>
                      <a:pt x="37" y="6"/>
                    </a:moveTo>
                    <a:lnTo>
                      <a:pt x="35" y="6"/>
                    </a:lnTo>
                    <a:lnTo>
                      <a:pt x="37" y="6"/>
                    </a:lnTo>
                    <a:close/>
                    <a:moveTo>
                      <a:pt x="31" y="0"/>
                    </a:moveTo>
                    <a:lnTo>
                      <a:pt x="31" y="2"/>
                    </a:lnTo>
                    <a:lnTo>
                      <a:pt x="31" y="0"/>
                    </a:lnTo>
                    <a:lnTo>
                      <a:pt x="29" y="0"/>
                    </a:lnTo>
                    <a:lnTo>
                      <a:pt x="31"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7" name="Freeform 97"/>
              <p:cNvSpPr>
                <a:spLocks noEditPoints="1"/>
              </p:cNvSpPr>
              <p:nvPr/>
            </p:nvSpPr>
            <p:spPr bwMode="auto">
              <a:xfrm>
                <a:off x="1334488" y="1341012"/>
                <a:ext cx="89473" cy="311433"/>
              </a:xfrm>
              <a:custGeom>
                <a:avLst/>
                <a:gdLst>
                  <a:gd name="T0" fmla="*/ 29 w 52"/>
                  <a:gd name="T1" fmla="*/ 177 h 181"/>
                  <a:gd name="T2" fmla="*/ 31 w 52"/>
                  <a:gd name="T3" fmla="*/ 177 h 181"/>
                  <a:gd name="T4" fmla="*/ 33 w 52"/>
                  <a:gd name="T5" fmla="*/ 177 h 181"/>
                  <a:gd name="T6" fmla="*/ 16 w 52"/>
                  <a:gd name="T7" fmla="*/ 159 h 181"/>
                  <a:gd name="T8" fmla="*/ 8 w 52"/>
                  <a:gd name="T9" fmla="*/ 152 h 181"/>
                  <a:gd name="T10" fmla="*/ 18 w 52"/>
                  <a:gd name="T11" fmla="*/ 156 h 181"/>
                  <a:gd name="T12" fmla="*/ 6 w 52"/>
                  <a:gd name="T13" fmla="*/ 148 h 181"/>
                  <a:gd name="T14" fmla="*/ 2 w 52"/>
                  <a:gd name="T15" fmla="*/ 144 h 181"/>
                  <a:gd name="T16" fmla="*/ 25 w 52"/>
                  <a:gd name="T17" fmla="*/ 158 h 181"/>
                  <a:gd name="T18" fmla="*/ 12 w 52"/>
                  <a:gd name="T19" fmla="*/ 150 h 181"/>
                  <a:gd name="T20" fmla="*/ 4 w 52"/>
                  <a:gd name="T21" fmla="*/ 140 h 181"/>
                  <a:gd name="T22" fmla="*/ 4 w 52"/>
                  <a:gd name="T23" fmla="*/ 140 h 181"/>
                  <a:gd name="T24" fmla="*/ 4 w 52"/>
                  <a:gd name="T25" fmla="*/ 136 h 181"/>
                  <a:gd name="T26" fmla="*/ 23 w 52"/>
                  <a:gd name="T27" fmla="*/ 138 h 181"/>
                  <a:gd name="T28" fmla="*/ 8 w 52"/>
                  <a:gd name="T29" fmla="*/ 123 h 181"/>
                  <a:gd name="T30" fmla="*/ 8 w 52"/>
                  <a:gd name="T31" fmla="*/ 125 h 181"/>
                  <a:gd name="T32" fmla="*/ 14 w 52"/>
                  <a:gd name="T33" fmla="*/ 121 h 181"/>
                  <a:gd name="T34" fmla="*/ 16 w 52"/>
                  <a:gd name="T35" fmla="*/ 121 h 181"/>
                  <a:gd name="T36" fmla="*/ 20 w 52"/>
                  <a:gd name="T37" fmla="*/ 121 h 181"/>
                  <a:gd name="T38" fmla="*/ 18 w 52"/>
                  <a:gd name="T39" fmla="*/ 119 h 181"/>
                  <a:gd name="T40" fmla="*/ 22 w 52"/>
                  <a:gd name="T41" fmla="*/ 115 h 181"/>
                  <a:gd name="T42" fmla="*/ 16 w 52"/>
                  <a:gd name="T43" fmla="*/ 111 h 181"/>
                  <a:gd name="T44" fmla="*/ 25 w 52"/>
                  <a:gd name="T45" fmla="*/ 113 h 181"/>
                  <a:gd name="T46" fmla="*/ 18 w 52"/>
                  <a:gd name="T47" fmla="*/ 108 h 181"/>
                  <a:gd name="T48" fmla="*/ 22 w 52"/>
                  <a:gd name="T49" fmla="*/ 111 h 181"/>
                  <a:gd name="T50" fmla="*/ 20 w 52"/>
                  <a:gd name="T51" fmla="*/ 109 h 181"/>
                  <a:gd name="T52" fmla="*/ 20 w 52"/>
                  <a:gd name="T53" fmla="*/ 108 h 181"/>
                  <a:gd name="T54" fmla="*/ 22 w 52"/>
                  <a:gd name="T55" fmla="*/ 106 h 181"/>
                  <a:gd name="T56" fmla="*/ 22 w 52"/>
                  <a:gd name="T57" fmla="*/ 106 h 181"/>
                  <a:gd name="T58" fmla="*/ 20 w 52"/>
                  <a:gd name="T59" fmla="*/ 100 h 181"/>
                  <a:gd name="T60" fmla="*/ 22 w 52"/>
                  <a:gd name="T61" fmla="*/ 94 h 181"/>
                  <a:gd name="T62" fmla="*/ 23 w 52"/>
                  <a:gd name="T63" fmla="*/ 94 h 181"/>
                  <a:gd name="T64" fmla="*/ 27 w 52"/>
                  <a:gd name="T65" fmla="*/ 83 h 181"/>
                  <a:gd name="T66" fmla="*/ 29 w 52"/>
                  <a:gd name="T67" fmla="*/ 81 h 181"/>
                  <a:gd name="T68" fmla="*/ 37 w 52"/>
                  <a:gd name="T69" fmla="*/ 77 h 181"/>
                  <a:gd name="T70" fmla="*/ 39 w 52"/>
                  <a:gd name="T71" fmla="*/ 73 h 181"/>
                  <a:gd name="T72" fmla="*/ 45 w 52"/>
                  <a:gd name="T73" fmla="*/ 73 h 181"/>
                  <a:gd name="T74" fmla="*/ 45 w 52"/>
                  <a:gd name="T75" fmla="*/ 71 h 181"/>
                  <a:gd name="T76" fmla="*/ 43 w 52"/>
                  <a:gd name="T77" fmla="*/ 67 h 181"/>
                  <a:gd name="T78" fmla="*/ 43 w 52"/>
                  <a:gd name="T79" fmla="*/ 67 h 181"/>
                  <a:gd name="T80" fmla="*/ 47 w 52"/>
                  <a:gd name="T81" fmla="*/ 71 h 181"/>
                  <a:gd name="T82" fmla="*/ 43 w 52"/>
                  <a:gd name="T83" fmla="*/ 67 h 181"/>
                  <a:gd name="T84" fmla="*/ 43 w 52"/>
                  <a:gd name="T85" fmla="*/ 65 h 181"/>
                  <a:gd name="T86" fmla="*/ 50 w 52"/>
                  <a:gd name="T87" fmla="*/ 71 h 181"/>
                  <a:gd name="T88" fmla="*/ 47 w 52"/>
                  <a:gd name="T89" fmla="*/ 67 h 181"/>
                  <a:gd name="T90" fmla="*/ 50 w 52"/>
                  <a:gd name="T91" fmla="*/ 69 h 181"/>
                  <a:gd name="T92" fmla="*/ 50 w 52"/>
                  <a:gd name="T93" fmla="*/ 63 h 181"/>
                  <a:gd name="T94" fmla="*/ 50 w 52"/>
                  <a:gd name="T95" fmla="*/ 63 h 181"/>
                  <a:gd name="T96" fmla="*/ 48 w 52"/>
                  <a:gd name="T97" fmla="*/ 58 h 181"/>
                  <a:gd name="T98" fmla="*/ 50 w 52"/>
                  <a:gd name="T99" fmla="*/ 56 h 181"/>
                  <a:gd name="T100" fmla="*/ 31 w 52"/>
                  <a:gd name="T101" fmla="*/ 17 h 181"/>
                  <a:gd name="T102" fmla="*/ 45 w 52"/>
                  <a:gd name="T103" fmla="*/ 23 h 181"/>
                  <a:gd name="T104" fmla="*/ 47 w 52"/>
                  <a:gd name="T105" fmla="*/ 23 h 181"/>
                  <a:gd name="T106" fmla="*/ 43 w 52"/>
                  <a:gd name="T107" fmla="*/ 17 h 181"/>
                  <a:gd name="T108" fmla="*/ 45 w 52"/>
                  <a:gd name="T109" fmla="*/ 17 h 181"/>
                  <a:gd name="T110" fmla="*/ 43 w 52"/>
                  <a:gd name="T111" fmla="*/ 11 h 181"/>
                  <a:gd name="T112" fmla="*/ 39 w 52"/>
                  <a:gd name="T113" fmla="*/ 6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181">
                    <a:moveTo>
                      <a:pt x="20" y="181"/>
                    </a:moveTo>
                    <a:lnTo>
                      <a:pt x="18" y="181"/>
                    </a:lnTo>
                    <a:lnTo>
                      <a:pt x="20" y="181"/>
                    </a:lnTo>
                    <a:close/>
                    <a:moveTo>
                      <a:pt x="18" y="179"/>
                    </a:moveTo>
                    <a:lnTo>
                      <a:pt x="18" y="177"/>
                    </a:lnTo>
                    <a:lnTo>
                      <a:pt x="18" y="179"/>
                    </a:lnTo>
                    <a:close/>
                    <a:moveTo>
                      <a:pt x="29" y="177"/>
                    </a:moveTo>
                    <a:lnTo>
                      <a:pt x="31" y="177"/>
                    </a:lnTo>
                    <a:lnTo>
                      <a:pt x="29" y="177"/>
                    </a:lnTo>
                    <a:close/>
                    <a:moveTo>
                      <a:pt x="33" y="177"/>
                    </a:moveTo>
                    <a:lnTo>
                      <a:pt x="31" y="177"/>
                    </a:lnTo>
                    <a:lnTo>
                      <a:pt x="33" y="177"/>
                    </a:lnTo>
                    <a:close/>
                    <a:moveTo>
                      <a:pt x="31" y="175"/>
                    </a:moveTo>
                    <a:lnTo>
                      <a:pt x="31" y="177"/>
                    </a:lnTo>
                    <a:lnTo>
                      <a:pt x="31" y="175"/>
                    </a:lnTo>
                    <a:close/>
                    <a:moveTo>
                      <a:pt x="27" y="173"/>
                    </a:moveTo>
                    <a:lnTo>
                      <a:pt x="25" y="173"/>
                    </a:lnTo>
                    <a:lnTo>
                      <a:pt x="27" y="173"/>
                    </a:lnTo>
                    <a:close/>
                    <a:moveTo>
                      <a:pt x="33" y="177"/>
                    </a:moveTo>
                    <a:lnTo>
                      <a:pt x="33" y="175"/>
                    </a:lnTo>
                    <a:lnTo>
                      <a:pt x="33" y="177"/>
                    </a:lnTo>
                    <a:close/>
                    <a:moveTo>
                      <a:pt x="29" y="173"/>
                    </a:moveTo>
                    <a:lnTo>
                      <a:pt x="29" y="171"/>
                    </a:lnTo>
                    <a:lnTo>
                      <a:pt x="29" y="173"/>
                    </a:lnTo>
                    <a:close/>
                    <a:moveTo>
                      <a:pt x="29" y="173"/>
                    </a:moveTo>
                    <a:lnTo>
                      <a:pt x="29" y="171"/>
                    </a:lnTo>
                    <a:lnTo>
                      <a:pt x="29" y="173"/>
                    </a:lnTo>
                    <a:close/>
                    <a:moveTo>
                      <a:pt x="16" y="159"/>
                    </a:moveTo>
                    <a:lnTo>
                      <a:pt x="18" y="159"/>
                    </a:lnTo>
                    <a:lnTo>
                      <a:pt x="16" y="159"/>
                    </a:lnTo>
                    <a:close/>
                    <a:moveTo>
                      <a:pt x="25" y="165"/>
                    </a:moveTo>
                    <a:lnTo>
                      <a:pt x="25" y="163"/>
                    </a:lnTo>
                    <a:lnTo>
                      <a:pt x="25" y="165"/>
                    </a:lnTo>
                    <a:close/>
                    <a:moveTo>
                      <a:pt x="10" y="152"/>
                    </a:moveTo>
                    <a:lnTo>
                      <a:pt x="8" y="152"/>
                    </a:lnTo>
                    <a:lnTo>
                      <a:pt x="10" y="152"/>
                    </a:lnTo>
                    <a:close/>
                    <a:moveTo>
                      <a:pt x="25" y="163"/>
                    </a:moveTo>
                    <a:lnTo>
                      <a:pt x="25" y="161"/>
                    </a:lnTo>
                    <a:lnTo>
                      <a:pt x="25" y="163"/>
                    </a:lnTo>
                    <a:close/>
                    <a:moveTo>
                      <a:pt x="18" y="156"/>
                    </a:moveTo>
                    <a:lnTo>
                      <a:pt x="16" y="156"/>
                    </a:lnTo>
                    <a:lnTo>
                      <a:pt x="18" y="156"/>
                    </a:lnTo>
                    <a:close/>
                    <a:moveTo>
                      <a:pt x="6" y="148"/>
                    </a:moveTo>
                    <a:lnTo>
                      <a:pt x="4" y="146"/>
                    </a:lnTo>
                    <a:lnTo>
                      <a:pt x="6" y="146"/>
                    </a:lnTo>
                    <a:lnTo>
                      <a:pt x="6" y="148"/>
                    </a:lnTo>
                    <a:close/>
                    <a:moveTo>
                      <a:pt x="6" y="148"/>
                    </a:moveTo>
                    <a:lnTo>
                      <a:pt x="8" y="148"/>
                    </a:lnTo>
                    <a:lnTo>
                      <a:pt x="6" y="148"/>
                    </a:lnTo>
                    <a:close/>
                    <a:moveTo>
                      <a:pt x="18" y="154"/>
                    </a:moveTo>
                    <a:lnTo>
                      <a:pt x="18" y="156"/>
                    </a:lnTo>
                    <a:lnTo>
                      <a:pt x="18" y="154"/>
                    </a:lnTo>
                    <a:close/>
                    <a:moveTo>
                      <a:pt x="20" y="154"/>
                    </a:moveTo>
                    <a:lnTo>
                      <a:pt x="20" y="156"/>
                    </a:lnTo>
                    <a:lnTo>
                      <a:pt x="20" y="154"/>
                    </a:lnTo>
                    <a:close/>
                    <a:moveTo>
                      <a:pt x="2" y="144"/>
                    </a:moveTo>
                    <a:lnTo>
                      <a:pt x="2" y="142"/>
                    </a:lnTo>
                    <a:lnTo>
                      <a:pt x="2" y="144"/>
                    </a:lnTo>
                    <a:close/>
                    <a:moveTo>
                      <a:pt x="12" y="148"/>
                    </a:moveTo>
                    <a:lnTo>
                      <a:pt x="10" y="148"/>
                    </a:lnTo>
                    <a:lnTo>
                      <a:pt x="12" y="148"/>
                    </a:lnTo>
                    <a:close/>
                    <a:moveTo>
                      <a:pt x="25" y="159"/>
                    </a:moveTo>
                    <a:lnTo>
                      <a:pt x="25" y="158"/>
                    </a:lnTo>
                    <a:lnTo>
                      <a:pt x="25" y="159"/>
                    </a:lnTo>
                    <a:close/>
                    <a:moveTo>
                      <a:pt x="4" y="144"/>
                    </a:moveTo>
                    <a:lnTo>
                      <a:pt x="4" y="142"/>
                    </a:lnTo>
                    <a:lnTo>
                      <a:pt x="4" y="144"/>
                    </a:lnTo>
                    <a:close/>
                    <a:moveTo>
                      <a:pt x="12" y="150"/>
                    </a:moveTo>
                    <a:lnTo>
                      <a:pt x="14" y="150"/>
                    </a:lnTo>
                    <a:lnTo>
                      <a:pt x="12" y="150"/>
                    </a:lnTo>
                    <a:close/>
                    <a:moveTo>
                      <a:pt x="20" y="154"/>
                    </a:moveTo>
                    <a:lnTo>
                      <a:pt x="18" y="154"/>
                    </a:lnTo>
                    <a:lnTo>
                      <a:pt x="20" y="154"/>
                    </a:lnTo>
                    <a:close/>
                    <a:moveTo>
                      <a:pt x="12" y="148"/>
                    </a:moveTo>
                    <a:lnTo>
                      <a:pt x="12" y="146"/>
                    </a:lnTo>
                    <a:lnTo>
                      <a:pt x="12" y="148"/>
                    </a:lnTo>
                    <a:close/>
                    <a:moveTo>
                      <a:pt x="4" y="140"/>
                    </a:moveTo>
                    <a:lnTo>
                      <a:pt x="4" y="142"/>
                    </a:lnTo>
                    <a:lnTo>
                      <a:pt x="4" y="140"/>
                    </a:lnTo>
                    <a:close/>
                    <a:moveTo>
                      <a:pt x="2" y="138"/>
                    </a:moveTo>
                    <a:lnTo>
                      <a:pt x="0" y="138"/>
                    </a:lnTo>
                    <a:lnTo>
                      <a:pt x="2" y="138"/>
                    </a:lnTo>
                    <a:close/>
                    <a:moveTo>
                      <a:pt x="6" y="140"/>
                    </a:moveTo>
                    <a:lnTo>
                      <a:pt x="4" y="140"/>
                    </a:lnTo>
                    <a:lnTo>
                      <a:pt x="6" y="140"/>
                    </a:lnTo>
                    <a:close/>
                    <a:moveTo>
                      <a:pt x="4" y="138"/>
                    </a:moveTo>
                    <a:lnTo>
                      <a:pt x="4" y="140"/>
                    </a:lnTo>
                    <a:lnTo>
                      <a:pt x="4" y="138"/>
                    </a:lnTo>
                    <a:close/>
                    <a:moveTo>
                      <a:pt x="4" y="136"/>
                    </a:moveTo>
                    <a:lnTo>
                      <a:pt x="2" y="136"/>
                    </a:lnTo>
                    <a:lnTo>
                      <a:pt x="4" y="136"/>
                    </a:lnTo>
                    <a:close/>
                    <a:moveTo>
                      <a:pt x="10" y="138"/>
                    </a:moveTo>
                    <a:lnTo>
                      <a:pt x="10" y="136"/>
                    </a:lnTo>
                    <a:lnTo>
                      <a:pt x="10" y="138"/>
                    </a:lnTo>
                    <a:close/>
                    <a:moveTo>
                      <a:pt x="18" y="142"/>
                    </a:moveTo>
                    <a:lnTo>
                      <a:pt x="20" y="142"/>
                    </a:lnTo>
                    <a:lnTo>
                      <a:pt x="18" y="142"/>
                    </a:lnTo>
                    <a:close/>
                    <a:moveTo>
                      <a:pt x="23" y="138"/>
                    </a:moveTo>
                    <a:lnTo>
                      <a:pt x="22" y="138"/>
                    </a:lnTo>
                    <a:lnTo>
                      <a:pt x="23" y="138"/>
                    </a:lnTo>
                    <a:close/>
                    <a:moveTo>
                      <a:pt x="10" y="127"/>
                    </a:moveTo>
                    <a:lnTo>
                      <a:pt x="8" y="127"/>
                    </a:lnTo>
                    <a:lnTo>
                      <a:pt x="10" y="127"/>
                    </a:lnTo>
                    <a:close/>
                    <a:moveTo>
                      <a:pt x="8" y="125"/>
                    </a:moveTo>
                    <a:lnTo>
                      <a:pt x="8" y="123"/>
                    </a:lnTo>
                    <a:lnTo>
                      <a:pt x="8" y="125"/>
                    </a:lnTo>
                    <a:close/>
                    <a:moveTo>
                      <a:pt x="10" y="125"/>
                    </a:moveTo>
                    <a:lnTo>
                      <a:pt x="8" y="125"/>
                    </a:lnTo>
                    <a:lnTo>
                      <a:pt x="10" y="125"/>
                    </a:lnTo>
                    <a:close/>
                    <a:moveTo>
                      <a:pt x="8" y="125"/>
                    </a:moveTo>
                    <a:lnTo>
                      <a:pt x="8" y="123"/>
                    </a:lnTo>
                    <a:lnTo>
                      <a:pt x="8" y="125"/>
                    </a:lnTo>
                    <a:close/>
                    <a:moveTo>
                      <a:pt x="10" y="123"/>
                    </a:moveTo>
                    <a:lnTo>
                      <a:pt x="8" y="121"/>
                    </a:lnTo>
                    <a:lnTo>
                      <a:pt x="10" y="121"/>
                    </a:lnTo>
                    <a:lnTo>
                      <a:pt x="10" y="123"/>
                    </a:lnTo>
                    <a:close/>
                    <a:moveTo>
                      <a:pt x="14" y="121"/>
                    </a:moveTo>
                    <a:lnTo>
                      <a:pt x="12" y="121"/>
                    </a:lnTo>
                    <a:lnTo>
                      <a:pt x="14" y="121"/>
                    </a:lnTo>
                    <a:close/>
                    <a:moveTo>
                      <a:pt x="12" y="121"/>
                    </a:moveTo>
                    <a:lnTo>
                      <a:pt x="12" y="119"/>
                    </a:lnTo>
                    <a:lnTo>
                      <a:pt x="12" y="121"/>
                    </a:lnTo>
                    <a:close/>
                    <a:moveTo>
                      <a:pt x="14" y="121"/>
                    </a:moveTo>
                    <a:lnTo>
                      <a:pt x="14" y="119"/>
                    </a:lnTo>
                    <a:lnTo>
                      <a:pt x="14" y="121"/>
                    </a:lnTo>
                    <a:close/>
                    <a:moveTo>
                      <a:pt x="16" y="121"/>
                    </a:moveTo>
                    <a:lnTo>
                      <a:pt x="14" y="121"/>
                    </a:lnTo>
                    <a:lnTo>
                      <a:pt x="16" y="121"/>
                    </a:lnTo>
                    <a:close/>
                    <a:moveTo>
                      <a:pt x="22" y="123"/>
                    </a:moveTo>
                    <a:lnTo>
                      <a:pt x="20" y="123"/>
                    </a:lnTo>
                    <a:lnTo>
                      <a:pt x="22" y="123"/>
                    </a:lnTo>
                    <a:close/>
                    <a:moveTo>
                      <a:pt x="18" y="121"/>
                    </a:moveTo>
                    <a:lnTo>
                      <a:pt x="20" y="121"/>
                    </a:lnTo>
                    <a:lnTo>
                      <a:pt x="18" y="121"/>
                    </a:lnTo>
                    <a:close/>
                    <a:moveTo>
                      <a:pt x="16" y="117"/>
                    </a:moveTo>
                    <a:lnTo>
                      <a:pt x="16" y="119"/>
                    </a:lnTo>
                    <a:lnTo>
                      <a:pt x="16" y="117"/>
                    </a:lnTo>
                    <a:close/>
                    <a:moveTo>
                      <a:pt x="18" y="119"/>
                    </a:moveTo>
                    <a:lnTo>
                      <a:pt x="16" y="119"/>
                    </a:lnTo>
                    <a:lnTo>
                      <a:pt x="18" y="119"/>
                    </a:lnTo>
                    <a:close/>
                    <a:moveTo>
                      <a:pt x="16" y="117"/>
                    </a:moveTo>
                    <a:lnTo>
                      <a:pt x="14" y="117"/>
                    </a:lnTo>
                    <a:lnTo>
                      <a:pt x="16" y="117"/>
                    </a:lnTo>
                    <a:close/>
                    <a:moveTo>
                      <a:pt x="18" y="115"/>
                    </a:moveTo>
                    <a:lnTo>
                      <a:pt x="18" y="113"/>
                    </a:lnTo>
                    <a:lnTo>
                      <a:pt x="18" y="115"/>
                    </a:lnTo>
                    <a:close/>
                    <a:moveTo>
                      <a:pt x="22" y="115"/>
                    </a:moveTo>
                    <a:lnTo>
                      <a:pt x="20" y="115"/>
                    </a:lnTo>
                    <a:lnTo>
                      <a:pt x="22" y="115"/>
                    </a:lnTo>
                    <a:close/>
                    <a:moveTo>
                      <a:pt x="20" y="111"/>
                    </a:moveTo>
                    <a:lnTo>
                      <a:pt x="20" y="113"/>
                    </a:lnTo>
                    <a:lnTo>
                      <a:pt x="20" y="111"/>
                    </a:lnTo>
                    <a:close/>
                    <a:moveTo>
                      <a:pt x="18" y="111"/>
                    </a:moveTo>
                    <a:lnTo>
                      <a:pt x="16" y="111"/>
                    </a:lnTo>
                    <a:lnTo>
                      <a:pt x="18" y="111"/>
                    </a:lnTo>
                    <a:close/>
                    <a:moveTo>
                      <a:pt x="14" y="108"/>
                    </a:moveTo>
                    <a:lnTo>
                      <a:pt x="14" y="106"/>
                    </a:lnTo>
                    <a:lnTo>
                      <a:pt x="14" y="108"/>
                    </a:lnTo>
                    <a:close/>
                    <a:moveTo>
                      <a:pt x="25" y="113"/>
                    </a:moveTo>
                    <a:lnTo>
                      <a:pt x="23" y="113"/>
                    </a:lnTo>
                    <a:lnTo>
                      <a:pt x="25" y="113"/>
                    </a:lnTo>
                    <a:close/>
                    <a:moveTo>
                      <a:pt x="23" y="111"/>
                    </a:moveTo>
                    <a:lnTo>
                      <a:pt x="22" y="111"/>
                    </a:lnTo>
                    <a:lnTo>
                      <a:pt x="23" y="111"/>
                    </a:lnTo>
                    <a:close/>
                    <a:moveTo>
                      <a:pt x="18" y="109"/>
                    </a:moveTo>
                    <a:lnTo>
                      <a:pt x="18" y="108"/>
                    </a:lnTo>
                    <a:lnTo>
                      <a:pt x="18" y="109"/>
                    </a:lnTo>
                    <a:close/>
                    <a:moveTo>
                      <a:pt x="18" y="108"/>
                    </a:moveTo>
                    <a:lnTo>
                      <a:pt x="18" y="109"/>
                    </a:lnTo>
                    <a:lnTo>
                      <a:pt x="18" y="108"/>
                    </a:lnTo>
                    <a:close/>
                    <a:moveTo>
                      <a:pt x="23" y="111"/>
                    </a:moveTo>
                    <a:lnTo>
                      <a:pt x="22" y="111"/>
                    </a:lnTo>
                    <a:lnTo>
                      <a:pt x="23" y="111"/>
                    </a:lnTo>
                    <a:close/>
                    <a:moveTo>
                      <a:pt x="23" y="111"/>
                    </a:moveTo>
                    <a:lnTo>
                      <a:pt x="22" y="111"/>
                    </a:lnTo>
                    <a:lnTo>
                      <a:pt x="23" y="111"/>
                    </a:lnTo>
                    <a:close/>
                    <a:moveTo>
                      <a:pt x="22" y="109"/>
                    </a:moveTo>
                    <a:lnTo>
                      <a:pt x="22" y="111"/>
                    </a:lnTo>
                    <a:lnTo>
                      <a:pt x="22" y="109"/>
                    </a:lnTo>
                    <a:close/>
                    <a:moveTo>
                      <a:pt x="20" y="109"/>
                    </a:moveTo>
                    <a:lnTo>
                      <a:pt x="20" y="108"/>
                    </a:lnTo>
                    <a:lnTo>
                      <a:pt x="20" y="109"/>
                    </a:lnTo>
                    <a:close/>
                    <a:moveTo>
                      <a:pt x="20" y="109"/>
                    </a:moveTo>
                    <a:lnTo>
                      <a:pt x="20" y="108"/>
                    </a:lnTo>
                    <a:lnTo>
                      <a:pt x="20" y="109"/>
                    </a:lnTo>
                    <a:close/>
                    <a:moveTo>
                      <a:pt x="18" y="108"/>
                    </a:moveTo>
                    <a:lnTo>
                      <a:pt x="20" y="108"/>
                    </a:lnTo>
                    <a:lnTo>
                      <a:pt x="18" y="108"/>
                    </a:lnTo>
                    <a:close/>
                    <a:moveTo>
                      <a:pt x="20" y="108"/>
                    </a:moveTo>
                    <a:lnTo>
                      <a:pt x="18" y="108"/>
                    </a:lnTo>
                    <a:lnTo>
                      <a:pt x="20" y="108"/>
                    </a:lnTo>
                    <a:close/>
                    <a:moveTo>
                      <a:pt x="20" y="106"/>
                    </a:moveTo>
                    <a:lnTo>
                      <a:pt x="18" y="106"/>
                    </a:lnTo>
                    <a:lnTo>
                      <a:pt x="20" y="106"/>
                    </a:lnTo>
                    <a:close/>
                    <a:moveTo>
                      <a:pt x="23" y="106"/>
                    </a:moveTo>
                    <a:lnTo>
                      <a:pt x="22" y="106"/>
                    </a:lnTo>
                    <a:lnTo>
                      <a:pt x="23" y="106"/>
                    </a:lnTo>
                    <a:close/>
                    <a:moveTo>
                      <a:pt x="25" y="108"/>
                    </a:moveTo>
                    <a:lnTo>
                      <a:pt x="23" y="108"/>
                    </a:lnTo>
                    <a:lnTo>
                      <a:pt x="25" y="108"/>
                    </a:lnTo>
                    <a:close/>
                    <a:moveTo>
                      <a:pt x="22" y="106"/>
                    </a:moveTo>
                    <a:lnTo>
                      <a:pt x="22" y="104"/>
                    </a:lnTo>
                    <a:lnTo>
                      <a:pt x="22" y="106"/>
                    </a:lnTo>
                    <a:close/>
                    <a:moveTo>
                      <a:pt x="20" y="102"/>
                    </a:moveTo>
                    <a:lnTo>
                      <a:pt x="20" y="100"/>
                    </a:lnTo>
                    <a:lnTo>
                      <a:pt x="20" y="102"/>
                    </a:lnTo>
                    <a:close/>
                    <a:moveTo>
                      <a:pt x="20" y="102"/>
                    </a:moveTo>
                    <a:lnTo>
                      <a:pt x="20" y="100"/>
                    </a:lnTo>
                    <a:lnTo>
                      <a:pt x="20" y="102"/>
                    </a:lnTo>
                    <a:close/>
                    <a:moveTo>
                      <a:pt x="20" y="100"/>
                    </a:moveTo>
                    <a:lnTo>
                      <a:pt x="20" y="98"/>
                    </a:lnTo>
                    <a:lnTo>
                      <a:pt x="20" y="100"/>
                    </a:lnTo>
                    <a:close/>
                    <a:moveTo>
                      <a:pt x="20" y="96"/>
                    </a:moveTo>
                    <a:lnTo>
                      <a:pt x="20" y="98"/>
                    </a:lnTo>
                    <a:lnTo>
                      <a:pt x="20" y="96"/>
                    </a:lnTo>
                    <a:close/>
                    <a:moveTo>
                      <a:pt x="22" y="96"/>
                    </a:moveTo>
                    <a:lnTo>
                      <a:pt x="22" y="94"/>
                    </a:lnTo>
                    <a:lnTo>
                      <a:pt x="22" y="96"/>
                    </a:lnTo>
                    <a:close/>
                    <a:moveTo>
                      <a:pt x="23" y="96"/>
                    </a:moveTo>
                    <a:lnTo>
                      <a:pt x="23" y="94"/>
                    </a:lnTo>
                    <a:lnTo>
                      <a:pt x="23" y="96"/>
                    </a:lnTo>
                    <a:close/>
                    <a:moveTo>
                      <a:pt x="23" y="94"/>
                    </a:moveTo>
                    <a:lnTo>
                      <a:pt x="23" y="96"/>
                    </a:lnTo>
                    <a:lnTo>
                      <a:pt x="23" y="94"/>
                    </a:lnTo>
                    <a:close/>
                    <a:moveTo>
                      <a:pt x="23" y="81"/>
                    </a:moveTo>
                    <a:lnTo>
                      <a:pt x="22" y="81"/>
                    </a:lnTo>
                    <a:lnTo>
                      <a:pt x="23" y="81"/>
                    </a:lnTo>
                    <a:close/>
                    <a:moveTo>
                      <a:pt x="25" y="81"/>
                    </a:moveTo>
                    <a:lnTo>
                      <a:pt x="27" y="81"/>
                    </a:lnTo>
                    <a:lnTo>
                      <a:pt x="25" y="81"/>
                    </a:lnTo>
                    <a:close/>
                    <a:moveTo>
                      <a:pt x="27" y="83"/>
                    </a:moveTo>
                    <a:lnTo>
                      <a:pt x="27" y="81"/>
                    </a:lnTo>
                    <a:lnTo>
                      <a:pt x="27" y="83"/>
                    </a:lnTo>
                    <a:close/>
                    <a:moveTo>
                      <a:pt x="29" y="83"/>
                    </a:moveTo>
                    <a:lnTo>
                      <a:pt x="29" y="81"/>
                    </a:lnTo>
                    <a:lnTo>
                      <a:pt x="29" y="83"/>
                    </a:lnTo>
                    <a:close/>
                    <a:moveTo>
                      <a:pt x="29" y="83"/>
                    </a:moveTo>
                    <a:lnTo>
                      <a:pt x="29" y="81"/>
                    </a:lnTo>
                    <a:lnTo>
                      <a:pt x="29" y="83"/>
                    </a:lnTo>
                    <a:close/>
                    <a:moveTo>
                      <a:pt x="29" y="81"/>
                    </a:moveTo>
                    <a:lnTo>
                      <a:pt x="27" y="81"/>
                    </a:lnTo>
                    <a:lnTo>
                      <a:pt x="29" y="81"/>
                    </a:lnTo>
                    <a:close/>
                    <a:moveTo>
                      <a:pt x="37" y="79"/>
                    </a:moveTo>
                    <a:lnTo>
                      <a:pt x="35" y="79"/>
                    </a:lnTo>
                    <a:lnTo>
                      <a:pt x="37" y="77"/>
                    </a:lnTo>
                    <a:lnTo>
                      <a:pt x="37" y="79"/>
                    </a:lnTo>
                    <a:close/>
                    <a:moveTo>
                      <a:pt x="37" y="77"/>
                    </a:moveTo>
                    <a:lnTo>
                      <a:pt x="37" y="75"/>
                    </a:lnTo>
                    <a:lnTo>
                      <a:pt x="37" y="77"/>
                    </a:lnTo>
                    <a:close/>
                    <a:moveTo>
                      <a:pt x="39" y="73"/>
                    </a:moveTo>
                    <a:lnTo>
                      <a:pt x="39" y="75"/>
                    </a:lnTo>
                    <a:lnTo>
                      <a:pt x="39" y="73"/>
                    </a:lnTo>
                    <a:close/>
                    <a:moveTo>
                      <a:pt x="39" y="75"/>
                    </a:moveTo>
                    <a:lnTo>
                      <a:pt x="39" y="73"/>
                    </a:lnTo>
                    <a:lnTo>
                      <a:pt x="39" y="75"/>
                    </a:lnTo>
                    <a:close/>
                    <a:moveTo>
                      <a:pt x="39" y="73"/>
                    </a:moveTo>
                    <a:lnTo>
                      <a:pt x="39" y="71"/>
                    </a:lnTo>
                    <a:lnTo>
                      <a:pt x="39" y="73"/>
                    </a:lnTo>
                    <a:close/>
                    <a:moveTo>
                      <a:pt x="45" y="73"/>
                    </a:moveTo>
                    <a:lnTo>
                      <a:pt x="45" y="71"/>
                    </a:lnTo>
                    <a:lnTo>
                      <a:pt x="45" y="73"/>
                    </a:lnTo>
                    <a:close/>
                    <a:moveTo>
                      <a:pt x="43" y="71"/>
                    </a:moveTo>
                    <a:lnTo>
                      <a:pt x="43" y="69"/>
                    </a:lnTo>
                    <a:lnTo>
                      <a:pt x="43" y="71"/>
                    </a:lnTo>
                    <a:close/>
                    <a:moveTo>
                      <a:pt x="43" y="71"/>
                    </a:moveTo>
                    <a:lnTo>
                      <a:pt x="45" y="71"/>
                    </a:lnTo>
                    <a:lnTo>
                      <a:pt x="43" y="71"/>
                    </a:lnTo>
                    <a:close/>
                    <a:moveTo>
                      <a:pt x="45" y="71"/>
                    </a:moveTo>
                    <a:lnTo>
                      <a:pt x="45" y="69"/>
                    </a:lnTo>
                    <a:lnTo>
                      <a:pt x="45" y="71"/>
                    </a:lnTo>
                    <a:close/>
                    <a:moveTo>
                      <a:pt x="43" y="67"/>
                    </a:moveTo>
                    <a:lnTo>
                      <a:pt x="41" y="67"/>
                    </a:lnTo>
                    <a:lnTo>
                      <a:pt x="43" y="67"/>
                    </a:lnTo>
                    <a:close/>
                    <a:moveTo>
                      <a:pt x="43" y="67"/>
                    </a:moveTo>
                    <a:lnTo>
                      <a:pt x="41" y="67"/>
                    </a:lnTo>
                    <a:lnTo>
                      <a:pt x="43" y="67"/>
                    </a:lnTo>
                    <a:close/>
                    <a:moveTo>
                      <a:pt x="43" y="69"/>
                    </a:moveTo>
                    <a:lnTo>
                      <a:pt x="43" y="67"/>
                    </a:lnTo>
                    <a:lnTo>
                      <a:pt x="43" y="69"/>
                    </a:lnTo>
                    <a:close/>
                    <a:moveTo>
                      <a:pt x="43" y="67"/>
                    </a:moveTo>
                    <a:lnTo>
                      <a:pt x="43" y="69"/>
                    </a:lnTo>
                    <a:lnTo>
                      <a:pt x="43" y="67"/>
                    </a:lnTo>
                    <a:close/>
                    <a:moveTo>
                      <a:pt x="45" y="67"/>
                    </a:moveTo>
                    <a:lnTo>
                      <a:pt x="43" y="67"/>
                    </a:lnTo>
                    <a:lnTo>
                      <a:pt x="45" y="67"/>
                    </a:lnTo>
                    <a:close/>
                    <a:moveTo>
                      <a:pt x="48" y="71"/>
                    </a:moveTo>
                    <a:lnTo>
                      <a:pt x="47" y="71"/>
                    </a:lnTo>
                    <a:lnTo>
                      <a:pt x="48" y="71"/>
                    </a:lnTo>
                    <a:close/>
                    <a:moveTo>
                      <a:pt x="47" y="71"/>
                    </a:moveTo>
                    <a:lnTo>
                      <a:pt x="48" y="71"/>
                    </a:lnTo>
                    <a:lnTo>
                      <a:pt x="47" y="71"/>
                    </a:lnTo>
                    <a:close/>
                    <a:moveTo>
                      <a:pt x="43" y="67"/>
                    </a:moveTo>
                    <a:lnTo>
                      <a:pt x="43" y="65"/>
                    </a:lnTo>
                    <a:lnTo>
                      <a:pt x="43" y="67"/>
                    </a:lnTo>
                    <a:close/>
                    <a:moveTo>
                      <a:pt x="45" y="67"/>
                    </a:moveTo>
                    <a:lnTo>
                      <a:pt x="43" y="67"/>
                    </a:lnTo>
                    <a:lnTo>
                      <a:pt x="43" y="65"/>
                    </a:lnTo>
                    <a:lnTo>
                      <a:pt x="45" y="65"/>
                    </a:lnTo>
                    <a:lnTo>
                      <a:pt x="45" y="67"/>
                    </a:lnTo>
                    <a:close/>
                    <a:moveTo>
                      <a:pt x="45" y="65"/>
                    </a:moveTo>
                    <a:lnTo>
                      <a:pt x="43" y="65"/>
                    </a:lnTo>
                    <a:lnTo>
                      <a:pt x="45" y="65"/>
                    </a:lnTo>
                    <a:close/>
                    <a:moveTo>
                      <a:pt x="48" y="69"/>
                    </a:moveTo>
                    <a:lnTo>
                      <a:pt x="47" y="69"/>
                    </a:lnTo>
                    <a:lnTo>
                      <a:pt x="48" y="69"/>
                    </a:lnTo>
                    <a:close/>
                    <a:moveTo>
                      <a:pt x="50" y="71"/>
                    </a:moveTo>
                    <a:lnTo>
                      <a:pt x="50" y="69"/>
                    </a:lnTo>
                    <a:lnTo>
                      <a:pt x="50" y="71"/>
                    </a:lnTo>
                    <a:lnTo>
                      <a:pt x="50" y="69"/>
                    </a:lnTo>
                    <a:lnTo>
                      <a:pt x="50" y="71"/>
                    </a:lnTo>
                    <a:close/>
                    <a:moveTo>
                      <a:pt x="45" y="65"/>
                    </a:moveTo>
                    <a:lnTo>
                      <a:pt x="43" y="65"/>
                    </a:lnTo>
                    <a:lnTo>
                      <a:pt x="45" y="65"/>
                    </a:lnTo>
                    <a:close/>
                    <a:moveTo>
                      <a:pt x="48" y="67"/>
                    </a:moveTo>
                    <a:lnTo>
                      <a:pt x="47" y="67"/>
                    </a:lnTo>
                    <a:lnTo>
                      <a:pt x="48" y="67"/>
                    </a:lnTo>
                    <a:close/>
                    <a:moveTo>
                      <a:pt x="43" y="65"/>
                    </a:moveTo>
                    <a:lnTo>
                      <a:pt x="45" y="65"/>
                    </a:lnTo>
                    <a:lnTo>
                      <a:pt x="43" y="65"/>
                    </a:lnTo>
                    <a:close/>
                    <a:moveTo>
                      <a:pt x="50" y="69"/>
                    </a:moveTo>
                    <a:lnTo>
                      <a:pt x="50" y="67"/>
                    </a:lnTo>
                    <a:lnTo>
                      <a:pt x="50" y="69"/>
                    </a:lnTo>
                    <a:close/>
                    <a:moveTo>
                      <a:pt x="48" y="63"/>
                    </a:moveTo>
                    <a:lnTo>
                      <a:pt x="48" y="65"/>
                    </a:lnTo>
                    <a:lnTo>
                      <a:pt x="48" y="63"/>
                    </a:lnTo>
                    <a:close/>
                    <a:moveTo>
                      <a:pt x="52" y="65"/>
                    </a:moveTo>
                    <a:lnTo>
                      <a:pt x="52" y="63"/>
                    </a:lnTo>
                    <a:lnTo>
                      <a:pt x="52" y="65"/>
                    </a:lnTo>
                    <a:close/>
                    <a:moveTo>
                      <a:pt x="50" y="63"/>
                    </a:moveTo>
                    <a:lnTo>
                      <a:pt x="48" y="63"/>
                    </a:lnTo>
                    <a:lnTo>
                      <a:pt x="48" y="61"/>
                    </a:lnTo>
                    <a:lnTo>
                      <a:pt x="50" y="63"/>
                    </a:lnTo>
                    <a:close/>
                    <a:moveTo>
                      <a:pt x="50" y="63"/>
                    </a:moveTo>
                    <a:lnTo>
                      <a:pt x="50" y="61"/>
                    </a:lnTo>
                    <a:lnTo>
                      <a:pt x="50" y="63"/>
                    </a:lnTo>
                    <a:close/>
                    <a:moveTo>
                      <a:pt x="50" y="63"/>
                    </a:moveTo>
                    <a:lnTo>
                      <a:pt x="50" y="61"/>
                    </a:lnTo>
                    <a:lnTo>
                      <a:pt x="50" y="63"/>
                    </a:lnTo>
                    <a:close/>
                    <a:moveTo>
                      <a:pt x="50" y="58"/>
                    </a:moveTo>
                    <a:lnTo>
                      <a:pt x="48" y="58"/>
                    </a:lnTo>
                    <a:lnTo>
                      <a:pt x="50" y="58"/>
                    </a:lnTo>
                    <a:close/>
                    <a:moveTo>
                      <a:pt x="50" y="58"/>
                    </a:moveTo>
                    <a:lnTo>
                      <a:pt x="48" y="58"/>
                    </a:lnTo>
                    <a:lnTo>
                      <a:pt x="50" y="58"/>
                    </a:lnTo>
                    <a:close/>
                    <a:moveTo>
                      <a:pt x="48" y="58"/>
                    </a:moveTo>
                    <a:lnTo>
                      <a:pt x="48" y="56"/>
                    </a:lnTo>
                    <a:lnTo>
                      <a:pt x="48" y="58"/>
                    </a:lnTo>
                    <a:close/>
                    <a:moveTo>
                      <a:pt x="50" y="56"/>
                    </a:moveTo>
                    <a:lnTo>
                      <a:pt x="48" y="56"/>
                    </a:lnTo>
                    <a:lnTo>
                      <a:pt x="50" y="56"/>
                    </a:lnTo>
                    <a:close/>
                    <a:moveTo>
                      <a:pt x="48" y="38"/>
                    </a:moveTo>
                    <a:lnTo>
                      <a:pt x="48" y="36"/>
                    </a:lnTo>
                    <a:lnTo>
                      <a:pt x="48" y="38"/>
                    </a:lnTo>
                    <a:close/>
                    <a:moveTo>
                      <a:pt x="48" y="33"/>
                    </a:moveTo>
                    <a:lnTo>
                      <a:pt x="48" y="34"/>
                    </a:lnTo>
                    <a:lnTo>
                      <a:pt x="48" y="33"/>
                    </a:lnTo>
                    <a:close/>
                    <a:moveTo>
                      <a:pt x="31" y="17"/>
                    </a:moveTo>
                    <a:lnTo>
                      <a:pt x="31" y="15"/>
                    </a:lnTo>
                    <a:lnTo>
                      <a:pt x="31" y="17"/>
                    </a:lnTo>
                    <a:close/>
                    <a:moveTo>
                      <a:pt x="43" y="23"/>
                    </a:moveTo>
                    <a:lnTo>
                      <a:pt x="43" y="25"/>
                    </a:lnTo>
                    <a:lnTo>
                      <a:pt x="43" y="23"/>
                    </a:lnTo>
                    <a:close/>
                    <a:moveTo>
                      <a:pt x="45" y="25"/>
                    </a:moveTo>
                    <a:lnTo>
                      <a:pt x="45" y="23"/>
                    </a:lnTo>
                    <a:lnTo>
                      <a:pt x="45" y="25"/>
                    </a:lnTo>
                    <a:close/>
                    <a:moveTo>
                      <a:pt x="37" y="17"/>
                    </a:moveTo>
                    <a:lnTo>
                      <a:pt x="35" y="17"/>
                    </a:lnTo>
                    <a:lnTo>
                      <a:pt x="37" y="17"/>
                    </a:lnTo>
                    <a:close/>
                    <a:moveTo>
                      <a:pt x="47" y="23"/>
                    </a:moveTo>
                    <a:lnTo>
                      <a:pt x="47" y="21"/>
                    </a:lnTo>
                    <a:lnTo>
                      <a:pt x="47" y="23"/>
                    </a:lnTo>
                    <a:close/>
                    <a:moveTo>
                      <a:pt x="43" y="19"/>
                    </a:moveTo>
                    <a:lnTo>
                      <a:pt x="43" y="17"/>
                    </a:lnTo>
                    <a:lnTo>
                      <a:pt x="43" y="19"/>
                    </a:lnTo>
                    <a:close/>
                    <a:moveTo>
                      <a:pt x="43" y="19"/>
                    </a:moveTo>
                    <a:lnTo>
                      <a:pt x="43" y="17"/>
                    </a:lnTo>
                    <a:lnTo>
                      <a:pt x="43" y="19"/>
                    </a:lnTo>
                    <a:close/>
                    <a:moveTo>
                      <a:pt x="43" y="17"/>
                    </a:moveTo>
                    <a:lnTo>
                      <a:pt x="41" y="17"/>
                    </a:lnTo>
                    <a:lnTo>
                      <a:pt x="43" y="17"/>
                    </a:lnTo>
                    <a:close/>
                    <a:moveTo>
                      <a:pt x="45" y="19"/>
                    </a:moveTo>
                    <a:lnTo>
                      <a:pt x="45" y="17"/>
                    </a:lnTo>
                    <a:lnTo>
                      <a:pt x="45" y="19"/>
                    </a:lnTo>
                    <a:close/>
                    <a:moveTo>
                      <a:pt x="47" y="15"/>
                    </a:moveTo>
                    <a:lnTo>
                      <a:pt x="45" y="17"/>
                    </a:lnTo>
                    <a:lnTo>
                      <a:pt x="45" y="15"/>
                    </a:lnTo>
                    <a:lnTo>
                      <a:pt x="47" y="15"/>
                    </a:lnTo>
                    <a:close/>
                    <a:moveTo>
                      <a:pt x="43" y="11"/>
                    </a:moveTo>
                    <a:lnTo>
                      <a:pt x="43" y="9"/>
                    </a:lnTo>
                    <a:lnTo>
                      <a:pt x="43" y="11"/>
                    </a:lnTo>
                    <a:close/>
                    <a:moveTo>
                      <a:pt x="45" y="11"/>
                    </a:moveTo>
                    <a:lnTo>
                      <a:pt x="43" y="11"/>
                    </a:lnTo>
                    <a:lnTo>
                      <a:pt x="45" y="11"/>
                    </a:lnTo>
                    <a:close/>
                    <a:moveTo>
                      <a:pt x="45" y="11"/>
                    </a:moveTo>
                    <a:lnTo>
                      <a:pt x="45" y="9"/>
                    </a:lnTo>
                    <a:lnTo>
                      <a:pt x="45" y="11"/>
                    </a:lnTo>
                    <a:close/>
                    <a:moveTo>
                      <a:pt x="39" y="6"/>
                    </a:moveTo>
                    <a:lnTo>
                      <a:pt x="41" y="6"/>
                    </a:lnTo>
                    <a:lnTo>
                      <a:pt x="39" y="6"/>
                    </a:lnTo>
                    <a:close/>
                    <a:moveTo>
                      <a:pt x="35" y="2"/>
                    </a:moveTo>
                    <a:lnTo>
                      <a:pt x="35" y="0"/>
                    </a:lnTo>
                    <a:lnTo>
                      <a:pt x="35" y="2"/>
                    </a:lnTo>
                    <a:close/>
                    <a:moveTo>
                      <a:pt x="37" y="2"/>
                    </a:moveTo>
                    <a:lnTo>
                      <a:pt x="35" y="2"/>
                    </a:lnTo>
                    <a:lnTo>
                      <a:pt x="37"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8" name="Freeform 98"/>
              <p:cNvSpPr>
                <a:spLocks/>
              </p:cNvSpPr>
              <p:nvPr/>
            </p:nvSpPr>
            <p:spPr bwMode="auto">
              <a:xfrm>
                <a:off x="3526565" y="3424688"/>
                <a:ext cx="258094" cy="490379"/>
              </a:xfrm>
              <a:custGeom>
                <a:avLst/>
                <a:gdLst>
                  <a:gd name="T0" fmla="*/ 85 w 150"/>
                  <a:gd name="T1" fmla="*/ 229 h 285"/>
                  <a:gd name="T2" fmla="*/ 79 w 150"/>
                  <a:gd name="T3" fmla="*/ 240 h 285"/>
                  <a:gd name="T4" fmla="*/ 81 w 150"/>
                  <a:gd name="T5" fmla="*/ 258 h 285"/>
                  <a:gd name="T6" fmla="*/ 69 w 150"/>
                  <a:gd name="T7" fmla="*/ 265 h 285"/>
                  <a:gd name="T8" fmla="*/ 54 w 150"/>
                  <a:gd name="T9" fmla="*/ 265 h 285"/>
                  <a:gd name="T10" fmla="*/ 50 w 150"/>
                  <a:gd name="T11" fmla="*/ 262 h 285"/>
                  <a:gd name="T12" fmla="*/ 40 w 150"/>
                  <a:gd name="T13" fmla="*/ 265 h 285"/>
                  <a:gd name="T14" fmla="*/ 29 w 150"/>
                  <a:gd name="T15" fmla="*/ 267 h 285"/>
                  <a:gd name="T16" fmla="*/ 25 w 150"/>
                  <a:gd name="T17" fmla="*/ 283 h 285"/>
                  <a:gd name="T18" fmla="*/ 14 w 150"/>
                  <a:gd name="T19" fmla="*/ 279 h 285"/>
                  <a:gd name="T20" fmla="*/ 4 w 150"/>
                  <a:gd name="T21" fmla="*/ 271 h 285"/>
                  <a:gd name="T22" fmla="*/ 6 w 150"/>
                  <a:gd name="T23" fmla="*/ 262 h 285"/>
                  <a:gd name="T24" fmla="*/ 8 w 150"/>
                  <a:gd name="T25" fmla="*/ 250 h 285"/>
                  <a:gd name="T26" fmla="*/ 0 w 150"/>
                  <a:gd name="T27" fmla="*/ 246 h 285"/>
                  <a:gd name="T28" fmla="*/ 10 w 150"/>
                  <a:gd name="T29" fmla="*/ 233 h 285"/>
                  <a:gd name="T30" fmla="*/ 21 w 150"/>
                  <a:gd name="T31" fmla="*/ 227 h 285"/>
                  <a:gd name="T32" fmla="*/ 29 w 150"/>
                  <a:gd name="T33" fmla="*/ 219 h 285"/>
                  <a:gd name="T34" fmla="*/ 35 w 150"/>
                  <a:gd name="T35" fmla="*/ 210 h 285"/>
                  <a:gd name="T36" fmla="*/ 48 w 150"/>
                  <a:gd name="T37" fmla="*/ 196 h 285"/>
                  <a:gd name="T38" fmla="*/ 52 w 150"/>
                  <a:gd name="T39" fmla="*/ 187 h 285"/>
                  <a:gd name="T40" fmla="*/ 50 w 150"/>
                  <a:gd name="T41" fmla="*/ 175 h 285"/>
                  <a:gd name="T42" fmla="*/ 48 w 150"/>
                  <a:gd name="T43" fmla="*/ 162 h 285"/>
                  <a:gd name="T44" fmla="*/ 48 w 150"/>
                  <a:gd name="T45" fmla="*/ 148 h 285"/>
                  <a:gd name="T46" fmla="*/ 40 w 150"/>
                  <a:gd name="T47" fmla="*/ 144 h 285"/>
                  <a:gd name="T48" fmla="*/ 44 w 150"/>
                  <a:gd name="T49" fmla="*/ 131 h 285"/>
                  <a:gd name="T50" fmla="*/ 50 w 150"/>
                  <a:gd name="T51" fmla="*/ 119 h 285"/>
                  <a:gd name="T52" fmla="*/ 56 w 150"/>
                  <a:gd name="T53" fmla="*/ 110 h 285"/>
                  <a:gd name="T54" fmla="*/ 52 w 150"/>
                  <a:gd name="T55" fmla="*/ 100 h 285"/>
                  <a:gd name="T56" fmla="*/ 58 w 150"/>
                  <a:gd name="T57" fmla="*/ 87 h 285"/>
                  <a:gd name="T58" fmla="*/ 56 w 150"/>
                  <a:gd name="T59" fmla="*/ 75 h 285"/>
                  <a:gd name="T60" fmla="*/ 46 w 150"/>
                  <a:gd name="T61" fmla="*/ 69 h 285"/>
                  <a:gd name="T62" fmla="*/ 40 w 150"/>
                  <a:gd name="T63" fmla="*/ 77 h 285"/>
                  <a:gd name="T64" fmla="*/ 33 w 150"/>
                  <a:gd name="T65" fmla="*/ 71 h 285"/>
                  <a:gd name="T66" fmla="*/ 40 w 150"/>
                  <a:gd name="T67" fmla="*/ 62 h 285"/>
                  <a:gd name="T68" fmla="*/ 42 w 150"/>
                  <a:gd name="T69" fmla="*/ 48 h 285"/>
                  <a:gd name="T70" fmla="*/ 42 w 150"/>
                  <a:gd name="T71" fmla="*/ 37 h 285"/>
                  <a:gd name="T72" fmla="*/ 40 w 150"/>
                  <a:gd name="T73" fmla="*/ 25 h 285"/>
                  <a:gd name="T74" fmla="*/ 39 w 150"/>
                  <a:gd name="T75" fmla="*/ 15 h 285"/>
                  <a:gd name="T76" fmla="*/ 39 w 150"/>
                  <a:gd name="T77" fmla="*/ 8 h 285"/>
                  <a:gd name="T78" fmla="*/ 48 w 150"/>
                  <a:gd name="T79" fmla="*/ 0 h 285"/>
                  <a:gd name="T80" fmla="*/ 58 w 150"/>
                  <a:gd name="T81" fmla="*/ 10 h 285"/>
                  <a:gd name="T82" fmla="*/ 65 w 150"/>
                  <a:gd name="T83" fmla="*/ 23 h 285"/>
                  <a:gd name="T84" fmla="*/ 73 w 150"/>
                  <a:gd name="T85" fmla="*/ 27 h 285"/>
                  <a:gd name="T86" fmla="*/ 81 w 150"/>
                  <a:gd name="T87" fmla="*/ 27 h 285"/>
                  <a:gd name="T88" fmla="*/ 92 w 150"/>
                  <a:gd name="T89" fmla="*/ 25 h 285"/>
                  <a:gd name="T90" fmla="*/ 100 w 150"/>
                  <a:gd name="T91" fmla="*/ 27 h 285"/>
                  <a:gd name="T92" fmla="*/ 106 w 150"/>
                  <a:gd name="T93" fmla="*/ 37 h 285"/>
                  <a:gd name="T94" fmla="*/ 119 w 150"/>
                  <a:gd name="T95" fmla="*/ 44 h 285"/>
                  <a:gd name="T96" fmla="*/ 127 w 150"/>
                  <a:gd name="T97" fmla="*/ 65 h 285"/>
                  <a:gd name="T98" fmla="*/ 133 w 150"/>
                  <a:gd name="T99" fmla="*/ 83 h 285"/>
                  <a:gd name="T100" fmla="*/ 138 w 150"/>
                  <a:gd name="T101" fmla="*/ 102 h 285"/>
                  <a:gd name="T102" fmla="*/ 135 w 150"/>
                  <a:gd name="T103" fmla="*/ 112 h 285"/>
                  <a:gd name="T104" fmla="*/ 138 w 150"/>
                  <a:gd name="T105" fmla="*/ 121 h 285"/>
                  <a:gd name="T106" fmla="*/ 140 w 150"/>
                  <a:gd name="T107" fmla="*/ 133 h 285"/>
                  <a:gd name="T108" fmla="*/ 148 w 150"/>
                  <a:gd name="T109" fmla="*/ 140 h 285"/>
                  <a:gd name="T110" fmla="*/ 148 w 150"/>
                  <a:gd name="T111" fmla="*/ 150 h 285"/>
                  <a:gd name="T112" fmla="*/ 138 w 150"/>
                  <a:gd name="T113" fmla="*/ 162 h 285"/>
                  <a:gd name="T114" fmla="*/ 135 w 150"/>
                  <a:gd name="T115" fmla="*/ 171 h 285"/>
                  <a:gd name="T116" fmla="*/ 129 w 150"/>
                  <a:gd name="T117" fmla="*/ 185 h 285"/>
                  <a:gd name="T118" fmla="*/ 123 w 150"/>
                  <a:gd name="T119" fmla="*/ 198 h 285"/>
                  <a:gd name="T120" fmla="*/ 110 w 150"/>
                  <a:gd name="T121" fmla="*/ 202 h 285"/>
                  <a:gd name="T122" fmla="*/ 96 w 150"/>
                  <a:gd name="T123" fmla="*/ 22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0" h="285">
                    <a:moveTo>
                      <a:pt x="96" y="227"/>
                    </a:moveTo>
                    <a:lnTo>
                      <a:pt x="94" y="227"/>
                    </a:lnTo>
                    <a:lnTo>
                      <a:pt x="92" y="227"/>
                    </a:lnTo>
                    <a:lnTo>
                      <a:pt x="92" y="225"/>
                    </a:lnTo>
                    <a:lnTo>
                      <a:pt x="90" y="225"/>
                    </a:lnTo>
                    <a:lnTo>
                      <a:pt x="90" y="227"/>
                    </a:lnTo>
                    <a:lnTo>
                      <a:pt x="89" y="227"/>
                    </a:lnTo>
                    <a:lnTo>
                      <a:pt x="87" y="229"/>
                    </a:lnTo>
                    <a:lnTo>
                      <a:pt x="85" y="229"/>
                    </a:lnTo>
                    <a:lnTo>
                      <a:pt x="83" y="229"/>
                    </a:lnTo>
                    <a:lnTo>
                      <a:pt x="85" y="231"/>
                    </a:lnTo>
                    <a:lnTo>
                      <a:pt x="83" y="231"/>
                    </a:lnTo>
                    <a:lnTo>
                      <a:pt x="85" y="233"/>
                    </a:lnTo>
                    <a:lnTo>
                      <a:pt x="85" y="235"/>
                    </a:lnTo>
                    <a:lnTo>
                      <a:pt x="83" y="235"/>
                    </a:lnTo>
                    <a:lnTo>
                      <a:pt x="81" y="237"/>
                    </a:lnTo>
                    <a:lnTo>
                      <a:pt x="81" y="238"/>
                    </a:lnTo>
                    <a:lnTo>
                      <a:pt x="79" y="240"/>
                    </a:lnTo>
                    <a:lnTo>
                      <a:pt x="79" y="242"/>
                    </a:lnTo>
                    <a:lnTo>
                      <a:pt x="81" y="242"/>
                    </a:lnTo>
                    <a:lnTo>
                      <a:pt x="81" y="244"/>
                    </a:lnTo>
                    <a:lnTo>
                      <a:pt x="81" y="248"/>
                    </a:lnTo>
                    <a:lnTo>
                      <a:pt x="81" y="250"/>
                    </a:lnTo>
                    <a:lnTo>
                      <a:pt x="81" y="254"/>
                    </a:lnTo>
                    <a:lnTo>
                      <a:pt x="83" y="256"/>
                    </a:lnTo>
                    <a:lnTo>
                      <a:pt x="81" y="256"/>
                    </a:lnTo>
                    <a:lnTo>
                      <a:pt x="81" y="258"/>
                    </a:lnTo>
                    <a:lnTo>
                      <a:pt x="79" y="256"/>
                    </a:lnTo>
                    <a:lnTo>
                      <a:pt x="77" y="256"/>
                    </a:lnTo>
                    <a:lnTo>
                      <a:pt x="75" y="256"/>
                    </a:lnTo>
                    <a:lnTo>
                      <a:pt x="73" y="258"/>
                    </a:lnTo>
                    <a:lnTo>
                      <a:pt x="73" y="260"/>
                    </a:lnTo>
                    <a:lnTo>
                      <a:pt x="71" y="260"/>
                    </a:lnTo>
                    <a:lnTo>
                      <a:pt x="71" y="262"/>
                    </a:lnTo>
                    <a:lnTo>
                      <a:pt x="69" y="263"/>
                    </a:lnTo>
                    <a:lnTo>
                      <a:pt x="69" y="265"/>
                    </a:lnTo>
                    <a:lnTo>
                      <a:pt x="67" y="267"/>
                    </a:lnTo>
                    <a:lnTo>
                      <a:pt x="65" y="269"/>
                    </a:lnTo>
                    <a:lnTo>
                      <a:pt x="64" y="269"/>
                    </a:lnTo>
                    <a:lnTo>
                      <a:pt x="62" y="271"/>
                    </a:lnTo>
                    <a:lnTo>
                      <a:pt x="62" y="269"/>
                    </a:lnTo>
                    <a:lnTo>
                      <a:pt x="60" y="267"/>
                    </a:lnTo>
                    <a:lnTo>
                      <a:pt x="58" y="265"/>
                    </a:lnTo>
                    <a:lnTo>
                      <a:pt x="56" y="265"/>
                    </a:lnTo>
                    <a:lnTo>
                      <a:pt x="54" y="265"/>
                    </a:lnTo>
                    <a:lnTo>
                      <a:pt x="52" y="265"/>
                    </a:lnTo>
                    <a:lnTo>
                      <a:pt x="52" y="267"/>
                    </a:lnTo>
                    <a:lnTo>
                      <a:pt x="50" y="269"/>
                    </a:lnTo>
                    <a:lnTo>
                      <a:pt x="48" y="267"/>
                    </a:lnTo>
                    <a:lnTo>
                      <a:pt x="50" y="265"/>
                    </a:lnTo>
                    <a:lnTo>
                      <a:pt x="50" y="263"/>
                    </a:lnTo>
                    <a:lnTo>
                      <a:pt x="50" y="262"/>
                    </a:lnTo>
                    <a:lnTo>
                      <a:pt x="50" y="260"/>
                    </a:lnTo>
                    <a:lnTo>
                      <a:pt x="50" y="262"/>
                    </a:lnTo>
                    <a:lnTo>
                      <a:pt x="48" y="262"/>
                    </a:lnTo>
                    <a:lnTo>
                      <a:pt x="48" y="260"/>
                    </a:lnTo>
                    <a:lnTo>
                      <a:pt x="48" y="262"/>
                    </a:lnTo>
                    <a:lnTo>
                      <a:pt x="46" y="262"/>
                    </a:lnTo>
                    <a:lnTo>
                      <a:pt x="44" y="262"/>
                    </a:lnTo>
                    <a:lnTo>
                      <a:pt x="44" y="263"/>
                    </a:lnTo>
                    <a:lnTo>
                      <a:pt x="44" y="265"/>
                    </a:lnTo>
                    <a:lnTo>
                      <a:pt x="42" y="265"/>
                    </a:lnTo>
                    <a:lnTo>
                      <a:pt x="40" y="265"/>
                    </a:lnTo>
                    <a:lnTo>
                      <a:pt x="39" y="267"/>
                    </a:lnTo>
                    <a:lnTo>
                      <a:pt x="39" y="265"/>
                    </a:lnTo>
                    <a:lnTo>
                      <a:pt x="37" y="265"/>
                    </a:lnTo>
                    <a:lnTo>
                      <a:pt x="37" y="267"/>
                    </a:lnTo>
                    <a:lnTo>
                      <a:pt x="35" y="265"/>
                    </a:lnTo>
                    <a:lnTo>
                      <a:pt x="33" y="265"/>
                    </a:lnTo>
                    <a:lnTo>
                      <a:pt x="31" y="265"/>
                    </a:lnTo>
                    <a:lnTo>
                      <a:pt x="31" y="267"/>
                    </a:lnTo>
                    <a:lnTo>
                      <a:pt x="29" y="267"/>
                    </a:lnTo>
                    <a:lnTo>
                      <a:pt x="29" y="269"/>
                    </a:lnTo>
                    <a:lnTo>
                      <a:pt x="29" y="271"/>
                    </a:lnTo>
                    <a:lnTo>
                      <a:pt x="29" y="275"/>
                    </a:lnTo>
                    <a:lnTo>
                      <a:pt x="29" y="277"/>
                    </a:lnTo>
                    <a:lnTo>
                      <a:pt x="29" y="279"/>
                    </a:lnTo>
                    <a:lnTo>
                      <a:pt x="27" y="279"/>
                    </a:lnTo>
                    <a:lnTo>
                      <a:pt x="27" y="281"/>
                    </a:lnTo>
                    <a:lnTo>
                      <a:pt x="25" y="281"/>
                    </a:lnTo>
                    <a:lnTo>
                      <a:pt x="25" y="283"/>
                    </a:lnTo>
                    <a:lnTo>
                      <a:pt x="23" y="283"/>
                    </a:lnTo>
                    <a:lnTo>
                      <a:pt x="21" y="285"/>
                    </a:lnTo>
                    <a:lnTo>
                      <a:pt x="21" y="283"/>
                    </a:lnTo>
                    <a:lnTo>
                      <a:pt x="19" y="285"/>
                    </a:lnTo>
                    <a:lnTo>
                      <a:pt x="17" y="283"/>
                    </a:lnTo>
                    <a:lnTo>
                      <a:pt x="16" y="283"/>
                    </a:lnTo>
                    <a:lnTo>
                      <a:pt x="16" y="281"/>
                    </a:lnTo>
                    <a:lnTo>
                      <a:pt x="14" y="281"/>
                    </a:lnTo>
                    <a:lnTo>
                      <a:pt x="14" y="279"/>
                    </a:lnTo>
                    <a:lnTo>
                      <a:pt x="12" y="279"/>
                    </a:lnTo>
                    <a:lnTo>
                      <a:pt x="10" y="279"/>
                    </a:lnTo>
                    <a:lnTo>
                      <a:pt x="10" y="277"/>
                    </a:lnTo>
                    <a:lnTo>
                      <a:pt x="8" y="277"/>
                    </a:lnTo>
                    <a:lnTo>
                      <a:pt x="10" y="275"/>
                    </a:lnTo>
                    <a:lnTo>
                      <a:pt x="10" y="273"/>
                    </a:lnTo>
                    <a:lnTo>
                      <a:pt x="8" y="273"/>
                    </a:lnTo>
                    <a:lnTo>
                      <a:pt x="6" y="271"/>
                    </a:lnTo>
                    <a:lnTo>
                      <a:pt x="4" y="271"/>
                    </a:lnTo>
                    <a:lnTo>
                      <a:pt x="2" y="271"/>
                    </a:lnTo>
                    <a:lnTo>
                      <a:pt x="2" y="269"/>
                    </a:lnTo>
                    <a:lnTo>
                      <a:pt x="0" y="267"/>
                    </a:lnTo>
                    <a:lnTo>
                      <a:pt x="0" y="265"/>
                    </a:lnTo>
                    <a:lnTo>
                      <a:pt x="2" y="265"/>
                    </a:lnTo>
                    <a:lnTo>
                      <a:pt x="2" y="263"/>
                    </a:lnTo>
                    <a:lnTo>
                      <a:pt x="4" y="263"/>
                    </a:lnTo>
                    <a:lnTo>
                      <a:pt x="6" y="263"/>
                    </a:lnTo>
                    <a:lnTo>
                      <a:pt x="6" y="262"/>
                    </a:lnTo>
                    <a:lnTo>
                      <a:pt x="6" y="260"/>
                    </a:lnTo>
                    <a:lnTo>
                      <a:pt x="6" y="258"/>
                    </a:lnTo>
                    <a:lnTo>
                      <a:pt x="8" y="258"/>
                    </a:lnTo>
                    <a:lnTo>
                      <a:pt x="8" y="256"/>
                    </a:lnTo>
                    <a:lnTo>
                      <a:pt x="10" y="256"/>
                    </a:lnTo>
                    <a:lnTo>
                      <a:pt x="10" y="254"/>
                    </a:lnTo>
                    <a:lnTo>
                      <a:pt x="10" y="252"/>
                    </a:lnTo>
                    <a:lnTo>
                      <a:pt x="10" y="250"/>
                    </a:lnTo>
                    <a:lnTo>
                      <a:pt x="8" y="250"/>
                    </a:lnTo>
                    <a:lnTo>
                      <a:pt x="6" y="250"/>
                    </a:lnTo>
                    <a:lnTo>
                      <a:pt x="6" y="252"/>
                    </a:lnTo>
                    <a:lnTo>
                      <a:pt x="4" y="250"/>
                    </a:lnTo>
                    <a:lnTo>
                      <a:pt x="4" y="248"/>
                    </a:lnTo>
                    <a:lnTo>
                      <a:pt x="2" y="248"/>
                    </a:lnTo>
                    <a:lnTo>
                      <a:pt x="2" y="250"/>
                    </a:lnTo>
                    <a:lnTo>
                      <a:pt x="0" y="250"/>
                    </a:lnTo>
                    <a:lnTo>
                      <a:pt x="0" y="248"/>
                    </a:lnTo>
                    <a:lnTo>
                      <a:pt x="0" y="246"/>
                    </a:lnTo>
                    <a:lnTo>
                      <a:pt x="2" y="246"/>
                    </a:lnTo>
                    <a:lnTo>
                      <a:pt x="4" y="244"/>
                    </a:lnTo>
                    <a:lnTo>
                      <a:pt x="4" y="242"/>
                    </a:lnTo>
                    <a:lnTo>
                      <a:pt x="6" y="240"/>
                    </a:lnTo>
                    <a:lnTo>
                      <a:pt x="6" y="238"/>
                    </a:lnTo>
                    <a:lnTo>
                      <a:pt x="6" y="237"/>
                    </a:lnTo>
                    <a:lnTo>
                      <a:pt x="8" y="235"/>
                    </a:lnTo>
                    <a:lnTo>
                      <a:pt x="10" y="235"/>
                    </a:lnTo>
                    <a:lnTo>
                      <a:pt x="10" y="233"/>
                    </a:lnTo>
                    <a:lnTo>
                      <a:pt x="10" y="231"/>
                    </a:lnTo>
                    <a:lnTo>
                      <a:pt x="12" y="231"/>
                    </a:lnTo>
                    <a:lnTo>
                      <a:pt x="14" y="229"/>
                    </a:lnTo>
                    <a:lnTo>
                      <a:pt x="14" y="231"/>
                    </a:lnTo>
                    <a:lnTo>
                      <a:pt x="16" y="231"/>
                    </a:lnTo>
                    <a:lnTo>
                      <a:pt x="16" y="229"/>
                    </a:lnTo>
                    <a:lnTo>
                      <a:pt x="17" y="229"/>
                    </a:lnTo>
                    <a:lnTo>
                      <a:pt x="17" y="227"/>
                    </a:lnTo>
                    <a:lnTo>
                      <a:pt x="21" y="227"/>
                    </a:lnTo>
                    <a:lnTo>
                      <a:pt x="21" y="225"/>
                    </a:lnTo>
                    <a:lnTo>
                      <a:pt x="21" y="223"/>
                    </a:lnTo>
                    <a:lnTo>
                      <a:pt x="23" y="225"/>
                    </a:lnTo>
                    <a:lnTo>
                      <a:pt x="23" y="223"/>
                    </a:lnTo>
                    <a:lnTo>
                      <a:pt x="25" y="223"/>
                    </a:lnTo>
                    <a:lnTo>
                      <a:pt x="27" y="223"/>
                    </a:lnTo>
                    <a:lnTo>
                      <a:pt x="27" y="221"/>
                    </a:lnTo>
                    <a:lnTo>
                      <a:pt x="29" y="221"/>
                    </a:lnTo>
                    <a:lnTo>
                      <a:pt x="29" y="219"/>
                    </a:lnTo>
                    <a:lnTo>
                      <a:pt x="31" y="219"/>
                    </a:lnTo>
                    <a:lnTo>
                      <a:pt x="33" y="219"/>
                    </a:lnTo>
                    <a:lnTo>
                      <a:pt x="33" y="217"/>
                    </a:lnTo>
                    <a:lnTo>
                      <a:pt x="33" y="215"/>
                    </a:lnTo>
                    <a:lnTo>
                      <a:pt x="35" y="215"/>
                    </a:lnTo>
                    <a:lnTo>
                      <a:pt x="35" y="213"/>
                    </a:lnTo>
                    <a:lnTo>
                      <a:pt x="33" y="213"/>
                    </a:lnTo>
                    <a:lnTo>
                      <a:pt x="33" y="212"/>
                    </a:lnTo>
                    <a:lnTo>
                      <a:pt x="35" y="210"/>
                    </a:lnTo>
                    <a:lnTo>
                      <a:pt x="37" y="208"/>
                    </a:lnTo>
                    <a:lnTo>
                      <a:pt x="40" y="206"/>
                    </a:lnTo>
                    <a:lnTo>
                      <a:pt x="40" y="204"/>
                    </a:lnTo>
                    <a:lnTo>
                      <a:pt x="42" y="204"/>
                    </a:lnTo>
                    <a:lnTo>
                      <a:pt x="42" y="202"/>
                    </a:lnTo>
                    <a:lnTo>
                      <a:pt x="44" y="202"/>
                    </a:lnTo>
                    <a:lnTo>
                      <a:pt x="44" y="200"/>
                    </a:lnTo>
                    <a:lnTo>
                      <a:pt x="46" y="198"/>
                    </a:lnTo>
                    <a:lnTo>
                      <a:pt x="48" y="196"/>
                    </a:lnTo>
                    <a:lnTo>
                      <a:pt x="50" y="196"/>
                    </a:lnTo>
                    <a:lnTo>
                      <a:pt x="50" y="194"/>
                    </a:lnTo>
                    <a:lnTo>
                      <a:pt x="48" y="194"/>
                    </a:lnTo>
                    <a:lnTo>
                      <a:pt x="48" y="192"/>
                    </a:lnTo>
                    <a:lnTo>
                      <a:pt x="48" y="190"/>
                    </a:lnTo>
                    <a:lnTo>
                      <a:pt x="48" y="188"/>
                    </a:lnTo>
                    <a:lnTo>
                      <a:pt x="50" y="188"/>
                    </a:lnTo>
                    <a:lnTo>
                      <a:pt x="50" y="187"/>
                    </a:lnTo>
                    <a:lnTo>
                      <a:pt x="52" y="187"/>
                    </a:lnTo>
                    <a:lnTo>
                      <a:pt x="52" y="185"/>
                    </a:lnTo>
                    <a:lnTo>
                      <a:pt x="52" y="183"/>
                    </a:lnTo>
                    <a:lnTo>
                      <a:pt x="54" y="183"/>
                    </a:lnTo>
                    <a:lnTo>
                      <a:pt x="54" y="181"/>
                    </a:lnTo>
                    <a:lnTo>
                      <a:pt x="54" y="179"/>
                    </a:lnTo>
                    <a:lnTo>
                      <a:pt x="54" y="177"/>
                    </a:lnTo>
                    <a:lnTo>
                      <a:pt x="52" y="177"/>
                    </a:lnTo>
                    <a:lnTo>
                      <a:pt x="50" y="177"/>
                    </a:lnTo>
                    <a:lnTo>
                      <a:pt x="50" y="175"/>
                    </a:lnTo>
                    <a:lnTo>
                      <a:pt x="50" y="173"/>
                    </a:lnTo>
                    <a:lnTo>
                      <a:pt x="48" y="171"/>
                    </a:lnTo>
                    <a:lnTo>
                      <a:pt x="46" y="171"/>
                    </a:lnTo>
                    <a:lnTo>
                      <a:pt x="44" y="171"/>
                    </a:lnTo>
                    <a:lnTo>
                      <a:pt x="44" y="169"/>
                    </a:lnTo>
                    <a:lnTo>
                      <a:pt x="44" y="167"/>
                    </a:lnTo>
                    <a:lnTo>
                      <a:pt x="44" y="165"/>
                    </a:lnTo>
                    <a:lnTo>
                      <a:pt x="46" y="163"/>
                    </a:lnTo>
                    <a:lnTo>
                      <a:pt x="48" y="162"/>
                    </a:lnTo>
                    <a:lnTo>
                      <a:pt x="48" y="160"/>
                    </a:lnTo>
                    <a:lnTo>
                      <a:pt x="50" y="160"/>
                    </a:lnTo>
                    <a:lnTo>
                      <a:pt x="50" y="158"/>
                    </a:lnTo>
                    <a:lnTo>
                      <a:pt x="48" y="156"/>
                    </a:lnTo>
                    <a:lnTo>
                      <a:pt x="48" y="154"/>
                    </a:lnTo>
                    <a:lnTo>
                      <a:pt x="48" y="152"/>
                    </a:lnTo>
                    <a:lnTo>
                      <a:pt x="50" y="152"/>
                    </a:lnTo>
                    <a:lnTo>
                      <a:pt x="50" y="150"/>
                    </a:lnTo>
                    <a:lnTo>
                      <a:pt x="48" y="148"/>
                    </a:lnTo>
                    <a:lnTo>
                      <a:pt x="48" y="146"/>
                    </a:lnTo>
                    <a:lnTo>
                      <a:pt x="46" y="146"/>
                    </a:lnTo>
                    <a:lnTo>
                      <a:pt x="46" y="144"/>
                    </a:lnTo>
                    <a:lnTo>
                      <a:pt x="46" y="142"/>
                    </a:lnTo>
                    <a:lnTo>
                      <a:pt x="44" y="140"/>
                    </a:lnTo>
                    <a:lnTo>
                      <a:pt x="42" y="140"/>
                    </a:lnTo>
                    <a:lnTo>
                      <a:pt x="42" y="142"/>
                    </a:lnTo>
                    <a:lnTo>
                      <a:pt x="42" y="144"/>
                    </a:lnTo>
                    <a:lnTo>
                      <a:pt x="40" y="144"/>
                    </a:lnTo>
                    <a:lnTo>
                      <a:pt x="40" y="142"/>
                    </a:lnTo>
                    <a:lnTo>
                      <a:pt x="40" y="140"/>
                    </a:lnTo>
                    <a:lnTo>
                      <a:pt x="42" y="140"/>
                    </a:lnTo>
                    <a:lnTo>
                      <a:pt x="40" y="138"/>
                    </a:lnTo>
                    <a:lnTo>
                      <a:pt x="42" y="138"/>
                    </a:lnTo>
                    <a:lnTo>
                      <a:pt x="42" y="137"/>
                    </a:lnTo>
                    <a:lnTo>
                      <a:pt x="42" y="135"/>
                    </a:lnTo>
                    <a:lnTo>
                      <a:pt x="44" y="135"/>
                    </a:lnTo>
                    <a:lnTo>
                      <a:pt x="44" y="131"/>
                    </a:lnTo>
                    <a:lnTo>
                      <a:pt x="44" y="129"/>
                    </a:lnTo>
                    <a:lnTo>
                      <a:pt x="44" y="127"/>
                    </a:lnTo>
                    <a:lnTo>
                      <a:pt x="46" y="127"/>
                    </a:lnTo>
                    <a:lnTo>
                      <a:pt x="46" y="125"/>
                    </a:lnTo>
                    <a:lnTo>
                      <a:pt x="48" y="123"/>
                    </a:lnTo>
                    <a:lnTo>
                      <a:pt x="50" y="123"/>
                    </a:lnTo>
                    <a:lnTo>
                      <a:pt x="48" y="121"/>
                    </a:lnTo>
                    <a:lnTo>
                      <a:pt x="50" y="121"/>
                    </a:lnTo>
                    <a:lnTo>
                      <a:pt x="50" y="119"/>
                    </a:lnTo>
                    <a:lnTo>
                      <a:pt x="50" y="117"/>
                    </a:lnTo>
                    <a:lnTo>
                      <a:pt x="52" y="115"/>
                    </a:lnTo>
                    <a:lnTo>
                      <a:pt x="52" y="113"/>
                    </a:lnTo>
                    <a:lnTo>
                      <a:pt x="54" y="113"/>
                    </a:lnTo>
                    <a:lnTo>
                      <a:pt x="56" y="113"/>
                    </a:lnTo>
                    <a:lnTo>
                      <a:pt x="58" y="113"/>
                    </a:lnTo>
                    <a:lnTo>
                      <a:pt x="58" y="112"/>
                    </a:lnTo>
                    <a:lnTo>
                      <a:pt x="58" y="110"/>
                    </a:lnTo>
                    <a:lnTo>
                      <a:pt x="56" y="110"/>
                    </a:lnTo>
                    <a:lnTo>
                      <a:pt x="56" y="108"/>
                    </a:lnTo>
                    <a:lnTo>
                      <a:pt x="58" y="106"/>
                    </a:lnTo>
                    <a:lnTo>
                      <a:pt x="58" y="104"/>
                    </a:lnTo>
                    <a:lnTo>
                      <a:pt x="58" y="102"/>
                    </a:lnTo>
                    <a:lnTo>
                      <a:pt x="56" y="102"/>
                    </a:lnTo>
                    <a:lnTo>
                      <a:pt x="54" y="102"/>
                    </a:lnTo>
                    <a:lnTo>
                      <a:pt x="52" y="104"/>
                    </a:lnTo>
                    <a:lnTo>
                      <a:pt x="52" y="102"/>
                    </a:lnTo>
                    <a:lnTo>
                      <a:pt x="52" y="100"/>
                    </a:lnTo>
                    <a:lnTo>
                      <a:pt x="52" y="98"/>
                    </a:lnTo>
                    <a:lnTo>
                      <a:pt x="52" y="96"/>
                    </a:lnTo>
                    <a:lnTo>
                      <a:pt x="52" y="94"/>
                    </a:lnTo>
                    <a:lnTo>
                      <a:pt x="52" y="92"/>
                    </a:lnTo>
                    <a:lnTo>
                      <a:pt x="54" y="92"/>
                    </a:lnTo>
                    <a:lnTo>
                      <a:pt x="56" y="90"/>
                    </a:lnTo>
                    <a:lnTo>
                      <a:pt x="58" y="90"/>
                    </a:lnTo>
                    <a:lnTo>
                      <a:pt x="58" y="88"/>
                    </a:lnTo>
                    <a:lnTo>
                      <a:pt x="58" y="87"/>
                    </a:lnTo>
                    <a:lnTo>
                      <a:pt x="58" y="85"/>
                    </a:lnTo>
                    <a:lnTo>
                      <a:pt x="60" y="85"/>
                    </a:lnTo>
                    <a:lnTo>
                      <a:pt x="60" y="83"/>
                    </a:lnTo>
                    <a:lnTo>
                      <a:pt x="60" y="81"/>
                    </a:lnTo>
                    <a:lnTo>
                      <a:pt x="60" y="79"/>
                    </a:lnTo>
                    <a:lnTo>
                      <a:pt x="58" y="79"/>
                    </a:lnTo>
                    <a:lnTo>
                      <a:pt x="58" y="77"/>
                    </a:lnTo>
                    <a:lnTo>
                      <a:pt x="58" y="75"/>
                    </a:lnTo>
                    <a:lnTo>
                      <a:pt x="56" y="75"/>
                    </a:lnTo>
                    <a:lnTo>
                      <a:pt x="54" y="77"/>
                    </a:lnTo>
                    <a:lnTo>
                      <a:pt x="52" y="79"/>
                    </a:lnTo>
                    <a:lnTo>
                      <a:pt x="52" y="77"/>
                    </a:lnTo>
                    <a:lnTo>
                      <a:pt x="50" y="77"/>
                    </a:lnTo>
                    <a:lnTo>
                      <a:pt x="50" y="75"/>
                    </a:lnTo>
                    <a:lnTo>
                      <a:pt x="50" y="73"/>
                    </a:lnTo>
                    <a:lnTo>
                      <a:pt x="48" y="71"/>
                    </a:lnTo>
                    <a:lnTo>
                      <a:pt x="48" y="69"/>
                    </a:lnTo>
                    <a:lnTo>
                      <a:pt x="46" y="69"/>
                    </a:lnTo>
                    <a:lnTo>
                      <a:pt x="46" y="71"/>
                    </a:lnTo>
                    <a:lnTo>
                      <a:pt x="46" y="73"/>
                    </a:lnTo>
                    <a:lnTo>
                      <a:pt x="46" y="71"/>
                    </a:lnTo>
                    <a:lnTo>
                      <a:pt x="44" y="71"/>
                    </a:lnTo>
                    <a:lnTo>
                      <a:pt x="44" y="73"/>
                    </a:lnTo>
                    <a:lnTo>
                      <a:pt x="42" y="73"/>
                    </a:lnTo>
                    <a:lnTo>
                      <a:pt x="42" y="75"/>
                    </a:lnTo>
                    <a:lnTo>
                      <a:pt x="40" y="75"/>
                    </a:lnTo>
                    <a:lnTo>
                      <a:pt x="40" y="77"/>
                    </a:lnTo>
                    <a:lnTo>
                      <a:pt x="40" y="79"/>
                    </a:lnTo>
                    <a:lnTo>
                      <a:pt x="39" y="79"/>
                    </a:lnTo>
                    <a:lnTo>
                      <a:pt x="39" y="77"/>
                    </a:lnTo>
                    <a:lnTo>
                      <a:pt x="37" y="75"/>
                    </a:lnTo>
                    <a:lnTo>
                      <a:pt x="35" y="73"/>
                    </a:lnTo>
                    <a:lnTo>
                      <a:pt x="33" y="73"/>
                    </a:lnTo>
                    <a:lnTo>
                      <a:pt x="31" y="73"/>
                    </a:lnTo>
                    <a:lnTo>
                      <a:pt x="31" y="71"/>
                    </a:lnTo>
                    <a:lnTo>
                      <a:pt x="33" y="71"/>
                    </a:lnTo>
                    <a:lnTo>
                      <a:pt x="35" y="71"/>
                    </a:lnTo>
                    <a:lnTo>
                      <a:pt x="35" y="69"/>
                    </a:lnTo>
                    <a:lnTo>
                      <a:pt x="37" y="69"/>
                    </a:lnTo>
                    <a:lnTo>
                      <a:pt x="37" y="67"/>
                    </a:lnTo>
                    <a:lnTo>
                      <a:pt x="37" y="65"/>
                    </a:lnTo>
                    <a:lnTo>
                      <a:pt x="39" y="65"/>
                    </a:lnTo>
                    <a:lnTo>
                      <a:pt x="39" y="63"/>
                    </a:lnTo>
                    <a:lnTo>
                      <a:pt x="39" y="62"/>
                    </a:lnTo>
                    <a:lnTo>
                      <a:pt x="40" y="62"/>
                    </a:lnTo>
                    <a:lnTo>
                      <a:pt x="39" y="60"/>
                    </a:lnTo>
                    <a:lnTo>
                      <a:pt x="39" y="58"/>
                    </a:lnTo>
                    <a:lnTo>
                      <a:pt x="39" y="56"/>
                    </a:lnTo>
                    <a:lnTo>
                      <a:pt x="40" y="56"/>
                    </a:lnTo>
                    <a:lnTo>
                      <a:pt x="40" y="54"/>
                    </a:lnTo>
                    <a:lnTo>
                      <a:pt x="40" y="52"/>
                    </a:lnTo>
                    <a:lnTo>
                      <a:pt x="40" y="50"/>
                    </a:lnTo>
                    <a:lnTo>
                      <a:pt x="42" y="50"/>
                    </a:lnTo>
                    <a:lnTo>
                      <a:pt x="42" y="48"/>
                    </a:lnTo>
                    <a:lnTo>
                      <a:pt x="42" y="46"/>
                    </a:lnTo>
                    <a:lnTo>
                      <a:pt x="44" y="46"/>
                    </a:lnTo>
                    <a:lnTo>
                      <a:pt x="46" y="44"/>
                    </a:lnTo>
                    <a:lnTo>
                      <a:pt x="46" y="42"/>
                    </a:lnTo>
                    <a:lnTo>
                      <a:pt x="46" y="40"/>
                    </a:lnTo>
                    <a:lnTo>
                      <a:pt x="46" y="38"/>
                    </a:lnTo>
                    <a:lnTo>
                      <a:pt x="46" y="37"/>
                    </a:lnTo>
                    <a:lnTo>
                      <a:pt x="44" y="38"/>
                    </a:lnTo>
                    <a:lnTo>
                      <a:pt x="42" y="37"/>
                    </a:lnTo>
                    <a:lnTo>
                      <a:pt x="44" y="37"/>
                    </a:lnTo>
                    <a:lnTo>
                      <a:pt x="44" y="35"/>
                    </a:lnTo>
                    <a:lnTo>
                      <a:pt x="44" y="33"/>
                    </a:lnTo>
                    <a:lnTo>
                      <a:pt x="42" y="33"/>
                    </a:lnTo>
                    <a:lnTo>
                      <a:pt x="42" y="31"/>
                    </a:lnTo>
                    <a:lnTo>
                      <a:pt x="42" y="29"/>
                    </a:lnTo>
                    <a:lnTo>
                      <a:pt x="40" y="29"/>
                    </a:lnTo>
                    <a:lnTo>
                      <a:pt x="40" y="27"/>
                    </a:lnTo>
                    <a:lnTo>
                      <a:pt x="40" y="25"/>
                    </a:lnTo>
                    <a:lnTo>
                      <a:pt x="40" y="23"/>
                    </a:lnTo>
                    <a:lnTo>
                      <a:pt x="40" y="21"/>
                    </a:lnTo>
                    <a:lnTo>
                      <a:pt x="40" y="19"/>
                    </a:lnTo>
                    <a:lnTo>
                      <a:pt x="39" y="19"/>
                    </a:lnTo>
                    <a:lnTo>
                      <a:pt x="40" y="19"/>
                    </a:lnTo>
                    <a:lnTo>
                      <a:pt x="40" y="17"/>
                    </a:lnTo>
                    <a:lnTo>
                      <a:pt x="39" y="15"/>
                    </a:lnTo>
                    <a:lnTo>
                      <a:pt x="40" y="15"/>
                    </a:lnTo>
                    <a:lnTo>
                      <a:pt x="39" y="15"/>
                    </a:lnTo>
                    <a:lnTo>
                      <a:pt x="39" y="13"/>
                    </a:lnTo>
                    <a:lnTo>
                      <a:pt x="39" y="12"/>
                    </a:lnTo>
                    <a:lnTo>
                      <a:pt x="37" y="12"/>
                    </a:lnTo>
                    <a:lnTo>
                      <a:pt x="39" y="12"/>
                    </a:lnTo>
                    <a:lnTo>
                      <a:pt x="37" y="12"/>
                    </a:lnTo>
                    <a:lnTo>
                      <a:pt x="39" y="12"/>
                    </a:lnTo>
                    <a:lnTo>
                      <a:pt x="37" y="10"/>
                    </a:lnTo>
                    <a:lnTo>
                      <a:pt x="39" y="10"/>
                    </a:lnTo>
                    <a:lnTo>
                      <a:pt x="39" y="8"/>
                    </a:lnTo>
                    <a:lnTo>
                      <a:pt x="40" y="8"/>
                    </a:lnTo>
                    <a:lnTo>
                      <a:pt x="40" y="6"/>
                    </a:lnTo>
                    <a:lnTo>
                      <a:pt x="40" y="4"/>
                    </a:lnTo>
                    <a:lnTo>
                      <a:pt x="42" y="4"/>
                    </a:lnTo>
                    <a:lnTo>
                      <a:pt x="42" y="2"/>
                    </a:lnTo>
                    <a:lnTo>
                      <a:pt x="44" y="2"/>
                    </a:lnTo>
                    <a:lnTo>
                      <a:pt x="44" y="0"/>
                    </a:lnTo>
                    <a:lnTo>
                      <a:pt x="46" y="0"/>
                    </a:lnTo>
                    <a:lnTo>
                      <a:pt x="48" y="0"/>
                    </a:lnTo>
                    <a:lnTo>
                      <a:pt x="48" y="2"/>
                    </a:lnTo>
                    <a:lnTo>
                      <a:pt x="48" y="4"/>
                    </a:lnTo>
                    <a:lnTo>
                      <a:pt x="50" y="4"/>
                    </a:lnTo>
                    <a:lnTo>
                      <a:pt x="52" y="4"/>
                    </a:lnTo>
                    <a:lnTo>
                      <a:pt x="52" y="6"/>
                    </a:lnTo>
                    <a:lnTo>
                      <a:pt x="54" y="8"/>
                    </a:lnTo>
                    <a:lnTo>
                      <a:pt x="56" y="8"/>
                    </a:lnTo>
                    <a:lnTo>
                      <a:pt x="58" y="8"/>
                    </a:lnTo>
                    <a:lnTo>
                      <a:pt x="58" y="10"/>
                    </a:lnTo>
                    <a:lnTo>
                      <a:pt x="56" y="15"/>
                    </a:lnTo>
                    <a:lnTo>
                      <a:pt x="58" y="17"/>
                    </a:lnTo>
                    <a:lnTo>
                      <a:pt x="60" y="19"/>
                    </a:lnTo>
                    <a:lnTo>
                      <a:pt x="58" y="21"/>
                    </a:lnTo>
                    <a:lnTo>
                      <a:pt x="58" y="23"/>
                    </a:lnTo>
                    <a:lnTo>
                      <a:pt x="60" y="23"/>
                    </a:lnTo>
                    <a:lnTo>
                      <a:pt x="62" y="23"/>
                    </a:lnTo>
                    <a:lnTo>
                      <a:pt x="64" y="23"/>
                    </a:lnTo>
                    <a:lnTo>
                      <a:pt x="65" y="23"/>
                    </a:lnTo>
                    <a:lnTo>
                      <a:pt x="65" y="25"/>
                    </a:lnTo>
                    <a:lnTo>
                      <a:pt x="65" y="27"/>
                    </a:lnTo>
                    <a:lnTo>
                      <a:pt x="65" y="29"/>
                    </a:lnTo>
                    <a:lnTo>
                      <a:pt x="67" y="29"/>
                    </a:lnTo>
                    <a:lnTo>
                      <a:pt x="67" y="31"/>
                    </a:lnTo>
                    <a:lnTo>
                      <a:pt x="69" y="31"/>
                    </a:lnTo>
                    <a:lnTo>
                      <a:pt x="69" y="29"/>
                    </a:lnTo>
                    <a:lnTo>
                      <a:pt x="69" y="27"/>
                    </a:lnTo>
                    <a:lnTo>
                      <a:pt x="73" y="27"/>
                    </a:lnTo>
                    <a:lnTo>
                      <a:pt x="75" y="27"/>
                    </a:lnTo>
                    <a:lnTo>
                      <a:pt x="77" y="27"/>
                    </a:lnTo>
                    <a:lnTo>
                      <a:pt x="77" y="29"/>
                    </a:lnTo>
                    <a:lnTo>
                      <a:pt x="79" y="33"/>
                    </a:lnTo>
                    <a:lnTo>
                      <a:pt x="81" y="33"/>
                    </a:lnTo>
                    <a:lnTo>
                      <a:pt x="81" y="31"/>
                    </a:lnTo>
                    <a:lnTo>
                      <a:pt x="79" y="29"/>
                    </a:lnTo>
                    <a:lnTo>
                      <a:pt x="81" y="29"/>
                    </a:lnTo>
                    <a:lnTo>
                      <a:pt x="81" y="27"/>
                    </a:lnTo>
                    <a:lnTo>
                      <a:pt x="83" y="27"/>
                    </a:lnTo>
                    <a:lnTo>
                      <a:pt x="85" y="27"/>
                    </a:lnTo>
                    <a:lnTo>
                      <a:pt x="85" y="25"/>
                    </a:lnTo>
                    <a:lnTo>
                      <a:pt x="87" y="25"/>
                    </a:lnTo>
                    <a:lnTo>
                      <a:pt x="89" y="25"/>
                    </a:lnTo>
                    <a:lnTo>
                      <a:pt x="90" y="25"/>
                    </a:lnTo>
                    <a:lnTo>
                      <a:pt x="90" y="23"/>
                    </a:lnTo>
                    <a:lnTo>
                      <a:pt x="90" y="25"/>
                    </a:lnTo>
                    <a:lnTo>
                      <a:pt x="92" y="25"/>
                    </a:lnTo>
                    <a:lnTo>
                      <a:pt x="94" y="25"/>
                    </a:lnTo>
                    <a:lnTo>
                      <a:pt x="94" y="27"/>
                    </a:lnTo>
                    <a:lnTo>
                      <a:pt x="96" y="27"/>
                    </a:lnTo>
                    <a:lnTo>
                      <a:pt x="98" y="27"/>
                    </a:lnTo>
                    <a:lnTo>
                      <a:pt x="98" y="29"/>
                    </a:lnTo>
                    <a:lnTo>
                      <a:pt x="98" y="27"/>
                    </a:lnTo>
                    <a:lnTo>
                      <a:pt x="100" y="27"/>
                    </a:lnTo>
                    <a:lnTo>
                      <a:pt x="100" y="29"/>
                    </a:lnTo>
                    <a:lnTo>
                      <a:pt x="100" y="27"/>
                    </a:lnTo>
                    <a:lnTo>
                      <a:pt x="100" y="29"/>
                    </a:lnTo>
                    <a:lnTo>
                      <a:pt x="102" y="27"/>
                    </a:lnTo>
                    <a:lnTo>
                      <a:pt x="102" y="29"/>
                    </a:lnTo>
                    <a:lnTo>
                      <a:pt x="104" y="29"/>
                    </a:lnTo>
                    <a:lnTo>
                      <a:pt x="106" y="29"/>
                    </a:lnTo>
                    <a:lnTo>
                      <a:pt x="106" y="31"/>
                    </a:lnTo>
                    <a:lnTo>
                      <a:pt x="108" y="33"/>
                    </a:lnTo>
                    <a:lnTo>
                      <a:pt x="106" y="33"/>
                    </a:lnTo>
                    <a:lnTo>
                      <a:pt x="106" y="37"/>
                    </a:lnTo>
                    <a:lnTo>
                      <a:pt x="106" y="38"/>
                    </a:lnTo>
                    <a:lnTo>
                      <a:pt x="106" y="40"/>
                    </a:lnTo>
                    <a:lnTo>
                      <a:pt x="110" y="40"/>
                    </a:lnTo>
                    <a:lnTo>
                      <a:pt x="112" y="38"/>
                    </a:lnTo>
                    <a:lnTo>
                      <a:pt x="113" y="38"/>
                    </a:lnTo>
                    <a:lnTo>
                      <a:pt x="113" y="42"/>
                    </a:lnTo>
                    <a:lnTo>
                      <a:pt x="115" y="42"/>
                    </a:lnTo>
                    <a:lnTo>
                      <a:pt x="117" y="44"/>
                    </a:lnTo>
                    <a:lnTo>
                      <a:pt x="119" y="44"/>
                    </a:lnTo>
                    <a:lnTo>
                      <a:pt x="119" y="48"/>
                    </a:lnTo>
                    <a:lnTo>
                      <a:pt x="119" y="52"/>
                    </a:lnTo>
                    <a:lnTo>
                      <a:pt x="119" y="54"/>
                    </a:lnTo>
                    <a:lnTo>
                      <a:pt x="119" y="56"/>
                    </a:lnTo>
                    <a:lnTo>
                      <a:pt x="119" y="58"/>
                    </a:lnTo>
                    <a:lnTo>
                      <a:pt x="121" y="60"/>
                    </a:lnTo>
                    <a:lnTo>
                      <a:pt x="123" y="62"/>
                    </a:lnTo>
                    <a:lnTo>
                      <a:pt x="125" y="63"/>
                    </a:lnTo>
                    <a:lnTo>
                      <a:pt x="127" y="65"/>
                    </a:lnTo>
                    <a:lnTo>
                      <a:pt x="129" y="67"/>
                    </a:lnTo>
                    <a:lnTo>
                      <a:pt x="129" y="69"/>
                    </a:lnTo>
                    <a:lnTo>
                      <a:pt x="129" y="71"/>
                    </a:lnTo>
                    <a:lnTo>
                      <a:pt x="129" y="73"/>
                    </a:lnTo>
                    <a:lnTo>
                      <a:pt x="129" y="77"/>
                    </a:lnTo>
                    <a:lnTo>
                      <a:pt x="131" y="77"/>
                    </a:lnTo>
                    <a:lnTo>
                      <a:pt x="131" y="79"/>
                    </a:lnTo>
                    <a:lnTo>
                      <a:pt x="133" y="81"/>
                    </a:lnTo>
                    <a:lnTo>
                      <a:pt x="133" y="83"/>
                    </a:lnTo>
                    <a:lnTo>
                      <a:pt x="135" y="85"/>
                    </a:lnTo>
                    <a:lnTo>
                      <a:pt x="135" y="87"/>
                    </a:lnTo>
                    <a:lnTo>
                      <a:pt x="135" y="88"/>
                    </a:lnTo>
                    <a:lnTo>
                      <a:pt x="137" y="92"/>
                    </a:lnTo>
                    <a:lnTo>
                      <a:pt x="137" y="94"/>
                    </a:lnTo>
                    <a:lnTo>
                      <a:pt x="138" y="96"/>
                    </a:lnTo>
                    <a:lnTo>
                      <a:pt x="138" y="98"/>
                    </a:lnTo>
                    <a:lnTo>
                      <a:pt x="138" y="100"/>
                    </a:lnTo>
                    <a:lnTo>
                      <a:pt x="138" y="102"/>
                    </a:lnTo>
                    <a:lnTo>
                      <a:pt x="138" y="106"/>
                    </a:lnTo>
                    <a:lnTo>
                      <a:pt x="137" y="106"/>
                    </a:lnTo>
                    <a:lnTo>
                      <a:pt x="137" y="108"/>
                    </a:lnTo>
                    <a:lnTo>
                      <a:pt x="135" y="108"/>
                    </a:lnTo>
                    <a:lnTo>
                      <a:pt x="137" y="108"/>
                    </a:lnTo>
                    <a:lnTo>
                      <a:pt x="137" y="110"/>
                    </a:lnTo>
                    <a:lnTo>
                      <a:pt x="135" y="110"/>
                    </a:lnTo>
                    <a:lnTo>
                      <a:pt x="133" y="110"/>
                    </a:lnTo>
                    <a:lnTo>
                      <a:pt x="135" y="112"/>
                    </a:lnTo>
                    <a:lnTo>
                      <a:pt x="133" y="112"/>
                    </a:lnTo>
                    <a:lnTo>
                      <a:pt x="133" y="113"/>
                    </a:lnTo>
                    <a:lnTo>
                      <a:pt x="135" y="113"/>
                    </a:lnTo>
                    <a:lnTo>
                      <a:pt x="135" y="115"/>
                    </a:lnTo>
                    <a:lnTo>
                      <a:pt x="135" y="117"/>
                    </a:lnTo>
                    <a:lnTo>
                      <a:pt x="135" y="119"/>
                    </a:lnTo>
                    <a:lnTo>
                      <a:pt x="135" y="121"/>
                    </a:lnTo>
                    <a:lnTo>
                      <a:pt x="137" y="121"/>
                    </a:lnTo>
                    <a:lnTo>
                      <a:pt x="138" y="121"/>
                    </a:lnTo>
                    <a:lnTo>
                      <a:pt x="138" y="123"/>
                    </a:lnTo>
                    <a:lnTo>
                      <a:pt x="138" y="125"/>
                    </a:lnTo>
                    <a:lnTo>
                      <a:pt x="138" y="127"/>
                    </a:lnTo>
                    <a:lnTo>
                      <a:pt x="137" y="127"/>
                    </a:lnTo>
                    <a:lnTo>
                      <a:pt x="137" y="129"/>
                    </a:lnTo>
                    <a:lnTo>
                      <a:pt x="138" y="129"/>
                    </a:lnTo>
                    <a:lnTo>
                      <a:pt x="138" y="131"/>
                    </a:lnTo>
                    <a:lnTo>
                      <a:pt x="140" y="131"/>
                    </a:lnTo>
                    <a:lnTo>
                      <a:pt x="140" y="133"/>
                    </a:lnTo>
                    <a:lnTo>
                      <a:pt x="140" y="135"/>
                    </a:lnTo>
                    <a:lnTo>
                      <a:pt x="142" y="137"/>
                    </a:lnTo>
                    <a:lnTo>
                      <a:pt x="142" y="135"/>
                    </a:lnTo>
                    <a:lnTo>
                      <a:pt x="144" y="135"/>
                    </a:lnTo>
                    <a:lnTo>
                      <a:pt x="144" y="137"/>
                    </a:lnTo>
                    <a:lnTo>
                      <a:pt x="144" y="138"/>
                    </a:lnTo>
                    <a:lnTo>
                      <a:pt x="146" y="138"/>
                    </a:lnTo>
                    <a:lnTo>
                      <a:pt x="146" y="140"/>
                    </a:lnTo>
                    <a:lnTo>
                      <a:pt x="148" y="140"/>
                    </a:lnTo>
                    <a:lnTo>
                      <a:pt x="150" y="140"/>
                    </a:lnTo>
                    <a:lnTo>
                      <a:pt x="150" y="142"/>
                    </a:lnTo>
                    <a:lnTo>
                      <a:pt x="148" y="144"/>
                    </a:lnTo>
                    <a:lnTo>
                      <a:pt x="150" y="144"/>
                    </a:lnTo>
                    <a:lnTo>
                      <a:pt x="148" y="144"/>
                    </a:lnTo>
                    <a:lnTo>
                      <a:pt x="150" y="144"/>
                    </a:lnTo>
                    <a:lnTo>
                      <a:pt x="150" y="146"/>
                    </a:lnTo>
                    <a:lnTo>
                      <a:pt x="150" y="148"/>
                    </a:lnTo>
                    <a:lnTo>
                      <a:pt x="148" y="150"/>
                    </a:lnTo>
                    <a:lnTo>
                      <a:pt x="146" y="152"/>
                    </a:lnTo>
                    <a:lnTo>
                      <a:pt x="146" y="154"/>
                    </a:lnTo>
                    <a:lnTo>
                      <a:pt x="146" y="156"/>
                    </a:lnTo>
                    <a:lnTo>
                      <a:pt x="144" y="156"/>
                    </a:lnTo>
                    <a:lnTo>
                      <a:pt x="144" y="158"/>
                    </a:lnTo>
                    <a:lnTo>
                      <a:pt x="142" y="160"/>
                    </a:lnTo>
                    <a:lnTo>
                      <a:pt x="140" y="160"/>
                    </a:lnTo>
                    <a:lnTo>
                      <a:pt x="140" y="162"/>
                    </a:lnTo>
                    <a:lnTo>
                      <a:pt x="138" y="162"/>
                    </a:lnTo>
                    <a:lnTo>
                      <a:pt x="137" y="162"/>
                    </a:lnTo>
                    <a:lnTo>
                      <a:pt x="135" y="162"/>
                    </a:lnTo>
                    <a:lnTo>
                      <a:pt x="133" y="162"/>
                    </a:lnTo>
                    <a:lnTo>
                      <a:pt x="133" y="163"/>
                    </a:lnTo>
                    <a:lnTo>
                      <a:pt x="133" y="165"/>
                    </a:lnTo>
                    <a:lnTo>
                      <a:pt x="133" y="167"/>
                    </a:lnTo>
                    <a:lnTo>
                      <a:pt x="133" y="169"/>
                    </a:lnTo>
                    <a:lnTo>
                      <a:pt x="133" y="171"/>
                    </a:lnTo>
                    <a:lnTo>
                      <a:pt x="135" y="171"/>
                    </a:lnTo>
                    <a:lnTo>
                      <a:pt x="135" y="173"/>
                    </a:lnTo>
                    <a:lnTo>
                      <a:pt x="133" y="175"/>
                    </a:lnTo>
                    <a:lnTo>
                      <a:pt x="133" y="177"/>
                    </a:lnTo>
                    <a:lnTo>
                      <a:pt x="133" y="179"/>
                    </a:lnTo>
                    <a:lnTo>
                      <a:pt x="131" y="179"/>
                    </a:lnTo>
                    <a:lnTo>
                      <a:pt x="131" y="181"/>
                    </a:lnTo>
                    <a:lnTo>
                      <a:pt x="131" y="183"/>
                    </a:lnTo>
                    <a:lnTo>
                      <a:pt x="129" y="183"/>
                    </a:lnTo>
                    <a:lnTo>
                      <a:pt x="129" y="185"/>
                    </a:lnTo>
                    <a:lnTo>
                      <a:pt x="127" y="187"/>
                    </a:lnTo>
                    <a:lnTo>
                      <a:pt x="127" y="188"/>
                    </a:lnTo>
                    <a:lnTo>
                      <a:pt x="127" y="190"/>
                    </a:lnTo>
                    <a:lnTo>
                      <a:pt x="125" y="190"/>
                    </a:lnTo>
                    <a:lnTo>
                      <a:pt x="125" y="192"/>
                    </a:lnTo>
                    <a:lnTo>
                      <a:pt x="125" y="194"/>
                    </a:lnTo>
                    <a:lnTo>
                      <a:pt x="125" y="196"/>
                    </a:lnTo>
                    <a:lnTo>
                      <a:pt x="123" y="196"/>
                    </a:lnTo>
                    <a:lnTo>
                      <a:pt x="123" y="198"/>
                    </a:lnTo>
                    <a:lnTo>
                      <a:pt x="123" y="196"/>
                    </a:lnTo>
                    <a:lnTo>
                      <a:pt x="121" y="198"/>
                    </a:lnTo>
                    <a:lnTo>
                      <a:pt x="121" y="196"/>
                    </a:lnTo>
                    <a:lnTo>
                      <a:pt x="119" y="196"/>
                    </a:lnTo>
                    <a:lnTo>
                      <a:pt x="117" y="198"/>
                    </a:lnTo>
                    <a:lnTo>
                      <a:pt x="115" y="198"/>
                    </a:lnTo>
                    <a:lnTo>
                      <a:pt x="113" y="198"/>
                    </a:lnTo>
                    <a:lnTo>
                      <a:pt x="112" y="198"/>
                    </a:lnTo>
                    <a:lnTo>
                      <a:pt x="110" y="202"/>
                    </a:lnTo>
                    <a:lnTo>
                      <a:pt x="106" y="208"/>
                    </a:lnTo>
                    <a:lnTo>
                      <a:pt x="104" y="212"/>
                    </a:lnTo>
                    <a:lnTo>
                      <a:pt x="104" y="213"/>
                    </a:lnTo>
                    <a:lnTo>
                      <a:pt x="104" y="215"/>
                    </a:lnTo>
                    <a:lnTo>
                      <a:pt x="102" y="217"/>
                    </a:lnTo>
                    <a:lnTo>
                      <a:pt x="100" y="219"/>
                    </a:lnTo>
                    <a:lnTo>
                      <a:pt x="98" y="221"/>
                    </a:lnTo>
                    <a:lnTo>
                      <a:pt x="98" y="223"/>
                    </a:lnTo>
                    <a:lnTo>
                      <a:pt x="96" y="225"/>
                    </a:lnTo>
                    <a:lnTo>
                      <a:pt x="96" y="2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19" name="Freeform 99"/>
              <p:cNvSpPr>
                <a:spLocks noEditPoints="1"/>
              </p:cNvSpPr>
              <p:nvPr/>
            </p:nvSpPr>
            <p:spPr bwMode="auto">
              <a:xfrm>
                <a:off x="1635597" y="1717828"/>
                <a:ext cx="1111524" cy="741590"/>
              </a:xfrm>
              <a:custGeom>
                <a:avLst/>
                <a:gdLst>
                  <a:gd name="T0" fmla="*/ 377 w 646"/>
                  <a:gd name="T1" fmla="*/ 138 h 431"/>
                  <a:gd name="T2" fmla="*/ 340 w 646"/>
                  <a:gd name="T3" fmla="*/ 100 h 431"/>
                  <a:gd name="T4" fmla="*/ 383 w 646"/>
                  <a:gd name="T5" fmla="*/ 102 h 431"/>
                  <a:gd name="T6" fmla="*/ 288 w 646"/>
                  <a:gd name="T7" fmla="*/ 42 h 431"/>
                  <a:gd name="T8" fmla="*/ 296 w 646"/>
                  <a:gd name="T9" fmla="*/ 31 h 431"/>
                  <a:gd name="T10" fmla="*/ 300 w 646"/>
                  <a:gd name="T11" fmla="*/ 12 h 431"/>
                  <a:gd name="T12" fmla="*/ 112 w 646"/>
                  <a:gd name="T13" fmla="*/ 212 h 431"/>
                  <a:gd name="T14" fmla="*/ 73 w 646"/>
                  <a:gd name="T15" fmla="*/ 162 h 431"/>
                  <a:gd name="T16" fmla="*/ 89 w 646"/>
                  <a:gd name="T17" fmla="*/ 90 h 431"/>
                  <a:gd name="T18" fmla="*/ 192 w 646"/>
                  <a:gd name="T19" fmla="*/ 73 h 431"/>
                  <a:gd name="T20" fmla="*/ 296 w 646"/>
                  <a:gd name="T21" fmla="*/ 2 h 431"/>
                  <a:gd name="T22" fmla="*/ 290 w 646"/>
                  <a:gd name="T23" fmla="*/ 35 h 431"/>
                  <a:gd name="T24" fmla="*/ 269 w 646"/>
                  <a:gd name="T25" fmla="*/ 71 h 431"/>
                  <a:gd name="T26" fmla="*/ 250 w 646"/>
                  <a:gd name="T27" fmla="*/ 90 h 431"/>
                  <a:gd name="T28" fmla="*/ 240 w 646"/>
                  <a:gd name="T29" fmla="*/ 85 h 431"/>
                  <a:gd name="T30" fmla="*/ 267 w 646"/>
                  <a:gd name="T31" fmla="*/ 108 h 431"/>
                  <a:gd name="T32" fmla="*/ 281 w 646"/>
                  <a:gd name="T33" fmla="*/ 144 h 431"/>
                  <a:gd name="T34" fmla="*/ 252 w 646"/>
                  <a:gd name="T35" fmla="*/ 188 h 431"/>
                  <a:gd name="T36" fmla="*/ 263 w 646"/>
                  <a:gd name="T37" fmla="*/ 158 h 431"/>
                  <a:gd name="T38" fmla="*/ 275 w 646"/>
                  <a:gd name="T39" fmla="*/ 113 h 431"/>
                  <a:gd name="T40" fmla="*/ 311 w 646"/>
                  <a:gd name="T41" fmla="*/ 113 h 431"/>
                  <a:gd name="T42" fmla="*/ 361 w 646"/>
                  <a:gd name="T43" fmla="*/ 85 h 431"/>
                  <a:gd name="T44" fmla="*/ 383 w 646"/>
                  <a:gd name="T45" fmla="*/ 110 h 431"/>
                  <a:gd name="T46" fmla="*/ 369 w 646"/>
                  <a:gd name="T47" fmla="*/ 160 h 431"/>
                  <a:gd name="T48" fmla="*/ 377 w 646"/>
                  <a:gd name="T49" fmla="*/ 202 h 431"/>
                  <a:gd name="T50" fmla="*/ 344 w 646"/>
                  <a:gd name="T51" fmla="*/ 240 h 431"/>
                  <a:gd name="T52" fmla="*/ 310 w 646"/>
                  <a:gd name="T53" fmla="*/ 260 h 431"/>
                  <a:gd name="T54" fmla="*/ 288 w 646"/>
                  <a:gd name="T55" fmla="*/ 302 h 431"/>
                  <a:gd name="T56" fmla="*/ 290 w 646"/>
                  <a:gd name="T57" fmla="*/ 265 h 431"/>
                  <a:gd name="T58" fmla="*/ 331 w 646"/>
                  <a:gd name="T59" fmla="*/ 237 h 431"/>
                  <a:gd name="T60" fmla="*/ 369 w 646"/>
                  <a:gd name="T61" fmla="*/ 212 h 431"/>
                  <a:gd name="T62" fmla="*/ 367 w 646"/>
                  <a:gd name="T63" fmla="*/ 163 h 431"/>
                  <a:gd name="T64" fmla="*/ 375 w 646"/>
                  <a:gd name="T65" fmla="*/ 123 h 431"/>
                  <a:gd name="T66" fmla="*/ 415 w 646"/>
                  <a:gd name="T67" fmla="*/ 119 h 431"/>
                  <a:gd name="T68" fmla="*/ 459 w 646"/>
                  <a:gd name="T69" fmla="*/ 121 h 431"/>
                  <a:gd name="T70" fmla="*/ 434 w 646"/>
                  <a:gd name="T71" fmla="*/ 148 h 431"/>
                  <a:gd name="T72" fmla="*/ 479 w 646"/>
                  <a:gd name="T73" fmla="*/ 119 h 431"/>
                  <a:gd name="T74" fmla="*/ 517 w 646"/>
                  <a:gd name="T75" fmla="*/ 129 h 431"/>
                  <a:gd name="T76" fmla="*/ 569 w 646"/>
                  <a:gd name="T77" fmla="*/ 112 h 431"/>
                  <a:gd name="T78" fmla="*/ 513 w 646"/>
                  <a:gd name="T79" fmla="*/ 127 h 431"/>
                  <a:gd name="T80" fmla="*/ 471 w 646"/>
                  <a:gd name="T81" fmla="*/ 121 h 431"/>
                  <a:gd name="T82" fmla="*/ 431 w 646"/>
                  <a:gd name="T83" fmla="*/ 110 h 431"/>
                  <a:gd name="T84" fmla="*/ 402 w 646"/>
                  <a:gd name="T85" fmla="*/ 98 h 431"/>
                  <a:gd name="T86" fmla="*/ 386 w 646"/>
                  <a:gd name="T87" fmla="*/ 108 h 431"/>
                  <a:gd name="T88" fmla="*/ 342 w 646"/>
                  <a:gd name="T89" fmla="*/ 94 h 431"/>
                  <a:gd name="T90" fmla="*/ 290 w 646"/>
                  <a:gd name="T91" fmla="*/ 112 h 431"/>
                  <a:gd name="T92" fmla="*/ 271 w 646"/>
                  <a:gd name="T93" fmla="*/ 73 h 431"/>
                  <a:gd name="T94" fmla="*/ 296 w 646"/>
                  <a:gd name="T95" fmla="*/ 31 h 431"/>
                  <a:gd name="T96" fmla="*/ 302 w 646"/>
                  <a:gd name="T97" fmla="*/ 10 h 431"/>
                  <a:gd name="T98" fmla="*/ 519 w 646"/>
                  <a:gd name="T99" fmla="*/ 98 h 431"/>
                  <a:gd name="T100" fmla="*/ 586 w 646"/>
                  <a:gd name="T101" fmla="*/ 67 h 431"/>
                  <a:gd name="T102" fmla="*/ 627 w 646"/>
                  <a:gd name="T103" fmla="*/ 42 h 431"/>
                  <a:gd name="T104" fmla="*/ 642 w 646"/>
                  <a:gd name="T105" fmla="*/ 77 h 431"/>
                  <a:gd name="T106" fmla="*/ 609 w 646"/>
                  <a:gd name="T107" fmla="*/ 117 h 431"/>
                  <a:gd name="T108" fmla="*/ 548 w 646"/>
                  <a:gd name="T109" fmla="*/ 148 h 431"/>
                  <a:gd name="T110" fmla="*/ 490 w 646"/>
                  <a:gd name="T111" fmla="*/ 181 h 431"/>
                  <a:gd name="T112" fmla="*/ 425 w 646"/>
                  <a:gd name="T113" fmla="*/ 215 h 431"/>
                  <a:gd name="T114" fmla="*/ 373 w 646"/>
                  <a:gd name="T115" fmla="*/ 313 h 431"/>
                  <a:gd name="T116" fmla="*/ 310 w 646"/>
                  <a:gd name="T117" fmla="*/ 392 h 431"/>
                  <a:gd name="T118" fmla="*/ 125 w 646"/>
                  <a:gd name="T119" fmla="*/ 390 h 431"/>
                  <a:gd name="T120" fmla="*/ 41 w 646"/>
                  <a:gd name="T121" fmla="*/ 402 h 431"/>
                  <a:gd name="T122" fmla="*/ 12 w 646"/>
                  <a:gd name="T123" fmla="*/ 360 h 431"/>
                  <a:gd name="T124" fmla="*/ 377 w 646"/>
                  <a:gd name="T125" fmla="*/ 146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6" h="431">
                    <a:moveTo>
                      <a:pt x="381" y="196"/>
                    </a:moveTo>
                    <a:lnTo>
                      <a:pt x="379" y="196"/>
                    </a:lnTo>
                    <a:lnTo>
                      <a:pt x="379" y="194"/>
                    </a:lnTo>
                    <a:lnTo>
                      <a:pt x="381" y="194"/>
                    </a:lnTo>
                    <a:lnTo>
                      <a:pt x="381" y="196"/>
                    </a:lnTo>
                    <a:lnTo>
                      <a:pt x="379" y="198"/>
                    </a:lnTo>
                    <a:lnTo>
                      <a:pt x="379" y="196"/>
                    </a:lnTo>
                    <a:lnTo>
                      <a:pt x="379" y="198"/>
                    </a:lnTo>
                    <a:lnTo>
                      <a:pt x="379" y="196"/>
                    </a:lnTo>
                    <a:lnTo>
                      <a:pt x="381" y="196"/>
                    </a:lnTo>
                    <a:close/>
                    <a:moveTo>
                      <a:pt x="381" y="192"/>
                    </a:moveTo>
                    <a:lnTo>
                      <a:pt x="381" y="194"/>
                    </a:lnTo>
                    <a:lnTo>
                      <a:pt x="381" y="192"/>
                    </a:lnTo>
                    <a:close/>
                    <a:moveTo>
                      <a:pt x="377" y="185"/>
                    </a:moveTo>
                    <a:lnTo>
                      <a:pt x="377" y="183"/>
                    </a:lnTo>
                    <a:lnTo>
                      <a:pt x="377" y="185"/>
                    </a:lnTo>
                    <a:lnTo>
                      <a:pt x="377" y="183"/>
                    </a:lnTo>
                    <a:lnTo>
                      <a:pt x="377" y="185"/>
                    </a:lnTo>
                    <a:lnTo>
                      <a:pt x="377" y="187"/>
                    </a:lnTo>
                    <a:lnTo>
                      <a:pt x="377" y="185"/>
                    </a:lnTo>
                    <a:close/>
                    <a:moveTo>
                      <a:pt x="269" y="110"/>
                    </a:moveTo>
                    <a:lnTo>
                      <a:pt x="271" y="110"/>
                    </a:lnTo>
                    <a:lnTo>
                      <a:pt x="271" y="108"/>
                    </a:lnTo>
                    <a:lnTo>
                      <a:pt x="271" y="110"/>
                    </a:lnTo>
                    <a:lnTo>
                      <a:pt x="269" y="110"/>
                    </a:lnTo>
                    <a:lnTo>
                      <a:pt x="269" y="112"/>
                    </a:lnTo>
                    <a:lnTo>
                      <a:pt x="269" y="110"/>
                    </a:lnTo>
                    <a:close/>
                    <a:moveTo>
                      <a:pt x="271" y="110"/>
                    </a:moveTo>
                    <a:lnTo>
                      <a:pt x="269" y="110"/>
                    </a:lnTo>
                    <a:lnTo>
                      <a:pt x="271" y="110"/>
                    </a:lnTo>
                    <a:lnTo>
                      <a:pt x="271" y="108"/>
                    </a:lnTo>
                    <a:lnTo>
                      <a:pt x="271" y="110"/>
                    </a:lnTo>
                    <a:close/>
                    <a:moveTo>
                      <a:pt x="269" y="106"/>
                    </a:moveTo>
                    <a:lnTo>
                      <a:pt x="269" y="108"/>
                    </a:lnTo>
                    <a:lnTo>
                      <a:pt x="269" y="106"/>
                    </a:lnTo>
                    <a:lnTo>
                      <a:pt x="267" y="106"/>
                    </a:lnTo>
                    <a:lnTo>
                      <a:pt x="269" y="106"/>
                    </a:lnTo>
                    <a:close/>
                    <a:moveTo>
                      <a:pt x="373" y="152"/>
                    </a:moveTo>
                    <a:lnTo>
                      <a:pt x="373" y="150"/>
                    </a:lnTo>
                    <a:lnTo>
                      <a:pt x="373" y="152"/>
                    </a:lnTo>
                    <a:lnTo>
                      <a:pt x="373" y="154"/>
                    </a:lnTo>
                    <a:lnTo>
                      <a:pt x="371" y="154"/>
                    </a:lnTo>
                    <a:lnTo>
                      <a:pt x="371" y="152"/>
                    </a:lnTo>
                    <a:lnTo>
                      <a:pt x="373" y="152"/>
                    </a:lnTo>
                    <a:lnTo>
                      <a:pt x="373" y="150"/>
                    </a:lnTo>
                    <a:lnTo>
                      <a:pt x="373" y="152"/>
                    </a:lnTo>
                    <a:close/>
                    <a:moveTo>
                      <a:pt x="377" y="140"/>
                    </a:moveTo>
                    <a:lnTo>
                      <a:pt x="379" y="140"/>
                    </a:lnTo>
                    <a:lnTo>
                      <a:pt x="377" y="140"/>
                    </a:lnTo>
                    <a:lnTo>
                      <a:pt x="377" y="138"/>
                    </a:lnTo>
                    <a:lnTo>
                      <a:pt x="377" y="140"/>
                    </a:lnTo>
                    <a:close/>
                    <a:moveTo>
                      <a:pt x="331" y="102"/>
                    </a:moveTo>
                    <a:lnTo>
                      <a:pt x="331" y="104"/>
                    </a:lnTo>
                    <a:lnTo>
                      <a:pt x="331" y="102"/>
                    </a:lnTo>
                    <a:lnTo>
                      <a:pt x="333" y="102"/>
                    </a:lnTo>
                    <a:lnTo>
                      <a:pt x="335" y="102"/>
                    </a:lnTo>
                    <a:lnTo>
                      <a:pt x="335" y="100"/>
                    </a:lnTo>
                    <a:lnTo>
                      <a:pt x="335" y="102"/>
                    </a:lnTo>
                    <a:lnTo>
                      <a:pt x="333" y="104"/>
                    </a:lnTo>
                    <a:lnTo>
                      <a:pt x="331" y="104"/>
                    </a:lnTo>
                    <a:lnTo>
                      <a:pt x="331" y="102"/>
                    </a:lnTo>
                    <a:close/>
                    <a:moveTo>
                      <a:pt x="381" y="115"/>
                    </a:moveTo>
                    <a:lnTo>
                      <a:pt x="383" y="115"/>
                    </a:lnTo>
                    <a:lnTo>
                      <a:pt x="381" y="115"/>
                    </a:lnTo>
                    <a:lnTo>
                      <a:pt x="383" y="115"/>
                    </a:lnTo>
                    <a:lnTo>
                      <a:pt x="383" y="117"/>
                    </a:lnTo>
                    <a:lnTo>
                      <a:pt x="381" y="117"/>
                    </a:lnTo>
                    <a:lnTo>
                      <a:pt x="381" y="115"/>
                    </a:lnTo>
                    <a:close/>
                    <a:moveTo>
                      <a:pt x="383" y="115"/>
                    </a:moveTo>
                    <a:lnTo>
                      <a:pt x="383" y="117"/>
                    </a:lnTo>
                    <a:lnTo>
                      <a:pt x="383" y="115"/>
                    </a:lnTo>
                    <a:close/>
                    <a:moveTo>
                      <a:pt x="336" y="102"/>
                    </a:moveTo>
                    <a:lnTo>
                      <a:pt x="338" y="102"/>
                    </a:lnTo>
                    <a:lnTo>
                      <a:pt x="336" y="102"/>
                    </a:lnTo>
                    <a:lnTo>
                      <a:pt x="336" y="100"/>
                    </a:lnTo>
                    <a:lnTo>
                      <a:pt x="338" y="100"/>
                    </a:lnTo>
                    <a:lnTo>
                      <a:pt x="338" y="102"/>
                    </a:lnTo>
                    <a:lnTo>
                      <a:pt x="338" y="100"/>
                    </a:lnTo>
                    <a:lnTo>
                      <a:pt x="336" y="100"/>
                    </a:lnTo>
                    <a:lnTo>
                      <a:pt x="338" y="100"/>
                    </a:lnTo>
                    <a:lnTo>
                      <a:pt x="336" y="100"/>
                    </a:lnTo>
                    <a:lnTo>
                      <a:pt x="338" y="100"/>
                    </a:lnTo>
                    <a:lnTo>
                      <a:pt x="336" y="100"/>
                    </a:lnTo>
                    <a:lnTo>
                      <a:pt x="338" y="100"/>
                    </a:lnTo>
                    <a:lnTo>
                      <a:pt x="340" y="100"/>
                    </a:lnTo>
                    <a:lnTo>
                      <a:pt x="340" y="98"/>
                    </a:lnTo>
                    <a:lnTo>
                      <a:pt x="340" y="100"/>
                    </a:lnTo>
                    <a:lnTo>
                      <a:pt x="340" y="98"/>
                    </a:lnTo>
                    <a:lnTo>
                      <a:pt x="340" y="100"/>
                    </a:lnTo>
                    <a:lnTo>
                      <a:pt x="340" y="98"/>
                    </a:lnTo>
                    <a:lnTo>
                      <a:pt x="342" y="98"/>
                    </a:lnTo>
                    <a:lnTo>
                      <a:pt x="340" y="98"/>
                    </a:lnTo>
                    <a:lnTo>
                      <a:pt x="342" y="96"/>
                    </a:lnTo>
                    <a:lnTo>
                      <a:pt x="342" y="98"/>
                    </a:lnTo>
                    <a:lnTo>
                      <a:pt x="342" y="100"/>
                    </a:lnTo>
                    <a:lnTo>
                      <a:pt x="342" y="98"/>
                    </a:lnTo>
                    <a:lnTo>
                      <a:pt x="342" y="96"/>
                    </a:lnTo>
                    <a:lnTo>
                      <a:pt x="342" y="98"/>
                    </a:lnTo>
                    <a:lnTo>
                      <a:pt x="342" y="100"/>
                    </a:lnTo>
                    <a:lnTo>
                      <a:pt x="340" y="100"/>
                    </a:lnTo>
                    <a:lnTo>
                      <a:pt x="338" y="100"/>
                    </a:lnTo>
                    <a:lnTo>
                      <a:pt x="340" y="100"/>
                    </a:lnTo>
                    <a:lnTo>
                      <a:pt x="338" y="100"/>
                    </a:lnTo>
                    <a:lnTo>
                      <a:pt x="338" y="102"/>
                    </a:lnTo>
                    <a:lnTo>
                      <a:pt x="336" y="102"/>
                    </a:lnTo>
                    <a:close/>
                    <a:moveTo>
                      <a:pt x="340" y="100"/>
                    </a:moveTo>
                    <a:lnTo>
                      <a:pt x="340" y="98"/>
                    </a:lnTo>
                    <a:lnTo>
                      <a:pt x="340" y="100"/>
                    </a:lnTo>
                    <a:close/>
                    <a:moveTo>
                      <a:pt x="281" y="62"/>
                    </a:moveTo>
                    <a:lnTo>
                      <a:pt x="279" y="62"/>
                    </a:lnTo>
                    <a:lnTo>
                      <a:pt x="281" y="62"/>
                    </a:lnTo>
                    <a:lnTo>
                      <a:pt x="281" y="63"/>
                    </a:lnTo>
                    <a:lnTo>
                      <a:pt x="279" y="63"/>
                    </a:lnTo>
                    <a:lnTo>
                      <a:pt x="279" y="65"/>
                    </a:lnTo>
                    <a:lnTo>
                      <a:pt x="279" y="63"/>
                    </a:lnTo>
                    <a:lnTo>
                      <a:pt x="281" y="63"/>
                    </a:lnTo>
                    <a:lnTo>
                      <a:pt x="281" y="65"/>
                    </a:lnTo>
                    <a:lnTo>
                      <a:pt x="281" y="67"/>
                    </a:lnTo>
                    <a:lnTo>
                      <a:pt x="279" y="67"/>
                    </a:lnTo>
                    <a:lnTo>
                      <a:pt x="277" y="69"/>
                    </a:lnTo>
                    <a:lnTo>
                      <a:pt x="275" y="69"/>
                    </a:lnTo>
                    <a:lnTo>
                      <a:pt x="275" y="67"/>
                    </a:lnTo>
                    <a:lnTo>
                      <a:pt x="277" y="67"/>
                    </a:lnTo>
                    <a:lnTo>
                      <a:pt x="275" y="67"/>
                    </a:lnTo>
                    <a:lnTo>
                      <a:pt x="277" y="67"/>
                    </a:lnTo>
                    <a:lnTo>
                      <a:pt x="277" y="65"/>
                    </a:lnTo>
                    <a:lnTo>
                      <a:pt x="279" y="65"/>
                    </a:lnTo>
                    <a:lnTo>
                      <a:pt x="279" y="63"/>
                    </a:lnTo>
                    <a:lnTo>
                      <a:pt x="279" y="62"/>
                    </a:lnTo>
                    <a:lnTo>
                      <a:pt x="281" y="62"/>
                    </a:lnTo>
                    <a:close/>
                    <a:moveTo>
                      <a:pt x="383" y="110"/>
                    </a:moveTo>
                    <a:lnTo>
                      <a:pt x="383" y="108"/>
                    </a:lnTo>
                    <a:lnTo>
                      <a:pt x="383" y="106"/>
                    </a:lnTo>
                    <a:lnTo>
                      <a:pt x="384" y="106"/>
                    </a:lnTo>
                    <a:lnTo>
                      <a:pt x="384" y="108"/>
                    </a:lnTo>
                    <a:lnTo>
                      <a:pt x="384" y="110"/>
                    </a:lnTo>
                    <a:lnTo>
                      <a:pt x="384" y="112"/>
                    </a:lnTo>
                    <a:lnTo>
                      <a:pt x="383" y="112"/>
                    </a:lnTo>
                    <a:lnTo>
                      <a:pt x="384" y="112"/>
                    </a:lnTo>
                    <a:lnTo>
                      <a:pt x="383" y="112"/>
                    </a:lnTo>
                    <a:lnTo>
                      <a:pt x="383" y="110"/>
                    </a:lnTo>
                    <a:close/>
                    <a:moveTo>
                      <a:pt x="457" y="135"/>
                    </a:moveTo>
                    <a:lnTo>
                      <a:pt x="457" y="133"/>
                    </a:lnTo>
                    <a:lnTo>
                      <a:pt x="457" y="135"/>
                    </a:lnTo>
                    <a:close/>
                    <a:moveTo>
                      <a:pt x="383" y="100"/>
                    </a:moveTo>
                    <a:lnTo>
                      <a:pt x="383" y="102"/>
                    </a:lnTo>
                    <a:lnTo>
                      <a:pt x="383" y="100"/>
                    </a:lnTo>
                    <a:lnTo>
                      <a:pt x="383" y="102"/>
                    </a:lnTo>
                    <a:lnTo>
                      <a:pt x="383" y="100"/>
                    </a:lnTo>
                    <a:lnTo>
                      <a:pt x="383" y="102"/>
                    </a:lnTo>
                    <a:lnTo>
                      <a:pt x="383" y="104"/>
                    </a:lnTo>
                    <a:lnTo>
                      <a:pt x="383" y="106"/>
                    </a:lnTo>
                    <a:lnTo>
                      <a:pt x="381" y="106"/>
                    </a:lnTo>
                    <a:lnTo>
                      <a:pt x="381" y="104"/>
                    </a:lnTo>
                    <a:lnTo>
                      <a:pt x="383" y="104"/>
                    </a:lnTo>
                    <a:lnTo>
                      <a:pt x="383" y="102"/>
                    </a:lnTo>
                    <a:lnTo>
                      <a:pt x="383" y="100"/>
                    </a:lnTo>
                    <a:lnTo>
                      <a:pt x="383" y="102"/>
                    </a:lnTo>
                    <a:lnTo>
                      <a:pt x="383" y="100"/>
                    </a:lnTo>
                    <a:close/>
                    <a:moveTo>
                      <a:pt x="461" y="129"/>
                    </a:moveTo>
                    <a:lnTo>
                      <a:pt x="461" y="131"/>
                    </a:lnTo>
                    <a:lnTo>
                      <a:pt x="461" y="129"/>
                    </a:lnTo>
                    <a:close/>
                    <a:moveTo>
                      <a:pt x="350" y="87"/>
                    </a:moveTo>
                    <a:lnTo>
                      <a:pt x="348" y="87"/>
                    </a:lnTo>
                    <a:lnTo>
                      <a:pt x="348" y="85"/>
                    </a:lnTo>
                    <a:lnTo>
                      <a:pt x="350" y="85"/>
                    </a:lnTo>
                    <a:lnTo>
                      <a:pt x="352" y="85"/>
                    </a:lnTo>
                    <a:lnTo>
                      <a:pt x="354" y="85"/>
                    </a:lnTo>
                    <a:lnTo>
                      <a:pt x="352" y="87"/>
                    </a:lnTo>
                    <a:lnTo>
                      <a:pt x="350" y="87"/>
                    </a:lnTo>
                    <a:lnTo>
                      <a:pt x="348" y="87"/>
                    </a:lnTo>
                    <a:lnTo>
                      <a:pt x="350" y="87"/>
                    </a:lnTo>
                    <a:close/>
                    <a:moveTo>
                      <a:pt x="286" y="54"/>
                    </a:moveTo>
                    <a:lnTo>
                      <a:pt x="286" y="52"/>
                    </a:lnTo>
                    <a:lnTo>
                      <a:pt x="286" y="54"/>
                    </a:lnTo>
                    <a:lnTo>
                      <a:pt x="286" y="56"/>
                    </a:lnTo>
                    <a:lnTo>
                      <a:pt x="285" y="56"/>
                    </a:lnTo>
                    <a:lnTo>
                      <a:pt x="285" y="58"/>
                    </a:lnTo>
                    <a:lnTo>
                      <a:pt x="285" y="56"/>
                    </a:lnTo>
                    <a:lnTo>
                      <a:pt x="285" y="54"/>
                    </a:lnTo>
                    <a:lnTo>
                      <a:pt x="286" y="54"/>
                    </a:lnTo>
                    <a:close/>
                    <a:moveTo>
                      <a:pt x="365" y="83"/>
                    </a:moveTo>
                    <a:lnTo>
                      <a:pt x="363" y="83"/>
                    </a:lnTo>
                    <a:lnTo>
                      <a:pt x="365" y="83"/>
                    </a:lnTo>
                    <a:lnTo>
                      <a:pt x="367" y="83"/>
                    </a:lnTo>
                    <a:lnTo>
                      <a:pt x="365" y="85"/>
                    </a:lnTo>
                    <a:lnTo>
                      <a:pt x="365" y="83"/>
                    </a:lnTo>
                    <a:lnTo>
                      <a:pt x="363" y="83"/>
                    </a:lnTo>
                    <a:lnTo>
                      <a:pt x="365" y="83"/>
                    </a:lnTo>
                    <a:close/>
                    <a:moveTo>
                      <a:pt x="381" y="87"/>
                    </a:moveTo>
                    <a:lnTo>
                      <a:pt x="381" y="88"/>
                    </a:lnTo>
                    <a:lnTo>
                      <a:pt x="379" y="87"/>
                    </a:lnTo>
                    <a:lnTo>
                      <a:pt x="377" y="87"/>
                    </a:lnTo>
                    <a:lnTo>
                      <a:pt x="379" y="87"/>
                    </a:lnTo>
                    <a:lnTo>
                      <a:pt x="377" y="87"/>
                    </a:lnTo>
                    <a:lnTo>
                      <a:pt x="379" y="87"/>
                    </a:lnTo>
                    <a:lnTo>
                      <a:pt x="381" y="87"/>
                    </a:lnTo>
                    <a:close/>
                    <a:moveTo>
                      <a:pt x="288" y="42"/>
                    </a:moveTo>
                    <a:lnTo>
                      <a:pt x="288" y="40"/>
                    </a:lnTo>
                    <a:lnTo>
                      <a:pt x="288" y="42"/>
                    </a:lnTo>
                    <a:lnTo>
                      <a:pt x="290" y="42"/>
                    </a:lnTo>
                    <a:lnTo>
                      <a:pt x="288" y="42"/>
                    </a:lnTo>
                    <a:close/>
                    <a:moveTo>
                      <a:pt x="290" y="42"/>
                    </a:moveTo>
                    <a:lnTo>
                      <a:pt x="290" y="44"/>
                    </a:lnTo>
                    <a:lnTo>
                      <a:pt x="290" y="46"/>
                    </a:lnTo>
                    <a:lnTo>
                      <a:pt x="288" y="46"/>
                    </a:lnTo>
                    <a:lnTo>
                      <a:pt x="288" y="48"/>
                    </a:lnTo>
                    <a:lnTo>
                      <a:pt x="288" y="50"/>
                    </a:lnTo>
                    <a:lnTo>
                      <a:pt x="288" y="52"/>
                    </a:lnTo>
                    <a:lnTo>
                      <a:pt x="286" y="52"/>
                    </a:lnTo>
                    <a:lnTo>
                      <a:pt x="286" y="50"/>
                    </a:lnTo>
                    <a:lnTo>
                      <a:pt x="286" y="48"/>
                    </a:lnTo>
                    <a:lnTo>
                      <a:pt x="286" y="46"/>
                    </a:lnTo>
                    <a:lnTo>
                      <a:pt x="288" y="44"/>
                    </a:lnTo>
                    <a:lnTo>
                      <a:pt x="288" y="42"/>
                    </a:lnTo>
                    <a:lnTo>
                      <a:pt x="290" y="42"/>
                    </a:lnTo>
                    <a:lnTo>
                      <a:pt x="290" y="40"/>
                    </a:lnTo>
                    <a:lnTo>
                      <a:pt x="290" y="42"/>
                    </a:lnTo>
                    <a:lnTo>
                      <a:pt x="290" y="44"/>
                    </a:lnTo>
                    <a:lnTo>
                      <a:pt x="290" y="42"/>
                    </a:lnTo>
                    <a:lnTo>
                      <a:pt x="290" y="40"/>
                    </a:lnTo>
                    <a:lnTo>
                      <a:pt x="290" y="42"/>
                    </a:lnTo>
                    <a:close/>
                    <a:moveTo>
                      <a:pt x="288" y="44"/>
                    </a:moveTo>
                    <a:lnTo>
                      <a:pt x="288" y="46"/>
                    </a:lnTo>
                    <a:lnTo>
                      <a:pt x="288" y="44"/>
                    </a:lnTo>
                    <a:close/>
                    <a:moveTo>
                      <a:pt x="490" y="123"/>
                    </a:moveTo>
                    <a:lnTo>
                      <a:pt x="490" y="121"/>
                    </a:lnTo>
                    <a:lnTo>
                      <a:pt x="490" y="123"/>
                    </a:lnTo>
                    <a:close/>
                    <a:moveTo>
                      <a:pt x="288" y="38"/>
                    </a:moveTo>
                    <a:lnTo>
                      <a:pt x="290" y="38"/>
                    </a:lnTo>
                    <a:lnTo>
                      <a:pt x="288" y="38"/>
                    </a:lnTo>
                    <a:lnTo>
                      <a:pt x="290" y="38"/>
                    </a:lnTo>
                    <a:lnTo>
                      <a:pt x="288" y="38"/>
                    </a:lnTo>
                    <a:lnTo>
                      <a:pt x="290" y="37"/>
                    </a:lnTo>
                    <a:lnTo>
                      <a:pt x="290" y="38"/>
                    </a:lnTo>
                    <a:lnTo>
                      <a:pt x="288" y="38"/>
                    </a:lnTo>
                    <a:lnTo>
                      <a:pt x="290" y="38"/>
                    </a:lnTo>
                    <a:lnTo>
                      <a:pt x="290" y="40"/>
                    </a:lnTo>
                    <a:lnTo>
                      <a:pt x="288" y="40"/>
                    </a:lnTo>
                    <a:lnTo>
                      <a:pt x="288" y="38"/>
                    </a:lnTo>
                    <a:lnTo>
                      <a:pt x="288" y="37"/>
                    </a:lnTo>
                    <a:lnTo>
                      <a:pt x="290" y="37"/>
                    </a:lnTo>
                    <a:lnTo>
                      <a:pt x="288" y="38"/>
                    </a:lnTo>
                    <a:close/>
                    <a:moveTo>
                      <a:pt x="296" y="31"/>
                    </a:moveTo>
                    <a:lnTo>
                      <a:pt x="296" y="33"/>
                    </a:lnTo>
                    <a:lnTo>
                      <a:pt x="296" y="31"/>
                    </a:lnTo>
                    <a:lnTo>
                      <a:pt x="296" y="33"/>
                    </a:lnTo>
                    <a:lnTo>
                      <a:pt x="294" y="33"/>
                    </a:lnTo>
                    <a:lnTo>
                      <a:pt x="296" y="33"/>
                    </a:lnTo>
                    <a:lnTo>
                      <a:pt x="296" y="31"/>
                    </a:lnTo>
                    <a:close/>
                    <a:moveTo>
                      <a:pt x="538" y="127"/>
                    </a:moveTo>
                    <a:lnTo>
                      <a:pt x="536" y="127"/>
                    </a:lnTo>
                    <a:lnTo>
                      <a:pt x="538" y="127"/>
                    </a:lnTo>
                    <a:lnTo>
                      <a:pt x="538" y="125"/>
                    </a:lnTo>
                    <a:lnTo>
                      <a:pt x="538" y="127"/>
                    </a:lnTo>
                    <a:close/>
                    <a:moveTo>
                      <a:pt x="294" y="29"/>
                    </a:moveTo>
                    <a:lnTo>
                      <a:pt x="294" y="27"/>
                    </a:lnTo>
                    <a:lnTo>
                      <a:pt x="294" y="29"/>
                    </a:lnTo>
                    <a:lnTo>
                      <a:pt x="296" y="29"/>
                    </a:lnTo>
                    <a:lnTo>
                      <a:pt x="294" y="29"/>
                    </a:lnTo>
                    <a:lnTo>
                      <a:pt x="296" y="29"/>
                    </a:lnTo>
                    <a:lnTo>
                      <a:pt x="296" y="31"/>
                    </a:lnTo>
                    <a:lnTo>
                      <a:pt x="294" y="31"/>
                    </a:lnTo>
                    <a:lnTo>
                      <a:pt x="294" y="29"/>
                    </a:lnTo>
                    <a:lnTo>
                      <a:pt x="294" y="27"/>
                    </a:lnTo>
                    <a:lnTo>
                      <a:pt x="294" y="25"/>
                    </a:lnTo>
                    <a:lnTo>
                      <a:pt x="294" y="27"/>
                    </a:lnTo>
                    <a:lnTo>
                      <a:pt x="294" y="29"/>
                    </a:lnTo>
                    <a:lnTo>
                      <a:pt x="294" y="27"/>
                    </a:lnTo>
                    <a:lnTo>
                      <a:pt x="296" y="29"/>
                    </a:lnTo>
                    <a:lnTo>
                      <a:pt x="294" y="27"/>
                    </a:lnTo>
                    <a:lnTo>
                      <a:pt x="294" y="25"/>
                    </a:lnTo>
                    <a:lnTo>
                      <a:pt x="294" y="27"/>
                    </a:lnTo>
                    <a:lnTo>
                      <a:pt x="296" y="27"/>
                    </a:lnTo>
                    <a:lnTo>
                      <a:pt x="296" y="29"/>
                    </a:lnTo>
                    <a:lnTo>
                      <a:pt x="294" y="29"/>
                    </a:lnTo>
                    <a:close/>
                    <a:moveTo>
                      <a:pt x="296" y="23"/>
                    </a:moveTo>
                    <a:lnTo>
                      <a:pt x="296" y="21"/>
                    </a:lnTo>
                    <a:lnTo>
                      <a:pt x="296" y="23"/>
                    </a:lnTo>
                    <a:close/>
                    <a:moveTo>
                      <a:pt x="296" y="21"/>
                    </a:moveTo>
                    <a:lnTo>
                      <a:pt x="296" y="23"/>
                    </a:lnTo>
                    <a:lnTo>
                      <a:pt x="294" y="23"/>
                    </a:lnTo>
                    <a:lnTo>
                      <a:pt x="294" y="21"/>
                    </a:lnTo>
                    <a:lnTo>
                      <a:pt x="296" y="21"/>
                    </a:lnTo>
                    <a:lnTo>
                      <a:pt x="294" y="21"/>
                    </a:lnTo>
                    <a:lnTo>
                      <a:pt x="296" y="21"/>
                    </a:lnTo>
                    <a:lnTo>
                      <a:pt x="296" y="23"/>
                    </a:lnTo>
                    <a:lnTo>
                      <a:pt x="296" y="21"/>
                    </a:lnTo>
                    <a:close/>
                    <a:moveTo>
                      <a:pt x="298" y="17"/>
                    </a:moveTo>
                    <a:lnTo>
                      <a:pt x="298" y="19"/>
                    </a:lnTo>
                    <a:lnTo>
                      <a:pt x="296" y="19"/>
                    </a:lnTo>
                    <a:lnTo>
                      <a:pt x="296" y="17"/>
                    </a:lnTo>
                    <a:lnTo>
                      <a:pt x="296" y="15"/>
                    </a:lnTo>
                    <a:lnTo>
                      <a:pt x="298" y="17"/>
                    </a:lnTo>
                    <a:lnTo>
                      <a:pt x="296" y="17"/>
                    </a:lnTo>
                    <a:lnTo>
                      <a:pt x="298" y="17"/>
                    </a:lnTo>
                    <a:close/>
                    <a:moveTo>
                      <a:pt x="302" y="12"/>
                    </a:moveTo>
                    <a:lnTo>
                      <a:pt x="300" y="12"/>
                    </a:lnTo>
                    <a:lnTo>
                      <a:pt x="300" y="13"/>
                    </a:lnTo>
                    <a:lnTo>
                      <a:pt x="300" y="12"/>
                    </a:lnTo>
                    <a:lnTo>
                      <a:pt x="302" y="12"/>
                    </a:lnTo>
                    <a:lnTo>
                      <a:pt x="300" y="13"/>
                    </a:lnTo>
                    <a:lnTo>
                      <a:pt x="300" y="12"/>
                    </a:lnTo>
                    <a:lnTo>
                      <a:pt x="302" y="12"/>
                    </a:lnTo>
                    <a:close/>
                    <a:moveTo>
                      <a:pt x="302" y="8"/>
                    </a:moveTo>
                    <a:lnTo>
                      <a:pt x="302" y="10"/>
                    </a:lnTo>
                    <a:lnTo>
                      <a:pt x="302" y="8"/>
                    </a:lnTo>
                    <a:close/>
                    <a:moveTo>
                      <a:pt x="302" y="8"/>
                    </a:moveTo>
                    <a:lnTo>
                      <a:pt x="300" y="8"/>
                    </a:lnTo>
                    <a:lnTo>
                      <a:pt x="302" y="8"/>
                    </a:lnTo>
                    <a:lnTo>
                      <a:pt x="302" y="10"/>
                    </a:lnTo>
                    <a:lnTo>
                      <a:pt x="300" y="12"/>
                    </a:lnTo>
                    <a:lnTo>
                      <a:pt x="298" y="13"/>
                    </a:lnTo>
                    <a:lnTo>
                      <a:pt x="298" y="12"/>
                    </a:lnTo>
                    <a:lnTo>
                      <a:pt x="296" y="12"/>
                    </a:lnTo>
                    <a:lnTo>
                      <a:pt x="298" y="12"/>
                    </a:lnTo>
                    <a:lnTo>
                      <a:pt x="296" y="10"/>
                    </a:lnTo>
                    <a:lnTo>
                      <a:pt x="296" y="8"/>
                    </a:lnTo>
                    <a:lnTo>
                      <a:pt x="298" y="8"/>
                    </a:lnTo>
                    <a:lnTo>
                      <a:pt x="298" y="6"/>
                    </a:lnTo>
                    <a:lnTo>
                      <a:pt x="296" y="6"/>
                    </a:lnTo>
                    <a:lnTo>
                      <a:pt x="298" y="6"/>
                    </a:lnTo>
                    <a:lnTo>
                      <a:pt x="298" y="4"/>
                    </a:lnTo>
                    <a:lnTo>
                      <a:pt x="300" y="4"/>
                    </a:lnTo>
                    <a:lnTo>
                      <a:pt x="300" y="2"/>
                    </a:lnTo>
                    <a:lnTo>
                      <a:pt x="298" y="2"/>
                    </a:lnTo>
                    <a:lnTo>
                      <a:pt x="300" y="2"/>
                    </a:lnTo>
                    <a:lnTo>
                      <a:pt x="298" y="2"/>
                    </a:lnTo>
                    <a:lnTo>
                      <a:pt x="298" y="0"/>
                    </a:lnTo>
                    <a:lnTo>
                      <a:pt x="300" y="0"/>
                    </a:lnTo>
                    <a:lnTo>
                      <a:pt x="304" y="4"/>
                    </a:lnTo>
                    <a:lnTo>
                      <a:pt x="304" y="6"/>
                    </a:lnTo>
                    <a:lnTo>
                      <a:pt x="302" y="6"/>
                    </a:lnTo>
                    <a:lnTo>
                      <a:pt x="302" y="8"/>
                    </a:lnTo>
                    <a:close/>
                    <a:moveTo>
                      <a:pt x="92" y="252"/>
                    </a:moveTo>
                    <a:lnTo>
                      <a:pt x="92" y="250"/>
                    </a:lnTo>
                    <a:lnTo>
                      <a:pt x="94" y="252"/>
                    </a:lnTo>
                    <a:lnTo>
                      <a:pt x="98" y="246"/>
                    </a:lnTo>
                    <a:lnTo>
                      <a:pt x="102" y="242"/>
                    </a:lnTo>
                    <a:lnTo>
                      <a:pt x="104" y="238"/>
                    </a:lnTo>
                    <a:lnTo>
                      <a:pt x="106" y="237"/>
                    </a:lnTo>
                    <a:lnTo>
                      <a:pt x="110" y="231"/>
                    </a:lnTo>
                    <a:lnTo>
                      <a:pt x="114" y="227"/>
                    </a:lnTo>
                    <a:lnTo>
                      <a:pt x="114" y="225"/>
                    </a:lnTo>
                    <a:lnTo>
                      <a:pt x="117" y="221"/>
                    </a:lnTo>
                    <a:lnTo>
                      <a:pt x="119" y="219"/>
                    </a:lnTo>
                    <a:lnTo>
                      <a:pt x="121" y="217"/>
                    </a:lnTo>
                    <a:lnTo>
                      <a:pt x="119" y="217"/>
                    </a:lnTo>
                    <a:lnTo>
                      <a:pt x="119" y="215"/>
                    </a:lnTo>
                    <a:lnTo>
                      <a:pt x="112" y="212"/>
                    </a:lnTo>
                    <a:lnTo>
                      <a:pt x="110" y="210"/>
                    </a:lnTo>
                    <a:lnTo>
                      <a:pt x="106" y="206"/>
                    </a:lnTo>
                    <a:lnTo>
                      <a:pt x="102" y="204"/>
                    </a:lnTo>
                    <a:lnTo>
                      <a:pt x="100" y="202"/>
                    </a:lnTo>
                    <a:lnTo>
                      <a:pt x="98" y="204"/>
                    </a:lnTo>
                    <a:lnTo>
                      <a:pt x="96" y="206"/>
                    </a:lnTo>
                    <a:lnTo>
                      <a:pt x="96" y="208"/>
                    </a:lnTo>
                    <a:lnTo>
                      <a:pt x="94" y="210"/>
                    </a:lnTo>
                    <a:lnTo>
                      <a:pt x="91" y="208"/>
                    </a:lnTo>
                    <a:lnTo>
                      <a:pt x="87" y="204"/>
                    </a:lnTo>
                    <a:lnTo>
                      <a:pt x="81" y="210"/>
                    </a:lnTo>
                    <a:lnTo>
                      <a:pt x="81" y="212"/>
                    </a:lnTo>
                    <a:lnTo>
                      <a:pt x="79" y="213"/>
                    </a:lnTo>
                    <a:lnTo>
                      <a:pt x="75" y="217"/>
                    </a:lnTo>
                    <a:lnTo>
                      <a:pt x="77" y="221"/>
                    </a:lnTo>
                    <a:lnTo>
                      <a:pt x="75" y="225"/>
                    </a:lnTo>
                    <a:lnTo>
                      <a:pt x="73" y="229"/>
                    </a:lnTo>
                    <a:lnTo>
                      <a:pt x="73" y="227"/>
                    </a:lnTo>
                    <a:lnTo>
                      <a:pt x="64" y="221"/>
                    </a:lnTo>
                    <a:lnTo>
                      <a:pt x="58" y="217"/>
                    </a:lnTo>
                    <a:lnTo>
                      <a:pt x="52" y="227"/>
                    </a:lnTo>
                    <a:lnTo>
                      <a:pt x="48" y="225"/>
                    </a:lnTo>
                    <a:lnTo>
                      <a:pt x="46" y="223"/>
                    </a:lnTo>
                    <a:lnTo>
                      <a:pt x="48" y="219"/>
                    </a:lnTo>
                    <a:lnTo>
                      <a:pt x="50" y="213"/>
                    </a:lnTo>
                    <a:lnTo>
                      <a:pt x="46" y="212"/>
                    </a:lnTo>
                    <a:lnTo>
                      <a:pt x="50" y="206"/>
                    </a:lnTo>
                    <a:lnTo>
                      <a:pt x="52" y="200"/>
                    </a:lnTo>
                    <a:lnTo>
                      <a:pt x="54" y="200"/>
                    </a:lnTo>
                    <a:lnTo>
                      <a:pt x="54" y="198"/>
                    </a:lnTo>
                    <a:lnTo>
                      <a:pt x="56" y="194"/>
                    </a:lnTo>
                    <a:lnTo>
                      <a:pt x="56" y="192"/>
                    </a:lnTo>
                    <a:lnTo>
                      <a:pt x="56" y="188"/>
                    </a:lnTo>
                    <a:lnTo>
                      <a:pt x="58" y="185"/>
                    </a:lnTo>
                    <a:lnTo>
                      <a:pt x="58" y="181"/>
                    </a:lnTo>
                    <a:lnTo>
                      <a:pt x="60" y="181"/>
                    </a:lnTo>
                    <a:lnTo>
                      <a:pt x="62" y="181"/>
                    </a:lnTo>
                    <a:lnTo>
                      <a:pt x="66" y="181"/>
                    </a:lnTo>
                    <a:lnTo>
                      <a:pt x="69" y="179"/>
                    </a:lnTo>
                    <a:lnTo>
                      <a:pt x="71" y="179"/>
                    </a:lnTo>
                    <a:lnTo>
                      <a:pt x="69" y="177"/>
                    </a:lnTo>
                    <a:lnTo>
                      <a:pt x="73" y="175"/>
                    </a:lnTo>
                    <a:lnTo>
                      <a:pt x="75" y="175"/>
                    </a:lnTo>
                    <a:lnTo>
                      <a:pt x="77" y="173"/>
                    </a:lnTo>
                    <a:lnTo>
                      <a:pt x="77" y="171"/>
                    </a:lnTo>
                    <a:lnTo>
                      <a:pt x="79" y="171"/>
                    </a:lnTo>
                    <a:lnTo>
                      <a:pt x="79" y="169"/>
                    </a:lnTo>
                    <a:lnTo>
                      <a:pt x="75" y="167"/>
                    </a:lnTo>
                    <a:lnTo>
                      <a:pt x="75" y="163"/>
                    </a:lnTo>
                    <a:lnTo>
                      <a:pt x="73" y="162"/>
                    </a:lnTo>
                    <a:lnTo>
                      <a:pt x="71" y="158"/>
                    </a:lnTo>
                    <a:lnTo>
                      <a:pt x="69" y="156"/>
                    </a:lnTo>
                    <a:lnTo>
                      <a:pt x="71" y="156"/>
                    </a:lnTo>
                    <a:lnTo>
                      <a:pt x="71" y="154"/>
                    </a:lnTo>
                    <a:lnTo>
                      <a:pt x="71" y="152"/>
                    </a:lnTo>
                    <a:lnTo>
                      <a:pt x="69" y="152"/>
                    </a:lnTo>
                    <a:lnTo>
                      <a:pt x="71" y="152"/>
                    </a:lnTo>
                    <a:lnTo>
                      <a:pt x="69" y="152"/>
                    </a:lnTo>
                    <a:lnTo>
                      <a:pt x="69" y="150"/>
                    </a:lnTo>
                    <a:lnTo>
                      <a:pt x="71" y="150"/>
                    </a:lnTo>
                    <a:lnTo>
                      <a:pt x="73" y="144"/>
                    </a:lnTo>
                    <a:lnTo>
                      <a:pt x="73" y="142"/>
                    </a:lnTo>
                    <a:lnTo>
                      <a:pt x="75" y="142"/>
                    </a:lnTo>
                    <a:lnTo>
                      <a:pt x="77" y="142"/>
                    </a:lnTo>
                    <a:lnTo>
                      <a:pt x="77" y="138"/>
                    </a:lnTo>
                    <a:lnTo>
                      <a:pt x="79" y="138"/>
                    </a:lnTo>
                    <a:lnTo>
                      <a:pt x="79" y="137"/>
                    </a:lnTo>
                    <a:lnTo>
                      <a:pt x="79" y="135"/>
                    </a:lnTo>
                    <a:lnTo>
                      <a:pt x="79" y="129"/>
                    </a:lnTo>
                    <a:lnTo>
                      <a:pt x="79" y="125"/>
                    </a:lnTo>
                    <a:lnTo>
                      <a:pt x="77" y="121"/>
                    </a:lnTo>
                    <a:lnTo>
                      <a:pt x="77" y="117"/>
                    </a:lnTo>
                    <a:lnTo>
                      <a:pt x="75" y="113"/>
                    </a:lnTo>
                    <a:lnTo>
                      <a:pt x="73" y="112"/>
                    </a:lnTo>
                    <a:lnTo>
                      <a:pt x="71" y="110"/>
                    </a:lnTo>
                    <a:lnTo>
                      <a:pt x="69" y="108"/>
                    </a:lnTo>
                    <a:lnTo>
                      <a:pt x="69" y="106"/>
                    </a:lnTo>
                    <a:lnTo>
                      <a:pt x="67" y="106"/>
                    </a:lnTo>
                    <a:lnTo>
                      <a:pt x="67" y="104"/>
                    </a:lnTo>
                    <a:lnTo>
                      <a:pt x="66" y="104"/>
                    </a:lnTo>
                    <a:lnTo>
                      <a:pt x="64" y="102"/>
                    </a:lnTo>
                    <a:lnTo>
                      <a:pt x="62" y="98"/>
                    </a:lnTo>
                    <a:lnTo>
                      <a:pt x="62" y="96"/>
                    </a:lnTo>
                    <a:lnTo>
                      <a:pt x="60" y="94"/>
                    </a:lnTo>
                    <a:lnTo>
                      <a:pt x="60" y="92"/>
                    </a:lnTo>
                    <a:lnTo>
                      <a:pt x="60" y="90"/>
                    </a:lnTo>
                    <a:lnTo>
                      <a:pt x="58" y="88"/>
                    </a:lnTo>
                    <a:lnTo>
                      <a:pt x="58" y="87"/>
                    </a:lnTo>
                    <a:lnTo>
                      <a:pt x="58" y="85"/>
                    </a:lnTo>
                    <a:lnTo>
                      <a:pt x="58" y="83"/>
                    </a:lnTo>
                    <a:lnTo>
                      <a:pt x="62" y="83"/>
                    </a:lnTo>
                    <a:lnTo>
                      <a:pt x="64" y="83"/>
                    </a:lnTo>
                    <a:lnTo>
                      <a:pt x="66" y="83"/>
                    </a:lnTo>
                    <a:lnTo>
                      <a:pt x="69" y="83"/>
                    </a:lnTo>
                    <a:lnTo>
                      <a:pt x="71" y="83"/>
                    </a:lnTo>
                    <a:lnTo>
                      <a:pt x="73" y="83"/>
                    </a:lnTo>
                    <a:lnTo>
                      <a:pt x="77" y="87"/>
                    </a:lnTo>
                    <a:lnTo>
                      <a:pt x="83" y="90"/>
                    </a:lnTo>
                    <a:lnTo>
                      <a:pt x="85" y="90"/>
                    </a:lnTo>
                    <a:lnTo>
                      <a:pt x="89" y="90"/>
                    </a:lnTo>
                    <a:lnTo>
                      <a:pt x="91" y="90"/>
                    </a:lnTo>
                    <a:lnTo>
                      <a:pt x="92" y="90"/>
                    </a:lnTo>
                    <a:lnTo>
                      <a:pt x="94" y="92"/>
                    </a:lnTo>
                    <a:lnTo>
                      <a:pt x="96" y="92"/>
                    </a:lnTo>
                    <a:lnTo>
                      <a:pt x="108" y="96"/>
                    </a:lnTo>
                    <a:lnTo>
                      <a:pt x="110" y="98"/>
                    </a:lnTo>
                    <a:lnTo>
                      <a:pt x="123" y="106"/>
                    </a:lnTo>
                    <a:lnTo>
                      <a:pt x="127" y="108"/>
                    </a:lnTo>
                    <a:lnTo>
                      <a:pt x="129" y="110"/>
                    </a:lnTo>
                    <a:lnTo>
                      <a:pt x="127" y="112"/>
                    </a:lnTo>
                    <a:lnTo>
                      <a:pt x="127" y="113"/>
                    </a:lnTo>
                    <a:lnTo>
                      <a:pt x="127" y="115"/>
                    </a:lnTo>
                    <a:lnTo>
                      <a:pt x="129" y="117"/>
                    </a:lnTo>
                    <a:lnTo>
                      <a:pt x="131" y="119"/>
                    </a:lnTo>
                    <a:lnTo>
                      <a:pt x="133" y="119"/>
                    </a:lnTo>
                    <a:lnTo>
                      <a:pt x="137" y="115"/>
                    </a:lnTo>
                    <a:lnTo>
                      <a:pt x="139" y="113"/>
                    </a:lnTo>
                    <a:lnTo>
                      <a:pt x="139" y="112"/>
                    </a:lnTo>
                    <a:lnTo>
                      <a:pt x="142" y="115"/>
                    </a:lnTo>
                    <a:lnTo>
                      <a:pt x="144" y="117"/>
                    </a:lnTo>
                    <a:lnTo>
                      <a:pt x="146" y="119"/>
                    </a:lnTo>
                    <a:lnTo>
                      <a:pt x="146" y="117"/>
                    </a:lnTo>
                    <a:lnTo>
                      <a:pt x="148" y="117"/>
                    </a:lnTo>
                    <a:lnTo>
                      <a:pt x="150" y="113"/>
                    </a:lnTo>
                    <a:lnTo>
                      <a:pt x="152" y="112"/>
                    </a:lnTo>
                    <a:lnTo>
                      <a:pt x="154" y="112"/>
                    </a:lnTo>
                    <a:lnTo>
                      <a:pt x="158" y="115"/>
                    </a:lnTo>
                    <a:lnTo>
                      <a:pt x="162" y="119"/>
                    </a:lnTo>
                    <a:lnTo>
                      <a:pt x="164" y="121"/>
                    </a:lnTo>
                    <a:lnTo>
                      <a:pt x="165" y="119"/>
                    </a:lnTo>
                    <a:lnTo>
                      <a:pt x="167" y="117"/>
                    </a:lnTo>
                    <a:lnTo>
                      <a:pt x="167" y="115"/>
                    </a:lnTo>
                    <a:lnTo>
                      <a:pt x="169" y="113"/>
                    </a:lnTo>
                    <a:lnTo>
                      <a:pt x="177" y="119"/>
                    </a:lnTo>
                    <a:lnTo>
                      <a:pt x="179" y="119"/>
                    </a:lnTo>
                    <a:lnTo>
                      <a:pt x="189" y="127"/>
                    </a:lnTo>
                    <a:lnTo>
                      <a:pt x="189" y="125"/>
                    </a:lnTo>
                    <a:lnTo>
                      <a:pt x="190" y="123"/>
                    </a:lnTo>
                    <a:lnTo>
                      <a:pt x="194" y="115"/>
                    </a:lnTo>
                    <a:lnTo>
                      <a:pt x="196" y="115"/>
                    </a:lnTo>
                    <a:lnTo>
                      <a:pt x="198" y="112"/>
                    </a:lnTo>
                    <a:lnTo>
                      <a:pt x="196" y="110"/>
                    </a:lnTo>
                    <a:lnTo>
                      <a:pt x="194" y="106"/>
                    </a:lnTo>
                    <a:lnTo>
                      <a:pt x="192" y="100"/>
                    </a:lnTo>
                    <a:lnTo>
                      <a:pt x="192" y="96"/>
                    </a:lnTo>
                    <a:lnTo>
                      <a:pt x="192" y="94"/>
                    </a:lnTo>
                    <a:lnTo>
                      <a:pt x="192" y="87"/>
                    </a:lnTo>
                    <a:lnTo>
                      <a:pt x="192" y="85"/>
                    </a:lnTo>
                    <a:lnTo>
                      <a:pt x="192" y="81"/>
                    </a:lnTo>
                    <a:lnTo>
                      <a:pt x="192" y="73"/>
                    </a:lnTo>
                    <a:lnTo>
                      <a:pt x="190" y="73"/>
                    </a:lnTo>
                    <a:lnTo>
                      <a:pt x="189" y="73"/>
                    </a:lnTo>
                    <a:lnTo>
                      <a:pt x="181" y="71"/>
                    </a:lnTo>
                    <a:lnTo>
                      <a:pt x="179" y="71"/>
                    </a:lnTo>
                    <a:lnTo>
                      <a:pt x="177" y="69"/>
                    </a:lnTo>
                    <a:lnTo>
                      <a:pt x="185" y="54"/>
                    </a:lnTo>
                    <a:lnTo>
                      <a:pt x="187" y="50"/>
                    </a:lnTo>
                    <a:lnTo>
                      <a:pt x="192" y="37"/>
                    </a:lnTo>
                    <a:lnTo>
                      <a:pt x="194" y="33"/>
                    </a:lnTo>
                    <a:lnTo>
                      <a:pt x="196" y="29"/>
                    </a:lnTo>
                    <a:lnTo>
                      <a:pt x="198" y="25"/>
                    </a:lnTo>
                    <a:lnTo>
                      <a:pt x="200" y="19"/>
                    </a:lnTo>
                    <a:lnTo>
                      <a:pt x="208" y="19"/>
                    </a:lnTo>
                    <a:lnTo>
                      <a:pt x="219" y="17"/>
                    </a:lnTo>
                    <a:lnTo>
                      <a:pt x="225" y="17"/>
                    </a:lnTo>
                    <a:lnTo>
                      <a:pt x="235" y="15"/>
                    </a:lnTo>
                    <a:lnTo>
                      <a:pt x="240" y="15"/>
                    </a:lnTo>
                    <a:lnTo>
                      <a:pt x="246" y="15"/>
                    </a:lnTo>
                    <a:lnTo>
                      <a:pt x="250" y="13"/>
                    </a:lnTo>
                    <a:lnTo>
                      <a:pt x="265" y="12"/>
                    </a:lnTo>
                    <a:lnTo>
                      <a:pt x="275" y="12"/>
                    </a:lnTo>
                    <a:lnTo>
                      <a:pt x="277" y="12"/>
                    </a:lnTo>
                    <a:lnTo>
                      <a:pt x="277" y="10"/>
                    </a:lnTo>
                    <a:lnTo>
                      <a:pt x="277" y="8"/>
                    </a:lnTo>
                    <a:lnTo>
                      <a:pt x="279" y="8"/>
                    </a:lnTo>
                    <a:lnTo>
                      <a:pt x="279" y="6"/>
                    </a:lnTo>
                    <a:lnTo>
                      <a:pt x="281" y="6"/>
                    </a:lnTo>
                    <a:lnTo>
                      <a:pt x="279" y="6"/>
                    </a:lnTo>
                    <a:lnTo>
                      <a:pt x="279" y="4"/>
                    </a:lnTo>
                    <a:lnTo>
                      <a:pt x="281" y="4"/>
                    </a:lnTo>
                    <a:lnTo>
                      <a:pt x="279" y="4"/>
                    </a:lnTo>
                    <a:lnTo>
                      <a:pt x="281" y="4"/>
                    </a:lnTo>
                    <a:lnTo>
                      <a:pt x="281" y="2"/>
                    </a:lnTo>
                    <a:lnTo>
                      <a:pt x="283" y="4"/>
                    </a:lnTo>
                    <a:lnTo>
                      <a:pt x="285" y="4"/>
                    </a:lnTo>
                    <a:lnTo>
                      <a:pt x="285" y="6"/>
                    </a:lnTo>
                    <a:lnTo>
                      <a:pt x="286" y="6"/>
                    </a:lnTo>
                    <a:lnTo>
                      <a:pt x="288" y="6"/>
                    </a:lnTo>
                    <a:lnTo>
                      <a:pt x="286" y="4"/>
                    </a:lnTo>
                    <a:lnTo>
                      <a:pt x="288" y="4"/>
                    </a:lnTo>
                    <a:lnTo>
                      <a:pt x="288" y="6"/>
                    </a:lnTo>
                    <a:lnTo>
                      <a:pt x="288" y="4"/>
                    </a:lnTo>
                    <a:lnTo>
                      <a:pt x="290" y="4"/>
                    </a:lnTo>
                    <a:lnTo>
                      <a:pt x="290" y="2"/>
                    </a:lnTo>
                    <a:lnTo>
                      <a:pt x="290" y="4"/>
                    </a:lnTo>
                    <a:lnTo>
                      <a:pt x="292" y="4"/>
                    </a:lnTo>
                    <a:lnTo>
                      <a:pt x="292" y="2"/>
                    </a:lnTo>
                    <a:lnTo>
                      <a:pt x="294" y="2"/>
                    </a:lnTo>
                    <a:lnTo>
                      <a:pt x="296" y="4"/>
                    </a:lnTo>
                    <a:lnTo>
                      <a:pt x="296" y="2"/>
                    </a:lnTo>
                    <a:lnTo>
                      <a:pt x="298" y="2"/>
                    </a:lnTo>
                    <a:lnTo>
                      <a:pt x="300" y="2"/>
                    </a:lnTo>
                    <a:lnTo>
                      <a:pt x="300" y="4"/>
                    </a:lnTo>
                    <a:lnTo>
                      <a:pt x="298" y="4"/>
                    </a:lnTo>
                    <a:lnTo>
                      <a:pt x="296" y="6"/>
                    </a:lnTo>
                    <a:lnTo>
                      <a:pt x="298" y="6"/>
                    </a:lnTo>
                    <a:lnTo>
                      <a:pt x="296" y="6"/>
                    </a:lnTo>
                    <a:lnTo>
                      <a:pt x="298" y="8"/>
                    </a:lnTo>
                    <a:lnTo>
                      <a:pt x="298" y="6"/>
                    </a:lnTo>
                    <a:lnTo>
                      <a:pt x="298" y="8"/>
                    </a:lnTo>
                    <a:lnTo>
                      <a:pt x="296" y="8"/>
                    </a:lnTo>
                    <a:lnTo>
                      <a:pt x="296" y="10"/>
                    </a:lnTo>
                    <a:lnTo>
                      <a:pt x="296" y="12"/>
                    </a:lnTo>
                    <a:lnTo>
                      <a:pt x="296" y="10"/>
                    </a:lnTo>
                    <a:lnTo>
                      <a:pt x="296" y="12"/>
                    </a:lnTo>
                    <a:lnTo>
                      <a:pt x="296" y="10"/>
                    </a:lnTo>
                    <a:lnTo>
                      <a:pt x="296" y="12"/>
                    </a:lnTo>
                    <a:lnTo>
                      <a:pt x="298" y="12"/>
                    </a:lnTo>
                    <a:lnTo>
                      <a:pt x="296" y="12"/>
                    </a:lnTo>
                    <a:lnTo>
                      <a:pt x="298" y="12"/>
                    </a:lnTo>
                    <a:lnTo>
                      <a:pt x="298" y="13"/>
                    </a:lnTo>
                    <a:lnTo>
                      <a:pt x="298" y="15"/>
                    </a:lnTo>
                    <a:lnTo>
                      <a:pt x="296" y="15"/>
                    </a:lnTo>
                    <a:lnTo>
                      <a:pt x="296" y="17"/>
                    </a:lnTo>
                    <a:lnTo>
                      <a:pt x="294" y="19"/>
                    </a:lnTo>
                    <a:lnTo>
                      <a:pt x="296" y="19"/>
                    </a:lnTo>
                    <a:lnTo>
                      <a:pt x="296" y="17"/>
                    </a:lnTo>
                    <a:lnTo>
                      <a:pt x="296" y="19"/>
                    </a:lnTo>
                    <a:lnTo>
                      <a:pt x="294" y="19"/>
                    </a:lnTo>
                    <a:lnTo>
                      <a:pt x="296" y="19"/>
                    </a:lnTo>
                    <a:lnTo>
                      <a:pt x="294" y="19"/>
                    </a:lnTo>
                    <a:lnTo>
                      <a:pt x="294" y="21"/>
                    </a:lnTo>
                    <a:lnTo>
                      <a:pt x="294" y="23"/>
                    </a:lnTo>
                    <a:lnTo>
                      <a:pt x="292" y="25"/>
                    </a:lnTo>
                    <a:lnTo>
                      <a:pt x="292" y="27"/>
                    </a:lnTo>
                    <a:lnTo>
                      <a:pt x="292" y="25"/>
                    </a:lnTo>
                    <a:lnTo>
                      <a:pt x="292" y="27"/>
                    </a:lnTo>
                    <a:lnTo>
                      <a:pt x="292" y="25"/>
                    </a:lnTo>
                    <a:lnTo>
                      <a:pt x="294" y="23"/>
                    </a:lnTo>
                    <a:lnTo>
                      <a:pt x="294" y="25"/>
                    </a:lnTo>
                    <a:lnTo>
                      <a:pt x="294" y="27"/>
                    </a:lnTo>
                    <a:lnTo>
                      <a:pt x="294" y="25"/>
                    </a:lnTo>
                    <a:lnTo>
                      <a:pt x="294" y="27"/>
                    </a:lnTo>
                    <a:lnTo>
                      <a:pt x="294" y="29"/>
                    </a:lnTo>
                    <a:lnTo>
                      <a:pt x="294" y="31"/>
                    </a:lnTo>
                    <a:lnTo>
                      <a:pt x="292" y="33"/>
                    </a:lnTo>
                    <a:lnTo>
                      <a:pt x="292" y="35"/>
                    </a:lnTo>
                    <a:lnTo>
                      <a:pt x="290" y="35"/>
                    </a:lnTo>
                    <a:lnTo>
                      <a:pt x="292" y="35"/>
                    </a:lnTo>
                    <a:lnTo>
                      <a:pt x="290" y="35"/>
                    </a:lnTo>
                    <a:lnTo>
                      <a:pt x="292" y="35"/>
                    </a:lnTo>
                    <a:lnTo>
                      <a:pt x="290" y="35"/>
                    </a:lnTo>
                    <a:lnTo>
                      <a:pt x="292" y="35"/>
                    </a:lnTo>
                    <a:lnTo>
                      <a:pt x="290" y="35"/>
                    </a:lnTo>
                    <a:lnTo>
                      <a:pt x="290" y="37"/>
                    </a:lnTo>
                    <a:lnTo>
                      <a:pt x="288" y="37"/>
                    </a:lnTo>
                    <a:lnTo>
                      <a:pt x="288" y="38"/>
                    </a:lnTo>
                    <a:lnTo>
                      <a:pt x="288" y="40"/>
                    </a:lnTo>
                    <a:lnTo>
                      <a:pt x="286" y="42"/>
                    </a:lnTo>
                    <a:lnTo>
                      <a:pt x="286" y="44"/>
                    </a:lnTo>
                    <a:lnTo>
                      <a:pt x="286" y="46"/>
                    </a:lnTo>
                    <a:lnTo>
                      <a:pt x="286" y="48"/>
                    </a:lnTo>
                    <a:lnTo>
                      <a:pt x="285" y="50"/>
                    </a:lnTo>
                    <a:lnTo>
                      <a:pt x="286" y="50"/>
                    </a:lnTo>
                    <a:lnTo>
                      <a:pt x="285" y="50"/>
                    </a:lnTo>
                    <a:lnTo>
                      <a:pt x="286" y="50"/>
                    </a:lnTo>
                    <a:lnTo>
                      <a:pt x="285" y="50"/>
                    </a:lnTo>
                    <a:lnTo>
                      <a:pt x="286" y="50"/>
                    </a:lnTo>
                    <a:lnTo>
                      <a:pt x="286" y="52"/>
                    </a:lnTo>
                    <a:lnTo>
                      <a:pt x="286" y="50"/>
                    </a:lnTo>
                    <a:lnTo>
                      <a:pt x="286" y="52"/>
                    </a:lnTo>
                    <a:lnTo>
                      <a:pt x="285" y="52"/>
                    </a:lnTo>
                    <a:lnTo>
                      <a:pt x="285" y="54"/>
                    </a:lnTo>
                    <a:lnTo>
                      <a:pt x="285" y="52"/>
                    </a:lnTo>
                    <a:lnTo>
                      <a:pt x="285" y="50"/>
                    </a:lnTo>
                    <a:lnTo>
                      <a:pt x="285" y="52"/>
                    </a:lnTo>
                    <a:lnTo>
                      <a:pt x="285" y="54"/>
                    </a:lnTo>
                    <a:lnTo>
                      <a:pt x="283" y="54"/>
                    </a:lnTo>
                    <a:lnTo>
                      <a:pt x="285" y="54"/>
                    </a:lnTo>
                    <a:lnTo>
                      <a:pt x="283" y="54"/>
                    </a:lnTo>
                    <a:lnTo>
                      <a:pt x="283" y="56"/>
                    </a:lnTo>
                    <a:lnTo>
                      <a:pt x="283" y="58"/>
                    </a:lnTo>
                    <a:lnTo>
                      <a:pt x="283" y="60"/>
                    </a:lnTo>
                    <a:lnTo>
                      <a:pt x="281" y="60"/>
                    </a:lnTo>
                    <a:lnTo>
                      <a:pt x="281" y="62"/>
                    </a:lnTo>
                    <a:lnTo>
                      <a:pt x="279" y="62"/>
                    </a:lnTo>
                    <a:lnTo>
                      <a:pt x="279" y="63"/>
                    </a:lnTo>
                    <a:lnTo>
                      <a:pt x="279" y="65"/>
                    </a:lnTo>
                    <a:lnTo>
                      <a:pt x="277" y="65"/>
                    </a:lnTo>
                    <a:lnTo>
                      <a:pt x="277" y="67"/>
                    </a:lnTo>
                    <a:lnTo>
                      <a:pt x="275" y="67"/>
                    </a:lnTo>
                    <a:lnTo>
                      <a:pt x="275" y="69"/>
                    </a:lnTo>
                    <a:lnTo>
                      <a:pt x="273" y="69"/>
                    </a:lnTo>
                    <a:lnTo>
                      <a:pt x="271" y="69"/>
                    </a:lnTo>
                    <a:lnTo>
                      <a:pt x="269" y="69"/>
                    </a:lnTo>
                    <a:lnTo>
                      <a:pt x="271" y="69"/>
                    </a:lnTo>
                    <a:lnTo>
                      <a:pt x="269" y="69"/>
                    </a:lnTo>
                    <a:lnTo>
                      <a:pt x="271" y="69"/>
                    </a:lnTo>
                    <a:lnTo>
                      <a:pt x="269" y="69"/>
                    </a:lnTo>
                    <a:lnTo>
                      <a:pt x="269" y="71"/>
                    </a:lnTo>
                    <a:lnTo>
                      <a:pt x="269" y="69"/>
                    </a:lnTo>
                    <a:lnTo>
                      <a:pt x="269" y="71"/>
                    </a:lnTo>
                    <a:lnTo>
                      <a:pt x="269" y="69"/>
                    </a:lnTo>
                    <a:lnTo>
                      <a:pt x="271" y="69"/>
                    </a:lnTo>
                    <a:lnTo>
                      <a:pt x="271" y="71"/>
                    </a:lnTo>
                    <a:lnTo>
                      <a:pt x="271" y="69"/>
                    </a:lnTo>
                    <a:lnTo>
                      <a:pt x="271" y="71"/>
                    </a:lnTo>
                    <a:lnTo>
                      <a:pt x="271" y="69"/>
                    </a:lnTo>
                    <a:lnTo>
                      <a:pt x="273" y="69"/>
                    </a:lnTo>
                    <a:lnTo>
                      <a:pt x="271" y="69"/>
                    </a:lnTo>
                    <a:lnTo>
                      <a:pt x="271" y="71"/>
                    </a:lnTo>
                    <a:lnTo>
                      <a:pt x="269" y="71"/>
                    </a:lnTo>
                    <a:lnTo>
                      <a:pt x="267" y="71"/>
                    </a:lnTo>
                    <a:lnTo>
                      <a:pt x="267" y="73"/>
                    </a:lnTo>
                    <a:lnTo>
                      <a:pt x="267" y="71"/>
                    </a:lnTo>
                    <a:lnTo>
                      <a:pt x="269" y="71"/>
                    </a:lnTo>
                    <a:lnTo>
                      <a:pt x="267" y="73"/>
                    </a:lnTo>
                    <a:lnTo>
                      <a:pt x="267" y="75"/>
                    </a:lnTo>
                    <a:lnTo>
                      <a:pt x="265" y="75"/>
                    </a:lnTo>
                    <a:lnTo>
                      <a:pt x="263" y="75"/>
                    </a:lnTo>
                    <a:lnTo>
                      <a:pt x="263" y="77"/>
                    </a:lnTo>
                    <a:lnTo>
                      <a:pt x="263" y="75"/>
                    </a:lnTo>
                    <a:lnTo>
                      <a:pt x="265" y="75"/>
                    </a:lnTo>
                    <a:lnTo>
                      <a:pt x="265" y="77"/>
                    </a:lnTo>
                    <a:lnTo>
                      <a:pt x="263" y="77"/>
                    </a:lnTo>
                    <a:lnTo>
                      <a:pt x="263" y="79"/>
                    </a:lnTo>
                    <a:lnTo>
                      <a:pt x="263" y="81"/>
                    </a:lnTo>
                    <a:lnTo>
                      <a:pt x="262" y="81"/>
                    </a:lnTo>
                    <a:lnTo>
                      <a:pt x="262" y="83"/>
                    </a:lnTo>
                    <a:lnTo>
                      <a:pt x="260" y="83"/>
                    </a:lnTo>
                    <a:lnTo>
                      <a:pt x="260" y="85"/>
                    </a:lnTo>
                    <a:lnTo>
                      <a:pt x="260" y="87"/>
                    </a:lnTo>
                    <a:lnTo>
                      <a:pt x="258" y="87"/>
                    </a:lnTo>
                    <a:lnTo>
                      <a:pt x="256" y="88"/>
                    </a:lnTo>
                    <a:lnTo>
                      <a:pt x="256" y="90"/>
                    </a:lnTo>
                    <a:lnTo>
                      <a:pt x="254" y="90"/>
                    </a:lnTo>
                    <a:lnTo>
                      <a:pt x="256" y="90"/>
                    </a:lnTo>
                    <a:lnTo>
                      <a:pt x="256" y="88"/>
                    </a:lnTo>
                    <a:lnTo>
                      <a:pt x="254" y="88"/>
                    </a:lnTo>
                    <a:lnTo>
                      <a:pt x="256" y="88"/>
                    </a:lnTo>
                    <a:lnTo>
                      <a:pt x="256" y="90"/>
                    </a:lnTo>
                    <a:lnTo>
                      <a:pt x="254" y="90"/>
                    </a:lnTo>
                    <a:lnTo>
                      <a:pt x="256" y="90"/>
                    </a:lnTo>
                    <a:lnTo>
                      <a:pt x="256" y="92"/>
                    </a:lnTo>
                    <a:lnTo>
                      <a:pt x="254" y="92"/>
                    </a:lnTo>
                    <a:lnTo>
                      <a:pt x="254" y="90"/>
                    </a:lnTo>
                    <a:lnTo>
                      <a:pt x="254" y="92"/>
                    </a:lnTo>
                    <a:lnTo>
                      <a:pt x="252" y="92"/>
                    </a:lnTo>
                    <a:lnTo>
                      <a:pt x="252" y="90"/>
                    </a:lnTo>
                    <a:lnTo>
                      <a:pt x="250" y="90"/>
                    </a:lnTo>
                    <a:lnTo>
                      <a:pt x="248" y="90"/>
                    </a:lnTo>
                    <a:lnTo>
                      <a:pt x="246" y="92"/>
                    </a:lnTo>
                    <a:lnTo>
                      <a:pt x="246" y="90"/>
                    </a:lnTo>
                    <a:lnTo>
                      <a:pt x="246" y="88"/>
                    </a:lnTo>
                    <a:lnTo>
                      <a:pt x="246" y="87"/>
                    </a:lnTo>
                    <a:lnTo>
                      <a:pt x="244" y="87"/>
                    </a:lnTo>
                    <a:lnTo>
                      <a:pt x="242" y="87"/>
                    </a:lnTo>
                    <a:lnTo>
                      <a:pt x="242" y="85"/>
                    </a:lnTo>
                    <a:lnTo>
                      <a:pt x="242" y="87"/>
                    </a:lnTo>
                    <a:lnTo>
                      <a:pt x="240" y="87"/>
                    </a:lnTo>
                    <a:lnTo>
                      <a:pt x="240" y="85"/>
                    </a:lnTo>
                    <a:lnTo>
                      <a:pt x="238" y="85"/>
                    </a:lnTo>
                    <a:lnTo>
                      <a:pt x="240" y="85"/>
                    </a:lnTo>
                    <a:lnTo>
                      <a:pt x="238" y="87"/>
                    </a:lnTo>
                    <a:lnTo>
                      <a:pt x="237" y="87"/>
                    </a:lnTo>
                    <a:lnTo>
                      <a:pt x="237" y="85"/>
                    </a:lnTo>
                    <a:lnTo>
                      <a:pt x="238" y="85"/>
                    </a:lnTo>
                    <a:lnTo>
                      <a:pt x="238" y="83"/>
                    </a:lnTo>
                    <a:lnTo>
                      <a:pt x="237" y="83"/>
                    </a:lnTo>
                    <a:lnTo>
                      <a:pt x="235" y="83"/>
                    </a:lnTo>
                    <a:lnTo>
                      <a:pt x="233" y="83"/>
                    </a:lnTo>
                    <a:lnTo>
                      <a:pt x="231" y="83"/>
                    </a:lnTo>
                    <a:lnTo>
                      <a:pt x="231" y="81"/>
                    </a:lnTo>
                    <a:lnTo>
                      <a:pt x="233" y="81"/>
                    </a:lnTo>
                    <a:lnTo>
                      <a:pt x="233" y="79"/>
                    </a:lnTo>
                    <a:lnTo>
                      <a:pt x="231" y="79"/>
                    </a:lnTo>
                    <a:lnTo>
                      <a:pt x="231" y="77"/>
                    </a:lnTo>
                    <a:lnTo>
                      <a:pt x="229" y="79"/>
                    </a:lnTo>
                    <a:lnTo>
                      <a:pt x="227" y="79"/>
                    </a:lnTo>
                    <a:lnTo>
                      <a:pt x="229" y="79"/>
                    </a:lnTo>
                    <a:lnTo>
                      <a:pt x="231" y="77"/>
                    </a:lnTo>
                    <a:lnTo>
                      <a:pt x="231" y="79"/>
                    </a:lnTo>
                    <a:lnTo>
                      <a:pt x="233" y="79"/>
                    </a:lnTo>
                    <a:lnTo>
                      <a:pt x="231" y="79"/>
                    </a:lnTo>
                    <a:lnTo>
                      <a:pt x="233" y="79"/>
                    </a:lnTo>
                    <a:lnTo>
                      <a:pt x="233" y="81"/>
                    </a:lnTo>
                    <a:lnTo>
                      <a:pt x="231" y="81"/>
                    </a:lnTo>
                    <a:lnTo>
                      <a:pt x="231" y="83"/>
                    </a:lnTo>
                    <a:lnTo>
                      <a:pt x="233" y="83"/>
                    </a:lnTo>
                    <a:lnTo>
                      <a:pt x="231" y="83"/>
                    </a:lnTo>
                    <a:lnTo>
                      <a:pt x="233" y="83"/>
                    </a:lnTo>
                    <a:lnTo>
                      <a:pt x="235" y="83"/>
                    </a:lnTo>
                    <a:lnTo>
                      <a:pt x="237" y="83"/>
                    </a:lnTo>
                    <a:lnTo>
                      <a:pt x="238" y="83"/>
                    </a:lnTo>
                    <a:lnTo>
                      <a:pt x="238" y="85"/>
                    </a:lnTo>
                    <a:lnTo>
                      <a:pt x="237" y="85"/>
                    </a:lnTo>
                    <a:lnTo>
                      <a:pt x="237" y="87"/>
                    </a:lnTo>
                    <a:lnTo>
                      <a:pt x="238" y="87"/>
                    </a:lnTo>
                    <a:lnTo>
                      <a:pt x="240" y="87"/>
                    </a:lnTo>
                    <a:lnTo>
                      <a:pt x="240" y="85"/>
                    </a:lnTo>
                    <a:lnTo>
                      <a:pt x="238" y="85"/>
                    </a:lnTo>
                    <a:lnTo>
                      <a:pt x="240" y="85"/>
                    </a:lnTo>
                    <a:lnTo>
                      <a:pt x="240" y="87"/>
                    </a:lnTo>
                    <a:lnTo>
                      <a:pt x="242" y="87"/>
                    </a:lnTo>
                    <a:lnTo>
                      <a:pt x="244" y="87"/>
                    </a:lnTo>
                    <a:lnTo>
                      <a:pt x="244" y="88"/>
                    </a:lnTo>
                    <a:lnTo>
                      <a:pt x="246" y="88"/>
                    </a:lnTo>
                    <a:lnTo>
                      <a:pt x="246" y="90"/>
                    </a:lnTo>
                    <a:lnTo>
                      <a:pt x="246" y="92"/>
                    </a:lnTo>
                    <a:lnTo>
                      <a:pt x="248" y="92"/>
                    </a:lnTo>
                    <a:lnTo>
                      <a:pt x="248" y="90"/>
                    </a:lnTo>
                    <a:lnTo>
                      <a:pt x="250" y="90"/>
                    </a:lnTo>
                    <a:lnTo>
                      <a:pt x="252" y="90"/>
                    </a:lnTo>
                    <a:lnTo>
                      <a:pt x="252" y="92"/>
                    </a:lnTo>
                    <a:lnTo>
                      <a:pt x="254" y="92"/>
                    </a:lnTo>
                    <a:lnTo>
                      <a:pt x="252" y="92"/>
                    </a:lnTo>
                    <a:lnTo>
                      <a:pt x="254" y="92"/>
                    </a:lnTo>
                    <a:lnTo>
                      <a:pt x="254" y="94"/>
                    </a:lnTo>
                    <a:lnTo>
                      <a:pt x="256" y="96"/>
                    </a:lnTo>
                    <a:lnTo>
                      <a:pt x="254" y="96"/>
                    </a:lnTo>
                    <a:lnTo>
                      <a:pt x="254" y="94"/>
                    </a:lnTo>
                    <a:lnTo>
                      <a:pt x="254" y="96"/>
                    </a:lnTo>
                    <a:lnTo>
                      <a:pt x="254" y="94"/>
                    </a:lnTo>
                    <a:lnTo>
                      <a:pt x="254" y="96"/>
                    </a:lnTo>
                    <a:lnTo>
                      <a:pt x="254" y="94"/>
                    </a:lnTo>
                    <a:lnTo>
                      <a:pt x="252" y="94"/>
                    </a:lnTo>
                    <a:lnTo>
                      <a:pt x="252" y="96"/>
                    </a:lnTo>
                    <a:lnTo>
                      <a:pt x="252" y="94"/>
                    </a:lnTo>
                    <a:lnTo>
                      <a:pt x="254" y="94"/>
                    </a:lnTo>
                    <a:lnTo>
                      <a:pt x="254" y="96"/>
                    </a:lnTo>
                    <a:lnTo>
                      <a:pt x="254" y="94"/>
                    </a:lnTo>
                    <a:lnTo>
                      <a:pt x="254" y="96"/>
                    </a:lnTo>
                    <a:lnTo>
                      <a:pt x="256" y="96"/>
                    </a:lnTo>
                    <a:lnTo>
                      <a:pt x="258" y="96"/>
                    </a:lnTo>
                    <a:lnTo>
                      <a:pt x="260" y="98"/>
                    </a:lnTo>
                    <a:lnTo>
                      <a:pt x="262" y="98"/>
                    </a:lnTo>
                    <a:lnTo>
                      <a:pt x="262" y="100"/>
                    </a:lnTo>
                    <a:lnTo>
                      <a:pt x="263" y="100"/>
                    </a:lnTo>
                    <a:lnTo>
                      <a:pt x="263" y="102"/>
                    </a:lnTo>
                    <a:lnTo>
                      <a:pt x="265" y="102"/>
                    </a:lnTo>
                    <a:lnTo>
                      <a:pt x="267" y="104"/>
                    </a:lnTo>
                    <a:lnTo>
                      <a:pt x="269" y="106"/>
                    </a:lnTo>
                    <a:lnTo>
                      <a:pt x="267" y="106"/>
                    </a:lnTo>
                    <a:lnTo>
                      <a:pt x="267" y="108"/>
                    </a:lnTo>
                    <a:lnTo>
                      <a:pt x="265" y="108"/>
                    </a:lnTo>
                    <a:lnTo>
                      <a:pt x="263" y="108"/>
                    </a:lnTo>
                    <a:lnTo>
                      <a:pt x="263" y="110"/>
                    </a:lnTo>
                    <a:lnTo>
                      <a:pt x="263" y="108"/>
                    </a:lnTo>
                    <a:lnTo>
                      <a:pt x="265" y="108"/>
                    </a:lnTo>
                    <a:lnTo>
                      <a:pt x="267" y="108"/>
                    </a:lnTo>
                    <a:lnTo>
                      <a:pt x="267" y="106"/>
                    </a:lnTo>
                    <a:lnTo>
                      <a:pt x="269" y="106"/>
                    </a:lnTo>
                    <a:lnTo>
                      <a:pt x="269" y="108"/>
                    </a:lnTo>
                    <a:lnTo>
                      <a:pt x="269" y="106"/>
                    </a:lnTo>
                    <a:lnTo>
                      <a:pt x="269" y="108"/>
                    </a:lnTo>
                    <a:lnTo>
                      <a:pt x="269" y="110"/>
                    </a:lnTo>
                    <a:lnTo>
                      <a:pt x="269" y="108"/>
                    </a:lnTo>
                    <a:lnTo>
                      <a:pt x="269" y="110"/>
                    </a:lnTo>
                    <a:lnTo>
                      <a:pt x="269" y="112"/>
                    </a:lnTo>
                    <a:lnTo>
                      <a:pt x="271" y="112"/>
                    </a:lnTo>
                    <a:lnTo>
                      <a:pt x="271" y="113"/>
                    </a:lnTo>
                    <a:lnTo>
                      <a:pt x="273" y="113"/>
                    </a:lnTo>
                    <a:lnTo>
                      <a:pt x="275" y="113"/>
                    </a:lnTo>
                    <a:lnTo>
                      <a:pt x="275" y="115"/>
                    </a:lnTo>
                    <a:lnTo>
                      <a:pt x="277" y="115"/>
                    </a:lnTo>
                    <a:lnTo>
                      <a:pt x="277" y="113"/>
                    </a:lnTo>
                    <a:lnTo>
                      <a:pt x="277" y="115"/>
                    </a:lnTo>
                    <a:lnTo>
                      <a:pt x="279" y="115"/>
                    </a:lnTo>
                    <a:lnTo>
                      <a:pt x="279" y="117"/>
                    </a:lnTo>
                    <a:lnTo>
                      <a:pt x="281" y="117"/>
                    </a:lnTo>
                    <a:lnTo>
                      <a:pt x="279" y="117"/>
                    </a:lnTo>
                    <a:lnTo>
                      <a:pt x="279" y="115"/>
                    </a:lnTo>
                    <a:lnTo>
                      <a:pt x="281" y="115"/>
                    </a:lnTo>
                    <a:lnTo>
                      <a:pt x="281" y="117"/>
                    </a:lnTo>
                    <a:lnTo>
                      <a:pt x="283" y="117"/>
                    </a:lnTo>
                    <a:lnTo>
                      <a:pt x="283" y="119"/>
                    </a:lnTo>
                    <a:lnTo>
                      <a:pt x="281" y="119"/>
                    </a:lnTo>
                    <a:lnTo>
                      <a:pt x="283" y="119"/>
                    </a:lnTo>
                    <a:lnTo>
                      <a:pt x="283" y="121"/>
                    </a:lnTo>
                    <a:lnTo>
                      <a:pt x="285" y="121"/>
                    </a:lnTo>
                    <a:lnTo>
                      <a:pt x="285" y="123"/>
                    </a:lnTo>
                    <a:lnTo>
                      <a:pt x="286" y="123"/>
                    </a:lnTo>
                    <a:lnTo>
                      <a:pt x="286" y="125"/>
                    </a:lnTo>
                    <a:lnTo>
                      <a:pt x="286" y="127"/>
                    </a:lnTo>
                    <a:lnTo>
                      <a:pt x="286" y="129"/>
                    </a:lnTo>
                    <a:lnTo>
                      <a:pt x="286" y="131"/>
                    </a:lnTo>
                    <a:lnTo>
                      <a:pt x="288" y="131"/>
                    </a:lnTo>
                    <a:lnTo>
                      <a:pt x="288" y="133"/>
                    </a:lnTo>
                    <a:lnTo>
                      <a:pt x="288" y="135"/>
                    </a:lnTo>
                    <a:lnTo>
                      <a:pt x="288" y="137"/>
                    </a:lnTo>
                    <a:lnTo>
                      <a:pt x="286" y="138"/>
                    </a:lnTo>
                    <a:lnTo>
                      <a:pt x="286" y="137"/>
                    </a:lnTo>
                    <a:lnTo>
                      <a:pt x="286" y="138"/>
                    </a:lnTo>
                    <a:lnTo>
                      <a:pt x="285" y="138"/>
                    </a:lnTo>
                    <a:lnTo>
                      <a:pt x="286" y="138"/>
                    </a:lnTo>
                    <a:lnTo>
                      <a:pt x="285" y="138"/>
                    </a:lnTo>
                    <a:lnTo>
                      <a:pt x="283" y="140"/>
                    </a:lnTo>
                    <a:lnTo>
                      <a:pt x="283" y="142"/>
                    </a:lnTo>
                    <a:lnTo>
                      <a:pt x="281" y="142"/>
                    </a:lnTo>
                    <a:lnTo>
                      <a:pt x="281" y="144"/>
                    </a:lnTo>
                    <a:lnTo>
                      <a:pt x="281" y="146"/>
                    </a:lnTo>
                    <a:lnTo>
                      <a:pt x="279" y="146"/>
                    </a:lnTo>
                    <a:lnTo>
                      <a:pt x="277" y="146"/>
                    </a:lnTo>
                    <a:lnTo>
                      <a:pt x="277" y="148"/>
                    </a:lnTo>
                    <a:lnTo>
                      <a:pt x="277" y="146"/>
                    </a:lnTo>
                    <a:lnTo>
                      <a:pt x="275" y="146"/>
                    </a:lnTo>
                    <a:lnTo>
                      <a:pt x="273" y="146"/>
                    </a:lnTo>
                    <a:lnTo>
                      <a:pt x="273" y="148"/>
                    </a:lnTo>
                    <a:lnTo>
                      <a:pt x="271" y="148"/>
                    </a:lnTo>
                    <a:lnTo>
                      <a:pt x="269" y="148"/>
                    </a:lnTo>
                    <a:lnTo>
                      <a:pt x="267" y="148"/>
                    </a:lnTo>
                    <a:lnTo>
                      <a:pt x="265" y="150"/>
                    </a:lnTo>
                    <a:lnTo>
                      <a:pt x="263" y="152"/>
                    </a:lnTo>
                    <a:lnTo>
                      <a:pt x="263" y="154"/>
                    </a:lnTo>
                    <a:lnTo>
                      <a:pt x="263" y="156"/>
                    </a:lnTo>
                    <a:lnTo>
                      <a:pt x="263" y="158"/>
                    </a:lnTo>
                    <a:lnTo>
                      <a:pt x="262" y="158"/>
                    </a:lnTo>
                    <a:lnTo>
                      <a:pt x="262" y="160"/>
                    </a:lnTo>
                    <a:lnTo>
                      <a:pt x="262" y="162"/>
                    </a:lnTo>
                    <a:lnTo>
                      <a:pt x="260" y="162"/>
                    </a:lnTo>
                    <a:lnTo>
                      <a:pt x="260" y="163"/>
                    </a:lnTo>
                    <a:lnTo>
                      <a:pt x="260" y="165"/>
                    </a:lnTo>
                    <a:lnTo>
                      <a:pt x="260" y="167"/>
                    </a:lnTo>
                    <a:lnTo>
                      <a:pt x="262" y="169"/>
                    </a:lnTo>
                    <a:lnTo>
                      <a:pt x="263" y="169"/>
                    </a:lnTo>
                    <a:lnTo>
                      <a:pt x="265" y="169"/>
                    </a:lnTo>
                    <a:lnTo>
                      <a:pt x="265" y="171"/>
                    </a:lnTo>
                    <a:lnTo>
                      <a:pt x="265" y="173"/>
                    </a:lnTo>
                    <a:lnTo>
                      <a:pt x="263" y="173"/>
                    </a:lnTo>
                    <a:lnTo>
                      <a:pt x="262" y="173"/>
                    </a:lnTo>
                    <a:lnTo>
                      <a:pt x="262" y="175"/>
                    </a:lnTo>
                    <a:lnTo>
                      <a:pt x="262" y="177"/>
                    </a:lnTo>
                    <a:lnTo>
                      <a:pt x="262" y="179"/>
                    </a:lnTo>
                    <a:lnTo>
                      <a:pt x="260" y="179"/>
                    </a:lnTo>
                    <a:lnTo>
                      <a:pt x="260" y="181"/>
                    </a:lnTo>
                    <a:lnTo>
                      <a:pt x="260" y="179"/>
                    </a:lnTo>
                    <a:lnTo>
                      <a:pt x="258" y="179"/>
                    </a:lnTo>
                    <a:lnTo>
                      <a:pt x="258" y="181"/>
                    </a:lnTo>
                    <a:lnTo>
                      <a:pt x="256" y="181"/>
                    </a:lnTo>
                    <a:lnTo>
                      <a:pt x="256" y="183"/>
                    </a:lnTo>
                    <a:lnTo>
                      <a:pt x="258" y="183"/>
                    </a:lnTo>
                    <a:lnTo>
                      <a:pt x="258" y="185"/>
                    </a:lnTo>
                    <a:lnTo>
                      <a:pt x="256" y="185"/>
                    </a:lnTo>
                    <a:lnTo>
                      <a:pt x="256" y="183"/>
                    </a:lnTo>
                    <a:lnTo>
                      <a:pt x="254" y="183"/>
                    </a:lnTo>
                    <a:lnTo>
                      <a:pt x="254" y="185"/>
                    </a:lnTo>
                    <a:lnTo>
                      <a:pt x="254" y="187"/>
                    </a:lnTo>
                    <a:lnTo>
                      <a:pt x="252" y="187"/>
                    </a:lnTo>
                    <a:lnTo>
                      <a:pt x="254" y="188"/>
                    </a:lnTo>
                    <a:lnTo>
                      <a:pt x="252" y="188"/>
                    </a:lnTo>
                    <a:lnTo>
                      <a:pt x="252" y="190"/>
                    </a:lnTo>
                    <a:lnTo>
                      <a:pt x="254" y="192"/>
                    </a:lnTo>
                    <a:lnTo>
                      <a:pt x="256" y="192"/>
                    </a:lnTo>
                    <a:lnTo>
                      <a:pt x="256" y="194"/>
                    </a:lnTo>
                    <a:lnTo>
                      <a:pt x="254" y="194"/>
                    </a:lnTo>
                    <a:lnTo>
                      <a:pt x="254" y="196"/>
                    </a:lnTo>
                    <a:lnTo>
                      <a:pt x="254" y="198"/>
                    </a:lnTo>
                    <a:lnTo>
                      <a:pt x="256" y="200"/>
                    </a:lnTo>
                    <a:lnTo>
                      <a:pt x="254" y="200"/>
                    </a:lnTo>
                    <a:lnTo>
                      <a:pt x="254" y="202"/>
                    </a:lnTo>
                    <a:lnTo>
                      <a:pt x="254" y="200"/>
                    </a:lnTo>
                    <a:lnTo>
                      <a:pt x="256" y="200"/>
                    </a:lnTo>
                    <a:lnTo>
                      <a:pt x="254" y="198"/>
                    </a:lnTo>
                    <a:lnTo>
                      <a:pt x="254" y="194"/>
                    </a:lnTo>
                    <a:lnTo>
                      <a:pt x="256" y="194"/>
                    </a:lnTo>
                    <a:lnTo>
                      <a:pt x="256" y="192"/>
                    </a:lnTo>
                    <a:lnTo>
                      <a:pt x="254" y="192"/>
                    </a:lnTo>
                    <a:lnTo>
                      <a:pt x="252" y="190"/>
                    </a:lnTo>
                    <a:lnTo>
                      <a:pt x="252" y="188"/>
                    </a:lnTo>
                    <a:lnTo>
                      <a:pt x="254" y="188"/>
                    </a:lnTo>
                    <a:lnTo>
                      <a:pt x="254" y="187"/>
                    </a:lnTo>
                    <a:lnTo>
                      <a:pt x="252" y="187"/>
                    </a:lnTo>
                    <a:lnTo>
                      <a:pt x="254" y="187"/>
                    </a:lnTo>
                    <a:lnTo>
                      <a:pt x="254" y="185"/>
                    </a:lnTo>
                    <a:lnTo>
                      <a:pt x="254" y="183"/>
                    </a:lnTo>
                    <a:lnTo>
                      <a:pt x="254" y="185"/>
                    </a:lnTo>
                    <a:lnTo>
                      <a:pt x="256" y="185"/>
                    </a:lnTo>
                    <a:lnTo>
                      <a:pt x="258" y="185"/>
                    </a:lnTo>
                    <a:lnTo>
                      <a:pt x="258" y="183"/>
                    </a:lnTo>
                    <a:lnTo>
                      <a:pt x="258" y="181"/>
                    </a:lnTo>
                    <a:lnTo>
                      <a:pt x="260" y="181"/>
                    </a:lnTo>
                    <a:lnTo>
                      <a:pt x="260" y="179"/>
                    </a:lnTo>
                    <a:lnTo>
                      <a:pt x="262" y="179"/>
                    </a:lnTo>
                    <a:lnTo>
                      <a:pt x="262" y="177"/>
                    </a:lnTo>
                    <a:lnTo>
                      <a:pt x="262" y="175"/>
                    </a:lnTo>
                    <a:lnTo>
                      <a:pt x="262" y="173"/>
                    </a:lnTo>
                    <a:lnTo>
                      <a:pt x="263" y="173"/>
                    </a:lnTo>
                    <a:lnTo>
                      <a:pt x="265" y="173"/>
                    </a:lnTo>
                    <a:lnTo>
                      <a:pt x="265" y="171"/>
                    </a:lnTo>
                    <a:lnTo>
                      <a:pt x="265" y="169"/>
                    </a:lnTo>
                    <a:lnTo>
                      <a:pt x="263" y="169"/>
                    </a:lnTo>
                    <a:lnTo>
                      <a:pt x="262" y="169"/>
                    </a:lnTo>
                    <a:lnTo>
                      <a:pt x="262" y="167"/>
                    </a:lnTo>
                    <a:lnTo>
                      <a:pt x="260" y="167"/>
                    </a:lnTo>
                    <a:lnTo>
                      <a:pt x="260" y="165"/>
                    </a:lnTo>
                    <a:lnTo>
                      <a:pt x="260" y="163"/>
                    </a:lnTo>
                    <a:lnTo>
                      <a:pt x="260" y="162"/>
                    </a:lnTo>
                    <a:lnTo>
                      <a:pt x="262" y="162"/>
                    </a:lnTo>
                    <a:lnTo>
                      <a:pt x="262" y="160"/>
                    </a:lnTo>
                    <a:lnTo>
                      <a:pt x="263" y="158"/>
                    </a:lnTo>
                    <a:lnTo>
                      <a:pt x="263" y="156"/>
                    </a:lnTo>
                    <a:lnTo>
                      <a:pt x="263" y="154"/>
                    </a:lnTo>
                    <a:lnTo>
                      <a:pt x="263" y="152"/>
                    </a:lnTo>
                    <a:lnTo>
                      <a:pt x="265" y="150"/>
                    </a:lnTo>
                    <a:lnTo>
                      <a:pt x="267" y="148"/>
                    </a:lnTo>
                    <a:lnTo>
                      <a:pt x="269" y="148"/>
                    </a:lnTo>
                    <a:lnTo>
                      <a:pt x="271" y="148"/>
                    </a:lnTo>
                    <a:lnTo>
                      <a:pt x="273" y="148"/>
                    </a:lnTo>
                    <a:lnTo>
                      <a:pt x="273" y="146"/>
                    </a:lnTo>
                    <a:lnTo>
                      <a:pt x="275" y="146"/>
                    </a:lnTo>
                    <a:lnTo>
                      <a:pt x="275" y="148"/>
                    </a:lnTo>
                    <a:lnTo>
                      <a:pt x="277" y="148"/>
                    </a:lnTo>
                    <a:lnTo>
                      <a:pt x="279" y="148"/>
                    </a:lnTo>
                    <a:lnTo>
                      <a:pt x="279" y="146"/>
                    </a:lnTo>
                    <a:lnTo>
                      <a:pt x="281" y="146"/>
                    </a:lnTo>
                    <a:lnTo>
                      <a:pt x="281" y="144"/>
                    </a:lnTo>
                    <a:lnTo>
                      <a:pt x="281" y="142"/>
                    </a:lnTo>
                    <a:lnTo>
                      <a:pt x="283" y="140"/>
                    </a:lnTo>
                    <a:lnTo>
                      <a:pt x="285" y="140"/>
                    </a:lnTo>
                    <a:lnTo>
                      <a:pt x="285" y="138"/>
                    </a:lnTo>
                    <a:lnTo>
                      <a:pt x="286" y="138"/>
                    </a:lnTo>
                    <a:lnTo>
                      <a:pt x="288" y="138"/>
                    </a:lnTo>
                    <a:lnTo>
                      <a:pt x="288" y="137"/>
                    </a:lnTo>
                    <a:lnTo>
                      <a:pt x="288" y="135"/>
                    </a:lnTo>
                    <a:lnTo>
                      <a:pt x="290" y="135"/>
                    </a:lnTo>
                    <a:lnTo>
                      <a:pt x="290" y="133"/>
                    </a:lnTo>
                    <a:lnTo>
                      <a:pt x="288" y="131"/>
                    </a:lnTo>
                    <a:lnTo>
                      <a:pt x="288" y="129"/>
                    </a:lnTo>
                    <a:lnTo>
                      <a:pt x="286" y="129"/>
                    </a:lnTo>
                    <a:lnTo>
                      <a:pt x="286" y="127"/>
                    </a:lnTo>
                    <a:lnTo>
                      <a:pt x="286" y="125"/>
                    </a:lnTo>
                    <a:lnTo>
                      <a:pt x="286" y="123"/>
                    </a:lnTo>
                    <a:lnTo>
                      <a:pt x="285" y="123"/>
                    </a:lnTo>
                    <a:lnTo>
                      <a:pt x="286" y="123"/>
                    </a:lnTo>
                    <a:lnTo>
                      <a:pt x="285" y="123"/>
                    </a:lnTo>
                    <a:lnTo>
                      <a:pt x="285" y="121"/>
                    </a:lnTo>
                    <a:lnTo>
                      <a:pt x="283" y="121"/>
                    </a:lnTo>
                    <a:lnTo>
                      <a:pt x="283" y="119"/>
                    </a:lnTo>
                    <a:lnTo>
                      <a:pt x="283" y="117"/>
                    </a:lnTo>
                    <a:lnTo>
                      <a:pt x="283" y="119"/>
                    </a:lnTo>
                    <a:lnTo>
                      <a:pt x="283" y="117"/>
                    </a:lnTo>
                    <a:lnTo>
                      <a:pt x="281" y="115"/>
                    </a:lnTo>
                    <a:lnTo>
                      <a:pt x="279" y="115"/>
                    </a:lnTo>
                    <a:lnTo>
                      <a:pt x="277" y="115"/>
                    </a:lnTo>
                    <a:lnTo>
                      <a:pt x="277" y="113"/>
                    </a:lnTo>
                    <a:lnTo>
                      <a:pt x="279" y="113"/>
                    </a:lnTo>
                    <a:lnTo>
                      <a:pt x="279" y="115"/>
                    </a:lnTo>
                    <a:lnTo>
                      <a:pt x="279" y="113"/>
                    </a:lnTo>
                    <a:lnTo>
                      <a:pt x="277" y="113"/>
                    </a:lnTo>
                    <a:lnTo>
                      <a:pt x="275" y="113"/>
                    </a:lnTo>
                    <a:lnTo>
                      <a:pt x="273" y="113"/>
                    </a:lnTo>
                    <a:lnTo>
                      <a:pt x="271" y="113"/>
                    </a:lnTo>
                    <a:lnTo>
                      <a:pt x="273" y="113"/>
                    </a:lnTo>
                    <a:lnTo>
                      <a:pt x="271" y="113"/>
                    </a:lnTo>
                    <a:lnTo>
                      <a:pt x="271" y="112"/>
                    </a:lnTo>
                    <a:lnTo>
                      <a:pt x="271" y="110"/>
                    </a:lnTo>
                    <a:lnTo>
                      <a:pt x="273" y="110"/>
                    </a:lnTo>
                    <a:lnTo>
                      <a:pt x="275" y="110"/>
                    </a:lnTo>
                    <a:lnTo>
                      <a:pt x="277" y="110"/>
                    </a:lnTo>
                    <a:lnTo>
                      <a:pt x="279" y="112"/>
                    </a:lnTo>
                    <a:lnTo>
                      <a:pt x="281" y="112"/>
                    </a:lnTo>
                    <a:lnTo>
                      <a:pt x="281" y="113"/>
                    </a:lnTo>
                    <a:lnTo>
                      <a:pt x="283" y="113"/>
                    </a:lnTo>
                    <a:lnTo>
                      <a:pt x="285" y="113"/>
                    </a:lnTo>
                    <a:lnTo>
                      <a:pt x="286" y="113"/>
                    </a:lnTo>
                    <a:lnTo>
                      <a:pt x="288" y="113"/>
                    </a:lnTo>
                    <a:lnTo>
                      <a:pt x="290" y="112"/>
                    </a:lnTo>
                    <a:lnTo>
                      <a:pt x="292" y="112"/>
                    </a:lnTo>
                    <a:lnTo>
                      <a:pt x="290" y="112"/>
                    </a:lnTo>
                    <a:lnTo>
                      <a:pt x="292" y="112"/>
                    </a:lnTo>
                    <a:lnTo>
                      <a:pt x="294" y="112"/>
                    </a:lnTo>
                    <a:lnTo>
                      <a:pt x="296" y="112"/>
                    </a:lnTo>
                    <a:lnTo>
                      <a:pt x="296" y="113"/>
                    </a:lnTo>
                    <a:lnTo>
                      <a:pt x="298" y="113"/>
                    </a:lnTo>
                    <a:lnTo>
                      <a:pt x="300" y="113"/>
                    </a:lnTo>
                    <a:lnTo>
                      <a:pt x="302" y="113"/>
                    </a:lnTo>
                    <a:lnTo>
                      <a:pt x="300" y="113"/>
                    </a:lnTo>
                    <a:lnTo>
                      <a:pt x="302" y="113"/>
                    </a:lnTo>
                    <a:lnTo>
                      <a:pt x="304" y="113"/>
                    </a:lnTo>
                    <a:lnTo>
                      <a:pt x="306" y="115"/>
                    </a:lnTo>
                    <a:lnTo>
                      <a:pt x="306" y="117"/>
                    </a:lnTo>
                    <a:lnTo>
                      <a:pt x="308" y="117"/>
                    </a:lnTo>
                    <a:lnTo>
                      <a:pt x="310" y="117"/>
                    </a:lnTo>
                    <a:lnTo>
                      <a:pt x="311" y="115"/>
                    </a:lnTo>
                    <a:lnTo>
                      <a:pt x="313" y="115"/>
                    </a:lnTo>
                    <a:lnTo>
                      <a:pt x="313" y="113"/>
                    </a:lnTo>
                    <a:lnTo>
                      <a:pt x="313" y="115"/>
                    </a:lnTo>
                    <a:lnTo>
                      <a:pt x="313" y="113"/>
                    </a:lnTo>
                    <a:lnTo>
                      <a:pt x="315" y="113"/>
                    </a:lnTo>
                    <a:lnTo>
                      <a:pt x="317" y="113"/>
                    </a:lnTo>
                    <a:lnTo>
                      <a:pt x="315" y="113"/>
                    </a:lnTo>
                    <a:lnTo>
                      <a:pt x="313" y="113"/>
                    </a:lnTo>
                    <a:lnTo>
                      <a:pt x="313" y="115"/>
                    </a:lnTo>
                    <a:lnTo>
                      <a:pt x="313" y="113"/>
                    </a:lnTo>
                    <a:lnTo>
                      <a:pt x="313" y="115"/>
                    </a:lnTo>
                    <a:lnTo>
                      <a:pt x="311" y="115"/>
                    </a:lnTo>
                    <a:lnTo>
                      <a:pt x="310" y="115"/>
                    </a:lnTo>
                    <a:lnTo>
                      <a:pt x="311" y="113"/>
                    </a:lnTo>
                    <a:lnTo>
                      <a:pt x="313" y="113"/>
                    </a:lnTo>
                    <a:lnTo>
                      <a:pt x="311" y="113"/>
                    </a:lnTo>
                    <a:lnTo>
                      <a:pt x="311" y="115"/>
                    </a:lnTo>
                    <a:lnTo>
                      <a:pt x="311" y="113"/>
                    </a:lnTo>
                    <a:lnTo>
                      <a:pt x="313" y="113"/>
                    </a:lnTo>
                    <a:lnTo>
                      <a:pt x="313" y="112"/>
                    </a:lnTo>
                    <a:lnTo>
                      <a:pt x="315" y="112"/>
                    </a:lnTo>
                    <a:lnTo>
                      <a:pt x="317" y="110"/>
                    </a:lnTo>
                    <a:lnTo>
                      <a:pt x="317" y="108"/>
                    </a:lnTo>
                    <a:lnTo>
                      <a:pt x="317" y="110"/>
                    </a:lnTo>
                    <a:lnTo>
                      <a:pt x="317" y="108"/>
                    </a:lnTo>
                    <a:lnTo>
                      <a:pt x="319" y="108"/>
                    </a:lnTo>
                    <a:lnTo>
                      <a:pt x="321" y="106"/>
                    </a:lnTo>
                    <a:lnTo>
                      <a:pt x="323" y="106"/>
                    </a:lnTo>
                    <a:lnTo>
                      <a:pt x="323" y="108"/>
                    </a:lnTo>
                    <a:lnTo>
                      <a:pt x="325" y="108"/>
                    </a:lnTo>
                    <a:lnTo>
                      <a:pt x="327" y="108"/>
                    </a:lnTo>
                    <a:lnTo>
                      <a:pt x="329" y="108"/>
                    </a:lnTo>
                    <a:lnTo>
                      <a:pt x="329" y="106"/>
                    </a:lnTo>
                    <a:lnTo>
                      <a:pt x="331" y="106"/>
                    </a:lnTo>
                    <a:lnTo>
                      <a:pt x="331" y="104"/>
                    </a:lnTo>
                    <a:lnTo>
                      <a:pt x="333" y="104"/>
                    </a:lnTo>
                    <a:lnTo>
                      <a:pt x="335" y="102"/>
                    </a:lnTo>
                    <a:lnTo>
                      <a:pt x="336" y="102"/>
                    </a:lnTo>
                    <a:lnTo>
                      <a:pt x="338" y="102"/>
                    </a:lnTo>
                    <a:lnTo>
                      <a:pt x="338" y="100"/>
                    </a:lnTo>
                    <a:lnTo>
                      <a:pt x="342" y="100"/>
                    </a:lnTo>
                    <a:lnTo>
                      <a:pt x="342" y="98"/>
                    </a:lnTo>
                    <a:lnTo>
                      <a:pt x="342" y="96"/>
                    </a:lnTo>
                    <a:lnTo>
                      <a:pt x="342" y="94"/>
                    </a:lnTo>
                    <a:lnTo>
                      <a:pt x="344" y="92"/>
                    </a:lnTo>
                    <a:lnTo>
                      <a:pt x="344" y="90"/>
                    </a:lnTo>
                    <a:lnTo>
                      <a:pt x="346" y="90"/>
                    </a:lnTo>
                    <a:lnTo>
                      <a:pt x="346" y="88"/>
                    </a:lnTo>
                    <a:lnTo>
                      <a:pt x="346" y="90"/>
                    </a:lnTo>
                    <a:lnTo>
                      <a:pt x="346" y="88"/>
                    </a:lnTo>
                    <a:lnTo>
                      <a:pt x="348" y="88"/>
                    </a:lnTo>
                    <a:lnTo>
                      <a:pt x="350" y="87"/>
                    </a:lnTo>
                    <a:lnTo>
                      <a:pt x="350" y="88"/>
                    </a:lnTo>
                    <a:lnTo>
                      <a:pt x="352" y="88"/>
                    </a:lnTo>
                    <a:lnTo>
                      <a:pt x="352" y="87"/>
                    </a:lnTo>
                    <a:lnTo>
                      <a:pt x="354" y="87"/>
                    </a:lnTo>
                    <a:lnTo>
                      <a:pt x="352" y="87"/>
                    </a:lnTo>
                    <a:lnTo>
                      <a:pt x="354" y="87"/>
                    </a:lnTo>
                    <a:lnTo>
                      <a:pt x="352" y="87"/>
                    </a:lnTo>
                    <a:lnTo>
                      <a:pt x="354" y="87"/>
                    </a:lnTo>
                    <a:lnTo>
                      <a:pt x="356" y="85"/>
                    </a:lnTo>
                    <a:lnTo>
                      <a:pt x="358" y="85"/>
                    </a:lnTo>
                    <a:lnTo>
                      <a:pt x="359" y="85"/>
                    </a:lnTo>
                    <a:lnTo>
                      <a:pt x="358" y="85"/>
                    </a:lnTo>
                    <a:lnTo>
                      <a:pt x="359" y="85"/>
                    </a:lnTo>
                    <a:lnTo>
                      <a:pt x="361" y="85"/>
                    </a:lnTo>
                    <a:lnTo>
                      <a:pt x="361" y="83"/>
                    </a:lnTo>
                    <a:lnTo>
                      <a:pt x="363" y="83"/>
                    </a:lnTo>
                    <a:lnTo>
                      <a:pt x="365" y="83"/>
                    </a:lnTo>
                    <a:lnTo>
                      <a:pt x="365" y="85"/>
                    </a:lnTo>
                    <a:lnTo>
                      <a:pt x="367" y="85"/>
                    </a:lnTo>
                    <a:lnTo>
                      <a:pt x="365" y="85"/>
                    </a:lnTo>
                    <a:lnTo>
                      <a:pt x="367" y="85"/>
                    </a:lnTo>
                    <a:lnTo>
                      <a:pt x="367" y="83"/>
                    </a:lnTo>
                    <a:lnTo>
                      <a:pt x="369" y="85"/>
                    </a:lnTo>
                    <a:lnTo>
                      <a:pt x="371" y="85"/>
                    </a:lnTo>
                    <a:lnTo>
                      <a:pt x="371" y="87"/>
                    </a:lnTo>
                    <a:lnTo>
                      <a:pt x="371" y="85"/>
                    </a:lnTo>
                    <a:lnTo>
                      <a:pt x="371" y="87"/>
                    </a:lnTo>
                    <a:lnTo>
                      <a:pt x="371" y="85"/>
                    </a:lnTo>
                    <a:lnTo>
                      <a:pt x="369" y="85"/>
                    </a:lnTo>
                    <a:lnTo>
                      <a:pt x="371" y="85"/>
                    </a:lnTo>
                    <a:lnTo>
                      <a:pt x="369" y="85"/>
                    </a:lnTo>
                    <a:lnTo>
                      <a:pt x="371" y="85"/>
                    </a:lnTo>
                    <a:lnTo>
                      <a:pt x="373" y="85"/>
                    </a:lnTo>
                    <a:lnTo>
                      <a:pt x="373" y="87"/>
                    </a:lnTo>
                    <a:lnTo>
                      <a:pt x="371" y="87"/>
                    </a:lnTo>
                    <a:lnTo>
                      <a:pt x="373" y="87"/>
                    </a:lnTo>
                    <a:lnTo>
                      <a:pt x="373" y="85"/>
                    </a:lnTo>
                    <a:lnTo>
                      <a:pt x="375" y="85"/>
                    </a:lnTo>
                    <a:lnTo>
                      <a:pt x="375" y="87"/>
                    </a:lnTo>
                    <a:lnTo>
                      <a:pt x="377" y="87"/>
                    </a:lnTo>
                    <a:lnTo>
                      <a:pt x="379" y="87"/>
                    </a:lnTo>
                    <a:lnTo>
                      <a:pt x="379" y="88"/>
                    </a:lnTo>
                    <a:lnTo>
                      <a:pt x="381" y="88"/>
                    </a:lnTo>
                    <a:lnTo>
                      <a:pt x="381" y="90"/>
                    </a:lnTo>
                    <a:lnTo>
                      <a:pt x="381" y="92"/>
                    </a:lnTo>
                    <a:lnTo>
                      <a:pt x="381" y="94"/>
                    </a:lnTo>
                    <a:lnTo>
                      <a:pt x="379" y="94"/>
                    </a:lnTo>
                    <a:lnTo>
                      <a:pt x="379" y="96"/>
                    </a:lnTo>
                    <a:lnTo>
                      <a:pt x="381" y="96"/>
                    </a:lnTo>
                    <a:lnTo>
                      <a:pt x="381" y="98"/>
                    </a:lnTo>
                    <a:lnTo>
                      <a:pt x="381" y="100"/>
                    </a:lnTo>
                    <a:lnTo>
                      <a:pt x="381" y="98"/>
                    </a:lnTo>
                    <a:lnTo>
                      <a:pt x="383" y="98"/>
                    </a:lnTo>
                    <a:lnTo>
                      <a:pt x="383" y="100"/>
                    </a:lnTo>
                    <a:lnTo>
                      <a:pt x="381" y="102"/>
                    </a:lnTo>
                    <a:lnTo>
                      <a:pt x="381" y="104"/>
                    </a:lnTo>
                    <a:lnTo>
                      <a:pt x="381" y="106"/>
                    </a:lnTo>
                    <a:lnTo>
                      <a:pt x="381" y="108"/>
                    </a:lnTo>
                    <a:lnTo>
                      <a:pt x="381" y="110"/>
                    </a:lnTo>
                    <a:lnTo>
                      <a:pt x="381" y="108"/>
                    </a:lnTo>
                    <a:lnTo>
                      <a:pt x="381" y="110"/>
                    </a:lnTo>
                    <a:lnTo>
                      <a:pt x="381" y="108"/>
                    </a:lnTo>
                    <a:lnTo>
                      <a:pt x="383" y="108"/>
                    </a:lnTo>
                    <a:lnTo>
                      <a:pt x="383" y="110"/>
                    </a:lnTo>
                    <a:lnTo>
                      <a:pt x="383" y="112"/>
                    </a:lnTo>
                    <a:lnTo>
                      <a:pt x="383" y="113"/>
                    </a:lnTo>
                    <a:lnTo>
                      <a:pt x="383" y="112"/>
                    </a:lnTo>
                    <a:lnTo>
                      <a:pt x="383" y="113"/>
                    </a:lnTo>
                    <a:lnTo>
                      <a:pt x="384" y="113"/>
                    </a:lnTo>
                    <a:lnTo>
                      <a:pt x="383" y="113"/>
                    </a:lnTo>
                    <a:lnTo>
                      <a:pt x="383" y="115"/>
                    </a:lnTo>
                    <a:lnTo>
                      <a:pt x="381" y="115"/>
                    </a:lnTo>
                    <a:lnTo>
                      <a:pt x="381" y="113"/>
                    </a:lnTo>
                    <a:lnTo>
                      <a:pt x="381" y="115"/>
                    </a:lnTo>
                    <a:lnTo>
                      <a:pt x="381" y="117"/>
                    </a:lnTo>
                    <a:lnTo>
                      <a:pt x="381" y="115"/>
                    </a:lnTo>
                    <a:lnTo>
                      <a:pt x="381" y="117"/>
                    </a:lnTo>
                    <a:lnTo>
                      <a:pt x="379" y="119"/>
                    </a:lnTo>
                    <a:lnTo>
                      <a:pt x="377" y="119"/>
                    </a:lnTo>
                    <a:lnTo>
                      <a:pt x="377" y="121"/>
                    </a:lnTo>
                    <a:lnTo>
                      <a:pt x="375" y="121"/>
                    </a:lnTo>
                    <a:lnTo>
                      <a:pt x="375" y="123"/>
                    </a:lnTo>
                    <a:lnTo>
                      <a:pt x="373" y="123"/>
                    </a:lnTo>
                    <a:lnTo>
                      <a:pt x="373" y="125"/>
                    </a:lnTo>
                    <a:lnTo>
                      <a:pt x="373" y="127"/>
                    </a:lnTo>
                    <a:lnTo>
                      <a:pt x="373" y="129"/>
                    </a:lnTo>
                    <a:lnTo>
                      <a:pt x="373" y="127"/>
                    </a:lnTo>
                    <a:lnTo>
                      <a:pt x="373" y="129"/>
                    </a:lnTo>
                    <a:lnTo>
                      <a:pt x="375" y="129"/>
                    </a:lnTo>
                    <a:lnTo>
                      <a:pt x="373" y="129"/>
                    </a:lnTo>
                    <a:lnTo>
                      <a:pt x="375" y="129"/>
                    </a:lnTo>
                    <a:lnTo>
                      <a:pt x="375" y="131"/>
                    </a:lnTo>
                    <a:lnTo>
                      <a:pt x="373" y="131"/>
                    </a:lnTo>
                    <a:lnTo>
                      <a:pt x="375" y="131"/>
                    </a:lnTo>
                    <a:lnTo>
                      <a:pt x="373" y="131"/>
                    </a:lnTo>
                    <a:lnTo>
                      <a:pt x="373" y="133"/>
                    </a:lnTo>
                    <a:lnTo>
                      <a:pt x="375" y="135"/>
                    </a:lnTo>
                    <a:lnTo>
                      <a:pt x="375" y="137"/>
                    </a:lnTo>
                    <a:lnTo>
                      <a:pt x="375" y="135"/>
                    </a:lnTo>
                    <a:lnTo>
                      <a:pt x="375" y="137"/>
                    </a:lnTo>
                    <a:lnTo>
                      <a:pt x="377" y="137"/>
                    </a:lnTo>
                    <a:lnTo>
                      <a:pt x="377" y="138"/>
                    </a:lnTo>
                    <a:lnTo>
                      <a:pt x="377" y="140"/>
                    </a:lnTo>
                    <a:lnTo>
                      <a:pt x="377" y="142"/>
                    </a:lnTo>
                    <a:lnTo>
                      <a:pt x="377" y="144"/>
                    </a:lnTo>
                    <a:lnTo>
                      <a:pt x="375" y="144"/>
                    </a:lnTo>
                    <a:lnTo>
                      <a:pt x="375" y="146"/>
                    </a:lnTo>
                    <a:lnTo>
                      <a:pt x="373" y="148"/>
                    </a:lnTo>
                    <a:lnTo>
                      <a:pt x="373" y="150"/>
                    </a:lnTo>
                    <a:lnTo>
                      <a:pt x="371" y="152"/>
                    </a:lnTo>
                    <a:lnTo>
                      <a:pt x="371" y="154"/>
                    </a:lnTo>
                    <a:lnTo>
                      <a:pt x="371" y="156"/>
                    </a:lnTo>
                    <a:lnTo>
                      <a:pt x="369" y="158"/>
                    </a:lnTo>
                    <a:lnTo>
                      <a:pt x="369" y="160"/>
                    </a:lnTo>
                    <a:lnTo>
                      <a:pt x="369" y="162"/>
                    </a:lnTo>
                    <a:lnTo>
                      <a:pt x="367" y="162"/>
                    </a:lnTo>
                    <a:lnTo>
                      <a:pt x="365" y="162"/>
                    </a:lnTo>
                    <a:lnTo>
                      <a:pt x="365" y="163"/>
                    </a:lnTo>
                    <a:lnTo>
                      <a:pt x="365" y="162"/>
                    </a:lnTo>
                    <a:lnTo>
                      <a:pt x="367" y="162"/>
                    </a:lnTo>
                    <a:lnTo>
                      <a:pt x="369" y="162"/>
                    </a:lnTo>
                    <a:lnTo>
                      <a:pt x="367" y="162"/>
                    </a:lnTo>
                    <a:lnTo>
                      <a:pt x="367" y="163"/>
                    </a:lnTo>
                    <a:lnTo>
                      <a:pt x="367" y="165"/>
                    </a:lnTo>
                    <a:lnTo>
                      <a:pt x="369" y="165"/>
                    </a:lnTo>
                    <a:lnTo>
                      <a:pt x="369" y="167"/>
                    </a:lnTo>
                    <a:lnTo>
                      <a:pt x="371" y="167"/>
                    </a:lnTo>
                    <a:lnTo>
                      <a:pt x="371" y="165"/>
                    </a:lnTo>
                    <a:lnTo>
                      <a:pt x="373" y="165"/>
                    </a:lnTo>
                    <a:lnTo>
                      <a:pt x="371" y="165"/>
                    </a:lnTo>
                    <a:lnTo>
                      <a:pt x="373" y="165"/>
                    </a:lnTo>
                    <a:lnTo>
                      <a:pt x="373" y="167"/>
                    </a:lnTo>
                    <a:lnTo>
                      <a:pt x="373" y="169"/>
                    </a:lnTo>
                    <a:lnTo>
                      <a:pt x="371" y="169"/>
                    </a:lnTo>
                    <a:lnTo>
                      <a:pt x="371" y="171"/>
                    </a:lnTo>
                    <a:lnTo>
                      <a:pt x="369" y="171"/>
                    </a:lnTo>
                    <a:lnTo>
                      <a:pt x="369" y="173"/>
                    </a:lnTo>
                    <a:lnTo>
                      <a:pt x="371" y="173"/>
                    </a:lnTo>
                    <a:lnTo>
                      <a:pt x="373" y="173"/>
                    </a:lnTo>
                    <a:lnTo>
                      <a:pt x="373" y="175"/>
                    </a:lnTo>
                    <a:lnTo>
                      <a:pt x="375" y="175"/>
                    </a:lnTo>
                    <a:lnTo>
                      <a:pt x="375" y="177"/>
                    </a:lnTo>
                    <a:lnTo>
                      <a:pt x="375" y="179"/>
                    </a:lnTo>
                    <a:lnTo>
                      <a:pt x="375" y="181"/>
                    </a:lnTo>
                    <a:lnTo>
                      <a:pt x="377" y="181"/>
                    </a:lnTo>
                    <a:lnTo>
                      <a:pt x="377" y="183"/>
                    </a:lnTo>
                    <a:lnTo>
                      <a:pt x="377" y="185"/>
                    </a:lnTo>
                    <a:lnTo>
                      <a:pt x="377" y="187"/>
                    </a:lnTo>
                    <a:lnTo>
                      <a:pt x="377" y="188"/>
                    </a:lnTo>
                    <a:lnTo>
                      <a:pt x="377" y="187"/>
                    </a:lnTo>
                    <a:lnTo>
                      <a:pt x="377" y="188"/>
                    </a:lnTo>
                    <a:lnTo>
                      <a:pt x="379" y="188"/>
                    </a:lnTo>
                    <a:lnTo>
                      <a:pt x="379" y="190"/>
                    </a:lnTo>
                    <a:lnTo>
                      <a:pt x="381" y="190"/>
                    </a:lnTo>
                    <a:lnTo>
                      <a:pt x="381" y="192"/>
                    </a:lnTo>
                    <a:lnTo>
                      <a:pt x="381" y="194"/>
                    </a:lnTo>
                    <a:lnTo>
                      <a:pt x="381" y="192"/>
                    </a:lnTo>
                    <a:lnTo>
                      <a:pt x="381" y="194"/>
                    </a:lnTo>
                    <a:lnTo>
                      <a:pt x="379" y="194"/>
                    </a:lnTo>
                    <a:lnTo>
                      <a:pt x="379" y="196"/>
                    </a:lnTo>
                    <a:lnTo>
                      <a:pt x="379" y="198"/>
                    </a:lnTo>
                    <a:lnTo>
                      <a:pt x="379" y="200"/>
                    </a:lnTo>
                    <a:lnTo>
                      <a:pt x="377" y="200"/>
                    </a:lnTo>
                    <a:lnTo>
                      <a:pt x="377" y="202"/>
                    </a:lnTo>
                    <a:lnTo>
                      <a:pt x="375" y="202"/>
                    </a:lnTo>
                    <a:lnTo>
                      <a:pt x="373" y="204"/>
                    </a:lnTo>
                    <a:lnTo>
                      <a:pt x="373" y="206"/>
                    </a:lnTo>
                    <a:lnTo>
                      <a:pt x="373" y="208"/>
                    </a:lnTo>
                    <a:lnTo>
                      <a:pt x="373" y="210"/>
                    </a:lnTo>
                    <a:lnTo>
                      <a:pt x="371" y="210"/>
                    </a:lnTo>
                    <a:lnTo>
                      <a:pt x="369" y="208"/>
                    </a:lnTo>
                    <a:lnTo>
                      <a:pt x="367" y="210"/>
                    </a:lnTo>
                    <a:lnTo>
                      <a:pt x="369" y="212"/>
                    </a:lnTo>
                    <a:lnTo>
                      <a:pt x="369" y="213"/>
                    </a:lnTo>
                    <a:lnTo>
                      <a:pt x="369" y="215"/>
                    </a:lnTo>
                    <a:lnTo>
                      <a:pt x="367" y="215"/>
                    </a:lnTo>
                    <a:lnTo>
                      <a:pt x="367" y="213"/>
                    </a:lnTo>
                    <a:lnTo>
                      <a:pt x="365" y="215"/>
                    </a:lnTo>
                    <a:lnTo>
                      <a:pt x="365" y="217"/>
                    </a:lnTo>
                    <a:lnTo>
                      <a:pt x="365" y="219"/>
                    </a:lnTo>
                    <a:lnTo>
                      <a:pt x="363" y="217"/>
                    </a:lnTo>
                    <a:lnTo>
                      <a:pt x="361" y="219"/>
                    </a:lnTo>
                    <a:lnTo>
                      <a:pt x="363" y="219"/>
                    </a:lnTo>
                    <a:lnTo>
                      <a:pt x="363" y="221"/>
                    </a:lnTo>
                    <a:lnTo>
                      <a:pt x="361" y="221"/>
                    </a:lnTo>
                    <a:lnTo>
                      <a:pt x="359" y="221"/>
                    </a:lnTo>
                    <a:lnTo>
                      <a:pt x="358" y="223"/>
                    </a:lnTo>
                    <a:lnTo>
                      <a:pt x="356" y="223"/>
                    </a:lnTo>
                    <a:lnTo>
                      <a:pt x="356" y="225"/>
                    </a:lnTo>
                    <a:lnTo>
                      <a:pt x="358" y="225"/>
                    </a:lnTo>
                    <a:lnTo>
                      <a:pt x="359" y="225"/>
                    </a:lnTo>
                    <a:lnTo>
                      <a:pt x="359" y="227"/>
                    </a:lnTo>
                    <a:lnTo>
                      <a:pt x="359" y="229"/>
                    </a:lnTo>
                    <a:lnTo>
                      <a:pt x="358" y="229"/>
                    </a:lnTo>
                    <a:lnTo>
                      <a:pt x="358" y="227"/>
                    </a:lnTo>
                    <a:lnTo>
                      <a:pt x="356" y="227"/>
                    </a:lnTo>
                    <a:lnTo>
                      <a:pt x="356" y="229"/>
                    </a:lnTo>
                    <a:lnTo>
                      <a:pt x="358" y="231"/>
                    </a:lnTo>
                    <a:lnTo>
                      <a:pt x="358" y="233"/>
                    </a:lnTo>
                    <a:lnTo>
                      <a:pt x="358" y="235"/>
                    </a:lnTo>
                    <a:lnTo>
                      <a:pt x="356" y="235"/>
                    </a:lnTo>
                    <a:lnTo>
                      <a:pt x="354" y="235"/>
                    </a:lnTo>
                    <a:lnTo>
                      <a:pt x="352" y="235"/>
                    </a:lnTo>
                    <a:lnTo>
                      <a:pt x="352" y="237"/>
                    </a:lnTo>
                    <a:lnTo>
                      <a:pt x="352" y="238"/>
                    </a:lnTo>
                    <a:lnTo>
                      <a:pt x="352" y="240"/>
                    </a:lnTo>
                    <a:lnTo>
                      <a:pt x="350" y="240"/>
                    </a:lnTo>
                    <a:lnTo>
                      <a:pt x="350" y="242"/>
                    </a:lnTo>
                    <a:lnTo>
                      <a:pt x="350" y="240"/>
                    </a:lnTo>
                    <a:lnTo>
                      <a:pt x="348" y="240"/>
                    </a:lnTo>
                    <a:lnTo>
                      <a:pt x="346" y="238"/>
                    </a:lnTo>
                    <a:lnTo>
                      <a:pt x="344" y="240"/>
                    </a:lnTo>
                    <a:lnTo>
                      <a:pt x="342" y="240"/>
                    </a:lnTo>
                    <a:lnTo>
                      <a:pt x="344" y="240"/>
                    </a:lnTo>
                    <a:lnTo>
                      <a:pt x="342" y="242"/>
                    </a:lnTo>
                    <a:lnTo>
                      <a:pt x="342" y="240"/>
                    </a:lnTo>
                    <a:lnTo>
                      <a:pt x="342" y="242"/>
                    </a:lnTo>
                    <a:lnTo>
                      <a:pt x="340" y="240"/>
                    </a:lnTo>
                    <a:lnTo>
                      <a:pt x="338" y="240"/>
                    </a:lnTo>
                    <a:lnTo>
                      <a:pt x="340" y="240"/>
                    </a:lnTo>
                    <a:lnTo>
                      <a:pt x="338" y="240"/>
                    </a:lnTo>
                    <a:lnTo>
                      <a:pt x="338" y="238"/>
                    </a:lnTo>
                    <a:lnTo>
                      <a:pt x="338" y="237"/>
                    </a:lnTo>
                    <a:lnTo>
                      <a:pt x="336" y="237"/>
                    </a:lnTo>
                    <a:lnTo>
                      <a:pt x="335" y="237"/>
                    </a:lnTo>
                    <a:lnTo>
                      <a:pt x="333" y="237"/>
                    </a:lnTo>
                    <a:lnTo>
                      <a:pt x="335" y="237"/>
                    </a:lnTo>
                    <a:lnTo>
                      <a:pt x="336" y="237"/>
                    </a:lnTo>
                    <a:lnTo>
                      <a:pt x="335" y="237"/>
                    </a:lnTo>
                    <a:lnTo>
                      <a:pt x="333" y="237"/>
                    </a:lnTo>
                    <a:lnTo>
                      <a:pt x="331" y="237"/>
                    </a:lnTo>
                    <a:lnTo>
                      <a:pt x="331" y="238"/>
                    </a:lnTo>
                    <a:lnTo>
                      <a:pt x="329" y="238"/>
                    </a:lnTo>
                    <a:lnTo>
                      <a:pt x="329" y="237"/>
                    </a:lnTo>
                    <a:lnTo>
                      <a:pt x="329" y="238"/>
                    </a:lnTo>
                    <a:lnTo>
                      <a:pt x="327" y="238"/>
                    </a:lnTo>
                    <a:lnTo>
                      <a:pt x="327" y="240"/>
                    </a:lnTo>
                    <a:lnTo>
                      <a:pt x="327" y="242"/>
                    </a:lnTo>
                    <a:lnTo>
                      <a:pt x="327" y="240"/>
                    </a:lnTo>
                    <a:lnTo>
                      <a:pt x="325" y="242"/>
                    </a:lnTo>
                    <a:lnTo>
                      <a:pt x="325" y="244"/>
                    </a:lnTo>
                    <a:lnTo>
                      <a:pt x="323" y="244"/>
                    </a:lnTo>
                    <a:lnTo>
                      <a:pt x="323" y="246"/>
                    </a:lnTo>
                    <a:lnTo>
                      <a:pt x="321" y="248"/>
                    </a:lnTo>
                    <a:lnTo>
                      <a:pt x="319" y="248"/>
                    </a:lnTo>
                    <a:lnTo>
                      <a:pt x="319" y="250"/>
                    </a:lnTo>
                    <a:lnTo>
                      <a:pt x="317" y="252"/>
                    </a:lnTo>
                    <a:lnTo>
                      <a:pt x="315" y="252"/>
                    </a:lnTo>
                    <a:lnTo>
                      <a:pt x="313" y="252"/>
                    </a:lnTo>
                    <a:lnTo>
                      <a:pt x="311" y="252"/>
                    </a:lnTo>
                    <a:lnTo>
                      <a:pt x="311" y="254"/>
                    </a:lnTo>
                    <a:lnTo>
                      <a:pt x="313" y="252"/>
                    </a:lnTo>
                    <a:lnTo>
                      <a:pt x="313" y="254"/>
                    </a:lnTo>
                    <a:lnTo>
                      <a:pt x="311" y="254"/>
                    </a:lnTo>
                    <a:lnTo>
                      <a:pt x="313" y="256"/>
                    </a:lnTo>
                    <a:lnTo>
                      <a:pt x="313" y="258"/>
                    </a:lnTo>
                    <a:lnTo>
                      <a:pt x="315" y="258"/>
                    </a:lnTo>
                    <a:lnTo>
                      <a:pt x="315" y="260"/>
                    </a:lnTo>
                    <a:lnTo>
                      <a:pt x="315" y="261"/>
                    </a:lnTo>
                    <a:lnTo>
                      <a:pt x="313" y="261"/>
                    </a:lnTo>
                    <a:lnTo>
                      <a:pt x="313" y="260"/>
                    </a:lnTo>
                    <a:lnTo>
                      <a:pt x="311" y="258"/>
                    </a:lnTo>
                    <a:lnTo>
                      <a:pt x="310" y="258"/>
                    </a:lnTo>
                    <a:lnTo>
                      <a:pt x="310" y="260"/>
                    </a:lnTo>
                    <a:lnTo>
                      <a:pt x="310" y="258"/>
                    </a:lnTo>
                    <a:lnTo>
                      <a:pt x="310" y="260"/>
                    </a:lnTo>
                    <a:lnTo>
                      <a:pt x="310" y="261"/>
                    </a:lnTo>
                    <a:lnTo>
                      <a:pt x="310" y="263"/>
                    </a:lnTo>
                    <a:lnTo>
                      <a:pt x="310" y="265"/>
                    </a:lnTo>
                    <a:lnTo>
                      <a:pt x="308" y="267"/>
                    </a:lnTo>
                    <a:lnTo>
                      <a:pt x="308" y="265"/>
                    </a:lnTo>
                    <a:lnTo>
                      <a:pt x="308" y="263"/>
                    </a:lnTo>
                    <a:lnTo>
                      <a:pt x="306" y="263"/>
                    </a:lnTo>
                    <a:lnTo>
                      <a:pt x="304" y="265"/>
                    </a:lnTo>
                    <a:lnTo>
                      <a:pt x="304" y="267"/>
                    </a:lnTo>
                    <a:lnTo>
                      <a:pt x="302" y="267"/>
                    </a:lnTo>
                    <a:lnTo>
                      <a:pt x="300" y="265"/>
                    </a:lnTo>
                    <a:lnTo>
                      <a:pt x="300" y="267"/>
                    </a:lnTo>
                    <a:lnTo>
                      <a:pt x="298" y="267"/>
                    </a:lnTo>
                    <a:lnTo>
                      <a:pt x="298" y="269"/>
                    </a:lnTo>
                    <a:lnTo>
                      <a:pt x="296" y="269"/>
                    </a:lnTo>
                    <a:lnTo>
                      <a:pt x="294" y="269"/>
                    </a:lnTo>
                    <a:lnTo>
                      <a:pt x="294" y="267"/>
                    </a:lnTo>
                    <a:lnTo>
                      <a:pt x="294" y="265"/>
                    </a:lnTo>
                    <a:lnTo>
                      <a:pt x="292" y="265"/>
                    </a:lnTo>
                    <a:lnTo>
                      <a:pt x="290" y="265"/>
                    </a:lnTo>
                    <a:lnTo>
                      <a:pt x="290" y="267"/>
                    </a:lnTo>
                    <a:lnTo>
                      <a:pt x="290" y="269"/>
                    </a:lnTo>
                    <a:lnTo>
                      <a:pt x="290" y="271"/>
                    </a:lnTo>
                    <a:lnTo>
                      <a:pt x="292" y="271"/>
                    </a:lnTo>
                    <a:lnTo>
                      <a:pt x="290" y="271"/>
                    </a:lnTo>
                    <a:lnTo>
                      <a:pt x="290" y="273"/>
                    </a:lnTo>
                    <a:lnTo>
                      <a:pt x="288" y="273"/>
                    </a:lnTo>
                    <a:lnTo>
                      <a:pt x="288" y="275"/>
                    </a:lnTo>
                    <a:lnTo>
                      <a:pt x="290" y="275"/>
                    </a:lnTo>
                    <a:lnTo>
                      <a:pt x="292" y="275"/>
                    </a:lnTo>
                    <a:lnTo>
                      <a:pt x="292" y="277"/>
                    </a:lnTo>
                    <a:lnTo>
                      <a:pt x="292" y="279"/>
                    </a:lnTo>
                    <a:lnTo>
                      <a:pt x="292" y="281"/>
                    </a:lnTo>
                    <a:lnTo>
                      <a:pt x="290" y="283"/>
                    </a:lnTo>
                    <a:lnTo>
                      <a:pt x="290" y="285"/>
                    </a:lnTo>
                    <a:lnTo>
                      <a:pt x="292" y="285"/>
                    </a:lnTo>
                    <a:lnTo>
                      <a:pt x="292" y="286"/>
                    </a:lnTo>
                    <a:lnTo>
                      <a:pt x="292" y="288"/>
                    </a:lnTo>
                    <a:lnTo>
                      <a:pt x="292" y="290"/>
                    </a:lnTo>
                    <a:lnTo>
                      <a:pt x="292" y="292"/>
                    </a:lnTo>
                    <a:lnTo>
                      <a:pt x="290" y="294"/>
                    </a:lnTo>
                    <a:lnTo>
                      <a:pt x="288" y="296"/>
                    </a:lnTo>
                    <a:lnTo>
                      <a:pt x="288" y="298"/>
                    </a:lnTo>
                    <a:lnTo>
                      <a:pt x="286" y="298"/>
                    </a:lnTo>
                    <a:lnTo>
                      <a:pt x="286" y="300"/>
                    </a:lnTo>
                    <a:lnTo>
                      <a:pt x="286" y="298"/>
                    </a:lnTo>
                    <a:lnTo>
                      <a:pt x="288" y="300"/>
                    </a:lnTo>
                    <a:lnTo>
                      <a:pt x="288" y="302"/>
                    </a:lnTo>
                    <a:lnTo>
                      <a:pt x="290" y="302"/>
                    </a:lnTo>
                    <a:lnTo>
                      <a:pt x="292" y="302"/>
                    </a:lnTo>
                    <a:lnTo>
                      <a:pt x="292" y="304"/>
                    </a:lnTo>
                    <a:lnTo>
                      <a:pt x="292" y="306"/>
                    </a:lnTo>
                    <a:lnTo>
                      <a:pt x="292" y="308"/>
                    </a:lnTo>
                    <a:lnTo>
                      <a:pt x="294" y="308"/>
                    </a:lnTo>
                    <a:lnTo>
                      <a:pt x="294" y="310"/>
                    </a:lnTo>
                    <a:lnTo>
                      <a:pt x="296" y="310"/>
                    </a:lnTo>
                    <a:lnTo>
                      <a:pt x="296" y="311"/>
                    </a:lnTo>
                    <a:lnTo>
                      <a:pt x="296" y="313"/>
                    </a:lnTo>
                    <a:lnTo>
                      <a:pt x="296" y="315"/>
                    </a:lnTo>
                    <a:lnTo>
                      <a:pt x="296" y="313"/>
                    </a:lnTo>
                    <a:lnTo>
                      <a:pt x="298" y="311"/>
                    </a:lnTo>
                    <a:lnTo>
                      <a:pt x="296" y="311"/>
                    </a:lnTo>
                    <a:lnTo>
                      <a:pt x="296" y="310"/>
                    </a:lnTo>
                    <a:lnTo>
                      <a:pt x="294" y="308"/>
                    </a:lnTo>
                    <a:lnTo>
                      <a:pt x="294" y="306"/>
                    </a:lnTo>
                    <a:lnTo>
                      <a:pt x="292" y="306"/>
                    </a:lnTo>
                    <a:lnTo>
                      <a:pt x="292" y="304"/>
                    </a:lnTo>
                    <a:lnTo>
                      <a:pt x="292" y="302"/>
                    </a:lnTo>
                    <a:lnTo>
                      <a:pt x="290" y="302"/>
                    </a:lnTo>
                    <a:lnTo>
                      <a:pt x="288" y="302"/>
                    </a:lnTo>
                    <a:lnTo>
                      <a:pt x="288" y="300"/>
                    </a:lnTo>
                    <a:lnTo>
                      <a:pt x="286" y="298"/>
                    </a:lnTo>
                    <a:lnTo>
                      <a:pt x="288" y="298"/>
                    </a:lnTo>
                    <a:lnTo>
                      <a:pt x="288" y="296"/>
                    </a:lnTo>
                    <a:lnTo>
                      <a:pt x="288" y="294"/>
                    </a:lnTo>
                    <a:lnTo>
                      <a:pt x="290" y="294"/>
                    </a:lnTo>
                    <a:lnTo>
                      <a:pt x="292" y="292"/>
                    </a:lnTo>
                    <a:lnTo>
                      <a:pt x="292" y="290"/>
                    </a:lnTo>
                    <a:lnTo>
                      <a:pt x="292" y="288"/>
                    </a:lnTo>
                    <a:lnTo>
                      <a:pt x="292" y="286"/>
                    </a:lnTo>
                    <a:lnTo>
                      <a:pt x="292" y="285"/>
                    </a:lnTo>
                    <a:lnTo>
                      <a:pt x="292" y="283"/>
                    </a:lnTo>
                    <a:lnTo>
                      <a:pt x="292" y="281"/>
                    </a:lnTo>
                    <a:lnTo>
                      <a:pt x="292" y="279"/>
                    </a:lnTo>
                    <a:lnTo>
                      <a:pt x="292" y="277"/>
                    </a:lnTo>
                    <a:lnTo>
                      <a:pt x="292" y="275"/>
                    </a:lnTo>
                    <a:lnTo>
                      <a:pt x="292" y="277"/>
                    </a:lnTo>
                    <a:lnTo>
                      <a:pt x="292" y="275"/>
                    </a:lnTo>
                    <a:lnTo>
                      <a:pt x="290" y="275"/>
                    </a:lnTo>
                    <a:lnTo>
                      <a:pt x="292" y="275"/>
                    </a:lnTo>
                    <a:lnTo>
                      <a:pt x="290" y="275"/>
                    </a:lnTo>
                    <a:lnTo>
                      <a:pt x="290" y="273"/>
                    </a:lnTo>
                    <a:lnTo>
                      <a:pt x="292" y="273"/>
                    </a:lnTo>
                    <a:lnTo>
                      <a:pt x="292" y="271"/>
                    </a:lnTo>
                    <a:lnTo>
                      <a:pt x="290" y="271"/>
                    </a:lnTo>
                    <a:lnTo>
                      <a:pt x="290" y="269"/>
                    </a:lnTo>
                    <a:lnTo>
                      <a:pt x="290" y="267"/>
                    </a:lnTo>
                    <a:lnTo>
                      <a:pt x="290" y="265"/>
                    </a:lnTo>
                    <a:lnTo>
                      <a:pt x="292" y="265"/>
                    </a:lnTo>
                    <a:lnTo>
                      <a:pt x="294" y="265"/>
                    </a:lnTo>
                    <a:lnTo>
                      <a:pt x="294" y="267"/>
                    </a:lnTo>
                    <a:lnTo>
                      <a:pt x="294" y="269"/>
                    </a:lnTo>
                    <a:lnTo>
                      <a:pt x="296" y="269"/>
                    </a:lnTo>
                    <a:lnTo>
                      <a:pt x="298" y="269"/>
                    </a:lnTo>
                    <a:lnTo>
                      <a:pt x="298" y="267"/>
                    </a:lnTo>
                    <a:lnTo>
                      <a:pt x="300" y="267"/>
                    </a:lnTo>
                    <a:lnTo>
                      <a:pt x="302" y="267"/>
                    </a:lnTo>
                    <a:lnTo>
                      <a:pt x="304" y="267"/>
                    </a:lnTo>
                    <a:lnTo>
                      <a:pt x="306" y="265"/>
                    </a:lnTo>
                    <a:lnTo>
                      <a:pt x="306" y="263"/>
                    </a:lnTo>
                    <a:lnTo>
                      <a:pt x="308" y="263"/>
                    </a:lnTo>
                    <a:lnTo>
                      <a:pt x="308" y="265"/>
                    </a:lnTo>
                    <a:lnTo>
                      <a:pt x="308" y="267"/>
                    </a:lnTo>
                    <a:lnTo>
                      <a:pt x="310" y="265"/>
                    </a:lnTo>
                    <a:lnTo>
                      <a:pt x="310" y="263"/>
                    </a:lnTo>
                    <a:lnTo>
                      <a:pt x="311" y="261"/>
                    </a:lnTo>
                    <a:lnTo>
                      <a:pt x="310" y="261"/>
                    </a:lnTo>
                    <a:lnTo>
                      <a:pt x="310" y="260"/>
                    </a:lnTo>
                    <a:lnTo>
                      <a:pt x="310" y="258"/>
                    </a:lnTo>
                    <a:lnTo>
                      <a:pt x="311" y="258"/>
                    </a:lnTo>
                    <a:lnTo>
                      <a:pt x="311" y="260"/>
                    </a:lnTo>
                    <a:lnTo>
                      <a:pt x="313" y="260"/>
                    </a:lnTo>
                    <a:lnTo>
                      <a:pt x="313" y="261"/>
                    </a:lnTo>
                    <a:lnTo>
                      <a:pt x="315" y="261"/>
                    </a:lnTo>
                    <a:lnTo>
                      <a:pt x="315" y="260"/>
                    </a:lnTo>
                    <a:lnTo>
                      <a:pt x="315" y="258"/>
                    </a:lnTo>
                    <a:lnTo>
                      <a:pt x="315" y="256"/>
                    </a:lnTo>
                    <a:lnTo>
                      <a:pt x="313" y="256"/>
                    </a:lnTo>
                    <a:lnTo>
                      <a:pt x="313" y="254"/>
                    </a:lnTo>
                    <a:lnTo>
                      <a:pt x="313" y="252"/>
                    </a:lnTo>
                    <a:lnTo>
                      <a:pt x="315" y="252"/>
                    </a:lnTo>
                    <a:lnTo>
                      <a:pt x="317" y="252"/>
                    </a:lnTo>
                    <a:lnTo>
                      <a:pt x="319" y="250"/>
                    </a:lnTo>
                    <a:lnTo>
                      <a:pt x="321" y="250"/>
                    </a:lnTo>
                    <a:lnTo>
                      <a:pt x="321" y="248"/>
                    </a:lnTo>
                    <a:lnTo>
                      <a:pt x="321" y="250"/>
                    </a:lnTo>
                    <a:lnTo>
                      <a:pt x="321" y="248"/>
                    </a:lnTo>
                    <a:lnTo>
                      <a:pt x="323" y="248"/>
                    </a:lnTo>
                    <a:lnTo>
                      <a:pt x="323" y="246"/>
                    </a:lnTo>
                    <a:lnTo>
                      <a:pt x="323" y="248"/>
                    </a:lnTo>
                    <a:lnTo>
                      <a:pt x="323" y="246"/>
                    </a:lnTo>
                    <a:lnTo>
                      <a:pt x="325" y="244"/>
                    </a:lnTo>
                    <a:lnTo>
                      <a:pt x="327" y="242"/>
                    </a:lnTo>
                    <a:lnTo>
                      <a:pt x="327" y="240"/>
                    </a:lnTo>
                    <a:lnTo>
                      <a:pt x="327" y="238"/>
                    </a:lnTo>
                    <a:lnTo>
                      <a:pt x="329" y="238"/>
                    </a:lnTo>
                    <a:lnTo>
                      <a:pt x="331" y="238"/>
                    </a:lnTo>
                    <a:lnTo>
                      <a:pt x="331" y="237"/>
                    </a:lnTo>
                    <a:lnTo>
                      <a:pt x="333" y="237"/>
                    </a:lnTo>
                    <a:lnTo>
                      <a:pt x="335" y="237"/>
                    </a:lnTo>
                    <a:lnTo>
                      <a:pt x="336" y="237"/>
                    </a:lnTo>
                    <a:lnTo>
                      <a:pt x="338" y="238"/>
                    </a:lnTo>
                    <a:lnTo>
                      <a:pt x="338" y="240"/>
                    </a:lnTo>
                    <a:lnTo>
                      <a:pt x="340" y="240"/>
                    </a:lnTo>
                    <a:lnTo>
                      <a:pt x="340" y="242"/>
                    </a:lnTo>
                    <a:lnTo>
                      <a:pt x="342" y="242"/>
                    </a:lnTo>
                    <a:lnTo>
                      <a:pt x="344" y="242"/>
                    </a:lnTo>
                    <a:lnTo>
                      <a:pt x="344" y="240"/>
                    </a:lnTo>
                    <a:lnTo>
                      <a:pt x="346" y="240"/>
                    </a:lnTo>
                    <a:lnTo>
                      <a:pt x="346" y="238"/>
                    </a:lnTo>
                    <a:lnTo>
                      <a:pt x="346" y="240"/>
                    </a:lnTo>
                    <a:lnTo>
                      <a:pt x="348" y="240"/>
                    </a:lnTo>
                    <a:lnTo>
                      <a:pt x="350" y="242"/>
                    </a:lnTo>
                    <a:lnTo>
                      <a:pt x="352" y="242"/>
                    </a:lnTo>
                    <a:lnTo>
                      <a:pt x="352" y="240"/>
                    </a:lnTo>
                    <a:lnTo>
                      <a:pt x="352" y="238"/>
                    </a:lnTo>
                    <a:lnTo>
                      <a:pt x="352" y="237"/>
                    </a:lnTo>
                    <a:lnTo>
                      <a:pt x="352" y="235"/>
                    </a:lnTo>
                    <a:lnTo>
                      <a:pt x="354" y="235"/>
                    </a:lnTo>
                    <a:lnTo>
                      <a:pt x="356" y="235"/>
                    </a:lnTo>
                    <a:lnTo>
                      <a:pt x="358" y="235"/>
                    </a:lnTo>
                    <a:lnTo>
                      <a:pt x="358" y="233"/>
                    </a:lnTo>
                    <a:lnTo>
                      <a:pt x="358" y="231"/>
                    </a:lnTo>
                    <a:lnTo>
                      <a:pt x="356" y="229"/>
                    </a:lnTo>
                    <a:lnTo>
                      <a:pt x="356" y="227"/>
                    </a:lnTo>
                    <a:lnTo>
                      <a:pt x="358" y="227"/>
                    </a:lnTo>
                    <a:lnTo>
                      <a:pt x="358" y="229"/>
                    </a:lnTo>
                    <a:lnTo>
                      <a:pt x="359" y="229"/>
                    </a:lnTo>
                    <a:lnTo>
                      <a:pt x="359" y="227"/>
                    </a:lnTo>
                    <a:lnTo>
                      <a:pt x="359" y="225"/>
                    </a:lnTo>
                    <a:lnTo>
                      <a:pt x="358" y="225"/>
                    </a:lnTo>
                    <a:lnTo>
                      <a:pt x="356" y="225"/>
                    </a:lnTo>
                    <a:lnTo>
                      <a:pt x="356" y="223"/>
                    </a:lnTo>
                    <a:lnTo>
                      <a:pt x="358" y="223"/>
                    </a:lnTo>
                    <a:lnTo>
                      <a:pt x="359" y="223"/>
                    </a:lnTo>
                    <a:lnTo>
                      <a:pt x="359" y="221"/>
                    </a:lnTo>
                    <a:lnTo>
                      <a:pt x="361" y="221"/>
                    </a:lnTo>
                    <a:lnTo>
                      <a:pt x="363" y="221"/>
                    </a:lnTo>
                    <a:lnTo>
                      <a:pt x="363" y="219"/>
                    </a:lnTo>
                    <a:lnTo>
                      <a:pt x="363" y="217"/>
                    </a:lnTo>
                    <a:lnTo>
                      <a:pt x="363" y="219"/>
                    </a:lnTo>
                    <a:lnTo>
                      <a:pt x="365" y="219"/>
                    </a:lnTo>
                    <a:lnTo>
                      <a:pt x="365" y="217"/>
                    </a:lnTo>
                    <a:lnTo>
                      <a:pt x="365" y="215"/>
                    </a:lnTo>
                    <a:lnTo>
                      <a:pt x="367" y="215"/>
                    </a:lnTo>
                    <a:lnTo>
                      <a:pt x="369" y="215"/>
                    </a:lnTo>
                    <a:lnTo>
                      <a:pt x="369" y="213"/>
                    </a:lnTo>
                    <a:lnTo>
                      <a:pt x="369" y="212"/>
                    </a:lnTo>
                    <a:lnTo>
                      <a:pt x="369" y="210"/>
                    </a:lnTo>
                    <a:lnTo>
                      <a:pt x="369" y="208"/>
                    </a:lnTo>
                    <a:lnTo>
                      <a:pt x="369" y="210"/>
                    </a:lnTo>
                    <a:lnTo>
                      <a:pt x="371" y="210"/>
                    </a:lnTo>
                    <a:lnTo>
                      <a:pt x="373" y="210"/>
                    </a:lnTo>
                    <a:lnTo>
                      <a:pt x="373" y="208"/>
                    </a:lnTo>
                    <a:lnTo>
                      <a:pt x="373" y="206"/>
                    </a:lnTo>
                    <a:lnTo>
                      <a:pt x="373" y="204"/>
                    </a:lnTo>
                    <a:lnTo>
                      <a:pt x="373" y="206"/>
                    </a:lnTo>
                    <a:lnTo>
                      <a:pt x="373" y="204"/>
                    </a:lnTo>
                    <a:lnTo>
                      <a:pt x="375" y="204"/>
                    </a:lnTo>
                    <a:lnTo>
                      <a:pt x="375" y="202"/>
                    </a:lnTo>
                    <a:lnTo>
                      <a:pt x="377" y="202"/>
                    </a:lnTo>
                    <a:lnTo>
                      <a:pt x="377" y="200"/>
                    </a:lnTo>
                    <a:lnTo>
                      <a:pt x="379" y="200"/>
                    </a:lnTo>
                    <a:lnTo>
                      <a:pt x="379" y="198"/>
                    </a:lnTo>
                    <a:lnTo>
                      <a:pt x="381" y="196"/>
                    </a:lnTo>
                    <a:lnTo>
                      <a:pt x="381" y="194"/>
                    </a:lnTo>
                    <a:lnTo>
                      <a:pt x="381" y="192"/>
                    </a:lnTo>
                    <a:lnTo>
                      <a:pt x="381" y="190"/>
                    </a:lnTo>
                    <a:lnTo>
                      <a:pt x="381" y="188"/>
                    </a:lnTo>
                    <a:lnTo>
                      <a:pt x="379" y="188"/>
                    </a:lnTo>
                    <a:lnTo>
                      <a:pt x="377" y="187"/>
                    </a:lnTo>
                    <a:lnTo>
                      <a:pt x="377" y="185"/>
                    </a:lnTo>
                    <a:lnTo>
                      <a:pt x="379" y="185"/>
                    </a:lnTo>
                    <a:lnTo>
                      <a:pt x="377" y="185"/>
                    </a:lnTo>
                    <a:lnTo>
                      <a:pt x="377" y="183"/>
                    </a:lnTo>
                    <a:lnTo>
                      <a:pt x="377" y="181"/>
                    </a:lnTo>
                    <a:lnTo>
                      <a:pt x="377" y="179"/>
                    </a:lnTo>
                    <a:lnTo>
                      <a:pt x="375" y="179"/>
                    </a:lnTo>
                    <a:lnTo>
                      <a:pt x="375" y="177"/>
                    </a:lnTo>
                    <a:lnTo>
                      <a:pt x="375" y="175"/>
                    </a:lnTo>
                    <a:lnTo>
                      <a:pt x="377" y="175"/>
                    </a:lnTo>
                    <a:lnTo>
                      <a:pt x="375" y="175"/>
                    </a:lnTo>
                    <a:lnTo>
                      <a:pt x="377" y="175"/>
                    </a:lnTo>
                    <a:lnTo>
                      <a:pt x="375" y="175"/>
                    </a:lnTo>
                    <a:lnTo>
                      <a:pt x="375" y="173"/>
                    </a:lnTo>
                    <a:lnTo>
                      <a:pt x="373" y="173"/>
                    </a:lnTo>
                    <a:lnTo>
                      <a:pt x="371" y="173"/>
                    </a:lnTo>
                    <a:lnTo>
                      <a:pt x="371" y="171"/>
                    </a:lnTo>
                    <a:lnTo>
                      <a:pt x="373" y="169"/>
                    </a:lnTo>
                    <a:lnTo>
                      <a:pt x="373" y="167"/>
                    </a:lnTo>
                    <a:lnTo>
                      <a:pt x="375" y="167"/>
                    </a:lnTo>
                    <a:lnTo>
                      <a:pt x="373" y="167"/>
                    </a:lnTo>
                    <a:lnTo>
                      <a:pt x="375" y="167"/>
                    </a:lnTo>
                    <a:lnTo>
                      <a:pt x="373" y="167"/>
                    </a:lnTo>
                    <a:lnTo>
                      <a:pt x="373" y="165"/>
                    </a:lnTo>
                    <a:lnTo>
                      <a:pt x="371" y="165"/>
                    </a:lnTo>
                    <a:lnTo>
                      <a:pt x="369" y="165"/>
                    </a:lnTo>
                    <a:lnTo>
                      <a:pt x="367" y="163"/>
                    </a:lnTo>
                    <a:lnTo>
                      <a:pt x="369" y="163"/>
                    </a:lnTo>
                    <a:lnTo>
                      <a:pt x="369" y="162"/>
                    </a:lnTo>
                    <a:lnTo>
                      <a:pt x="369" y="160"/>
                    </a:lnTo>
                    <a:lnTo>
                      <a:pt x="369" y="162"/>
                    </a:lnTo>
                    <a:lnTo>
                      <a:pt x="369" y="160"/>
                    </a:lnTo>
                    <a:lnTo>
                      <a:pt x="371" y="160"/>
                    </a:lnTo>
                    <a:lnTo>
                      <a:pt x="371" y="158"/>
                    </a:lnTo>
                    <a:lnTo>
                      <a:pt x="371" y="156"/>
                    </a:lnTo>
                    <a:lnTo>
                      <a:pt x="371" y="154"/>
                    </a:lnTo>
                    <a:lnTo>
                      <a:pt x="373" y="154"/>
                    </a:lnTo>
                    <a:lnTo>
                      <a:pt x="373" y="156"/>
                    </a:lnTo>
                    <a:lnTo>
                      <a:pt x="373" y="154"/>
                    </a:lnTo>
                    <a:lnTo>
                      <a:pt x="373" y="152"/>
                    </a:lnTo>
                    <a:lnTo>
                      <a:pt x="373" y="150"/>
                    </a:lnTo>
                    <a:lnTo>
                      <a:pt x="373" y="152"/>
                    </a:lnTo>
                    <a:lnTo>
                      <a:pt x="373" y="150"/>
                    </a:lnTo>
                    <a:lnTo>
                      <a:pt x="375" y="150"/>
                    </a:lnTo>
                    <a:lnTo>
                      <a:pt x="375" y="148"/>
                    </a:lnTo>
                    <a:lnTo>
                      <a:pt x="375" y="146"/>
                    </a:lnTo>
                    <a:lnTo>
                      <a:pt x="377" y="144"/>
                    </a:lnTo>
                    <a:lnTo>
                      <a:pt x="377" y="142"/>
                    </a:lnTo>
                    <a:lnTo>
                      <a:pt x="377" y="144"/>
                    </a:lnTo>
                    <a:lnTo>
                      <a:pt x="377" y="146"/>
                    </a:lnTo>
                    <a:lnTo>
                      <a:pt x="377" y="144"/>
                    </a:lnTo>
                    <a:lnTo>
                      <a:pt x="377" y="142"/>
                    </a:lnTo>
                    <a:lnTo>
                      <a:pt x="377" y="140"/>
                    </a:lnTo>
                    <a:lnTo>
                      <a:pt x="379" y="140"/>
                    </a:lnTo>
                    <a:lnTo>
                      <a:pt x="379" y="138"/>
                    </a:lnTo>
                    <a:lnTo>
                      <a:pt x="379" y="137"/>
                    </a:lnTo>
                    <a:lnTo>
                      <a:pt x="377" y="137"/>
                    </a:lnTo>
                    <a:lnTo>
                      <a:pt x="377" y="135"/>
                    </a:lnTo>
                    <a:lnTo>
                      <a:pt x="377" y="137"/>
                    </a:lnTo>
                    <a:lnTo>
                      <a:pt x="377" y="135"/>
                    </a:lnTo>
                    <a:lnTo>
                      <a:pt x="375" y="135"/>
                    </a:lnTo>
                    <a:lnTo>
                      <a:pt x="375" y="133"/>
                    </a:lnTo>
                    <a:lnTo>
                      <a:pt x="375" y="131"/>
                    </a:lnTo>
                    <a:lnTo>
                      <a:pt x="375" y="133"/>
                    </a:lnTo>
                    <a:lnTo>
                      <a:pt x="375" y="131"/>
                    </a:lnTo>
                    <a:lnTo>
                      <a:pt x="375" y="133"/>
                    </a:lnTo>
                    <a:lnTo>
                      <a:pt x="377" y="133"/>
                    </a:lnTo>
                    <a:lnTo>
                      <a:pt x="377" y="135"/>
                    </a:lnTo>
                    <a:lnTo>
                      <a:pt x="377" y="133"/>
                    </a:lnTo>
                    <a:lnTo>
                      <a:pt x="375" y="131"/>
                    </a:lnTo>
                    <a:lnTo>
                      <a:pt x="377" y="131"/>
                    </a:lnTo>
                    <a:lnTo>
                      <a:pt x="377" y="129"/>
                    </a:lnTo>
                    <a:lnTo>
                      <a:pt x="375" y="129"/>
                    </a:lnTo>
                    <a:lnTo>
                      <a:pt x="373" y="127"/>
                    </a:lnTo>
                    <a:lnTo>
                      <a:pt x="373" y="125"/>
                    </a:lnTo>
                    <a:lnTo>
                      <a:pt x="373" y="123"/>
                    </a:lnTo>
                    <a:lnTo>
                      <a:pt x="375" y="123"/>
                    </a:lnTo>
                    <a:lnTo>
                      <a:pt x="375" y="121"/>
                    </a:lnTo>
                    <a:lnTo>
                      <a:pt x="377" y="121"/>
                    </a:lnTo>
                    <a:lnTo>
                      <a:pt x="379" y="119"/>
                    </a:lnTo>
                    <a:lnTo>
                      <a:pt x="379" y="121"/>
                    </a:lnTo>
                    <a:lnTo>
                      <a:pt x="377" y="121"/>
                    </a:lnTo>
                    <a:lnTo>
                      <a:pt x="379" y="121"/>
                    </a:lnTo>
                    <a:lnTo>
                      <a:pt x="379" y="119"/>
                    </a:lnTo>
                    <a:lnTo>
                      <a:pt x="381" y="119"/>
                    </a:lnTo>
                    <a:lnTo>
                      <a:pt x="381" y="117"/>
                    </a:lnTo>
                    <a:lnTo>
                      <a:pt x="383" y="117"/>
                    </a:lnTo>
                    <a:lnTo>
                      <a:pt x="381" y="119"/>
                    </a:lnTo>
                    <a:lnTo>
                      <a:pt x="383" y="119"/>
                    </a:lnTo>
                    <a:lnTo>
                      <a:pt x="383" y="117"/>
                    </a:lnTo>
                    <a:lnTo>
                      <a:pt x="383" y="115"/>
                    </a:lnTo>
                    <a:lnTo>
                      <a:pt x="384" y="115"/>
                    </a:lnTo>
                    <a:lnTo>
                      <a:pt x="384" y="113"/>
                    </a:lnTo>
                    <a:lnTo>
                      <a:pt x="384" y="115"/>
                    </a:lnTo>
                    <a:lnTo>
                      <a:pt x="386" y="115"/>
                    </a:lnTo>
                    <a:lnTo>
                      <a:pt x="386" y="117"/>
                    </a:lnTo>
                    <a:lnTo>
                      <a:pt x="386" y="119"/>
                    </a:lnTo>
                    <a:lnTo>
                      <a:pt x="388" y="119"/>
                    </a:lnTo>
                    <a:lnTo>
                      <a:pt x="388" y="121"/>
                    </a:lnTo>
                    <a:lnTo>
                      <a:pt x="390" y="121"/>
                    </a:lnTo>
                    <a:lnTo>
                      <a:pt x="388" y="121"/>
                    </a:lnTo>
                    <a:lnTo>
                      <a:pt x="390" y="121"/>
                    </a:lnTo>
                    <a:lnTo>
                      <a:pt x="392" y="121"/>
                    </a:lnTo>
                    <a:lnTo>
                      <a:pt x="394" y="121"/>
                    </a:lnTo>
                    <a:lnTo>
                      <a:pt x="396" y="121"/>
                    </a:lnTo>
                    <a:lnTo>
                      <a:pt x="398" y="121"/>
                    </a:lnTo>
                    <a:lnTo>
                      <a:pt x="400" y="121"/>
                    </a:lnTo>
                    <a:lnTo>
                      <a:pt x="402" y="121"/>
                    </a:lnTo>
                    <a:lnTo>
                      <a:pt x="404" y="123"/>
                    </a:lnTo>
                    <a:lnTo>
                      <a:pt x="406" y="121"/>
                    </a:lnTo>
                    <a:lnTo>
                      <a:pt x="404" y="121"/>
                    </a:lnTo>
                    <a:lnTo>
                      <a:pt x="406" y="121"/>
                    </a:lnTo>
                    <a:lnTo>
                      <a:pt x="408" y="121"/>
                    </a:lnTo>
                    <a:lnTo>
                      <a:pt x="409" y="123"/>
                    </a:lnTo>
                    <a:lnTo>
                      <a:pt x="411" y="123"/>
                    </a:lnTo>
                    <a:lnTo>
                      <a:pt x="411" y="125"/>
                    </a:lnTo>
                    <a:lnTo>
                      <a:pt x="409" y="125"/>
                    </a:lnTo>
                    <a:lnTo>
                      <a:pt x="409" y="127"/>
                    </a:lnTo>
                    <a:lnTo>
                      <a:pt x="408" y="127"/>
                    </a:lnTo>
                    <a:lnTo>
                      <a:pt x="409" y="127"/>
                    </a:lnTo>
                    <a:lnTo>
                      <a:pt x="409" y="125"/>
                    </a:lnTo>
                    <a:lnTo>
                      <a:pt x="411" y="125"/>
                    </a:lnTo>
                    <a:lnTo>
                      <a:pt x="413" y="125"/>
                    </a:lnTo>
                    <a:lnTo>
                      <a:pt x="413" y="123"/>
                    </a:lnTo>
                    <a:lnTo>
                      <a:pt x="415" y="123"/>
                    </a:lnTo>
                    <a:lnTo>
                      <a:pt x="415" y="121"/>
                    </a:lnTo>
                    <a:lnTo>
                      <a:pt x="415" y="119"/>
                    </a:lnTo>
                    <a:lnTo>
                      <a:pt x="417" y="117"/>
                    </a:lnTo>
                    <a:lnTo>
                      <a:pt x="419" y="117"/>
                    </a:lnTo>
                    <a:lnTo>
                      <a:pt x="421" y="115"/>
                    </a:lnTo>
                    <a:lnTo>
                      <a:pt x="423" y="113"/>
                    </a:lnTo>
                    <a:lnTo>
                      <a:pt x="425" y="113"/>
                    </a:lnTo>
                    <a:lnTo>
                      <a:pt x="427" y="113"/>
                    </a:lnTo>
                    <a:lnTo>
                      <a:pt x="429" y="113"/>
                    </a:lnTo>
                    <a:lnTo>
                      <a:pt x="431" y="113"/>
                    </a:lnTo>
                    <a:lnTo>
                      <a:pt x="429" y="113"/>
                    </a:lnTo>
                    <a:lnTo>
                      <a:pt x="431" y="113"/>
                    </a:lnTo>
                    <a:lnTo>
                      <a:pt x="431" y="112"/>
                    </a:lnTo>
                    <a:lnTo>
                      <a:pt x="431" y="110"/>
                    </a:lnTo>
                    <a:lnTo>
                      <a:pt x="432" y="110"/>
                    </a:lnTo>
                    <a:lnTo>
                      <a:pt x="434" y="110"/>
                    </a:lnTo>
                    <a:lnTo>
                      <a:pt x="432" y="110"/>
                    </a:lnTo>
                    <a:lnTo>
                      <a:pt x="434" y="110"/>
                    </a:lnTo>
                    <a:lnTo>
                      <a:pt x="436" y="110"/>
                    </a:lnTo>
                    <a:lnTo>
                      <a:pt x="436" y="108"/>
                    </a:lnTo>
                    <a:lnTo>
                      <a:pt x="438" y="108"/>
                    </a:lnTo>
                    <a:lnTo>
                      <a:pt x="440" y="108"/>
                    </a:lnTo>
                    <a:lnTo>
                      <a:pt x="442" y="108"/>
                    </a:lnTo>
                    <a:lnTo>
                      <a:pt x="440" y="108"/>
                    </a:lnTo>
                    <a:lnTo>
                      <a:pt x="442" y="108"/>
                    </a:lnTo>
                    <a:lnTo>
                      <a:pt x="444" y="108"/>
                    </a:lnTo>
                    <a:lnTo>
                      <a:pt x="446" y="108"/>
                    </a:lnTo>
                    <a:lnTo>
                      <a:pt x="448" y="108"/>
                    </a:lnTo>
                    <a:lnTo>
                      <a:pt x="448" y="106"/>
                    </a:lnTo>
                    <a:lnTo>
                      <a:pt x="450" y="106"/>
                    </a:lnTo>
                    <a:lnTo>
                      <a:pt x="450" y="104"/>
                    </a:lnTo>
                    <a:lnTo>
                      <a:pt x="450" y="102"/>
                    </a:lnTo>
                    <a:lnTo>
                      <a:pt x="452" y="102"/>
                    </a:lnTo>
                    <a:lnTo>
                      <a:pt x="454" y="102"/>
                    </a:lnTo>
                    <a:lnTo>
                      <a:pt x="456" y="100"/>
                    </a:lnTo>
                    <a:lnTo>
                      <a:pt x="457" y="102"/>
                    </a:lnTo>
                    <a:lnTo>
                      <a:pt x="457" y="104"/>
                    </a:lnTo>
                    <a:lnTo>
                      <a:pt x="457" y="106"/>
                    </a:lnTo>
                    <a:lnTo>
                      <a:pt x="459" y="106"/>
                    </a:lnTo>
                    <a:lnTo>
                      <a:pt x="459" y="108"/>
                    </a:lnTo>
                    <a:lnTo>
                      <a:pt x="461" y="110"/>
                    </a:lnTo>
                    <a:lnTo>
                      <a:pt x="461" y="112"/>
                    </a:lnTo>
                    <a:lnTo>
                      <a:pt x="461" y="113"/>
                    </a:lnTo>
                    <a:lnTo>
                      <a:pt x="461" y="112"/>
                    </a:lnTo>
                    <a:lnTo>
                      <a:pt x="461" y="113"/>
                    </a:lnTo>
                    <a:lnTo>
                      <a:pt x="461" y="115"/>
                    </a:lnTo>
                    <a:lnTo>
                      <a:pt x="459" y="115"/>
                    </a:lnTo>
                    <a:lnTo>
                      <a:pt x="459" y="117"/>
                    </a:lnTo>
                    <a:lnTo>
                      <a:pt x="459" y="119"/>
                    </a:lnTo>
                    <a:lnTo>
                      <a:pt x="459" y="121"/>
                    </a:lnTo>
                    <a:lnTo>
                      <a:pt x="461" y="121"/>
                    </a:lnTo>
                    <a:lnTo>
                      <a:pt x="459" y="121"/>
                    </a:lnTo>
                    <a:lnTo>
                      <a:pt x="461" y="121"/>
                    </a:lnTo>
                    <a:lnTo>
                      <a:pt x="461" y="123"/>
                    </a:lnTo>
                    <a:lnTo>
                      <a:pt x="463" y="123"/>
                    </a:lnTo>
                    <a:lnTo>
                      <a:pt x="463" y="125"/>
                    </a:lnTo>
                    <a:lnTo>
                      <a:pt x="461" y="125"/>
                    </a:lnTo>
                    <a:lnTo>
                      <a:pt x="461" y="127"/>
                    </a:lnTo>
                    <a:lnTo>
                      <a:pt x="461" y="129"/>
                    </a:lnTo>
                    <a:lnTo>
                      <a:pt x="463" y="129"/>
                    </a:lnTo>
                    <a:lnTo>
                      <a:pt x="461" y="129"/>
                    </a:lnTo>
                    <a:lnTo>
                      <a:pt x="461" y="131"/>
                    </a:lnTo>
                    <a:lnTo>
                      <a:pt x="461" y="133"/>
                    </a:lnTo>
                    <a:lnTo>
                      <a:pt x="459" y="133"/>
                    </a:lnTo>
                    <a:lnTo>
                      <a:pt x="459" y="135"/>
                    </a:lnTo>
                    <a:lnTo>
                      <a:pt x="457" y="133"/>
                    </a:lnTo>
                    <a:lnTo>
                      <a:pt x="457" y="135"/>
                    </a:lnTo>
                    <a:lnTo>
                      <a:pt x="457" y="137"/>
                    </a:lnTo>
                    <a:lnTo>
                      <a:pt x="456" y="137"/>
                    </a:lnTo>
                    <a:lnTo>
                      <a:pt x="456" y="135"/>
                    </a:lnTo>
                    <a:lnTo>
                      <a:pt x="454" y="135"/>
                    </a:lnTo>
                    <a:lnTo>
                      <a:pt x="454" y="137"/>
                    </a:lnTo>
                    <a:lnTo>
                      <a:pt x="456" y="137"/>
                    </a:lnTo>
                    <a:lnTo>
                      <a:pt x="456" y="138"/>
                    </a:lnTo>
                    <a:lnTo>
                      <a:pt x="454" y="138"/>
                    </a:lnTo>
                    <a:lnTo>
                      <a:pt x="452" y="138"/>
                    </a:lnTo>
                    <a:lnTo>
                      <a:pt x="452" y="140"/>
                    </a:lnTo>
                    <a:lnTo>
                      <a:pt x="450" y="142"/>
                    </a:lnTo>
                    <a:lnTo>
                      <a:pt x="448" y="142"/>
                    </a:lnTo>
                    <a:lnTo>
                      <a:pt x="446" y="142"/>
                    </a:lnTo>
                    <a:lnTo>
                      <a:pt x="444" y="142"/>
                    </a:lnTo>
                    <a:lnTo>
                      <a:pt x="444" y="144"/>
                    </a:lnTo>
                    <a:lnTo>
                      <a:pt x="442" y="144"/>
                    </a:lnTo>
                    <a:lnTo>
                      <a:pt x="440" y="144"/>
                    </a:lnTo>
                    <a:lnTo>
                      <a:pt x="438" y="146"/>
                    </a:lnTo>
                    <a:lnTo>
                      <a:pt x="438" y="148"/>
                    </a:lnTo>
                    <a:lnTo>
                      <a:pt x="438" y="146"/>
                    </a:lnTo>
                    <a:lnTo>
                      <a:pt x="436" y="146"/>
                    </a:lnTo>
                    <a:lnTo>
                      <a:pt x="436" y="148"/>
                    </a:lnTo>
                    <a:lnTo>
                      <a:pt x="436" y="146"/>
                    </a:lnTo>
                    <a:lnTo>
                      <a:pt x="434" y="146"/>
                    </a:lnTo>
                    <a:lnTo>
                      <a:pt x="434" y="148"/>
                    </a:lnTo>
                    <a:lnTo>
                      <a:pt x="432" y="148"/>
                    </a:lnTo>
                    <a:lnTo>
                      <a:pt x="432" y="150"/>
                    </a:lnTo>
                    <a:lnTo>
                      <a:pt x="431" y="150"/>
                    </a:lnTo>
                    <a:lnTo>
                      <a:pt x="431" y="152"/>
                    </a:lnTo>
                    <a:lnTo>
                      <a:pt x="431" y="150"/>
                    </a:lnTo>
                    <a:lnTo>
                      <a:pt x="432" y="150"/>
                    </a:lnTo>
                    <a:lnTo>
                      <a:pt x="432" y="148"/>
                    </a:lnTo>
                    <a:lnTo>
                      <a:pt x="434" y="148"/>
                    </a:lnTo>
                    <a:lnTo>
                      <a:pt x="434" y="146"/>
                    </a:lnTo>
                    <a:lnTo>
                      <a:pt x="434" y="148"/>
                    </a:lnTo>
                    <a:lnTo>
                      <a:pt x="436" y="146"/>
                    </a:lnTo>
                    <a:lnTo>
                      <a:pt x="436" y="148"/>
                    </a:lnTo>
                    <a:lnTo>
                      <a:pt x="436" y="146"/>
                    </a:lnTo>
                    <a:lnTo>
                      <a:pt x="438" y="146"/>
                    </a:lnTo>
                    <a:lnTo>
                      <a:pt x="438" y="148"/>
                    </a:lnTo>
                    <a:lnTo>
                      <a:pt x="438" y="146"/>
                    </a:lnTo>
                    <a:lnTo>
                      <a:pt x="440" y="144"/>
                    </a:lnTo>
                    <a:lnTo>
                      <a:pt x="442" y="144"/>
                    </a:lnTo>
                    <a:lnTo>
                      <a:pt x="444" y="144"/>
                    </a:lnTo>
                    <a:lnTo>
                      <a:pt x="446" y="142"/>
                    </a:lnTo>
                    <a:lnTo>
                      <a:pt x="448" y="142"/>
                    </a:lnTo>
                    <a:lnTo>
                      <a:pt x="450" y="142"/>
                    </a:lnTo>
                    <a:lnTo>
                      <a:pt x="452" y="142"/>
                    </a:lnTo>
                    <a:lnTo>
                      <a:pt x="452" y="140"/>
                    </a:lnTo>
                    <a:lnTo>
                      <a:pt x="452" y="142"/>
                    </a:lnTo>
                    <a:lnTo>
                      <a:pt x="452" y="140"/>
                    </a:lnTo>
                    <a:lnTo>
                      <a:pt x="452" y="138"/>
                    </a:lnTo>
                    <a:lnTo>
                      <a:pt x="454" y="138"/>
                    </a:lnTo>
                    <a:lnTo>
                      <a:pt x="456" y="138"/>
                    </a:lnTo>
                    <a:lnTo>
                      <a:pt x="456" y="137"/>
                    </a:lnTo>
                    <a:lnTo>
                      <a:pt x="454" y="137"/>
                    </a:lnTo>
                    <a:lnTo>
                      <a:pt x="454" y="135"/>
                    </a:lnTo>
                    <a:lnTo>
                      <a:pt x="456" y="137"/>
                    </a:lnTo>
                    <a:lnTo>
                      <a:pt x="457" y="137"/>
                    </a:lnTo>
                    <a:lnTo>
                      <a:pt x="457" y="135"/>
                    </a:lnTo>
                    <a:lnTo>
                      <a:pt x="457" y="133"/>
                    </a:lnTo>
                    <a:lnTo>
                      <a:pt x="459" y="133"/>
                    </a:lnTo>
                    <a:lnTo>
                      <a:pt x="459" y="135"/>
                    </a:lnTo>
                    <a:lnTo>
                      <a:pt x="459" y="133"/>
                    </a:lnTo>
                    <a:lnTo>
                      <a:pt x="461" y="133"/>
                    </a:lnTo>
                    <a:lnTo>
                      <a:pt x="461" y="131"/>
                    </a:lnTo>
                    <a:lnTo>
                      <a:pt x="461" y="129"/>
                    </a:lnTo>
                    <a:lnTo>
                      <a:pt x="463" y="129"/>
                    </a:lnTo>
                    <a:lnTo>
                      <a:pt x="461" y="129"/>
                    </a:lnTo>
                    <a:lnTo>
                      <a:pt x="461" y="127"/>
                    </a:lnTo>
                    <a:lnTo>
                      <a:pt x="461" y="125"/>
                    </a:lnTo>
                    <a:lnTo>
                      <a:pt x="463" y="125"/>
                    </a:lnTo>
                    <a:lnTo>
                      <a:pt x="465" y="125"/>
                    </a:lnTo>
                    <a:lnTo>
                      <a:pt x="463" y="125"/>
                    </a:lnTo>
                    <a:lnTo>
                      <a:pt x="463" y="123"/>
                    </a:lnTo>
                    <a:lnTo>
                      <a:pt x="465" y="123"/>
                    </a:lnTo>
                    <a:lnTo>
                      <a:pt x="467" y="121"/>
                    </a:lnTo>
                    <a:lnTo>
                      <a:pt x="469" y="121"/>
                    </a:lnTo>
                    <a:lnTo>
                      <a:pt x="471" y="121"/>
                    </a:lnTo>
                    <a:lnTo>
                      <a:pt x="473" y="121"/>
                    </a:lnTo>
                    <a:lnTo>
                      <a:pt x="475" y="121"/>
                    </a:lnTo>
                    <a:lnTo>
                      <a:pt x="477" y="121"/>
                    </a:lnTo>
                    <a:lnTo>
                      <a:pt x="479" y="119"/>
                    </a:lnTo>
                    <a:lnTo>
                      <a:pt x="479" y="121"/>
                    </a:lnTo>
                    <a:lnTo>
                      <a:pt x="479" y="119"/>
                    </a:lnTo>
                    <a:lnTo>
                      <a:pt x="481" y="119"/>
                    </a:lnTo>
                    <a:lnTo>
                      <a:pt x="481" y="117"/>
                    </a:lnTo>
                    <a:lnTo>
                      <a:pt x="481" y="119"/>
                    </a:lnTo>
                    <a:lnTo>
                      <a:pt x="481" y="117"/>
                    </a:lnTo>
                    <a:lnTo>
                      <a:pt x="482" y="117"/>
                    </a:lnTo>
                    <a:lnTo>
                      <a:pt x="482" y="115"/>
                    </a:lnTo>
                    <a:lnTo>
                      <a:pt x="484" y="115"/>
                    </a:lnTo>
                    <a:lnTo>
                      <a:pt x="484" y="117"/>
                    </a:lnTo>
                    <a:lnTo>
                      <a:pt x="486" y="117"/>
                    </a:lnTo>
                    <a:lnTo>
                      <a:pt x="486" y="119"/>
                    </a:lnTo>
                    <a:lnTo>
                      <a:pt x="488" y="119"/>
                    </a:lnTo>
                    <a:lnTo>
                      <a:pt x="488" y="121"/>
                    </a:lnTo>
                    <a:lnTo>
                      <a:pt x="490" y="121"/>
                    </a:lnTo>
                    <a:lnTo>
                      <a:pt x="490" y="123"/>
                    </a:lnTo>
                    <a:lnTo>
                      <a:pt x="492" y="123"/>
                    </a:lnTo>
                    <a:lnTo>
                      <a:pt x="494" y="123"/>
                    </a:lnTo>
                    <a:lnTo>
                      <a:pt x="496" y="121"/>
                    </a:lnTo>
                    <a:lnTo>
                      <a:pt x="498" y="121"/>
                    </a:lnTo>
                    <a:lnTo>
                      <a:pt x="500" y="121"/>
                    </a:lnTo>
                    <a:lnTo>
                      <a:pt x="500" y="123"/>
                    </a:lnTo>
                    <a:lnTo>
                      <a:pt x="502" y="123"/>
                    </a:lnTo>
                    <a:lnTo>
                      <a:pt x="504" y="125"/>
                    </a:lnTo>
                    <a:lnTo>
                      <a:pt x="504" y="123"/>
                    </a:lnTo>
                    <a:lnTo>
                      <a:pt x="504" y="125"/>
                    </a:lnTo>
                    <a:lnTo>
                      <a:pt x="502" y="123"/>
                    </a:lnTo>
                    <a:lnTo>
                      <a:pt x="504" y="123"/>
                    </a:lnTo>
                    <a:lnTo>
                      <a:pt x="505" y="123"/>
                    </a:lnTo>
                    <a:lnTo>
                      <a:pt x="507" y="123"/>
                    </a:lnTo>
                    <a:lnTo>
                      <a:pt x="509" y="123"/>
                    </a:lnTo>
                    <a:lnTo>
                      <a:pt x="511" y="123"/>
                    </a:lnTo>
                    <a:lnTo>
                      <a:pt x="511" y="125"/>
                    </a:lnTo>
                    <a:lnTo>
                      <a:pt x="513" y="125"/>
                    </a:lnTo>
                    <a:lnTo>
                      <a:pt x="513" y="127"/>
                    </a:lnTo>
                    <a:lnTo>
                      <a:pt x="515" y="127"/>
                    </a:lnTo>
                    <a:lnTo>
                      <a:pt x="515" y="129"/>
                    </a:lnTo>
                    <a:lnTo>
                      <a:pt x="517" y="129"/>
                    </a:lnTo>
                    <a:lnTo>
                      <a:pt x="519" y="129"/>
                    </a:lnTo>
                    <a:lnTo>
                      <a:pt x="519" y="131"/>
                    </a:lnTo>
                    <a:lnTo>
                      <a:pt x="519" y="133"/>
                    </a:lnTo>
                    <a:lnTo>
                      <a:pt x="517" y="133"/>
                    </a:lnTo>
                    <a:lnTo>
                      <a:pt x="519" y="133"/>
                    </a:lnTo>
                    <a:lnTo>
                      <a:pt x="517" y="133"/>
                    </a:lnTo>
                    <a:lnTo>
                      <a:pt x="519" y="133"/>
                    </a:lnTo>
                    <a:lnTo>
                      <a:pt x="519" y="131"/>
                    </a:lnTo>
                    <a:lnTo>
                      <a:pt x="519" y="129"/>
                    </a:lnTo>
                    <a:lnTo>
                      <a:pt x="517" y="129"/>
                    </a:lnTo>
                    <a:lnTo>
                      <a:pt x="515" y="129"/>
                    </a:lnTo>
                    <a:lnTo>
                      <a:pt x="515" y="127"/>
                    </a:lnTo>
                    <a:lnTo>
                      <a:pt x="515" y="129"/>
                    </a:lnTo>
                    <a:lnTo>
                      <a:pt x="517" y="129"/>
                    </a:lnTo>
                    <a:lnTo>
                      <a:pt x="519" y="129"/>
                    </a:lnTo>
                    <a:lnTo>
                      <a:pt x="521" y="129"/>
                    </a:lnTo>
                    <a:lnTo>
                      <a:pt x="523" y="129"/>
                    </a:lnTo>
                    <a:lnTo>
                      <a:pt x="525" y="129"/>
                    </a:lnTo>
                    <a:lnTo>
                      <a:pt x="527" y="129"/>
                    </a:lnTo>
                    <a:lnTo>
                      <a:pt x="529" y="129"/>
                    </a:lnTo>
                    <a:lnTo>
                      <a:pt x="529" y="127"/>
                    </a:lnTo>
                    <a:lnTo>
                      <a:pt x="530" y="127"/>
                    </a:lnTo>
                    <a:lnTo>
                      <a:pt x="530" y="129"/>
                    </a:lnTo>
                    <a:lnTo>
                      <a:pt x="532" y="129"/>
                    </a:lnTo>
                    <a:lnTo>
                      <a:pt x="534" y="129"/>
                    </a:lnTo>
                    <a:lnTo>
                      <a:pt x="534" y="127"/>
                    </a:lnTo>
                    <a:lnTo>
                      <a:pt x="536" y="127"/>
                    </a:lnTo>
                    <a:lnTo>
                      <a:pt x="536" y="129"/>
                    </a:lnTo>
                    <a:lnTo>
                      <a:pt x="536" y="127"/>
                    </a:lnTo>
                    <a:lnTo>
                      <a:pt x="538" y="127"/>
                    </a:lnTo>
                    <a:lnTo>
                      <a:pt x="540" y="125"/>
                    </a:lnTo>
                    <a:lnTo>
                      <a:pt x="540" y="123"/>
                    </a:lnTo>
                    <a:lnTo>
                      <a:pt x="542" y="125"/>
                    </a:lnTo>
                    <a:lnTo>
                      <a:pt x="544" y="125"/>
                    </a:lnTo>
                    <a:lnTo>
                      <a:pt x="544" y="123"/>
                    </a:lnTo>
                    <a:lnTo>
                      <a:pt x="542" y="123"/>
                    </a:lnTo>
                    <a:lnTo>
                      <a:pt x="544" y="123"/>
                    </a:lnTo>
                    <a:lnTo>
                      <a:pt x="546" y="123"/>
                    </a:lnTo>
                    <a:lnTo>
                      <a:pt x="548" y="121"/>
                    </a:lnTo>
                    <a:lnTo>
                      <a:pt x="550" y="121"/>
                    </a:lnTo>
                    <a:lnTo>
                      <a:pt x="550" y="119"/>
                    </a:lnTo>
                    <a:lnTo>
                      <a:pt x="548" y="119"/>
                    </a:lnTo>
                    <a:lnTo>
                      <a:pt x="548" y="117"/>
                    </a:lnTo>
                    <a:lnTo>
                      <a:pt x="550" y="117"/>
                    </a:lnTo>
                    <a:lnTo>
                      <a:pt x="550" y="115"/>
                    </a:lnTo>
                    <a:lnTo>
                      <a:pt x="550" y="113"/>
                    </a:lnTo>
                    <a:lnTo>
                      <a:pt x="552" y="113"/>
                    </a:lnTo>
                    <a:lnTo>
                      <a:pt x="552" y="112"/>
                    </a:lnTo>
                    <a:lnTo>
                      <a:pt x="552" y="110"/>
                    </a:lnTo>
                    <a:lnTo>
                      <a:pt x="554" y="110"/>
                    </a:lnTo>
                    <a:lnTo>
                      <a:pt x="554" y="108"/>
                    </a:lnTo>
                    <a:lnTo>
                      <a:pt x="555" y="108"/>
                    </a:lnTo>
                    <a:lnTo>
                      <a:pt x="557" y="108"/>
                    </a:lnTo>
                    <a:lnTo>
                      <a:pt x="557" y="106"/>
                    </a:lnTo>
                    <a:lnTo>
                      <a:pt x="559" y="106"/>
                    </a:lnTo>
                    <a:lnTo>
                      <a:pt x="561" y="106"/>
                    </a:lnTo>
                    <a:lnTo>
                      <a:pt x="561" y="108"/>
                    </a:lnTo>
                    <a:lnTo>
                      <a:pt x="561" y="110"/>
                    </a:lnTo>
                    <a:lnTo>
                      <a:pt x="563" y="110"/>
                    </a:lnTo>
                    <a:lnTo>
                      <a:pt x="563" y="112"/>
                    </a:lnTo>
                    <a:lnTo>
                      <a:pt x="565" y="110"/>
                    </a:lnTo>
                    <a:lnTo>
                      <a:pt x="565" y="112"/>
                    </a:lnTo>
                    <a:lnTo>
                      <a:pt x="567" y="112"/>
                    </a:lnTo>
                    <a:lnTo>
                      <a:pt x="569" y="112"/>
                    </a:lnTo>
                    <a:lnTo>
                      <a:pt x="567" y="112"/>
                    </a:lnTo>
                    <a:lnTo>
                      <a:pt x="565" y="112"/>
                    </a:lnTo>
                    <a:lnTo>
                      <a:pt x="565" y="110"/>
                    </a:lnTo>
                    <a:lnTo>
                      <a:pt x="563" y="110"/>
                    </a:lnTo>
                    <a:lnTo>
                      <a:pt x="561" y="110"/>
                    </a:lnTo>
                    <a:lnTo>
                      <a:pt x="561" y="108"/>
                    </a:lnTo>
                    <a:lnTo>
                      <a:pt x="561" y="106"/>
                    </a:lnTo>
                    <a:lnTo>
                      <a:pt x="559" y="106"/>
                    </a:lnTo>
                    <a:lnTo>
                      <a:pt x="557" y="106"/>
                    </a:lnTo>
                    <a:lnTo>
                      <a:pt x="557" y="108"/>
                    </a:lnTo>
                    <a:lnTo>
                      <a:pt x="555" y="108"/>
                    </a:lnTo>
                    <a:lnTo>
                      <a:pt x="554" y="108"/>
                    </a:lnTo>
                    <a:lnTo>
                      <a:pt x="554" y="110"/>
                    </a:lnTo>
                    <a:lnTo>
                      <a:pt x="552" y="110"/>
                    </a:lnTo>
                    <a:lnTo>
                      <a:pt x="552" y="112"/>
                    </a:lnTo>
                    <a:lnTo>
                      <a:pt x="552" y="113"/>
                    </a:lnTo>
                    <a:lnTo>
                      <a:pt x="550" y="113"/>
                    </a:lnTo>
                    <a:lnTo>
                      <a:pt x="550" y="115"/>
                    </a:lnTo>
                    <a:lnTo>
                      <a:pt x="550" y="117"/>
                    </a:lnTo>
                    <a:lnTo>
                      <a:pt x="548" y="117"/>
                    </a:lnTo>
                    <a:lnTo>
                      <a:pt x="548" y="119"/>
                    </a:lnTo>
                    <a:lnTo>
                      <a:pt x="550" y="119"/>
                    </a:lnTo>
                    <a:lnTo>
                      <a:pt x="550" y="121"/>
                    </a:lnTo>
                    <a:lnTo>
                      <a:pt x="548" y="121"/>
                    </a:lnTo>
                    <a:lnTo>
                      <a:pt x="546" y="123"/>
                    </a:lnTo>
                    <a:lnTo>
                      <a:pt x="544" y="123"/>
                    </a:lnTo>
                    <a:lnTo>
                      <a:pt x="542" y="123"/>
                    </a:lnTo>
                    <a:lnTo>
                      <a:pt x="544" y="125"/>
                    </a:lnTo>
                    <a:lnTo>
                      <a:pt x="542" y="125"/>
                    </a:lnTo>
                    <a:lnTo>
                      <a:pt x="542" y="123"/>
                    </a:lnTo>
                    <a:lnTo>
                      <a:pt x="540" y="123"/>
                    </a:lnTo>
                    <a:lnTo>
                      <a:pt x="538" y="125"/>
                    </a:lnTo>
                    <a:lnTo>
                      <a:pt x="536" y="127"/>
                    </a:lnTo>
                    <a:lnTo>
                      <a:pt x="536" y="129"/>
                    </a:lnTo>
                    <a:lnTo>
                      <a:pt x="536" y="127"/>
                    </a:lnTo>
                    <a:lnTo>
                      <a:pt x="534" y="127"/>
                    </a:lnTo>
                    <a:lnTo>
                      <a:pt x="534" y="129"/>
                    </a:lnTo>
                    <a:lnTo>
                      <a:pt x="534" y="127"/>
                    </a:lnTo>
                    <a:lnTo>
                      <a:pt x="532" y="129"/>
                    </a:lnTo>
                    <a:lnTo>
                      <a:pt x="530" y="129"/>
                    </a:lnTo>
                    <a:lnTo>
                      <a:pt x="530" y="127"/>
                    </a:lnTo>
                    <a:lnTo>
                      <a:pt x="529" y="127"/>
                    </a:lnTo>
                    <a:lnTo>
                      <a:pt x="527" y="129"/>
                    </a:lnTo>
                    <a:lnTo>
                      <a:pt x="525" y="129"/>
                    </a:lnTo>
                    <a:lnTo>
                      <a:pt x="523" y="129"/>
                    </a:lnTo>
                    <a:lnTo>
                      <a:pt x="521" y="129"/>
                    </a:lnTo>
                    <a:lnTo>
                      <a:pt x="519" y="129"/>
                    </a:lnTo>
                    <a:lnTo>
                      <a:pt x="517" y="129"/>
                    </a:lnTo>
                    <a:lnTo>
                      <a:pt x="515" y="127"/>
                    </a:lnTo>
                    <a:lnTo>
                      <a:pt x="513" y="127"/>
                    </a:lnTo>
                    <a:lnTo>
                      <a:pt x="513" y="125"/>
                    </a:lnTo>
                    <a:lnTo>
                      <a:pt x="511" y="125"/>
                    </a:lnTo>
                    <a:lnTo>
                      <a:pt x="513" y="125"/>
                    </a:lnTo>
                    <a:lnTo>
                      <a:pt x="511" y="125"/>
                    </a:lnTo>
                    <a:lnTo>
                      <a:pt x="511" y="123"/>
                    </a:lnTo>
                    <a:lnTo>
                      <a:pt x="509" y="123"/>
                    </a:lnTo>
                    <a:lnTo>
                      <a:pt x="507" y="123"/>
                    </a:lnTo>
                    <a:lnTo>
                      <a:pt x="505" y="123"/>
                    </a:lnTo>
                    <a:lnTo>
                      <a:pt x="504" y="123"/>
                    </a:lnTo>
                    <a:lnTo>
                      <a:pt x="502" y="123"/>
                    </a:lnTo>
                    <a:lnTo>
                      <a:pt x="500" y="123"/>
                    </a:lnTo>
                    <a:lnTo>
                      <a:pt x="500" y="121"/>
                    </a:lnTo>
                    <a:lnTo>
                      <a:pt x="498" y="121"/>
                    </a:lnTo>
                    <a:lnTo>
                      <a:pt x="496" y="121"/>
                    </a:lnTo>
                    <a:lnTo>
                      <a:pt x="496" y="119"/>
                    </a:lnTo>
                    <a:lnTo>
                      <a:pt x="494" y="121"/>
                    </a:lnTo>
                    <a:lnTo>
                      <a:pt x="494" y="123"/>
                    </a:lnTo>
                    <a:lnTo>
                      <a:pt x="492" y="123"/>
                    </a:lnTo>
                    <a:lnTo>
                      <a:pt x="490" y="123"/>
                    </a:lnTo>
                    <a:lnTo>
                      <a:pt x="490" y="121"/>
                    </a:lnTo>
                    <a:lnTo>
                      <a:pt x="488" y="121"/>
                    </a:lnTo>
                    <a:lnTo>
                      <a:pt x="488" y="119"/>
                    </a:lnTo>
                    <a:lnTo>
                      <a:pt x="486" y="119"/>
                    </a:lnTo>
                    <a:lnTo>
                      <a:pt x="486" y="117"/>
                    </a:lnTo>
                    <a:lnTo>
                      <a:pt x="486" y="119"/>
                    </a:lnTo>
                    <a:lnTo>
                      <a:pt x="486" y="117"/>
                    </a:lnTo>
                    <a:lnTo>
                      <a:pt x="484" y="117"/>
                    </a:lnTo>
                    <a:lnTo>
                      <a:pt x="484" y="115"/>
                    </a:lnTo>
                    <a:lnTo>
                      <a:pt x="486" y="117"/>
                    </a:lnTo>
                    <a:lnTo>
                      <a:pt x="484" y="117"/>
                    </a:lnTo>
                    <a:lnTo>
                      <a:pt x="484" y="115"/>
                    </a:lnTo>
                    <a:lnTo>
                      <a:pt x="482" y="115"/>
                    </a:lnTo>
                    <a:lnTo>
                      <a:pt x="482" y="117"/>
                    </a:lnTo>
                    <a:lnTo>
                      <a:pt x="481" y="119"/>
                    </a:lnTo>
                    <a:lnTo>
                      <a:pt x="479" y="119"/>
                    </a:lnTo>
                    <a:lnTo>
                      <a:pt x="477" y="119"/>
                    </a:lnTo>
                    <a:lnTo>
                      <a:pt x="477" y="121"/>
                    </a:lnTo>
                    <a:lnTo>
                      <a:pt x="475" y="121"/>
                    </a:lnTo>
                    <a:lnTo>
                      <a:pt x="473" y="121"/>
                    </a:lnTo>
                    <a:lnTo>
                      <a:pt x="471" y="121"/>
                    </a:lnTo>
                    <a:lnTo>
                      <a:pt x="471" y="119"/>
                    </a:lnTo>
                    <a:lnTo>
                      <a:pt x="471" y="121"/>
                    </a:lnTo>
                    <a:lnTo>
                      <a:pt x="471" y="119"/>
                    </a:lnTo>
                    <a:lnTo>
                      <a:pt x="469" y="119"/>
                    </a:lnTo>
                    <a:lnTo>
                      <a:pt x="471" y="119"/>
                    </a:lnTo>
                    <a:lnTo>
                      <a:pt x="471" y="121"/>
                    </a:lnTo>
                    <a:lnTo>
                      <a:pt x="473" y="121"/>
                    </a:lnTo>
                    <a:lnTo>
                      <a:pt x="475" y="121"/>
                    </a:lnTo>
                    <a:lnTo>
                      <a:pt x="473" y="121"/>
                    </a:lnTo>
                    <a:lnTo>
                      <a:pt x="471" y="121"/>
                    </a:lnTo>
                    <a:lnTo>
                      <a:pt x="469" y="121"/>
                    </a:lnTo>
                    <a:lnTo>
                      <a:pt x="467" y="121"/>
                    </a:lnTo>
                    <a:lnTo>
                      <a:pt x="469" y="121"/>
                    </a:lnTo>
                    <a:lnTo>
                      <a:pt x="469" y="119"/>
                    </a:lnTo>
                    <a:lnTo>
                      <a:pt x="469" y="121"/>
                    </a:lnTo>
                    <a:lnTo>
                      <a:pt x="467" y="121"/>
                    </a:lnTo>
                    <a:lnTo>
                      <a:pt x="465" y="121"/>
                    </a:lnTo>
                    <a:lnTo>
                      <a:pt x="463" y="121"/>
                    </a:lnTo>
                    <a:lnTo>
                      <a:pt x="461" y="121"/>
                    </a:lnTo>
                    <a:lnTo>
                      <a:pt x="459" y="121"/>
                    </a:lnTo>
                    <a:lnTo>
                      <a:pt x="459" y="119"/>
                    </a:lnTo>
                    <a:lnTo>
                      <a:pt x="459" y="117"/>
                    </a:lnTo>
                    <a:lnTo>
                      <a:pt x="459" y="119"/>
                    </a:lnTo>
                    <a:lnTo>
                      <a:pt x="459" y="117"/>
                    </a:lnTo>
                    <a:lnTo>
                      <a:pt x="459" y="115"/>
                    </a:lnTo>
                    <a:lnTo>
                      <a:pt x="459" y="117"/>
                    </a:lnTo>
                    <a:lnTo>
                      <a:pt x="459" y="119"/>
                    </a:lnTo>
                    <a:lnTo>
                      <a:pt x="461" y="119"/>
                    </a:lnTo>
                    <a:lnTo>
                      <a:pt x="459" y="117"/>
                    </a:lnTo>
                    <a:lnTo>
                      <a:pt x="459" y="115"/>
                    </a:lnTo>
                    <a:lnTo>
                      <a:pt x="461" y="113"/>
                    </a:lnTo>
                    <a:lnTo>
                      <a:pt x="461" y="115"/>
                    </a:lnTo>
                    <a:lnTo>
                      <a:pt x="461" y="113"/>
                    </a:lnTo>
                    <a:lnTo>
                      <a:pt x="461" y="112"/>
                    </a:lnTo>
                    <a:lnTo>
                      <a:pt x="461" y="110"/>
                    </a:lnTo>
                    <a:lnTo>
                      <a:pt x="459" y="108"/>
                    </a:lnTo>
                    <a:lnTo>
                      <a:pt x="459" y="106"/>
                    </a:lnTo>
                    <a:lnTo>
                      <a:pt x="457" y="104"/>
                    </a:lnTo>
                    <a:lnTo>
                      <a:pt x="457" y="102"/>
                    </a:lnTo>
                    <a:lnTo>
                      <a:pt x="457" y="100"/>
                    </a:lnTo>
                    <a:lnTo>
                      <a:pt x="456" y="100"/>
                    </a:lnTo>
                    <a:lnTo>
                      <a:pt x="454" y="100"/>
                    </a:lnTo>
                    <a:lnTo>
                      <a:pt x="454" y="102"/>
                    </a:lnTo>
                    <a:lnTo>
                      <a:pt x="454" y="100"/>
                    </a:lnTo>
                    <a:lnTo>
                      <a:pt x="452" y="100"/>
                    </a:lnTo>
                    <a:lnTo>
                      <a:pt x="452" y="102"/>
                    </a:lnTo>
                    <a:lnTo>
                      <a:pt x="450" y="102"/>
                    </a:lnTo>
                    <a:lnTo>
                      <a:pt x="450" y="104"/>
                    </a:lnTo>
                    <a:lnTo>
                      <a:pt x="448" y="106"/>
                    </a:lnTo>
                    <a:lnTo>
                      <a:pt x="448" y="108"/>
                    </a:lnTo>
                    <a:lnTo>
                      <a:pt x="446" y="108"/>
                    </a:lnTo>
                    <a:lnTo>
                      <a:pt x="444" y="108"/>
                    </a:lnTo>
                    <a:lnTo>
                      <a:pt x="442" y="108"/>
                    </a:lnTo>
                    <a:lnTo>
                      <a:pt x="440" y="108"/>
                    </a:lnTo>
                    <a:lnTo>
                      <a:pt x="438" y="108"/>
                    </a:lnTo>
                    <a:lnTo>
                      <a:pt x="436" y="108"/>
                    </a:lnTo>
                    <a:lnTo>
                      <a:pt x="436" y="110"/>
                    </a:lnTo>
                    <a:lnTo>
                      <a:pt x="434" y="110"/>
                    </a:lnTo>
                    <a:lnTo>
                      <a:pt x="432" y="110"/>
                    </a:lnTo>
                    <a:lnTo>
                      <a:pt x="431" y="110"/>
                    </a:lnTo>
                    <a:lnTo>
                      <a:pt x="431" y="112"/>
                    </a:lnTo>
                    <a:lnTo>
                      <a:pt x="431" y="113"/>
                    </a:lnTo>
                    <a:lnTo>
                      <a:pt x="429" y="113"/>
                    </a:lnTo>
                    <a:lnTo>
                      <a:pt x="429" y="112"/>
                    </a:lnTo>
                    <a:lnTo>
                      <a:pt x="427" y="112"/>
                    </a:lnTo>
                    <a:lnTo>
                      <a:pt x="425" y="112"/>
                    </a:lnTo>
                    <a:lnTo>
                      <a:pt x="427" y="112"/>
                    </a:lnTo>
                    <a:lnTo>
                      <a:pt x="425" y="112"/>
                    </a:lnTo>
                    <a:lnTo>
                      <a:pt x="425" y="113"/>
                    </a:lnTo>
                    <a:lnTo>
                      <a:pt x="423" y="113"/>
                    </a:lnTo>
                    <a:lnTo>
                      <a:pt x="421" y="113"/>
                    </a:lnTo>
                    <a:lnTo>
                      <a:pt x="421" y="115"/>
                    </a:lnTo>
                    <a:lnTo>
                      <a:pt x="419" y="115"/>
                    </a:lnTo>
                    <a:lnTo>
                      <a:pt x="417" y="117"/>
                    </a:lnTo>
                    <a:lnTo>
                      <a:pt x="415" y="117"/>
                    </a:lnTo>
                    <a:lnTo>
                      <a:pt x="415" y="119"/>
                    </a:lnTo>
                    <a:lnTo>
                      <a:pt x="415" y="121"/>
                    </a:lnTo>
                    <a:lnTo>
                      <a:pt x="413" y="121"/>
                    </a:lnTo>
                    <a:lnTo>
                      <a:pt x="413" y="123"/>
                    </a:lnTo>
                    <a:lnTo>
                      <a:pt x="411" y="123"/>
                    </a:lnTo>
                    <a:lnTo>
                      <a:pt x="409" y="123"/>
                    </a:lnTo>
                    <a:lnTo>
                      <a:pt x="409" y="121"/>
                    </a:lnTo>
                    <a:lnTo>
                      <a:pt x="408" y="121"/>
                    </a:lnTo>
                    <a:lnTo>
                      <a:pt x="406" y="121"/>
                    </a:lnTo>
                    <a:lnTo>
                      <a:pt x="404" y="121"/>
                    </a:lnTo>
                    <a:lnTo>
                      <a:pt x="402" y="121"/>
                    </a:lnTo>
                    <a:lnTo>
                      <a:pt x="400" y="121"/>
                    </a:lnTo>
                    <a:lnTo>
                      <a:pt x="398" y="121"/>
                    </a:lnTo>
                    <a:lnTo>
                      <a:pt x="396" y="121"/>
                    </a:lnTo>
                    <a:lnTo>
                      <a:pt x="396" y="119"/>
                    </a:lnTo>
                    <a:lnTo>
                      <a:pt x="394" y="119"/>
                    </a:lnTo>
                    <a:lnTo>
                      <a:pt x="392" y="119"/>
                    </a:lnTo>
                    <a:lnTo>
                      <a:pt x="394" y="119"/>
                    </a:lnTo>
                    <a:lnTo>
                      <a:pt x="394" y="117"/>
                    </a:lnTo>
                    <a:lnTo>
                      <a:pt x="392" y="117"/>
                    </a:lnTo>
                    <a:lnTo>
                      <a:pt x="392" y="115"/>
                    </a:lnTo>
                    <a:lnTo>
                      <a:pt x="392" y="113"/>
                    </a:lnTo>
                    <a:lnTo>
                      <a:pt x="392" y="112"/>
                    </a:lnTo>
                    <a:lnTo>
                      <a:pt x="392" y="110"/>
                    </a:lnTo>
                    <a:lnTo>
                      <a:pt x="394" y="110"/>
                    </a:lnTo>
                    <a:lnTo>
                      <a:pt x="396" y="110"/>
                    </a:lnTo>
                    <a:lnTo>
                      <a:pt x="396" y="108"/>
                    </a:lnTo>
                    <a:lnTo>
                      <a:pt x="398" y="106"/>
                    </a:lnTo>
                    <a:lnTo>
                      <a:pt x="398" y="104"/>
                    </a:lnTo>
                    <a:lnTo>
                      <a:pt x="400" y="104"/>
                    </a:lnTo>
                    <a:lnTo>
                      <a:pt x="398" y="102"/>
                    </a:lnTo>
                    <a:lnTo>
                      <a:pt x="400" y="102"/>
                    </a:lnTo>
                    <a:lnTo>
                      <a:pt x="400" y="100"/>
                    </a:lnTo>
                    <a:lnTo>
                      <a:pt x="402" y="100"/>
                    </a:lnTo>
                    <a:lnTo>
                      <a:pt x="402" y="98"/>
                    </a:lnTo>
                    <a:lnTo>
                      <a:pt x="404" y="98"/>
                    </a:lnTo>
                    <a:lnTo>
                      <a:pt x="406" y="98"/>
                    </a:lnTo>
                    <a:lnTo>
                      <a:pt x="406" y="96"/>
                    </a:lnTo>
                    <a:lnTo>
                      <a:pt x="404" y="96"/>
                    </a:lnTo>
                    <a:lnTo>
                      <a:pt x="404" y="94"/>
                    </a:lnTo>
                    <a:lnTo>
                      <a:pt x="404" y="96"/>
                    </a:lnTo>
                    <a:lnTo>
                      <a:pt x="402" y="96"/>
                    </a:lnTo>
                    <a:lnTo>
                      <a:pt x="402" y="94"/>
                    </a:lnTo>
                    <a:lnTo>
                      <a:pt x="400" y="94"/>
                    </a:lnTo>
                    <a:lnTo>
                      <a:pt x="400" y="92"/>
                    </a:lnTo>
                    <a:lnTo>
                      <a:pt x="402" y="92"/>
                    </a:lnTo>
                    <a:lnTo>
                      <a:pt x="400" y="92"/>
                    </a:lnTo>
                    <a:lnTo>
                      <a:pt x="400" y="94"/>
                    </a:lnTo>
                    <a:lnTo>
                      <a:pt x="402" y="94"/>
                    </a:lnTo>
                    <a:lnTo>
                      <a:pt x="402" y="96"/>
                    </a:lnTo>
                    <a:lnTo>
                      <a:pt x="404" y="96"/>
                    </a:lnTo>
                    <a:lnTo>
                      <a:pt x="406" y="98"/>
                    </a:lnTo>
                    <a:lnTo>
                      <a:pt x="404" y="98"/>
                    </a:lnTo>
                    <a:lnTo>
                      <a:pt x="402" y="98"/>
                    </a:lnTo>
                    <a:lnTo>
                      <a:pt x="400" y="100"/>
                    </a:lnTo>
                    <a:lnTo>
                      <a:pt x="400" y="102"/>
                    </a:lnTo>
                    <a:lnTo>
                      <a:pt x="398" y="102"/>
                    </a:lnTo>
                    <a:lnTo>
                      <a:pt x="400" y="104"/>
                    </a:lnTo>
                    <a:lnTo>
                      <a:pt x="398" y="104"/>
                    </a:lnTo>
                    <a:lnTo>
                      <a:pt x="398" y="106"/>
                    </a:lnTo>
                    <a:lnTo>
                      <a:pt x="396" y="108"/>
                    </a:lnTo>
                    <a:lnTo>
                      <a:pt x="396" y="110"/>
                    </a:lnTo>
                    <a:lnTo>
                      <a:pt x="394" y="110"/>
                    </a:lnTo>
                    <a:lnTo>
                      <a:pt x="392" y="110"/>
                    </a:lnTo>
                    <a:lnTo>
                      <a:pt x="392" y="112"/>
                    </a:lnTo>
                    <a:lnTo>
                      <a:pt x="392" y="113"/>
                    </a:lnTo>
                    <a:lnTo>
                      <a:pt x="392" y="115"/>
                    </a:lnTo>
                    <a:lnTo>
                      <a:pt x="392" y="117"/>
                    </a:lnTo>
                    <a:lnTo>
                      <a:pt x="394" y="117"/>
                    </a:lnTo>
                    <a:lnTo>
                      <a:pt x="394" y="119"/>
                    </a:lnTo>
                    <a:lnTo>
                      <a:pt x="392" y="119"/>
                    </a:lnTo>
                    <a:lnTo>
                      <a:pt x="392" y="121"/>
                    </a:lnTo>
                    <a:lnTo>
                      <a:pt x="390" y="119"/>
                    </a:lnTo>
                    <a:lnTo>
                      <a:pt x="388" y="119"/>
                    </a:lnTo>
                    <a:lnTo>
                      <a:pt x="386" y="119"/>
                    </a:lnTo>
                    <a:lnTo>
                      <a:pt x="386" y="117"/>
                    </a:lnTo>
                    <a:lnTo>
                      <a:pt x="386" y="115"/>
                    </a:lnTo>
                    <a:lnTo>
                      <a:pt x="386" y="117"/>
                    </a:lnTo>
                    <a:lnTo>
                      <a:pt x="386" y="115"/>
                    </a:lnTo>
                    <a:lnTo>
                      <a:pt x="384" y="115"/>
                    </a:lnTo>
                    <a:lnTo>
                      <a:pt x="384" y="113"/>
                    </a:lnTo>
                    <a:lnTo>
                      <a:pt x="384" y="112"/>
                    </a:lnTo>
                    <a:lnTo>
                      <a:pt x="384" y="110"/>
                    </a:lnTo>
                    <a:lnTo>
                      <a:pt x="384" y="108"/>
                    </a:lnTo>
                    <a:lnTo>
                      <a:pt x="386" y="108"/>
                    </a:lnTo>
                    <a:lnTo>
                      <a:pt x="384" y="108"/>
                    </a:lnTo>
                    <a:lnTo>
                      <a:pt x="384" y="106"/>
                    </a:lnTo>
                    <a:lnTo>
                      <a:pt x="383" y="106"/>
                    </a:lnTo>
                    <a:lnTo>
                      <a:pt x="383" y="104"/>
                    </a:lnTo>
                    <a:lnTo>
                      <a:pt x="383" y="102"/>
                    </a:lnTo>
                    <a:lnTo>
                      <a:pt x="383" y="104"/>
                    </a:lnTo>
                    <a:lnTo>
                      <a:pt x="384" y="102"/>
                    </a:lnTo>
                    <a:lnTo>
                      <a:pt x="383" y="100"/>
                    </a:lnTo>
                    <a:lnTo>
                      <a:pt x="383" y="98"/>
                    </a:lnTo>
                    <a:lnTo>
                      <a:pt x="381" y="96"/>
                    </a:lnTo>
                    <a:lnTo>
                      <a:pt x="381" y="94"/>
                    </a:lnTo>
                    <a:lnTo>
                      <a:pt x="381" y="92"/>
                    </a:lnTo>
                    <a:lnTo>
                      <a:pt x="381" y="94"/>
                    </a:lnTo>
                    <a:lnTo>
                      <a:pt x="381" y="92"/>
                    </a:lnTo>
                    <a:lnTo>
                      <a:pt x="383" y="92"/>
                    </a:lnTo>
                    <a:lnTo>
                      <a:pt x="383" y="90"/>
                    </a:lnTo>
                    <a:lnTo>
                      <a:pt x="383" y="88"/>
                    </a:lnTo>
                    <a:lnTo>
                      <a:pt x="383" y="87"/>
                    </a:lnTo>
                    <a:lnTo>
                      <a:pt x="381" y="87"/>
                    </a:lnTo>
                    <a:lnTo>
                      <a:pt x="381" y="85"/>
                    </a:lnTo>
                    <a:lnTo>
                      <a:pt x="379" y="85"/>
                    </a:lnTo>
                    <a:lnTo>
                      <a:pt x="377" y="85"/>
                    </a:lnTo>
                    <a:lnTo>
                      <a:pt x="375" y="85"/>
                    </a:lnTo>
                    <a:lnTo>
                      <a:pt x="373" y="85"/>
                    </a:lnTo>
                    <a:lnTo>
                      <a:pt x="373" y="83"/>
                    </a:lnTo>
                    <a:lnTo>
                      <a:pt x="371" y="83"/>
                    </a:lnTo>
                    <a:lnTo>
                      <a:pt x="369" y="83"/>
                    </a:lnTo>
                    <a:lnTo>
                      <a:pt x="367" y="83"/>
                    </a:lnTo>
                    <a:lnTo>
                      <a:pt x="365" y="83"/>
                    </a:lnTo>
                    <a:lnTo>
                      <a:pt x="363" y="83"/>
                    </a:lnTo>
                    <a:lnTo>
                      <a:pt x="361" y="83"/>
                    </a:lnTo>
                    <a:lnTo>
                      <a:pt x="359" y="83"/>
                    </a:lnTo>
                    <a:lnTo>
                      <a:pt x="358" y="83"/>
                    </a:lnTo>
                    <a:lnTo>
                      <a:pt x="356" y="85"/>
                    </a:lnTo>
                    <a:lnTo>
                      <a:pt x="354" y="85"/>
                    </a:lnTo>
                    <a:lnTo>
                      <a:pt x="352" y="85"/>
                    </a:lnTo>
                    <a:lnTo>
                      <a:pt x="350" y="85"/>
                    </a:lnTo>
                    <a:lnTo>
                      <a:pt x="350" y="83"/>
                    </a:lnTo>
                    <a:lnTo>
                      <a:pt x="350" y="85"/>
                    </a:lnTo>
                    <a:lnTo>
                      <a:pt x="348" y="85"/>
                    </a:lnTo>
                    <a:lnTo>
                      <a:pt x="350" y="85"/>
                    </a:lnTo>
                    <a:lnTo>
                      <a:pt x="348" y="85"/>
                    </a:lnTo>
                    <a:lnTo>
                      <a:pt x="348" y="87"/>
                    </a:lnTo>
                    <a:lnTo>
                      <a:pt x="346" y="87"/>
                    </a:lnTo>
                    <a:lnTo>
                      <a:pt x="346" y="85"/>
                    </a:lnTo>
                    <a:lnTo>
                      <a:pt x="346" y="87"/>
                    </a:lnTo>
                    <a:lnTo>
                      <a:pt x="346" y="88"/>
                    </a:lnTo>
                    <a:lnTo>
                      <a:pt x="344" y="90"/>
                    </a:lnTo>
                    <a:lnTo>
                      <a:pt x="342" y="92"/>
                    </a:lnTo>
                    <a:lnTo>
                      <a:pt x="342" y="94"/>
                    </a:lnTo>
                    <a:lnTo>
                      <a:pt x="342" y="96"/>
                    </a:lnTo>
                    <a:lnTo>
                      <a:pt x="340" y="96"/>
                    </a:lnTo>
                    <a:lnTo>
                      <a:pt x="340" y="98"/>
                    </a:lnTo>
                    <a:lnTo>
                      <a:pt x="338" y="98"/>
                    </a:lnTo>
                    <a:lnTo>
                      <a:pt x="336" y="100"/>
                    </a:lnTo>
                    <a:lnTo>
                      <a:pt x="335" y="100"/>
                    </a:lnTo>
                    <a:lnTo>
                      <a:pt x="333" y="100"/>
                    </a:lnTo>
                    <a:lnTo>
                      <a:pt x="333" y="102"/>
                    </a:lnTo>
                    <a:lnTo>
                      <a:pt x="331" y="102"/>
                    </a:lnTo>
                    <a:lnTo>
                      <a:pt x="331" y="104"/>
                    </a:lnTo>
                    <a:lnTo>
                      <a:pt x="329" y="104"/>
                    </a:lnTo>
                    <a:lnTo>
                      <a:pt x="329" y="106"/>
                    </a:lnTo>
                    <a:lnTo>
                      <a:pt x="327" y="106"/>
                    </a:lnTo>
                    <a:lnTo>
                      <a:pt x="325" y="106"/>
                    </a:lnTo>
                    <a:lnTo>
                      <a:pt x="327" y="106"/>
                    </a:lnTo>
                    <a:lnTo>
                      <a:pt x="325" y="106"/>
                    </a:lnTo>
                    <a:lnTo>
                      <a:pt x="327" y="106"/>
                    </a:lnTo>
                    <a:lnTo>
                      <a:pt x="325" y="106"/>
                    </a:lnTo>
                    <a:lnTo>
                      <a:pt x="323" y="106"/>
                    </a:lnTo>
                    <a:lnTo>
                      <a:pt x="321" y="106"/>
                    </a:lnTo>
                    <a:lnTo>
                      <a:pt x="319" y="106"/>
                    </a:lnTo>
                    <a:lnTo>
                      <a:pt x="319" y="108"/>
                    </a:lnTo>
                    <a:lnTo>
                      <a:pt x="317" y="108"/>
                    </a:lnTo>
                    <a:lnTo>
                      <a:pt x="315" y="108"/>
                    </a:lnTo>
                    <a:lnTo>
                      <a:pt x="315" y="110"/>
                    </a:lnTo>
                    <a:lnTo>
                      <a:pt x="313" y="112"/>
                    </a:lnTo>
                    <a:lnTo>
                      <a:pt x="311" y="112"/>
                    </a:lnTo>
                    <a:lnTo>
                      <a:pt x="311" y="113"/>
                    </a:lnTo>
                    <a:lnTo>
                      <a:pt x="310" y="115"/>
                    </a:lnTo>
                    <a:lnTo>
                      <a:pt x="308" y="115"/>
                    </a:lnTo>
                    <a:lnTo>
                      <a:pt x="306" y="115"/>
                    </a:lnTo>
                    <a:lnTo>
                      <a:pt x="306" y="113"/>
                    </a:lnTo>
                    <a:lnTo>
                      <a:pt x="306" y="115"/>
                    </a:lnTo>
                    <a:lnTo>
                      <a:pt x="306" y="113"/>
                    </a:lnTo>
                    <a:lnTo>
                      <a:pt x="304" y="113"/>
                    </a:lnTo>
                    <a:lnTo>
                      <a:pt x="302" y="113"/>
                    </a:lnTo>
                    <a:lnTo>
                      <a:pt x="300" y="112"/>
                    </a:lnTo>
                    <a:lnTo>
                      <a:pt x="298" y="112"/>
                    </a:lnTo>
                    <a:lnTo>
                      <a:pt x="298" y="110"/>
                    </a:lnTo>
                    <a:lnTo>
                      <a:pt x="296" y="110"/>
                    </a:lnTo>
                    <a:lnTo>
                      <a:pt x="298" y="110"/>
                    </a:lnTo>
                    <a:lnTo>
                      <a:pt x="296" y="110"/>
                    </a:lnTo>
                    <a:lnTo>
                      <a:pt x="298" y="110"/>
                    </a:lnTo>
                    <a:lnTo>
                      <a:pt x="296" y="110"/>
                    </a:lnTo>
                    <a:lnTo>
                      <a:pt x="298" y="110"/>
                    </a:lnTo>
                    <a:lnTo>
                      <a:pt x="296" y="110"/>
                    </a:lnTo>
                    <a:lnTo>
                      <a:pt x="294" y="110"/>
                    </a:lnTo>
                    <a:lnTo>
                      <a:pt x="292" y="110"/>
                    </a:lnTo>
                    <a:lnTo>
                      <a:pt x="290" y="110"/>
                    </a:lnTo>
                    <a:lnTo>
                      <a:pt x="290" y="112"/>
                    </a:lnTo>
                    <a:lnTo>
                      <a:pt x="288" y="112"/>
                    </a:lnTo>
                    <a:lnTo>
                      <a:pt x="286" y="112"/>
                    </a:lnTo>
                    <a:lnTo>
                      <a:pt x="285" y="112"/>
                    </a:lnTo>
                    <a:lnTo>
                      <a:pt x="283" y="112"/>
                    </a:lnTo>
                    <a:lnTo>
                      <a:pt x="281" y="112"/>
                    </a:lnTo>
                    <a:lnTo>
                      <a:pt x="279" y="110"/>
                    </a:lnTo>
                    <a:lnTo>
                      <a:pt x="277" y="110"/>
                    </a:lnTo>
                    <a:lnTo>
                      <a:pt x="277" y="108"/>
                    </a:lnTo>
                    <a:lnTo>
                      <a:pt x="275" y="108"/>
                    </a:lnTo>
                    <a:lnTo>
                      <a:pt x="273" y="108"/>
                    </a:lnTo>
                    <a:lnTo>
                      <a:pt x="271" y="108"/>
                    </a:lnTo>
                    <a:lnTo>
                      <a:pt x="271" y="106"/>
                    </a:lnTo>
                    <a:lnTo>
                      <a:pt x="269" y="104"/>
                    </a:lnTo>
                    <a:lnTo>
                      <a:pt x="267" y="102"/>
                    </a:lnTo>
                    <a:lnTo>
                      <a:pt x="265" y="100"/>
                    </a:lnTo>
                    <a:lnTo>
                      <a:pt x="263" y="98"/>
                    </a:lnTo>
                    <a:lnTo>
                      <a:pt x="262" y="98"/>
                    </a:lnTo>
                    <a:lnTo>
                      <a:pt x="262" y="96"/>
                    </a:lnTo>
                    <a:lnTo>
                      <a:pt x="260" y="96"/>
                    </a:lnTo>
                    <a:lnTo>
                      <a:pt x="258" y="96"/>
                    </a:lnTo>
                    <a:lnTo>
                      <a:pt x="256" y="96"/>
                    </a:lnTo>
                    <a:lnTo>
                      <a:pt x="256" y="94"/>
                    </a:lnTo>
                    <a:lnTo>
                      <a:pt x="256" y="92"/>
                    </a:lnTo>
                    <a:lnTo>
                      <a:pt x="258" y="92"/>
                    </a:lnTo>
                    <a:lnTo>
                      <a:pt x="258" y="90"/>
                    </a:lnTo>
                    <a:lnTo>
                      <a:pt x="260" y="88"/>
                    </a:lnTo>
                    <a:lnTo>
                      <a:pt x="260" y="87"/>
                    </a:lnTo>
                    <a:lnTo>
                      <a:pt x="262" y="87"/>
                    </a:lnTo>
                    <a:lnTo>
                      <a:pt x="262" y="85"/>
                    </a:lnTo>
                    <a:lnTo>
                      <a:pt x="262" y="83"/>
                    </a:lnTo>
                    <a:lnTo>
                      <a:pt x="263" y="83"/>
                    </a:lnTo>
                    <a:lnTo>
                      <a:pt x="263" y="81"/>
                    </a:lnTo>
                    <a:lnTo>
                      <a:pt x="265" y="81"/>
                    </a:lnTo>
                    <a:lnTo>
                      <a:pt x="263" y="81"/>
                    </a:lnTo>
                    <a:lnTo>
                      <a:pt x="265" y="81"/>
                    </a:lnTo>
                    <a:lnTo>
                      <a:pt x="265" y="79"/>
                    </a:lnTo>
                    <a:lnTo>
                      <a:pt x="265" y="81"/>
                    </a:lnTo>
                    <a:lnTo>
                      <a:pt x="265" y="79"/>
                    </a:lnTo>
                    <a:lnTo>
                      <a:pt x="265" y="77"/>
                    </a:lnTo>
                    <a:lnTo>
                      <a:pt x="267" y="77"/>
                    </a:lnTo>
                    <a:lnTo>
                      <a:pt x="267" y="75"/>
                    </a:lnTo>
                    <a:lnTo>
                      <a:pt x="269" y="75"/>
                    </a:lnTo>
                    <a:lnTo>
                      <a:pt x="267" y="75"/>
                    </a:lnTo>
                    <a:lnTo>
                      <a:pt x="269" y="75"/>
                    </a:lnTo>
                    <a:lnTo>
                      <a:pt x="269" y="73"/>
                    </a:lnTo>
                    <a:lnTo>
                      <a:pt x="269" y="75"/>
                    </a:lnTo>
                    <a:lnTo>
                      <a:pt x="269" y="73"/>
                    </a:lnTo>
                    <a:lnTo>
                      <a:pt x="269" y="75"/>
                    </a:lnTo>
                    <a:lnTo>
                      <a:pt x="269" y="73"/>
                    </a:lnTo>
                    <a:lnTo>
                      <a:pt x="271" y="73"/>
                    </a:lnTo>
                    <a:lnTo>
                      <a:pt x="271" y="71"/>
                    </a:lnTo>
                    <a:lnTo>
                      <a:pt x="273" y="71"/>
                    </a:lnTo>
                    <a:lnTo>
                      <a:pt x="275" y="71"/>
                    </a:lnTo>
                    <a:lnTo>
                      <a:pt x="277" y="71"/>
                    </a:lnTo>
                    <a:lnTo>
                      <a:pt x="277" y="69"/>
                    </a:lnTo>
                    <a:lnTo>
                      <a:pt x="279" y="69"/>
                    </a:lnTo>
                    <a:lnTo>
                      <a:pt x="281" y="69"/>
                    </a:lnTo>
                    <a:lnTo>
                      <a:pt x="279" y="69"/>
                    </a:lnTo>
                    <a:lnTo>
                      <a:pt x="281" y="67"/>
                    </a:lnTo>
                    <a:lnTo>
                      <a:pt x="283" y="67"/>
                    </a:lnTo>
                    <a:lnTo>
                      <a:pt x="283" y="65"/>
                    </a:lnTo>
                    <a:lnTo>
                      <a:pt x="283" y="63"/>
                    </a:lnTo>
                    <a:lnTo>
                      <a:pt x="281" y="63"/>
                    </a:lnTo>
                    <a:lnTo>
                      <a:pt x="283" y="63"/>
                    </a:lnTo>
                    <a:lnTo>
                      <a:pt x="283" y="62"/>
                    </a:lnTo>
                    <a:lnTo>
                      <a:pt x="283" y="60"/>
                    </a:lnTo>
                    <a:lnTo>
                      <a:pt x="285" y="60"/>
                    </a:lnTo>
                    <a:lnTo>
                      <a:pt x="283" y="60"/>
                    </a:lnTo>
                    <a:lnTo>
                      <a:pt x="285" y="60"/>
                    </a:lnTo>
                    <a:lnTo>
                      <a:pt x="285" y="58"/>
                    </a:lnTo>
                    <a:lnTo>
                      <a:pt x="286" y="56"/>
                    </a:lnTo>
                    <a:lnTo>
                      <a:pt x="286" y="54"/>
                    </a:lnTo>
                    <a:lnTo>
                      <a:pt x="286" y="52"/>
                    </a:lnTo>
                    <a:lnTo>
                      <a:pt x="288" y="50"/>
                    </a:lnTo>
                    <a:lnTo>
                      <a:pt x="288" y="48"/>
                    </a:lnTo>
                    <a:lnTo>
                      <a:pt x="288" y="50"/>
                    </a:lnTo>
                    <a:lnTo>
                      <a:pt x="290" y="50"/>
                    </a:lnTo>
                    <a:lnTo>
                      <a:pt x="290" y="48"/>
                    </a:lnTo>
                    <a:lnTo>
                      <a:pt x="288" y="48"/>
                    </a:lnTo>
                    <a:lnTo>
                      <a:pt x="288" y="50"/>
                    </a:lnTo>
                    <a:lnTo>
                      <a:pt x="288" y="48"/>
                    </a:lnTo>
                    <a:lnTo>
                      <a:pt x="288" y="46"/>
                    </a:lnTo>
                    <a:lnTo>
                      <a:pt x="288" y="48"/>
                    </a:lnTo>
                    <a:lnTo>
                      <a:pt x="290" y="46"/>
                    </a:lnTo>
                    <a:lnTo>
                      <a:pt x="290" y="44"/>
                    </a:lnTo>
                    <a:lnTo>
                      <a:pt x="290" y="42"/>
                    </a:lnTo>
                    <a:lnTo>
                      <a:pt x="290" y="40"/>
                    </a:lnTo>
                    <a:lnTo>
                      <a:pt x="292" y="40"/>
                    </a:lnTo>
                    <a:lnTo>
                      <a:pt x="292" y="38"/>
                    </a:lnTo>
                    <a:lnTo>
                      <a:pt x="292" y="37"/>
                    </a:lnTo>
                    <a:lnTo>
                      <a:pt x="292" y="35"/>
                    </a:lnTo>
                    <a:lnTo>
                      <a:pt x="292" y="33"/>
                    </a:lnTo>
                    <a:lnTo>
                      <a:pt x="294" y="33"/>
                    </a:lnTo>
                    <a:lnTo>
                      <a:pt x="292" y="35"/>
                    </a:lnTo>
                    <a:lnTo>
                      <a:pt x="294" y="35"/>
                    </a:lnTo>
                    <a:lnTo>
                      <a:pt x="294" y="33"/>
                    </a:lnTo>
                    <a:lnTo>
                      <a:pt x="296" y="35"/>
                    </a:lnTo>
                    <a:lnTo>
                      <a:pt x="294" y="33"/>
                    </a:lnTo>
                    <a:lnTo>
                      <a:pt x="296" y="33"/>
                    </a:lnTo>
                    <a:lnTo>
                      <a:pt x="296" y="31"/>
                    </a:lnTo>
                    <a:lnTo>
                      <a:pt x="296" y="29"/>
                    </a:lnTo>
                    <a:lnTo>
                      <a:pt x="296" y="27"/>
                    </a:lnTo>
                    <a:lnTo>
                      <a:pt x="296" y="25"/>
                    </a:lnTo>
                    <a:lnTo>
                      <a:pt x="296" y="27"/>
                    </a:lnTo>
                    <a:lnTo>
                      <a:pt x="296" y="25"/>
                    </a:lnTo>
                    <a:lnTo>
                      <a:pt x="296" y="27"/>
                    </a:lnTo>
                    <a:lnTo>
                      <a:pt x="296" y="25"/>
                    </a:lnTo>
                    <a:lnTo>
                      <a:pt x="296" y="23"/>
                    </a:lnTo>
                    <a:lnTo>
                      <a:pt x="298" y="23"/>
                    </a:lnTo>
                    <a:lnTo>
                      <a:pt x="296" y="23"/>
                    </a:lnTo>
                    <a:lnTo>
                      <a:pt x="296" y="25"/>
                    </a:lnTo>
                    <a:lnTo>
                      <a:pt x="298" y="25"/>
                    </a:lnTo>
                    <a:lnTo>
                      <a:pt x="298" y="27"/>
                    </a:lnTo>
                    <a:lnTo>
                      <a:pt x="300" y="25"/>
                    </a:lnTo>
                    <a:lnTo>
                      <a:pt x="300" y="27"/>
                    </a:lnTo>
                    <a:lnTo>
                      <a:pt x="300" y="25"/>
                    </a:lnTo>
                    <a:lnTo>
                      <a:pt x="300" y="27"/>
                    </a:lnTo>
                    <a:lnTo>
                      <a:pt x="300" y="25"/>
                    </a:lnTo>
                    <a:lnTo>
                      <a:pt x="302" y="25"/>
                    </a:lnTo>
                    <a:lnTo>
                      <a:pt x="302" y="27"/>
                    </a:lnTo>
                    <a:lnTo>
                      <a:pt x="300" y="27"/>
                    </a:lnTo>
                    <a:lnTo>
                      <a:pt x="302" y="27"/>
                    </a:lnTo>
                    <a:lnTo>
                      <a:pt x="300" y="27"/>
                    </a:lnTo>
                    <a:lnTo>
                      <a:pt x="302" y="27"/>
                    </a:lnTo>
                    <a:lnTo>
                      <a:pt x="302" y="25"/>
                    </a:lnTo>
                    <a:lnTo>
                      <a:pt x="300" y="25"/>
                    </a:lnTo>
                    <a:lnTo>
                      <a:pt x="300" y="27"/>
                    </a:lnTo>
                    <a:lnTo>
                      <a:pt x="300" y="25"/>
                    </a:lnTo>
                    <a:lnTo>
                      <a:pt x="298" y="25"/>
                    </a:lnTo>
                    <a:lnTo>
                      <a:pt x="298" y="27"/>
                    </a:lnTo>
                    <a:lnTo>
                      <a:pt x="298" y="25"/>
                    </a:lnTo>
                    <a:lnTo>
                      <a:pt x="296" y="25"/>
                    </a:lnTo>
                    <a:lnTo>
                      <a:pt x="296" y="23"/>
                    </a:lnTo>
                    <a:lnTo>
                      <a:pt x="298" y="23"/>
                    </a:lnTo>
                    <a:lnTo>
                      <a:pt x="296" y="23"/>
                    </a:lnTo>
                    <a:lnTo>
                      <a:pt x="298" y="21"/>
                    </a:lnTo>
                    <a:lnTo>
                      <a:pt x="298" y="19"/>
                    </a:lnTo>
                    <a:lnTo>
                      <a:pt x="298" y="17"/>
                    </a:lnTo>
                    <a:lnTo>
                      <a:pt x="300" y="17"/>
                    </a:lnTo>
                    <a:lnTo>
                      <a:pt x="298" y="17"/>
                    </a:lnTo>
                    <a:lnTo>
                      <a:pt x="300" y="17"/>
                    </a:lnTo>
                    <a:lnTo>
                      <a:pt x="300" y="15"/>
                    </a:lnTo>
                    <a:lnTo>
                      <a:pt x="300" y="13"/>
                    </a:lnTo>
                    <a:lnTo>
                      <a:pt x="302" y="13"/>
                    </a:lnTo>
                    <a:lnTo>
                      <a:pt x="302" y="12"/>
                    </a:lnTo>
                    <a:lnTo>
                      <a:pt x="302" y="10"/>
                    </a:lnTo>
                    <a:lnTo>
                      <a:pt x="304" y="10"/>
                    </a:lnTo>
                    <a:lnTo>
                      <a:pt x="302" y="10"/>
                    </a:lnTo>
                    <a:lnTo>
                      <a:pt x="304" y="10"/>
                    </a:lnTo>
                    <a:lnTo>
                      <a:pt x="302" y="10"/>
                    </a:lnTo>
                    <a:lnTo>
                      <a:pt x="302" y="12"/>
                    </a:lnTo>
                    <a:lnTo>
                      <a:pt x="304" y="10"/>
                    </a:lnTo>
                    <a:lnTo>
                      <a:pt x="304" y="8"/>
                    </a:lnTo>
                    <a:lnTo>
                      <a:pt x="306" y="8"/>
                    </a:lnTo>
                    <a:lnTo>
                      <a:pt x="306" y="6"/>
                    </a:lnTo>
                    <a:lnTo>
                      <a:pt x="306" y="4"/>
                    </a:lnTo>
                    <a:lnTo>
                      <a:pt x="306" y="6"/>
                    </a:lnTo>
                    <a:lnTo>
                      <a:pt x="306" y="8"/>
                    </a:lnTo>
                    <a:lnTo>
                      <a:pt x="306" y="6"/>
                    </a:lnTo>
                    <a:lnTo>
                      <a:pt x="306" y="8"/>
                    </a:lnTo>
                    <a:lnTo>
                      <a:pt x="306" y="10"/>
                    </a:lnTo>
                    <a:lnTo>
                      <a:pt x="306" y="8"/>
                    </a:lnTo>
                    <a:lnTo>
                      <a:pt x="306" y="10"/>
                    </a:lnTo>
                    <a:lnTo>
                      <a:pt x="308" y="10"/>
                    </a:lnTo>
                    <a:lnTo>
                      <a:pt x="308" y="8"/>
                    </a:lnTo>
                    <a:lnTo>
                      <a:pt x="308" y="6"/>
                    </a:lnTo>
                    <a:lnTo>
                      <a:pt x="306" y="6"/>
                    </a:lnTo>
                    <a:lnTo>
                      <a:pt x="308" y="6"/>
                    </a:lnTo>
                    <a:lnTo>
                      <a:pt x="306" y="6"/>
                    </a:lnTo>
                    <a:lnTo>
                      <a:pt x="306" y="4"/>
                    </a:lnTo>
                    <a:lnTo>
                      <a:pt x="311" y="8"/>
                    </a:lnTo>
                    <a:lnTo>
                      <a:pt x="315" y="10"/>
                    </a:lnTo>
                    <a:lnTo>
                      <a:pt x="325" y="15"/>
                    </a:lnTo>
                    <a:lnTo>
                      <a:pt x="329" y="19"/>
                    </a:lnTo>
                    <a:lnTo>
                      <a:pt x="331" y="19"/>
                    </a:lnTo>
                    <a:lnTo>
                      <a:pt x="333" y="21"/>
                    </a:lnTo>
                    <a:lnTo>
                      <a:pt x="336" y="23"/>
                    </a:lnTo>
                    <a:lnTo>
                      <a:pt x="346" y="29"/>
                    </a:lnTo>
                    <a:lnTo>
                      <a:pt x="359" y="35"/>
                    </a:lnTo>
                    <a:lnTo>
                      <a:pt x="415" y="58"/>
                    </a:lnTo>
                    <a:lnTo>
                      <a:pt x="481" y="83"/>
                    </a:lnTo>
                    <a:lnTo>
                      <a:pt x="481" y="85"/>
                    </a:lnTo>
                    <a:lnTo>
                      <a:pt x="479" y="83"/>
                    </a:lnTo>
                    <a:lnTo>
                      <a:pt x="479" y="85"/>
                    </a:lnTo>
                    <a:lnTo>
                      <a:pt x="481" y="85"/>
                    </a:lnTo>
                    <a:lnTo>
                      <a:pt x="482" y="85"/>
                    </a:lnTo>
                    <a:lnTo>
                      <a:pt x="484" y="85"/>
                    </a:lnTo>
                    <a:lnTo>
                      <a:pt x="507" y="92"/>
                    </a:lnTo>
                    <a:lnTo>
                      <a:pt x="511" y="94"/>
                    </a:lnTo>
                    <a:lnTo>
                      <a:pt x="513" y="94"/>
                    </a:lnTo>
                    <a:lnTo>
                      <a:pt x="515" y="96"/>
                    </a:lnTo>
                    <a:lnTo>
                      <a:pt x="513" y="96"/>
                    </a:lnTo>
                    <a:lnTo>
                      <a:pt x="515" y="96"/>
                    </a:lnTo>
                    <a:lnTo>
                      <a:pt x="517" y="96"/>
                    </a:lnTo>
                    <a:lnTo>
                      <a:pt x="517" y="94"/>
                    </a:lnTo>
                    <a:lnTo>
                      <a:pt x="517" y="96"/>
                    </a:lnTo>
                    <a:lnTo>
                      <a:pt x="519" y="96"/>
                    </a:lnTo>
                    <a:lnTo>
                      <a:pt x="517" y="96"/>
                    </a:lnTo>
                    <a:lnTo>
                      <a:pt x="519" y="96"/>
                    </a:lnTo>
                    <a:lnTo>
                      <a:pt x="519" y="98"/>
                    </a:lnTo>
                    <a:lnTo>
                      <a:pt x="521" y="96"/>
                    </a:lnTo>
                    <a:lnTo>
                      <a:pt x="521" y="98"/>
                    </a:lnTo>
                    <a:lnTo>
                      <a:pt x="521" y="96"/>
                    </a:lnTo>
                    <a:lnTo>
                      <a:pt x="523" y="96"/>
                    </a:lnTo>
                    <a:lnTo>
                      <a:pt x="523" y="94"/>
                    </a:lnTo>
                    <a:lnTo>
                      <a:pt x="525" y="94"/>
                    </a:lnTo>
                    <a:lnTo>
                      <a:pt x="525" y="92"/>
                    </a:lnTo>
                    <a:lnTo>
                      <a:pt x="525" y="94"/>
                    </a:lnTo>
                    <a:lnTo>
                      <a:pt x="525" y="92"/>
                    </a:lnTo>
                    <a:lnTo>
                      <a:pt x="527" y="92"/>
                    </a:lnTo>
                    <a:lnTo>
                      <a:pt x="529" y="92"/>
                    </a:lnTo>
                    <a:lnTo>
                      <a:pt x="530" y="92"/>
                    </a:lnTo>
                    <a:lnTo>
                      <a:pt x="534" y="90"/>
                    </a:lnTo>
                    <a:lnTo>
                      <a:pt x="542" y="88"/>
                    </a:lnTo>
                    <a:lnTo>
                      <a:pt x="555" y="87"/>
                    </a:lnTo>
                    <a:lnTo>
                      <a:pt x="557" y="87"/>
                    </a:lnTo>
                    <a:lnTo>
                      <a:pt x="557" y="85"/>
                    </a:lnTo>
                    <a:lnTo>
                      <a:pt x="559" y="85"/>
                    </a:lnTo>
                    <a:lnTo>
                      <a:pt x="559" y="83"/>
                    </a:lnTo>
                    <a:lnTo>
                      <a:pt x="561" y="83"/>
                    </a:lnTo>
                    <a:lnTo>
                      <a:pt x="561" y="81"/>
                    </a:lnTo>
                    <a:lnTo>
                      <a:pt x="561" y="79"/>
                    </a:lnTo>
                    <a:lnTo>
                      <a:pt x="559" y="79"/>
                    </a:lnTo>
                    <a:lnTo>
                      <a:pt x="559" y="77"/>
                    </a:lnTo>
                    <a:lnTo>
                      <a:pt x="561" y="77"/>
                    </a:lnTo>
                    <a:lnTo>
                      <a:pt x="563" y="77"/>
                    </a:lnTo>
                    <a:lnTo>
                      <a:pt x="563" y="75"/>
                    </a:lnTo>
                    <a:lnTo>
                      <a:pt x="563" y="73"/>
                    </a:lnTo>
                    <a:lnTo>
                      <a:pt x="565" y="73"/>
                    </a:lnTo>
                    <a:lnTo>
                      <a:pt x="567" y="73"/>
                    </a:lnTo>
                    <a:lnTo>
                      <a:pt x="569" y="71"/>
                    </a:lnTo>
                    <a:lnTo>
                      <a:pt x="571" y="71"/>
                    </a:lnTo>
                    <a:lnTo>
                      <a:pt x="571" y="69"/>
                    </a:lnTo>
                    <a:lnTo>
                      <a:pt x="573" y="69"/>
                    </a:lnTo>
                    <a:lnTo>
                      <a:pt x="575" y="69"/>
                    </a:lnTo>
                    <a:lnTo>
                      <a:pt x="577" y="69"/>
                    </a:lnTo>
                    <a:lnTo>
                      <a:pt x="577" y="67"/>
                    </a:lnTo>
                    <a:lnTo>
                      <a:pt x="579" y="67"/>
                    </a:lnTo>
                    <a:lnTo>
                      <a:pt x="580" y="67"/>
                    </a:lnTo>
                    <a:lnTo>
                      <a:pt x="580" y="69"/>
                    </a:lnTo>
                    <a:lnTo>
                      <a:pt x="582" y="69"/>
                    </a:lnTo>
                    <a:lnTo>
                      <a:pt x="582" y="71"/>
                    </a:lnTo>
                    <a:lnTo>
                      <a:pt x="584" y="71"/>
                    </a:lnTo>
                    <a:lnTo>
                      <a:pt x="584" y="73"/>
                    </a:lnTo>
                    <a:lnTo>
                      <a:pt x="586" y="73"/>
                    </a:lnTo>
                    <a:lnTo>
                      <a:pt x="586" y="71"/>
                    </a:lnTo>
                    <a:lnTo>
                      <a:pt x="586" y="69"/>
                    </a:lnTo>
                    <a:lnTo>
                      <a:pt x="584" y="69"/>
                    </a:lnTo>
                    <a:lnTo>
                      <a:pt x="586" y="69"/>
                    </a:lnTo>
                    <a:lnTo>
                      <a:pt x="586" y="67"/>
                    </a:lnTo>
                    <a:lnTo>
                      <a:pt x="588" y="67"/>
                    </a:lnTo>
                    <a:lnTo>
                      <a:pt x="588" y="69"/>
                    </a:lnTo>
                    <a:lnTo>
                      <a:pt x="588" y="67"/>
                    </a:lnTo>
                    <a:lnTo>
                      <a:pt x="590" y="67"/>
                    </a:lnTo>
                    <a:lnTo>
                      <a:pt x="592" y="67"/>
                    </a:lnTo>
                    <a:lnTo>
                      <a:pt x="592" y="65"/>
                    </a:lnTo>
                    <a:lnTo>
                      <a:pt x="594" y="65"/>
                    </a:lnTo>
                    <a:lnTo>
                      <a:pt x="596" y="63"/>
                    </a:lnTo>
                    <a:lnTo>
                      <a:pt x="594" y="63"/>
                    </a:lnTo>
                    <a:lnTo>
                      <a:pt x="594" y="62"/>
                    </a:lnTo>
                    <a:lnTo>
                      <a:pt x="594" y="60"/>
                    </a:lnTo>
                    <a:lnTo>
                      <a:pt x="594" y="58"/>
                    </a:lnTo>
                    <a:lnTo>
                      <a:pt x="594" y="56"/>
                    </a:lnTo>
                    <a:lnTo>
                      <a:pt x="596" y="56"/>
                    </a:lnTo>
                    <a:lnTo>
                      <a:pt x="598" y="56"/>
                    </a:lnTo>
                    <a:lnTo>
                      <a:pt x="600" y="56"/>
                    </a:lnTo>
                    <a:lnTo>
                      <a:pt x="600" y="54"/>
                    </a:lnTo>
                    <a:lnTo>
                      <a:pt x="602" y="54"/>
                    </a:lnTo>
                    <a:lnTo>
                      <a:pt x="602" y="56"/>
                    </a:lnTo>
                    <a:lnTo>
                      <a:pt x="602" y="54"/>
                    </a:lnTo>
                    <a:lnTo>
                      <a:pt x="600" y="54"/>
                    </a:lnTo>
                    <a:lnTo>
                      <a:pt x="602" y="54"/>
                    </a:lnTo>
                    <a:lnTo>
                      <a:pt x="603" y="54"/>
                    </a:lnTo>
                    <a:lnTo>
                      <a:pt x="605" y="54"/>
                    </a:lnTo>
                    <a:lnTo>
                      <a:pt x="607" y="54"/>
                    </a:lnTo>
                    <a:lnTo>
                      <a:pt x="609" y="54"/>
                    </a:lnTo>
                    <a:lnTo>
                      <a:pt x="609" y="52"/>
                    </a:lnTo>
                    <a:lnTo>
                      <a:pt x="607" y="52"/>
                    </a:lnTo>
                    <a:lnTo>
                      <a:pt x="609" y="52"/>
                    </a:lnTo>
                    <a:lnTo>
                      <a:pt x="611" y="52"/>
                    </a:lnTo>
                    <a:lnTo>
                      <a:pt x="611" y="50"/>
                    </a:lnTo>
                    <a:lnTo>
                      <a:pt x="613" y="52"/>
                    </a:lnTo>
                    <a:lnTo>
                      <a:pt x="615" y="52"/>
                    </a:lnTo>
                    <a:lnTo>
                      <a:pt x="613" y="52"/>
                    </a:lnTo>
                    <a:lnTo>
                      <a:pt x="615" y="52"/>
                    </a:lnTo>
                    <a:lnTo>
                      <a:pt x="615" y="50"/>
                    </a:lnTo>
                    <a:lnTo>
                      <a:pt x="615" y="48"/>
                    </a:lnTo>
                    <a:lnTo>
                      <a:pt x="615" y="46"/>
                    </a:lnTo>
                    <a:lnTo>
                      <a:pt x="615" y="44"/>
                    </a:lnTo>
                    <a:lnTo>
                      <a:pt x="617" y="44"/>
                    </a:lnTo>
                    <a:lnTo>
                      <a:pt x="615" y="44"/>
                    </a:lnTo>
                    <a:lnTo>
                      <a:pt x="617" y="44"/>
                    </a:lnTo>
                    <a:lnTo>
                      <a:pt x="617" y="42"/>
                    </a:lnTo>
                    <a:lnTo>
                      <a:pt x="619" y="42"/>
                    </a:lnTo>
                    <a:lnTo>
                      <a:pt x="621" y="42"/>
                    </a:lnTo>
                    <a:lnTo>
                      <a:pt x="621" y="40"/>
                    </a:lnTo>
                    <a:lnTo>
                      <a:pt x="621" y="42"/>
                    </a:lnTo>
                    <a:lnTo>
                      <a:pt x="623" y="42"/>
                    </a:lnTo>
                    <a:lnTo>
                      <a:pt x="625" y="42"/>
                    </a:lnTo>
                    <a:lnTo>
                      <a:pt x="627" y="42"/>
                    </a:lnTo>
                    <a:lnTo>
                      <a:pt x="627" y="44"/>
                    </a:lnTo>
                    <a:lnTo>
                      <a:pt x="628" y="44"/>
                    </a:lnTo>
                    <a:lnTo>
                      <a:pt x="630" y="44"/>
                    </a:lnTo>
                    <a:lnTo>
                      <a:pt x="632" y="44"/>
                    </a:lnTo>
                    <a:lnTo>
                      <a:pt x="632" y="46"/>
                    </a:lnTo>
                    <a:lnTo>
                      <a:pt x="634" y="46"/>
                    </a:lnTo>
                    <a:lnTo>
                      <a:pt x="634" y="44"/>
                    </a:lnTo>
                    <a:lnTo>
                      <a:pt x="634" y="46"/>
                    </a:lnTo>
                    <a:lnTo>
                      <a:pt x="636" y="46"/>
                    </a:lnTo>
                    <a:lnTo>
                      <a:pt x="636" y="44"/>
                    </a:lnTo>
                    <a:lnTo>
                      <a:pt x="636" y="46"/>
                    </a:lnTo>
                    <a:lnTo>
                      <a:pt x="636" y="44"/>
                    </a:lnTo>
                    <a:lnTo>
                      <a:pt x="638" y="44"/>
                    </a:lnTo>
                    <a:lnTo>
                      <a:pt x="638" y="46"/>
                    </a:lnTo>
                    <a:lnTo>
                      <a:pt x="638" y="44"/>
                    </a:lnTo>
                    <a:lnTo>
                      <a:pt x="638" y="46"/>
                    </a:lnTo>
                    <a:lnTo>
                      <a:pt x="640" y="46"/>
                    </a:lnTo>
                    <a:lnTo>
                      <a:pt x="638" y="46"/>
                    </a:lnTo>
                    <a:lnTo>
                      <a:pt x="638" y="48"/>
                    </a:lnTo>
                    <a:lnTo>
                      <a:pt x="636" y="48"/>
                    </a:lnTo>
                    <a:lnTo>
                      <a:pt x="638" y="48"/>
                    </a:lnTo>
                    <a:lnTo>
                      <a:pt x="636" y="48"/>
                    </a:lnTo>
                    <a:lnTo>
                      <a:pt x="636" y="50"/>
                    </a:lnTo>
                    <a:lnTo>
                      <a:pt x="636" y="52"/>
                    </a:lnTo>
                    <a:lnTo>
                      <a:pt x="634" y="52"/>
                    </a:lnTo>
                    <a:lnTo>
                      <a:pt x="634" y="54"/>
                    </a:lnTo>
                    <a:lnTo>
                      <a:pt x="632" y="54"/>
                    </a:lnTo>
                    <a:lnTo>
                      <a:pt x="630" y="56"/>
                    </a:lnTo>
                    <a:lnTo>
                      <a:pt x="630" y="58"/>
                    </a:lnTo>
                    <a:lnTo>
                      <a:pt x="632" y="58"/>
                    </a:lnTo>
                    <a:lnTo>
                      <a:pt x="630" y="58"/>
                    </a:lnTo>
                    <a:lnTo>
                      <a:pt x="630" y="60"/>
                    </a:lnTo>
                    <a:lnTo>
                      <a:pt x="630" y="62"/>
                    </a:lnTo>
                    <a:lnTo>
                      <a:pt x="630" y="63"/>
                    </a:lnTo>
                    <a:lnTo>
                      <a:pt x="630" y="65"/>
                    </a:lnTo>
                    <a:lnTo>
                      <a:pt x="628" y="65"/>
                    </a:lnTo>
                    <a:lnTo>
                      <a:pt x="628" y="67"/>
                    </a:lnTo>
                    <a:lnTo>
                      <a:pt x="628" y="69"/>
                    </a:lnTo>
                    <a:lnTo>
                      <a:pt x="628" y="71"/>
                    </a:lnTo>
                    <a:lnTo>
                      <a:pt x="628" y="73"/>
                    </a:lnTo>
                    <a:lnTo>
                      <a:pt x="628" y="75"/>
                    </a:lnTo>
                    <a:lnTo>
                      <a:pt x="630" y="75"/>
                    </a:lnTo>
                    <a:lnTo>
                      <a:pt x="632" y="75"/>
                    </a:lnTo>
                    <a:lnTo>
                      <a:pt x="634" y="75"/>
                    </a:lnTo>
                    <a:lnTo>
                      <a:pt x="636" y="75"/>
                    </a:lnTo>
                    <a:lnTo>
                      <a:pt x="636" y="77"/>
                    </a:lnTo>
                    <a:lnTo>
                      <a:pt x="638" y="77"/>
                    </a:lnTo>
                    <a:lnTo>
                      <a:pt x="640" y="77"/>
                    </a:lnTo>
                    <a:lnTo>
                      <a:pt x="642" y="75"/>
                    </a:lnTo>
                    <a:lnTo>
                      <a:pt x="642" y="77"/>
                    </a:lnTo>
                    <a:lnTo>
                      <a:pt x="644" y="77"/>
                    </a:lnTo>
                    <a:lnTo>
                      <a:pt x="644" y="79"/>
                    </a:lnTo>
                    <a:lnTo>
                      <a:pt x="644" y="81"/>
                    </a:lnTo>
                    <a:lnTo>
                      <a:pt x="644" y="83"/>
                    </a:lnTo>
                    <a:lnTo>
                      <a:pt x="644" y="85"/>
                    </a:lnTo>
                    <a:lnTo>
                      <a:pt x="642" y="85"/>
                    </a:lnTo>
                    <a:lnTo>
                      <a:pt x="642" y="87"/>
                    </a:lnTo>
                    <a:lnTo>
                      <a:pt x="644" y="87"/>
                    </a:lnTo>
                    <a:lnTo>
                      <a:pt x="644" y="88"/>
                    </a:lnTo>
                    <a:lnTo>
                      <a:pt x="646" y="88"/>
                    </a:lnTo>
                    <a:lnTo>
                      <a:pt x="646" y="90"/>
                    </a:lnTo>
                    <a:lnTo>
                      <a:pt x="644" y="92"/>
                    </a:lnTo>
                    <a:lnTo>
                      <a:pt x="644" y="94"/>
                    </a:lnTo>
                    <a:lnTo>
                      <a:pt x="642" y="94"/>
                    </a:lnTo>
                    <a:lnTo>
                      <a:pt x="640" y="94"/>
                    </a:lnTo>
                    <a:lnTo>
                      <a:pt x="640" y="92"/>
                    </a:lnTo>
                    <a:lnTo>
                      <a:pt x="638" y="92"/>
                    </a:lnTo>
                    <a:lnTo>
                      <a:pt x="636" y="92"/>
                    </a:lnTo>
                    <a:lnTo>
                      <a:pt x="634" y="92"/>
                    </a:lnTo>
                    <a:lnTo>
                      <a:pt x="632" y="92"/>
                    </a:lnTo>
                    <a:lnTo>
                      <a:pt x="632" y="94"/>
                    </a:lnTo>
                    <a:lnTo>
                      <a:pt x="634" y="94"/>
                    </a:lnTo>
                    <a:lnTo>
                      <a:pt x="632" y="96"/>
                    </a:lnTo>
                    <a:lnTo>
                      <a:pt x="632" y="98"/>
                    </a:lnTo>
                    <a:lnTo>
                      <a:pt x="632" y="100"/>
                    </a:lnTo>
                    <a:lnTo>
                      <a:pt x="634" y="100"/>
                    </a:lnTo>
                    <a:lnTo>
                      <a:pt x="634" y="98"/>
                    </a:lnTo>
                    <a:lnTo>
                      <a:pt x="636" y="98"/>
                    </a:lnTo>
                    <a:lnTo>
                      <a:pt x="638" y="98"/>
                    </a:lnTo>
                    <a:lnTo>
                      <a:pt x="638" y="100"/>
                    </a:lnTo>
                    <a:lnTo>
                      <a:pt x="638" y="102"/>
                    </a:lnTo>
                    <a:lnTo>
                      <a:pt x="638" y="104"/>
                    </a:lnTo>
                    <a:lnTo>
                      <a:pt x="636" y="104"/>
                    </a:lnTo>
                    <a:lnTo>
                      <a:pt x="636" y="106"/>
                    </a:lnTo>
                    <a:lnTo>
                      <a:pt x="634" y="108"/>
                    </a:lnTo>
                    <a:lnTo>
                      <a:pt x="632" y="108"/>
                    </a:lnTo>
                    <a:lnTo>
                      <a:pt x="630" y="108"/>
                    </a:lnTo>
                    <a:lnTo>
                      <a:pt x="628" y="108"/>
                    </a:lnTo>
                    <a:lnTo>
                      <a:pt x="627" y="108"/>
                    </a:lnTo>
                    <a:lnTo>
                      <a:pt x="627" y="110"/>
                    </a:lnTo>
                    <a:lnTo>
                      <a:pt x="625" y="110"/>
                    </a:lnTo>
                    <a:lnTo>
                      <a:pt x="623" y="112"/>
                    </a:lnTo>
                    <a:lnTo>
                      <a:pt x="621" y="112"/>
                    </a:lnTo>
                    <a:lnTo>
                      <a:pt x="621" y="113"/>
                    </a:lnTo>
                    <a:lnTo>
                      <a:pt x="619" y="113"/>
                    </a:lnTo>
                    <a:lnTo>
                      <a:pt x="617" y="115"/>
                    </a:lnTo>
                    <a:lnTo>
                      <a:pt x="615" y="115"/>
                    </a:lnTo>
                    <a:lnTo>
                      <a:pt x="613" y="115"/>
                    </a:lnTo>
                    <a:lnTo>
                      <a:pt x="611" y="117"/>
                    </a:lnTo>
                    <a:lnTo>
                      <a:pt x="609" y="117"/>
                    </a:lnTo>
                    <a:lnTo>
                      <a:pt x="609" y="119"/>
                    </a:lnTo>
                    <a:lnTo>
                      <a:pt x="609" y="121"/>
                    </a:lnTo>
                    <a:lnTo>
                      <a:pt x="607" y="121"/>
                    </a:lnTo>
                    <a:lnTo>
                      <a:pt x="605" y="123"/>
                    </a:lnTo>
                    <a:lnTo>
                      <a:pt x="605" y="125"/>
                    </a:lnTo>
                    <a:lnTo>
                      <a:pt x="603" y="127"/>
                    </a:lnTo>
                    <a:lnTo>
                      <a:pt x="605" y="127"/>
                    </a:lnTo>
                    <a:lnTo>
                      <a:pt x="605" y="129"/>
                    </a:lnTo>
                    <a:lnTo>
                      <a:pt x="603" y="129"/>
                    </a:lnTo>
                    <a:lnTo>
                      <a:pt x="603" y="131"/>
                    </a:lnTo>
                    <a:lnTo>
                      <a:pt x="602" y="131"/>
                    </a:lnTo>
                    <a:lnTo>
                      <a:pt x="602" y="133"/>
                    </a:lnTo>
                    <a:lnTo>
                      <a:pt x="600" y="133"/>
                    </a:lnTo>
                    <a:lnTo>
                      <a:pt x="598" y="133"/>
                    </a:lnTo>
                    <a:lnTo>
                      <a:pt x="596" y="133"/>
                    </a:lnTo>
                    <a:lnTo>
                      <a:pt x="594" y="133"/>
                    </a:lnTo>
                    <a:lnTo>
                      <a:pt x="592" y="133"/>
                    </a:lnTo>
                    <a:lnTo>
                      <a:pt x="590" y="135"/>
                    </a:lnTo>
                    <a:lnTo>
                      <a:pt x="590" y="133"/>
                    </a:lnTo>
                    <a:lnTo>
                      <a:pt x="588" y="133"/>
                    </a:lnTo>
                    <a:lnTo>
                      <a:pt x="586" y="135"/>
                    </a:lnTo>
                    <a:lnTo>
                      <a:pt x="586" y="137"/>
                    </a:lnTo>
                    <a:lnTo>
                      <a:pt x="584" y="138"/>
                    </a:lnTo>
                    <a:lnTo>
                      <a:pt x="584" y="137"/>
                    </a:lnTo>
                    <a:lnTo>
                      <a:pt x="582" y="137"/>
                    </a:lnTo>
                    <a:lnTo>
                      <a:pt x="580" y="137"/>
                    </a:lnTo>
                    <a:lnTo>
                      <a:pt x="580" y="138"/>
                    </a:lnTo>
                    <a:lnTo>
                      <a:pt x="579" y="138"/>
                    </a:lnTo>
                    <a:lnTo>
                      <a:pt x="577" y="140"/>
                    </a:lnTo>
                    <a:lnTo>
                      <a:pt x="577" y="138"/>
                    </a:lnTo>
                    <a:lnTo>
                      <a:pt x="575" y="138"/>
                    </a:lnTo>
                    <a:lnTo>
                      <a:pt x="573" y="138"/>
                    </a:lnTo>
                    <a:lnTo>
                      <a:pt x="571" y="138"/>
                    </a:lnTo>
                    <a:lnTo>
                      <a:pt x="569" y="138"/>
                    </a:lnTo>
                    <a:lnTo>
                      <a:pt x="567" y="140"/>
                    </a:lnTo>
                    <a:lnTo>
                      <a:pt x="565" y="140"/>
                    </a:lnTo>
                    <a:lnTo>
                      <a:pt x="565" y="142"/>
                    </a:lnTo>
                    <a:lnTo>
                      <a:pt x="563" y="142"/>
                    </a:lnTo>
                    <a:lnTo>
                      <a:pt x="561" y="142"/>
                    </a:lnTo>
                    <a:lnTo>
                      <a:pt x="559" y="142"/>
                    </a:lnTo>
                    <a:lnTo>
                      <a:pt x="557" y="144"/>
                    </a:lnTo>
                    <a:lnTo>
                      <a:pt x="555" y="144"/>
                    </a:lnTo>
                    <a:lnTo>
                      <a:pt x="555" y="142"/>
                    </a:lnTo>
                    <a:lnTo>
                      <a:pt x="554" y="142"/>
                    </a:lnTo>
                    <a:lnTo>
                      <a:pt x="554" y="144"/>
                    </a:lnTo>
                    <a:lnTo>
                      <a:pt x="552" y="144"/>
                    </a:lnTo>
                    <a:lnTo>
                      <a:pt x="552" y="146"/>
                    </a:lnTo>
                    <a:lnTo>
                      <a:pt x="550" y="146"/>
                    </a:lnTo>
                    <a:lnTo>
                      <a:pt x="550" y="148"/>
                    </a:lnTo>
                    <a:lnTo>
                      <a:pt x="548" y="148"/>
                    </a:lnTo>
                    <a:lnTo>
                      <a:pt x="548" y="150"/>
                    </a:lnTo>
                    <a:lnTo>
                      <a:pt x="546" y="150"/>
                    </a:lnTo>
                    <a:lnTo>
                      <a:pt x="546" y="152"/>
                    </a:lnTo>
                    <a:lnTo>
                      <a:pt x="546" y="154"/>
                    </a:lnTo>
                    <a:lnTo>
                      <a:pt x="546" y="156"/>
                    </a:lnTo>
                    <a:lnTo>
                      <a:pt x="544" y="156"/>
                    </a:lnTo>
                    <a:lnTo>
                      <a:pt x="544" y="154"/>
                    </a:lnTo>
                    <a:lnTo>
                      <a:pt x="542" y="154"/>
                    </a:lnTo>
                    <a:lnTo>
                      <a:pt x="540" y="154"/>
                    </a:lnTo>
                    <a:lnTo>
                      <a:pt x="540" y="156"/>
                    </a:lnTo>
                    <a:lnTo>
                      <a:pt x="538" y="156"/>
                    </a:lnTo>
                    <a:lnTo>
                      <a:pt x="536" y="158"/>
                    </a:lnTo>
                    <a:lnTo>
                      <a:pt x="536" y="160"/>
                    </a:lnTo>
                    <a:lnTo>
                      <a:pt x="534" y="160"/>
                    </a:lnTo>
                    <a:lnTo>
                      <a:pt x="534" y="162"/>
                    </a:lnTo>
                    <a:lnTo>
                      <a:pt x="532" y="162"/>
                    </a:lnTo>
                    <a:lnTo>
                      <a:pt x="532" y="163"/>
                    </a:lnTo>
                    <a:lnTo>
                      <a:pt x="530" y="163"/>
                    </a:lnTo>
                    <a:lnTo>
                      <a:pt x="530" y="165"/>
                    </a:lnTo>
                    <a:lnTo>
                      <a:pt x="529" y="165"/>
                    </a:lnTo>
                    <a:lnTo>
                      <a:pt x="529" y="167"/>
                    </a:lnTo>
                    <a:lnTo>
                      <a:pt x="530" y="167"/>
                    </a:lnTo>
                    <a:lnTo>
                      <a:pt x="530" y="169"/>
                    </a:lnTo>
                    <a:lnTo>
                      <a:pt x="529" y="169"/>
                    </a:lnTo>
                    <a:lnTo>
                      <a:pt x="527" y="171"/>
                    </a:lnTo>
                    <a:lnTo>
                      <a:pt x="527" y="173"/>
                    </a:lnTo>
                    <a:lnTo>
                      <a:pt x="527" y="175"/>
                    </a:lnTo>
                    <a:lnTo>
                      <a:pt x="527" y="173"/>
                    </a:lnTo>
                    <a:lnTo>
                      <a:pt x="525" y="173"/>
                    </a:lnTo>
                    <a:lnTo>
                      <a:pt x="523" y="173"/>
                    </a:lnTo>
                    <a:lnTo>
                      <a:pt x="521" y="173"/>
                    </a:lnTo>
                    <a:lnTo>
                      <a:pt x="519" y="173"/>
                    </a:lnTo>
                    <a:lnTo>
                      <a:pt x="517" y="173"/>
                    </a:lnTo>
                    <a:lnTo>
                      <a:pt x="515" y="173"/>
                    </a:lnTo>
                    <a:lnTo>
                      <a:pt x="513" y="173"/>
                    </a:lnTo>
                    <a:lnTo>
                      <a:pt x="513" y="175"/>
                    </a:lnTo>
                    <a:lnTo>
                      <a:pt x="511" y="175"/>
                    </a:lnTo>
                    <a:lnTo>
                      <a:pt x="509" y="175"/>
                    </a:lnTo>
                    <a:lnTo>
                      <a:pt x="507" y="175"/>
                    </a:lnTo>
                    <a:lnTo>
                      <a:pt x="505" y="175"/>
                    </a:lnTo>
                    <a:lnTo>
                      <a:pt x="504" y="175"/>
                    </a:lnTo>
                    <a:lnTo>
                      <a:pt x="502" y="175"/>
                    </a:lnTo>
                    <a:lnTo>
                      <a:pt x="502" y="177"/>
                    </a:lnTo>
                    <a:lnTo>
                      <a:pt x="500" y="175"/>
                    </a:lnTo>
                    <a:lnTo>
                      <a:pt x="498" y="177"/>
                    </a:lnTo>
                    <a:lnTo>
                      <a:pt x="496" y="179"/>
                    </a:lnTo>
                    <a:lnTo>
                      <a:pt x="494" y="179"/>
                    </a:lnTo>
                    <a:lnTo>
                      <a:pt x="494" y="181"/>
                    </a:lnTo>
                    <a:lnTo>
                      <a:pt x="492" y="181"/>
                    </a:lnTo>
                    <a:lnTo>
                      <a:pt x="490" y="181"/>
                    </a:lnTo>
                    <a:lnTo>
                      <a:pt x="488" y="183"/>
                    </a:lnTo>
                    <a:lnTo>
                      <a:pt x="486" y="187"/>
                    </a:lnTo>
                    <a:lnTo>
                      <a:pt x="484" y="187"/>
                    </a:lnTo>
                    <a:lnTo>
                      <a:pt x="484" y="188"/>
                    </a:lnTo>
                    <a:lnTo>
                      <a:pt x="482" y="188"/>
                    </a:lnTo>
                    <a:lnTo>
                      <a:pt x="481" y="190"/>
                    </a:lnTo>
                    <a:lnTo>
                      <a:pt x="481" y="192"/>
                    </a:lnTo>
                    <a:lnTo>
                      <a:pt x="479" y="192"/>
                    </a:lnTo>
                    <a:lnTo>
                      <a:pt x="477" y="194"/>
                    </a:lnTo>
                    <a:lnTo>
                      <a:pt x="477" y="196"/>
                    </a:lnTo>
                    <a:lnTo>
                      <a:pt x="475" y="198"/>
                    </a:lnTo>
                    <a:lnTo>
                      <a:pt x="475" y="200"/>
                    </a:lnTo>
                    <a:lnTo>
                      <a:pt x="475" y="202"/>
                    </a:lnTo>
                    <a:lnTo>
                      <a:pt x="473" y="202"/>
                    </a:lnTo>
                    <a:lnTo>
                      <a:pt x="471" y="200"/>
                    </a:lnTo>
                    <a:lnTo>
                      <a:pt x="469" y="200"/>
                    </a:lnTo>
                    <a:lnTo>
                      <a:pt x="467" y="204"/>
                    </a:lnTo>
                    <a:lnTo>
                      <a:pt x="465" y="206"/>
                    </a:lnTo>
                    <a:lnTo>
                      <a:pt x="463" y="208"/>
                    </a:lnTo>
                    <a:lnTo>
                      <a:pt x="461" y="208"/>
                    </a:lnTo>
                    <a:lnTo>
                      <a:pt x="461" y="206"/>
                    </a:lnTo>
                    <a:lnTo>
                      <a:pt x="459" y="206"/>
                    </a:lnTo>
                    <a:lnTo>
                      <a:pt x="457" y="208"/>
                    </a:lnTo>
                    <a:lnTo>
                      <a:pt x="456" y="208"/>
                    </a:lnTo>
                    <a:lnTo>
                      <a:pt x="456" y="210"/>
                    </a:lnTo>
                    <a:lnTo>
                      <a:pt x="456" y="212"/>
                    </a:lnTo>
                    <a:lnTo>
                      <a:pt x="454" y="212"/>
                    </a:lnTo>
                    <a:lnTo>
                      <a:pt x="452" y="212"/>
                    </a:lnTo>
                    <a:lnTo>
                      <a:pt x="450" y="210"/>
                    </a:lnTo>
                    <a:lnTo>
                      <a:pt x="452" y="208"/>
                    </a:lnTo>
                    <a:lnTo>
                      <a:pt x="448" y="204"/>
                    </a:lnTo>
                    <a:lnTo>
                      <a:pt x="450" y="202"/>
                    </a:lnTo>
                    <a:lnTo>
                      <a:pt x="450" y="200"/>
                    </a:lnTo>
                    <a:lnTo>
                      <a:pt x="446" y="198"/>
                    </a:lnTo>
                    <a:lnTo>
                      <a:pt x="444" y="198"/>
                    </a:lnTo>
                    <a:lnTo>
                      <a:pt x="442" y="198"/>
                    </a:lnTo>
                    <a:lnTo>
                      <a:pt x="440" y="200"/>
                    </a:lnTo>
                    <a:lnTo>
                      <a:pt x="438" y="200"/>
                    </a:lnTo>
                    <a:lnTo>
                      <a:pt x="438" y="202"/>
                    </a:lnTo>
                    <a:lnTo>
                      <a:pt x="436" y="202"/>
                    </a:lnTo>
                    <a:lnTo>
                      <a:pt x="434" y="204"/>
                    </a:lnTo>
                    <a:lnTo>
                      <a:pt x="432" y="206"/>
                    </a:lnTo>
                    <a:lnTo>
                      <a:pt x="431" y="206"/>
                    </a:lnTo>
                    <a:lnTo>
                      <a:pt x="429" y="206"/>
                    </a:lnTo>
                    <a:lnTo>
                      <a:pt x="427" y="208"/>
                    </a:lnTo>
                    <a:lnTo>
                      <a:pt x="425" y="208"/>
                    </a:lnTo>
                    <a:lnTo>
                      <a:pt x="425" y="210"/>
                    </a:lnTo>
                    <a:lnTo>
                      <a:pt x="423" y="212"/>
                    </a:lnTo>
                    <a:lnTo>
                      <a:pt x="423" y="213"/>
                    </a:lnTo>
                    <a:lnTo>
                      <a:pt x="425" y="215"/>
                    </a:lnTo>
                    <a:lnTo>
                      <a:pt x="425" y="217"/>
                    </a:lnTo>
                    <a:lnTo>
                      <a:pt x="423" y="219"/>
                    </a:lnTo>
                    <a:lnTo>
                      <a:pt x="421" y="219"/>
                    </a:lnTo>
                    <a:lnTo>
                      <a:pt x="419" y="219"/>
                    </a:lnTo>
                    <a:lnTo>
                      <a:pt x="419" y="221"/>
                    </a:lnTo>
                    <a:lnTo>
                      <a:pt x="417" y="223"/>
                    </a:lnTo>
                    <a:lnTo>
                      <a:pt x="415" y="223"/>
                    </a:lnTo>
                    <a:lnTo>
                      <a:pt x="413" y="225"/>
                    </a:lnTo>
                    <a:lnTo>
                      <a:pt x="413" y="227"/>
                    </a:lnTo>
                    <a:lnTo>
                      <a:pt x="415" y="227"/>
                    </a:lnTo>
                    <a:lnTo>
                      <a:pt x="415" y="229"/>
                    </a:lnTo>
                    <a:lnTo>
                      <a:pt x="415" y="233"/>
                    </a:lnTo>
                    <a:lnTo>
                      <a:pt x="415" y="235"/>
                    </a:lnTo>
                    <a:lnTo>
                      <a:pt x="411" y="238"/>
                    </a:lnTo>
                    <a:lnTo>
                      <a:pt x="411" y="240"/>
                    </a:lnTo>
                    <a:lnTo>
                      <a:pt x="411" y="242"/>
                    </a:lnTo>
                    <a:lnTo>
                      <a:pt x="411" y="244"/>
                    </a:lnTo>
                    <a:lnTo>
                      <a:pt x="411" y="246"/>
                    </a:lnTo>
                    <a:lnTo>
                      <a:pt x="413" y="248"/>
                    </a:lnTo>
                    <a:lnTo>
                      <a:pt x="415" y="250"/>
                    </a:lnTo>
                    <a:lnTo>
                      <a:pt x="413" y="252"/>
                    </a:lnTo>
                    <a:lnTo>
                      <a:pt x="413" y="254"/>
                    </a:lnTo>
                    <a:lnTo>
                      <a:pt x="409" y="258"/>
                    </a:lnTo>
                    <a:lnTo>
                      <a:pt x="409" y="260"/>
                    </a:lnTo>
                    <a:lnTo>
                      <a:pt x="406" y="260"/>
                    </a:lnTo>
                    <a:lnTo>
                      <a:pt x="404" y="261"/>
                    </a:lnTo>
                    <a:lnTo>
                      <a:pt x="402" y="261"/>
                    </a:lnTo>
                    <a:lnTo>
                      <a:pt x="402" y="263"/>
                    </a:lnTo>
                    <a:lnTo>
                      <a:pt x="402" y="265"/>
                    </a:lnTo>
                    <a:lnTo>
                      <a:pt x="400" y="267"/>
                    </a:lnTo>
                    <a:lnTo>
                      <a:pt x="398" y="269"/>
                    </a:lnTo>
                    <a:lnTo>
                      <a:pt x="398" y="271"/>
                    </a:lnTo>
                    <a:lnTo>
                      <a:pt x="396" y="273"/>
                    </a:lnTo>
                    <a:lnTo>
                      <a:pt x="396" y="275"/>
                    </a:lnTo>
                    <a:lnTo>
                      <a:pt x="392" y="281"/>
                    </a:lnTo>
                    <a:lnTo>
                      <a:pt x="388" y="286"/>
                    </a:lnTo>
                    <a:lnTo>
                      <a:pt x="384" y="290"/>
                    </a:lnTo>
                    <a:lnTo>
                      <a:pt x="384" y="292"/>
                    </a:lnTo>
                    <a:lnTo>
                      <a:pt x="383" y="292"/>
                    </a:lnTo>
                    <a:lnTo>
                      <a:pt x="383" y="294"/>
                    </a:lnTo>
                    <a:lnTo>
                      <a:pt x="383" y="296"/>
                    </a:lnTo>
                    <a:lnTo>
                      <a:pt x="383" y="298"/>
                    </a:lnTo>
                    <a:lnTo>
                      <a:pt x="381" y="300"/>
                    </a:lnTo>
                    <a:lnTo>
                      <a:pt x="379" y="302"/>
                    </a:lnTo>
                    <a:lnTo>
                      <a:pt x="379" y="306"/>
                    </a:lnTo>
                    <a:lnTo>
                      <a:pt x="377" y="308"/>
                    </a:lnTo>
                    <a:lnTo>
                      <a:pt x="375" y="308"/>
                    </a:lnTo>
                    <a:lnTo>
                      <a:pt x="373" y="310"/>
                    </a:lnTo>
                    <a:lnTo>
                      <a:pt x="373" y="311"/>
                    </a:lnTo>
                    <a:lnTo>
                      <a:pt x="373" y="313"/>
                    </a:lnTo>
                    <a:lnTo>
                      <a:pt x="375" y="313"/>
                    </a:lnTo>
                    <a:lnTo>
                      <a:pt x="375" y="315"/>
                    </a:lnTo>
                    <a:lnTo>
                      <a:pt x="377" y="317"/>
                    </a:lnTo>
                    <a:lnTo>
                      <a:pt x="377" y="319"/>
                    </a:lnTo>
                    <a:lnTo>
                      <a:pt x="377" y="323"/>
                    </a:lnTo>
                    <a:lnTo>
                      <a:pt x="373" y="327"/>
                    </a:lnTo>
                    <a:lnTo>
                      <a:pt x="373" y="329"/>
                    </a:lnTo>
                    <a:lnTo>
                      <a:pt x="371" y="331"/>
                    </a:lnTo>
                    <a:lnTo>
                      <a:pt x="371" y="333"/>
                    </a:lnTo>
                    <a:lnTo>
                      <a:pt x="369" y="336"/>
                    </a:lnTo>
                    <a:lnTo>
                      <a:pt x="369" y="340"/>
                    </a:lnTo>
                    <a:lnTo>
                      <a:pt x="371" y="342"/>
                    </a:lnTo>
                    <a:lnTo>
                      <a:pt x="373" y="344"/>
                    </a:lnTo>
                    <a:lnTo>
                      <a:pt x="373" y="346"/>
                    </a:lnTo>
                    <a:lnTo>
                      <a:pt x="371" y="348"/>
                    </a:lnTo>
                    <a:lnTo>
                      <a:pt x="371" y="350"/>
                    </a:lnTo>
                    <a:lnTo>
                      <a:pt x="369" y="354"/>
                    </a:lnTo>
                    <a:lnTo>
                      <a:pt x="367" y="356"/>
                    </a:lnTo>
                    <a:lnTo>
                      <a:pt x="365" y="356"/>
                    </a:lnTo>
                    <a:lnTo>
                      <a:pt x="363" y="360"/>
                    </a:lnTo>
                    <a:lnTo>
                      <a:pt x="361" y="363"/>
                    </a:lnTo>
                    <a:lnTo>
                      <a:pt x="359" y="365"/>
                    </a:lnTo>
                    <a:lnTo>
                      <a:pt x="358" y="367"/>
                    </a:lnTo>
                    <a:lnTo>
                      <a:pt x="358" y="371"/>
                    </a:lnTo>
                    <a:lnTo>
                      <a:pt x="356" y="375"/>
                    </a:lnTo>
                    <a:lnTo>
                      <a:pt x="358" y="377"/>
                    </a:lnTo>
                    <a:lnTo>
                      <a:pt x="356" y="379"/>
                    </a:lnTo>
                    <a:lnTo>
                      <a:pt x="354" y="381"/>
                    </a:lnTo>
                    <a:lnTo>
                      <a:pt x="352" y="381"/>
                    </a:lnTo>
                    <a:lnTo>
                      <a:pt x="352" y="383"/>
                    </a:lnTo>
                    <a:lnTo>
                      <a:pt x="350" y="383"/>
                    </a:lnTo>
                    <a:lnTo>
                      <a:pt x="348" y="385"/>
                    </a:lnTo>
                    <a:lnTo>
                      <a:pt x="348" y="386"/>
                    </a:lnTo>
                    <a:lnTo>
                      <a:pt x="348" y="388"/>
                    </a:lnTo>
                    <a:lnTo>
                      <a:pt x="348" y="390"/>
                    </a:lnTo>
                    <a:lnTo>
                      <a:pt x="346" y="394"/>
                    </a:lnTo>
                    <a:lnTo>
                      <a:pt x="344" y="396"/>
                    </a:lnTo>
                    <a:lnTo>
                      <a:pt x="342" y="396"/>
                    </a:lnTo>
                    <a:lnTo>
                      <a:pt x="340" y="396"/>
                    </a:lnTo>
                    <a:lnTo>
                      <a:pt x="338" y="394"/>
                    </a:lnTo>
                    <a:lnTo>
                      <a:pt x="338" y="396"/>
                    </a:lnTo>
                    <a:lnTo>
                      <a:pt x="336" y="398"/>
                    </a:lnTo>
                    <a:lnTo>
                      <a:pt x="335" y="400"/>
                    </a:lnTo>
                    <a:lnTo>
                      <a:pt x="333" y="400"/>
                    </a:lnTo>
                    <a:lnTo>
                      <a:pt x="331" y="400"/>
                    </a:lnTo>
                    <a:lnTo>
                      <a:pt x="331" y="398"/>
                    </a:lnTo>
                    <a:lnTo>
                      <a:pt x="329" y="398"/>
                    </a:lnTo>
                    <a:lnTo>
                      <a:pt x="329" y="400"/>
                    </a:lnTo>
                    <a:lnTo>
                      <a:pt x="325" y="400"/>
                    </a:lnTo>
                    <a:lnTo>
                      <a:pt x="310" y="392"/>
                    </a:lnTo>
                    <a:lnTo>
                      <a:pt x="300" y="388"/>
                    </a:lnTo>
                    <a:lnTo>
                      <a:pt x="283" y="383"/>
                    </a:lnTo>
                    <a:lnTo>
                      <a:pt x="281" y="381"/>
                    </a:lnTo>
                    <a:lnTo>
                      <a:pt x="281" y="383"/>
                    </a:lnTo>
                    <a:lnTo>
                      <a:pt x="279" y="383"/>
                    </a:lnTo>
                    <a:lnTo>
                      <a:pt x="269" y="375"/>
                    </a:lnTo>
                    <a:lnTo>
                      <a:pt x="269" y="377"/>
                    </a:lnTo>
                    <a:lnTo>
                      <a:pt x="267" y="377"/>
                    </a:lnTo>
                    <a:lnTo>
                      <a:pt x="263" y="381"/>
                    </a:lnTo>
                    <a:lnTo>
                      <a:pt x="260" y="377"/>
                    </a:lnTo>
                    <a:lnTo>
                      <a:pt x="254" y="385"/>
                    </a:lnTo>
                    <a:lnTo>
                      <a:pt x="256" y="385"/>
                    </a:lnTo>
                    <a:lnTo>
                      <a:pt x="256" y="386"/>
                    </a:lnTo>
                    <a:lnTo>
                      <a:pt x="252" y="390"/>
                    </a:lnTo>
                    <a:lnTo>
                      <a:pt x="246" y="386"/>
                    </a:lnTo>
                    <a:lnTo>
                      <a:pt x="240" y="383"/>
                    </a:lnTo>
                    <a:lnTo>
                      <a:pt x="237" y="386"/>
                    </a:lnTo>
                    <a:lnTo>
                      <a:pt x="233" y="392"/>
                    </a:lnTo>
                    <a:lnTo>
                      <a:pt x="223" y="383"/>
                    </a:lnTo>
                    <a:lnTo>
                      <a:pt x="217" y="390"/>
                    </a:lnTo>
                    <a:lnTo>
                      <a:pt x="213" y="388"/>
                    </a:lnTo>
                    <a:lnTo>
                      <a:pt x="210" y="392"/>
                    </a:lnTo>
                    <a:lnTo>
                      <a:pt x="208" y="394"/>
                    </a:lnTo>
                    <a:lnTo>
                      <a:pt x="208" y="396"/>
                    </a:lnTo>
                    <a:lnTo>
                      <a:pt x="204" y="392"/>
                    </a:lnTo>
                    <a:lnTo>
                      <a:pt x="185" y="379"/>
                    </a:lnTo>
                    <a:lnTo>
                      <a:pt x="181" y="375"/>
                    </a:lnTo>
                    <a:lnTo>
                      <a:pt x="181" y="377"/>
                    </a:lnTo>
                    <a:lnTo>
                      <a:pt x="175" y="385"/>
                    </a:lnTo>
                    <a:lnTo>
                      <a:pt x="164" y="375"/>
                    </a:lnTo>
                    <a:lnTo>
                      <a:pt x="165" y="371"/>
                    </a:lnTo>
                    <a:lnTo>
                      <a:pt x="169" y="367"/>
                    </a:lnTo>
                    <a:lnTo>
                      <a:pt x="164" y="363"/>
                    </a:lnTo>
                    <a:lnTo>
                      <a:pt x="156" y="358"/>
                    </a:lnTo>
                    <a:lnTo>
                      <a:pt x="154" y="360"/>
                    </a:lnTo>
                    <a:lnTo>
                      <a:pt x="150" y="365"/>
                    </a:lnTo>
                    <a:lnTo>
                      <a:pt x="144" y="361"/>
                    </a:lnTo>
                    <a:lnTo>
                      <a:pt x="142" y="358"/>
                    </a:lnTo>
                    <a:lnTo>
                      <a:pt x="135" y="365"/>
                    </a:lnTo>
                    <a:lnTo>
                      <a:pt x="133" y="363"/>
                    </a:lnTo>
                    <a:lnTo>
                      <a:pt x="125" y="358"/>
                    </a:lnTo>
                    <a:lnTo>
                      <a:pt x="123" y="361"/>
                    </a:lnTo>
                    <a:lnTo>
                      <a:pt x="117" y="367"/>
                    </a:lnTo>
                    <a:lnTo>
                      <a:pt x="114" y="373"/>
                    </a:lnTo>
                    <a:lnTo>
                      <a:pt x="115" y="377"/>
                    </a:lnTo>
                    <a:lnTo>
                      <a:pt x="119" y="379"/>
                    </a:lnTo>
                    <a:lnTo>
                      <a:pt x="123" y="381"/>
                    </a:lnTo>
                    <a:lnTo>
                      <a:pt x="119" y="385"/>
                    </a:lnTo>
                    <a:lnTo>
                      <a:pt x="121" y="386"/>
                    </a:lnTo>
                    <a:lnTo>
                      <a:pt x="125" y="390"/>
                    </a:lnTo>
                    <a:lnTo>
                      <a:pt x="123" y="390"/>
                    </a:lnTo>
                    <a:lnTo>
                      <a:pt x="121" y="394"/>
                    </a:lnTo>
                    <a:lnTo>
                      <a:pt x="123" y="394"/>
                    </a:lnTo>
                    <a:lnTo>
                      <a:pt x="119" y="400"/>
                    </a:lnTo>
                    <a:lnTo>
                      <a:pt x="117" y="402"/>
                    </a:lnTo>
                    <a:lnTo>
                      <a:pt x="117" y="400"/>
                    </a:lnTo>
                    <a:lnTo>
                      <a:pt x="114" y="394"/>
                    </a:lnTo>
                    <a:lnTo>
                      <a:pt x="112" y="394"/>
                    </a:lnTo>
                    <a:lnTo>
                      <a:pt x="110" y="394"/>
                    </a:lnTo>
                    <a:lnTo>
                      <a:pt x="108" y="396"/>
                    </a:lnTo>
                    <a:lnTo>
                      <a:pt x="106" y="398"/>
                    </a:lnTo>
                    <a:lnTo>
                      <a:pt x="104" y="400"/>
                    </a:lnTo>
                    <a:lnTo>
                      <a:pt x="102" y="402"/>
                    </a:lnTo>
                    <a:lnTo>
                      <a:pt x="100" y="402"/>
                    </a:lnTo>
                    <a:lnTo>
                      <a:pt x="100" y="404"/>
                    </a:lnTo>
                    <a:lnTo>
                      <a:pt x="98" y="404"/>
                    </a:lnTo>
                    <a:lnTo>
                      <a:pt x="96" y="406"/>
                    </a:lnTo>
                    <a:lnTo>
                      <a:pt x="94" y="406"/>
                    </a:lnTo>
                    <a:lnTo>
                      <a:pt x="92" y="408"/>
                    </a:lnTo>
                    <a:lnTo>
                      <a:pt x="91" y="408"/>
                    </a:lnTo>
                    <a:lnTo>
                      <a:pt x="91" y="410"/>
                    </a:lnTo>
                    <a:lnTo>
                      <a:pt x="89" y="410"/>
                    </a:lnTo>
                    <a:lnTo>
                      <a:pt x="87" y="410"/>
                    </a:lnTo>
                    <a:lnTo>
                      <a:pt x="85" y="410"/>
                    </a:lnTo>
                    <a:lnTo>
                      <a:pt x="85" y="408"/>
                    </a:lnTo>
                    <a:lnTo>
                      <a:pt x="87" y="404"/>
                    </a:lnTo>
                    <a:lnTo>
                      <a:pt x="85" y="404"/>
                    </a:lnTo>
                    <a:lnTo>
                      <a:pt x="85" y="402"/>
                    </a:lnTo>
                    <a:lnTo>
                      <a:pt x="83" y="400"/>
                    </a:lnTo>
                    <a:lnTo>
                      <a:pt x="83" y="398"/>
                    </a:lnTo>
                    <a:lnTo>
                      <a:pt x="81" y="398"/>
                    </a:lnTo>
                    <a:lnTo>
                      <a:pt x="77" y="398"/>
                    </a:lnTo>
                    <a:lnTo>
                      <a:pt x="77" y="400"/>
                    </a:lnTo>
                    <a:lnTo>
                      <a:pt x="75" y="400"/>
                    </a:lnTo>
                    <a:lnTo>
                      <a:pt x="73" y="402"/>
                    </a:lnTo>
                    <a:lnTo>
                      <a:pt x="71" y="402"/>
                    </a:lnTo>
                    <a:lnTo>
                      <a:pt x="69" y="402"/>
                    </a:lnTo>
                    <a:lnTo>
                      <a:pt x="69" y="404"/>
                    </a:lnTo>
                    <a:lnTo>
                      <a:pt x="67" y="406"/>
                    </a:lnTo>
                    <a:lnTo>
                      <a:pt x="66" y="404"/>
                    </a:lnTo>
                    <a:lnTo>
                      <a:pt x="56" y="402"/>
                    </a:lnTo>
                    <a:lnTo>
                      <a:pt x="54" y="400"/>
                    </a:lnTo>
                    <a:lnTo>
                      <a:pt x="52" y="402"/>
                    </a:lnTo>
                    <a:lnTo>
                      <a:pt x="48" y="404"/>
                    </a:lnTo>
                    <a:lnTo>
                      <a:pt x="46" y="402"/>
                    </a:lnTo>
                    <a:lnTo>
                      <a:pt x="44" y="402"/>
                    </a:lnTo>
                    <a:lnTo>
                      <a:pt x="44" y="400"/>
                    </a:lnTo>
                    <a:lnTo>
                      <a:pt x="42" y="400"/>
                    </a:lnTo>
                    <a:lnTo>
                      <a:pt x="41" y="400"/>
                    </a:lnTo>
                    <a:lnTo>
                      <a:pt x="41" y="402"/>
                    </a:lnTo>
                    <a:lnTo>
                      <a:pt x="41" y="404"/>
                    </a:lnTo>
                    <a:lnTo>
                      <a:pt x="41" y="406"/>
                    </a:lnTo>
                    <a:lnTo>
                      <a:pt x="39" y="406"/>
                    </a:lnTo>
                    <a:lnTo>
                      <a:pt x="37" y="406"/>
                    </a:lnTo>
                    <a:lnTo>
                      <a:pt x="35" y="404"/>
                    </a:lnTo>
                    <a:lnTo>
                      <a:pt x="33" y="406"/>
                    </a:lnTo>
                    <a:lnTo>
                      <a:pt x="27" y="413"/>
                    </a:lnTo>
                    <a:lnTo>
                      <a:pt x="29" y="415"/>
                    </a:lnTo>
                    <a:lnTo>
                      <a:pt x="27" y="419"/>
                    </a:lnTo>
                    <a:lnTo>
                      <a:pt x="25" y="421"/>
                    </a:lnTo>
                    <a:lnTo>
                      <a:pt x="27" y="423"/>
                    </a:lnTo>
                    <a:lnTo>
                      <a:pt x="23" y="427"/>
                    </a:lnTo>
                    <a:lnTo>
                      <a:pt x="19" y="431"/>
                    </a:lnTo>
                    <a:lnTo>
                      <a:pt x="19" y="429"/>
                    </a:lnTo>
                    <a:lnTo>
                      <a:pt x="18" y="431"/>
                    </a:lnTo>
                    <a:lnTo>
                      <a:pt x="14" y="427"/>
                    </a:lnTo>
                    <a:lnTo>
                      <a:pt x="12" y="427"/>
                    </a:lnTo>
                    <a:lnTo>
                      <a:pt x="14" y="425"/>
                    </a:lnTo>
                    <a:lnTo>
                      <a:pt x="14" y="423"/>
                    </a:lnTo>
                    <a:lnTo>
                      <a:pt x="18" y="419"/>
                    </a:lnTo>
                    <a:lnTo>
                      <a:pt x="19" y="417"/>
                    </a:lnTo>
                    <a:lnTo>
                      <a:pt x="18" y="415"/>
                    </a:lnTo>
                    <a:lnTo>
                      <a:pt x="14" y="411"/>
                    </a:lnTo>
                    <a:lnTo>
                      <a:pt x="16" y="410"/>
                    </a:lnTo>
                    <a:lnTo>
                      <a:pt x="14" y="408"/>
                    </a:lnTo>
                    <a:lnTo>
                      <a:pt x="12" y="408"/>
                    </a:lnTo>
                    <a:lnTo>
                      <a:pt x="12" y="406"/>
                    </a:lnTo>
                    <a:lnTo>
                      <a:pt x="12" y="404"/>
                    </a:lnTo>
                    <a:lnTo>
                      <a:pt x="10" y="404"/>
                    </a:lnTo>
                    <a:lnTo>
                      <a:pt x="8" y="406"/>
                    </a:lnTo>
                    <a:lnTo>
                      <a:pt x="8" y="404"/>
                    </a:lnTo>
                    <a:lnTo>
                      <a:pt x="12" y="398"/>
                    </a:lnTo>
                    <a:lnTo>
                      <a:pt x="14" y="394"/>
                    </a:lnTo>
                    <a:lnTo>
                      <a:pt x="14" y="392"/>
                    </a:lnTo>
                    <a:lnTo>
                      <a:pt x="10" y="390"/>
                    </a:lnTo>
                    <a:lnTo>
                      <a:pt x="4" y="386"/>
                    </a:lnTo>
                    <a:lnTo>
                      <a:pt x="0" y="383"/>
                    </a:lnTo>
                    <a:lnTo>
                      <a:pt x="0" y="381"/>
                    </a:lnTo>
                    <a:lnTo>
                      <a:pt x="2" y="377"/>
                    </a:lnTo>
                    <a:lnTo>
                      <a:pt x="4" y="377"/>
                    </a:lnTo>
                    <a:lnTo>
                      <a:pt x="4" y="375"/>
                    </a:lnTo>
                    <a:lnTo>
                      <a:pt x="6" y="373"/>
                    </a:lnTo>
                    <a:lnTo>
                      <a:pt x="6" y="369"/>
                    </a:lnTo>
                    <a:lnTo>
                      <a:pt x="8" y="367"/>
                    </a:lnTo>
                    <a:lnTo>
                      <a:pt x="8" y="365"/>
                    </a:lnTo>
                    <a:lnTo>
                      <a:pt x="10" y="365"/>
                    </a:lnTo>
                    <a:lnTo>
                      <a:pt x="8" y="363"/>
                    </a:lnTo>
                    <a:lnTo>
                      <a:pt x="10" y="361"/>
                    </a:lnTo>
                    <a:lnTo>
                      <a:pt x="10" y="360"/>
                    </a:lnTo>
                    <a:lnTo>
                      <a:pt x="12" y="360"/>
                    </a:lnTo>
                    <a:lnTo>
                      <a:pt x="12" y="358"/>
                    </a:lnTo>
                    <a:lnTo>
                      <a:pt x="14" y="354"/>
                    </a:lnTo>
                    <a:lnTo>
                      <a:pt x="16" y="354"/>
                    </a:lnTo>
                    <a:lnTo>
                      <a:pt x="19" y="352"/>
                    </a:lnTo>
                    <a:lnTo>
                      <a:pt x="21" y="352"/>
                    </a:lnTo>
                    <a:lnTo>
                      <a:pt x="23" y="352"/>
                    </a:lnTo>
                    <a:lnTo>
                      <a:pt x="25" y="350"/>
                    </a:lnTo>
                    <a:lnTo>
                      <a:pt x="27" y="348"/>
                    </a:lnTo>
                    <a:lnTo>
                      <a:pt x="25" y="348"/>
                    </a:lnTo>
                    <a:lnTo>
                      <a:pt x="25" y="346"/>
                    </a:lnTo>
                    <a:lnTo>
                      <a:pt x="25" y="344"/>
                    </a:lnTo>
                    <a:lnTo>
                      <a:pt x="21" y="342"/>
                    </a:lnTo>
                    <a:lnTo>
                      <a:pt x="23" y="342"/>
                    </a:lnTo>
                    <a:lnTo>
                      <a:pt x="25" y="342"/>
                    </a:lnTo>
                    <a:lnTo>
                      <a:pt x="23" y="342"/>
                    </a:lnTo>
                    <a:lnTo>
                      <a:pt x="23" y="340"/>
                    </a:lnTo>
                    <a:lnTo>
                      <a:pt x="23" y="338"/>
                    </a:lnTo>
                    <a:lnTo>
                      <a:pt x="23" y="336"/>
                    </a:lnTo>
                    <a:lnTo>
                      <a:pt x="23" y="338"/>
                    </a:lnTo>
                    <a:lnTo>
                      <a:pt x="25" y="336"/>
                    </a:lnTo>
                    <a:lnTo>
                      <a:pt x="23" y="335"/>
                    </a:lnTo>
                    <a:lnTo>
                      <a:pt x="27" y="335"/>
                    </a:lnTo>
                    <a:lnTo>
                      <a:pt x="27" y="331"/>
                    </a:lnTo>
                    <a:lnTo>
                      <a:pt x="27" y="329"/>
                    </a:lnTo>
                    <a:lnTo>
                      <a:pt x="29" y="323"/>
                    </a:lnTo>
                    <a:lnTo>
                      <a:pt x="31" y="319"/>
                    </a:lnTo>
                    <a:lnTo>
                      <a:pt x="31" y="317"/>
                    </a:lnTo>
                    <a:lnTo>
                      <a:pt x="31" y="315"/>
                    </a:lnTo>
                    <a:lnTo>
                      <a:pt x="33" y="311"/>
                    </a:lnTo>
                    <a:lnTo>
                      <a:pt x="39" y="304"/>
                    </a:lnTo>
                    <a:lnTo>
                      <a:pt x="41" y="304"/>
                    </a:lnTo>
                    <a:lnTo>
                      <a:pt x="50" y="304"/>
                    </a:lnTo>
                    <a:lnTo>
                      <a:pt x="52" y="304"/>
                    </a:lnTo>
                    <a:lnTo>
                      <a:pt x="54" y="304"/>
                    </a:lnTo>
                    <a:lnTo>
                      <a:pt x="54" y="306"/>
                    </a:lnTo>
                    <a:lnTo>
                      <a:pt x="60" y="304"/>
                    </a:lnTo>
                    <a:lnTo>
                      <a:pt x="66" y="308"/>
                    </a:lnTo>
                    <a:lnTo>
                      <a:pt x="67" y="304"/>
                    </a:lnTo>
                    <a:lnTo>
                      <a:pt x="83" y="285"/>
                    </a:lnTo>
                    <a:lnTo>
                      <a:pt x="79" y="281"/>
                    </a:lnTo>
                    <a:lnTo>
                      <a:pt x="77" y="281"/>
                    </a:lnTo>
                    <a:lnTo>
                      <a:pt x="73" y="277"/>
                    </a:lnTo>
                    <a:lnTo>
                      <a:pt x="71" y="275"/>
                    </a:lnTo>
                    <a:lnTo>
                      <a:pt x="73" y="275"/>
                    </a:lnTo>
                    <a:lnTo>
                      <a:pt x="75" y="273"/>
                    </a:lnTo>
                    <a:lnTo>
                      <a:pt x="85" y="260"/>
                    </a:lnTo>
                    <a:lnTo>
                      <a:pt x="87" y="256"/>
                    </a:lnTo>
                    <a:lnTo>
                      <a:pt x="91" y="252"/>
                    </a:lnTo>
                    <a:lnTo>
                      <a:pt x="92" y="252"/>
                    </a:lnTo>
                    <a:close/>
                    <a:moveTo>
                      <a:pt x="377" y="146"/>
                    </a:moveTo>
                    <a:lnTo>
                      <a:pt x="375" y="146"/>
                    </a:lnTo>
                    <a:lnTo>
                      <a:pt x="377" y="146"/>
                    </a:lnTo>
                    <a:close/>
                    <a:moveTo>
                      <a:pt x="429" y="154"/>
                    </a:moveTo>
                    <a:lnTo>
                      <a:pt x="429" y="152"/>
                    </a:lnTo>
                    <a:lnTo>
                      <a:pt x="431" y="152"/>
                    </a:lnTo>
                    <a:lnTo>
                      <a:pt x="429" y="152"/>
                    </a:lnTo>
                    <a:lnTo>
                      <a:pt x="429" y="154"/>
                    </a:lnTo>
                    <a:lnTo>
                      <a:pt x="427" y="154"/>
                    </a:lnTo>
                    <a:lnTo>
                      <a:pt x="429" y="154"/>
                    </a:lnTo>
                    <a:lnTo>
                      <a:pt x="429" y="156"/>
                    </a:lnTo>
                    <a:lnTo>
                      <a:pt x="427" y="156"/>
                    </a:lnTo>
                    <a:lnTo>
                      <a:pt x="427" y="154"/>
                    </a:lnTo>
                    <a:lnTo>
                      <a:pt x="427" y="156"/>
                    </a:lnTo>
                    <a:lnTo>
                      <a:pt x="429" y="156"/>
                    </a:lnTo>
                    <a:lnTo>
                      <a:pt x="429" y="154"/>
                    </a:lnTo>
                    <a:lnTo>
                      <a:pt x="427" y="154"/>
                    </a:lnTo>
                    <a:lnTo>
                      <a:pt x="429" y="154"/>
                    </a:lnTo>
                    <a:close/>
                    <a:moveTo>
                      <a:pt x="294" y="35"/>
                    </a:moveTo>
                    <a:lnTo>
                      <a:pt x="294" y="33"/>
                    </a:lnTo>
                    <a:lnTo>
                      <a:pt x="294" y="35"/>
                    </a:lnTo>
                    <a:close/>
                    <a:moveTo>
                      <a:pt x="281" y="69"/>
                    </a:moveTo>
                    <a:lnTo>
                      <a:pt x="279" y="69"/>
                    </a:lnTo>
                    <a:lnTo>
                      <a:pt x="281" y="69"/>
                    </a:lnTo>
                    <a:lnTo>
                      <a:pt x="279" y="69"/>
                    </a:lnTo>
                    <a:lnTo>
                      <a:pt x="281" y="69"/>
                    </a:lnTo>
                    <a:close/>
                    <a:moveTo>
                      <a:pt x="335" y="238"/>
                    </a:moveTo>
                    <a:lnTo>
                      <a:pt x="335" y="237"/>
                    </a:lnTo>
                    <a:lnTo>
                      <a:pt x="335" y="238"/>
                    </a:lnTo>
                    <a:close/>
                    <a:moveTo>
                      <a:pt x="329" y="106"/>
                    </a:moveTo>
                    <a:lnTo>
                      <a:pt x="329" y="108"/>
                    </a:lnTo>
                    <a:lnTo>
                      <a:pt x="329" y="106"/>
                    </a:lnTo>
                    <a:close/>
                    <a:moveTo>
                      <a:pt x="383" y="113"/>
                    </a:moveTo>
                    <a:lnTo>
                      <a:pt x="381" y="113"/>
                    </a:lnTo>
                    <a:lnTo>
                      <a:pt x="383" y="113"/>
                    </a:lnTo>
                    <a:close/>
                    <a:moveTo>
                      <a:pt x="281" y="117"/>
                    </a:moveTo>
                    <a:lnTo>
                      <a:pt x="281" y="119"/>
                    </a:lnTo>
                    <a:lnTo>
                      <a:pt x="281" y="117"/>
                    </a:lnTo>
                    <a:close/>
                    <a:moveTo>
                      <a:pt x="269" y="69"/>
                    </a:moveTo>
                    <a:lnTo>
                      <a:pt x="269" y="67"/>
                    </a:lnTo>
                    <a:lnTo>
                      <a:pt x="269" y="6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0" name="Freeform 100"/>
              <p:cNvSpPr>
                <a:spLocks noEditPoints="1"/>
              </p:cNvSpPr>
              <p:nvPr/>
            </p:nvSpPr>
            <p:spPr bwMode="auto">
              <a:xfrm>
                <a:off x="2072636" y="1724710"/>
                <a:ext cx="426715" cy="523070"/>
              </a:xfrm>
              <a:custGeom>
                <a:avLst/>
                <a:gdLst>
                  <a:gd name="T0" fmla="*/ 36 w 248"/>
                  <a:gd name="T1" fmla="*/ 279 h 304"/>
                  <a:gd name="T2" fmla="*/ 54 w 248"/>
                  <a:gd name="T3" fmla="*/ 263 h 304"/>
                  <a:gd name="T4" fmla="*/ 65 w 248"/>
                  <a:gd name="T5" fmla="*/ 246 h 304"/>
                  <a:gd name="T6" fmla="*/ 105 w 248"/>
                  <a:gd name="T7" fmla="*/ 225 h 304"/>
                  <a:gd name="T8" fmla="*/ 125 w 248"/>
                  <a:gd name="T9" fmla="*/ 184 h 304"/>
                  <a:gd name="T10" fmla="*/ 32 w 248"/>
                  <a:gd name="T11" fmla="*/ 127 h 304"/>
                  <a:gd name="T12" fmla="*/ 113 w 248"/>
                  <a:gd name="T13" fmla="*/ 159 h 304"/>
                  <a:gd name="T14" fmla="*/ 115 w 248"/>
                  <a:gd name="T15" fmla="*/ 154 h 304"/>
                  <a:gd name="T16" fmla="*/ 23 w 248"/>
                  <a:gd name="T17" fmla="*/ 111 h 304"/>
                  <a:gd name="T18" fmla="*/ 19 w 248"/>
                  <a:gd name="T19" fmla="*/ 104 h 304"/>
                  <a:gd name="T20" fmla="*/ 29 w 248"/>
                  <a:gd name="T21" fmla="*/ 109 h 304"/>
                  <a:gd name="T22" fmla="*/ 15 w 248"/>
                  <a:gd name="T23" fmla="*/ 100 h 304"/>
                  <a:gd name="T24" fmla="*/ 13 w 248"/>
                  <a:gd name="T25" fmla="*/ 100 h 304"/>
                  <a:gd name="T26" fmla="*/ 9 w 248"/>
                  <a:gd name="T27" fmla="*/ 96 h 304"/>
                  <a:gd name="T28" fmla="*/ 121 w 248"/>
                  <a:gd name="T29" fmla="*/ 144 h 304"/>
                  <a:gd name="T30" fmla="*/ 121 w 248"/>
                  <a:gd name="T31" fmla="*/ 144 h 304"/>
                  <a:gd name="T32" fmla="*/ 8 w 248"/>
                  <a:gd name="T33" fmla="*/ 94 h 304"/>
                  <a:gd name="T34" fmla="*/ 2 w 248"/>
                  <a:gd name="T35" fmla="*/ 92 h 304"/>
                  <a:gd name="T36" fmla="*/ 38 w 248"/>
                  <a:gd name="T37" fmla="*/ 108 h 304"/>
                  <a:gd name="T38" fmla="*/ 44 w 248"/>
                  <a:gd name="T39" fmla="*/ 109 h 304"/>
                  <a:gd name="T40" fmla="*/ 44 w 248"/>
                  <a:gd name="T41" fmla="*/ 108 h 304"/>
                  <a:gd name="T42" fmla="*/ 52 w 248"/>
                  <a:gd name="T43" fmla="*/ 111 h 304"/>
                  <a:gd name="T44" fmla="*/ 123 w 248"/>
                  <a:gd name="T45" fmla="*/ 138 h 304"/>
                  <a:gd name="T46" fmla="*/ 123 w 248"/>
                  <a:gd name="T47" fmla="*/ 134 h 304"/>
                  <a:gd name="T48" fmla="*/ 125 w 248"/>
                  <a:gd name="T49" fmla="*/ 133 h 304"/>
                  <a:gd name="T50" fmla="*/ 121 w 248"/>
                  <a:gd name="T51" fmla="*/ 131 h 304"/>
                  <a:gd name="T52" fmla="*/ 119 w 248"/>
                  <a:gd name="T53" fmla="*/ 129 h 304"/>
                  <a:gd name="T54" fmla="*/ 6 w 248"/>
                  <a:gd name="T55" fmla="*/ 81 h 304"/>
                  <a:gd name="T56" fmla="*/ 6 w 248"/>
                  <a:gd name="T57" fmla="*/ 81 h 304"/>
                  <a:gd name="T58" fmla="*/ 71 w 248"/>
                  <a:gd name="T59" fmla="*/ 104 h 304"/>
                  <a:gd name="T60" fmla="*/ 73 w 248"/>
                  <a:gd name="T61" fmla="*/ 102 h 304"/>
                  <a:gd name="T62" fmla="*/ 11 w 248"/>
                  <a:gd name="T63" fmla="*/ 71 h 304"/>
                  <a:gd name="T64" fmla="*/ 15 w 248"/>
                  <a:gd name="T65" fmla="*/ 71 h 304"/>
                  <a:gd name="T66" fmla="*/ 82 w 248"/>
                  <a:gd name="T67" fmla="*/ 96 h 304"/>
                  <a:gd name="T68" fmla="*/ 127 w 248"/>
                  <a:gd name="T69" fmla="*/ 115 h 304"/>
                  <a:gd name="T70" fmla="*/ 82 w 248"/>
                  <a:gd name="T71" fmla="*/ 96 h 304"/>
                  <a:gd name="T72" fmla="*/ 17 w 248"/>
                  <a:gd name="T73" fmla="*/ 67 h 304"/>
                  <a:gd name="T74" fmla="*/ 136 w 248"/>
                  <a:gd name="T75" fmla="*/ 115 h 304"/>
                  <a:gd name="T76" fmla="*/ 25 w 248"/>
                  <a:gd name="T77" fmla="*/ 65 h 304"/>
                  <a:gd name="T78" fmla="*/ 155 w 248"/>
                  <a:gd name="T79" fmla="*/ 119 h 304"/>
                  <a:gd name="T80" fmla="*/ 27 w 248"/>
                  <a:gd name="T81" fmla="*/ 61 h 304"/>
                  <a:gd name="T82" fmla="*/ 27 w 248"/>
                  <a:gd name="T83" fmla="*/ 63 h 304"/>
                  <a:gd name="T84" fmla="*/ 90 w 248"/>
                  <a:gd name="T85" fmla="*/ 86 h 304"/>
                  <a:gd name="T86" fmla="*/ 161 w 248"/>
                  <a:gd name="T87" fmla="*/ 119 h 304"/>
                  <a:gd name="T88" fmla="*/ 161 w 248"/>
                  <a:gd name="T89" fmla="*/ 113 h 304"/>
                  <a:gd name="T90" fmla="*/ 96 w 248"/>
                  <a:gd name="T91" fmla="*/ 83 h 304"/>
                  <a:gd name="T92" fmla="*/ 127 w 248"/>
                  <a:gd name="T93" fmla="*/ 92 h 304"/>
                  <a:gd name="T94" fmla="*/ 127 w 248"/>
                  <a:gd name="T95" fmla="*/ 92 h 304"/>
                  <a:gd name="T96" fmla="*/ 171 w 248"/>
                  <a:gd name="T97" fmla="*/ 109 h 304"/>
                  <a:gd name="T98" fmla="*/ 129 w 248"/>
                  <a:gd name="T99" fmla="*/ 88 h 304"/>
                  <a:gd name="T100" fmla="*/ 129 w 248"/>
                  <a:gd name="T101" fmla="*/ 86 h 304"/>
                  <a:gd name="T102" fmla="*/ 123 w 248"/>
                  <a:gd name="T103" fmla="*/ 83 h 304"/>
                  <a:gd name="T104" fmla="*/ 113 w 248"/>
                  <a:gd name="T105" fmla="*/ 79 h 304"/>
                  <a:gd name="T106" fmla="*/ 117 w 248"/>
                  <a:gd name="T107" fmla="*/ 79 h 304"/>
                  <a:gd name="T108" fmla="*/ 129 w 248"/>
                  <a:gd name="T109" fmla="*/ 83 h 304"/>
                  <a:gd name="T110" fmla="*/ 190 w 248"/>
                  <a:gd name="T111" fmla="*/ 104 h 304"/>
                  <a:gd name="T112" fmla="*/ 36 w 248"/>
                  <a:gd name="T113" fmla="*/ 38 h 304"/>
                  <a:gd name="T114" fmla="*/ 207 w 248"/>
                  <a:gd name="T115" fmla="*/ 106 h 304"/>
                  <a:gd name="T116" fmla="*/ 36 w 248"/>
                  <a:gd name="T117" fmla="*/ 33 h 304"/>
                  <a:gd name="T118" fmla="*/ 203 w 248"/>
                  <a:gd name="T119" fmla="*/ 98 h 304"/>
                  <a:gd name="T120" fmla="*/ 42 w 248"/>
                  <a:gd name="T121" fmla="*/ 15 h 304"/>
                  <a:gd name="T122" fmla="*/ 46 w 248"/>
                  <a:gd name="T123" fmla="*/ 9 h 304"/>
                  <a:gd name="T124" fmla="*/ 52 w 248"/>
                  <a:gd name="T125" fmla="*/ 4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8" h="304">
                    <a:moveTo>
                      <a:pt x="40" y="304"/>
                    </a:moveTo>
                    <a:lnTo>
                      <a:pt x="38" y="302"/>
                    </a:lnTo>
                    <a:lnTo>
                      <a:pt x="40" y="302"/>
                    </a:lnTo>
                    <a:lnTo>
                      <a:pt x="40" y="304"/>
                    </a:lnTo>
                    <a:close/>
                    <a:moveTo>
                      <a:pt x="38" y="286"/>
                    </a:moveTo>
                    <a:lnTo>
                      <a:pt x="38" y="284"/>
                    </a:lnTo>
                    <a:lnTo>
                      <a:pt x="38" y="286"/>
                    </a:lnTo>
                    <a:close/>
                    <a:moveTo>
                      <a:pt x="36" y="279"/>
                    </a:moveTo>
                    <a:lnTo>
                      <a:pt x="36" y="281"/>
                    </a:lnTo>
                    <a:lnTo>
                      <a:pt x="38" y="281"/>
                    </a:lnTo>
                    <a:lnTo>
                      <a:pt x="36" y="281"/>
                    </a:lnTo>
                    <a:lnTo>
                      <a:pt x="36" y="279"/>
                    </a:lnTo>
                    <a:close/>
                    <a:moveTo>
                      <a:pt x="36" y="265"/>
                    </a:moveTo>
                    <a:lnTo>
                      <a:pt x="36" y="263"/>
                    </a:lnTo>
                    <a:lnTo>
                      <a:pt x="36" y="265"/>
                    </a:lnTo>
                    <a:close/>
                    <a:moveTo>
                      <a:pt x="54" y="263"/>
                    </a:moveTo>
                    <a:lnTo>
                      <a:pt x="54" y="261"/>
                    </a:lnTo>
                    <a:lnTo>
                      <a:pt x="54" y="263"/>
                    </a:lnTo>
                    <a:close/>
                    <a:moveTo>
                      <a:pt x="61" y="256"/>
                    </a:moveTo>
                    <a:lnTo>
                      <a:pt x="61" y="254"/>
                    </a:lnTo>
                    <a:lnTo>
                      <a:pt x="61" y="256"/>
                    </a:lnTo>
                    <a:close/>
                    <a:moveTo>
                      <a:pt x="65" y="246"/>
                    </a:moveTo>
                    <a:lnTo>
                      <a:pt x="67" y="244"/>
                    </a:lnTo>
                    <a:lnTo>
                      <a:pt x="65" y="246"/>
                    </a:lnTo>
                    <a:close/>
                    <a:moveTo>
                      <a:pt x="98" y="236"/>
                    </a:moveTo>
                    <a:lnTo>
                      <a:pt x="98" y="234"/>
                    </a:lnTo>
                    <a:lnTo>
                      <a:pt x="98" y="236"/>
                    </a:lnTo>
                    <a:close/>
                    <a:moveTo>
                      <a:pt x="104" y="229"/>
                    </a:moveTo>
                    <a:lnTo>
                      <a:pt x="104" y="227"/>
                    </a:lnTo>
                    <a:lnTo>
                      <a:pt x="104" y="229"/>
                    </a:lnTo>
                    <a:close/>
                    <a:moveTo>
                      <a:pt x="104" y="225"/>
                    </a:moveTo>
                    <a:lnTo>
                      <a:pt x="105" y="225"/>
                    </a:lnTo>
                    <a:lnTo>
                      <a:pt x="104" y="225"/>
                    </a:lnTo>
                    <a:close/>
                    <a:moveTo>
                      <a:pt x="111" y="211"/>
                    </a:moveTo>
                    <a:lnTo>
                      <a:pt x="111" y="209"/>
                    </a:lnTo>
                    <a:lnTo>
                      <a:pt x="113" y="209"/>
                    </a:lnTo>
                    <a:lnTo>
                      <a:pt x="111" y="211"/>
                    </a:lnTo>
                    <a:close/>
                    <a:moveTo>
                      <a:pt x="127" y="186"/>
                    </a:moveTo>
                    <a:lnTo>
                      <a:pt x="125" y="186"/>
                    </a:lnTo>
                    <a:lnTo>
                      <a:pt x="125" y="184"/>
                    </a:lnTo>
                    <a:lnTo>
                      <a:pt x="127" y="186"/>
                    </a:lnTo>
                    <a:close/>
                    <a:moveTo>
                      <a:pt x="115" y="161"/>
                    </a:moveTo>
                    <a:lnTo>
                      <a:pt x="113" y="161"/>
                    </a:lnTo>
                    <a:lnTo>
                      <a:pt x="115" y="161"/>
                    </a:lnTo>
                    <a:close/>
                    <a:moveTo>
                      <a:pt x="113" y="161"/>
                    </a:moveTo>
                    <a:lnTo>
                      <a:pt x="115" y="161"/>
                    </a:lnTo>
                    <a:lnTo>
                      <a:pt x="113" y="161"/>
                    </a:lnTo>
                    <a:close/>
                    <a:moveTo>
                      <a:pt x="32" y="127"/>
                    </a:moveTo>
                    <a:lnTo>
                      <a:pt x="34" y="127"/>
                    </a:lnTo>
                    <a:lnTo>
                      <a:pt x="36" y="129"/>
                    </a:lnTo>
                    <a:lnTo>
                      <a:pt x="36" y="131"/>
                    </a:lnTo>
                    <a:lnTo>
                      <a:pt x="34" y="131"/>
                    </a:lnTo>
                    <a:lnTo>
                      <a:pt x="34" y="129"/>
                    </a:lnTo>
                    <a:lnTo>
                      <a:pt x="34" y="127"/>
                    </a:lnTo>
                    <a:lnTo>
                      <a:pt x="32" y="127"/>
                    </a:lnTo>
                    <a:close/>
                    <a:moveTo>
                      <a:pt x="113" y="159"/>
                    </a:moveTo>
                    <a:lnTo>
                      <a:pt x="113" y="158"/>
                    </a:lnTo>
                    <a:lnTo>
                      <a:pt x="113" y="159"/>
                    </a:lnTo>
                    <a:close/>
                    <a:moveTo>
                      <a:pt x="117" y="154"/>
                    </a:moveTo>
                    <a:lnTo>
                      <a:pt x="115" y="154"/>
                    </a:lnTo>
                    <a:lnTo>
                      <a:pt x="117" y="154"/>
                    </a:lnTo>
                    <a:close/>
                    <a:moveTo>
                      <a:pt x="117" y="152"/>
                    </a:moveTo>
                    <a:lnTo>
                      <a:pt x="117" y="154"/>
                    </a:lnTo>
                    <a:lnTo>
                      <a:pt x="115" y="154"/>
                    </a:lnTo>
                    <a:lnTo>
                      <a:pt x="117" y="152"/>
                    </a:lnTo>
                    <a:close/>
                    <a:moveTo>
                      <a:pt x="17" y="109"/>
                    </a:moveTo>
                    <a:lnTo>
                      <a:pt x="17" y="108"/>
                    </a:lnTo>
                    <a:lnTo>
                      <a:pt x="17" y="109"/>
                    </a:lnTo>
                    <a:close/>
                    <a:moveTo>
                      <a:pt x="21" y="111"/>
                    </a:moveTo>
                    <a:lnTo>
                      <a:pt x="21" y="109"/>
                    </a:lnTo>
                    <a:lnTo>
                      <a:pt x="23" y="109"/>
                    </a:lnTo>
                    <a:lnTo>
                      <a:pt x="23" y="111"/>
                    </a:lnTo>
                    <a:lnTo>
                      <a:pt x="21" y="111"/>
                    </a:lnTo>
                    <a:close/>
                    <a:moveTo>
                      <a:pt x="29" y="109"/>
                    </a:moveTo>
                    <a:lnTo>
                      <a:pt x="27" y="109"/>
                    </a:lnTo>
                    <a:lnTo>
                      <a:pt x="29" y="109"/>
                    </a:lnTo>
                    <a:close/>
                    <a:moveTo>
                      <a:pt x="19" y="104"/>
                    </a:moveTo>
                    <a:lnTo>
                      <a:pt x="19" y="106"/>
                    </a:lnTo>
                    <a:lnTo>
                      <a:pt x="17" y="106"/>
                    </a:lnTo>
                    <a:lnTo>
                      <a:pt x="19" y="104"/>
                    </a:lnTo>
                    <a:close/>
                    <a:moveTo>
                      <a:pt x="19" y="104"/>
                    </a:moveTo>
                    <a:lnTo>
                      <a:pt x="17" y="104"/>
                    </a:lnTo>
                    <a:lnTo>
                      <a:pt x="19" y="104"/>
                    </a:lnTo>
                    <a:lnTo>
                      <a:pt x="17" y="104"/>
                    </a:lnTo>
                    <a:lnTo>
                      <a:pt x="19" y="104"/>
                    </a:lnTo>
                    <a:close/>
                    <a:moveTo>
                      <a:pt x="31" y="108"/>
                    </a:moveTo>
                    <a:lnTo>
                      <a:pt x="31" y="109"/>
                    </a:lnTo>
                    <a:lnTo>
                      <a:pt x="29" y="109"/>
                    </a:lnTo>
                    <a:lnTo>
                      <a:pt x="29" y="108"/>
                    </a:lnTo>
                    <a:lnTo>
                      <a:pt x="31" y="108"/>
                    </a:lnTo>
                    <a:close/>
                    <a:moveTo>
                      <a:pt x="21" y="104"/>
                    </a:moveTo>
                    <a:lnTo>
                      <a:pt x="21" y="106"/>
                    </a:lnTo>
                    <a:lnTo>
                      <a:pt x="21" y="104"/>
                    </a:lnTo>
                    <a:lnTo>
                      <a:pt x="19" y="104"/>
                    </a:lnTo>
                    <a:lnTo>
                      <a:pt x="21" y="104"/>
                    </a:lnTo>
                    <a:close/>
                    <a:moveTo>
                      <a:pt x="15" y="100"/>
                    </a:moveTo>
                    <a:lnTo>
                      <a:pt x="15" y="102"/>
                    </a:lnTo>
                    <a:lnTo>
                      <a:pt x="15" y="100"/>
                    </a:lnTo>
                    <a:lnTo>
                      <a:pt x="13" y="100"/>
                    </a:lnTo>
                    <a:lnTo>
                      <a:pt x="15" y="100"/>
                    </a:lnTo>
                    <a:close/>
                    <a:moveTo>
                      <a:pt x="13" y="98"/>
                    </a:moveTo>
                    <a:lnTo>
                      <a:pt x="11" y="98"/>
                    </a:lnTo>
                    <a:lnTo>
                      <a:pt x="13" y="98"/>
                    </a:lnTo>
                    <a:close/>
                    <a:moveTo>
                      <a:pt x="13" y="100"/>
                    </a:moveTo>
                    <a:lnTo>
                      <a:pt x="15" y="100"/>
                    </a:lnTo>
                    <a:lnTo>
                      <a:pt x="13" y="100"/>
                    </a:lnTo>
                    <a:lnTo>
                      <a:pt x="13" y="98"/>
                    </a:lnTo>
                    <a:lnTo>
                      <a:pt x="13" y="100"/>
                    </a:lnTo>
                    <a:close/>
                    <a:moveTo>
                      <a:pt x="11" y="96"/>
                    </a:moveTo>
                    <a:lnTo>
                      <a:pt x="9" y="96"/>
                    </a:lnTo>
                    <a:lnTo>
                      <a:pt x="11" y="96"/>
                    </a:lnTo>
                    <a:lnTo>
                      <a:pt x="9" y="96"/>
                    </a:lnTo>
                    <a:lnTo>
                      <a:pt x="11" y="96"/>
                    </a:lnTo>
                    <a:close/>
                    <a:moveTo>
                      <a:pt x="8" y="94"/>
                    </a:moveTo>
                    <a:lnTo>
                      <a:pt x="6" y="94"/>
                    </a:lnTo>
                    <a:lnTo>
                      <a:pt x="8" y="94"/>
                    </a:lnTo>
                    <a:close/>
                    <a:moveTo>
                      <a:pt x="34" y="108"/>
                    </a:moveTo>
                    <a:lnTo>
                      <a:pt x="36" y="108"/>
                    </a:lnTo>
                    <a:lnTo>
                      <a:pt x="34" y="108"/>
                    </a:lnTo>
                    <a:close/>
                    <a:moveTo>
                      <a:pt x="121" y="144"/>
                    </a:moveTo>
                    <a:lnTo>
                      <a:pt x="119" y="144"/>
                    </a:lnTo>
                    <a:lnTo>
                      <a:pt x="121" y="144"/>
                    </a:lnTo>
                    <a:lnTo>
                      <a:pt x="121" y="146"/>
                    </a:lnTo>
                    <a:lnTo>
                      <a:pt x="119" y="146"/>
                    </a:lnTo>
                    <a:lnTo>
                      <a:pt x="119" y="144"/>
                    </a:lnTo>
                    <a:lnTo>
                      <a:pt x="121" y="144"/>
                    </a:lnTo>
                    <a:lnTo>
                      <a:pt x="121" y="142"/>
                    </a:lnTo>
                    <a:lnTo>
                      <a:pt x="121" y="144"/>
                    </a:lnTo>
                    <a:lnTo>
                      <a:pt x="121" y="142"/>
                    </a:lnTo>
                    <a:lnTo>
                      <a:pt x="121" y="144"/>
                    </a:lnTo>
                    <a:lnTo>
                      <a:pt x="121" y="142"/>
                    </a:lnTo>
                    <a:lnTo>
                      <a:pt x="121" y="144"/>
                    </a:lnTo>
                    <a:close/>
                    <a:moveTo>
                      <a:pt x="9" y="96"/>
                    </a:moveTo>
                    <a:lnTo>
                      <a:pt x="8" y="94"/>
                    </a:lnTo>
                    <a:lnTo>
                      <a:pt x="6" y="92"/>
                    </a:lnTo>
                    <a:lnTo>
                      <a:pt x="8" y="94"/>
                    </a:lnTo>
                    <a:lnTo>
                      <a:pt x="9" y="94"/>
                    </a:lnTo>
                    <a:lnTo>
                      <a:pt x="9" y="96"/>
                    </a:lnTo>
                    <a:close/>
                    <a:moveTo>
                      <a:pt x="121" y="144"/>
                    </a:moveTo>
                    <a:lnTo>
                      <a:pt x="121" y="142"/>
                    </a:lnTo>
                    <a:lnTo>
                      <a:pt x="121" y="144"/>
                    </a:lnTo>
                    <a:close/>
                    <a:moveTo>
                      <a:pt x="2" y="88"/>
                    </a:moveTo>
                    <a:lnTo>
                      <a:pt x="2" y="90"/>
                    </a:lnTo>
                    <a:lnTo>
                      <a:pt x="2" y="92"/>
                    </a:lnTo>
                    <a:lnTo>
                      <a:pt x="0" y="90"/>
                    </a:lnTo>
                    <a:lnTo>
                      <a:pt x="0" y="88"/>
                    </a:lnTo>
                    <a:lnTo>
                      <a:pt x="0" y="90"/>
                    </a:lnTo>
                    <a:lnTo>
                      <a:pt x="2" y="88"/>
                    </a:lnTo>
                    <a:close/>
                    <a:moveTo>
                      <a:pt x="40" y="106"/>
                    </a:moveTo>
                    <a:lnTo>
                      <a:pt x="42" y="108"/>
                    </a:lnTo>
                    <a:lnTo>
                      <a:pt x="40" y="108"/>
                    </a:lnTo>
                    <a:lnTo>
                      <a:pt x="38" y="108"/>
                    </a:lnTo>
                    <a:lnTo>
                      <a:pt x="36" y="108"/>
                    </a:lnTo>
                    <a:lnTo>
                      <a:pt x="38" y="108"/>
                    </a:lnTo>
                    <a:lnTo>
                      <a:pt x="36" y="108"/>
                    </a:lnTo>
                    <a:lnTo>
                      <a:pt x="38" y="108"/>
                    </a:lnTo>
                    <a:lnTo>
                      <a:pt x="38" y="106"/>
                    </a:lnTo>
                    <a:lnTo>
                      <a:pt x="40" y="106"/>
                    </a:lnTo>
                    <a:close/>
                    <a:moveTo>
                      <a:pt x="46" y="109"/>
                    </a:moveTo>
                    <a:lnTo>
                      <a:pt x="44" y="109"/>
                    </a:lnTo>
                    <a:lnTo>
                      <a:pt x="42" y="108"/>
                    </a:lnTo>
                    <a:lnTo>
                      <a:pt x="40" y="108"/>
                    </a:lnTo>
                    <a:lnTo>
                      <a:pt x="42" y="108"/>
                    </a:lnTo>
                    <a:lnTo>
                      <a:pt x="44" y="108"/>
                    </a:lnTo>
                    <a:lnTo>
                      <a:pt x="46" y="109"/>
                    </a:lnTo>
                    <a:close/>
                    <a:moveTo>
                      <a:pt x="42" y="106"/>
                    </a:moveTo>
                    <a:lnTo>
                      <a:pt x="44" y="106"/>
                    </a:lnTo>
                    <a:lnTo>
                      <a:pt x="44" y="108"/>
                    </a:lnTo>
                    <a:lnTo>
                      <a:pt x="42" y="106"/>
                    </a:lnTo>
                    <a:lnTo>
                      <a:pt x="40" y="106"/>
                    </a:lnTo>
                    <a:lnTo>
                      <a:pt x="42" y="106"/>
                    </a:lnTo>
                    <a:close/>
                    <a:moveTo>
                      <a:pt x="56" y="111"/>
                    </a:moveTo>
                    <a:lnTo>
                      <a:pt x="54" y="111"/>
                    </a:lnTo>
                    <a:lnTo>
                      <a:pt x="54" y="113"/>
                    </a:lnTo>
                    <a:lnTo>
                      <a:pt x="54" y="111"/>
                    </a:lnTo>
                    <a:lnTo>
                      <a:pt x="52" y="111"/>
                    </a:lnTo>
                    <a:lnTo>
                      <a:pt x="54" y="111"/>
                    </a:lnTo>
                    <a:lnTo>
                      <a:pt x="56" y="111"/>
                    </a:lnTo>
                    <a:close/>
                    <a:moveTo>
                      <a:pt x="56" y="111"/>
                    </a:moveTo>
                    <a:lnTo>
                      <a:pt x="56" y="113"/>
                    </a:lnTo>
                    <a:lnTo>
                      <a:pt x="54" y="113"/>
                    </a:lnTo>
                    <a:lnTo>
                      <a:pt x="56" y="113"/>
                    </a:lnTo>
                    <a:lnTo>
                      <a:pt x="56" y="111"/>
                    </a:lnTo>
                    <a:close/>
                    <a:moveTo>
                      <a:pt x="123" y="138"/>
                    </a:moveTo>
                    <a:lnTo>
                      <a:pt x="123" y="136"/>
                    </a:lnTo>
                    <a:lnTo>
                      <a:pt x="123" y="138"/>
                    </a:lnTo>
                    <a:close/>
                    <a:moveTo>
                      <a:pt x="57" y="108"/>
                    </a:moveTo>
                    <a:lnTo>
                      <a:pt x="59" y="108"/>
                    </a:lnTo>
                    <a:lnTo>
                      <a:pt x="57" y="108"/>
                    </a:lnTo>
                    <a:close/>
                    <a:moveTo>
                      <a:pt x="123" y="134"/>
                    </a:moveTo>
                    <a:lnTo>
                      <a:pt x="123" y="136"/>
                    </a:lnTo>
                    <a:lnTo>
                      <a:pt x="123" y="134"/>
                    </a:lnTo>
                    <a:close/>
                    <a:moveTo>
                      <a:pt x="4" y="84"/>
                    </a:moveTo>
                    <a:lnTo>
                      <a:pt x="4" y="86"/>
                    </a:lnTo>
                    <a:lnTo>
                      <a:pt x="4" y="84"/>
                    </a:lnTo>
                    <a:lnTo>
                      <a:pt x="4" y="83"/>
                    </a:lnTo>
                    <a:lnTo>
                      <a:pt x="4" y="84"/>
                    </a:lnTo>
                    <a:close/>
                    <a:moveTo>
                      <a:pt x="125" y="134"/>
                    </a:moveTo>
                    <a:lnTo>
                      <a:pt x="123" y="133"/>
                    </a:lnTo>
                    <a:lnTo>
                      <a:pt x="125" y="133"/>
                    </a:lnTo>
                    <a:lnTo>
                      <a:pt x="125" y="134"/>
                    </a:lnTo>
                    <a:close/>
                    <a:moveTo>
                      <a:pt x="123" y="133"/>
                    </a:moveTo>
                    <a:lnTo>
                      <a:pt x="123" y="134"/>
                    </a:lnTo>
                    <a:lnTo>
                      <a:pt x="123" y="136"/>
                    </a:lnTo>
                    <a:lnTo>
                      <a:pt x="123" y="134"/>
                    </a:lnTo>
                    <a:lnTo>
                      <a:pt x="123" y="133"/>
                    </a:lnTo>
                    <a:lnTo>
                      <a:pt x="121" y="133"/>
                    </a:lnTo>
                    <a:lnTo>
                      <a:pt x="121" y="131"/>
                    </a:lnTo>
                    <a:lnTo>
                      <a:pt x="121" y="133"/>
                    </a:lnTo>
                    <a:lnTo>
                      <a:pt x="121" y="131"/>
                    </a:lnTo>
                    <a:lnTo>
                      <a:pt x="123" y="133"/>
                    </a:lnTo>
                    <a:close/>
                    <a:moveTo>
                      <a:pt x="63" y="106"/>
                    </a:moveTo>
                    <a:lnTo>
                      <a:pt x="61" y="106"/>
                    </a:lnTo>
                    <a:lnTo>
                      <a:pt x="63" y="106"/>
                    </a:lnTo>
                    <a:close/>
                    <a:moveTo>
                      <a:pt x="121" y="129"/>
                    </a:moveTo>
                    <a:lnTo>
                      <a:pt x="119" y="129"/>
                    </a:lnTo>
                    <a:lnTo>
                      <a:pt x="121" y="129"/>
                    </a:lnTo>
                    <a:close/>
                    <a:moveTo>
                      <a:pt x="61" y="106"/>
                    </a:moveTo>
                    <a:lnTo>
                      <a:pt x="63" y="104"/>
                    </a:lnTo>
                    <a:lnTo>
                      <a:pt x="63" y="106"/>
                    </a:lnTo>
                    <a:lnTo>
                      <a:pt x="61" y="106"/>
                    </a:lnTo>
                    <a:close/>
                    <a:moveTo>
                      <a:pt x="6" y="81"/>
                    </a:moveTo>
                    <a:lnTo>
                      <a:pt x="8" y="81"/>
                    </a:lnTo>
                    <a:lnTo>
                      <a:pt x="6" y="81"/>
                    </a:lnTo>
                    <a:lnTo>
                      <a:pt x="8" y="81"/>
                    </a:lnTo>
                    <a:lnTo>
                      <a:pt x="6" y="81"/>
                    </a:lnTo>
                    <a:lnTo>
                      <a:pt x="6" y="83"/>
                    </a:lnTo>
                    <a:lnTo>
                      <a:pt x="6" y="81"/>
                    </a:lnTo>
                    <a:lnTo>
                      <a:pt x="6" y="79"/>
                    </a:lnTo>
                    <a:lnTo>
                      <a:pt x="8" y="79"/>
                    </a:lnTo>
                    <a:lnTo>
                      <a:pt x="8" y="81"/>
                    </a:lnTo>
                    <a:lnTo>
                      <a:pt x="6" y="81"/>
                    </a:lnTo>
                    <a:close/>
                    <a:moveTo>
                      <a:pt x="9" y="79"/>
                    </a:moveTo>
                    <a:lnTo>
                      <a:pt x="8" y="79"/>
                    </a:lnTo>
                    <a:lnTo>
                      <a:pt x="9" y="77"/>
                    </a:lnTo>
                    <a:lnTo>
                      <a:pt x="9" y="79"/>
                    </a:lnTo>
                    <a:close/>
                    <a:moveTo>
                      <a:pt x="71" y="104"/>
                    </a:moveTo>
                    <a:lnTo>
                      <a:pt x="69" y="104"/>
                    </a:lnTo>
                    <a:lnTo>
                      <a:pt x="69" y="102"/>
                    </a:lnTo>
                    <a:lnTo>
                      <a:pt x="71" y="104"/>
                    </a:lnTo>
                    <a:close/>
                    <a:moveTo>
                      <a:pt x="9" y="75"/>
                    </a:moveTo>
                    <a:lnTo>
                      <a:pt x="9" y="77"/>
                    </a:lnTo>
                    <a:lnTo>
                      <a:pt x="9" y="75"/>
                    </a:lnTo>
                    <a:close/>
                    <a:moveTo>
                      <a:pt x="73" y="102"/>
                    </a:moveTo>
                    <a:lnTo>
                      <a:pt x="73" y="104"/>
                    </a:lnTo>
                    <a:lnTo>
                      <a:pt x="73" y="102"/>
                    </a:lnTo>
                    <a:lnTo>
                      <a:pt x="75" y="102"/>
                    </a:lnTo>
                    <a:lnTo>
                      <a:pt x="73" y="102"/>
                    </a:lnTo>
                    <a:close/>
                    <a:moveTo>
                      <a:pt x="11" y="73"/>
                    </a:moveTo>
                    <a:lnTo>
                      <a:pt x="11" y="71"/>
                    </a:lnTo>
                    <a:lnTo>
                      <a:pt x="11" y="73"/>
                    </a:lnTo>
                    <a:close/>
                    <a:moveTo>
                      <a:pt x="13" y="73"/>
                    </a:moveTo>
                    <a:lnTo>
                      <a:pt x="11" y="73"/>
                    </a:lnTo>
                    <a:lnTo>
                      <a:pt x="13" y="73"/>
                    </a:lnTo>
                    <a:lnTo>
                      <a:pt x="11" y="73"/>
                    </a:lnTo>
                    <a:lnTo>
                      <a:pt x="11" y="71"/>
                    </a:lnTo>
                    <a:lnTo>
                      <a:pt x="11" y="73"/>
                    </a:lnTo>
                    <a:lnTo>
                      <a:pt x="13" y="73"/>
                    </a:lnTo>
                    <a:close/>
                    <a:moveTo>
                      <a:pt x="77" y="102"/>
                    </a:moveTo>
                    <a:lnTo>
                      <a:pt x="75" y="102"/>
                    </a:lnTo>
                    <a:lnTo>
                      <a:pt x="77" y="100"/>
                    </a:lnTo>
                    <a:lnTo>
                      <a:pt x="77" y="102"/>
                    </a:lnTo>
                    <a:close/>
                    <a:moveTo>
                      <a:pt x="15" y="69"/>
                    </a:moveTo>
                    <a:lnTo>
                      <a:pt x="15" y="71"/>
                    </a:lnTo>
                    <a:lnTo>
                      <a:pt x="13" y="71"/>
                    </a:lnTo>
                    <a:lnTo>
                      <a:pt x="13" y="69"/>
                    </a:lnTo>
                    <a:lnTo>
                      <a:pt x="15" y="69"/>
                    </a:lnTo>
                    <a:lnTo>
                      <a:pt x="15" y="67"/>
                    </a:lnTo>
                    <a:lnTo>
                      <a:pt x="15" y="69"/>
                    </a:lnTo>
                    <a:close/>
                    <a:moveTo>
                      <a:pt x="82" y="98"/>
                    </a:moveTo>
                    <a:lnTo>
                      <a:pt x="81" y="98"/>
                    </a:lnTo>
                    <a:lnTo>
                      <a:pt x="82" y="96"/>
                    </a:lnTo>
                    <a:lnTo>
                      <a:pt x="82" y="98"/>
                    </a:lnTo>
                    <a:close/>
                    <a:moveTo>
                      <a:pt x="125" y="115"/>
                    </a:moveTo>
                    <a:lnTo>
                      <a:pt x="127" y="115"/>
                    </a:lnTo>
                    <a:lnTo>
                      <a:pt x="125" y="115"/>
                    </a:lnTo>
                    <a:close/>
                    <a:moveTo>
                      <a:pt x="127" y="115"/>
                    </a:moveTo>
                    <a:lnTo>
                      <a:pt x="125" y="115"/>
                    </a:lnTo>
                    <a:lnTo>
                      <a:pt x="125" y="113"/>
                    </a:lnTo>
                    <a:lnTo>
                      <a:pt x="127" y="115"/>
                    </a:lnTo>
                    <a:lnTo>
                      <a:pt x="125" y="115"/>
                    </a:lnTo>
                    <a:lnTo>
                      <a:pt x="127" y="115"/>
                    </a:lnTo>
                    <a:close/>
                    <a:moveTo>
                      <a:pt x="127" y="113"/>
                    </a:moveTo>
                    <a:lnTo>
                      <a:pt x="127" y="115"/>
                    </a:lnTo>
                    <a:lnTo>
                      <a:pt x="127" y="113"/>
                    </a:lnTo>
                    <a:close/>
                    <a:moveTo>
                      <a:pt x="82" y="96"/>
                    </a:moveTo>
                    <a:lnTo>
                      <a:pt x="81" y="96"/>
                    </a:lnTo>
                    <a:lnTo>
                      <a:pt x="82" y="96"/>
                    </a:lnTo>
                    <a:close/>
                    <a:moveTo>
                      <a:pt x="84" y="96"/>
                    </a:moveTo>
                    <a:lnTo>
                      <a:pt x="82" y="96"/>
                    </a:lnTo>
                    <a:lnTo>
                      <a:pt x="84" y="96"/>
                    </a:lnTo>
                    <a:close/>
                    <a:moveTo>
                      <a:pt x="19" y="65"/>
                    </a:moveTo>
                    <a:lnTo>
                      <a:pt x="19" y="67"/>
                    </a:lnTo>
                    <a:lnTo>
                      <a:pt x="17" y="67"/>
                    </a:lnTo>
                    <a:lnTo>
                      <a:pt x="15" y="67"/>
                    </a:lnTo>
                    <a:lnTo>
                      <a:pt x="17" y="67"/>
                    </a:lnTo>
                    <a:lnTo>
                      <a:pt x="17" y="65"/>
                    </a:lnTo>
                    <a:lnTo>
                      <a:pt x="19" y="65"/>
                    </a:lnTo>
                    <a:close/>
                    <a:moveTo>
                      <a:pt x="19" y="65"/>
                    </a:moveTo>
                    <a:lnTo>
                      <a:pt x="21" y="65"/>
                    </a:lnTo>
                    <a:lnTo>
                      <a:pt x="19" y="65"/>
                    </a:lnTo>
                    <a:close/>
                    <a:moveTo>
                      <a:pt x="136" y="115"/>
                    </a:moveTo>
                    <a:lnTo>
                      <a:pt x="134" y="115"/>
                    </a:lnTo>
                    <a:lnTo>
                      <a:pt x="136" y="115"/>
                    </a:lnTo>
                    <a:close/>
                    <a:moveTo>
                      <a:pt x="23" y="65"/>
                    </a:moveTo>
                    <a:lnTo>
                      <a:pt x="21" y="67"/>
                    </a:lnTo>
                    <a:lnTo>
                      <a:pt x="21" y="65"/>
                    </a:lnTo>
                    <a:lnTo>
                      <a:pt x="23" y="65"/>
                    </a:lnTo>
                    <a:close/>
                    <a:moveTo>
                      <a:pt x="148" y="117"/>
                    </a:moveTo>
                    <a:lnTo>
                      <a:pt x="146" y="117"/>
                    </a:lnTo>
                    <a:lnTo>
                      <a:pt x="148" y="117"/>
                    </a:lnTo>
                    <a:close/>
                    <a:moveTo>
                      <a:pt x="25" y="65"/>
                    </a:moveTo>
                    <a:lnTo>
                      <a:pt x="25" y="63"/>
                    </a:lnTo>
                    <a:lnTo>
                      <a:pt x="25" y="65"/>
                    </a:lnTo>
                    <a:close/>
                    <a:moveTo>
                      <a:pt x="157" y="119"/>
                    </a:moveTo>
                    <a:lnTo>
                      <a:pt x="157" y="121"/>
                    </a:lnTo>
                    <a:lnTo>
                      <a:pt x="157" y="119"/>
                    </a:lnTo>
                    <a:close/>
                    <a:moveTo>
                      <a:pt x="155" y="119"/>
                    </a:moveTo>
                    <a:lnTo>
                      <a:pt x="154" y="119"/>
                    </a:lnTo>
                    <a:lnTo>
                      <a:pt x="155" y="119"/>
                    </a:lnTo>
                    <a:close/>
                    <a:moveTo>
                      <a:pt x="88" y="90"/>
                    </a:moveTo>
                    <a:lnTo>
                      <a:pt x="88" y="92"/>
                    </a:lnTo>
                    <a:lnTo>
                      <a:pt x="88" y="90"/>
                    </a:lnTo>
                    <a:close/>
                    <a:moveTo>
                      <a:pt x="27" y="61"/>
                    </a:moveTo>
                    <a:lnTo>
                      <a:pt x="27" y="63"/>
                    </a:lnTo>
                    <a:lnTo>
                      <a:pt x="27" y="61"/>
                    </a:lnTo>
                    <a:lnTo>
                      <a:pt x="27" y="63"/>
                    </a:lnTo>
                    <a:lnTo>
                      <a:pt x="27" y="61"/>
                    </a:lnTo>
                    <a:close/>
                    <a:moveTo>
                      <a:pt x="129" y="108"/>
                    </a:moveTo>
                    <a:lnTo>
                      <a:pt x="129" y="106"/>
                    </a:lnTo>
                    <a:lnTo>
                      <a:pt x="129" y="108"/>
                    </a:lnTo>
                    <a:close/>
                    <a:moveTo>
                      <a:pt x="161" y="119"/>
                    </a:moveTo>
                    <a:lnTo>
                      <a:pt x="161" y="117"/>
                    </a:lnTo>
                    <a:lnTo>
                      <a:pt x="161" y="119"/>
                    </a:lnTo>
                    <a:close/>
                    <a:moveTo>
                      <a:pt x="29" y="63"/>
                    </a:moveTo>
                    <a:lnTo>
                      <a:pt x="27" y="63"/>
                    </a:lnTo>
                    <a:lnTo>
                      <a:pt x="29" y="61"/>
                    </a:lnTo>
                    <a:lnTo>
                      <a:pt x="27" y="59"/>
                    </a:lnTo>
                    <a:lnTo>
                      <a:pt x="29" y="59"/>
                    </a:lnTo>
                    <a:lnTo>
                      <a:pt x="29" y="61"/>
                    </a:lnTo>
                    <a:lnTo>
                      <a:pt x="29" y="63"/>
                    </a:lnTo>
                    <a:close/>
                    <a:moveTo>
                      <a:pt x="90" y="86"/>
                    </a:moveTo>
                    <a:lnTo>
                      <a:pt x="90" y="88"/>
                    </a:lnTo>
                    <a:lnTo>
                      <a:pt x="90" y="86"/>
                    </a:lnTo>
                    <a:close/>
                    <a:moveTo>
                      <a:pt x="127" y="102"/>
                    </a:moveTo>
                    <a:lnTo>
                      <a:pt x="129" y="102"/>
                    </a:lnTo>
                    <a:lnTo>
                      <a:pt x="129" y="104"/>
                    </a:lnTo>
                    <a:lnTo>
                      <a:pt x="127" y="104"/>
                    </a:lnTo>
                    <a:lnTo>
                      <a:pt x="127" y="102"/>
                    </a:lnTo>
                    <a:close/>
                    <a:moveTo>
                      <a:pt x="161" y="115"/>
                    </a:moveTo>
                    <a:lnTo>
                      <a:pt x="161" y="117"/>
                    </a:lnTo>
                    <a:lnTo>
                      <a:pt x="161" y="119"/>
                    </a:lnTo>
                    <a:lnTo>
                      <a:pt x="161" y="117"/>
                    </a:lnTo>
                    <a:lnTo>
                      <a:pt x="161" y="115"/>
                    </a:lnTo>
                    <a:close/>
                    <a:moveTo>
                      <a:pt x="161" y="115"/>
                    </a:moveTo>
                    <a:lnTo>
                      <a:pt x="161" y="113"/>
                    </a:lnTo>
                    <a:lnTo>
                      <a:pt x="161" y="115"/>
                    </a:lnTo>
                    <a:close/>
                    <a:moveTo>
                      <a:pt x="163" y="113"/>
                    </a:moveTo>
                    <a:lnTo>
                      <a:pt x="161" y="115"/>
                    </a:lnTo>
                    <a:lnTo>
                      <a:pt x="161" y="113"/>
                    </a:lnTo>
                    <a:lnTo>
                      <a:pt x="161" y="115"/>
                    </a:lnTo>
                    <a:lnTo>
                      <a:pt x="161" y="113"/>
                    </a:lnTo>
                    <a:lnTo>
                      <a:pt x="163" y="113"/>
                    </a:lnTo>
                    <a:close/>
                    <a:moveTo>
                      <a:pt x="94" y="84"/>
                    </a:moveTo>
                    <a:lnTo>
                      <a:pt x="92" y="84"/>
                    </a:lnTo>
                    <a:lnTo>
                      <a:pt x="92" y="83"/>
                    </a:lnTo>
                    <a:lnTo>
                      <a:pt x="94" y="83"/>
                    </a:lnTo>
                    <a:lnTo>
                      <a:pt x="96" y="83"/>
                    </a:lnTo>
                    <a:lnTo>
                      <a:pt x="94" y="83"/>
                    </a:lnTo>
                    <a:lnTo>
                      <a:pt x="94" y="84"/>
                    </a:lnTo>
                    <a:close/>
                    <a:moveTo>
                      <a:pt x="31" y="54"/>
                    </a:moveTo>
                    <a:lnTo>
                      <a:pt x="31" y="56"/>
                    </a:lnTo>
                    <a:lnTo>
                      <a:pt x="29" y="56"/>
                    </a:lnTo>
                    <a:lnTo>
                      <a:pt x="29" y="54"/>
                    </a:lnTo>
                    <a:lnTo>
                      <a:pt x="31" y="54"/>
                    </a:lnTo>
                    <a:close/>
                    <a:moveTo>
                      <a:pt x="127" y="92"/>
                    </a:moveTo>
                    <a:lnTo>
                      <a:pt x="129" y="94"/>
                    </a:lnTo>
                    <a:lnTo>
                      <a:pt x="127" y="94"/>
                    </a:lnTo>
                    <a:lnTo>
                      <a:pt x="127" y="92"/>
                    </a:lnTo>
                    <a:close/>
                    <a:moveTo>
                      <a:pt x="31" y="50"/>
                    </a:moveTo>
                    <a:lnTo>
                      <a:pt x="31" y="52"/>
                    </a:lnTo>
                    <a:lnTo>
                      <a:pt x="31" y="50"/>
                    </a:lnTo>
                    <a:close/>
                    <a:moveTo>
                      <a:pt x="127" y="90"/>
                    </a:moveTo>
                    <a:lnTo>
                      <a:pt x="127" y="92"/>
                    </a:lnTo>
                    <a:lnTo>
                      <a:pt x="127" y="90"/>
                    </a:lnTo>
                    <a:close/>
                    <a:moveTo>
                      <a:pt x="171" y="109"/>
                    </a:moveTo>
                    <a:lnTo>
                      <a:pt x="169" y="109"/>
                    </a:lnTo>
                    <a:lnTo>
                      <a:pt x="171" y="108"/>
                    </a:lnTo>
                    <a:lnTo>
                      <a:pt x="173" y="109"/>
                    </a:lnTo>
                    <a:lnTo>
                      <a:pt x="173" y="108"/>
                    </a:lnTo>
                    <a:lnTo>
                      <a:pt x="173" y="109"/>
                    </a:lnTo>
                    <a:lnTo>
                      <a:pt x="171" y="109"/>
                    </a:lnTo>
                    <a:close/>
                    <a:moveTo>
                      <a:pt x="32" y="48"/>
                    </a:moveTo>
                    <a:lnTo>
                      <a:pt x="31" y="48"/>
                    </a:lnTo>
                    <a:lnTo>
                      <a:pt x="32" y="48"/>
                    </a:lnTo>
                    <a:close/>
                    <a:moveTo>
                      <a:pt x="105" y="79"/>
                    </a:moveTo>
                    <a:lnTo>
                      <a:pt x="107" y="79"/>
                    </a:lnTo>
                    <a:lnTo>
                      <a:pt x="105" y="79"/>
                    </a:lnTo>
                    <a:close/>
                    <a:moveTo>
                      <a:pt x="127" y="88"/>
                    </a:moveTo>
                    <a:lnTo>
                      <a:pt x="129" y="88"/>
                    </a:lnTo>
                    <a:lnTo>
                      <a:pt x="127" y="88"/>
                    </a:lnTo>
                    <a:close/>
                    <a:moveTo>
                      <a:pt x="209" y="119"/>
                    </a:moveTo>
                    <a:lnTo>
                      <a:pt x="209" y="117"/>
                    </a:lnTo>
                    <a:lnTo>
                      <a:pt x="211" y="117"/>
                    </a:lnTo>
                    <a:lnTo>
                      <a:pt x="209" y="119"/>
                    </a:lnTo>
                    <a:close/>
                    <a:moveTo>
                      <a:pt x="129" y="86"/>
                    </a:moveTo>
                    <a:lnTo>
                      <a:pt x="127" y="86"/>
                    </a:lnTo>
                    <a:lnTo>
                      <a:pt x="129" y="86"/>
                    </a:lnTo>
                    <a:lnTo>
                      <a:pt x="129" y="84"/>
                    </a:lnTo>
                    <a:lnTo>
                      <a:pt x="129" y="86"/>
                    </a:lnTo>
                    <a:close/>
                    <a:moveTo>
                      <a:pt x="123" y="83"/>
                    </a:moveTo>
                    <a:lnTo>
                      <a:pt x="121" y="83"/>
                    </a:lnTo>
                    <a:lnTo>
                      <a:pt x="121" y="81"/>
                    </a:lnTo>
                    <a:lnTo>
                      <a:pt x="119" y="81"/>
                    </a:lnTo>
                    <a:lnTo>
                      <a:pt x="121" y="81"/>
                    </a:lnTo>
                    <a:lnTo>
                      <a:pt x="123" y="83"/>
                    </a:lnTo>
                    <a:close/>
                    <a:moveTo>
                      <a:pt x="127" y="84"/>
                    </a:moveTo>
                    <a:lnTo>
                      <a:pt x="129" y="84"/>
                    </a:lnTo>
                    <a:lnTo>
                      <a:pt x="127" y="84"/>
                    </a:lnTo>
                    <a:close/>
                    <a:moveTo>
                      <a:pt x="125" y="83"/>
                    </a:moveTo>
                    <a:lnTo>
                      <a:pt x="125" y="84"/>
                    </a:lnTo>
                    <a:lnTo>
                      <a:pt x="125" y="83"/>
                    </a:lnTo>
                    <a:close/>
                    <a:moveTo>
                      <a:pt x="115" y="79"/>
                    </a:moveTo>
                    <a:lnTo>
                      <a:pt x="113" y="79"/>
                    </a:lnTo>
                    <a:lnTo>
                      <a:pt x="115" y="79"/>
                    </a:lnTo>
                    <a:lnTo>
                      <a:pt x="117" y="79"/>
                    </a:lnTo>
                    <a:lnTo>
                      <a:pt x="117" y="81"/>
                    </a:lnTo>
                    <a:lnTo>
                      <a:pt x="117" y="79"/>
                    </a:lnTo>
                    <a:lnTo>
                      <a:pt x="115" y="81"/>
                    </a:lnTo>
                    <a:lnTo>
                      <a:pt x="115" y="79"/>
                    </a:lnTo>
                    <a:close/>
                    <a:moveTo>
                      <a:pt x="119" y="81"/>
                    </a:moveTo>
                    <a:lnTo>
                      <a:pt x="117" y="79"/>
                    </a:lnTo>
                    <a:lnTo>
                      <a:pt x="119" y="79"/>
                    </a:lnTo>
                    <a:lnTo>
                      <a:pt x="119" y="81"/>
                    </a:lnTo>
                    <a:close/>
                    <a:moveTo>
                      <a:pt x="119" y="81"/>
                    </a:moveTo>
                    <a:lnTo>
                      <a:pt x="121" y="81"/>
                    </a:lnTo>
                    <a:lnTo>
                      <a:pt x="119" y="81"/>
                    </a:lnTo>
                    <a:close/>
                    <a:moveTo>
                      <a:pt x="129" y="83"/>
                    </a:moveTo>
                    <a:lnTo>
                      <a:pt x="127" y="83"/>
                    </a:lnTo>
                    <a:lnTo>
                      <a:pt x="129" y="83"/>
                    </a:lnTo>
                    <a:close/>
                    <a:moveTo>
                      <a:pt x="34" y="38"/>
                    </a:moveTo>
                    <a:lnTo>
                      <a:pt x="34" y="40"/>
                    </a:lnTo>
                    <a:lnTo>
                      <a:pt x="34" y="38"/>
                    </a:lnTo>
                    <a:lnTo>
                      <a:pt x="34" y="40"/>
                    </a:lnTo>
                    <a:lnTo>
                      <a:pt x="34" y="38"/>
                    </a:lnTo>
                    <a:close/>
                    <a:moveTo>
                      <a:pt x="194" y="104"/>
                    </a:moveTo>
                    <a:lnTo>
                      <a:pt x="192" y="104"/>
                    </a:lnTo>
                    <a:lnTo>
                      <a:pt x="190" y="104"/>
                    </a:lnTo>
                    <a:lnTo>
                      <a:pt x="188" y="104"/>
                    </a:lnTo>
                    <a:lnTo>
                      <a:pt x="190" y="104"/>
                    </a:lnTo>
                    <a:lnTo>
                      <a:pt x="192" y="104"/>
                    </a:lnTo>
                    <a:lnTo>
                      <a:pt x="194" y="104"/>
                    </a:lnTo>
                    <a:close/>
                    <a:moveTo>
                      <a:pt x="238" y="119"/>
                    </a:moveTo>
                    <a:lnTo>
                      <a:pt x="240" y="119"/>
                    </a:lnTo>
                    <a:lnTo>
                      <a:pt x="238" y="119"/>
                    </a:lnTo>
                    <a:close/>
                    <a:moveTo>
                      <a:pt x="36" y="38"/>
                    </a:moveTo>
                    <a:lnTo>
                      <a:pt x="36" y="36"/>
                    </a:lnTo>
                    <a:lnTo>
                      <a:pt x="36" y="38"/>
                    </a:lnTo>
                    <a:lnTo>
                      <a:pt x="36" y="36"/>
                    </a:lnTo>
                    <a:lnTo>
                      <a:pt x="38" y="36"/>
                    </a:lnTo>
                    <a:lnTo>
                      <a:pt x="36" y="36"/>
                    </a:lnTo>
                    <a:lnTo>
                      <a:pt x="36" y="38"/>
                    </a:lnTo>
                    <a:close/>
                    <a:moveTo>
                      <a:pt x="207" y="108"/>
                    </a:moveTo>
                    <a:lnTo>
                      <a:pt x="207" y="106"/>
                    </a:lnTo>
                    <a:lnTo>
                      <a:pt x="207" y="108"/>
                    </a:lnTo>
                    <a:close/>
                    <a:moveTo>
                      <a:pt x="248" y="119"/>
                    </a:moveTo>
                    <a:lnTo>
                      <a:pt x="246" y="119"/>
                    </a:lnTo>
                    <a:lnTo>
                      <a:pt x="248" y="119"/>
                    </a:lnTo>
                    <a:close/>
                    <a:moveTo>
                      <a:pt x="36" y="33"/>
                    </a:moveTo>
                    <a:lnTo>
                      <a:pt x="36" y="31"/>
                    </a:lnTo>
                    <a:lnTo>
                      <a:pt x="38" y="31"/>
                    </a:lnTo>
                    <a:lnTo>
                      <a:pt x="36" y="33"/>
                    </a:lnTo>
                    <a:close/>
                    <a:moveTo>
                      <a:pt x="38" y="33"/>
                    </a:moveTo>
                    <a:lnTo>
                      <a:pt x="38" y="34"/>
                    </a:lnTo>
                    <a:lnTo>
                      <a:pt x="36" y="34"/>
                    </a:lnTo>
                    <a:lnTo>
                      <a:pt x="36" y="36"/>
                    </a:lnTo>
                    <a:lnTo>
                      <a:pt x="36" y="34"/>
                    </a:lnTo>
                    <a:lnTo>
                      <a:pt x="36" y="33"/>
                    </a:lnTo>
                    <a:lnTo>
                      <a:pt x="38" y="33"/>
                    </a:lnTo>
                    <a:close/>
                    <a:moveTo>
                      <a:pt x="203" y="98"/>
                    </a:moveTo>
                    <a:lnTo>
                      <a:pt x="203" y="100"/>
                    </a:lnTo>
                    <a:lnTo>
                      <a:pt x="203" y="98"/>
                    </a:lnTo>
                    <a:close/>
                    <a:moveTo>
                      <a:pt x="40" y="29"/>
                    </a:moveTo>
                    <a:lnTo>
                      <a:pt x="42" y="27"/>
                    </a:lnTo>
                    <a:lnTo>
                      <a:pt x="40" y="29"/>
                    </a:lnTo>
                    <a:close/>
                    <a:moveTo>
                      <a:pt x="42" y="15"/>
                    </a:moveTo>
                    <a:lnTo>
                      <a:pt x="42" y="13"/>
                    </a:lnTo>
                    <a:lnTo>
                      <a:pt x="42" y="15"/>
                    </a:lnTo>
                    <a:close/>
                    <a:moveTo>
                      <a:pt x="46" y="11"/>
                    </a:moveTo>
                    <a:lnTo>
                      <a:pt x="44" y="13"/>
                    </a:lnTo>
                    <a:lnTo>
                      <a:pt x="44" y="11"/>
                    </a:lnTo>
                    <a:lnTo>
                      <a:pt x="46" y="11"/>
                    </a:lnTo>
                    <a:close/>
                    <a:moveTo>
                      <a:pt x="44" y="9"/>
                    </a:moveTo>
                    <a:lnTo>
                      <a:pt x="44" y="11"/>
                    </a:lnTo>
                    <a:lnTo>
                      <a:pt x="44" y="9"/>
                    </a:lnTo>
                    <a:lnTo>
                      <a:pt x="46" y="9"/>
                    </a:lnTo>
                    <a:lnTo>
                      <a:pt x="46" y="11"/>
                    </a:lnTo>
                    <a:lnTo>
                      <a:pt x="44" y="11"/>
                    </a:lnTo>
                    <a:lnTo>
                      <a:pt x="44" y="9"/>
                    </a:lnTo>
                    <a:close/>
                    <a:moveTo>
                      <a:pt x="48" y="4"/>
                    </a:moveTo>
                    <a:lnTo>
                      <a:pt x="48" y="6"/>
                    </a:lnTo>
                    <a:lnTo>
                      <a:pt x="48" y="4"/>
                    </a:lnTo>
                    <a:close/>
                    <a:moveTo>
                      <a:pt x="52" y="2"/>
                    </a:moveTo>
                    <a:lnTo>
                      <a:pt x="52" y="4"/>
                    </a:lnTo>
                    <a:lnTo>
                      <a:pt x="50" y="4"/>
                    </a:lnTo>
                    <a:lnTo>
                      <a:pt x="50" y="2"/>
                    </a:lnTo>
                    <a:lnTo>
                      <a:pt x="52" y="2"/>
                    </a:lnTo>
                    <a:close/>
                    <a:moveTo>
                      <a:pt x="52" y="2"/>
                    </a:moveTo>
                    <a:lnTo>
                      <a:pt x="52" y="0"/>
                    </a:lnTo>
                    <a:lnTo>
                      <a:pt x="52"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1" name="Freeform 101"/>
              <p:cNvSpPr>
                <a:spLocks noEditPoints="1"/>
              </p:cNvSpPr>
              <p:nvPr/>
            </p:nvSpPr>
            <p:spPr bwMode="auto">
              <a:xfrm>
                <a:off x="2062312" y="1721269"/>
                <a:ext cx="369935" cy="529953"/>
              </a:xfrm>
              <a:custGeom>
                <a:avLst/>
                <a:gdLst>
                  <a:gd name="T0" fmla="*/ 46 w 215"/>
                  <a:gd name="T1" fmla="*/ 308 h 308"/>
                  <a:gd name="T2" fmla="*/ 44 w 215"/>
                  <a:gd name="T3" fmla="*/ 286 h 308"/>
                  <a:gd name="T4" fmla="*/ 62 w 215"/>
                  <a:gd name="T5" fmla="*/ 256 h 308"/>
                  <a:gd name="T6" fmla="*/ 65 w 215"/>
                  <a:gd name="T7" fmla="*/ 254 h 308"/>
                  <a:gd name="T8" fmla="*/ 81 w 215"/>
                  <a:gd name="T9" fmla="*/ 236 h 308"/>
                  <a:gd name="T10" fmla="*/ 117 w 215"/>
                  <a:gd name="T11" fmla="*/ 215 h 308"/>
                  <a:gd name="T12" fmla="*/ 119 w 215"/>
                  <a:gd name="T13" fmla="*/ 210 h 308"/>
                  <a:gd name="T14" fmla="*/ 129 w 215"/>
                  <a:gd name="T15" fmla="*/ 177 h 308"/>
                  <a:gd name="T16" fmla="*/ 127 w 215"/>
                  <a:gd name="T17" fmla="*/ 177 h 308"/>
                  <a:gd name="T18" fmla="*/ 40 w 215"/>
                  <a:gd name="T19" fmla="*/ 135 h 308"/>
                  <a:gd name="T20" fmla="*/ 123 w 215"/>
                  <a:gd name="T21" fmla="*/ 163 h 308"/>
                  <a:gd name="T22" fmla="*/ 38 w 215"/>
                  <a:gd name="T23" fmla="*/ 129 h 308"/>
                  <a:gd name="T24" fmla="*/ 121 w 215"/>
                  <a:gd name="T25" fmla="*/ 156 h 308"/>
                  <a:gd name="T26" fmla="*/ 25 w 215"/>
                  <a:gd name="T27" fmla="*/ 111 h 308"/>
                  <a:gd name="T28" fmla="*/ 27 w 215"/>
                  <a:gd name="T29" fmla="*/ 106 h 308"/>
                  <a:gd name="T30" fmla="*/ 19 w 215"/>
                  <a:gd name="T31" fmla="*/ 102 h 308"/>
                  <a:gd name="T32" fmla="*/ 15 w 215"/>
                  <a:gd name="T33" fmla="*/ 98 h 308"/>
                  <a:gd name="T34" fmla="*/ 12 w 215"/>
                  <a:gd name="T35" fmla="*/ 96 h 308"/>
                  <a:gd name="T36" fmla="*/ 0 w 215"/>
                  <a:gd name="T37" fmla="*/ 88 h 308"/>
                  <a:gd name="T38" fmla="*/ 0 w 215"/>
                  <a:gd name="T39" fmla="*/ 88 h 308"/>
                  <a:gd name="T40" fmla="*/ 8 w 215"/>
                  <a:gd name="T41" fmla="*/ 94 h 308"/>
                  <a:gd name="T42" fmla="*/ 42 w 215"/>
                  <a:gd name="T43" fmla="*/ 110 h 308"/>
                  <a:gd name="T44" fmla="*/ 10 w 215"/>
                  <a:gd name="T45" fmla="*/ 90 h 308"/>
                  <a:gd name="T46" fmla="*/ 131 w 215"/>
                  <a:gd name="T47" fmla="*/ 138 h 308"/>
                  <a:gd name="T48" fmla="*/ 131 w 215"/>
                  <a:gd name="T49" fmla="*/ 136 h 308"/>
                  <a:gd name="T50" fmla="*/ 127 w 215"/>
                  <a:gd name="T51" fmla="*/ 131 h 308"/>
                  <a:gd name="T52" fmla="*/ 73 w 215"/>
                  <a:gd name="T53" fmla="*/ 104 h 308"/>
                  <a:gd name="T54" fmla="*/ 15 w 215"/>
                  <a:gd name="T55" fmla="*/ 75 h 308"/>
                  <a:gd name="T56" fmla="*/ 19 w 215"/>
                  <a:gd name="T57" fmla="*/ 73 h 308"/>
                  <a:gd name="T58" fmla="*/ 127 w 215"/>
                  <a:gd name="T59" fmla="*/ 121 h 308"/>
                  <a:gd name="T60" fmla="*/ 19 w 215"/>
                  <a:gd name="T61" fmla="*/ 73 h 308"/>
                  <a:gd name="T62" fmla="*/ 190 w 215"/>
                  <a:gd name="T63" fmla="*/ 144 h 308"/>
                  <a:gd name="T64" fmla="*/ 131 w 215"/>
                  <a:gd name="T65" fmla="*/ 117 h 308"/>
                  <a:gd name="T66" fmla="*/ 131 w 215"/>
                  <a:gd name="T67" fmla="*/ 117 h 308"/>
                  <a:gd name="T68" fmla="*/ 133 w 215"/>
                  <a:gd name="T69" fmla="*/ 115 h 308"/>
                  <a:gd name="T70" fmla="*/ 31 w 215"/>
                  <a:gd name="T71" fmla="*/ 65 h 308"/>
                  <a:gd name="T72" fmla="*/ 160 w 215"/>
                  <a:gd name="T73" fmla="*/ 119 h 308"/>
                  <a:gd name="T74" fmla="*/ 208 w 215"/>
                  <a:gd name="T75" fmla="*/ 136 h 308"/>
                  <a:gd name="T76" fmla="*/ 135 w 215"/>
                  <a:gd name="T77" fmla="*/ 108 h 308"/>
                  <a:gd name="T78" fmla="*/ 136 w 215"/>
                  <a:gd name="T79" fmla="*/ 108 h 308"/>
                  <a:gd name="T80" fmla="*/ 167 w 215"/>
                  <a:gd name="T81" fmla="*/ 119 h 308"/>
                  <a:gd name="T82" fmla="*/ 35 w 215"/>
                  <a:gd name="T83" fmla="*/ 61 h 308"/>
                  <a:gd name="T84" fmla="*/ 102 w 215"/>
                  <a:gd name="T85" fmla="*/ 83 h 308"/>
                  <a:gd name="T86" fmla="*/ 38 w 215"/>
                  <a:gd name="T87" fmla="*/ 52 h 308"/>
                  <a:gd name="T88" fmla="*/ 38 w 215"/>
                  <a:gd name="T89" fmla="*/ 52 h 308"/>
                  <a:gd name="T90" fmla="*/ 110 w 215"/>
                  <a:gd name="T91" fmla="*/ 81 h 308"/>
                  <a:gd name="T92" fmla="*/ 215 w 215"/>
                  <a:gd name="T93" fmla="*/ 121 h 308"/>
                  <a:gd name="T94" fmla="*/ 215 w 215"/>
                  <a:gd name="T95" fmla="*/ 121 h 308"/>
                  <a:gd name="T96" fmla="*/ 215 w 215"/>
                  <a:gd name="T97" fmla="*/ 121 h 308"/>
                  <a:gd name="T98" fmla="*/ 42 w 215"/>
                  <a:gd name="T99" fmla="*/ 42 h 308"/>
                  <a:gd name="T100" fmla="*/ 200 w 215"/>
                  <a:gd name="T101" fmla="*/ 106 h 308"/>
                  <a:gd name="T102" fmla="*/ 44 w 215"/>
                  <a:gd name="T103" fmla="*/ 38 h 308"/>
                  <a:gd name="T104" fmla="*/ 213 w 215"/>
                  <a:gd name="T105" fmla="*/ 110 h 308"/>
                  <a:gd name="T106" fmla="*/ 48 w 215"/>
                  <a:gd name="T107" fmla="*/ 25 h 308"/>
                  <a:gd name="T108" fmla="*/ 46 w 215"/>
                  <a:gd name="T109" fmla="*/ 21 h 308"/>
                  <a:gd name="T110" fmla="*/ 48 w 215"/>
                  <a:gd name="T111" fmla="*/ 19 h 308"/>
                  <a:gd name="T112" fmla="*/ 48 w 215"/>
                  <a:gd name="T113" fmla="*/ 19 h 308"/>
                  <a:gd name="T114" fmla="*/ 60 w 215"/>
                  <a:gd name="T115" fmla="*/ 8 h 308"/>
                  <a:gd name="T116" fmla="*/ 58 w 215"/>
                  <a:gd name="T117" fmla="*/ 6 h 308"/>
                  <a:gd name="T118" fmla="*/ 50 w 215"/>
                  <a:gd name="T11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5" h="308">
                    <a:moveTo>
                      <a:pt x="46" y="308"/>
                    </a:moveTo>
                    <a:lnTo>
                      <a:pt x="46" y="306"/>
                    </a:lnTo>
                    <a:lnTo>
                      <a:pt x="46" y="308"/>
                    </a:lnTo>
                    <a:close/>
                    <a:moveTo>
                      <a:pt x="44" y="286"/>
                    </a:moveTo>
                    <a:lnTo>
                      <a:pt x="44" y="284"/>
                    </a:lnTo>
                    <a:lnTo>
                      <a:pt x="44" y="286"/>
                    </a:lnTo>
                    <a:close/>
                    <a:moveTo>
                      <a:pt x="62" y="256"/>
                    </a:moveTo>
                    <a:lnTo>
                      <a:pt x="62" y="258"/>
                    </a:lnTo>
                    <a:lnTo>
                      <a:pt x="62" y="256"/>
                    </a:lnTo>
                    <a:close/>
                    <a:moveTo>
                      <a:pt x="67" y="256"/>
                    </a:moveTo>
                    <a:lnTo>
                      <a:pt x="65" y="256"/>
                    </a:lnTo>
                    <a:lnTo>
                      <a:pt x="65" y="254"/>
                    </a:lnTo>
                    <a:lnTo>
                      <a:pt x="67" y="256"/>
                    </a:lnTo>
                    <a:close/>
                    <a:moveTo>
                      <a:pt x="83" y="236"/>
                    </a:moveTo>
                    <a:lnTo>
                      <a:pt x="81" y="236"/>
                    </a:lnTo>
                    <a:lnTo>
                      <a:pt x="83" y="236"/>
                    </a:lnTo>
                    <a:close/>
                    <a:moveTo>
                      <a:pt x="117" y="213"/>
                    </a:moveTo>
                    <a:lnTo>
                      <a:pt x="117" y="215"/>
                    </a:lnTo>
                    <a:lnTo>
                      <a:pt x="117" y="213"/>
                    </a:lnTo>
                    <a:close/>
                    <a:moveTo>
                      <a:pt x="121" y="210"/>
                    </a:moveTo>
                    <a:lnTo>
                      <a:pt x="119" y="210"/>
                    </a:lnTo>
                    <a:lnTo>
                      <a:pt x="119" y="208"/>
                    </a:lnTo>
                    <a:lnTo>
                      <a:pt x="121" y="210"/>
                    </a:lnTo>
                    <a:close/>
                    <a:moveTo>
                      <a:pt x="129" y="177"/>
                    </a:moveTo>
                    <a:lnTo>
                      <a:pt x="127" y="177"/>
                    </a:lnTo>
                    <a:lnTo>
                      <a:pt x="129" y="177"/>
                    </a:lnTo>
                    <a:close/>
                    <a:moveTo>
                      <a:pt x="127" y="177"/>
                    </a:moveTo>
                    <a:lnTo>
                      <a:pt x="127" y="175"/>
                    </a:lnTo>
                    <a:lnTo>
                      <a:pt x="127" y="177"/>
                    </a:lnTo>
                    <a:close/>
                    <a:moveTo>
                      <a:pt x="40" y="135"/>
                    </a:moveTo>
                    <a:lnTo>
                      <a:pt x="38" y="136"/>
                    </a:lnTo>
                    <a:lnTo>
                      <a:pt x="40" y="135"/>
                    </a:lnTo>
                    <a:close/>
                    <a:moveTo>
                      <a:pt x="123" y="163"/>
                    </a:moveTo>
                    <a:lnTo>
                      <a:pt x="123" y="165"/>
                    </a:lnTo>
                    <a:lnTo>
                      <a:pt x="123" y="163"/>
                    </a:lnTo>
                    <a:close/>
                    <a:moveTo>
                      <a:pt x="38" y="129"/>
                    </a:moveTo>
                    <a:lnTo>
                      <a:pt x="38" y="127"/>
                    </a:lnTo>
                    <a:lnTo>
                      <a:pt x="38" y="129"/>
                    </a:lnTo>
                    <a:close/>
                    <a:moveTo>
                      <a:pt x="121" y="156"/>
                    </a:moveTo>
                    <a:lnTo>
                      <a:pt x="121" y="158"/>
                    </a:lnTo>
                    <a:lnTo>
                      <a:pt x="121" y="156"/>
                    </a:lnTo>
                    <a:close/>
                    <a:moveTo>
                      <a:pt x="25" y="111"/>
                    </a:moveTo>
                    <a:lnTo>
                      <a:pt x="23" y="111"/>
                    </a:lnTo>
                    <a:lnTo>
                      <a:pt x="25" y="111"/>
                    </a:lnTo>
                    <a:close/>
                    <a:moveTo>
                      <a:pt x="27" y="106"/>
                    </a:moveTo>
                    <a:lnTo>
                      <a:pt x="25" y="106"/>
                    </a:lnTo>
                    <a:lnTo>
                      <a:pt x="27" y="106"/>
                    </a:lnTo>
                    <a:close/>
                    <a:moveTo>
                      <a:pt x="19" y="102"/>
                    </a:moveTo>
                    <a:lnTo>
                      <a:pt x="19" y="100"/>
                    </a:lnTo>
                    <a:lnTo>
                      <a:pt x="19" y="102"/>
                    </a:lnTo>
                    <a:close/>
                    <a:moveTo>
                      <a:pt x="15" y="98"/>
                    </a:moveTo>
                    <a:lnTo>
                      <a:pt x="15" y="96"/>
                    </a:lnTo>
                    <a:lnTo>
                      <a:pt x="15" y="98"/>
                    </a:lnTo>
                    <a:close/>
                    <a:moveTo>
                      <a:pt x="12" y="96"/>
                    </a:moveTo>
                    <a:lnTo>
                      <a:pt x="12" y="94"/>
                    </a:lnTo>
                    <a:lnTo>
                      <a:pt x="12" y="96"/>
                    </a:lnTo>
                    <a:close/>
                    <a:moveTo>
                      <a:pt x="0" y="88"/>
                    </a:moveTo>
                    <a:lnTo>
                      <a:pt x="0" y="90"/>
                    </a:lnTo>
                    <a:lnTo>
                      <a:pt x="0" y="88"/>
                    </a:lnTo>
                    <a:close/>
                    <a:moveTo>
                      <a:pt x="0" y="88"/>
                    </a:moveTo>
                    <a:lnTo>
                      <a:pt x="0" y="90"/>
                    </a:lnTo>
                    <a:lnTo>
                      <a:pt x="0" y="88"/>
                    </a:lnTo>
                    <a:close/>
                    <a:moveTo>
                      <a:pt x="8" y="94"/>
                    </a:moveTo>
                    <a:lnTo>
                      <a:pt x="8" y="92"/>
                    </a:lnTo>
                    <a:lnTo>
                      <a:pt x="8" y="94"/>
                    </a:lnTo>
                    <a:close/>
                    <a:moveTo>
                      <a:pt x="42" y="110"/>
                    </a:moveTo>
                    <a:lnTo>
                      <a:pt x="42" y="108"/>
                    </a:lnTo>
                    <a:lnTo>
                      <a:pt x="42" y="110"/>
                    </a:lnTo>
                    <a:close/>
                    <a:moveTo>
                      <a:pt x="10" y="90"/>
                    </a:moveTo>
                    <a:lnTo>
                      <a:pt x="8" y="90"/>
                    </a:lnTo>
                    <a:lnTo>
                      <a:pt x="10" y="90"/>
                    </a:lnTo>
                    <a:close/>
                    <a:moveTo>
                      <a:pt x="131" y="138"/>
                    </a:moveTo>
                    <a:lnTo>
                      <a:pt x="129" y="138"/>
                    </a:lnTo>
                    <a:lnTo>
                      <a:pt x="129" y="136"/>
                    </a:lnTo>
                    <a:lnTo>
                      <a:pt x="131" y="136"/>
                    </a:lnTo>
                    <a:lnTo>
                      <a:pt x="131" y="138"/>
                    </a:lnTo>
                    <a:close/>
                    <a:moveTo>
                      <a:pt x="127" y="133"/>
                    </a:moveTo>
                    <a:lnTo>
                      <a:pt x="127" y="131"/>
                    </a:lnTo>
                    <a:lnTo>
                      <a:pt x="127" y="133"/>
                    </a:lnTo>
                    <a:close/>
                    <a:moveTo>
                      <a:pt x="75" y="104"/>
                    </a:moveTo>
                    <a:lnTo>
                      <a:pt x="73" y="104"/>
                    </a:lnTo>
                    <a:lnTo>
                      <a:pt x="75" y="104"/>
                    </a:lnTo>
                    <a:close/>
                    <a:moveTo>
                      <a:pt x="15" y="77"/>
                    </a:moveTo>
                    <a:lnTo>
                      <a:pt x="15" y="75"/>
                    </a:lnTo>
                    <a:lnTo>
                      <a:pt x="17" y="77"/>
                    </a:lnTo>
                    <a:lnTo>
                      <a:pt x="15" y="77"/>
                    </a:lnTo>
                    <a:close/>
                    <a:moveTo>
                      <a:pt x="19" y="73"/>
                    </a:moveTo>
                    <a:lnTo>
                      <a:pt x="17" y="73"/>
                    </a:lnTo>
                    <a:lnTo>
                      <a:pt x="19" y="73"/>
                    </a:lnTo>
                    <a:close/>
                    <a:moveTo>
                      <a:pt x="127" y="121"/>
                    </a:moveTo>
                    <a:lnTo>
                      <a:pt x="127" y="119"/>
                    </a:lnTo>
                    <a:lnTo>
                      <a:pt x="127" y="121"/>
                    </a:lnTo>
                    <a:close/>
                    <a:moveTo>
                      <a:pt x="19" y="73"/>
                    </a:moveTo>
                    <a:lnTo>
                      <a:pt x="19" y="71"/>
                    </a:lnTo>
                    <a:lnTo>
                      <a:pt x="19" y="73"/>
                    </a:lnTo>
                    <a:close/>
                    <a:moveTo>
                      <a:pt x="190" y="144"/>
                    </a:moveTo>
                    <a:lnTo>
                      <a:pt x="190" y="142"/>
                    </a:lnTo>
                    <a:lnTo>
                      <a:pt x="190" y="144"/>
                    </a:lnTo>
                    <a:close/>
                    <a:moveTo>
                      <a:pt x="131" y="117"/>
                    </a:moveTo>
                    <a:lnTo>
                      <a:pt x="129" y="117"/>
                    </a:lnTo>
                    <a:lnTo>
                      <a:pt x="131" y="117"/>
                    </a:lnTo>
                    <a:close/>
                    <a:moveTo>
                      <a:pt x="131" y="117"/>
                    </a:moveTo>
                    <a:lnTo>
                      <a:pt x="129" y="117"/>
                    </a:lnTo>
                    <a:lnTo>
                      <a:pt x="131" y="117"/>
                    </a:lnTo>
                    <a:close/>
                    <a:moveTo>
                      <a:pt x="133" y="115"/>
                    </a:moveTo>
                    <a:lnTo>
                      <a:pt x="131" y="115"/>
                    </a:lnTo>
                    <a:lnTo>
                      <a:pt x="133" y="115"/>
                    </a:lnTo>
                    <a:close/>
                    <a:moveTo>
                      <a:pt x="31" y="65"/>
                    </a:moveTo>
                    <a:lnTo>
                      <a:pt x="33" y="65"/>
                    </a:lnTo>
                    <a:lnTo>
                      <a:pt x="31" y="65"/>
                    </a:lnTo>
                    <a:close/>
                    <a:moveTo>
                      <a:pt x="160" y="119"/>
                    </a:moveTo>
                    <a:lnTo>
                      <a:pt x="161" y="121"/>
                    </a:lnTo>
                    <a:lnTo>
                      <a:pt x="160" y="119"/>
                    </a:lnTo>
                    <a:close/>
                    <a:moveTo>
                      <a:pt x="208" y="136"/>
                    </a:moveTo>
                    <a:lnTo>
                      <a:pt x="206" y="136"/>
                    </a:lnTo>
                    <a:lnTo>
                      <a:pt x="208" y="136"/>
                    </a:lnTo>
                    <a:close/>
                    <a:moveTo>
                      <a:pt x="135" y="108"/>
                    </a:moveTo>
                    <a:lnTo>
                      <a:pt x="135" y="106"/>
                    </a:lnTo>
                    <a:lnTo>
                      <a:pt x="135" y="108"/>
                    </a:lnTo>
                    <a:close/>
                    <a:moveTo>
                      <a:pt x="136" y="108"/>
                    </a:moveTo>
                    <a:lnTo>
                      <a:pt x="136" y="106"/>
                    </a:lnTo>
                    <a:lnTo>
                      <a:pt x="136" y="108"/>
                    </a:lnTo>
                    <a:close/>
                    <a:moveTo>
                      <a:pt x="167" y="119"/>
                    </a:moveTo>
                    <a:lnTo>
                      <a:pt x="167" y="117"/>
                    </a:lnTo>
                    <a:lnTo>
                      <a:pt x="167" y="119"/>
                    </a:lnTo>
                    <a:close/>
                    <a:moveTo>
                      <a:pt x="35" y="61"/>
                    </a:moveTo>
                    <a:lnTo>
                      <a:pt x="33" y="61"/>
                    </a:lnTo>
                    <a:lnTo>
                      <a:pt x="35" y="61"/>
                    </a:lnTo>
                    <a:close/>
                    <a:moveTo>
                      <a:pt x="102" y="83"/>
                    </a:moveTo>
                    <a:lnTo>
                      <a:pt x="100" y="83"/>
                    </a:lnTo>
                    <a:lnTo>
                      <a:pt x="102" y="83"/>
                    </a:lnTo>
                    <a:close/>
                    <a:moveTo>
                      <a:pt x="38" y="52"/>
                    </a:moveTo>
                    <a:lnTo>
                      <a:pt x="37" y="52"/>
                    </a:lnTo>
                    <a:lnTo>
                      <a:pt x="38" y="52"/>
                    </a:lnTo>
                    <a:close/>
                    <a:moveTo>
                      <a:pt x="38" y="52"/>
                    </a:moveTo>
                    <a:lnTo>
                      <a:pt x="37" y="52"/>
                    </a:lnTo>
                    <a:lnTo>
                      <a:pt x="38" y="52"/>
                    </a:lnTo>
                    <a:close/>
                    <a:moveTo>
                      <a:pt x="110" y="81"/>
                    </a:moveTo>
                    <a:lnTo>
                      <a:pt x="110" y="83"/>
                    </a:lnTo>
                    <a:lnTo>
                      <a:pt x="110" y="81"/>
                    </a:lnTo>
                    <a:close/>
                    <a:moveTo>
                      <a:pt x="215" y="121"/>
                    </a:moveTo>
                    <a:lnTo>
                      <a:pt x="213" y="121"/>
                    </a:lnTo>
                    <a:lnTo>
                      <a:pt x="213" y="119"/>
                    </a:lnTo>
                    <a:lnTo>
                      <a:pt x="215" y="121"/>
                    </a:lnTo>
                    <a:close/>
                    <a:moveTo>
                      <a:pt x="215" y="121"/>
                    </a:moveTo>
                    <a:lnTo>
                      <a:pt x="215" y="119"/>
                    </a:lnTo>
                    <a:lnTo>
                      <a:pt x="215" y="121"/>
                    </a:lnTo>
                    <a:close/>
                    <a:moveTo>
                      <a:pt x="42" y="42"/>
                    </a:moveTo>
                    <a:lnTo>
                      <a:pt x="42" y="44"/>
                    </a:lnTo>
                    <a:lnTo>
                      <a:pt x="42" y="42"/>
                    </a:lnTo>
                    <a:close/>
                    <a:moveTo>
                      <a:pt x="200" y="106"/>
                    </a:moveTo>
                    <a:lnTo>
                      <a:pt x="198" y="106"/>
                    </a:lnTo>
                    <a:lnTo>
                      <a:pt x="200" y="106"/>
                    </a:lnTo>
                    <a:close/>
                    <a:moveTo>
                      <a:pt x="44" y="38"/>
                    </a:moveTo>
                    <a:lnTo>
                      <a:pt x="44" y="36"/>
                    </a:lnTo>
                    <a:lnTo>
                      <a:pt x="44" y="38"/>
                    </a:lnTo>
                    <a:close/>
                    <a:moveTo>
                      <a:pt x="213" y="110"/>
                    </a:moveTo>
                    <a:lnTo>
                      <a:pt x="213" y="108"/>
                    </a:lnTo>
                    <a:lnTo>
                      <a:pt x="213" y="110"/>
                    </a:lnTo>
                    <a:close/>
                    <a:moveTo>
                      <a:pt x="48" y="25"/>
                    </a:moveTo>
                    <a:lnTo>
                      <a:pt x="48" y="27"/>
                    </a:lnTo>
                    <a:lnTo>
                      <a:pt x="48" y="25"/>
                    </a:lnTo>
                    <a:close/>
                    <a:moveTo>
                      <a:pt x="46" y="21"/>
                    </a:moveTo>
                    <a:lnTo>
                      <a:pt x="46" y="23"/>
                    </a:lnTo>
                    <a:lnTo>
                      <a:pt x="46" y="21"/>
                    </a:lnTo>
                    <a:close/>
                    <a:moveTo>
                      <a:pt x="48" y="19"/>
                    </a:moveTo>
                    <a:lnTo>
                      <a:pt x="46" y="19"/>
                    </a:lnTo>
                    <a:lnTo>
                      <a:pt x="48" y="19"/>
                    </a:lnTo>
                    <a:close/>
                    <a:moveTo>
                      <a:pt x="48" y="19"/>
                    </a:moveTo>
                    <a:lnTo>
                      <a:pt x="48" y="21"/>
                    </a:lnTo>
                    <a:lnTo>
                      <a:pt x="48" y="19"/>
                    </a:lnTo>
                    <a:close/>
                    <a:moveTo>
                      <a:pt x="60" y="8"/>
                    </a:moveTo>
                    <a:lnTo>
                      <a:pt x="60" y="6"/>
                    </a:lnTo>
                    <a:lnTo>
                      <a:pt x="60" y="8"/>
                    </a:lnTo>
                    <a:close/>
                    <a:moveTo>
                      <a:pt x="58" y="6"/>
                    </a:moveTo>
                    <a:lnTo>
                      <a:pt x="58" y="4"/>
                    </a:lnTo>
                    <a:lnTo>
                      <a:pt x="58" y="6"/>
                    </a:lnTo>
                    <a:close/>
                    <a:moveTo>
                      <a:pt x="50" y="0"/>
                    </a:moveTo>
                    <a:lnTo>
                      <a:pt x="52" y="0"/>
                    </a:lnTo>
                    <a:lnTo>
                      <a:pt x="5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2" name="Freeform 102"/>
              <p:cNvSpPr>
                <a:spLocks/>
              </p:cNvSpPr>
              <p:nvPr/>
            </p:nvSpPr>
            <p:spPr bwMode="auto">
              <a:xfrm>
                <a:off x="1319002" y="2603951"/>
                <a:ext cx="240887" cy="172063"/>
              </a:xfrm>
              <a:custGeom>
                <a:avLst/>
                <a:gdLst>
                  <a:gd name="T0" fmla="*/ 132 w 140"/>
                  <a:gd name="T1" fmla="*/ 83 h 100"/>
                  <a:gd name="T2" fmla="*/ 127 w 140"/>
                  <a:gd name="T3" fmla="*/ 85 h 100"/>
                  <a:gd name="T4" fmla="*/ 121 w 140"/>
                  <a:gd name="T5" fmla="*/ 83 h 100"/>
                  <a:gd name="T6" fmla="*/ 117 w 140"/>
                  <a:gd name="T7" fmla="*/ 75 h 100"/>
                  <a:gd name="T8" fmla="*/ 113 w 140"/>
                  <a:gd name="T9" fmla="*/ 77 h 100"/>
                  <a:gd name="T10" fmla="*/ 107 w 140"/>
                  <a:gd name="T11" fmla="*/ 79 h 100"/>
                  <a:gd name="T12" fmla="*/ 102 w 140"/>
                  <a:gd name="T13" fmla="*/ 81 h 100"/>
                  <a:gd name="T14" fmla="*/ 96 w 140"/>
                  <a:gd name="T15" fmla="*/ 79 h 100"/>
                  <a:gd name="T16" fmla="*/ 90 w 140"/>
                  <a:gd name="T17" fmla="*/ 85 h 100"/>
                  <a:gd name="T18" fmla="*/ 82 w 140"/>
                  <a:gd name="T19" fmla="*/ 89 h 100"/>
                  <a:gd name="T20" fmla="*/ 75 w 140"/>
                  <a:gd name="T21" fmla="*/ 91 h 100"/>
                  <a:gd name="T22" fmla="*/ 69 w 140"/>
                  <a:gd name="T23" fmla="*/ 94 h 100"/>
                  <a:gd name="T24" fmla="*/ 59 w 140"/>
                  <a:gd name="T25" fmla="*/ 98 h 100"/>
                  <a:gd name="T26" fmla="*/ 56 w 140"/>
                  <a:gd name="T27" fmla="*/ 87 h 100"/>
                  <a:gd name="T28" fmla="*/ 56 w 140"/>
                  <a:gd name="T29" fmla="*/ 75 h 100"/>
                  <a:gd name="T30" fmla="*/ 46 w 140"/>
                  <a:gd name="T31" fmla="*/ 68 h 100"/>
                  <a:gd name="T32" fmla="*/ 42 w 140"/>
                  <a:gd name="T33" fmla="*/ 52 h 100"/>
                  <a:gd name="T34" fmla="*/ 32 w 140"/>
                  <a:gd name="T35" fmla="*/ 52 h 100"/>
                  <a:gd name="T36" fmla="*/ 21 w 140"/>
                  <a:gd name="T37" fmla="*/ 56 h 100"/>
                  <a:gd name="T38" fmla="*/ 13 w 140"/>
                  <a:gd name="T39" fmla="*/ 52 h 100"/>
                  <a:gd name="T40" fmla="*/ 4 w 140"/>
                  <a:gd name="T41" fmla="*/ 54 h 100"/>
                  <a:gd name="T42" fmla="*/ 2 w 140"/>
                  <a:gd name="T43" fmla="*/ 48 h 100"/>
                  <a:gd name="T44" fmla="*/ 4 w 140"/>
                  <a:gd name="T45" fmla="*/ 43 h 100"/>
                  <a:gd name="T46" fmla="*/ 6 w 140"/>
                  <a:gd name="T47" fmla="*/ 33 h 100"/>
                  <a:gd name="T48" fmla="*/ 6 w 140"/>
                  <a:gd name="T49" fmla="*/ 23 h 100"/>
                  <a:gd name="T50" fmla="*/ 4 w 140"/>
                  <a:gd name="T51" fmla="*/ 16 h 100"/>
                  <a:gd name="T52" fmla="*/ 7 w 140"/>
                  <a:gd name="T53" fmla="*/ 12 h 100"/>
                  <a:gd name="T54" fmla="*/ 15 w 140"/>
                  <a:gd name="T55" fmla="*/ 12 h 100"/>
                  <a:gd name="T56" fmla="*/ 17 w 140"/>
                  <a:gd name="T57" fmla="*/ 6 h 100"/>
                  <a:gd name="T58" fmla="*/ 23 w 140"/>
                  <a:gd name="T59" fmla="*/ 0 h 100"/>
                  <a:gd name="T60" fmla="*/ 34 w 140"/>
                  <a:gd name="T61" fmla="*/ 2 h 100"/>
                  <a:gd name="T62" fmla="*/ 44 w 140"/>
                  <a:gd name="T63" fmla="*/ 6 h 100"/>
                  <a:gd name="T64" fmla="*/ 48 w 140"/>
                  <a:gd name="T65" fmla="*/ 6 h 100"/>
                  <a:gd name="T66" fmla="*/ 54 w 140"/>
                  <a:gd name="T67" fmla="*/ 10 h 100"/>
                  <a:gd name="T68" fmla="*/ 59 w 140"/>
                  <a:gd name="T69" fmla="*/ 14 h 100"/>
                  <a:gd name="T70" fmla="*/ 59 w 140"/>
                  <a:gd name="T71" fmla="*/ 23 h 100"/>
                  <a:gd name="T72" fmla="*/ 69 w 140"/>
                  <a:gd name="T73" fmla="*/ 23 h 100"/>
                  <a:gd name="T74" fmla="*/ 79 w 140"/>
                  <a:gd name="T75" fmla="*/ 19 h 100"/>
                  <a:gd name="T76" fmla="*/ 80 w 140"/>
                  <a:gd name="T77" fmla="*/ 21 h 100"/>
                  <a:gd name="T78" fmla="*/ 88 w 140"/>
                  <a:gd name="T79" fmla="*/ 23 h 100"/>
                  <a:gd name="T80" fmla="*/ 94 w 140"/>
                  <a:gd name="T81" fmla="*/ 21 h 100"/>
                  <a:gd name="T82" fmla="*/ 102 w 140"/>
                  <a:gd name="T83" fmla="*/ 21 h 100"/>
                  <a:gd name="T84" fmla="*/ 109 w 140"/>
                  <a:gd name="T85" fmla="*/ 23 h 100"/>
                  <a:gd name="T86" fmla="*/ 115 w 140"/>
                  <a:gd name="T87" fmla="*/ 29 h 100"/>
                  <a:gd name="T88" fmla="*/ 119 w 140"/>
                  <a:gd name="T89" fmla="*/ 25 h 100"/>
                  <a:gd name="T90" fmla="*/ 125 w 140"/>
                  <a:gd name="T91" fmla="*/ 21 h 100"/>
                  <a:gd name="T92" fmla="*/ 129 w 140"/>
                  <a:gd name="T93" fmla="*/ 23 h 100"/>
                  <a:gd name="T94" fmla="*/ 125 w 140"/>
                  <a:gd name="T95" fmla="*/ 31 h 100"/>
                  <a:gd name="T96" fmla="*/ 125 w 140"/>
                  <a:gd name="T97" fmla="*/ 35 h 100"/>
                  <a:gd name="T98" fmla="*/ 129 w 140"/>
                  <a:gd name="T99" fmla="*/ 43 h 100"/>
                  <a:gd name="T100" fmla="*/ 132 w 140"/>
                  <a:gd name="T101" fmla="*/ 43 h 100"/>
                  <a:gd name="T102" fmla="*/ 134 w 140"/>
                  <a:gd name="T103" fmla="*/ 46 h 100"/>
                  <a:gd name="T104" fmla="*/ 134 w 140"/>
                  <a:gd name="T105" fmla="*/ 52 h 100"/>
                  <a:gd name="T106" fmla="*/ 134 w 140"/>
                  <a:gd name="T107" fmla="*/ 56 h 100"/>
                  <a:gd name="T108" fmla="*/ 138 w 140"/>
                  <a:gd name="T109" fmla="*/ 64 h 100"/>
                  <a:gd name="T110" fmla="*/ 134 w 140"/>
                  <a:gd name="T111" fmla="*/ 7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100">
                    <a:moveTo>
                      <a:pt x="134" y="77"/>
                    </a:moveTo>
                    <a:lnTo>
                      <a:pt x="134" y="75"/>
                    </a:lnTo>
                    <a:lnTo>
                      <a:pt x="132" y="77"/>
                    </a:lnTo>
                    <a:lnTo>
                      <a:pt x="136" y="79"/>
                    </a:lnTo>
                    <a:lnTo>
                      <a:pt x="136" y="81"/>
                    </a:lnTo>
                    <a:lnTo>
                      <a:pt x="136" y="83"/>
                    </a:lnTo>
                    <a:lnTo>
                      <a:pt x="134" y="83"/>
                    </a:lnTo>
                    <a:lnTo>
                      <a:pt x="132" y="83"/>
                    </a:lnTo>
                    <a:lnTo>
                      <a:pt x="130" y="83"/>
                    </a:lnTo>
                    <a:lnTo>
                      <a:pt x="129" y="83"/>
                    </a:lnTo>
                    <a:lnTo>
                      <a:pt x="129" y="85"/>
                    </a:lnTo>
                    <a:lnTo>
                      <a:pt x="127" y="85"/>
                    </a:lnTo>
                    <a:lnTo>
                      <a:pt x="125" y="87"/>
                    </a:lnTo>
                    <a:lnTo>
                      <a:pt x="125" y="85"/>
                    </a:lnTo>
                    <a:lnTo>
                      <a:pt x="125" y="83"/>
                    </a:lnTo>
                    <a:lnTo>
                      <a:pt x="127" y="85"/>
                    </a:lnTo>
                    <a:lnTo>
                      <a:pt x="127" y="83"/>
                    </a:lnTo>
                    <a:lnTo>
                      <a:pt x="129" y="83"/>
                    </a:lnTo>
                    <a:lnTo>
                      <a:pt x="127" y="81"/>
                    </a:lnTo>
                    <a:lnTo>
                      <a:pt x="125" y="83"/>
                    </a:lnTo>
                    <a:lnTo>
                      <a:pt x="125" y="85"/>
                    </a:lnTo>
                    <a:lnTo>
                      <a:pt x="123" y="83"/>
                    </a:lnTo>
                    <a:lnTo>
                      <a:pt x="123" y="85"/>
                    </a:lnTo>
                    <a:lnTo>
                      <a:pt x="121" y="83"/>
                    </a:lnTo>
                    <a:lnTo>
                      <a:pt x="121" y="81"/>
                    </a:lnTo>
                    <a:lnTo>
                      <a:pt x="123" y="81"/>
                    </a:lnTo>
                    <a:lnTo>
                      <a:pt x="123" y="79"/>
                    </a:lnTo>
                    <a:lnTo>
                      <a:pt x="123" y="77"/>
                    </a:lnTo>
                    <a:lnTo>
                      <a:pt x="121" y="77"/>
                    </a:lnTo>
                    <a:lnTo>
                      <a:pt x="119" y="77"/>
                    </a:lnTo>
                    <a:lnTo>
                      <a:pt x="119" y="75"/>
                    </a:lnTo>
                    <a:lnTo>
                      <a:pt x="117" y="75"/>
                    </a:lnTo>
                    <a:lnTo>
                      <a:pt x="117" y="77"/>
                    </a:lnTo>
                    <a:lnTo>
                      <a:pt x="117" y="75"/>
                    </a:lnTo>
                    <a:lnTo>
                      <a:pt x="115" y="77"/>
                    </a:lnTo>
                    <a:lnTo>
                      <a:pt x="115" y="79"/>
                    </a:lnTo>
                    <a:lnTo>
                      <a:pt x="113" y="79"/>
                    </a:lnTo>
                    <a:lnTo>
                      <a:pt x="111" y="79"/>
                    </a:lnTo>
                    <a:lnTo>
                      <a:pt x="111" y="77"/>
                    </a:lnTo>
                    <a:lnTo>
                      <a:pt x="113" y="77"/>
                    </a:lnTo>
                    <a:lnTo>
                      <a:pt x="113" y="75"/>
                    </a:lnTo>
                    <a:lnTo>
                      <a:pt x="111" y="75"/>
                    </a:lnTo>
                    <a:lnTo>
                      <a:pt x="111" y="77"/>
                    </a:lnTo>
                    <a:lnTo>
                      <a:pt x="109" y="77"/>
                    </a:lnTo>
                    <a:lnTo>
                      <a:pt x="109" y="79"/>
                    </a:lnTo>
                    <a:lnTo>
                      <a:pt x="107" y="79"/>
                    </a:lnTo>
                    <a:lnTo>
                      <a:pt x="109" y="79"/>
                    </a:lnTo>
                    <a:lnTo>
                      <a:pt x="107" y="79"/>
                    </a:lnTo>
                    <a:lnTo>
                      <a:pt x="107" y="81"/>
                    </a:lnTo>
                    <a:lnTo>
                      <a:pt x="107" y="83"/>
                    </a:lnTo>
                    <a:lnTo>
                      <a:pt x="105" y="83"/>
                    </a:lnTo>
                    <a:lnTo>
                      <a:pt x="105" y="81"/>
                    </a:lnTo>
                    <a:lnTo>
                      <a:pt x="105" y="83"/>
                    </a:lnTo>
                    <a:lnTo>
                      <a:pt x="104" y="83"/>
                    </a:lnTo>
                    <a:lnTo>
                      <a:pt x="104" y="81"/>
                    </a:lnTo>
                    <a:lnTo>
                      <a:pt x="102" y="81"/>
                    </a:lnTo>
                    <a:lnTo>
                      <a:pt x="102" y="79"/>
                    </a:lnTo>
                    <a:lnTo>
                      <a:pt x="102" y="77"/>
                    </a:lnTo>
                    <a:lnTo>
                      <a:pt x="102" y="79"/>
                    </a:lnTo>
                    <a:lnTo>
                      <a:pt x="100" y="79"/>
                    </a:lnTo>
                    <a:lnTo>
                      <a:pt x="100" y="77"/>
                    </a:lnTo>
                    <a:lnTo>
                      <a:pt x="98" y="77"/>
                    </a:lnTo>
                    <a:lnTo>
                      <a:pt x="98" y="79"/>
                    </a:lnTo>
                    <a:lnTo>
                      <a:pt x="96" y="79"/>
                    </a:lnTo>
                    <a:lnTo>
                      <a:pt x="98" y="77"/>
                    </a:lnTo>
                    <a:lnTo>
                      <a:pt x="96" y="77"/>
                    </a:lnTo>
                    <a:lnTo>
                      <a:pt x="96" y="79"/>
                    </a:lnTo>
                    <a:lnTo>
                      <a:pt x="94" y="81"/>
                    </a:lnTo>
                    <a:lnTo>
                      <a:pt x="92" y="81"/>
                    </a:lnTo>
                    <a:lnTo>
                      <a:pt x="90" y="81"/>
                    </a:lnTo>
                    <a:lnTo>
                      <a:pt x="90" y="83"/>
                    </a:lnTo>
                    <a:lnTo>
                      <a:pt x="90" y="85"/>
                    </a:lnTo>
                    <a:lnTo>
                      <a:pt x="92" y="85"/>
                    </a:lnTo>
                    <a:lnTo>
                      <a:pt x="92" y="87"/>
                    </a:lnTo>
                    <a:lnTo>
                      <a:pt x="90" y="87"/>
                    </a:lnTo>
                    <a:lnTo>
                      <a:pt x="88" y="89"/>
                    </a:lnTo>
                    <a:lnTo>
                      <a:pt x="88" y="87"/>
                    </a:lnTo>
                    <a:lnTo>
                      <a:pt x="86" y="89"/>
                    </a:lnTo>
                    <a:lnTo>
                      <a:pt x="84" y="89"/>
                    </a:lnTo>
                    <a:lnTo>
                      <a:pt x="82" y="89"/>
                    </a:lnTo>
                    <a:lnTo>
                      <a:pt x="82" y="91"/>
                    </a:lnTo>
                    <a:lnTo>
                      <a:pt x="80" y="93"/>
                    </a:lnTo>
                    <a:lnTo>
                      <a:pt x="79" y="91"/>
                    </a:lnTo>
                    <a:lnTo>
                      <a:pt x="79" y="93"/>
                    </a:lnTo>
                    <a:lnTo>
                      <a:pt x="79" y="91"/>
                    </a:lnTo>
                    <a:lnTo>
                      <a:pt x="79" y="89"/>
                    </a:lnTo>
                    <a:lnTo>
                      <a:pt x="77" y="91"/>
                    </a:lnTo>
                    <a:lnTo>
                      <a:pt x="75" y="91"/>
                    </a:lnTo>
                    <a:lnTo>
                      <a:pt x="75" y="93"/>
                    </a:lnTo>
                    <a:lnTo>
                      <a:pt x="77" y="93"/>
                    </a:lnTo>
                    <a:lnTo>
                      <a:pt x="77" y="94"/>
                    </a:lnTo>
                    <a:lnTo>
                      <a:pt x="75" y="94"/>
                    </a:lnTo>
                    <a:lnTo>
                      <a:pt x="75" y="96"/>
                    </a:lnTo>
                    <a:lnTo>
                      <a:pt x="73" y="96"/>
                    </a:lnTo>
                    <a:lnTo>
                      <a:pt x="71" y="96"/>
                    </a:lnTo>
                    <a:lnTo>
                      <a:pt x="69" y="94"/>
                    </a:lnTo>
                    <a:lnTo>
                      <a:pt x="67" y="96"/>
                    </a:lnTo>
                    <a:lnTo>
                      <a:pt x="67" y="94"/>
                    </a:lnTo>
                    <a:lnTo>
                      <a:pt x="65" y="94"/>
                    </a:lnTo>
                    <a:lnTo>
                      <a:pt x="63" y="96"/>
                    </a:lnTo>
                    <a:lnTo>
                      <a:pt x="61" y="96"/>
                    </a:lnTo>
                    <a:lnTo>
                      <a:pt x="61" y="98"/>
                    </a:lnTo>
                    <a:lnTo>
                      <a:pt x="61" y="100"/>
                    </a:lnTo>
                    <a:lnTo>
                      <a:pt x="59" y="98"/>
                    </a:lnTo>
                    <a:lnTo>
                      <a:pt x="57" y="96"/>
                    </a:lnTo>
                    <a:lnTo>
                      <a:pt x="57" y="94"/>
                    </a:lnTo>
                    <a:lnTo>
                      <a:pt x="57" y="93"/>
                    </a:lnTo>
                    <a:lnTo>
                      <a:pt x="59" y="91"/>
                    </a:lnTo>
                    <a:lnTo>
                      <a:pt x="57" y="91"/>
                    </a:lnTo>
                    <a:lnTo>
                      <a:pt x="56" y="91"/>
                    </a:lnTo>
                    <a:lnTo>
                      <a:pt x="56" y="89"/>
                    </a:lnTo>
                    <a:lnTo>
                      <a:pt x="56" y="87"/>
                    </a:lnTo>
                    <a:lnTo>
                      <a:pt x="54" y="87"/>
                    </a:lnTo>
                    <a:lnTo>
                      <a:pt x="54" y="85"/>
                    </a:lnTo>
                    <a:lnTo>
                      <a:pt x="54" y="83"/>
                    </a:lnTo>
                    <a:lnTo>
                      <a:pt x="54" y="81"/>
                    </a:lnTo>
                    <a:lnTo>
                      <a:pt x="56" y="79"/>
                    </a:lnTo>
                    <a:lnTo>
                      <a:pt x="54" y="77"/>
                    </a:lnTo>
                    <a:lnTo>
                      <a:pt x="56" y="77"/>
                    </a:lnTo>
                    <a:lnTo>
                      <a:pt x="56" y="75"/>
                    </a:lnTo>
                    <a:lnTo>
                      <a:pt x="56" y="73"/>
                    </a:lnTo>
                    <a:lnTo>
                      <a:pt x="54" y="73"/>
                    </a:lnTo>
                    <a:lnTo>
                      <a:pt x="52" y="71"/>
                    </a:lnTo>
                    <a:lnTo>
                      <a:pt x="50" y="69"/>
                    </a:lnTo>
                    <a:lnTo>
                      <a:pt x="50" y="68"/>
                    </a:lnTo>
                    <a:lnTo>
                      <a:pt x="48" y="68"/>
                    </a:lnTo>
                    <a:lnTo>
                      <a:pt x="48" y="69"/>
                    </a:lnTo>
                    <a:lnTo>
                      <a:pt x="46" y="68"/>
                    </a:lnTo>
                    <a:lnTo>
                      <a:pt x="44" y="66"/>
                    </a:lnTo>
                    <a:lnTo>
                      <a:pt x="44" y="64"/>
                    </a:lnTo>
                    <a:lnTo>
                      <a:pt x="44" y="62"/>
                    </a:lnTo>
                    <a:lnTo>
                      <a:pt x="46" y="62"/>
                    </a:lnTo>
                    <a:lnTo>
                      <a:pt x="44" y="60"/>
                    </a:lnTo>
                    <a:lnTo>
                      <a:pt x="48" y="54"/>
                    </a:lnTo>
                    <a:lnTo>
                      <a:pt x="44" y="52"/>
                    </a:lnTo>
                    <a:lnTo>
                      <a:pt x="42" y="52"/>
                    </a:lnTo>
                    <a:lnTo>
                      <a:pt x="40" y="52"/>
                    </a:lnTo>
                    <a:lnTo>
                      <a:pt x="38" y="54"/>
                    </a:lnTo>
                    <a:lnTo>
                      <a:pt x="38" y="52"/>
                    </a:lnTo>
                    <a:lnTo>
                      <a:pt x="36" y="52"/>
                    </a:lnTo>
                    <a:lnTo>
                      <a:pt x="34" y="52"/>
                    </a:lnTo>
                    <a:lnTo>
                      <a:pt x="32" y="52"/>
                    </a:lnTo>
                    <a:lnTo>
                      <a:pt x="32" y="54"/>
                    </a:lnTo>
                    <a:lnTo>
                      <a:pt x="32" y="52"/>
                    </a:lnTo>
                    <a:lnTo>
                      <a:pt x="31" y="54"/>
                    </a:lnTo>
                    <a:lnTo>
                      <a:pt x="29" y="54"/>
                    </a:lnTo>
                    <a:lnTo>
                      <a:pt x="27" y="54"/>
                    </a:lnTo>
                    <a:lnTo>
                      <a:pt x="27" y="52"/>
                    </a:lnTo>
                    <a:lnTo>
                      <a:pt x="27" y="54"/>
                    </a:lnTo>
                    <a:lnTo>
                      <a:pt x="25" y="54"/>
                    </a:lnTo>
                    <a:lnTo>
                      <a:pt x="23" y="56"/>
                    </a:lnTo>
                    <a:lnTo>
                      <a:pt x="21" y="56"/>
                    </a:lnTo>
                    <a:lnTo>
                      <a:pt x="19" y="56"/>
                    </a:lnTo>
                    <a:lnTo>
                      <a:pt x="19" y="54"/>
                    </a:lnTo>
                    <a:lnTo>
                      <a:pt x="17" y="54"/>
                    </a:lnTo>
                    <a:lnTo>
                      <a:pt x="15" y="54"/>
                    </a:lnTo>
                    <a:lnTo>
                      <a:pt x="15" y="52"/>
                    </a:lnTo>
                    <a:lnTo>
                      <a:pt x="13" y="52"/>
                    </a:lnTo>
                    <a:lnTo>
                      <a:pt x="13" y="50"/>
                    </a:lnTo>
                    <a:lnTo>
                      <a:pt x="13" y="52"/>
                    </a:lnTo>
                    <a:lnTo>
                      <a:pt x="11" y="52"/>
                    </a:lnTo>
                    <a:lnTo>
                      <a:pt x="13" y="52"/>
                    </a:lnTo>
                    <a:lnTo>
                      <a:pt x="11" y="52"/>
                    </a:lnTo>
                    <a:lnTo>
                      <a:pt x="9" y="52"/>
                    </a:lnTo>
                    <a:lnTo>
                      <a:pt x="7" y="52"/>
                    </a:lnTo>
                    <a:lnTo>
                      <a:pt x="6" y="52"/>
                    </a:lnTo>
                    <a:lnTo>
                      <a:pt x="4" y="52"/>
                    </a:lnTo>
                    <a:lnTo>
                      <a:pt x="4" y="54"/>
                    </a:lnTo>
                    <a:lnTo>
                      <a:pt x="2" y="52"/>
                    </a:lnTo>
                    <a:lnTo>
                      <a:pt x="2" y="54"/>
                    </a:lnTo>
                    <a:lnTo>
                      <a:pt x="2" y="52"/>
                    </a:lnTo>
                    <a:lnTo>
                      <a:pt x="4" y="52"/>
                    </a:lnTo>
                    <a:lnTo>
                      <a:pt x="2" y="52"/>
                    </a:lnTo>
                    <a:lnTo>
                      <a:pt x="0" y="52"/>
                    </a:lnTo>
                    <a:lnTo>
                      <a:pt x="2" y="50"/>
                    </a:lnTo>
                    <a:lnTo>
                      <a:pt x="2" y="48"/>
                    </a:lnTo>
                    <a:lnTo>
                      <a:pt x="2" y="46"/>
                    </a:lnTo>
                    <a:lnTo>
                      <a:pt x="4" y="46"/>
                    </a:lnTo>
                    <a:lnTo>
                      <a:pt x="6" y="46"/>
                    </a:lnTo>
                    <a:lnTo>
                      <a:pt x="6" y="44"/>
                    </a:lnTo>
                    <a:lnTo>
                      <a:pt x="4" y="44"/>
                    </a:lnTo>
                    <a:lnTo>
                      <a:pt x="6" y="44"/>
                    </a:lnTo>
                    <a:lnTo>
                      <a:pt x="6" y="43"/>
                    </a:lnTo>
                    <a:lnTo>
                      <a:pt x="4" y="43"/>
                    </a:lnTo>
                    <a:lnTo>
                      <a:pt x="2" y="43"/>
                    </a:lnTo>
                    <a:lnTo>
                      <a:pt x="2" y="41"/>
                    </a:lnTo>
                    <a:lnTo>
                      <a:pt x="2" y="39"/>
                    </a:lnTo>
                    <a:lnTo>
                      <a:pt x="2" y="37"/>
                    </a:lnTo>
                    <a:lnTo>
                      <a:pt x="2" y="35"/>
                    </a:lnTo>
                    <a:lnTo>
                      <a:pt x="4" y="35"/>
                    </a:lnTo>
                    <a:lnTo>
                      <a:pt x="4" y="33"/>
                    </a:lnTo>
                    <a:lnTo>
                      <a:pt x="6" y="33"/>
                    </a:lnTo>
                    <a:lnTo>
                      <a:pt x="7" y="31"/>
                    </a:lnTo>
                    <a:lnTo>
                      <a:pt x="7" y="29"/>
                    </a:lnTo>
                    <a:lnTo>
                      <a:pt x="7" y="27"/>
                    </a:lnTo>
                    <a:lnTo>
                      <a:pt x="9" y="27"/>
                    </a:lnTo>
                    <a:lnTo>
                      <a:pt x="9" y="25"/>
                    </a:lnTo>
                    <a:lnTo>
                      <a:pt x="7" y="25"/>
                    </a:lnTo>
                    <a:lnTo>
                      <a:pt x="7" y="23"/>
                    </a:lnTo>
                    <a:lnTo>
                      <a:pt x="6" y="23"/>
                    </a:lnTo>
                    <a:lnTo>
                      <a:pt x="4" y="23"/>
                    </a:lnTo>
                    <a:lnTo>
                      <a:pt x="6" y="23"/>
                    </a:lnTo>
                    <a:lnTo>
                      <a:pt x="6" y="21"/>
                    </a:lnTo>
                    <a:lnTo>
                      <a:pt x="4" y="21"/>
                    </a:lnTo>
                    <a:lnTo>
                      <a:pt x="4" y="19"/>
                    </a:lnTo>
                    <a:lnTo>
                      <a:pt x="2" y="19"/>
                    </a:lnTo>
                    <a:lnTo>
                      <a:pt x="4" y="18"/>
                    </a:lnTo>
                    <a:lnTo>
                      <a:pt x="4" y="16"/>
                    </a:lnTo>
                    <a:lnTo>
                      <a:pt x="6" y="16"/>
                    </a:lnTo>
                    <a:lnTo>
                      <a:pt x="4" y="16"/>
                    </a:lnTo>
                    <a:lnTo>
                      <a:pt x="4" y="14"/>
                    </a:lnTo>
                    <a:lnTo>
                      <a:pt x="6" y="14"/>
                    </a:lnTo>
                    <a:lnTo>
                      <a:pt x="4" y="14"/>
                    </a:lnTo>
                    <a:lnTo>
                      <a:pt x="4" y="12"/>
                    </a:lnTo>
                    <a:lnTo>
                      <a:pt x="6" y="12"/>
                    </a:lnTo>
                    <a:lnTo>
                      <a:pt x="7" y="12"/>
                    </a:lnTo>
                    <a:lnTo>
                      <a:pt x="7" y="10"/>
                    </a:lnTo>
                    <a:lnTo>
                      <a:pt x="7" y="12"/>
                    </a:lnTo>
                    <a:lnTo>
                      <a:pt x="7" y="10"/>
                    </a:lnTo>
                    <a:lnTo>
                      <a:pt x="9" y="12"/>
                    </a:lnTo>
                    <a:lnTo>
                      <a:pt x="11" y="12"/>
                    </a:lnTo>
                    <a:lnTo>
                      <a:pt x="13" y="12"/>
                    </a:lnTo>
                    <a:lnTo>
                      <a:pt x="13" y="14"/>
                    </a:lnTo>
                    <a:lnTo>
                      <a:pt x="15" y="12"/>
                    </a:lnTo>
                    <a:lnTo>
                      <a:pt x="17" y="12"/>
                    </a:lnTo>
                    <a:lnTo>
                      <a:pt x="17" y="14"/>
                    </a:lnTo>
                    <a:lnTo>
                      <a:pt x="17" y="12"/>
                    </a:lnTo>
                    <a:lnTo>
                      <a:pt x="17" y="10"/>
                    </a:lnTo>
                    <a:lnTo>
                      <a:pt x="15" y="10"/>
                    </a:lnTo>
                    <a:lnTo>
                      <a:pt x="15" y="8"/>
                    </a:lnTo>
                    <a:lnTo>
                      <a:pt x="17" y="8"/>
                    </a:lnTo>
                    <a:lnTo>
                      <a:pt x="17" y="6"/>
                    </a:lnTo>
                    <a:lnTo>
                      <a:pt x="17" y="8"/>
                    </a:lnTo>
                    <a:lnTo>
                      <a:pt x="19" y="8"/>
                    </a:lnTo>
                    <a:lnTo>
                      <a:pt x="21" y="4"/>
                    </a:lnTo>
                    <a:lnTo>
                      <a:pt x="21" y="2"/>
                    </a:lnTo>
                    <a:lnTo>
                      <a:pt x="23" y="2"/>
                    </a:lnTo>
                    <a:lnTo>
                      <a:pt x="21" y="2"/>
                    </a:lnTo>
                    <a:lnTo>
                      <a:pt x="23" y="2"/>
                    </a:lnTo>
                    <a:lnTo>
                      <a:pt x="23" y="0"/>
                    </a:lnTo>
                    <a:lnTo>
                      <a:pt x="25" y="0"/>
                    </a:lnTo>
                    <a:lnTo>
                      <a:pt x="27" y="2"/>
                    </a:lnTo>
                    <a:lnTo>
                      <a:pt x="29" y="2"/>
                    </a:lnTo>
                    <a:lnTo>
                      <a:pt x="31" y="2"/>
                    </a:lnTo>
                    <a:lnTo>
                      <a:pt x="32" y="2"/>
                    </a:lnTo>
                    <a:lnTo>
                      <a:pt x="34" y="2"/>
                    </a:lnTo>
                    <a:lnTo>
                      <a:pt x="34" y="4"/>
                    </a:lnTo>
                    <a:lnTo>
                      <a:pt x="34" y="2"/>
                    </a:lnTo>
                    <a:lnTo>
                      <a:pt x="36" y="0"/>
                    </a:lnTo>
                    <a:lnTo>
                      <a:pt x="40" y="2"/>
                    </a:lnTo>
                    <a:lnTo>
                      <a:pt x="40" y="4"/>
                    </a:lnTo>
                    <a:lnTo>
                      <a:pt x="42" y="4"/>
                    </a:lnTo>
                    <a:lnTo>
                      <a:pt x="40" y="6"/>
                    </a:lnTo>
                    <a:lnTo>
                      <a:pt x="42" y="6"/>
                    </a:lnTo>
                    <a:lnTo>
                      <a:pt x="42" y="4"/>
                    </a:lnTo>
                    <a:lnTo>
                      <a:pt x="44" y="6"/>
                    </a:lnTo>
                    <a:lnTo>
                      <a:pt x="46" y="6"/>
                    </a:lnTo>
                    <a:lnTo>
                      <a:pt x="48" y="6"/>
                    </a:lnTo>
                    <a:lnTo>
                      <a:pt x="48" y="4"/>
                    </a:lnTo>
                    <a:lnTo>
                      <a:pt x="46" y="4"/>
                    </a:lnTo>
                    <a:lnTo>
                      <a:pt x="48" y="4"/>
                    </a:lnTo>
                    <a:lnTo>
                      <a:pt x="48" y="6"/>
                    </a:lnTo>
                    <a:lnTo>
                      <a:pt x="50" y="6"/>
                    </a:lnTo>
                    <a:lnTo>
                      <a:pt x="48" y="6"/>
                    </a:lnTo>
                    <a:lnTo>
                      <a:pt x="48" y="8"/>
                    </a:lnTo>
                    <a:lnTo>
                      <a:pt x="50" y="8"/>
                    </a:lnTo>
                    <a:lnTo>
                      <a:pt x="50" y="10"/>
                    </a:lnTo>
                    <a:lnTo>
                      <a:pt x="52" y="10"/>
                    </a:lnTo>
                    <a:lnTo>
                      <a:pt x="54" y="10"/>
                    </a:lnTo>
                    <a:lnTo>
                      <a:pt x="52" y="10"/>
                    </a:lnTo>
                    <a:lnTo>
                      <a:pt x="52" y="12"/>
                    </a:lnTo>
                    <a:lnTo>
                      <a:pt x="54" y="10"/>
                    </a:lnTo>
                    <a:lnTo>
                      <a:pt x="56" y="12"/>
                    </a:lnTo>
                    <a:lnTo>
                      <a:pt x="56" y="10"/>
                    </a:lnTo>
                    <a:lnTo>
                      <a:pt x="56" y="12"/>
                    </a:lnTo>
                    <a:lnTo>
                      <a:pt x="56" y="14"/>
                    </a:lnTo>
                    <a:lnTo>
                      <a:pt x="57" y="14"/>
                    </a:lnTo>
                    <a:lnTo>
                      <a:pt x="57" y="12"/>
                    </a:lnTo>
                    <a:lnTo>
                      <a:pt x="57" y="14"/>
                    </a:lnTo>
                    <a:lnTo>
                      <a:pt x="59" y="14"/>
                    </a:lnTo>
                    <a:lnTo>
                      <a:pt x="59" y="16"/>
                    </a:lnTo>
                    <a:lnTo>
                      <a:pt x="59" y="18"/>
                    </a:lnTo>
                    <a:lnTo>
                      <a:pt x="57" y="18"/>
                    </a:lnTo>
                    <a:lnTo>
                      <a:pt x="56" y="19"/>
                    </a:lnTo>
                    <a:lnTo>
                      <a:pt x="56" y="21"/>
                    </a:lnTo>
                    <a:lnTo>
                      <a:pt x="56" y="23"/>
                    </a:lnTo>
                    <a:lnTo>
                      <a:pt x="57" y="21"/>
                    </a:lnTo>
                    <a:lnTo>
                      <a:pt x="59" y="23"/>
                    </a:lnTo>
                    <a:lnTo>
                      <a:pt x="61" y="23"/>
                    </a:lnTo>
                    <a:lnTo>
                      <a:pt x="61" y="21"/>
                    </a:lnTo>
                    <a:lnTo>
                      <a:pt x="63" y="21"/>
                    </a:lnTo>
                    <a:lnTo>
                      <a:pt x="63" y="23"/>
                    </a:lnTo>
                    <a:lnTo>
                      <a:pt x="65" y="21"/>
                    </a:lnTo>
                    <a:lnTo>
                      <a:pt x="67" y="21"/>
                    </a:lnTo>
                    <a:lnTo>
                      <a:pt x="67" y="23"/>
                    </a:lnTo>
                    <a:lnTo>
                      <a:pt x="69" y="23"/>
                    </a:lnTo>
                    <a:lnTo>
                      <a:pt x="69" y="21"/>
                    </a:lnTo>
                    <a:lnTo>
                      <a:pt x="71" y="21"/>
                    </a:lnTo>
                    <a:lnTo>
                      <a:pt x="71" y="19"/>
                    </a:lnTo>
                    <a:lnTo>
                      <a:pt x="73" y="21"/>
                    </a:lnTo>
                    <a:lnTo>
                      <a:pt x="75" y="19"/>
                    </a:lnTo>
                    <a:lnTo>
                      <a:pt x="77" y="19"/>
                    </a:lnTo>
                    <a:lnTo>
                      <a:pt x="77" y="18"/>
                    </a:lnTo>
                    <a:lnTo>
                      <a:pt x="79" y="19"/>
                    </a:lnTo>
                    <a:lnTo>
                      <a:pt x="80" y="19"/>
                    </a:lnTo>
                    <a:lnTo>
                      <a:pt x="80" y="18"/>
                    </a:lnTo>
                    <a:lnTo>
                      <a:pt x="82" y="19"/>
                    </a:lnTo>
                    <a:lnTo>
                      <a:pt x="80" y="19"/>
                    </a:lnTo>
                    <a:lnTo>
                      <a:pt x="82" y="19"/>
                    </a:lnTo>
                    <a:lnTo>
                      <a:pt x="80" y="21"/>
                    </a:lnTo>
                    <a:lnTo>
                      <a:pt x="82" y="21"/>
                    </a:lnTo>
                    <a:lnTo>
                      <a:pt x="80" y="21"/>
                    </a:lnTo>
                    <a:lnTo>
                      <a:pt x="82" y="21"/>
                    </a:lnTo>
                    <a:lnTo>
                      <a:pt x="82" y="23"/>
                    </a:lnTo>
                    <a:lnTo>
                      <a:pt x="84" y="21"/>
                    </a:lnTo>
                    <a:lnTo>
                      <a:pt x="84" y="23"/>
                    </a:lnTo>
                    <a:lnTo>
                      <a:pt x="82" y="25"/>
                    </a:lnTo>
                    <a:lnTo>
                      <a:pt x="84" y="25"/>
                    </a:lnTo>
                    <a:lnTo>
                      <a:pt x="86" y="23"/>
                    </a:lnTo>
                    <a:lnTo>
                      <a:pt x="88" y="23"/>
                    </a:lnTo>
                    <a:lnTo>
                      <a:pt x="88" y="25"/>
                    </a:lnTo>
                    <a:lnTo>
                      <a:pt x="90" y="25"/>
                    </a:lnTo>
                    <a:lnTo>
                      <a:pt x="92" y="25"/>
                    </a:lnTo>
                    <a:lnTo>
                      <a:pt x="92" y="23"/>
                    </a:lnTo>
                    <a:lnTo>
                      <a:pt x="92" y="25"/>
                    </a:lnTo>
                    <a:lnTo>
                      <a:pt x="94" y="23"/>
                    </a:lnTo>
                    <a:lnTo>
                      <a:pt x="92" y="21"/>
                    </a:lnTo>
                    <a:lnTo>
                      <a:pt x="94" y="21"/>
                    </a:lnTo>
                    <a:lnTo>
                      <a:pt x="96" y="21"/>
                    </a:lnTo>
                    <a:lnTo>
                      <a:pt x="96" y="19"/>
                    </a:lnTo>
                    <a:lnTo>
                      <a:pt x="98" y="19"/>
                    </a:lnTo>
                    <a:lnTo>
                      <a:pt x="100" y="18"/>
                    </a:lnTo>
                    <a:lnTo>
                      <a:pt x="102" y="18"/>
                    </a:lnTo>
                    <a:lnTo>
                      <a:pt x="102" y="19"/>
                    </a:lnTo>
                    <a:lnTo>
                      <a:pt x="100" y="19"/>
                    </a:lnTo>
                    <a:lnTo>
                      <a:pt x="102" y="21"/>
                    </a:lnTo>
                    <a:lnTo>
                      <a:pt x="102" y="23"/>
                    </a:lnTo>
                    <a:lnTo>
                      <a:pt x="104" y="21"/>
                    </a:lnTo>
                    <a:lnTo>
                      <a:pt x="102" y="23"/>
                    </a:lnTo>
                    <a:lnTo>
                      <a:pt x="104" y="23"/>
                    </a:lnTo>
                    <a:lnTo>
                      <a:pt x="104" y="21"/>
                    </a:lnTo>
                    <a:lnTo>
                      <a:pt x="107" y="21"/>
                    </a:lnTo>
                    <a:lnTo>
                      <a:pt x="109" y="21"/>
                    </a:lnTo>
                    <a:lnTo>
                      <a:pt x="109" y="23"/>
                    </a:lnTo>
                    <a:lnTo>
                      <a:pt x="111" y="23"/>
                    </a:lnTo>
                    <a:lnTo>
                      <a:pt x="113" y="23"/>
                    </a:lnTo>
                    <a:lnTo>
                      <a:pt x="115" y="25"/>
                    </a:lnTo>
                    <a:lnTo>
                      <a:pt x="113" y="27"/>
                    </a:lnTo>
                    <a:lnTo>
                      <a:pt x="115" y="27"/>
                    </a:lnTo>
                    <a:lnTo>
                      <a:pt x="113" y="27"/>
                    </a:lnTo>
                    <a:lnTo>
                      <a:pt x="115" y="27"/>
                    </a:lnTo>
                    <a:lnTo>
                      <a:pt x="115" y="29"/>
                    </a:lnTo>
                    <a:lnTo>
                      <a:pt x="113" y="29"/>
                    </a:lnTo>
                    <a:lnTo>
                      <a:pt x="113" y="31"/>
                    </a:lnTo>
                    <a:lnTo>
                      <a:pt x="115" y="31"/>
                    </a:lnTo>
                    <a:lnTo>
                      <a:pt x="117" y="31"/>
                    </a:lnTo>
                    <a:lnTo>
                      <a:pt x="119" y="31"/>
                    </a:lnTo>
                    <a:lnTo>
                      <a:pt x="119" y="29"/>
                    </a:lnTo>
                    <a:lnTo>
                      <a:pt x="119" y="27"/>
                    </a:lnTo>
                    <a:lnTo>
                      <a:pt x="119" y="25"/>
                    </a:lnTo>
                    <a:lnTo>
                      <a:pt x="121" y="25"/>
                    </a:lnTo>
                    <a:lnTo>
                      <a:pt x="121" y="27"/>
                    </a:lnTo>
                    <a:lnTo>
                      <a:pt x="123" y="27"/>
                    </a:lnTo>
                    <a:lnTo>
                      <a:pt x="123" y="25"/>
                    </a:lnTo>
                    <a:lnTo>
                      <a:pt x="121" y="23"/>
                    </a:lnTo>
                    <a:lnTo>
                      <a:pt x="123" y="23"/>
                    </a:lnTo>
                    <a:lnTo>
                      <a:pt x="123" y="21"/>
                    </a:lnTo>
                    <a:lnTo>
                      <a:pt x="125" y="21"/>
                    </a:lnTo>
                    <a:lnTo>
                      <a:pt x="125" y="19"/>
                    </a:lnTo>
                    <a:lnTo>
                      <a:pt x="127" y="21"/>
                    </a:lnTo>
                    <a:lnTo>
                      <a:pt x="127" y="19"/>
                    </a:lnTo>
                    <a:lnTo>
                      <a:pt x="129" y="19"/>
                    </a:lnTo>
                    <a:lnTo>
                      <a:pt x="130" y="19"/>
                    </a:lnTo>
                    <a:lnTo>
                      <a:pt x="130" y="21"/>
                    </a:lnTo>
                    <a:lnTo>
                      <a:pt x="130" y="23"/>
                    </a:lnTo>
                    <a:lnTo>
                      <a:pt x="129" y="23"/>
                    </a:lnTo>
                    <a:lnTo>
                      <a:pt x="129" y="25"/>
                    </a:lnTo>
                    <a:lnTo>
                      <a:pt x="127" y="25"/>
                    </a:lnTo>
                    <a:lnTo>
                      <a:pt x="127" y="27"/>
                    </a:lnTo>
                    <a:lnTo>
                      <a:pt x="127" y="29"/>
                    </a:lnTo>
                    <a:lnTo>
                      <a:pt x="125" y="29"/>
                    </a:lnTo>
                    <a:lnTo>
                      <a:pt x="125" y="31"/>
                    </a:lnTo>
                    <a:lnTo>
                      <a:pt x="123" y="31"/>
                    </a:lnTo>
                    <a:lnTo>
                      <a:pt x="125" y="31"/>
                    </a:lnTo>
                    <a:lnTo>
                      <a:pt x="127" y="31"/>
                    </a:lnTo>
                    <a:lnTo>
                      <a:pt x="125" y="31"/>
                    </a:lnTo>
                    <a:lnTo>
                      <a:pt x="125" y="33"/>
                    </a:lnTo>
                    <a:lnTo>
                      <a:pt x="125" y="35"/>
                    </a:lnTo>
                    <a:lnTo>
                      <a:pt x="125" y="33"/>
                    </a:lnTo>
                    <a:lnTo>
                      <a:pt x="125" y="35"/>
                    </a:lnTo>
                    <a:lnTo>
                      <a:pt x="125" y="33"/>
                    </a:lnTo>
                    <a:lnTo>
                      <a:pt x="125" y="35"/>
                    </a:lnTo>
                    <a:lnTo>
                      <a:pt x="125" y="37"/>
                    </a:lnTo>
                    <a:lnTo>
                      <a:pt x="123" y="37"/>
                    </a:lnTo>
                    <a:lnTo>
                      <a:pt x="123" y="39"/>
                    </a:lnTo>
                    <a:lnTo>
                      <a:pt x="125" y="39"/>
                    </a:lnTo>
                    <a:lnTo>
                      <a:pt x="125" y="41"/>
                    </a:lnTo>
                    <a:lnTo>
                      <a:pt x="127" y="41"/>
                    </a:lnTo>
                    <a:lnTo>
                      <a:pt x="127" y="43"/>
                    </a:lnTo>
                    <a:lnTo>
                      <a:pt x="129" y="43"/>
                    </a:lnTo>
                    <a:lnTo>
                      <a:pt x="129" y="41"/>
                    </a:lnTo>
                    <a:lnTo>
                      <a:pt x="127" y="41"/>
                    </a:lnTo>
                    <a:lnTo>
                      <a:pt x="129" y="41"/>
                    </a:lnTo>
                    <a:lnTo>
                      <a:pt x="130" y="41"/>
                    </a:lnTo>
                    <a:lnTo>
                      <a:pt x="130" y="43"/>
                    </a:lnTo>
                    <a:lnTo>
                      <a:pt x="130" y="41"/>
                    </a:lnTo>
                    <a:lnTo>
                      <a:pt x="130" y="43"/>
                    </a:lnTo>
                    <a:lnTo>
                      <a:pt x="132" y="43"/>
                    </a:lnTo>
                    <a:lnTo>
                      <a:pt x="134" y="43"/>
                    </a:lnTo>
                    <a:lnTo>
                      <a:pt x="134" y="41"/>
                    </a:lnTo>
                    <a:lnTo>
                      <a:pt x="134" y="43"/>
                    </a:lnTo>
                    <a:lnTo>
                      <a:pt x="136" y="43"/>
                    </a:lnTo>
                    <a:lnTo>
                      <a:pt x="134" y="44"/>
                    </a:lnTo>
                    <a:lnTo>
                      <a:pt x="136" y="44"/>
                    </a:lnTo>
                    <a:lnTo>
                      <a:pt x="136" y="46"/>
                    </a:lnTo>
                    <a:lnTo>
                      <a:pt x="134" y="46"/>
                    </a:lnTo>
                    <a:lnTo>
                      <a:pt x="136" y="46"/>
                    </a:lnTo>
                    <a:lnTo>
                      <a:pt x="136" y="48"/>
                    </a:lnTo>
                    <a:lnTo>
                      <a:pt x="134" y="48"/>
                    </a:lnTo>
                    <a:lnTo>
                      <a:pt x="136" y="48"/>
                    </a:lnTo>
                    <a:lnTo>
                      <a:pt x="136" y="50"/>
                    </a:lnTo>
                    <a:lnTo>
                      <a:pt x="134" y="50"/>
                    </a:lnTo>
                    <a:lnTo>
                      <a:pt x="136" y="52"/>
                    </a:lnTo>
                    <a:lnTo>
                      <a:pt x="134" y="52"/>
                    </a:lnTo>
                    <a:lnTo>
                      <a:pt x="132" y="52"/>
                    </a:lnTo>
                    <a:lnTo>
                      <a:pt x="134" y="52"/>
                    </a:lnTo>
                    <a:lnTo>
                      <a:pt x="134" y="54"/>
                    </a:lnTo>
                    <a:lnTo>
                      <a:pt x="132" y="54"/>
                    </a:lnTo>
                    <a:lnTo>
                      <a:pt x="134" y="54"/>
                    </a:lnTo>
                    <a:lnTo>
                      <a:pt x="132" y="54"/>
                    </a:lnTo>
                    <a:lnTo>
                      <a:pt x="132" y="56"/>
                    </a:lnTo>
                    <a:lnTo>
                      <a:pt x="134" y="56"/>
                    </a:lnTo>
                    <a:lnTo>
                      <a:pt x="136" y="56"/>
                    </a:lnTo>
                    <a:lnTo>
                      <a:pt x="136" y="58"/>
                    </a:lnTo>
                    <a:lnTo>
                      <a:pt x="138" y="58"/>
                    </a:lnTo>
                    <a:lnTo>
                      <a:pt x="138" y="60"/>
                    </a:lnTo>
                    <a:lnTo>
                      <a:pt x="140" y="60"/>
                    </a:lnTo>
                    <a:lnTo>
                      <a:pt x="140" y="62"/>
                    </a:lnTo>
                    <a:lnTo>
                      <a:pt x="140" y="64"/>
                    </a:lnTo>
                    <a:lnTo>
                      <a:pt x="138" y="64"/>
                    </a:lnTo>
                    <a:lnTo>
                      <a:pt x="138" y="66"/>
                    </a:lnTo>
                    <a:lnTo>
                      <a:pt x="140" y="66"/>
                    </a:lnTo>
                    <a:lnTo>
                      <a:pt x="140" y="68"/>
                    </a:lnTo>
                    <a:lnTo>
                      <a:pt x="138" y="69"/>
                    </a:lnTo>
                    <a:lnTo>
                      <a:pt x="136" y="71"/>
                    </a:lnTo>
                    <a:lnTo>
                      <a:pt x="134" y="73"/>
                    </a:lnTo>
                    <a:lnTo>
                      <a:pt x="134" y="75"/>
                    </a:lnTo>
                    <a:lnTo>
                      <a:pt x="134" y="7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3" name="Freeform 103"/>
              <p:cNvSpPr>
                <a:spLocks/>
              </p:cNvSpPr>
              <p:nvPr/>
            </p:nvSpPr>
            <p:spPr bwMode="auto">
              <a:xfrm>
                <a:off x="1000687" y="2714070"/>
                <a:ext cx="271859" cy="190990"/>
              </a:xfrm>
              <a:custGeom>
                <a:avLst/>
                <a:gdLst>
                  <a:gd name="T0" fmla="*/ 158 w 158"/>
                  <a:gd name="T1" fmla="*/ 46 h 111"/>
                  <a:gd name="T2" fmla="*/ 158 w 158"/>
                  <a:gd name="T3" fmla="*/ 61 h 111"/>
                  <a:gd name="T4" fmla="*/ 152 w 158"/>
                  <a:gd name="T5" fmla="*/ 71 h 111"/>
                  <a:gd name="T6" fmla="*/ 148 w 158"/>
                  <a:gd name="T7" fmla="*/ 80 h 111"/>
                  <a:gd name="T8" fmla="*/ 146 w 158"/>
                  <a:gd name="T9" fmla="*/ 86 h 111"/>
                  <a:gd name="T10" fmla="*/ 150 w 158"/>
                  <a:gd name="T11" fmla="*/ 98 h 111"/>
                  <a:gd name="T12" fmla="*/ 143 w 158"/>
                  <a:gd name="T13" fmla="*/ 102 h 111"/>
                  <a:gd name="T14" fmla="*/ 135 w 158"/>
                  <a:gd name="T15" fmla="*/ 102 h 111"/>
                  <a:gd name="T16" fmla="*/ 125 w 158"/>
                  <a:gd name="T17" fmla="*/ 100 h 111"/>
                  <a:gd name="T18" fmla="*/ 112 w 158"/>
                  <a:gd name="T19" fmla="*/ 107 h 111"/>
                  <a:gd name="T20" fmla="*/ 104 w 158"/>
                  <a:gd name="T21" fmla="*/ 109 h 111"/>
                  <a:gd name="T22" fmla="*/ 95 w 158"/>
                  <a:gd name="T23" fmla="*/ 105 h 111"/>
                  <a:gd name="T24" fmla="*/ 89 w 158"/>
                  <a:gd name="T25" fmla="*/ 96 h 111"/>
                  <a:gd name="T26" fmla="*/ 79 w 158"/>
                  <a:gd name="T27" fmla="*/ 92 h 111"/>
                  <a:gd name="T28" fmla="*/ 71 w 158"/>
                  <a:gd name="T29" fmla="*/ 92 h 111"/>
                  <a:gd name="T30" fmla="*/ 68 w 158"/>
                  <a:gd name="T31" fmla="*/ 100 h 111"/>
                  <a:gd name="T32" fmla="*/ 64 w 158"/>
                  <a:gd name="T33" fmla="*/ 104 h 111"/>
                  <a:gd name="T34" fmla="*/ 58 w 158"/>
                  <a:gd name="T35" fmla="*/ 102 h 111"/>
                  <a:gd name="T36" fmla="*/ 50 w 158"/>
                  <a:gd name="T37" fmla="*/ 94 h 111"/>
                  <a:gd name="T38" fmla="*/ 48 w 158"/>
                  <a:gd name="T39" fmla="*/ 84 h 111"/>
                  <a:gd name="T40" fmla="*/ 46 w 158"/>
                  <a:gd name="T41" fmla="*/ 73 h 111"/>
                  <a:gd name="T42" fmla="*/ 37 w 158"/>
                  <a:gd name="T43" fmla="*/ 61 h 111"/>
                  <a:gd name="T44" fmla="*/ 27 w 158"/>
                  <a:gd name="T45" fmla="*/ 65 h 111"/>
                  <a:gd name="T46" fmla="*/ 23 w 158"/>
                  <a:gd name="T47" fmla="*/ 71 h 111"/>
                  <a:gd name="T48" fmla="*/ 12 w 158"/>
                  <a:gd name="T49" fmla="*/ 67 h 111"/>
                  <a:gd name="T50" fmla="*/ 10 w 158"/>
                  <a:gd name="T51" fmla="*/ 65 h 111"/>
                  <a:gd name="T52" fmla="*/ 8 w 158"/>
                  <a:gd name="T53" fmla="*/ 63 h 111"/>
                  <a:gd name="T54" fmla="*/ 4 w 158"/>
                  <a:gd name="T55" fmla="*/ 67 h 111"/>
                  <a:gd name="T56" fmla="*/ 0 w 158"/>
                  <a:gd name="T57" fmla="*/ 57 h 111"/>
                  <a:gd name="T58" fmla="*/ 10 w 158"/>
                  <a:gd name="T59" fmla="*/ 44 h 111"/>
                  <a:gd name="T60" fmla="*/ 14 w 158"/>
                  <a:gd name="T61" fmla="*/ 44 h 111"/>
                  <a:gd name="T62" fmla="*/ 21 w 158"/>
                  <a:gd name="T63" fmla="*/ 44 h 111"/>
                  <a:gd name="T64" fmla="*/ 18 w 158"/>
                  <a:gd name="T65" fmla="*/ 34 h 111"/>
                  <a:gd name="T66" fmla="*/ 10 w 158"/>
                  <a:gd name="T67" fmla="*/ 34 h 111"/>
                  <a:gd name="T68" fmla="*/ 14 w 158"/>
                  <a:gd name="T69" fmla="*/ 32 h 111"/>
                  <a:gd name="T70" fmla="*/ 27 w 158"/>
                  <a:gd name="T71" fmla="*/ 29 h 111"/>
                  <a:gd name="T72" fmla="*/ 33 w 158"/>
                  <a:gd name="T73" fmla="*/ 23 h 111"/>
                  <a:gd name="T74" fmla="*/ 37 w 158"/>
                  <a:gd name="T75" fmla="*/ 15 h 111"/>
                  <a:gd name="T76" fmla="*/ 41 w 158"/>
                  <a:gd name="T77" fmla="*/ 9 h 111"/>
                  <a:gd name="T78" fmla="*/ 37 w 158"/>
                  <a:gd name="T79" fmla="*/ 5 h 111"/>
                  <a:gd name="T80" fmla="*/ 41 w 158"/>
                  <a:gd name="T81" fmla="*/ 2 h 111"/>
                  <a:gd name="T82" fmla="*/ 46 w 158"/>
                  <a:gd name="T83" fmla="*/ 5 h 111"/>
                  <a:gd name="T84" fmla="*/ 50 w 158"/>
                  <a:gd name="T85" fmla="*/ 11 h 111"/>
                  <a:gd name="T86" fmla="*/ 60 w 158"/>
                  <a:gd name="T87" fmla="*/ 9 h 111"/>
                  <a:gd name="T88" fmla="*/ 71 w 158"/>
                  <a:gd name="T89" fmla="*/ 7 h 111"/>
                  <a:gd name="T90" fmla="*/ 77 w 158"/>
                  <a:gd name="T91" fmla="*/ 23 h 111"/>
                  <a:gd name="T92" fmla="*/ 81 w 158"/>
                  <a:gd name="T93" fmla="*/ 30 h 111"/>
                  <a:gd name="T94" fmla="*/ 83 w 158"/>
                  <a:gd name="T95" fmla="*/ 40 h 111"/>
                  <a:gd name="T96" fmla="*/ 91 w 158"/>
                  <a:gd name="T97" fmla="*/ 54 h 111"/>
                  <a:gd name="T98" fmla="*/ 93 w 158"/>
                  <a:gd name="T99" fmla="*/ 57 h 111"/>
                  <a:gd name="T100" fmla="*/ 104 w 158"/>
                  <a:gd name="T101" fmla="*/ 65 h 111"/>
                  <a:gd name="T102" fmla="*/ 108 w 158"/>
                  <a:gd name="T103" fmla="*/ 57 h 111"/>
                  <a:gd name="T104" fmla="*/ 116 w 158"/>
                  <a:gd name="T105" fmla="*/ 48 h 111"/>
                  <a:gd name="T106" fmla="*/ 127 w 158"/>
                  <a:gd name="T107" fmla="*/ 46 h 111"/>
                  <a:gd name="T108" fmla="*/ 137 w 158"/>
                  <a:gd name="T109" fmla="*/ 34 h 111"/>
                  <a:gd name="T110" fmla="*/ 148 w 158"/>
                  <a:gd name="T111" fmla="*/ 34 h 111"/>
                  <a:gd name="T112" fmla="*/ 141 w 158"/>
                  <a:gd name="T113" fmla="*/ 4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8" h="111">
                    <a:moveTo>
                      <a:pt x="152" y="46"/>
                    </a:moveTo>
                    <a:lnTo>
                      <a:pt x="154" y="48"/>
                    </a:lnTo>
                    <a:lnTo>
                      <a:pt x="154" y="50"/>
                    </a:lnTo>
                    <a:lnTo>
                      <a:pt x="152" y="52"/>
                    </a:lnTo>
                    <a:lnTo>
                      <a:pt x="154" y="52"/>
                    </a:lnTo>
                    <a:lnTo>
                      <a:pt x="156" y="50"/>
                    </a:lnTo>
                    <a:lnTo>
                      <a:pt x="158" y="48"/>
                    </a:lnTo>
                    <a:lnTo>
                      <a:pt x="156" y="48"/>
                    </a:lnTo>
                    <a:lnTo>
                      <a:pt x="158" y="48"/>
                    </a:lnTo>
                    <a:lnTo>
                      <a:pt x="158" y="46"/>
                    </a:lnTo>
                    <a:lnTo>
                      <a:pt x="158" y="48"/>
                    </a:lnTo>
                    <a:lnTo>
                      <a:pt x="158" y="50"/>
                    </a:lnTo>
                    <a:lnTo>
                      <a:pt x="158" y="52"/>
                    </a:lnTo>
                    <a:lnTo>
                      <a:pt x="158" y="54"/>
                    </a:lnTo>
                    <a:lnTo>
                      <a:pt x="156" y="54"/>
                    </a:lnTo>
                    <a:lnTo>
                      <a:pt x="156" y="55"/>
                    </a:lnTo>
                    <a:lnTo>
                      <a:pt x="156" y="57"/>
                    </a:lnTo>
                    <a:lnTo>
                      <a:pt x="156" y="59"/>
                    </a:lnTo>
                    <a:lnTo>
                      <a:pt x="158" y="59"/>
                    </a:lnTo>
                    <a:lnTo>
                      <a:pt x="158" y="61"/>
                    </a:lnTo>
                    <a:lnTo>
                      <a:pt x="158" y="63"/>
                    </a:lnTo>
                    <a:lnTo>
                      <a:pt x="156" y="63"/>
                    </a:lnTo>
                    <a:lnTo>
                      <a:pt x="156" y="65"/>
                    </a:lnTo>
                    <a:lnTo>
                      <a:pt x="154" y="67"/>
                    </a:lnTo>
                    <a:lnTo>
                      <a:pt x="156" y="69"/>
                    </a:lnTo>
                    <a:lnTo>
                      <a:pt x="154" y="69"/>
                    </a:lnTo>
                    <a:lnTo>
                      <a:pt x="154" y="71"/>
                    </a:lnTo>
                    <a:lnTo>
                      <a:pt x="152" y="71"/>
                    </a:lnTo>
                    <a:lnTo>
                      <a:pt x="154" y="71"/>
                    </a:lnTo>
                    <a:lnTo>
                      <a:pt x="152" y="71"/>
                    </a:lnTo>
                    <a:lnTo>
                      <a:pt x="154" y="71"/>
                    </a:lnTo>
                    <a:lnTo>
                      <a:pt x="154" y="73"/>
                    </a:lnTo>
                    <a:lnTo>
                      <a:pt x="152" y="73"/>
                    </a:lnTo>
                    <a:lnTo>
                      <a:pt x="152" y="75"/>
                    </a:lnTo>
                    <a:lnTo>
                      <a:pt x="154" y="77"/>
                    </a:lnTo>
                    <a:lnTo>
                      <a:pt x="154" y="79"/>
                    </a:lnTo>
                    <a:lnTo>
                      <a:pt x="152" y="79"/>
                    </a:lnTo>
                    <a:lnTo>
                      <a:pt x="150" y="79"/>
                    </a:lnTo>
                    <a:lnTo>
                      <a:pt x="150" y="80"/>
                    </a:lnTo>
                    <a:lnTo>
                      <a:pt x="148" y="80"/>
                    </a:lnTo>
                    <a:lnTo>
                      <a:pt x="148" y="82"/>
                    </a:lnTo>
                    <a:lnTo>
                      <a:pt x="148" y="80"/>
                    </a:lnTo>
                    <a:lnTo>
                      <a:pt x="148" y="82"/>
                    </a:lnTo>
                    <a:lnTo>
                      <a:pt x="150" y="82"/>
                    </a:lnTo>
                    <a:lnTo>
                      <a:pt x="152" y="82"/>
                    </a:lnTo>
                    <a:lnTo>
                      <a:pt x="150" y="82"/>
                    </a:lnTo>
                    <a:lnTo>
                      <a:pt x="150" y="84"/>
                    </a:lnTo>
                    <a:lnTo>
                      <a:pt x="150" y="86"/>
                    </a:lnTo>
                    <a:lnTo>
                      <a:pt x="148" y="86"/>
                    </a:lnTo>
                    <a:lnTo>
                      <a:pt x="146" y="86"/>
                    </a:lnTo>
                    <a:lnTo>
                      <a:pt x="146" y="88"/>
                    </a:lnTo>
                    <a:lnTo>
                      <a:pt x="148" y="88"/>
                    </a:lnTo>
                    <a:lnTo>
                      <a:pt x="150" y="88"/>
                    </a:lnTo>
                    <a:lnTo>
                      <a:pt x="148" y="88"/>
                    </a:lnTo>
                    <a:lnTo>
                      <a:pt x="148" y="90"/>
                    </a:lnTo>
                    <a:lnTo>
                      <a:pt x="148" y="92"/>
                    </a:lnTo>
                    <a:lnTo>
                      <a:pt x="148" y="94"/>
                    </a:lnTo>
                    <a:lnTo>
                      <a:pt x="148" y="96"/>
                    </a:lnTo>
                    <a:lnTo>
                      <a:pt x="150" y="96"/>
                    </a:lnTo>
                    <a:lnTo>
                      <a:pt x="150" y="98"/>
                    </a:lnTo>
                    <a:lnTo>
                      <a:pt x="150" y="96"/>
                    </a:lnTo>
                    <a:lnTo>
                      <a:pt x="150" y="98"/>
                    </a:lnTo>
                    <a:lnTo>
                      <a:pt x="148" y="100"/>
                    </a:lnTo>
                    <a:lnTo>
                      <a:pt x="148" y="102"/>
                    </a:lnTo>
                    <a:lnTo>
                      <a:pt x="146" y="102"/>
                    </a:lnTo>
                    <a:lnTo>
                      <a:pt x="144" y="102"/>
                    </a:lnTo>
                    <a:lnTo>
                      <a:pt x="144" y="100"/>
                    </a:lnTo>
                    <a:lnTo>
                      <a:pt x="144" y="102"/>
                    </a:lnTo>
                    <a:lnTo>
                      <a:pt x="143" y="100"/>
                    </a:lnTo>
                    <a:lnTo>
                      <a:pt x="143" y="102"/>
                    </a:lnTo>
                    <a:lnTo>
                      <a:pt x="141" y="102"/>
                    </a:lnTo>
                    <a:lnTo>
                      <a:pt x="143" y="102"/>
                    </a:lnTo>
                    <a:lnTo>
                      <a:pt x="141" y="102"/>
                    </a:lnTo>
                    <a:lnTo>
                      <a:pt x="139" y="102"/>
                    </a:lnTo>
                    <a:lnTo>
                      <a:pt x="139" y="100"/>
                    </a:lnTo>
                    <a:lnTo>
                      <a:pt x="139" y="102"/>
                    </a:lnTo>
                    <a:lnTo>
                      <a:pt x="137" y="102"/>
                    </a:lnTo>
                    <a:lnTo>
                      <a:pt x="137" y="104"/>
                    </a:lnTo>
                    <a:lnTo>
                      <a:pt x="137" y="102"/>
                    </a:lnTo>
                    <a:lnTo>
                      <a:pt x="135" y="102"/>
                    </a:lnTo>
                    <a:lnTo>
                      <a:pt x="135" y="104"/>
                    </a:lnTo>
                    <a:lnTo>
                      <a:pt x="133" y="104"/>
                    </a:lnTo>
                    <a:lnTo>
                      <a:pt x="133" y="102"/>
                    </a:lnTo>
                    <a:lnTo>
                      <a:pt x="133" y="104"/>
                    </a:lnTo>
                    <a:lnTo>
                      <a:pt x="133" y="102"/>
                    </a:lnTo>
                    <a:lnTo>
                      <a:pt x="131" y="102"/>
                    </a:lnTo>
                    <a:lnTo>
                      <a:pt x="129" y="102"/>
                    </a:lnTo>
                    <a:lnTo>
                      <a:pt x="127" y="102"/>
                    </a:lnTo>
                    <a:lnTo>
                      <a:pt x="125" y="102"/>
                    </a:lnTo>
                    <a:lnTo>
                      <a:pt x="125" y="100"/>
                    </a:lnTo>
                    <a:lnTo>
                      <a:pt x="123" y="100"/>
                    </a:lnTo>
                    <a:lnTo>
                      <a:pt x="123" y="98"/>
                    </a:lnTo>
                    <a:lnTo>
                      <a:pt x="121" y="100"/>
                    </a:lnTo>
                    <a:lnTo>
                      <a:pt x="119" y="100"/>
                    </a:lnTo>
                    <a:lnTo>
                      <a:pt x="119" y="102"/>
                    </a:lnTo>
                    <a:lnTo>
                      <a:pt x="118" y="102"/>
                    </a:lnTo>
                    <a:lnTo>
                      <a:pt x="118" y="104"/>
                    </a:lnTo>
                    <a:lnTo>
                      <a:pt x="116" y="104"/>
                    </a:lnTo>
                    <a:lnTo>
                      <a:pt x="114" y="105"/>
                    </a:lnTo>
                    <a:lnTo>
                      <a:pt x="112" y="107"/>
                    </a:lnTo>
                    <a:lnTo>
                      <a:pt x="112" y="105"/>
                    </a:lnTo>
                    <a:lnTo>
                      <a:pt x="110" y="105"/>
                    </a:lnTo>
                    <a:lnTo>
                      <a:pt x="110" y="107"/>
                    </a:lnTo>
                    <a:lnTo>
                      <a:pt x="110" y="105"/>
                    </a:lnTo>
                    <a:lnTo>
                      <a:pt x="110" y="107"/>
                    </a:lnTo>
                    <a:lnTo>
                      <a:pt x="108" y="107"/>
                    </a:lnTo>
                    <a:lnTo>
                      <a:pt x="106" y="107"/>
                    </a:lnTo>
                    <a:lnTo>
                      <a:pt x="106" y="109"/>
                    </a:lnTo>
                    <a:lnTo>
                      <a:pt x="104" y="111"/>
                    </a:lnTo>
                    <a:lnTo>
                      <a:pt x="104" y="109"/>
                    </a:lnTo>
                    <a:lnTo>
                      <a:pt x="104" y="107"/>
                    </a:lnTo>
                    <a:lnTo>
                      <a:pt x="102" y="107"/>
                    </a:lnTo>
                    <a:lnTo>
                      <a:pt x="102" y="105"/>
                    </a:lnTo>
                    <a:lnTo>
                      <a:pt x="100" y="105"/>
                    </a:lnTo>
                    <a:lnTo>
                      <a:pt x="100" y="107"/>
                    </a:lnTo>
                    <a:lnTo>
                      <a:pt x="98" y="107"/>
                    </a:lnTo>
                    <a:lnTo>
                      <a:pt x="96" y="107"/>
                    </a:lnTo>
                    <a:lnTo>
                      <a:pt x="98" y="105"/>
                    </a:lnTo>
                    <a:lnTo>
                      <a:pt x="96" y="105"/>
                    </a:lnTo>
                    <a:lnTo>
                      <a:pt x="95" y="105"/>
                    </a:lnTo>
                    <a:lnTo>
                      <a:pt x="93" y="105"/>
                    </a:lnTo>
                    <a:lnTo>
                      <a:pt x="91" y="105"/>
                    </a:lnTo>
                    <a:lnTo>
                      <a:pt x="91" y="104"/>
                    </a:lnTo>
                    <a:lnTo>
                      <a:pt x="93" y="104"/>
                    </a:lnTo>
                    <a:lnTo>
                      <a:pt x="93" y="102"/>
                    </a:lnTo>
                    <a:lnTo>
                      <a:pt x="91" y="100"/>
                    </a:lnTo>
                    <a:lnTo>
                      <a:pt x="91" y="98"/>
                    </a:lnTo>
                    <a:lnTo>
                      <a:pt x="89" y="96"/>
                    </a:lnTo>
                    <a:lnTo>
                      <a:pt x="89" y="98"/>
                    </a:lnTo>
                    <a:lnTo>
                      <a:pt x="89" y="96"/>
                    </a:lnTo>
                    <a:lnTo>
                      <a:pt x="87" y="96"/>
                    </a:lnTo>
                    <a:lnTo>
                      <a:pt x="85" y="94"/>
                    </a:lnTo>
                    <a:lnTo>
                      <a:pt x="87" y="94"/>
                    </a:lnTo>
                    <a:lnTo>
                      <a:pt x="85" y="94"/>
                    </a:lnTo>
                    <a:lnTo>
                      <a:pt x="83" y="94"/>
                    </a:lnTo>
                    <a:lnTo>
                      <a:pt x="83" y="92"/>
                    </a:lnTo>
                    <a:lnTo>
                      <a:pt x="81" y="92"/>
                    </a:lnTo>
                    <a:lnTo>
                      <a:pt x="79" y="92"/>
                    </a:lnTo>
                    <a:lnTo>
                      <a:pt x="79" y="94"/>
                    </a:lnTo>
                    <a:lnTo>
                      <a:pt x="79" y="92"/>
                    </a:lnTo>
                    <a:lnTo>
                      <a:pt x="77" y="94"/>
                    </a:lnTo>
                    <a:lnTo>
                      <a:pt x="77" y="92"/>
                    </a:lnTo>
                    <a:lnTo>
                      <a:pt x="77" y="94"/>
                    </a:lnTo>
                    <a:lnTo>
                      <a:pt x="77" y="92"/>
                    </a:lnTo>
                    <a:lnTo>
                      <a:pt x="75" y="92"/>
                    </a:lnTo>
                    <a:lnTo>
                      <a:pt x="75" y="94"/>
                    </a:lnTo>
                    <a:lnTo>
                      <a:pt x="73" y="94"/>
                    </a:lnTo>
                    <a:lnTo>
                      <a:pt x="75" y="92"/>
                    </a:lnTo>
                    <a:lnTo>
                      <a:pt x="73" y="92"/>
                    </a:lnTo>
                    <a:lnTo>
                      <a:pt x="71" y="92"/>
                    </a:lnTo>
                    <a:lnTo>
                      <a:pt x="73" y="92"/>
                    </a:lnTo>
                    <a:lnTo>
                      <a:pt x="71" y="94"/>
                    </a:lnTo>
                    <a:lnTo>
                      <a:pt x="71" y="92"/>
                    </a:lnTo>
                    <a:lnTo>
                      <a:pt x="70" y="92"/>
                    </a:lnTo>
                    <a:lnTo>
                      <a:pt x="70" y="94"/>
                    </a:lnTo>
                    <a:lnTo>
                      <a:pt x="70" y="96"/>
                    </a:lnTo>
                    <a:lnTo>
                      <a:pt x="68" y="98"/>
                    </a:lnTo>
                    <a:lnTo>
                      <a:pt x="70" y="98"/>
                    </a:lnTo>
                    <a:lnTo>
                      <a:pt x="70" y="100"/>
                    </a:lnTo>
                    <a:lnTo>
                      <a:pt x="68" y="100"/>
                    </a:lnTo>
                    <a:lnTo>
                      <a:pt x="68" y="102"/>
                    </a:lnTo>
                    <a:lnTo>
                      <a:pt x="70" y="102"/>
                    </a:lnTo>
                    <a:lnTo>
                      <a:pt x="68" y="104"/>
                    </a:lnTo>
                    <a:lnTo>
                      <a:pt x="68" y="105"/>
                    </a:lnTo>
                    <a:lnTo>
                      <a:pt x="70" y="105"/>
                    </a:lnTo>
                    <a:lnTo>
                      <a:pt x="68" y="105"/>
                    </a:lnTo>
                    <a:lnTo>
                      <a:pt x="68" y="107"/>
                    </a:lnTo>
                    <a:lnTo>
                      <a:pt x="66" y="105"/>
                    </a:lnTo>
                    <a:lnTo>
                      <a:pt x="64" y="105"/>
                    </a:lnTo>
                    <a:lnTo>
                      <a:pt x="64" y="104"/>
                    </a:lnTo>
                    <a:lnTo>
                      <a:pt x="64" y="105"/>
                    </a:lnTo>
                    <a:lnTo>
                      <a:pt x="62" y="105"/>
                    </a:lnTo>
                    <a:lnTo>
                      <a:pt x="60" y="105"/>
                    </a:lnTo>
                    <a:lnTo>
                      <a:pt x="60" y="104"/>
                    </a:lnTo>
                    <a:lnTo>
                      <a:pt x="60" y="105"/>
                    </a:lnTo>
                    <a:lnTo>
                      <a:pt x="62" y="105"/>
                    </a:lnTo>
                    <a:lnTo>
                      <a:pt x="62" y="104"/>
                    </a:lnTo>
                    <a:lnTo>
                      <a:pt x="60" y="104"/>
                    </a:lnTo>
                    <a:lnTo>
                      <a:pt x="60" y="102"/>
                    </a:lnTo>
                    <a:lnTo>
                      <a:pt x="58" y="102"/>
                    </a:lnTo>
                    <a:lnTo>
                      <a:pt x="58" y="100"/>
                    </a:lnTo>
                    <a:lnTo>
                      <a:pt x="56" y="98"/>
                    </a:lnTo>
                    <a:lnTo>
                      <a:pt x="56" y="100"/>
                    </a:lnTo>
                    <a:lnTo>
                      <a:pt x="54" y="98"/>
                    </a:lnTo>
                    <a:lnTo>
                      <a:pt x="52" y="98"/>
                    </a:lnTo>
                    <a:lnTo>
                      <a:pt x="52" y="96"/>
                    </a:lnTo>
                    <a:lnTo>
                      <a:pt x="50" y="96"/>
                    </a:lnTo>
                    <a:lnTo>
                      <a:pt x="50" y="94"/>
                    </a:lnTo>
                    <a:lnTo>
                      <a:pt x="50" y="92"/>
                    </a:lnTo>
                    <a:lnTo>
                      <a:pt x="50" y="94"/>
                    </a:lnTo>
                    <a:lnTo>
                      <a:pt x="50" y="92"/>
                    </a:lnTo>
                    <a:lnTo>
                      <a:pt x="48" y="92"/>
                    </a:lnTo>
                    <a:lnTo>
                      <a:pt x="48" y="90"/>
                    </a:lnTo>
                    <a:lnTo>
                      <a:pt x="46" y="90"/>
                    </a:lnTo>
                    <a:lnTo>
                      <a:pt x="48" y="90"/>
                    </a:lnTo>
                    <a:lnTo>
                      <a:pt x="46" y="90"/>
                    </a:lnTo>
                    <a:lnTo>
                      <a:pt x="46" y="88"/>
                    </a:lnTo>
                    <a:lnTo>
                      <a:pt x="46" y="86"/>
                    </a:lnTo>
                    <a:lnTo>
                      <a:pt x="46" y="84"/>
                    </a:lnTo>
                    <a:lnTo>
                      <a:pt x="48" y="84"/>
                    </a:lnTo>
                    <a:lnTo>
                      <a:pt x="48" y="82"/>
                    </a:lnTo>
                    <a:lnTo>
                      <a:pt x="50" y="82"/>
                    </a:lnTo>
                    <a:lnTo>
                      <a:pt x="50" y="80"/>
                    </a:lnTo>
                    <a:lnTo>
                      <a:pt x="48" y="79"/>
                    </a:lnTo>
                    <a:lnTo>
                      <a:pt x="48" y="77"/>
                    </a:lnTo>
                    <a:lnTo>
                      <a:pt x="50" y="77"/>
                    </a:lnTo>
                    <a:lnTo>
                      <a:pt x="48" y="77"/>
                    </a:lnTo>
                    <a:lnTo>
                      <a:pt x="48" y="75"/>
                    </a:lnTo>
                    <a:lnTo>
                      <a:pt x="48" y="73"/>
                    </a:lnTo>
                    <a:lnTo>
                      <a:pt x="46" y="73"/>
                    </a:lnTo>
                    <a:lnTo>
                      <a:pt x="45" y="73"/>
                    </a:lnTo>
                    <a:lnTo>
                      <a:pt x="45" y="71"/>
                    </a:lnTo>
                    <a:lnTo>
                      <a:pt x="45" y="69"/>
                    </a:lnTo>
                    <a:lnTo>
                      <a:pt x="45" y="67"/>
                    </a:lnTo>
                    <a:lnTo>
                      <a:pt x="43" y="67"/>
                    </a:lnTo>
                    <a:lnTo>
                      <a:pt x="41" y="67"/>
                    </a:lnTo>
                    <a:lnTo>
                      <a:pt x="39" y="65"/>
                    </a:lnTo>
                    <a:lnTo>
                      <a:pt x="37" y="65"/>
                    </a:lnTo>
                    <a:lnTo>
                      <a:pt x="37" y="63"/>
                    </a:lnTo>
                    <a:lnTo>
                      <a:pt x="37" y="61"/>
                    </a:lnTo>
                    <a:lnTo>
                      <a:pt x="37" y="63"/>
                    </a:lnTo>
                    <a:lnTo>
                      <a:pt x="35" y="63"/>
                    </a:lnTo>
                    <a:lnTo>
                      <a:pt x="33" y="63"/>
                    </a:lnTo>
                    <a:lnTo>
                      <a:pt x="33" y="61"/>
                    </a:lnTo>
                    <a:lnTo>
                      <a:pt x="31" y="61"/>
                    </a:lnTo>
                    <a:lnTo>
                      <a:pt x="31" y="63"/>
                    </a:lnTo>
                    <a:lnTo>
                      <a:pt x="31" y="61"/>
                    </a:lnTo>
                    <a:lnTo>
                      <a:pt x="29" y="61"/>
                    </a:lnTo>
                    <a:lnTo>
                      <a:pt x="29" y="63"/>
                    </a:lnTo>
                    <a:lnTo>
                      <a:pt x="27" y="65"/>
                    </a:lnTo>
                    <a:lnTo>
                      <a:pt x="27" y="67"/>
                    </a:lnTo>
                    <a:lnTo>
                      <a:pt x="29" y="67"/>
                    </a:lnTo>
                    <a:lnTo>
                      <a:pt x="27" y="69"/>
                    </a:lnTo>
                    <a:lnTo>
                      <a:pt x="27" y="71"/>
                    </a:lnTo>
                    <a:lnTo>
                      <a:pt x="25" y="71"/>
                    </a:lnTo>
                    <a:lnTo>
                      <a:pt x="25" y="69"/>
                    </a:lnTo>
                    <a:lnTo>
                      <a:pt x="25" y="67"/>
                    </a:lnTo>
                    <a:lnTo>
                      <a:pt x="23" y="67"/>
                    </a:lnTo>
                    <a:lnTo>
                      <a:pt x="23" y="69"/>
                    </a:lnTo>
                    <a:lnTo>
                      <a:pt x="23" y="71"/>
                    </a:lnTo>
                    <a:lnTo>
                      <a:pt x="21" y="71"/>
                    </a:lnTo>
                    <a:lnTo>
                      <a:pt x="21" y="69"/>
                    </a:lnTo>
                    <a:lnTo>
                      <a:pt x="23" y="71"/>
                    </a:lnTo>
                    <a:lnTo>
                      <a:pt x="21" y="69"/>
                    </a:lnTo>
                    <a:lnTo>
                      <a:pt x="20" y="69"/>
                    </a:lnTo>
                    <a:lnTo>
                      <a:pt x="18" y="69"/>
                    </a:lnTo>
                    <a:lnTo>
                      <a:pt x="16" y="67"/>
                    </a:lnTo>
                    <a:lnTo>
                      <a:pt x="14" y="67"/>
                    </a:lnTo>
                    <a:lnTo>
                      <a:pt x="14" y="65"/>
                    </a:lnTo>
                    <a:lnTo>
                      <a:pt x="12" y="67"/>
                    </a:lnTo>
                    <a:lnTo>
                      <a:pt x="12" y="69"/>
                    </a:lnTo>
                    <a:lnTo>
                      <a:pt x="10" y="69"/>
                    </a:lnTo>
                    <a:lnTo>
                      <a:pt x="10" y="67"/>
                    </a:lnTo>
                    <a:lnTo>
                      <a:pt x="12" y="65"/>
                    </a:lnTo>
                    <a:lnTo>
                      <a:pt x="14" y="65"/>
                    </a:lnTo>
                    <a:lnTo>
                      <a:pt x="14" y="63"/>
                    </a:lnTo>
                    <a:lnTo>
                      <a:pt x="12" y="65"/>
                    </a:lnTo>
                    <a:lnTo>
                      <a:pt x="12" y="63"/>
                    </a:lnTo>
                    <a:lnTo>
                      <a:pt x="12" y="65"/>
                    </a:lnTo>
                    <a:lnTo>
                      <a:pt x="10" y="65"/>
                    </a:lnTo>
                    <a:lnTo>
                      <a:pt x="10" y="63"/>
                    </a:lnTo>
                    <a:lnTo>
                      <a:pt x="12" y="63"/>
                    </a:lnTo>
                    <a:lnTo>
                      <a:pt x="10" y="63"/>
                    </a:lnTo>
                    <a:lnTo>
                      <a:pt x="8" y="65"/>
                    </a:lnTo>
                    <a:lnTo>
                      <a:pt x="6" y="65"/>
                    </a:lnTo>
                    <a:lnTo>
                      <a:pt x="4" y="65"/>
                    </a:lnTo>
                    <a:lnTo>
                      <a:pt x="6" y="65"/>
                    </a:lnTo>
                    <a:lnTo>
                      <a:pt x="4" y="65"/>
                    </a:lnTo>
                    <a:lnTo>
                      <a:pt x="6" y="63"/>
                    </a:lnTo>
                    <a:lnTo>
                      <a:pt x="8" y="63"/>
                    </a:lnTo>
                    <a:lnTo>
                      <a:pt x="8" y="61"/>
                    </a:lnTo>
                    <a:lnTo>
                      <a:pt x="8" y="63"/>
                    </a:lnTo>
                    <a:lnTo>
                      <a:pt x="8" y="61"/>
                    </a:lnTo>
                    <a:lnTo>
                      <a:pt x="10" y="61"/>
                    </a:lnTo>
                    <a:lnTo>
                      <a:pt x="8" y="61"/>
                    </a:lnTo>
                    <a:lnTo>
                      <a:pt x="6" y="61"/>
                    </a:lnTo>
                    <a:lnTo>
                      <a:pt x="4" y="63"/>
                    </a:lnTo>
                    <a:lnTo>
                      <a:pt x="4" y="65"/>
                    </a:lnTo>
                    <a:lnTo>
                      <a:pt x="6" y="65"/>
                    </a:lnTo>
                    <a:lnTo>
                      <a:pt x="4" y="67"/>
                    </a:lnTo>
                    <a:lnTo>
                      <a:pt x="2" y="65"/>
                    </a:lnTo>
                    <a:lnTo>
                      <a:pt x="2" y="63"/>
                    </a:lnTo>
                    <a:lnTo>
                      <a:pt x="4" y="63"/>
                    </a:lnTo>
                    <a:lnTo>
                      <a:pt x="2" y="63"/>
                    </a:lnTo>
                    <a:lnTo>
                      <a:pt x="2" y="61"/>
                    </a:lnTo>
                    <a:lnTo>
                      <a:pt x="2" y="63"/>
                    </a:lnTo>
                    <a:lnTo>
                      <a:pt x="2" y="61"/>
                    </a:lnTo>
                    <a:lnTo>
                      <a:pt x="2" y="59"/>
                    </a:lnTo>
                    <a:lnTo>
                      <a:pt x="0" y="59"/>
                    </a:lnTo>
                    <a:lnTo>
                      <a:pt x="0" y="57"/>
                    </a:lnTo>
                    <a:lnTo>
                      <a:pt x="2" y="57"/>
                    </a:lnTo>
                    <a:lnTo>
                      <a:pt x="2" y="55"/>
                    </a:lnTo>
                    <a:lnTo>
                      <a:pt x="4" y="54"/>
                    </a:lnTo>
                    <a:lnTo>
                      <a:pt x="6" y="52"/>
                    </a:lnTo>
                    <a:lnTo>
                      <a:pt x="8" y="52"/>
                    </a:lnTo>
                    <a:lnTo>
                      <a:pt x="10" y="50"/>
                    </a:lnTo>
                    <a:lnTo>
                      <a:pt x="10" y="48"/>
                    </a:lnTo>
                    <a:lnTo>
                      <a:pt x="8" y="46"/>
                    </a:lnTo>
                    <a:lnTo>
                      <a:pt x="8" y="44"/>
                    </a:lnTo>
                    <a:lnTo>
                      <a:pt x="10" y="44"/>
                    </a:lnTo>
                    <a:lnTo>
                      <a:pt x="8" y="40"/>
                    </a:lnTo>
                    <a:lnTo>
                      <a:pt x="10" y="40"/>
                    </a:lnTo>
                    <a:lnTo>
                      <a:pt x="12" y="40"/>
                    </a:lnTo>
                    <a:lnTo>
                      <a:pt x="10" y="40"/>
                    </a:lnTo>
                    <a:lnTo>
                      <a:pt x="10" y="42"/>
                    </a:lnTo>
                    <a:lnTo>
                      <a:pt x="12" y="42"/>
                    </a:lnTo>
                    <a:lnTo>
                      <a:pt x="14" y="42"/>
                    </a:lnTo>
                    <a:lnTo>
                      <a:pt x="16" y="42"/>
                    </a:lnTo>
                    <a:lnTo>
                      <a:pt x="14" y="42"/>
                    </a:lnTo>
                    <a:lnTo>
                      <a:pt x="14" y="44"/>
                    </a:lnTo>
                    <a:lnTo>
                      <a:pt x="16" y="46"/>
                    </a:lnTo>
                    <a:lnTo>
                      <a:pt x="18" y="46"/>
                    </a:lnTo>
                    <a:lnTo>
                      <a:pt x="18" y="44"/>
                    </a:lnTo>
                    <a:lnTo>
                      <a:pt x="18" y="42"/>
                    </a:lnTo>
                    <a:lnTo>
                      <a:pt x="20" y="42"/>
                    </a:lnTo>
                    <a:lnTo>
                      <a:pt x="20" y="40"/>
                    </a:lnTo>
                    <a:lnTo>
                      <a:pt x="21" y="42"/>
                    </a:lnTo>
                    <a:lnTo>
                      <a:pt x="21" y="44"/>
                    </a:lnTo>
                    <a:lnTo>
                      <a:pt x="23" y="44"/>
                    </a:lnTo>
                    <a:lnTo>
                      <a:pt x="21" y="44"/>
                    </a:lnTo>
                    <a:lnTo>
                      <a:pt x="23" y="44"/>
                    </a:lnTo>
                    <a:lnTo>
                      <a:pt x="23" y="42"/>
                    </a:lnTo>
                    <a:lnTo>
                      <a:pt x="21" y="42"/>
                    </a:lnTo>
                    <a:lnTo>
                      <a:pt x="21" y="40"/>
                    </a:lnTo>
                    <a:lnTo>
                      <a:pt x="20" y="38"/>
                    </a:lnTo>
                    <a:lnTo>
                      <a:pt x="20" y="36"/>
                    </a:lnTo>
                    <a:lnTo>
                      <a:pt x="20" y="34"/>
                    </a:lnTo>
                    <a:lnTo>
                      <a:pt x="20" y="32"/>
                    </a:lnTo>
                    <a:lnTo>
                      <a:pt x="18" y="32"/>
                    </a:lnTo>
                    <a:lnTo>
                      <a:pt x="18" y="34"/>
                    </a:lnTo>
                    <a:lnTo>
                      <a:pt x="16" y="34"/>
                    </a:lnTo>
                    <a:lnTo>
                      <a:pt x="16" y="36"/>
                    </a:lnTo>
                    <a:lnTo>
                      <a:pt x="14" y="36"/>
                    </a:lnTo>
                    <a:lnTo>
                      <a:pt x="14" y="38"/>
                    </a:lnTo>
                    <a:lnTo>
                      <a:pt x="14" y="36"/>
                    </a:lnTo>
                    <a:lnTo>
                      <a:pt x="12" y="36"/>
                    </a:lnTo>
                    <a:lnTo>
                      <a:pt x="12" y="38"/>
                    </a:lnTo>
                    <a:lnTo>
                      <a:pt x="12" y="36"/>
                    </a:lnTo>
                    <a:lnTo>
                      <a:pt x="10" y="36"/>
                    </a:lnTo>
                    <a:lnTo>
                      <a:pt x="10" y="34"/>
                    </a:lnTo>
                    <a:lnTo>
                      <a:pt x="12" y="34"/>
                    </a:lnTo>
                    <a:lnTo>
                      <a:pt x="10" y="34"/>
                    </a:lnTo>
                    <a:lnTo>
                      <a:pt x="12" y="34"/>
                    </a:lnTo>
                    <a:lnTo>
                      <a:pt x="10" y="34"/>
                    </a:lnTo>
                    <a:lnTo>
                      <a:pt x="10" y="32"/>
                    </a:lnTo>
                    <a:lnTo>
                      <a:pt x="12" y="32"/>
                    </a:lnTo>
                    <a:lnTo>
                      <a:pt x="12" y="30"/>
                    </a:lnTo>
                    <a:lnTo>
                      <a:pt x="12" y="29"/>
                    </a:lnTo>
                    <a:lnTo>
                      <a:pt x="14" y="30"/>
                    </a:lnTo>
                    <a:lnTo>
                      <a:pt x="14" y="32"/>
                    </a:lnTo>
                    <a:lnTo>
                      <a:pt x="16" y="32"/>
                    </a:lnTo>
                    <a:lnTo>
                      <a:pt x="18" y="30"/>
                    </a:lnTo>
                    <a:lnTo>
                      <a:pt x="18" y="32"/>
                    </a:lnTo>
                    <a:lnTo>
                      <a:pt x="20" y="32"/>
                    </a:lnTo>
                    <a:lnTo>
                      <a:pt x="20" y="30"/>
                    </a:lnTo>
                    <a:lnTo>
                      <a:pt x="21" y="30"/>
                    </a:lnTo>
                    <a:lnTo>
                      <a:pt x="23" y="30"/>
                    </a:lnTo>
                    <a:lnTo>
                      <a:pt x="23" y="29"/>
                    </a:lnTo>
                    <a:lnTo>
                      <a:pt x="25" y="29"/>
                    </a:lnTo>
                    <a:lnTo>
                      <a:pt x="27" y="29"/>
                    </a:lnTo>
                    <a:lnTo>
                      <a:pt x="29" y="29"/>
                    </a:lnTo>
                    <a:lnTo>
                      <a:pt x="29" y="27"/>
                    </a:lnTo>
                    <a:lnTo>
                      <a:pt x="29" y="25"/>
                    </a:lnTo>
                    <a:lnTo>
                      <a:pt x="31" y="25"/>
                    </a:lnTo>
                    <a:lnTo>
                      <a:pt x="29" y="25"/>
                    </a:lnTo>
                    <a:lnTo>
                      <a:pt x="29" y="23"/>
                    </a:lnTo>
                    <a:lnTo>
                      <a:pt x="31" y="23"/>
                    </a:lnTo>
                    <a:lnTo>
                      <a:pt x="31" y="21"/>
                    </a:lnTo>
                    <a:lnTo>
                      <a:pt x="33" y="21"/>
                    </a:lnTo>
                    <a:lnTo>
                      <a:pt x="33" y="23"/>
                    </a:lnTo>
                    <a:lnTo>
                      <a:pt x="33" y="21"/>
                    </a:lnTo>
                    <a:lnTo>
                      <a:pt x="35" y="21"/>
                    </a:lnTo>
                    <a:lnTo>
                      <a:pt x="35" y="19"/>
                    </a:lnTo>
                    <a:lnTo>
                      <a:pt x="37" y="19"/>
                    </a:lnTo>
                    <a:lnTo>
                      <a:pt x="37" y="17"/>
                    </a:lnTo>
                    <a:lnTo>
                      <a:pt x="37" y="19"/>
                    </a:lnTo>
                    <a:lnTo>
                      <a:pt x="39" y="19"/>
                    </a:lnTo>
                    <a:lnTo>
                      <a:pt x="39" y="17"/>
                    </a:lnTo>
                    <a:lnTo>
                      <a:pt x="37" y="17"/>
                    </a:lnTo>
                    <a:lnTo>
                      <a:pt x="37" y="15"/>
                    </a:lnTo>
                    <a:lnTo>
                      <a:pt x="39" y="15"/>
                    </a:lnTo>
                    <a:lnTo>
                      <a:pt x="39" y="13"/>
                    </a:lnTo>
                    <a:lnTo>
                      <a:pt x="37" y="15"/>
                    </a:lnTo>
                    <a:lnTo>
                      <a:pt x="37" y="13"/>
                    </a:lnTo>
                    <a:lnTo>
                      <a:pt x="39" y="13"/>
                    </a:lnTo>
                    <a:lnTo>
                      <a:pt x="39" y="11"/>
                    </a:lnTo>
                    <a:lnTo>
                      <a:pt x="41" y="11"/>
                    </a:lnTo>
                    <a:lnTo>
                      <a:pt x="41" y="13"/>
                    </a:lnTo>
                    <a:lnTo>
                      <a:pt x="41" y="11"/>
                    </a:lnTo>
                    <a:lnTo>
                      <a:pt x="41" y="9"/>
                    </a:lnTo>
                    <a:lnTo>
                      <a:pt x="39" y="9"/>
                    </a:lnTo>
                    <a:lnTo>
                      <a:pt x="39" y="11"/>
                    </a:lnTo>
                    <a:lnTo>
                      <a:pt x="37" y="9"/>
                    </a:lnTo>
                    <a:lnTo>
                      <a:pt x="37" y="7"/>
                    </a:lnTo>
                    <a:lnTo>
                      <a:pt x="37" y="9"/>
                    </a:lnTo>
                    <a:lnTo>
                      <a:pt x="35" y="7"/>
                    </a:lnTo>
                    <a:lnTo>
                      <a:pt x="35" y="5"/>
                    </a:lnTo>
                    <a:lnTo>
                      <a:pt x="35" y="7"/>
                    </a:lnTo>
                    <a:lnTo>
                      <a:pt x="35" y="5"/>
                    </a:lnTo>
                    <a:lnTo>
                      <a:pt x="37" y="5"/>
                    </a:lnTo>
                    <a:lnTo>
                      <a:pt x="37" y="4"/>
                    </a:lnTo>
                    <a:lnTo>
                      <a:pt x="35" y="4"/>
                    </a:lnTo>
                    <a:lnTo>
                      <a:pt x="37" y="4"/>
                    </a:lnTo>
                    <a:lnTo>
                      <a:pt x="37" y="2"/>
                    </a:lnTo>
                    <a:lnTo>
                      <a:pt x="39" y="2"/>
                    </a:lnTo>
                    <a:lnTo>
                      <a:pt x="37" y="4"/>
                    </a:lnTo>
                    <a:lnTo>
                      <a:pt x="39" y="5"/>
                    </a:lnTo>
                    <a:lnTo>
                      <a:pt x="39" y="4"/>
                    </a:lnTo>
                    <a:lnTo>
                      <a:pt x="39" y="2"/>
                    </a:lnTo>
                    <a:lnTo>
                      <a:pt x="41" y="2"/>
                    </a:lnTo>
                    <a:lnTo>
                      <a:pt x="41" y="0"/>
                    </a:lnTo>
                    <a:lnTo>
                      <a:pt x="43" y="0"/>
                    </a:lnTo>
                    <a:lnTo>
                      <a:pt x="43" y="2"/>
                    </a:lnTo>
                    <a:lnTo>
                      <a:pt x="41" y="2"/>
                    </a:lnTo>
                    <a:lnTo>
                      <a:pt x="43" y="4"/>
                    </a:lnTo>
                    <a:lnTo>
                      <a:pt x="43" y="5"/>
                    </a:lnTo>
                    <a:lnTo>
                      <a:pt x="45" y="5"/>
                    </a:lnTo>
                    <a:lnTo>
                      <a:pt x="46" y="5"/>
                    </a:lnTo>
                    <a:lnTo>
                      <a:pt x="48" y="5"/>
                    </a:lnTo>
                    <a:lnTo>
                      <a:pt x="46" y="5"/>
                    </a:lnTo>
                    <a:lnTo>
                      <a:pt x="46" y="7"/>
                    </a:lnTo>
                    <a:lnTo>
                      <a:pt x="48" y="7"/>
                    </a:lnTo>
                    <a:lnTo>
                      <a:pt x="48" y="9"/>
                    </a:lnTo>
                    <a:lnTo>
                      <a:pt x="46" y="9"/>
                    </a:lnTo>
                    <a:lnTo>
                      <a:pt x="48" y="9"/>
                    </a:lnTo>
                    <a:lnTo>
                      <a:pt x="48" y="11"/>
                    </a:lnTo>
                    <a:lnTo>
                      <a:pt x="48" y="9"/>
                    </a:lnTo>
                    <a:lnTo>
                      <a:pt x="50" y="9"/>
                    </a:lnTo>
                    <a:lnTo>
                      <a:pt x="48" y="11"/>
                    </a:lnTo>
                    <a:lnTo>
                      <a:pt x="50" y="11"/>
                    </a:lnTo>
                    <a:lnTo>
                      <a:pt x="52" y="11"/>
                    </a:lnTo>
                    <a:lnTo>
                      <a:pt x="54" y="11"/>
                    </a:lnTo>
                    <a:lnTo>
                      <a:pt x="54" y="13"/>
                    </a:lnTo>
                    <a:lnTo>
                      <a:pt x="54" y="11"/>
                    </a:lnTo>
                    <a:lnTo>
                      <a:pt x="56" y="11"/>
                    </a:lnTo>
                    <a:lnTo>
                      <a:pt x="54" y="13"/>
                    </a:lnTo>
                    <a:lnTo>
                      <a:pt x="56" y="13"/>
                    </a:lnTo>
                    <a:lnTo>
                      <a:pt x="58" y="13"/>
                    </a:lnTo>
                    <a:lnTo>
                      <a:pt x="60" y="11"/>
                    </a:lnTo>
                    <a:lnTo>
                      <a:pt x="60" y="9"/>
                    </a:lnTo>
                    <a:lnTo>
                      <a:pt x="62" y="9"/>
                    </a:lnTo>
                    <a:lnTo>
                      <a:pt x="62" y="7"/>
                    </a:lnTo>
                    <a:lnTo>
                      <a:pt x="64" y="7"/>
                    </a:lnTo>
                    <a:lnTo>
                      <a:pt x="64" y="9"/>
                    </a:lnTo>
                    <a:lnTo>
                      <a:pt x="66" y="9"/>
                    </a:lnTo>
                    <a:lnTo>
                      <a:pt x="66" y="7"/>
                    </a:lnTo>
                    <a:lnTo>
                      <a:pt x="66" y="9"/>
                    </a:lnTo>
                    <a:lnTo>
                      <a:pt x="68" y="7"/>
                    </a:lnTo>
                    <a:lnTo>
                      <a:pt x="70" y="7"/>
                    </a:lnTo>
                    <a:lnTo>
                      <a:pt x="71" y="7"/>
                    </a:lnTo>
                    <a:lnTo>
                      <a:pt x="71" y="9"/>
                    </a:lnTo>
                    <a:lnTo>
                      <a:pt x="73" y="11"/>
                    </a:lnTo>
                    <a:lnTo>
                      <a:pt x="71" y="11"/>
                    </a:lnTo>
                    <a:lnTo>
                      <a:pt x="73" y="13"/>
                    </a:lnTo>
                    <a:lnTo>
                      <a:pt x="75" y="15"/>
                    </a:lnTo>
                    <a:lnTo>
                      <a:pt x="75" y="17"/>
                    </a:lnTo>
                    <a:lnTo>
                      <a:pt x="75" y="19"/>
                    </a:lnTo>
                    <a:lnTo>
                      <a:pt x="75" y="21"/>
                    </a:lnTo>
                    <a:lnTo>
                      <a:pt x="77" y="21"/>
                    </a:lnTo>
                    <a:lnTo>
                      <a:pt x="77" y="23"/>
                    </a:lnTo>
                    <a:lnTo>
                      <a:pt x="79" y="23"/>
                    </a:lnTo>
                    <a:lnTo>
                      <a:pt x="79" y="25"/>
                    </a:lnTo>
                    <a:lnTo>
                      <a:pt x="81" y="27"/>
                    </a:lnTo>
                    <a:lnTo>
                      <a:pt x="81" y="25"/>
                    </a:lnTo>
                    <a:lnTo>
                      <a:pt x="81" y="27"/>
                    </a:lnTo>
                    <a:lnTo>
                      <a:pt x="83" y="27"/>
                    </a:lnTo>
                    <a:lnTo>
                      <a:pt x="81" y="29"/>
                    </a:lnTo>
                    <a:lnTo>
                      <a:pt x="79" y="29"/>
                    </a:lnTo>
                    <a:lnTo>
                      <a:pt x="79" y="30"/>
                    </a:lnTo>
                    <a:lnTo>
                      <a:pt x="81" y="30"/>
                    </a:lnTo>
                    <a:lnTo>
                      <a:pt x="81" y="32"/>
                    </a:lnTo>
                    <a:lnTo>
                      <a:pt x="83" y="32"/>
                    </a:lnTo>
                    <a:lnTo>
                      <a:pt x="85" y="32"/>
                    </a:lnTo>
                    <a:lnTo>
                      <a:pt x="85" y="34"/>
                    </a:lnTo>
                    <a:lnTo>
                      <a:pt x="83" y="34"/>
                    </a:lnTo>
                    <a:lnTo>
                      <a:pt x="83" y="36"/>
                    </a:lnTo>
                    <a:lnTo>
                      <a:pt x="81" y="36"/>
                    </a:lnTo>
                    <a:lnTo>
                      <a:pt x="81" y="38"/>
                    </a:lnTo>
                    <a:lnTo>
                      <a:pt x="81" y="40"/>
                    </a:lnTo>
                    <a:lnTo>
                      <a:pt x="83" y="40"/>
                    </a:lnTo>
                    <a:lnTo>
                      <a:pt x="83" y="42"/>
                    </a:lnTo>
                    <a:lnTo>
                      <a:pt x="83" y="44"/>
                    </a:lnTo>
                    <a:lnTo>
                      <a:pt x="85" y="44"/>
                    </a:lnTo>
                    <a:lnTo>
                      <a:pt x="85" y="46"/>
                    </a:lnTo>
                    <a:lnTo>
                      <a:pt x="87" y="46"/>
                    </a:lnTo>
                    <a:lnTo>
                      <a:pt x="87" y="48"/>
                    </a:lnTo>
                    <a:lnTo>
                      <a:pt x="87" y="50"/>
                    </a:lnTo>
                    <a:lnTo>
                      <a:pt x="87" y="52"/>
                    </a:lnTo>
                    <a:lnTo>
                      <a:pt x="89" y="52"/>
                    </a:lnTo>
                    <a:lnTo>
                      <a:pt x="91" y="54"/>
                    </a:lnTo>
                    <a:lnTo>
                      <a:pt x="93" y="52"/>
                    </a:lnTo>
                    <a:lnTo>
                      <a:pt x="95" y="52"/>
                    </a:lnTo>
                    <a:lnTo>
                      <a:pt x="95" y="54"/>
                    </a:lnTo>
                    <a:lnTo>
                      <a:pt x="95" y="55"/>
                    </a:lnTo>
                    <a:lnTo>
                      <a:pt x="93" y="55"/>
                    </a:lnTo>
                    <a:lnTo>
                      <a:pt x="93" y="54"/>
                    </a:lnTo>
                    <a:lnTo>
                      <a:pt x="93" y="55"/>
                    </a:lnTo>
                    <a:lnTo>
                      <a:pt x="91" y="55"/>
                    </a:lnTo>
                    <a:lnTo>
                      <a:pt x="91" y="57"/>
                    </a:lnTo>
                    <a:lnTo>
                      <a:pt x="93" y="57"/>
                    </a:lnTo>
                    <a:lnTo>
                      <a:pt x="95" y="57"/>
                    </a:lnTo>
                    <a:lnTo>
                      <a:pt x="96" y="57"/>
                    </a:lnTo>
                    <a:lnTo>
                      <a:pt x="98" y="59"/>
                    </a:lnTo>
                    <a:lnTo>
                      <a:pt x="96" y="59"/>
                    </a:lnTo>
                    <a:lnTo>
                      <a:pt x="98" y="61"/>
                    </a:lnTo>
                    <a:lnTo>
                      <a:pt x="98" y="63"/>
                    </a:lnTo>
                    <a:lnTo>
                      <a:pt x="100" y="63"/>
                    </a:lnTo>
                    <a:lnTo>
                      <a:pt x="102" y="63"/>
                    </a:lnTo>
                    <a:lnTo>
                      <a:pt x="104" y="63"/>
                    </a:lnTo>
                    <a:lnTo>
                      <a:pt x="104" y="65"/>
                    </a:lnTo>
                    <a:lnTo>
                      <a:pt x="106" y="65"/>
                    </a:lnTo>
                    <a:lnTo>
                      <a:pt x="108" y="65"/>
                    </a:lnTo>
                    <a:lnTo>
                      <a:pt x="108" y="63"/>
                    </a:lnTo>
                    <a:lnTo>
                      <a:pt x="108" y="61"/>
                    </a:lnTo>
                    <a:lnTo>
                      <a:pt x="108" y="63"/>
                    </a:lnTo>
                    <a:lnTo>
                      <a:pt x="106" y="61"/>
                    </a:lnTo>
                    <a:lnTo>
                      <a:pt x="108" y="61"/>
                    </a:lnTo>
                    <a:lnTo>
                      <a:pt x="106" y="59"/>
                    </a:lnTo>
                    <a:lnTo>
                      <a:pt x="106" y="57"/>
                    </a:lnTo>
                    <a:lnTo>
                      <a:pt x="108" y="57"/>
                    </a:lnTo>
                    <a:lnTo>
                      <a:pt x="108" y="55"/>
                    </a:lnTo>
                    <a:lnTo>
                      <a:pt x="110" y="55"/>
                    </a:lnTo>
                    <a:lnTo>
                      <a:pt x="112" y="54"/>
                    </a:lnTo>
                    <a:lnTo>
                      <a:pt x="112" y="52"/>
                    </a:lnTo>
                    <a:lnTo>
                      <a:pt x="110" y="52"/>
                    </a:lnTo>
                    <a:lnTo>
                      <a:pt x="110" y="50"/>
                    </a:lnTo>
                    <a:lnTo>
                      <a:pt x="112" y="50"/>
                    </a:lnTo>
                    <a:lnTo>
                      <a:pt x="112" y="48"/>
                    </a:lnTo>
                    <a:lnTo>
                      <a:pt x="114" y="48"/>
                    </a:lnTo>
                    <a:lnTo>
                      <a:pt x="116" y="48"/>
                    </a:lnTo>
                    <a:lnTo>
                      <a:pt x="118" y="46"/>
                    </a:lnTo>
                    <a:lnTo>
                      <a:pt x="118" y="48"/>
                    </a:lnTo>
                    <a:lnTo>
                      <a:pt x="118" y="50"/>
                    </a:lnTo>
                    <a:lnTo>
                      <a:pt x="119" y="50"/>
                    </a:lnTo>
                    <a:lnTo>
                      <a:pt x="119" y="48"/>
                    </a:lnTo>
                    <a:lnTo>
                      <a:pt x="121" y="46"/>
                    </a:lnTo>
                    <a:lnTo>
                      <a:pt x="121" y="44"/>
                    </a:lnTo>
                    <a:lnTo>
                      <a:pt x="123" y="44"/>
                    </a:lnTo>
                    <a:lnTo>
                      <a:pt x="125" y="44"/>
                    </a:lnTo>
                    <a:lnTo>
                      <a:pt x="127" y="46"/>
                    </a:lnTo>
                    <a:lnTo>
                      <a:pt x="129" y="46"/>
                    </a:lnTo>
                    <a:lnTo>
                      <a:pt x="129" y="44"/>
                    </a:lnTo>
                    <a:lnTo>
                      <a:pt x="131" y="44"/>
                    </a:lnTo>
                    <a:lnTo>
                      <a:pt x="131" y="42"/>
                    </a:lnTo>
                    <a:lnTo>
                      <a:pt x="133" y="40"/>
                    </a:lnTo>
                    <a:lnTo>
                      <a:pt x="133" y="38"/>
                    </a:lnTo>
                    <a:lnTo>
                      <a:pt x="133" y="36"/>
                    </a:lnTo>
                    <a:lnTo>
                      <a:pt x="135" y="36"/>
                    </a:lnTo>
                    <a:lnTo>
                      <a:pt x="137" y="36"/>
                    </a:lnTo>
                    <a:lnTo>
                      <a:pt x="137" y="34"/>
                    </a:lnTo>
                    <a:lnTo>
                      <a:pt x="139" y="34"/>
                    </a:lnTo>
                    <a:lnTo>
                      <a:pt x="141" y="36"/>
                    </a:lnTo>
                    <a:lnTo>
                      <a:pt x="141" y="34"/>
                    </a:lnTo>
                    <a:lnTo>
                      <a:pt x="141" y="32"/>
                    </a:lnTo>
                    <a:lnTo>
                      <a:pt x="141" y="34"/>
                    </a:lnTo>
                    <a:lnTo>
                      <a:pt x="143" y="32"/>
                    </a:lnTo>
                    <a:lnTo>
                      <a:pt x="144" y="32"/>
                    </a:lnTo>
                    <a:lnTo>
                      <a:pt x="146" y="32"/>
                    </a:lnTo>
                    <a:lnTo>
                      <a:pt x="148" y="32"/>
                    </a:lnTo>
                    <a:lnTo>
                      <a:pt x="148" y="34"/>
                    </a:lnTo>
                    <a:lnTo>
                      <a:pt x="146" y="34"/>
                    </a:lnTo>
                    <a:lnTo>
                      <a:pt x="146" y="36"/>
                    </a:lnTo>
                    <a:lnTo>
                      <a:pt x="148" y="36"/>
                    </a:lnTo>
                    <a:lnTo>
                      <a:pt x="146" y="38"/>
                    </a:lnTo>
                    <a:lnTo>
                      <a:pt x="144" y="38"/>
                    </a:lnTo>
                    <a:lnTo>
                      <a:pt x="144" y="40"/>
                    </a:lnTo>
                    <a:lnTo>
                      <a:pt x="143" y="42"/>
                    </a:lnTo>
                    <a:lnTo>
                      <a:pt x="141" y="42"/>
                    </a:lnTo>
                    <a:lnTo>
                      <a:pt x="141" y="44"/>
                    </a:lnTo>
                    <a:lnTo>
                      <a:pt x="141" y="46"/>
                    </a:lnTo>
                    <a:lnTo>
                      <a:pt x="143" y="44"/>
                    </a:lnTo>
                    <a:lnTo>
                      <a:pt x="144" y="46"/>
                    </a:lnTo>
                    <a:lnTo>
                      <a:pt x="146" y="46"/>
                    </a:lnTo>
                    <a:lnTo>
                      <a:pt x="146" y="48"/>
                    </a:lnTo>
                    <a:lnTo>
                      <a:pt x="148" y="48"/>
                    </a:lnTo>
                    <a:lnTo>
                      <a:pt x="150" y="48"/>
                    </a:lnTo>
                    <a:lnTo>
                      <a:pt x="152" y="48"/>
                    </a:lnTo>
                    <a:lnTo>
                      <a:pt x="152"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4" name="Freeform 104"/>
              <p:cNvSpPr>
                <a:spLocks noEditPoints="1"/>
              </p:cNvSpPr>
              <p:nvPr/>
            </p:nvSpPr>
            <p:spPr bwMode="auto">
              <a:xfrm>
                <a:off x="5008022" y="788690"/>
                <a:ext cx="862034" cy="614263"/>
              </a:xfrm>
              <a:custGeom>
                <a:avLst/>
                <a:gdLst>
                  <a:gd name="T0" fmla="*/ 44 w 501"/>
                  <a:gd name="T1" fmla="*/ 305 h 357"/>
                  <a:gd name="T2" fmla="*/ 56 w 501"/>
                  <a:gd name="T3" fmla="*/ 305 h 357"/>
                  <a:gd name="T4" fmla="*/ 61 w 501"/>
                  <a:gd name="T5" fmla="*/ 302 h 357"/>
                  <a:gd name="T6" fmla="*/ 61 w 501"/>
                  <a:gd name="T7" fmla="*/ 304 h 357"/>
                  <a:gd name="T8" fmla="*/ 67 w 501"/>
                  <a:gd name="T9" fmla="*/ 307 h 357"/>
                  <a:gd name="T10" fmla="*/ 61 w 501"/>
                  <a:gd name="T11" fmla="*/ 329 h 357"/>
                  <a:gd name="T12" fmla="*/ 71 w 501"/>
                  <a:gd name="T13" fmla="*/ 309 h 357"/>
                  <a:gd name="T14" fmla="*/ 77 w 501"/>
                  <a:gd name="T15" fmla="*/ 298 h 357"/>
                  <a:gd name="T16" fmla="*/ 84 w 501"/>
                  <a:gd name="T17" fmla="*/ 298 h 357"/>
                  <a:gd name="T18" fmla="*/ 82 w 501"/>
                  <a:gd name="T19" fmla="*/ 302 h 357"/>
                  <a:gd name="T20" fmla="*/ 79 w 501"/>
                  <a:gd name="T21" fmla="*/ 307 h 357"/>
                  <a:gd name="T22" fmla="*/ 73 w 501"/>
                  <a:gd name="T23" fmla="*/ 315 h 357"/>
                  <a:gd name="T24" fmla="*/ 71 w 501"/>
                  <a:gd name="T25" fmla="*/ 334 h 357"/>
                  <a:gd name="T26" fmla="*/ 75 w 501"/>
                  <a:gd name="T27" fmla="*/ 348 h 357"/>
                  <a:gd name="T28" fmla="*/ 81 w 501"/>
                  <a:gd name="T29" fmla="*/ 344 h 357"/>
                  <a:gd name="T30" fmla="*/ 65 w 501"/>
                  <a:gd name="T31" fmla="*/ 346 h 357"/>
                  <a:gd name="T32" fmla="*/ 56 w 501"/>
                  <a:gd name="T33" fmla="*/ 352 h 357"/>
                  <a:gd name="T34" fmla="*/ 46 w 501"/>
                  <a:gd name="T35" fmla="*/ 354 h 357"/>
                  <a:gd name="T36" fmla="*/ 13 w 501"/>
                  <a:gd name="T37" fmla="*/ 352 h 357"/>
                  <a:gd name="T38" fmla="*/ 40 w 501"/>
                  <a:gd name="T39" fmla="*/ 340 h 357"/>
                  <a:gd name="T40" fmla="*/ 50 w 501"/>
                  <a:gd name="T41" fmla="*/ 332 h 357"/>
                  <a:gd name="T42" fmla="*/ 23 w 501"/>
                  <a:gd name="T43" fmla="*/ 342 h 357"/>
                  <a:gd name="T44" fmla="*/ 11 w 501"/>
                  <a:gd name="T45" fmla="*/ 336 h 357"/>
                  <a:gd name="T46" fmla="*/ 6 w 501"/>
                  <a:gd name="T47" fmla="*/ 330 h 357"/>
                  <a:gd name="T48" fmla="*/ 2 w 501"/>
                  <a:gd name="T49" fmla="*/ 315 h 357"/>
                  <a:gd name="T50" fmla="*/ 13 w 501"/>
                  <a:gd name="T51" fmla="*/ 311 h 357"/>
                  <a:gd name="T52" fmla="*/ 21 w 501"/>
                  <a:gd name="T53" fmla="*/ 300 h 357"/>
                  <a:gd name="T54" fmla="*/ 34 w 501"/>
                  <a:gd name="T55" fmla="*/ 300 h 357"/>
                  <a:gd name="T56" fmla="*/ 407 w 501"/>
                  <a:gd name="T57" fmla="*/ 157 h 357"/>
                  <a:gd name="T58" fmla="*/ 376 w 501"/>
                  <a:gd name="T59" fmla="*/ 181 h 357"/>
                  <a:gd name="T60" fmla="*/ 346 w 501"/>
                  <a:gd name="T61" fmla="*/ 188 h 357"/>
                  <a:gd name="T62" fmla="*/ 351 w 501"/>
                  <a:gd name="T63" fmla="*/ 173 h 357"/>
                  <a:gd name="T64" fmla="*/ 357 w 501"/>
                  <a:gd name="T65" fmla="*/ 169 h 357"/>
                  <a:gd name="T66" fmla="*/ 349 w 501"/>
                  <a:gd name="T67" fmla="*/ 165 h 357"/>
                  <a:gd name="T68" fmla="*/ 392 w 501"/>
                  <a:gd name="T69" fmla="*/ 150 h 357"/>
                  <a:gd name="T70" fmla="*/ 453 w 501"/>
                  <a:gd name="T71" fmla="*/ 25 h 357"/>
                  <a:gd name="T72" fmla="*/ 474 w 501"/>
                  <a:gd name="T73" fmla="*/ 11 h 357"/>
                  <a:gd name="T74" fmla="*/ 501 w 501"/>
                  <a:gd name="T75" fmla="*/ 13 h 357"/>
                  <a:gd name="T76" fmla="*/ 467 w 501"/>
                  <a:gd name="T77" fmla="*/ 44 h 357"/>
                  <a:gd name="T78" fmla="*/ 413 w 501"/>
                  <a:gd name="T79" fmla="*/ 46 h 357"/>
                  <a:gd name="T80" fmla="*/ 422 w 501"/>
                  <a:gd name="T81" fmla="*/ 36 h 357"/>
                  <a:gd name="T82" fmla="*/ 453 w 501"/>
                  <a:gd name="T83" fmla="*/ 21 h 357"/>
                  <a:gd name="T84" fmla="*/ 298 w 501"/>
                  <a:gd name="T85" fmla="*/ 84 h 357"/>
                  <a:gd name="T86" fmla="*/ 307 w 501"/>
                  <a:gd name="T87" fmla="*/ 82 h 357"/>
                  <a:gd name="T88" fmla="*/ 303 w 501"/>
                  <a:gd name="T89" fmla="*/ 61 h 357"/>
                  <a:gd name="T90" fmla="*/ 317 w 501"/>
                  <a:gd name="T91" fmla="*/ 54 h 357"/>
                  <a:gd name="T92" fmla="*/ 369 w 501"/>
                  <a:gd name="T93" fmla="*/ 46 h 357"/>
                  <a:gd name="T94" fmla="*/ 388 w 501"/>
                  <a:gd name="T95" fmla="*/ 59 h 357"/>
                  <a:gd name="T96" fmla="*/ 376 w 501"/>
                  <a:gd name="T97" fmla="*/ 79 h 357"/>
                  <a:gd name="T98" fmla="*/ 346 w 501"/>
                  <a:gd name="T99" fmla="*/ 81 h 357"/>
                  <a:gd name="T100" fmla="*/ 336 w 501"/>
                  <a:gd name="T101" fmla="*/ 61 h 357"/>
                  <a:gd name="T102" fmla="*/ 330 w 501"/>
                  <a:gd name="T103" fmla="*/ 73 h 357"/>
                  <a:gd name="T104" fmla="*/ 363 w 501"/>
                  <a:gd name="T105" fmla="*/ 86 h 357"/>
                  <a:gd name="T106" fmla="*/ 342 w 501"/>
                  <a:gd name="T107" fmla="*/ 104 h 357"/>
                  <a:gd name="T108" fmla="*/ 328 w 501"/>
                  <a:gd name="T109" fmla="*/ 111 h 357"/>
                  <a:gd name="T110" fmla="*/ 301 w 501"/>
                  <a:gd name="T111" fmla="*/ 121 h 357"/>
                  <a:gd name="T112" fmla="*/ 301 w 501"/>
                  <a:gd name="T113" fmla="*/ 127 h 357"/>
                  <a:gd name="T114" fmla="*/ 263 w 501"/>
                  <a:gd name="T115" fmla="*/ 140 h 357"/>
                  <a:gd name="T116" fmla="*/ 246 w 501"/>
                  <a:gd name="T117" fmla="*/ 129 h 357"/>
                  <a:gd name="T118" fmla="*/ 246 w 501"/>
                  <a:gd name="T119" fmla="*/ 106 h 357"/>
                  <a:gd name="T120" fmla="*/ 255 w 501"/>
                  <a:gd name="T121" fmla="*/ 86 h 357"/>
                  <a:gd name="T122" fmla="*/ 280 w 501"/>
                  <a:gd name="T123" fmla="*/ 77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1" h="357">
                    <a:moveTo>
                      <a:pt x="38" y="304"/>
                    </a:moveTo>
                    <a:lnTo>
                      <a:pt x="38" y="305"/>
                    </a:lnTo>
                    <a:lnTo>
                      <a:pt x="38" y="304"/>
                    </a:lnTo>
                    <a:lnTo>
                      <a:pt x="38" y="302"/>
                    </a:lnTo>
                    <a:lnTo>
                      <a:pt x="40" y="302"/>
                    </a:lnTo>
                    <a:lnTo>
                      <a:pt x="38" y="304"/>
                    </a:lnTo>
                    <a:lnTo>
                      <a:pt x="40" y="304"/>
                    </a:lnTo>
                    <a:lnTo>
                      <a:pt x="40" y="305"/>
                    </a:lnTo>
                    <a:lnTo>
                      <a:pt x="40" y="307"/>
                    </a:lnTo>
                    <a:lnTo>
                      <a:pt x="38" y="307"/>
                    </a:lnTo>
                    <a:lnTo>
                      <a:pt x="40" y="307"/>
                    </a:lnTo>
                    <a:lnTo>
                      <a:pt x="40" y="305"/>
                    </a:lnTo>
                    <a:lnTo>
                      <a:pt x="40" y="304"/>
                    </a:lnTo>
                    <a:lnTo>
                      <a:pt x="42" y="304"/>
                    </a:lnTo>
                    <a:lnTo>
                      <a:pt x="40" y="304"/>
                    </a:lnTo>
                    <a:lnTo>
                      <a:pt x="40" y="305"/>
                    </a:lnTo>
                    <a:lnTo>
                      <a:pt x="42" y="305"/>
                    </a:lnTo>
                    <a:lnTo>
                      <a:pt x="42" y="304"/>
                    </a:lnTo>
                    <a:lnTo>
                      <a:pt x="42" y="305"/>
                    </a:lnTo>
                    <a:lnTo>
                      <a:pt x="42" y="307"/>
                    </a:lnTo>
                    <a:lnTo>
                      <a:pt x="42" y="305"/>
                    </a:lnTo>
                    <a:lnTo>
                      <a:pt x="44" y="305"/>
                    </a:lnTo>
                    <a:lnTo>
                      <a:pt x="44" y="304"/>
                    </a:lnTo>
                    <a:lnTo>
                      <a:pt x="42" y="304"/>
                    </a:lnTo>
                    <a:lnTo>
                      <a:pt x="42" y="302"/>
                    </a:lnTo>
                    <a:lnTo>
                      <a:pt x="44" y="302"/>
                    </a:lnTo>
                    <a:lnTo>
                      <a:pt x="42" y="302"/>
                    </a:lnTo>
                    <a:lnTo>
                      <a:pt x="44" y="302"/>
                    </a:lnTo>
                    <a:lnTo>
                      <a:pt x="42" y="304"/>
                    </a:lnTo>
                    <a:lnTo>
                      <a:pt x="44" y="304"/>
                    </a:lnTo>
                    <a:lnTo>
                      <a:pt x="44" y="302"/>
                    </a:lnTo>
                    <a:lnTo>
                      <a:pt x="44" y="304"/>
                    </a:lnTo>
                    <a:lnTo>
                      <a:pt x="42" y="304"/>
                    </a:lnTo>
                    <a:lnTo>
                      <a:pt x="44" y="304"/>
                    </a:lnTo>
                    <a:lnTo>
                      <a:pt x="44" y="305"/>
                    </a:lnTo>
                    <a:lnTo>
                      <a:pt x="44" y="304"/>
                    </a:lnTo>
                    <a:lnTo>
                      <a:pt x="46" y="304"/>
                    </a:lnTo>
                    <a:lnTo>
                      <a:pt x="44" y="304"/>
                    </a:lnTo>
                    <a:lnTo>
                      <a:pt x="44" y="302"/>
                    </a:lnTo>
                    <a:lnTo>
                      <a:pt x="46" y="304"/>
                    </a:lnTo>
                    <a:lnTo>
                      <a:pt x="46" y="305"/>
                    </a:lnTo>
                    <a:lnTo>
                      <a:pt x="46" y="304"/>
                    </a:lnTo>
                    <a:lnTo>
                      <a:pt x="48" y="304"/>
                    </a:lnTo>
                    <a:lnTo>
                      <a:pt x="48" y="302"/>
                    </a:lnTo>
                    <a:lnTo>
                      <a:pt x="50" y="304"/>
                    </a:lnTo>
                    <a:lnTo>
                      <a:pt x="48" y="304"/>
                    </a:lnTo>
                    <a:lnTo>
                      <a:pt x="50" y="304"/>
                    </a:lnTo>
                    <a:lnTo>
                      <a:pt x="50" y="305"/>
                    </a:lnTo>
                    <a:lnTo>
                      <a:pt x="50" y="307"/>
                    </a:lnTo>
                    <a:lnTo>
                      <a:pt x="52" y="307"/>
                    </a:lnTo>
                    <a:lnTo>
                      <a:pt x="50" y="307"/>
                    </a:lnTo>
                    <a:lnTo>
                      <a:pt x="50" y="305"/>
                    </a:lnTo>
                    <a:lnTo>
                      <a:pt x="50" y="307"/>
                    </a:lnTo>
                    <a:lnTo>
                      <a:pt x="48" y="307"/>
                    </a:lnTo>
                    <a:lnTo>
                      <a:pt x="48" y="309"/>
                    </a:lnTo>
                    <a:lnTo>
                      <a:pt x="50" y="309"/>
                    </a:lnTo>
                    <a:lnTo>
                      <a:pt x="50" y="311"/>
                    </a:lnTo>
                    <a:lnTo>
                      <a:pt x="52" y="309"/>
                    </a:lnTo>
                    <a:lnTo>
                      <a:pt x="52" y="307"/>
                    </a:lnTo>
                    <a:lnTo>
                      <a:pt x="50" y="307"/>
                    </a:lnTo>
                    <a:lnTo>
                      <a:pt x="52" y="307"/>
                    </a:lnTo>
                    <a:lnTo>
                      <a:pt x="52" y="305"/>
                    </a:lnTo>
                    <a:lnTo>
                      <a:pt x="52" y="307"/>
                    </a:lnTo>
                    <a:lnTo>
                      <a:pt x="52" y="305"/>
                    </a:lnTo>
                    <a:lnTo>
                      <a:pt x="54" y="305"/>
                    </a:lnTo>
                    <a:lnTo>
                      <a:pt x="52" y="305"/>
                    </a:lnTo>
                    <a:lnTo>
                      <a:pt x="54" y="305"/>
                    </a:lnTo>
                    <a:lnTo>
                      <a:pt x="54" y="307"/>
                    </a:lnTo>
                    <a:lnTo>
                      <a:pt x="54" y="305"/>
                    </a:lnTo>
                    <a:lnTo>
                      <a:pt x="56" y="305"/>
                    </a:lnTo>
                    <a:lnTo>
                      <a:pt x="56" y="307"/>
                    </a:lnTo>
                    <a:lnTo>
                      <a:pt x="56" y="305"/>
                    </a:lnTo>
                    <a:lnTo>
                      <a:pt x="56" y="307"/>
                    </a:lnTo>
                    <a:lnTo>
                      <a:pt x="56" y="305"/>
                    </a:lnTo>
                    <a:lnTo>
                      <a:pt x="54" y="305"/>
                    </a:lnTo>
                    <a:lnTo>
                      <a:pt x="54" y="304"/>
                    </a:lnTo>
                    <a:lnTo>
                      <a:pt x="56" y="304"/>
                    </a:lnTo>
                    <a:lnTo>
                      <a:pt x="56" y="302"/>
                    </a:lnTo>
                    <a:lnTo>
                      <a:pt x="57" y="302"/>
                    </a:lnTo>
                    <a:lnTo>
                      <a:pt x="57" y="304"/>
                    </a:lnTo>
                    <a:lnTo>
                      <a:pt x="57" y="302"/>
                    </a:lnTo>
                    <a:lnTo>
                      <a:pt x="57" y="304"/>
                    </a:lnTo>
                    <a:lnTo>
                      <a:pt x="57" y="302"/>
                    </a:lnTo>
                    <a:lnTo>
                      <a:pt x="57" y="304"/>
                    </a:lnTo>
                    <a:lnTo>
                      <a:pt x="57" y="305"/>
                    </a:lnTo>
                    <a:lnTo>
                      <a:pt x="57" y="307"/>
                    </a:lnTo>
                    <a:lnTo>
                      <a:pt x="57" y="305"/>
                    </a:lnTo>
                    <a:lnTo>
                      <a:pt x="59" y="305"/>
                    </a:lnTo>
                    <a:lnTo>
                      <a:pt x="57" y="305"/>
                    </a:lnTo>
                    <a:lnTo>
                      <a:pt x="59" y="305"/>
                    </a:lnTo>
                    <a:lnTo>
                      <a:pt x="59" y="304"/>
                    </a:lnTo>
                    <a:lnTo>
                      <a:pt x="57" y="304"/>
                    </a:lnTo>
                    <a:lnTo>
                      <a:pt x="57" y="302"/>
                    </a:lnTo>
                    <a:lnTo>
                      <a:pt x="59" y="302"/>
                    </a:lnTo>
                    <a:lnTo>
                      <a:pt x="57" y="302"/>
                    </a:lnTo>
                    <a:lnTo>
                      <a:pt x="59" y="302"/>
                    </a:lnTo>
                    <a:lnTo>
                      <a:pt x="59" y="300"/>
                    </a:lnTo>
                    <a:lnTo>
                      <a:pt x="59" y="302"/>
                    </a:lnTo>
                    <a:lnTo>
                      <a:pt x="59" y="300"/>
                    </a:lnTo>
                    <a:lnTo>
                      <a:pt x="59" y="302"/>
                    </a:lnTo>
                    <a:lnTo>
                      <a:pt x="61" y="302"/>
                    </a:lnTo>
                    <a:lnTo>
                      <a:pt x="59" y="302"/>
                    </a:lnTo>
                    <a:lnTo>
                      <a:pt x="61" y="302"/>
                    </a:lnTo>
                    <a:lnTo>
                      <a:pt x="59" y="302"/>
                    </a:lnTo>
                    <a:lnTo>
                      <a:pt x="61" y="302"/>
                    </a:lnTo>
                    <a:lnTo>
                      <a:pt x="59" y="302"/>
                    </a:lnTo>
                    <a:lnTo>
                      <a:pt x="61" y="300"/>
                    </a:lnTo>
                    <a:lnTo>
                      <a:pt x="59" y="300"/>
                    </a:lnTo>
                    <a:lnTo>
                      <a:pt x="61" y="300"/>
                    </a:lnTo>
                    <a:lnTo>
                      <a:pt x="61" y="298"/>
                    </a:lnTo>
                    <a:lnTo>
                      <a:pt x="61" y="300"/>
                    </a:lnTo>
                    <a:lnTo>
                      <a:pt x="61" y="298"/>
                    </a:lnTo>
                    <a:lnTo>
                      <a:pt x="63" y="298"/>
                    </a:lnTo>
                    <a:lnTo>
                      <a:pt x="65" y="298"/>
                    </a:lnTo>
                    <a:lnTo>
                      <a:pt x="65" y="300"/>
                    </a:lnTo>
                    <a:lnTo>
                      <a:pt x="65" y="298"/>
                    </a:lnTo>
                    <a:lnTo>
                      <a:pt x="65" y="300"/>
                    </a:lnTo>
                    <a:lnTo>
                      <a:pt x="67" y="302"/>
                    </a:lnTo>
                    <a:lnTo>
                      <a:pt x="67" y="300"/>
                    </a:lnTo>
                    <a:lnTo>
                      <a:pt x="67" y="302"/>
                    </a:lnTo>
                    <a:lnTo>
                      <a:pt x="67" y="300"/>
                    </a:lnTo>
                    <a:lnTo>
                      <a:pt x="69" y="300"/>
                    </a:lnTo>
                    <a:lnTo>
                      <a:pt x="69" y="302"/>
                    </a:lnTo>
                    <a:lnTo>
                      <a:pt x="67" y="302"/>
                    </a:lnTo>
                    <a:lnTo>
                      <a:pt x="69" y="302"/>
                    </a:lnTo>
                    <a:lnTo>
                      <a:pt x="67" y="302"/>
                    </a:lnTo>
                    <a:lnTo>
                      <a:pt x="69" y="302"/>
                    </a:lnTo>
                    <a:lnTo>
                      <a:pt x="69" y="304"/>
                    </a:lnTo>
                    <a:lnTo>
                      <a:pt x="67" y="304"/>
                    </a:lnTo>
                    <a:lnTo>
                      <a:pt x="67" y="302"/>
                    </a:lnTo>
                    <a:lnTo>
                      <a:pt x="67" y="304"/>
                    </a:lnTo>
                    <a:lnTo>
                      <a:pt x="67" y="302"/>
                    </a:lnTo>
                    <a:lnTo>
                      <a:pt x="67" y="304"/>
                    </a:lnTo>
                    <a:lnTo>
                      <a:pt x="65" y="304"/>
                    </a:lnTo>
                    <a:lnTo>
                      <a:pt x="65" y="305"/>
                    </a:lnTo>
                    <a:lnTo>
                      <a:pt x="65" y="304"/>
                    </a:lnTo>
                    <a:lnTo>
                      <a:pt x="65" y="302"/>
                    </a:lnTo>
                    <a:lnTo>
                      <a:pt x="65" y="304"/>
                    </a:lnTo>
                    <a:lnTo>
                      <a:pt x="63" y="304"/>
                    </a:lnTo>
                    <a:lnTo>
                      <a:pt x="61" y="304"/>
                    </a:lnTo>
                    <a:lnTo>
                      <a:pt x="63" y="304"/>
                    </a:lnTo>
                    <a:lnTo>
                      <a:pt x="61" y="304"/>
                    </a:lnTo>
                    <a:lnTo>
                      <a:pt x="63" y="304"/>
                    </a:lnTo>
                    <a:lnTo>
                      <a:pt x="61" y="304"/>
                    </a:lnTo>
                    <a:lnTo>
                      <a:pt x="63" y="304"/>
                    </a:lnTo>
                    <a:lnTo>
                      <a:pt x="63" y="305"/>
                    </a:lnTo>
                    <a:lnTo>
                      <a:pt x="65" y="305"/>
                    </a:lnTo>
                    <a:lnTo>
                      <a:pt x="67" y="305"/>
                    </a:lnTo>
                    <a:lnTo>
                      <a:pt x="65" y="305"/>
                    </a:lnTo>
                    <a:lnTo>
                      <a:pt x="65" y="307"/>
                    </a:lnTo>
                    <a:lnTo>
                      <a:pt x="65" y="305"/>
                    </a:lnTo>
                    <a:lnTo>
                      <a:pt x="63" y="305"/>
                    </a:lnTo>
                    <a:lnTo>
                      <a:pt x="63" y="307"/>
                    </a:lnTo>
                    <a:lnTo>
                      <a:pt x="65" y="307"/>
                    </a:lnTo>
                    <a:lnTo>
                      <a:pt x="63" y="307"/>
                    </a:lnTo>
                    <a:lnTo>
                      <a:pt x="65" y="307"/>
                    </a:lnTo>
                    <a:lnTo>
                      <a:pt x="65" y="305"/>
                    </a:lnTo>
                    <a:lnTo>
                      <a:pt x="65" y="307"/>
                    </a:lnTo>
                    <a:lnTo>
                      <a:pt x="63" y="307"/>
                    </a:lnTo>
                    <a:lnTo>
                      <a:pt x="65" y="307"/>
                    </a:lnTo>
                    <a:lnTo>
                      <a:pt x="65" y="305"/>
                    </a:lnTo>
                    <a:lnTo>
                      <a:pt x="65" y="307"/>
                    </a:lnTo>
                    <a:lnTo>
                      <a:pt x="67" y="307"/>
                    </a:lnTo>
                    <a:lnTo>
                      <a:pt x="67" y="305"/>
                    </a:lnTo>
                    <a:lnTo>
                      <a:pt x="67" y="304"/>
                    </a:lnTo>
                    <a:lnTo>
                      <a:pt x="69" y="304"/>
                    </a:lnTo>
                    <a:lnTo>
                      <a:pt x="69" y="305"/>
                    </a:lnTo>
                    <a:lnTo>
                      <a:pt x="67" y="305"/>
                    </a:lnTo>
                    <a:lnTo>
                      <a:pt x="69" y="305"/>
                    </a:lnTo>
                    <a:lnTo>
                      <a:pt x="69" y="307"/>
                    </a:lnTo>
                    <a:lnTo>
                      <a:pt x="67" y="307"/>
                    </a:lnTo>
                    <a:lnTo>
                      <a:pt x="67" y="309"/>
                    </a:lnTo>
                    <a:lnTo>
                      <a:pt x="67" y="307"/>
                    </a:lnTo>
                    <a:lnTo>
                      <a:pt x="67" y="309"/>
                    </a:lnTo>
                    <a:lnTo>
                      <a:pt x="67" y="307"/>
                    </a:lnTo>
                    <a:lnTo>
                      <a:pt x="69" y="309"/>
                    </a:lnTo>
                    <a:lnTo>
                      <a:pt x="67" y="309"/>
                    </a:lnTo>
                    <a:lnTo>
                      <a:pt x="67" y="311"/>
                    </a:lnTo>
                    <a:lnTo>
                      <a:pt x="67" y="313"/>
                    </a:lnTo>
                    <a:lnTo>
                      <a:pt x="69" y="313"/>
                    </a:lnTo>
                    <a:lnTo>
                      <a:pt x="67" y="315"/>
                    </a:lnTo>
                    <a:lnTo>
                      <a:pt x="65" y="315"/>
                    </a:lnTo>
                    <a:lnTo>
                      <a:pt x="67" y="315"/>
                    </a:lnTo>
                    <a:lnTo>
                      <a:pt x="67" y="317"/>
                    </a:lnTo>
                    <a:lnTo>
                      <a:pt x="65" y="317"/>
                    </a:lnTo>
                    <a:lnTo>
                      <a:pt x="65" y="319"/>
                    </a:lnTo>
                    <a:lnTo>
                      <a:pt x="67" y="319"/>
                    </a:lnTo>
                    <a:lnTo>
                      <a:pt x="65" y="319"/>
                    </a:lnTo>
                    <a:lnTo>
                      <a:pt x="65" y="321"/>
                    </a:lnTo>
                    <a:lnTo>
                      <a:pt x="63" y="321"/>
                    </a:lnTo>
                    <a:lnTo>
                      <a:pt x="61" y="321"/>
                    </a:lnTo>
                    <a:lnTo>
                      <a:pt x="63" y="321"/>
                    </a:lnTo>
                    <a:lnTo>
                      <a:pt x="61" y="321"/>
                    </a:lnTo>
                    <a:lnTo>
                      <a:pt x="61" y="323"/>
                    </a:lnTo>
                    <a:lnTo>
                      <a:pt x="59" y="323"/>
                    </a:lnTo>
                    <a:lnTo>
                      <a:pt x="57" y="323"/>
                    </a:lnTo>
                    <a:lnTo>
                      <a:pt x="59" y="323"/>
                    </a:lnTo>
                    <a:lnTo>
                      <a:pt x="59" y="325"/>
                    </a:lnTo>
                    <a:lnTo>
                      <a:pt x="59" y="327"/>
                    </a:lnTo>
                    <a:lnTo>
                      <a:pt x="57" y="329"/>
                    </a:lnTo>
                    <a:lnTo>
                      <a:pt x="59" y="329"/>
                    </a:lnTo>
                    <a:lnTo>
                      <a:pt x="59" y="327"/>
                    </a:lnTo>
                    <a:lnTo>
                      <a:pt x="61" y="327"/>
                    </a:lnTo>
                    <a:lnTo>
                      <a:pt x="61" y="329"/>
                    </a:lnTo>
                    <a:lnTo>
                      <a:pt x="59" y="329"/>
                    </a:lnTo>
                    <a:lnTo>
                      <a:pt x="61" y="329"/>
                    </a:lnTo>
                    <a:lnTo>
                      <a:pt x="61" y="330"/>
                    </a:lnTo>
                    <a:lnTo>
                      <a:pt x="61" y="329"/>
                    </a:lnTo>
                    <a:lnTo>
                      <a:pt x="59" y="329"/>
                    </a:lnTo>
                    <a:lnTo>
                      <a:pt x="61" y="329"/>
                    </a:lnTo>
                    <a:lnTo>
                      <a:pt x="61" y="327"/>
                    </a:lnTo>
                    <a:lnTo>
                      <a:pt x="59" y="327"/>
                    </a:lnTo>
                    <a:lnTo>
                      <a:pt x="59" y="325"/>
                    </a:lnTo>
                    <a:lnTo>
                      <a:pt x="59" y="323"/>
                    </a:lnTo>
                    <a:lnTo>
                      <a:pt x="61" y="323"/>
                    </a:lnTo>
                    <a:lnTo>
                      <a:pt x="61" y="321"/>
                    </a:lnTo>
                    <a:lnTo>
                      <a:pt x="63" y="321"/>
                    </a:lnTo>
                    <a:lnTo>
                      <a:pt x="65" y="321"/>
                    </a:lnTo>
                    <a:lnTo>
                      <a:pt x="65" y="319"/>
                    </a:lnTo>
                    <a:lnTo>
                      <a:pt x="67" y="321"/>
                    </a:lnTo>
                    <a:lnTo>
                      <a:pt x="67" y="319"/>
                    </a:lnTo>
                    <a:lnTo>
                      <a:pt x="67" y="317"/>
                    </a:lnTo>
                    <a:lnTo>
                      <a:pt x="67" y="315"/>
                    </a:lnTo>
                    <a:lnTo>
                      <a:pt x="65" y="315"/>
                    </a:lnTo>
                    <a:lnTo>
                      <a:pt x="67" y="315"/>
                    </a:lnTo>
                    <a:lnTo>
                      <a:pt x="69" y="313"/>
                    </a:lnTo>
                    <a:lnTo>
                      <a:pt x="69" y="315"/>
                    </a:lnTo>
                    <a:lnTo>
                      <a:pt x="71" y="315"/>
                    </a:lnTo>
                    <a:lnTo>
                      <a:pt x="69" y="315"/>
                    </a:lnTo>
                    <a:lnTo>
                      <a:pt x="69" y="313"/>
                    </a:lnTo>
                    <a:lnTo>
                      <a:pt x="69" y="311"/>
                    </a:lnTo>
                    <a:lnTo>
                      <a:pt x="69" y="313"/>
                    </a:lnTo>
                    <a:lnTo>
                      <a:pt x="67" y="313"/>
                    </a:lnTo>
                    <a:lnTo>
                      <a:pt x="67" y="311"/>
                    </a:lnTo>
                    <a:lnTo>
                      <a:pt x="67" y="309"/>
                    </a:lnTo>
                    <a:lnTo>
                      <a:pt x="69" y="309"/>
                    </a:lnTo>
                    <a:lnTo>
                      <a:pt x="67" y="309"/>
                    </a:lnTo>
                    <a:lnTo>
                      <a:pt x="69" y="309"/>
                    </a:lnTo>
                    <a:lnTo>
                      <a:pt x="69" y="307"/>
                    </a:lnTo>
                    <a:lnTo>
                      <a:pt x="71" y="307"/>
                    </a:lnTo>
                    <a:lnTo>
                      <a:pt x="71" y="309"/>
                    </a:lnTo>
                    <a:lnTo>
                      <a:pt x="71" y="307"/>
                    </a:lnTo>
                    <a:lnTo>
                      <a:pt x="69" y="307"/>
                    </a:lnTo>
                    <a:lnTo>
                      <a:pt x="71" y="307"/>
                    </a:lnTo>
                    <a:lnTo>
                      <a:pt x="71" y="309"/>
                    </a:lnTo>
                    <a:lnTo>
                      <a:pt x="73" y="309"/>
                    </a:lnTo>
                    <a:lnTo>
                      <a:pt x="73" y="311"/>
                    </a:lnTo>
                    <a:lnTo>
                      <a:pt x="73" y="309"/>
                    </a:lnTo>
                    <a:lnTo>
                      <a:pt x="71" y="307"/>
                    </a:lnTo>
                    <a:lnTo>
                      <a:pt x="69" y="307"/>
                    </a:lnTo>
                    <a:lnTo>
                      <a:pt x="71" y="307"/>
                    </a:lnTo>
                    <a:lnTo>
                      <a:pt x="69" y="307"/>
                    </a:lnTo>
                    <a:lnTo>
                      <a:pt x="69" y="305"/>
                    </a:lnTo>
                    <a:lnTo>
                      <a:pt x="71" y="305"/>
                    </a:lnTo>
                    <a:lnTo>
                      <a:pt x="71" y="307"/>
                    </a:lnTo>
                    <a:lnTo>
                      <a:pt x="71" y="305"/>
                    </a:lnTo>
                    <a:lnTo>
                      <a:pt x="71" y="304"/>
                    </a:lnTo>
                    <a:lnTo>
                      <a:pt x="73" y="304"/>
                    </a:lnTo>
                    <a:lnTo>
                      <a:pt x="75" y="304"/>
                    </a:lnTo>
                    <a:lnTo>
                      <a:pt x="75" y="305"/>
                    </a:lnTo>
                    <a:lnTo>
                      <a:pt x="75" y="307"/>
                    </a:lnTo>
                    <a:lnTo>
                      <a:pt x="77" y="307"/>
                    </a:lnTo>
                    <a:lnTo>
                      <a:pt x="75" y="307"/>
                    </a:lnTo>
                    <a:lnTo>
                      <a:pt x="75" y="305"/>
                    </a:lnTo>
                    <a:lnTo>
                      <a:pt x="75" y="307"/>
                    </a:lnTo>
                    <a:lnTo>
                      <a:pt x="75" y="305"/>
                    </a:lnTo>
                    <a:lnTo>
                      <a:pt x="75" y="304"/>
                    </a:lnTo>
                    <a:lnTo>
                      <a:pt x="75" y="302"/>
                    </a:lnTo>
                    <a:lnTo>
                      <a:pt x="73" y="304"/>
                    </a:lnTo>
                    <a:lnTo>
                      <a:pt x="73" y="302"/>
                    </a:lnTo>
                    <a:lnTo>
                      <a:pt x="73" y="300"/>
                    </a:lnTo>
                    <a:lnTo>
                      <a:pt x="75" y="300"/>
                    </a:lnTo>
                    <a:lnTo>
                      <a:pt x="75" y="298"/>
                    </a:lnTo>
                    <a:lnTo>
                      <a:pt x="75" y="300"/>
                    </a:lnTo>
                    <a:lnTo>
                      <a:pt x="75" y="298"/>
                    </a:lnTo>
                    <a:lnTo>
                      <a:pt x="77" y="298"/>
                    </a:lnTo>
                    <a:lnTo>
                      <a:pt x="79" y="298"/>
                    </a:lnTo>
                    <a:lnTo>
                      <a:pt x="77" y="298"/>
                    </a:lnTo>
                    <a:lnTo>
                      <a:pt x="79" y="298"/>
                    </a:lnTo>
                    <a:lnTo>
                      <a:pt x="77" y="298"/>
                    </a:lnTo>
                    <a:lnTo>
                      <a:pt x="79" y="298"/>
                    </a:lnTo>
                    <a:lnTo>
                      <a:pt x="77" y="298"/>
                    </a:lnTo>
                    <a:lnTo>
                      <a:pt x="79" y="298"/>
                    </a:lnTo>
                    <a:lnTo>
                      <a:pt x="79" y="296"/>
                    </a:lnTo>
                    <a:lnTo>
                      <a:pt x="77" y="296"/>
                    </a:lnTo>
                    <a:lnTo>
                      <a:pt x="79" y="296"/>
                    </a:lnTo>
                    <a:lnTo>
                      <a:pt x="77" y="296"/>
                    </a:lnTo>
                    <a:lnTo>
                      <a:pt x="77" y="294"/>
                    </a:lnTo>
                    <a:lnTo>
                      <a:pt x="79" y="294"/>
                    </a:lnTo>
                    <a:lnTo>
                      <a:pt x="77" y="294"/>
                    </a:lnTo>
                    <a:lnTo>
                      <a:pt x="77" y="296"/>
                    </a:lnTo>
                    <a:lnTo>
                      <a:pt x="77" y="294"/>
                    </a:lnTo>
                    <a:lnTo>
                      <a:pt x="79" y="294"/>
                    </a:lnTo>
                    <a:lnTo>
                      <a:pt x="81" y="294"/>
                    </a:lnTo>
                    <a:lnTo>
                      <a:pt x="81" y="296"/>
                    </a:lnTo>
                    <a:lnTo>
                      <a:pt x="81" y="294"/>
                    </a:lnTo>
                    <a:lnTo>
                      <a:pt x="79" y="294"/>
                    </a:lnTo>
                    <a:lnTo>
                      <a:pt x="81" y="292"/>
                    </a:lnTo>
                    <a:lnTo>
                      <a:pt x="82" y="292"/>
                    </a:lnTo>
                    <a:lnTo>
                      <a:pt x="81" y="292"/>
                    </a:lnTo>
                    <a:lnTo>
                      <a:pt x="81" y="294"/>
                    </a:lnTo>
                    <a:lnTo>
                      <a:pt x="82" y="294"/>
                    </a:lnTo>
                    <a:lnTo>
                      <a:pt x="82" y="296"/>
                    </a:lnTo>
                    <a:lnTo>
                      <a:pt x="82" y="294"/>
                    </a:lnTo>
                    <a:lnTo>
                      <a:pt x="82" y="296"/>
                    </a:lnTo>
                    <a:lnTo>
                      <a:pt x="82" y="294"/>
                    </a:lnTo>
                    <a:lnTo>
                      <a:pt x="82" y="292"/>
                    </a:lnTo>
                    <a:lnTo>
                      <a:pt x="84" y="292"/>
                    </a:lnTo>
                    <a:lnTo>
                      <a:pt x="82" y="292"/>
                    </a:lnTo>
                    <a:lnTo>
                      <a:pt x="84" y="292"/>
                    </a:lnTo>
                    <a:lnTo>
                      <a:pt x="84" y="294"/>
                    </a:lnTo>
                    <a:lnTo>
                      <a:pt x="84" y="296"/>
                    </a:lnTo>
                    <a:lnTo>
                      <a:pt x="84" y="298"/>
                    </a:lnTo>
                    <a:lnTo>
                      <a:pt x="86" y="298"/>
                    </a:lnTo>
                    <a:lnTo>
                      <a:pt x="84" y="298"/>
                    </a:lnTo>
                    <a:lnTo>
                      <a:pt x="84" y="296"/>
                    </a:lnTo>
                    <a:lnTo>
                      <a:pt x="86" y="296"/>
                    </a:lnTo>
                    <a:lnTo>
                      <a:pt x="84" y="296"/>
                    </a:lnTo>
                    <a:lnTo>
                      <a:pt x="86" y="296"/>
                    </a:lnTo>
                    <a:lnTo>
                      <a:pt x="86" y="294"/>
                    </a:lnTo>
                    <a:lnTo>
                      <a:pt x="86" y="296"/>
                    </a:lnTo>
                    <a:lnTo>
                      <a:pt x="86" y="294"/>
                    </a:lnTo>
                    <a:lnTo>
                      <a:pt x="86" y="292"/>
                    </a:lnTo>
                    <a:lnTo>
                      <a:pt x="86" y="294"/>
                    </a:lnTo>
                    <a:lnTo>
                      <a:pt x="86" y="292"/>
                    </a:lnTo>
                    <a:lnTo>
                      <a:pt x="86" y="294"/>
                    </a:lnTo>
                    <a:lnTo>
                      <a:pt x="86" y="296"/>
                    </a:lnTo>
                    <a:lnTo>
                      <a:pt x="86" y="298"/>
                    </a:lnTo>
                    <a:lnTo>
                      <a:pt x="86" y="296"/>
                    </a:lnTo>
                    <a:lnTo>
                      <a:pt x="88" y="296"/>
                    </a:lnTo>
                    <a:lnTo>
                      <a:pt x="88" y="298"/>
                    </a:lnTo>
                    <a:lnTo>
                      <a:pt x="86" y="298"/>
                    </a:lnTo>
                    <a:lnTo>
                      <a:pt x="86" y="300"/>
                    </a:lnTo>
                    <a:lnTo>
                      <a:pt x="88" y="300"/>
                    </a:lnTo>
                    <a:lnTo>
                      <a:pt x="86" y="300"/>
                    </a:lnTo>
                    <a:lnTo>
                      <a:pt x="86" y="302"/>
                    </a:lnTo>
                    <a:lnTo>
                      <a:pt x="88" y="302"/>
                    </a:lnTo>
                    <a:lnTo>
                      <a:pt x="88" y="304"/>
                    </a:lnTo>
                    <a:lnTo>
                      <a:pt x="88" y="302"/>
                    </a:lnTo>
                    <a:lnTo>
                      <a:pt x="88" y="304"/>
                    </a:lnTo>
                    <a:lnTo>
                      <a:pt x="86" y="304"/>
                    </a:lnTo>
                    <a:lnTo>
                      <a:pt x="86" y="305"/>
                    </a:lnTo>
                    <a:lnTo>
                      <a:pt x="86" y="307"/>
                    </a:lnTo>
                    <a:lnTo>
                      <a:pt x="84" y="307"/>
                    </a:lnTo>
                    <a:lnTo>
                      <a:pt x="82" y="305"/>
                    </a:lnTo>
                    <a:lnTo>
                      <a:pt x="84" y="304"/>
                    </a:lnTo>
                    <a:lnTo>
                      <a:pt x="82" y="304"/>
                    </a:lnTo>
                    <a:lnTo>
                      <a:pt x="84" y="304"/>
                    </a:lnTo>
                    <a:lnTo>
                      <a:pt x="82" y="304"/>
                    </a:lnTo>
                    <a:lnTo>
                      <a:pt x="82" y="302"/>
                    </a:lnTo>
                    <a:lnTo>
                      <a:pt x="82" y="304"/>
                    </a:lnTo>
                    <a:lnTo>
                      <a:pt x="82" y="302"/>
                    </a:lnTo>
                    <a:lnTo>
                      <a:pt x="82" y="300"/>
                    </a:lnTo>
                    <a:lnTo>
                      <a:pt x="81" y="300"/>
                    </a:lnTo>
                    <a:lnTo>
                      <a:pt x="79" y="300"/>
                    </a:lnTo>
                    <a:lnTo>
                      <a:pt x="81" y="300"/>
                    </a:lnTo>
                    <a:lnTo>
                      <a:pt x="82" y="300"/>
                    </a:lnTo>
                    <a:lnTo>
                      <a:pt x="82" y="302"/>
                    </a:lnTo>
                    <a:lnTo>
                      <a:pt x="82" y="304"/>
                    </a:lnTo>
                    <a:lnTo>
                      <a:pt x="82" y="305"/>
                    </a:lnTo>
                    <a:lnTo>
                      <a:pt x="81" y="305"/>
                    </a:lnTo>
                    <a:lnTo>
                      <a:pt x="82" y="305"/>
                    </a:lnTo>
                    <a:lnTo>
                      <a:pt x="82" y="304"/>
                    </a:lnTo>
                    <a:lnTo>
                      <a:pt x="81" y="304"/>
                    </a:lnTo>
                    <a:lnTo>
                      <a:pt x="79" y="304"/>
                    </a:lnTo>
                    <a:lnTo>
                      <a:pt x="77" y="304"/>
                    </a:lnTo>
                    <a:lnTo>
                      <a:pt x="77" y="302"/>
                    </a:lnTo>
                    <a:lnTo>
                      <a:pt x="79" y="302"/>
                    </a:lnTo>
                    <a:lnTo>
                      <a:pt x="77" y="302"/>
                    </a:lnTo>
                    <a:lnTo>
                      <a:pt x="77" y="300"/>
                    </a:lnTo>
                    <a:lnTo>
                      <a:pt x="79" y="300"/>
                    </a:lnTo>
                    <a:lnTo>
                      <a:pt x="79" y="298"/>
                    </a:lnTo>
                    <a:lnTo>
                      <a:pt x="77" y="298"/>
                    </a:lnTo>
                    <a:lnTo>
                      <a:pt x="79" y="298"/>
                    </a:lnTo>
                    <a:lnTo>
                      <a:pt x="77" y="298"/>
                    </a:lnTo>
                    <a:lnTo>
                      <a:pt x="77" y="300"/>
                    </a:lnTo>
                    <a:lnTo>
                      <a:pt x="75" y="300"/>
                    </a:lnTo>
                    <a:lnTo>
                      <a:pt x="75" y="302"/>
                    </a:lnTo>
                    <a:lnTo>
                      <a:pt x="77" y="302"/>
                    </a:lnTo>
                    <a:lnTo>
                      <a:pt x="77" y="304"/>
                    </a:lnTo>
                    <a:lnTo>
                      <a:pt x="77" y="305"/>
                    </a:lnTo>
                    <a:lnTo>
                      <a:pt x="77" y="304"/>
                    </a:lnTo>
                    <a:lnTo>
                      <a:pt x="79" y="304"/>
                    </a:lnTo>
                    <a:lnTo>
                      <a:pt x="79" y="305"/>
                    </a:lnTo>
                    <a:lnTo>
                      <a:pt x="79" y="307"/>
                    </a:lnTo>
                    <a:lnTo>
                      <a:pt x="79" y="309"/>
                    </a:lnTo>
                    <a:lnTo>
                      <a:pt x="77" y="309"/>
                    </a:lnTo>
                    <a:lnTo>
                      <a:pt x="79" y="309"/>
                    </a:lnTo>
                    <a:lnTo>
                      <a:pt x="77" y="309"/>
                    </a:lnTo>
                    <a:lnTo>
                      <a:pt x="77" y="311"/>
                    </a:lnTo>
                    <a:lnTo>
                      <a:pt x="75" y="311"/>
                    </a:lnTo>
                    <a:lnTo>
                      <a:pt x="77" y="311"/>
                    </a:lnTo>
                    <a:lnTo>
                      <a:pt x="75" y="311"/>
                    </a:lnTo>
                    <a:lnTo>
                      <a:pt x="73" y="311"/>
                    </a:lnTo>
                    <a:lnTo>
                      <a:pt x="73" y="309"/>
                    </a:lnTo>
                    <a:lnTo>
                      <a:pt x="75" y="309"/>
                    </a:lnTo>
                    <a:lnTo>
                      <a:pt x="75" y="307"/>
                    </a:lnTo>
                    <a:lnTo>
                      <a:pt x="73" y="307"/>
                    </a:lnTo>
                    <a:lnTo>
                      <a:pt x="73" y="305"/>
                    </a:lnTo>
                    <a:lnTo>
                      <a:pt x="71" y="305"/>
                    </a:lnTo>
                    <a:lnTo>
                      <a:pt x="71" y="307"/>
                    </a:lnTo>
                    <a:lnTo>
                      <a:pt x="73" y="307"/>
                    </a:lnTo>
                    <a:lnTo>
                      <a:pt x="75" y="307"/>
                    </a:lnTo>
                    <a:lnTo>
                      <a:pt x="73" y="309"/>
                    </a:lnTo>
                    <a:lnTo>
                      <a:pt x="73" y="311"/>
                    </a:lnTo>
                    <a:lnTo>
                      <a:pt x="75" y="311"/>
                    </a:lnTo>
                    <a:lnTo>
                      <a:pt x="77" y="311"/>
                    </a:lnTo>
                    <a:lnTo>
                      <a:pt x="75" y="313"/>
                    </a:lnTo>
                    <a:lnTo>
                      <a:pt x="75" y="315"/>
                    </a:lnTo>
                    <a:lnTo>
                      <a:pt x="75" y="313"/>
                    </a:lnTo>
                    <a:lnTo>
                      <a:pt x="73" y="313"/>
                    </a:lnTo>
                    <a:lnTo>
                      <a:pt x="71" y="313"/>
                    </a:lnTo>
                    <a:lnTo>
                      <a:pt x="73" y="313"/>
                    </a:lnTo>
                    <a:lnTo>
                      <a:pt x="75" y="313"/>
                    </a:lnTo>
                    <a:lnTo>
                      <a:pt x="75" y="315"/>
                    </a:lnTo>
                    <a:lnTo>
                      <a:pt x="73" y="315"/>
                    </a:lnTo>
                    <a:lnTo>
                      <a:pt x="75" y="315"/>
                    </a:lnTo>
                    <a:lnTo>
                      <a:pt x="75" y="317"/>
                    </a:lnTo>
                    <a:lnTo>
                      <a:pt x="75" y="315"/>
                    </a:lnTo>
                    <a:lnTo>
                      <a:pt x="73" y="315"/>
                    </a:lnTo>
                    <a:lnTo>
                      <a:pt x="75" y="315"/>
                    </a:lnTo>
                    <a:lnTo>
                      <a:pt x="75" y="313"/>
                    </a:lnTo>
                    <a:lnTo>
                      <a:pt x="77" y="313"/>
                    </a:lnTo>
                    <a:lnTo>
                      <a:pt x="77" y="311"/>
                    </a:lnTo>
                    <a:lnTo>
                      <a:pt x="77" y="313"/>
                    </a:lnTo>
                    <a:lnTo>
                      <a:pt x="79" y="313"/>
                    </a:lnTo>
                    <a:lnTo>
                      <a:pt x="79" y="315"/>
                    </a:lnTo>
                    <a:lnTo>
                      <a:pt x="79" y="317"/>
                    </a:lnTo>
                    <a:lnTo>
                      <a:pt x="81" y="317"/>
                    </a:lnTo>
                    <a:lnTo>
                      <a:pt x="81" y="319"/>
                    </a:lnTo>
                    <a:lnTo>
                      <a:pt x="79" y="319"/>
                    </a:lnTo>
                    <a:lnTo>
                      <a:pt x="79" y="321"/>
                    </a:lnTo>
                    <a:lnTo>
                      <a:pt x="79" y="323"/>
                    </a:lnTo>
                    <a:lnTo>
                      <a:pt x="77" y="325"/>
                    </a:lnTo>
                    <a:lnTo>
                      <a:pt x="75" y="325"/>
                    </a:lnTo>
                    <a:lnTo>
                      <a:pt x="77" y="325"/>
                    </a:lnTo>
                    <a:lnTo>
                      <a:pt x="77" y="323"/>
                    </a:lnTo>
                    <a:lnTo>
                      <a:pt x="77" y="321"/>
                    </a:lnTo>
                    <a:lnTo>
                      <a:pt x="77" y="323"/>
                    </a:lnTo>
                    <a:lnTo>
                      <a:pt x="77" y="325"/>
                    </a:lnTo>
                    <a:lnTo>
                      <a:pt x="75" y="325"/>
                    </a:lnTo>
                    <a:lnTo>
                      <a:pt x="77" y="325"/>
                    </a:lnTo>
                    <a:lnTo>
                      <a:pt x="75" y="325"/>
                    </a:lnTo>
                    <a:lnTo>
                      <a:pt x="75" y="327"/>
                    </a:lnTo>
                    <a:lnTo>
                      <a:pt x="75" y="329"/>
                    </a:lnTo>
                    <a:lnTo>
                      <a:pt x="73" y="329"/>
                    </a:lnTo>
                    <a:lnTo>
                      <a:pt x="73" y="330"/>
                    </a:lnTo>
                    <a:lnTo>
                      <a:pt x="71" y="330"/>
                    </a:lnTo>
                    <a:lnTo>
                      <a:pt x="69" y="330"/>
                    </a:lnTo>
                    <a:lnTo>
                      <a:pt x="69" y="332"/>
                    </a:lnTo>
                    <a:lnTo>
                      <a:pt x="69" y="334"/>
                    </a:lnTo>
                    <a:lnTo>
                      <a:pt x="69" y="332"/>
                    </a:lnTo>
                    <a:lnTo>
                      <a:pt x="69" y="330"/>
                    </a:lnTo>
                    <a:lnTo>
                      <a:pt x="71" y="332"/>
                    </a:lnTo>
                    <a:lnTo>
                      <a:pt x="71" y="334"/>
                    </a:lnTo>
                    <a:lnTo>
                      <a:pt x="71" y="336"/>
                    </a:lnTo>
                    <a:lnTo>
                      <a:pt x="71" y="334"/>
                    </a:lnTo>
                    <a:lnTo>
                      <a:pt x="71" y="332"/>
                    </a:lnTo>
                    <a:lnTo>
                      <a:pt x="71" y="330"/>
                    </a:lnTo>
                    <a:lnTo>
                      <a:pt x="73" y="330"/>
                    </a:lnTo>
                    <a:lnTo>
                      <a:pt x="73" y="329"/>
                    </a:lnTo>
                    <a:lnTo>
                      <a:pt x="73" y="330"/>
                    </a:lnTo>
                    <a:lnTo>
                      <a:pt x="73" y="332"/>
                    </a:lnTo>
                    <a:lnTo>
                      <a:pt x="75" y="334"/>
                    </a:lnTo>
                    <a:lnTo>
                      <a:pt x="75" y="336"/>
                    </a:lnTo>
                    <a:lnTo>
                      <a:pt x="77" y="336"/>
                    </a:lnTo>
                    <a:lnTo>
                      <a:pt x="77" y="338"/>
                    </a:lnTo>
                    <a:lnTo>
                      <a:pt x="75" y="338"/>
                    </a:lnTo>
                    <a:lnTo>
                      <a:pt x="73" y="336"/>
                    </a:lnTo>
                    <a:lnTo>
                      <a:pt x="71" y="336"/>
                    </a:lnTo>
                    <a:lnTo>
                      <a:pt x="73" y="336"/>
                    </a:lnTo>
                    <a:lnTo>
                      <a:pt x="73" y="338"/>
                    </a:lnTo>
                    <a:lnTo>
                      <a:pt x="75" y="338"/>
                    </a:lnTo>
                    <a:lnTo>
                      <a:pt x="75" y="340"/>
                    </a:lnTo>
                    <a:lnTo>
                      <a:pt x="73" y="340"/>
                    </a:lnTo>
                    <a:lnTo>
                      <a:pt x="75" y="340"/>
                    </a:lnTo>
                    <a:lnTo>
                      <a:pt x="75" y="342"/>
                    </a:lnTo>
                    <a:lnTo>
                      <a:pt x="77" y="342"/>
                    </a:lnTo>
                    <a:lnTo>
                      <a:pt x="75" y="342"/>
                    </a:lnTo>
                    <a:lnTo>
                      <a:pt x="75" y="344"/>
                    </a:lnTo>
                    <a:lnTo>
                      <a:pt x="77" y="344"/>
                    </a:lnTo>
                    <a:lnTo>
                      <a:pt x="75" y="344"/>
                    </a:lnTo>
                    <a:lnTo>
                      <a:pt x="73" y="344"/>
                    </a:lnTo>
                    <a:lnTo>
                      <a:pt x="75" y="344"/>
                    </a:lnTo>
                    <a:lnTo>
                      <a:pt x="77" y="344"/>
                    </a:lnTo>
                    <a:lnTo>
                      <a:pt x="77" y="346"/>
                    </a:lnTo>
                    <a:lnTo>
                      <a:pt x="75" y="346"/>
                    </a:lnTo>
                    <a:lnTo>
                      <a:pt x="73" y="346"/>
                    </a:lnTo>
                    <a:lnTo>
                      <a:pt x="73" y="348"/>
                    </a:lnTo>
                    <a:lnTo>
                      <a:pt x="75" y="348"/>
                    </a:lnTo>
                    <a:lnTo>
                      <a:pt x="77" y="348"/>
                    </a:lnTo>
                    <a:lnTo>
                      <a:pt x="75" y="348"/>
                    </a:lnTo>
                    <a:lnTo>
                      <a:pt x="75" y="346"/>
                    </a:lnTo>
                    <a:lnTo>
                      <a:pt x="77" y="346"/>
                    </a:lnTo>
                    <a:lnTo>
                      <a:pt x="77" y="344"/>
                    </a:lnTo>
                    <a:lnTo>
                      <a:pt x="77" y="346"/>
                    </a:lnTo>
                    <a:lnTo>
                      <a:pt x="79" y="346"/>
                    </a:lnTo>
                    <a:lnTo>
                      <a:pt x="77" y="346"/>
                    </a:lnTo>
                    <a:lnTo>
                      <a:pt x="77" y="348"/>
                    </a:lnTo>
                    <a:lnTo>
                      <a:pt x="77" y="346"/>
                    </a:lnTo>
                    <a:lnTo>
                      <a:pt x="79" y="346"/>
                    </a:lnTo>
                    <a:lnTo>
                      <a:pt x="79" y="344"/>
                    </a:lnTo>
                    <a:lnTo>
                      <a:pt x="77" y="344"/>
                    </a:lnTo>
                    <a:lnTo>
                      <a:pt x="75" y="344"/>
                    </a:lnTo>
                    <a:lnTo>
                      <a:pt x="75" y="342"/>
                    </a:lnTo>
                    <a:lnTo>
                      <a:pt x="77" y="342"/>
                    </a:lnTo>
                    <a:lnTo>
                      <a:pt x="75" y="342"/>
                    </a:lnTo>
                    <a:lnTo>
                      <a:pt x="77" y="342"/>
                    </a:lnTo>
                    <a:lnTo>
                      <a:pt x="75" y="342"/>
                    </a:lnTo>
                    <a:lnTo>
                      <a:pt x="75" y="340"/>
                    </a:lnTo>
                    <a:lnTo>
                      <a:pt x="73" y="340"/>
                    </a:lnTo>
                    <a:lnTo>
                      <a:pt x="75" y="340"/>
                    </a:lnTo>
                    <a:lnTo>
                      <a:pt x="75" y="338"/>
                    </a:lnTo>
                    <a:lnTo>
                      <a:pt x="73" y="338"/>
                    </a:lnTo>
                    <a:lnTo>
                      <a:pt x="75" y="338"/>
                    </a:lnTo>
                    <a:lnTo>
                      <a:pt x="77" y="338"/>
                    </a:lnTo>
                    <a:lnTo>
                      <a:pt x="77" y="340"/>
                    </a:lnTo>
                    <a:lnTo>
                      <a:pt x="77" y="342"/>
                    </a:lnTo>
                    <a:lnTo>
                      <a:pt x="79" y="342"/>
                    </a:lnTo>
                    <a:lnTo>
                      <a:pt x="77" y="344"/>
                    </a:lnTo>
                    <a:lnTo>
                      <a:pt x="79" y="342"/>
                    </a:lnTo>
                    <a:lnTo>
                      <a:pt x="79" y="344"/>
                    </a:lnTo>
                    <a:lnTo>
                      <a:pt x="79" y="346"/>
                    </a:lnTo>
                    <a:lnTo>
                      <a:pt x="81" y="346"/>
                    </a:lnTo>
                    <a:lnTo>
                      <a:pt x="81" y="344"/>
                    </a:lnTo>
                    <a:lnTo>
                      <a:pt x="81" y="346"/>
                    </a:lnTo>
                    <a:lnTo>
                      <a:pt x="81" y="348"/>
                    </a:lnTo>
                    <a:lnTo>
                      <a:pt x="81" y="346"/>
                    </a:lnTo>
                    <a:lnTo>
                      <a:pt x="81" y="348"/>
                    </a:lnTo>
                    <a:lnTo>
                      <a:pt x="79" y="348"/>
                    </a:lnTo>
                    <a:lnTo>
                      <a:pt x="79" y="350"/>
                    </a:lnTo>
                    <a:lnTo>
                      <a:pt x="79" y="352"/>
                    </a:lnTo>
                    <a:lnTo>
                      <a:pt x="77" y="352"/>
                    </a:lnTo>
                    <a:lnTo>
                      <a:pt x="77" y="350"/>
                    </a:lnTo>
                    <a:lnTo>
                      <a:pt x="75" y="350"/>
                    </a:lnTo>
                    <a:lnTo>
                      <a:pt x="73" y="350"/>
                    </a:lnTo>
                    <a:lnTo>
                      <a:pt x="71" y="350"/>
                    </a:lnTo>
                    <a:lnTo>
                      <a:pt x="71" y="348"/>
                    </a:lnTo>
                    <a:lnTo>
                      <a:pt x="73" y="348"/>
                    </a:lnTo>
                    <a:lnTo>
                      <a:pt x="71" y="348"/>
                    </a:lnTo>
                    <a:lnTo>
                      <a:pt x="69" y="348"/>
                    </a:lnTo>
                    <a:lnTo>
                      <a:pt x="67" y="348"/>
                    </a:lnTo>
                    <a:lnTo>
                      <a:pt x="67" y="346"/>
                    </a:lnTo>
                    <a:lnTo>
                      <a:pt x="67" y="344"/>
                    </a:lnTo>
                    <a:lnTo>
                      <a:pt x="69" y="344"/>
                    </a:lnTo>
                    <a:lnTo>
                      <a:pt x="67" y="344"/>
                    </a:lnTo>
                    <a:lnTo>
                      <a:pt x="69" y="344"/>
                    </a:lnTo>
                    <a:lnTo>
                      <a:pt x="69" y="342"/>
                    </a:lnTo>
                    <a:lnTo>
                      <a:pt x="67" y="342"/>
                    </a:lnTo>
                    <a:lnTo>
                      <a:pt x="69" y="342"/>
                    </a:lnTo>
                    <a:lnTo>
                      <a:pt x="67" y="342"/>
                    </a:lnTo>
                    <a:lnTo>
                      <a:pt x="69" y="344"/>
                    </a:lnTo>
                    <a:lnTo>
                      <a:pt x="67" y="344"/>
                    </a:lnTo>
                    <a:lnTo>
                      <a:pt x="67" y="346"/>
                    </a:lnTo>
                    <a:lnTo>
                      <a:pt x="65" y="346"/>
                    </a:lnTo>
                    <a:lnTo>
                      <a:pt x="65" y="344"/>
                    </a:lnTo>
                    <a:lnTo>
                      <a:pt x="63" y="342"/>
                    </a:lnTo>
                    <a:lnTo>
                      <a:pt x="63" y="344"/>
                    </a:lnTo>
                    <a:lnTo>
                      <a:pt x="65" y="344"/>
                    </a:lnTo>
                    <a:lnTo>
                      <a:pt x="65" y="346"/>
                    </a:lnTo>
                    <a:lnTo>
                      <a:pt x="63" y="346"/>
                    </a:lnTo>
                    <a:lnTo>
                      <a:pt x="65" y="346"/>
                    </a:lnTo>
                    <a:lnTo>
                      <a:pt x="67" y="346"/>
                    </a:lnTo>
                    <a:lnTo>
                      <a:pt x="67" y="348"/>
                    </a:lnTo>
                    <a:lnTo>
                      <a:pt x="65" y="348"/>
                    </a:lnTo>
                    <a:lnTo>
                      <a:pt x="63" y="348"/>
                    </a:lnTo>
                    <a:lnTo>
                      <a:pt x="61" y="348"/>
                    </a:lnTo>
                    <a:lnTo>
                      <a:pt x="59" y="348"/>
                    </a:lnTo>
                    <a:lnTo>
                      <a:pt x="59" y="346"/>
                    </a:lnTo>
                    <a:lnTo>
                      <a:pt x="57" y="346"/>
                    </a:lnTo>
                    <a:lnTo>
                      <a:pt x="59" y="346"/>
                    </a:lnTo>
                    <a:lnTo>
                      <a:pt x="59" y="348"/>
                    </a:lnTo>
                    <a:lnTo>
                      <a:pt x="61" y="348"/>
                    </a:lnTo>
                    <a:lnTo>
                      <a:pt x="63" y="348"/>
                    </a:lnTo>
                    <a:lnTo>
                      <a:pt x="63" y="350"/>
                    </a:lnTo>
                    <a:lnTo>
                      <a:pt x="63" y="352"/>
                    </a:lnTo>
                    <a:lnTo>
                      <a:pt x="65" y="352"/>
                    </a:lnTo>
                    <a:lnTo>
                      <a:pt x="65" y="350"/>
                    </a:lnTo>
                    <a:lnTo>
                      <a:pt x="65" y="352"/>
                    </a:lnTo>
                    <a:lnTo>
                      <a:pt x="67" y="352"/>
                    </a:lnTo>
                    <a:lnTo>
                      <a:pt x="65" y="352"/>
                    </a:lnTo>
                    <a:lnTo>
                      <a:pt x="63" y="352"/>
                    </a:lnTo>
                    <a:lnTo>
                      <a:pt x="63" y="354"/>
                    </a:lnTo>
                    <a:lnTo>
                      <a:pt x="61" y="354"/>
                    </a:lnTo>
                    <a:lnTo>
                      <a:pt x="63" y="354"/>
                    </a:lnTo>
                    <a:lnTo>
                      <a:pt x="61" y="354"/>
                    </a:lnTo>
                    <a:lnTo>
                      <a:pt x="61" y="355"/>
                    </a:lnTo>
                    <a:lnTo>
                      <a:pt x="59" y="357"/>
                    </a:lnTo>
                    <a:lnTo>
                      <a:pt x="57" y="357"/>
                    </a:lnTo>
                    <a:lnTo>
                      <a:pt x="57" y="355"/>
                    </a:lnTo>
                    <a:lnTo>
                      <a:pt x="56" y="355"/>
                    </a:lnTo>
                    <a:lnTo>
                      <a:pt x="57" y="355"/>
                    </a:lnTo>
                    <a:lnTo>
                      <a:pt x="56" y="355"/>
                    </a:lnTo>
                    <a:lnTo>
                      <a:pt x="56" y="354"/>
                    </a:lnTo>
                    <a:lnTo>
                      <a:pt x="56" y="352"/>
                    </a:lnTo>
                    <a:lnTo>
                      <a:pt x="56" y="354"/>
                    </a:lnTo>
                    <a:lnTo>
                      <a:pt x="54" y="354"/>
                    </a:lnTo>
                    <a:lnTo>
                      <a:pt x="56" y="354"/>
                    </a:lnTo>
                    <a:lnTo>
                      <a:pt x="54" y="354"/>
                    </a:lnTo>
                    <a:lnTo>
                      <a:pt x="56" y="354"/>
                    </a:lnTo>
                    <a:lnTo>
                      <a:pt x="56" y="355"/>
                    </a:lnTo>
                    <a:lnTo>
                      <a:pt x="54" y="355"/>
                    </a:lnTo>
                    <a:lnTo>
                      <a:pt x="56" y="355"/>
                    </a:lnTo>
                    <a:lnTo>
                      <a:pt x="54" y="355"/>
                    </a:lnTo>
                    <a:lnTo>
                      <a:pt x="56" y="355"/>
                    </a:lnTo>
                    <a:lnTo>
                      <a:pt x="57" y="355"/>
                    </a:lnTo>
                    <a:lnTo>
                      <a:pt x="57" y="357"/>
                    </a:lnTo>
                    <a:lnTo>
                      <a:pt x="56" y="357"/>
                    </a:lnTo>
                    <a:lnTo>
                      <a:pt x="54" y="357"/>
                    </a:lnTo>
                    <a:lnTo>
                      <a:pt x="56" y="357"/>
                    </a:lnTo>
                    <a:lnTo>
                      <a:pt x="54" y="355"/>
                    </a:lnTo>
                    <a:lnTo>
                      <a:pt x="52" y="355"/>
                    </a:lnTo>
                    <a:lnTo>
                      <a:pt x="50" y="355"/>
                    </a:lnTo>
                    <a:lnTo>
                      <a:pt x="48" y="355"/>
                    </a:lnTo>
                    <a:lnTo>
                      <a:pt x="48" y="354"/>
                    </a:lnTo>
                    <a:lnTo>
                      <a:pt x="50" y="354"/>
                    </a:lnTo>
                    <a:lnTo>
                      <a:pt x="52" y="354"/>
                    </a:lnTo>
                    <a:lnTo>
                      <a:pt x="52" y="352"/>
                    </a:lnTo>
                    <a:lnTo>
                      <a:pt x="50" y="352"/>
                    </a:lnTo>
                    <a:lnTo>
                      <a:pt x="52" y="352"/>
                    </a:lnTo>
                    <a:lnTo>
                      <a:pt x="52" y="350"/>
                    </a:lnTo>
                    <a:lnTo>
                      <a:pt x="52" y="352"/>
                    </a:lnTo>
                    <a:lnTo>
                      <a:pt x="50" y="352"/>
                    </a:lnTo>
                    <a:lnTo>
                      <a:pt x="52" y="354"/>
                    </a:lnTo>
                    <a:lnTo>
                      <a:pt x="50" y="354"/>
                    </a:lnTo>
                    <a:lnTo>
                      <a:pt x="48" y="354"/>
                    </a:lnTo>
                    <a:lnTo>
                      <a:pt x="46" y="355"/>
                    </a:lnTo>
                    <a:lnTo>
                      <a:pt x="46" y="354"/>
                    </a:lnTo>
                    <a:lnTo>
                      <a:pt x="46" y="355"/>
                    </a:lnTo>
                    <a:lnTo>
                      <a:pt x="46" y="354"/>
                    </a:lnTo>
                    <a:lnTo>
                      <a:pt x="46" y="355"/>
                    </a:lnTo>
                    <a:lnTo>
                      <a:pt x="44" y="355"/>
                    </a:lnTo>
                    <a:lnTo>
                      <a:pt x="42" y="355"/>
                    </a:lnTo>
                    <a:lnTo>
                      <a:pt x="40" y="355"/>
                    </a:lnTo>
                    <a:lnTo>
                      <a:pt x="42" y="355"/>
                    </a:lnTo>
                    <a:lnTo>
                      <a:pt x="42" y="354"/>
                    </a:lnTo>
                    <a:lnTo>
                      <a:pt x="44" y="354"/>
                    </a:lnTo>
                    <a:lnTo>
                      <a:pt x="46" y="354"/>
                    </a:lnTo>
                    <a:lnTo>
                      <a:pt x="44" y="352"/>
                    </a:lnTo>
                    <a:lnTo>
                      <a:pt x="44" y="354"/>
                    </a:lnTo>
                    <a:lnTo>
                      <a:pt x="42" y="354"/>
                    </a:lnTo>
                    <a:lnTo>
                      <a:pt x="40" y="355"/>
                    </a:lnTo>
                    <a:lnTo>
                      <a:pt x="38" y="355"/>
                    </a:lnTo>
                    <a:lnTo>
                      <a:pt x="36" y="355"/>
                    </a:lnTo>
                    <a:lnTo>
                      <a:pt x="34" y="355"/>
                    </a:lnTo>
                    <a:lnTo>
                      <a:pt x="34" y="354"/>
                    </a:lnTo>
                    <a:lnTo>
                      <a:pt x="32" y="354"/>
                    </a:lnTo>
                    <a:lnTo>
                      <a:pt x="34" y="354"/>
                    </a:lnTo>
                    <a:lnTo>
                      <a:pt x="32" y="354"/>
                    </a:lnTo>
                    <a:lnTo>
                      <a:pt x="32" y="352"/>
                    </a:lnTo>
                    <a:lnTo>
                      <a:pt x="31" y="352"/>
                    </a:lnTo>
                    <a:lnTo>
                      <a:pt x="29" y="352"/>
                    </a:lnTo>
                    <a:lnTo>
                      <a:pt x="31" y="352"/>
                    </a:lnTo>
                    <a:lnTo>
                      <a:pt x="29" y="352"/>
                    </a:lnTo>
                    <a:lnTo>
                      <a:pt x="27" y="352"/>
                    </a:lnTo>
                    <a:lnTo>
                      <a:pt x="25" y="352"/>
                    </a:lnTo>
                    <a:lnTo>
                      <a:pt x="25" y="354"/>
                    </a:lnTo>
                    <a:lnTo>
                      <a:pt x="23" y="354"/>
                    </a:lnTo>
                    <a:lnTo>
                      <a:pt x="21" y="354"/>
                    </a:lnTo>
                    <a:lnTo>
                      <a:pt x="19" y="354"/>
                    </a:lnTo>
                    <a:lnTo>
                      <a:pt x="17" y="354"/>
                    </a:lnTo>
                    <a:lnTo>
                      <a:pt x="15" y="354"/>
                    </a:lnTo>
                    <a:lnTo>
                      <a:pt x="13" y="352"/>
                    </a:lnTo>
                    <a:lnTo>
                      <a:pt x="13" y="354"/>
                    </a:lnTo>
                    <a:lnTo>
                      <a:pt x="13" y="352"/>
                    </a:lnTo>
                    <a:lnTo>
                      <a:pt x="11" y="352"/>
                    </a:lnTo>
                    <a:lnTo>
                      <a:pt x="13" y="352"/>
                    </a:lnTo>
                    <a:lnTo>
                      <a:pt x="15" y="352"/>
                    </a:lnTo>
                    <a:lnTo>
                      <a:pt x="17" y="352"/>
                    </a:lnTo>
                    <a:lnTo>
                      <a:pt x="17" y="350"/>
                    </a:lnTo>
                    <a:lnTo>
                      <a:pt x="19" y="350"/>
                    </a:lnTo>
                    <a:lnTo>
                      <a:pt x="19" y="348"/>
                    </a:lnTo>
                    <a:lnTo>
                      <a:pt x="19" y="346"/>
                    </a:lnTo>
                    <a:lnTo>
                      <a:pt x="21" y="346"/>
                    </a:lnTo>
                    <a:lnTo>
                      <a:pt x="19" y="346"/>
                    </a:lnTo>
                    <a:lnTo>
                      <a:pt x="19" y="348"/>
                    </a:lnTo>
                    <a:lnTo>
                      <a:pt x="19" y="350"/>
                    </a:lnTo>
                    <a:lnTo>
                      <a:pt x="19" y="348"/>
                    </a:lnTo>
                    <a:lnTo>
                      <a:pt x="19" y="346"/>
                    </a:lnTo>
                    <a:lnTo>
                      <a:pt x="21" y="346"/>
                    </a:lnTo>
                    <a:lnTo>
                      <a:pt x="19" y="346"/>
                    </a:lnTo>
                    <a:lnTo>
                      <a:pt x="21" y="344"/>
                    </a:lnTo>
                    <a:lnTo>
                      <a:pt x="23" y="342"/>
                    </a:lnTo>
                    <a:lnTo>
                      <a:pt x="25" y="342"/>
                    </a:lnTo>
                    <a:lnTo>
                      <a:pt x="25" y="340"/>
                    </a:lnTo>
                    <a:lnTo>
                      <a:pt x="27" y="340"/>
                    </a:lnTo>
                    <a:lnTo>
                      <a:pt x="29" y="340"/>
                    </a:lnTo>
                    <a:lnTo>
                      <a:pt x="29" y="342"/>
                    </a:lnTo>
                    <a:lnTo>
                      <a:pt x="31" y="342"/>
                    </a:lnTo>
                    <a:lnTo>
                      <a:pt x="31" y="344"/>
                    </a:lnTo>
                    <a:lnTo>
                      <a:pt x="32" y="346"/>
                    </a:lnTo>
                    <a:lnTo>
                      <a:pt x="31" y="344"/>
                    </a:lnTo>
                    <a:lnTo>
                      <a:pt x="31" y="342"/>
                    </a:lnTo>
                    <a:lnTo>
                      <a:pt x="29" y="342"/>
                    </a:lnTo>
                    <a:lnTo>
                      <a:pt x="31" y="342"/>
                    </a:lnTo>
                    <a:lnTo>
                      <a:pt x="32" y="342"/>
                    </a:lnTo>
                    <a:lnTo>
                      <a:pt x="34" y="342"/>
                    </a:lnTo>
                    <a:lnTo>
                      <a:pt x="36" y="340"/>
                    </a:lnTo>
                    <a:lnTo>
                      <a:pt x="38" y="340"/>
                    </a:lnTo>
                    <a:lnTo>
                      <a:pt x="40" y="340"/>
                    </a:lnTo>
                    <a:lnTo>
                      <a:pt x="42" y="340"/>
                    </a:lnTo>
                    <a:lnTo>
                      <a:pt x="42" y="338"/>
                    </a:lnTo>
                    <a:lnTo>
                      <a:pt x="44" y="338"/>
                    </a:lnTo>
                    <a:lnTo>
                      <a:pt x="44" y="336"/>
                    </a:lnTo>
                    <a:lnTo>
                      <a:pt x="46" y="336"/>
                    </a:lnTo>
                    <a:lnTo>
                      <a:pt x="48" y="336"/>
                    </a:lnTo>
                    <a:lnTo>
                      <a:pt x="50" y="336"/>
                    </a:lnTo>
                    <a:lnTo>
                      <a:pt x="50" y="338"/>
                    </a:lnTo>
                    <a:lnTo>
                      <a:pt x="50" y="340"/>
                    </a:lnTo>
                    <a:lnTo>
                      <a:pt x="50" y="338"/>
                    </a:lnTo>
                    <a:lnTo>
                      <a:pt x="52" y="340"/>
                    </a:lnTo>
                    <a:lnTo>
                      <a:pt x="52" y="342"/>
                    </a:lnTo>
                    <a:lnTo>
                      <a:pt x="52" y="344"/>
                    </a:lnTo>
                    <a:lnTo>
                      <a:pt x="52" y="342"/>
                    </a:lnTo>
                    <a:lnTo>
                      <a:pt x="52" y="340"/>
                    </a:lnTo>
                    <a:lnTo>
                      <a:pt x="52" y="338"/>
                    </a:lnTo>
                    <a:lnTo>
                      <a:pt x="50" y="338"/>
                    </a:lnTo>
                    <a:lnTo>
                      <a:pt x="52" y="336"/>
                    </a:lnTo>
                    <a:lnTo>
                      <a:pt x="50" y="334"/>
                    </a:lnTo>
                    <a:lnTo>
                      <a:pt x="52" y="334"/>
                    </a:lnTo>
                    <a:lnTo>
                      <a:pt x="52" y="336"/>
                    </a:lnTo>
                    <a:lnTo>
                      <a:pt x="54" y="336"/>
                    </a:lnTo>
                    <a:lnTo>
                      <a:pt x="54" y="338"/>
                    </a:lnTo>
                    <a:lnTo>
                      <a:pt x="54" y="340"/>
                    </a:lnTo>
                    <a:lnTo>
                      <a:pt x="54" y="338"/>
                    </a:lnTo>
                    <a:lnTo>
                      <a:pt x="54" y="340"/>
                    </a:lnTo>
                    <a:lnTo>
                      <a:pt x="56" y="340"/>
                    </a:lnTo>
                    <a:lnTo>
                      <a:pt x="54" y="338"/>
                    </a:lnTo>
                    <a:lnTo>
                      <a:pt x="54" y="340"/>
                    </a:lnTo>
                    <a:lnTo>
                      <a:pt x="54" y="338"/>
                    </a:lnTo>
                    <a:lnTo>
                      <a:pt x="54" y="336"/>
                    </a:lnTo>
                    <a:lnTo>
                      <a:pt x="52" y="336"/>
                    </a:lnTo>
                    <a:lnTo>
                      <a:pt x="52" y="334"/>
                    </a:lnTo>
                    <a:lnTo>
                      <a:pt x="50" y="334"/>
                    </a:lnTo>
                    <a:lnTo>
                      <a:pt x="50" y="332"/>
                    </a:lnTo>
                    <a:lnTo>
                      <a:pt x="48" y="332"/>
                    </a:lnTo>
                    <a:lnTo>
                      <a:pt x="46" y="332"/>
                    </a:lnTo>
                    <a:lnTo>
                      <a:pt x="48" y="332"/>
                    </a:lnTo>
                    <a:lnTo>
                      <a:pt x="46" y="332"/>
                    </a:lnTo>
                    <a:lnTo>
                      <a:pt x="44" y="332"/>
                    </a:lnTo>
                    <a:lnTo>
                      <a:pt x="42" y="332"/>
                    </a:lnTo>
                    <a:lnTo>
                      <a:pt x="42" y="334"/>
                    </a:lnTo>
                    <a:lnTo>
                      <a:pt x="40" y="332"/>
                    </a:lnTo>
                    <a:lnTo>
                      <a:pt x="40" y="334"/>
                    </a:lnTo>
                    <a:lnTo>
                      <a:pt x="40" y="332"/>
                    </a:lnTo>
                    <a:lnTo>
                      <a:pt x="42" y="334"/>
                    </a:lnTo>
                    <a:lnTo>
                      <a:pt x="42" y="332"/>
                    </a:lnTo>
                    <a:lnTo>
                      <a:pt x="44" y="332"/>
                    </a:lnTo>
                    <a:lnTo>
                      <a:pt x="46" y="332"/>
                    </a:lnTo>
                    <a:lnTo>
                      <a:pt x="46" y="334"/>
                    </a:lnTo>
                    <a:lnTo>
                      <a:pt x="48" y="332"/>
                    </a:lnTo>
                    <a:lnTo>
                      <a:pt x="50" y="332"/>
                    </a:lnTo>
                    <a:lnTo>
                      <a:pt x="50" y="334"/>
                    </a:lnTo>
                    <a:lnTo>
                      <a:pt x="48" y="334"/>
                    </a:lnTo>
                    <a:lnTo>
                      <a:pt x="46" y="334"/>
                    </a:lnTo>
                    <a:lnTo>
                      <a:pt x="44" y="336"/>
                    </a:lnTo>
                    <a:lnTo>
                      <a:pt x="42" y="338"/>
                    </a:lnTo>
                    <a:lnTo>
                      <a:pt x="40" y="338"/>
                    </a:lnTo>
                    <a:lnTo>
                      <a:pt x="38" y="338"/>
                    </a:lnTo>
                    <a:lnTo>
                      <a:pt x="36" y="338"/>
                    </a:lnTo>
                    <a:lnTo>
                      <a:pt x="34" y="340"/>
                    </a:lnTo>
                    <a:lnTo>
                      <a:pt x="32" y="340"/>
                    </a:lnTo>
                    <a:lnTo>
                      <a:pt x="31" y="340"/>
                    </a:lnTo>
                    <a:lnTo>
                      <a:pt x="29" y="340"/>
                    </a:lnTo>
                    <a:lnTo>
                      <a:pt x="27" y="340"/>
                    </a:lnTo>
                    <a:lnTo>
                      <a:pt x="29" y="340"/>
                    </a:lnTo>
                    <a:lnTo>
                      <a:pt x="27" y="340"/>
                    </a:lnTo>
                    <a:lnTo>
                      <a:pt x="25" y="340"/>
                    </a:lnTo>
                    <a:lnTo>
                      <a:pt x="23" y="340"/>
                    </a:lnTo>
                    <a:lnTo>
                      <a:pt x="23" y="342"/>
                    </a:lnTo>
                    <a:lnTo>
                      <a:pt x="21" y="342"/>
                    </a:lnTo>
                    <a:lnTo>
                      <a:pt x="21" y="344"/>
                    </a:lnTo>
                    <a:lnTo>
                      <a:pt x="19" y="342"/>
                    </a:lnTo>
                    <a:lnTo>
                      <a:pt x="17" y="342"/>
                    </a:lnTo>
                    <a:lnTo>
                      <a:pt x="15" y="342"/>
                    </a:lnTo>
                    <a:lnTo>
                      <a:pt x="15" y="340"/>
                    </a:lnTo>
                    <a:lnTo>
                      <a:pt x="15" y="338"/>
                    </a:lnTo>
                    <a:lnTo>
                      <a:pt x="15" y="336"/>
                    </a:lnTo>
                    <a:lnTo>
                      <a:pt x="15" y="338"/>
                    </a:lnTo>
                    <a:lnTo>
                      <a:pt x="17" y="338"/>
                    </a:lnTo>
                    <a:lnTo>
                      <a:pt x="17" y="336"/>
                    </a:lnTo>
                    <a:lnTo>
                      <a:pt x="19" y="336"/>
                    </a:lnTo>
                    <a:lnTo>
                      <a:pt x="19" y="334"/>
                    </a:lnTo>
                    <a:lnTo>
                      <a:pt x="17" y="334"/>
                    </a:lnTo>
                    <a:lnTo>
                      <a:pt x="19" y="334"/>
                    </a:lnTo>
                    <a:lnTo>
                      <a:pt x="17" y="334"/>
                    </a:lnTo>
                    <a:lnTo>
                      <a:pt x="19" y="332"/>
                    </a:lnTo>
                    <a:lnTo>
                      <a:pt x="19" y="334"/>
                    </a:lnTo>
                    <a:lnTo>
                      <a:pt x="21" y="334"/>
                    </a:lnTo>
                    <a:lnTo>
                      <a:pt x="19" y="334"/>
                    </a:lnTo>
                    <a:lnTo>
                      <a:pt x="19" y="332"/>
                    </a:lnTo>
                    <a:lnTo>
                      <a:pt x="21" y="332"/>
                    </a:lnTo>
                    <a:lnTo>
                      <a:pt x="19" y="332"/>
                    </a:lnTo>
                    <a:lnTo>
                      <a:pt x="17" y="334"/>
                    </a:lnTo>
                    <a:lnTo>
                      <a:pt x="19" y="334"/>
                    </a:lnTo>
                    <a:lnTo>
                      <a:pt x="17" y="334"/>
                    </a:lnTo>
                    <a:lnTo>
                      <a:pt x="19" y="336"/>
                    </a:lnTo>
                    <a:lnTo>
                      <a:pt x="17" y="336"/>
                    </a:lnTo>
                    <a:lnTo>
                      <a:pt x="15" y="336"/>
                    </a:lnTo>
                    <a:lnTo>
                      <a:pt x="17" y="336"/>
                    </a:lnTo>
                    <a:lnTo>
                      <a:pt x="17" y="338"/>
                    </a:lnTo>
                    <a:lnTo>
                      <a:pt x="15" y="338"/>
                    </a:lnTo>
                    <a:lnTo>
                      <a:pt x="15" y="336"/>
                    </a:lnTo>
                    <a:lnTo>
                      <a:pt x="13" y="336"/>
                    </a:lnTo>
                    <a:lnTo>
                      <a:pt x="11" y="336"/>
                    </a:lnTo>
                    <a:lnTo>
                      <a:pt x="9" y="336"/>
                    </a:lnTo>
                    <a:lnTo>
                      <a:pt x="9" y="334"/>
                    </a:lnTo>
                    <a:lnTo>
                      <a:pt x="11" y="334"/>
                    </a:lnTo>
                    <a:lnTo>
                      <a:pt x="11" y="332"/>
                    </a:lnTo>
                    <a:lnTo>
                      <a:pt x="13" y="332"/>
                    </a:lnTo>
                    <a:lnTo>
                      <a:pt x="13" y="334"/>
                    </a:lnTo>
                    <a:lnTo>
                      <a:pt x="11" y="334"/>
                    </a:lnTo>
                    <a:lnTo>
                      <a:pt x="13" y="336"/>
                    </a:lnTo>
                    <a:lnTo>
                      <a:pt x="13" y="334"/>
                    </a:lnTo>
                    <a:lnTo>
                      <a:pt x="15" y="334"/>
                    </a:lnTo>
                    <a:lnTo>
                      <a:pt x="15" y="332"/>
                    </a:lnTo>
                    <a:lnTo>
                      <a:pt x="15" y="334"/>
                    </a:lnTo>
                    <a:lnTo>
                      <a:pt x="13" y="334"/>
                    </a:lnTo>
                    <a:lnTo>
                      <a:pt x="13" y="332"/>
                    </a:lnTo>
                    <a:lnTo>
                      <a:pt x="15" y="332"/>
                    </a:lnTo>
                    <a:lnTo>
                      <a:pt x="13" y="332"/>
                    </a:lnTo>
                    <a:lnTo>
                      <a:pt x="11" y="332"/>
                    </a:lnTo>
                    <a:lnTo>
                      <a:pt x="11" y="330"/>
                    </a:lnTo>
                    <a:lnTo>
                      <a:pt x="13" y="330"/>
                    </a:lnTo>
                    <a:lnTo>
                      <a:pt x="13" y="332"/>
                    </a:lnTo>
                    <a:lnTo>
                      <a:pt x="13" y="330"/>
                    </a:lnTo>
                    <a:lnTo>
                      <a:pt x="11" y="330"/>
                    </a:lnTo>
                    <a:lnTo>
                      <a:pt x="11" y="332"/>
                    </a:lnTo>
                    <a:lnTo>
                      <a:pt x="9" y="332"/>
                    </a:lnTo>
                    <a:lnTo>
                      <a:pt x="9" y="330"/>
                    </a:lnTo>
                    <a:lnTo>
                      <a:pt x="9" y="332"/>
                    </a:lnTo>
                    <a:lnTo>
                      <a:pt x="9" y="330"/>
                    </a:lnTo>
                    <a:lnTo>
                      <a:pt x="9" y="329"/>
                    </a:lnTo>
                    <a:lnTo>
                      <a:pt x="9" y="330"/>
                    </a:lnTo>
                    <a:lnTo>
                      <a:pt x="8" y="330"/>
                    </a:lnTo>
                    <a:lnTo>
                      <a:pt x="9" y="330"/>
                    </a:lnTo>
                    <a:lnTo>
                      <a:pt x="8" y="330"/>
                    </a:lnTo>
                    <a:lnTo>
                      <a:pt x="8" y="329"/>
                    </a:lnTo>
                    <a:lnTo>
                      <a:pt x="8" y="330"/>
                    </a:lnTo>
                    <a:lnTo>
                      <a:pt x="6" y="330"/>
                    </a:lnTo>
                    <a:lnTo>
                      <a:pt x="6" y="329"/>
                    </a:lnTo>
                    <a:lnTo>
                      <a:pt x="8" y="329"/>
                    </a:lnTo>
                    <a:lnTo>
                      <a:pt x="6" y="329"/>
                    </a:lnTo>
                    <a:lnTo>
                      <a:pt x="6" y="327"/>
                    </a:lnTo>
                    <a:lnTo>
                      <a:pt x="4" y="327"/>
                    </a:lnTo>
                    <a:lnTo>
                      <a:pt x="6" y="327"/>
                    </a:lnTo>
                    <a:lnTo>
                      <a:pt x="6" y="325"/>
                    </a:lnTo>
                    <a:lnTo>
                      <a:pt x="8" y="325"/>
                    </a:lnTo>
                    <a:lnTo>
                      <a:pt x="6" y="325"/>
                    </a:lnTo>
                    <a:lnTo>
                      <a:pt x="4" y="325"/>
                    </a:lnTo>
                    <a:lnTo>
                      <a:pt x="2" y="325"/>
                    </a:lnTo>
                    <a:lnTo>
                      <a:pt x="4" y="325"/>
                    </a:lnTo>
                    <a:lnTo>
                      <a:pt x="4" y="323"/>
                    </a:lnTo>
                    <a:lnTo>
                      <a:pt x="2" y="323"/>
                    </a:lnTo>
                    <a:lnTo>
                      <a:pt x="2" y="321"/>
                    </a:lnTo>
                    <a:lnTo>
                      <a:pt x="4" y="321"/>
                    </a:lnTo>
                    <a:lnTo>
                      <a:pt x="4" y="323"/>
                    </a:lnTo>
                    <a:lnTo>
                      <a:pt x="6" y="323"/>
                    </a:lnTo>
                    <a:lnTo>
                      <a:pt x="6" y="325"/>
                    </a:lnTo>
                    <a:lnTo>
                      <a:pt x="8" y="325"/>
                    </a:lnTo>
                    <a:lnTo>
                      <a:pt x="8" y="323"/>
                    </a:lnTo>
                    <a:lnTo>
                      <a:pt x="6" y="323"/>
                    </a:lnTo>
                    <a:lnTo>
                      <a:pt x="4" y="321"/>
                    </a:lnTo>
                    <a:lnTo>
                      <a:pt x="2" y="321"/>
                    </a:lnTo>
                    <a:lnTo>
                      <a:pt x="2" y="319"/>
                    </a:lnTo>
                    <a:lnTo>
                      <a:pt x="2" y="317"/>
                    </a:lnTo>
                    <a:lnTo>
                      <a:pt x="0" y="317"/>
                    </a:lnTo>
                    <a:lnTo>
                      <a:pt x="2" y="317"/>
                    </a:lnTo>
                    <a:lnTo>
                      <a:pt x="4" y="317"/>
                    </a:lnTo>
                    <a:lnTo>
                      <a:pt x="2" y="317"/>
                    </a:lnTo>
                    <a:lnTo>
                      <a:pt x="4" y="317"/>
                    </a:lnTo>
                    <a:lnTo>
                      <a:pt x="2" y="317"/>
                    </a:lnTo>
                    <a:lnTo>
                      <a:pt x="4" y="317"/>
                    </a:lnTo>
                    <a:lnTo>
                      <a:pt x="2" y="317"/>
                    </a:lnTo>
                    <a:lnTo>
                      <a:pt x="2" y="315"/>
                    </a:lnTo>
                    <a:lnTo>
                      <a:pt x="4" y="315"/>
                    </a:lnTo>
                    <a:lnTo>
                      <a:pt x="4" y="313"/>
                    </a:lnTo>
                    <a:lnTo>
                      <a:pt x="4" y="315"/>
                    </a:lnTo>
                    <a:lnTo>
                      <a:pt x="2" y="313"/>
                    </a:lnTo>
                    <a:lnTo>
                      <a:pt x="2" y="311"/>
                    </a:lnTo>
                    <a:lnTo>
                      <a:pt x="4" y="311"/>
                    </a:lnTo>
                    <a:lnTo>
                      <a:pt x="4" y="313"/>
                    </a:lnTo>
                    <a:lnTo>
                      <a:pt x="4" y="311"/>
                    </a:lnTo>
                    <a:lnTo>
                      <a:pt x="4" y="309"/>
                    </a:lnTo>
                    <a:lnTo>
                      <a:pt x="6" y="309"/>
                    </a:lnTo>
                    <a:lnTo>
                      <a:pt x="4" y="309"/>
                    </a:lnTo>
                    <a:lnTo>
                      <a:pt x="4" y="307"/>
                    </a:lnTo>
                    <a:lnTo>
                      <a:pt x="6" y="307"/>
                    </a:lnTo>
                    <a:lnTo>
                      <a:pt x="8" y="307"/>
                    </a:lnTo>
                    <a:lnTo>
                      <a:pt x="6" y="307"/>
                    </a:lnTo>
                    <a:lnTo>
                      <a:pt x="8" y="307"/>
                    </a:lnTo>
                    <a:lnTo>
                      <a:pt x="6" y="307"/>
                    </a:lnTo>
                    <a:lnTo>
                      <a:pt x="6" y="309"/>
                    </a:lnTo>
                    <a:lnTo>
                      <a:pt x="6" y="307"/>
                    </a:lnTo>
                    <a:lnTo>
                      <a:pt x="6" y="309"/>
                    </a:lnTo>
                    <a:lnTo>
                      <a:pt x="6" y="311"/>
                    </a:lnTo>
                    <a:lnTo>
                      <a:pt x="6" y="309"/>
                    </a:lnTo>
                    <a:lnTo>
                      <a:pt x="8" y="311"/>
                    </a:lnTo>
                    <a:lnTo>
                      <a:pt x="9" y="311"/>
                    </a:lnTo>
                    <a:lnTo>
                      <a:pt x="9" y="313"/>
                    </a:lnTo>
                    <a:lnTo>
                      <a:pt x="9" y="311"/>
                    </a:lnTo>
                    <a:lnTo>
                      <a:pt x="9" y="309"/>
                    </a:lnTo>
                    <a:lnTo>
                      <a:pt x="11" y="309"/>
                    </a:lnTo>
                    <a:lnTo>
                      <a:pt x="11" y="311"/>
                    </a:lnTo>
                    <a:lnTo>
                      <a:pt x="13" y="311"/>
                    </a:lnTo>
                    <a:lnTo>
                      <a:pt x="11" y="309"/>
                    </a:lnTo>
                    <a:lnTo>
                      <a:pt x="13" y="309"/>
                    </a:lnTo>
                    <a:lnTo>
                      <a:pt x="13" y="311"/>
                    </a:lnTo>
                    <a:lnTo>
                      <a:pt x="13" y="309"/>
                    </a:lnTo>
                    <a:lnTo>
                      <a:pt x="13" y="311"/>
                    </a:lnTo>
                    <a:lnTo>
                      <a:pt x="13" y="309"/>
                    </a:lnTo>
                    <a:lnTo>
                      <a:pt x="13" y="311"/>
                    </a:lnTo>
                    <a:lnTo>
                      <a:pt x="13" y="309"/>
                    </a:lnTo>
                    <a:lnTo>
                      <a:pt x="13" y="307"/>
                    </a:lnTo>
                    <a:lnTo>
                      <a:pt x="15" y="307"/>
                    </a:lnTo>
                    <a:lnTo>
                      <a:pt x="13" y="307"/>
                    </a:lnTo>
                    <a:lnTo>
                      <a:pt x="15" y="307"/>
                    </a:lnTo>
                    <a:lnTo>
                      <a:pt x="13" y="307"/>
                    </a:lnTo>
                    <a:lnTo>
                      <a:pt x="13" y="305"/>
                    </a:lnTo>
                    <a:lnTo>
                      <a:pt x="15" y="305"/>
                    </a:lnTo>
                    <a:lnTo>
                      <a:pt x="15" y="304"/>
                    </a:lnTo>
                    <a:lnTo>
                      <a:pt x="15" y="305"/>
                    </a:lnTo>
                    <a:lnTo>
                      <a:pt x="15" y="304"/>
                    </a:lnTo>
                    <a:lnTo>
                      <a:pt x="17" y="302"/>
                    </a:lnTo>
                    <a:lnTo>
                      <a:pt x="17" y="304"/>
                    </a:lnTo>
                    <a:lnTo>
                      <a:pt x="15" y="304"/>
                    </a:lnTo>
                    <a:lnTo>
                      <a:pt x="17" y="304"/>
                    </a:lnTo>
                    <a:lnTo>
                      <a:pt x="17" y="302"/>
                    </a:lnTo>
                    <a:lnTo>
                      <a:pt x="17" y="300"/>
                    </a:lnTo>
                    <a:lnTo>
                      <a:pt x="17" y="302"/>
                    </a:lnTo>
                    <a:lnTo>
                      <a:pt x="17" y="300"/>
                    </a:lnTo>
                    <a:lnTo>
                      <a:pt x="19" y="300"/>
                    </a:lnTo>
                    <a:lnTo>
                      <a:pt x="17" y="300"/>
                    </a:lnTo>
                    <a:lnTo>
                      <a:pt x="17" y="298"/>
                    </a:lnTo>
                    <a:lnTo>
                      <a:pt x="19" y="298"/>
                    </a:lnTo>
                    <a:lnTo>
                      <a:pt x="17" y="298"/>
                    </a:lnTo>
                    <a:lnTo>
                      <a:pt x="19" y="298"/>
                    </a:lnTo>
                    <a:lnTo>
                      <a:pt x="21" y="298"/>
                    </a:lnTo>
                    <a:lnTo>
                      <a:pt x="19" y="298"/>
                    </a:lnTo>
                    <a:lnTo>
                      <a:pt x="19" y="300"/>
                    </a:lnTo>
                    <a:lnTo>
                      <a:pt x="21" y="300"/>
                    </a:lnTo>
                    <a:lnTo>
                      <a:pt x="21" y="298"/>
                    </a:lnTo>
                    <a:lnTo>
                      <a:pt x="21" y="300"/>
                    </a:lnTo>
                    <a:lnTo>
                      <a:pt x="21" y="302"/>
                    </a:lnTo>
                    <a:lnTo>
                      <a:pt x="21" y="300"/>
                    </a:lnTo>
                    <a:lnTo>
                      <a:pt x="23" y="298"/>
                    </a:lnTo>
                    <a:lnTo>
                      <a:pt x="23" y="300"/>
                    </a:lnTo>
                    <a:lnTo>
                      <a:pt x="25" y="300"/>
                    </a:lnTo>
                    <a:lnTo>
                      <a:pt x="25" y="298"/>
                    </a:lnTo>
                    <a:lnTo>
                      <a:pt x="25" y="300"/>
                    </a:lnTo>
                    <a:lnTo>
                      <a:pt x="27" y="300"/>
                    </a:lnTo>
                    <a:lnTo>
                      <a:pt x="27" y="298"/>
                    </a:lnTo>
                    <a:lnTo>
                      <a:pt x="27" y="300"/>
                    </a:lnTo>
                    <a:lnTo>
                      <a:pt x="29" y="300"/>
                    </a:lnTo>
                    <a:lnTo>
                      <a:pt x="27" y="300"/>
                    </a:lnTo>
                    <a:lnTo>
                      <a:pt x="27" y="302"/>
                    </a:lnTo>
                    <a:lnTo>
                      <a:pt x="27" y="300"/>
                    </a:lnTo>
                    <a:lnTo>
                      <a:pt x="27" y="302"/>
                    </a:lnTo>
                    <a:lnTo>
                      <a:pt x="27" y="300"/>
                    </a:lnTo>
                    <a:lnTo>
                      <a:pt x="29" y="302"/>
                    </a:lnTo>
                    <a:lnTo>
                      <a:pt x="29" y="300"/>
                    </a:lnTo>
                    <a:lnTo>
                      <a:pt x="31" y="298"/>
                    </a:lnTo>
                    <a:lnTo>
                      <a:pt x="29" y="300"/>
                    </a:lnTo>
                    <a:lnTo>
                      <a:pt x="29" y="298"/>
                    </a:lnTo>
                    <a:lnTo>
                      <a:pt x="31" y="298"/>
                    </a:lnTo>
                    <a:lnTo>
                      <a:pt x="31" y="300"/>
                    </a:lnTo>
                    <a:lnTo>
                      <a:pt x="31" y="302"/>
                    </a:lnTo>
                    <a:lnTo>
                      <a:pt x="31" y="300"/>
                    </a:lnTo>
                    <a:lnTo>
                      <a:pt x="32" y="300"/>
                    </a:lnTo>
                    <a:lnTo>
                      <a:pt x="32" y="302"/>
                    </a:lnTo>
                    <a:lnTo>
                      <a:pt x="32" y="300"/>
                    </a:lnTo>
                    <a:lnTo>
                      <a:pt x="32" y="298"/>
                    </a:lnTo>
                    <a:lnTo>
                      <a:pt x="34" y="298"/>
                    </a:lnTo>
                    <a:lnTo>
                      <a:pt x="34" y="300"/>
                    </a:lnTo>
                    <a:lnTo>
                      <a:pt x="34" y="302"/>
                    </a:lnTo>
                    <a:lnTo>
                      <a:pt x="34" y="304"/>
                    </a:lnTo>
                    <a:lnTo>
                      <a:pt x="34" y="302"/>
                    </a:lnTo>
                    <a:lnTo>
                      <a:pt x="36" y="302"/>
                    </a:lnTo>
                    <a:lnTo>
                      <a:pt x="36" y="300"/>
                    </a:lnTo>
                    <a:lnTo>
                      <a:pt x="34" y="300"/>
                    </a:lnTo>
                    <a:lnTo>
                      <a:pt x="36" y="300"/>
                    </a:lnTo>
                    <a:lnTo>
                      <a:pt x="36" y="298"/>
                    </a:lnTo>
                    <a:lnTo>
                      <a:pt x="36" y="300"/>
                    </a:lnTo>
                    <a:lnTo>
                      <a:pt x="38" y="300"/>
                    </a:lnTo>
                    <a:lnTo>
                      <a:pt x="36" y="300"/>
                    </a:lnTo>
                    <a:lnTo>
                      <a:pt x="36" y="302"/>
                    </a:lnTo>
                    <a:lnTo>
                      <a:pt x="38" y="300"/>
                    </a:lnTo>
                    <a:lnTo>
                      <a:pt x="38" y="302"/>
                    </a:lnTo>
                    <a:lnTo>
                      <a:pt x="38" y="304"/>
                    </a:lnTo>
                    <a:close/>
                    <a:moveTo>
                      <a:pt x="390" y="152"/>
                    </a:moveTo>
                    <a:lnTo>
                      <a:pt x="388" y="152"/>
                    </a:lnTo>
                    <a:lnTo>
                      <a:pt x="390" y="152"/>
                    </a:lnTo>
                    <a:lnTo>
                      <a:pt x="392" y="152"/>
                    </a:lnTo>
                    <a:lnTo>
                      <a:pt x="392" y="154"/>
                    </a:lnTo>
                    <a:lnTo>
                      <a:pt x="392" y="152"/>
                    </a:lnTo>
                    <a:lnTo>
                      <a:pt x="394" y="150"/>
                    </a:lnTo>
                    <a:lnTo>
                      <a:pt x="392" y="150"/>
                    </a:lnTo>
                    <a:lnTo>
                      <a:pt x="394" y="150"/>
                    </a:lnTo>
                    <a:lnTo>
                      <a:pt x="396" y="150"/>
                    </a:lnTo>
                    <a:lnTo>
                      <a:pt x="398" y="150"/>
                    </a:lnTo>
                    <a:lnTo>
                      <a:pt x="399" y="150"/>
                    </a:lnTo>
                    <a:lnTo>
                      <a:pt x="401" y="150"/>
                    </a:lnTo>
                    <a:lnTo>
                      <a:pt x="401" y="152"/>
                    </a:lnTo>
                    <a:lnTo>
                      <a:pt x="403" y="152"/>
                    </a:lnTo>
                    <a:lnTo>
                      <a:pt x="403" y="154"/>
                    </a:lnTo>
                    <a:lnTo>
                      <a:pt x="403" y="152"/>
                    </a:lnTo>
                    <a:lnTo>
                      <a:pt x="403" y="154"/>
                    </a:lnTo>
                    <a:lnTo>
                      <a:pt x="405" y="154"/>
                    </a:lnTo>
                    <a:lnTo>
                      <a:pt x="403" y="154"/>
                    </a:lnTo>
                    <a:lnTo>
                      <a:pt x="405" y="154"/>
                    </a:lnTo>
                    <a:lnTo>
                      <a:pt x="407" y="154"/>
                    </a:lnTo>
                    <a:lnTo>
                      <a:pt x="405" y="154"/>
                    </a:lnTo>
                    <a:lnTo>
                      <a:pt x="405" y="156"/>
                    </a:lnTo>
                    <a:lnTo>
                      <a:pt x="407" y="156"/>
                    </a:lnTo>
                    <a:lnTo>
                      <a:pt x="407" y="157"/>
                    </a:lnTo>
                    <a:lnTo>
                      <a:pt x="409" y="159"/>
                    </a:lnTo>
                    <a:lnTo>
                      <a:pt x="409" y="161"/>
                    </a:lnTo>
                    <a:lnTo>
                      <a:pt x="407" y="161"/>
                    </a:lnTo>
                    <a:lnTo>
                      <a:pt x="407" y="159"/>
                    </a:lnTo>
                    <a:lnTo>
                      <a:pt x="407" y="161"/>
                    </a:lnTo>
                    <a:lnTo>
                      <a:pt x="407" y="159"/>
                    </a:lnTo>
                    <a:lnTo>
                      <a:pt x="407" y="161"/>
                    </a:lnTo>
                    <a:lnTo>
                      <a:pt x="409" y="161"/>
                    </a:lnTo>
                    <a:lnTo>
                      <a:pt x="409" y="159"/>
                    </a:lnTo>
                    <a:lnTo>
                      <a:pt x="409" y="161"/>
                    </a:lnTo>
                    <a:lnTo>
                      <a:pt x="411" y="161"/>
                    </a:lnTo>
                    <a:lnTo>
                      <a:pt x="411" y="163"/>
                    </a:lnTo>
                    <a:lnTo>
                      <a:pt x="413" y="163"/>
                    </a:lnTo>
                    <a:lnTo>
                      <a:pt x="413" y="165"/>
                    </a:lnTo>
                    <a:lnTo>
                      <a:pt x="415" y="165"/>
                    </a:lnTo>
                    <a:lnTo>
                      <a:pt x="413" y="165"/>
                    </a:lnTo>
                    <a:lnTo>
                      <a:pt x="411" y="167"/>
                    </a:lnTo>
                    <a:lnTo>
                      <a:pt x="411" y="169"/>
                    </a:lnTo>
                    <a:lnTo>
                      <a:pt x="409" y="169"/>
                    </a:lnTo>
                    <a:lnTo>
                      <a:pt x="407" y="171"/>
                    </a:lnTo>
                    <a:lnTo>
                      <a:pt x="403" y="171"/>
                    </a:lnTo>
                    <a:lnTo>
                      <a:pt x="401" y="173"/>
                    </a:lnTo>
                    <a:lnTo>
                      <a:pt x="398" y="173"/>
                    </a:lnTo>
                    <a:lnTo>
                      <a:pt x="396" y="173"/>
                    </a:lnTo>
                    <a:lnTo>
                      <a:pt x="396" y="175"/>
                    </a:lnTo>
                    <a:lnTo>
                      <a:pt x="394" y="177"/>
                    </a:lnTo>
                    <a:lnTo>
                      <a:pt x="392" y="177"/>
                    </a:lnTo>
                    <a:lnTo>
                      <a:pt x="390" y="177"/>
                    </a:lnTo>
                    <a:lnTo>
                      <a:pt x="388" y="177"/>
                    </a:lnTo>
                    <a:lnTo>
                      <a:pt x="386" y="177"/>
                    </a:lnTo>
                    <a:lnTo>
                      <a:pt x="384" y="179"/>
                    </a:lnTo>
                    <a:lnTo>
                      <a:pt x="382" y="179"/>
                    </a:lnTo>
                    <a:lnTo>
                      <a:pt x="380" y="179"/>
                    </a:lnTo>
                    <a:lnTo>
                      <a:pt x="378" y="181"/>
                    </a:lnTo>
                    <a:lnTo>
                      <a:pt x="376" y="181"/>
                    </a:lnTo>
                    <a:lnTo>
                      <a:pt x="374" y="181"/>
                    </a:lnTo>
                    <a:lnTo>
                      <a:pt x="373" y="181"/>
                    </a:lnTo>
                    <a:lnTo>
                      <a:pt x="373" y="182"/>
                    </a:lnTo>
                    <a:lnTo>
                      <a:pt x="369" y="182"/>
                    </a:lnTo>
                    <a:lnTo>
                      <a:pt x="367" y="182"/>
                    </a:lnTo>
                    <a:lnTo>
                      <a:pt x="365" y="182"/>
                    </a:lnTo>
                    <a:lnTo>
                      <a:pt x="363" y="182"/>
                    </a:lnTo>
                    <a:lnTo>
                      <a:pt x="361" y="182"/>
                    </a:lnTo>
                    <a:lnTo>
                      <a:pt x="359" y="182"/>
                    </a:lnTo>
                    <a:lnTo>
                      <a:pt x="357" y="182"/>
                    </a:lnTo>
                    <a:lnTo>
                      <a:pt x="355" y="182"/>
                    </a:lnTo>
                    <a:lnTo>
                      <a:pt x="353" y="184"/>
                    </a:lnTo>
                    <a:lnTo>
                      <a:pt x="351" y="184"/>
                    </a:lnTo>
                    <a:lnTo>
                      <a:pt x="351" y="186"/>
                    </a:lnTo>
                    <a:lnTo>
                      <a:pt x="349" y="186"/>
                    </a:lnTo>
                    <a:lnTo>
                      <a:pt x="348" y="186"/>
                    </a:lnTo>
                    <a:lnTo>
                      <a:pt x="348" y="188"/>
                    </a:lnTo>
                    <a:lnTo>
                      <a:pt x="346" y="188"/>
                    </a:lnTo>
                    <a:lnTo>
                      <a:pt x="346" y="190"/>
                    </a:lnTo>
                    <a:lnTo>
                      <a:pt x="344" y="192"/>
                    </a:lnTo>
                    <a:lnTo>
                      <a:pt x="342" y="194"/>
                    </a:lnTo>
                    <a:lnTo>
                      <a:pt x="340" y="196"/>
                    </a:lnTo>
                    <a:lnTo>
                      <a:pt x="338" y="196"/>
                    </a:lnTo>
                    <a:lnTo>
                      <a:pt x="338" y="194"/>
                    </a:lnTo>
                    <a:lnTo>
                      <a:pt x="336" y="194"/>
                    </a:lnTo>
                    <a:lnTo>
                      <a:pt x="336" y="192"/>
                    </a:lnTo>
                    <a:lnTo>
                      <a:pt x="338" y="192"/>
                    </a:lnTo>
                    <a:lnTo>
                      <a:pt x="338" y="190"/>
                    </a:lnTo>
                    <a:lnTo>
                      <a:pt x="338" y="192"/>
                    </a:lnTo>
                    <a:lnTo>
                      <a:pt x="338" y="190"/>
                    </a:lnTo>
                    <a:lnTo>
                      <a:pt x="340" y="190"/>
                    </a:lnTo>
                    <a:lnTo>
                      <a:pt x="342" y="190"/>
                    </a:lnTo>
                    <a:lnTo>
                      <a:pt x="342" y="188"/>
                    </a:lnTo>
                    <a:lnTo>
                      <a:pt x="344" y="188"/>
                    </a:lnTo>
                    <a:lnTo>
                      <a:pt x="346" y="188"/>
                    </a:lnTo>
                    <a:lnTo>
                      <a:pt x="346" y="186"/>
                    </a:lnTo>
                    <a:lnTo>
                      <a:pt x="348" y="184"/>
                    </a:lnTo>
                    <a:lnTo>
                      <a:pt x="348" y="182"/>
                    </a:lnTo>
                    <a:lnTo>
                      <a:pt x="349" y="181"/>
                    </a:lnTo>
                    <a:lnTo>
                      <a:pt x="349" y="179"/>
                    </a:lnTo>
                    <a:lnTo>
                      <a:pt x="349" y="177"/>
                    </a:lnTo>
                    <a:lnTo>
                      <a:pt x="351" y="177"/>
                    </a:lnTo>
                    <a:lnTo>
                      <a:pt x="351" y="175"/>
                    </a:lnTo>
                    <a:lnTo>
                      <a:pt x="351" y="177"/>
                    </a:lnTo>
                    <a:lnTo>
                      <a:pt x="349" y="177"/>
                    </a:lnTo>
                    <a:lnTo>
                      <a:pt x="349" y="175"/>
                    </a:lnTo>
                    <a:lnTo>
                      <a:pt x="351" y="175"/>
                    </a:lnTo>
                    <a:lnTo>
                      <a:pt x="349" y="175"/>
                    </a:lnTo>
                    <a:lnTo>
                      <a:pt x="351" y="175"/>
                    </a:lnTo>
                    <a:lnTo>
                      <a:pt x="349" y="175"/>
                    </a:lnTo>
                    <a:lnTo>
                      <a:pt x="351" y="175"/>
                    </a:lnTo>
                    <a:lnTo>
                      <a:pt x="353" y="175"/>
                    </a:lnTo>
                    <a:lnTo>
                      <a:pt x="353" y="173"/>
                    </a:lnTo>
                    <a:lnTo>
                      <a:pt x="355" y="173"/>
                    </a:lnTo>
                    <a:lnTo>
                      <a:pt x="353" y="173"/>
                    </a:lnTo>
                    <a:lnTo>
                      <a:pt x="355" y="173"/>
                    </a:lnTo>
                    <a:lnTo>
                      <a:pt x="357" y="173"/>
                    </a:lnTo>
                    <a:lnTo>
                      <a:pt x="357" y="171"/>
                    </a:lnTo>
                    <a:lnTo>
                      <a:pt x="357" y="173"/>
                    </a:lnTo>
                    <a:lnTo>
                      <a:pt x="355" y="173"/>
                    </a:lnTo>
                    <a:lnTo>
                      <a:pt x="357" y="173"/>
                    </a:lnTo>
                    <a:lnTo>
                      <a:pt x="357" y="175"/>
                    </a:lnTo>
                    <a:lnTo>
                      <a:pt x="357" y="173"/>
                    </a:lnTo>
                    <a:lnTo>
                      <a:pt x="357" y="171"/>
                    </a:lnTo>
                    <a:lnTo>
                      <a:pt x="357" y="173"/>
                    </a:lnTo>
                    <a:lnTo>
                      <a:pt x="355" y="173"/>
                    </a:lnTo>
                    <a:lnTo>
                      <a:pt x="353" y="173"/>
                    </a:lnTo>
                    <a:lnTo>
                      <a:pt x="353" y="175"/>
                    </a:lnTo>
                    <a:lnTo>
                      <a:pt x="351" y="175"/>
                    </a:lnTo>
                    <a:lnTo>
                      <a:pt x="351" y="173"/>
                    </a:lnTo>
                    <a:lnTo>
                      <a:pt x="351" y="175"/>
                    </a:lnTo>
                    <a:lnTo>
                      <a:pt x="351" y="173"/>
                    </a:lnTo>
                    <a:lnTo>
                      <a:pt x="351" y="175"/>
                    </a:lnTo>
                    <a:lnTo>
                      <a:pt x="351" y="173"/>
                    </a:lnTo>
                    <a:lnTo>
                      <a:pt x="353" y="173"/>
                    </a:lnTo>
                    <a:lnTo>
                      <a:pt x="351" y="173"/>
                    </a:lnTo>
                    <a:lnTo>
                      <a:pt x="353" y="173"/>
                    </a:lnTo>
                    <a:lnTo>
                      <a:pt x="351" y="173"/>
                    </a:lnTo>
                    <a:lnTo>
                      <a:pt x="353" y="173"/>
                    </a:lnTo>
                    <a:lnTo>
                      <a:pt x="353" y="171"/>
                    </a:lnTo>
                    <a:lnTo>
                      <a:pt x="353" y="173"/>
                    </a:lnTo>
                    <a:lnTo>
                      <a:pt x="353" y="171"/>
                    </a:lnTo>
                    <a:lnTo>
                      <a:pt x="353" y="173"/>
                    </a:lnTo>
                    <a:lnTo>
                      <a:pt x="353" y="171"/>
                    </a:lnTo>
                    <a:lnTo>
                      <a:pt x="353" y="173"/>
                    </a:lnTo>
                    <a:lnTo>
                      <a:pt x="353" y="171"/>
                    </a:lnTo>
                    <a:lnTo>
                      <a:pt x="355" y="171"/>
                    </a:lnTo>
                    <a:lnTo>
                      <a:pt x="353" y="171"/>
                    </a:lnTo>
                    <a:lnTo>
                      <a:pt x="355" y="171"/>
                    </a:lnTo>
                    <a:lnTo>
                      <a:pt x="355" y="169"/>
                    </a:lnTo>
                    <a:lnTo>
                      <a:pt x="355" y="171"/>
                    </a:lnTo>
                    <a:lnTo>
                      <a:pt x="355" y="169"/>
                    </a:lnTo>
                    <a:lnTo>
                      <a:pt x="353" y="169"/>
                    </a:lnTo>
                    <a:lnTo>
                      <a:pt x="355" y="169"/>
                    </a:lnTo>
                    <a:lnTo>
                      <a:pt x="353" y="169"/>
                    </a:lnTo>
                    <a:lnTo>
                      <a:pt x="355" y="169"/>
                    </a:lnTo>
                    <a:lnTo>
                      <a:pt x="353" y="169"/>
                    </a:lnTo>
                    <a:lnTo>
                      <a:pt x="351" y="169"/>
                    </a:lnTo>
                    <a:lnTo>
                      <a:pt x="353" y="169"/>
                    </a:lnTo>
                    <a:lnTo>
                      <a:pt x="353" y="167"/>
                    </a:lnTo>
                    <a:lnTo>
                      <a:pt x="355" y="167"/>
                    </a:lnTo>
                    <a:lnTo>
                      <a:pt x="355" y="169"/>
                    </a:lnTo>
                    <a:lnTo>
                      <a:pt x="355" y="167"/>
                    </a:lnTo>
                    <a:lnTo>
                      <a:pt x="357" y="167"/>
                    </a:lnTo>
                    <a:lnTo>
                      <a:pt x="357" y="169"/>
                    </a:lnTo>
                    <a:lnTo>
                      <a:pt x="359" y="169"/>
                    </a:lnTo>
                    <a:lnTo>
                      <a:pt x="357" y="169"/>
                    </a:lnTo>
                    <a:lnTo>
                      <a:pt x="359" y="169"/>
                    </a:lnTo>
                    <a:lnTo>
                      <a:pt x="357" y="169"/>
                    </a:lnTo>
                    <a:lnTo>
                      <a:pt x="359" y="169"/>
                    </a:lnTo>
                    <a:lnTo>
                      <a:pt x="357" y="169"/>
                    </a:lnTo>
                    <a:lnTo>
                      <a:pt x="357" y="167"/>
                    </a:lnTo>
                    <a:lnTo>
                      <a:pt x="355" y="167"/>
                    </a:lnTo>
                    <a:lnTo>
                      <a:pt x="355" y="169"/>
                    </a:lnTo>
                    <a:lnTo>
                      <a:pt x="355" y="167"/>
                    </a:lnTo>
                    <a:lnTo>
                      <a:pt x="353" y="167"/>
                    </a:lnTo>
                    <a:lnTo>
                      <a:pt x="353" y="169"/>
                    </a:lnTo>
                    <a:lnTo>
                      <a:pt x="353" y="167"/>
                    </a:lnTo>
                    <a:lnTo>
                      <a:pt x="353" y="169"/>
                    </a:lnTo>
                    <a:lnTo>
                      <a:pt x="353" y="167"/>
                    </a:lnTo>
                    <a:lnTo>
                      <a:pt x="355" y="167"/>
                    </a:lnTo>
                    <a:lnTo>
                      <a:pt x="353" y="167"/>
                    </a:lnTo>
                    <a:lnTo>
                      <a:pt x="351" y="169"/>
                    </a:lnTo>
                    <a:lnTo>
                      <a:pt x="351" y="167"/>
                    </a:lnTo>
                    <a:lnTo>
                      <a:pt x="351" y="169"/>
                    </a:lnTo>
                    <a:lnTo>
                      <a:pt x="351" y="167"/>
                    </a:lnTo>
                    <a:lnTo>
                      <a:pt x="353" y="167"/>
                    </a:lnTo>
                    <a:lnTo>
                      <a:pt x="351" y="167"/>
                    </a:lnTo>
                    <a:lnTo>
                      <a:pt x="353" y="167"/>
                    </a:lnTo>
                    <a:lnTo>
                      <a:pt x="351" y="167"/>
                    </a:lnTo>
                    <a:lnTo>
                      <a:pt x="351" y="165"/>
                    </a:lnTo>
                    <a:lnTo>
                      <a:pt x="353" y="165"/>
                    </a:lnTo>
                    <a:lnTo>
                      <a:pt x="351" y="165"/>
                    </a:lnTo>
                    <a:lnTo>
                      <a:pt x="351" y="167"/>
                    </a:lnTo>
                    <a:lnTo>
                      <a:pt x="351" y="165"/>
                    </a:lnTo>
                    <a:lnTo>
                      <a:pt x="351" y="167"/>
                    </a:lnTo>
                    <a:lnTo>
                      <a:pt x="349" y="167"/>
                    </a:lnTo>
                    <a:lnTo>
                      <a:pt x="349" y="165"/>
                    </a:lnTo>
                    <a:lnTo>
                      <a:pt x="349" y="163"/>
                    </a:lnTo>
                    <a:lnTo>
                      <a:pt x="349" y="165"/>
                    </a:lnTo>
                    <a:lnTo>
                      <a:pt x="349" y="163"/>
                    </a:lnTo>
                    <a:lnTo>
                      <a:pt x="349" y="161"/>
                    </a:lnTo>
                    <a:lnTo>
                      <a:pt x="351" y="161"/>
                    </a:lnTo>
                    <a:lnTo>
                      <a:pt x="351" y="159"/>
                    </a:lnTo>
                    <a:lnTo>
                      <a:pt x="353" y="159"/>
                    </a:lnTo>
                    <a:lnTo>
                      <a:pt x="355" y="159"/>
                    </a:lnTo>
                    <a:lnTo>
                      <a:pt x="355" y="157"/>
                    </a:lnTo>
                    <a:lnTo>
                      <a:pt x="357" y="157"/>
                    </a:lnTo>
                    <a:lnTo>
                      <a:pt x="357" y="156"/>
                    </a:lnTo>
                    <a:lnTo>
                      <a:pt x="359" y="156"/>
                    </a:lnTo>
                    <a:lnTo>
                      <a:pt x="359" y="154"/>
                    </a:lnTo>
                    <a:lnTo>
                      <a:pt x="361" y="154"/>
                    </a:lnTo>
                    <a:lnTo>
                      <a:pt x="363" y="152"/>
                    </a:lnTo>
                    <a:lnTo>
                      <a:pt x="363" y="150"/>
                    </a:lnTo>
                    <a:lnTo>
                      <a:pt x="365" y="150"/>
                    </a:lnTo>
                    <a:lnTo>
                      <a:pt x="367" y="150"/>
                    </a:lnTo>
                    <a:lnTo>
                      <a:pt x="367" y="148"/>
                    </a:lnTo>
                    <a:lnTo>
                      <a:pt x="369" y="148"/>
                    </a:lnTo>
                    <a:lnTo>
                      <a:pt x="371" y="148"/>
                    </a:lnTo>
                    <a:lnTo>
                      <a:pt x="373" y="148"/>
                    </a:lnTo>
                    <a:lnTo>
                      <a:pt x="373" y="150"/>
                    </a:lnTo>
                    <a:lnTo>
                      <a:pt x="373" y="148"/>
                    </a:lnTo>
                    <a:lnTo>
                      <a:pt x="374" y="148"/>
                    </a:lnTo>
                    <a:lnTo>
                      <a:pt x="376" y="148"/>
                    </a:lnTo>
                    <a:lnTo>
                      <a:pt x="378" y="148"/>
                    </a:lnTo>
                    <a:lnTo>
                      <a:pt x="380" y="148"/>
                    </a:lnTo>
                    <a:lnTo>
                      <a:pt x="382" y="148"/>
                    </a:lnTo>
                    <a:lnTo>
                      <a:pt x="384" y="148"/>
                    </a:lnTo>
                    <a:lnTo>
                      <a:pt x="386" y="148"/>
                    </a:lnTo>
                    <a:lnTo>
                      <a:pt x="388" y="148"/>
                    </a:lnTo>
                    <a:lnTo>
                      <a:pt x="388" y="150"/>
                    </a:lnTo>
                    <a:lnTo>
                      <a:pt x="390" y="148"/>
                    </a:lnTo>
                    <a:lnTo>
                      <a:pt x="392" y="150"/>
                    </a:lnTo>
                    <a:lnTo>
                      <a:pt x="394" y="150"/>
                    </a:lnTo>
                    <a:lnTo>
                      <a:pt x="392" y="150"/>
                    </a:lnTo>
                    <a:lnTo>
                      <a:pt x="394" y="150"/>
                    </a:lnTo>
                    <a:lnTo>
                      <a:pt x="392" y="152"/>
                    </a:lnTo>
                    <a:lnTo>
                      <a:pt x="390" y="152"/>
                    </a:lnTo>
                    <a:close/>
                    <a:moveTo>
                      <a:pt x="359" y="167"/>
                    </a:moveTo>
                    <a:lnTo>
                      <a:pt x="359" y="169"/>
                    </a:lnTo>
                    <a:lnTo>
                      <a:pt x="359" y="167"/>
                    </a:lnTo>
                    <a:lnTo>
                      <a:pt x="359" y="169"/>
                    </a:lnTo>
                    <a:lnTo>
                      <a:pt x="359" y="167"/>
                    </a:lnTo>
                    <a:close/>
                    <a:moveTo>
                      <a:pt x="455" y="29"/>
                    </a:moveTo>
                    <a:lnTo>
                      <a:pt x="455" y="31"/>
                    </a:lnTo>
                    <a:lnTo>
                      <a:pt x="457" y="31"/>
                    </a:lnTo>
                    <a:lnTo>
                      <a:pt x="455" y="31"/>
                    </a:lnTo>
                    <a:lnTo>
                      <a:pt x="455" y="32"/>
                    </a:lnTo>
                    <a:lnTo>
                      <a:pt x="455" y="31"/>
                    </a:lnTo>
                    <a:lnTo>
                      <a:pt x="457" y="31"/>
                    </a:lnTo>
                    <a:lnTo>
                      <a:pt x="455" y="31"/>
                    </a:lnTo>
                    <a:lnTo>
                      <a:pt x="455" y="29"/>
                    </a:lnTo>
                    <a:lnTo>
                      <a:pt x="453" y="29"/>
                    </a:lnTo>
                    <a:lnTo>
                      <a:pt x="455" y="29"/>
                    </a:lnTo>
                    <a:lnTo>
                      <a:pt x="453" y="29"/>
                    </a:lnTo>
                    <a:lnTo>
                      <a:pt x="455" y="29"/>
                    </a:lnTo>
                    <a:lnTo>
                      <a:pt x="453" y="27"/>
                    </a:lnTo>
                    <a:lnTo>
                      <a:pt x="453" y="29"/>
                    </a:lnTo>
                    <a:lnTo>
                      <a:pt x="453" y="27"/>
                    </a:lnTo>
                    <a:lnTo>
                      <a:pt x="453" y="29"/>
                    </a:lnTo>
                    <a:lnTo>
                      <a:pt x="453" y="27"/>
                    </a:lnTo>
                    <a:lnTo>
                      <a:pt x="453" y="29"/>
                    </a:lnTo>
                    <a:lnTo>
                      <a:pt x="453" y="27"/>
                    </a:lnTo>
                    <a:lnTo>
                      <a:pt x="451" y="25"/>
                    </a:lnTo>
                    <a:lnTo>
                      <a:pt x="453" y="25"/>
                    </a:lnTo>
                    <a:lnTo>
                      <a:pt x="451" y="25"/>
                    </a:lnTo>
                    <a:lnTo>
                      <a:pt x="453" y="23"/>
                    </a:lnTo>
                    <a:lnTo>
                      <a:pt x="455" y="23"/>
                    </a:lnTo>
                    <a:lnTo>
                      <a:pt x="455" y="25"/>
                    </a:lnTo>
                    <a:lnTo>
                      <a:pt x="453" y="25"/>
                    </a:lnTo>
                    <a:lnTo>
                      <a:pt x="455" y="25"/>
                    </a:lnTo>
                    <a:lnTo>
                      <a:pt x="453" y="25"/>
                    </a:lnTo>
                    <a:lnTo>
                      <a:pt x="455" y="25"/>
                    </a:lnTo>
                    <a:lnTo>
                      <a:pt x="455" y="23"/>
                    </a:lnTo>
                    <a:lnTo>
                      <a:pt x="457" y="23"/>
                    </a:lnTo>
                    <a:lnTo>
                      <a:pt x="459" y="23"/>
                    </a:lnTo>
                    <a:lnTo>
                      <a:pt x="459" y="21"/>
                    </a:lnTo>
                    <a:lnTo>
                      <a:pt x="461" y="21"/>
                    </a:lnTo>
                    <a:lnTo>
                      <a:pt x="461" y="23"/>
                    </a:lnTo>
                    <a:lnTo>
                      <a:pt x="459" y="23"/>
                    </a:lnTo>
                    <a:lnTo>
                      <a:pt x="461" y="23"/>
                    </a:lnTo>
                    <a:lnTo>
                      <a:pt x="459" y="23"/>
                    </a:lnTo>
                    <a:lnTo>
                      <a:pt x="461" y="23"/>
                    </a:lnTo>
                    <a:lnTo>
                      <a:pt x="459" y="23"/>
                    </a:lnTo>
                    <a:lnTo>
                      <a:pt x="461" y="23"/>
                    </a:lnTo>
                    <a:lnTo>
                      <a:pt x="461" y="21"/>
                    </a:lnTo>
                    <a:lnTo>
                      <a:pt x="463" y="19"/>
                    </a:lnTo>
                    <a:lnTo>
                      <a:pt x="463" y="17"/>
                    </a:lnTo>
                    <a:lnTo>
                      <a:pt x="463" y="19"/>
                    </a:lnTo>
                    <a:lnTo>
                      <a:pt x="463" y="17"/>
                    </a:lnTo>
                    <a:lnTo>
                      <a:pt x="465" y="17"/>
                    </a:lnTo>
                    <a:lnTo>
                      <a:pt x="463" y="17"/>
                    </a:lnTo>
                    <a:lnTo>
                      <a:pt x="465" y="17"/>
                    </a:lnTo>
                    <a:lnTo>
                      <a:pt x="467" y="17"/>
                    </a:lnTo>
                    <a:lnTo>
                      <a:pt x="467" y="15"/>
                    </a:lnTo>
                    <a:lnTo>
                      <a:pt x="467" y="17"/>
                    </a:lnTo>
                    <a:lnTo>
                      <a:pt x="465" y="17"/>
                    </a:lnTo>
                    <a:lnTo>
                      <a:pt x="465" y="15"/>
                    </a:lnTo>
                    <a:lnTo>
                      <a:pt x="467" y="15"/>
                    </a:lnTo>
                    <a:lnTo>
                      <a:pt x="467" y="13"/>
                    </a:lnTo>
                    <a:lnTo>
                      <a:pt x="469" y="13"/>
                    </a:lnTo>
                    <a:lnTo>
                      <a:pt x="469" y="11"/>
                    </a:lnTo>
                    <a:lnTo>
                      <a:pt x="471" y="11"/>
                    </a:lnTo>
                    <a:lnTo>
                      <a:pt x="472" y="11"/>
                    </a:lnTo>
                    <a:lnTo>
                      <a:pt x="474" y="11"/>
                    </a:lnTo>
                    <a:lnTo>
                      <a:pt x="476" y="9"/>
                    </a:lnTo>
                    <a:lnTo>
                      <a:pt x="478" y="9"/>
                    </a:lnTo>
                    <a:lnTo>
                      <a:pt x="480" y="9"/>
                    </a:lnTo>
                    <a:lnTo>
                      <a:pt x="480" y="8"/>
                    </a:lnTo>
                    <a:lnTo>
                      <a:pt x="482" y="8"/>
                    </a:lnTo>
                    <a:lnTo>
                      <a:pt x="484" y="8"/>
                    </a:lnTo>
                    <a:lnTo>
                      <a:pt x="484" y="6"/>
                    </a:lnTo>
                    <a:lnTo>
                      <a:pt x="486" y="6"/>
                    </a:lnTo>
                    <a:lnTo>
                      <a:pt x="488" y="6"/>
                    </a:lnTo>
                    <a:lnTo>
                      <a:pt x="488" y="8"/>
                    </a:lnTo>
                    <a:lnTo>
                      <a:pt x="490" y="8"/>
                    </a:lnTo>
                    <a:lnTo>
                      <a:pt x="492" y="8"/>
                    </a:lnTo>
                    <a:lnTo>
                      <a:pt x="494" y="8"/>
                    </a:lnTo>
                    <a:lnTo>
                      <a:pt x="494" y="6"/>
                    </a:lnTo>
                    <a:lnTo>
                      <a:pt x="495" y="6"/>
                    </a:lnTo>
                    <a:lnTo>
                      <a:pt x="494" y="6"/>
                    </a:lnTo>
                    <a:lnTo>
                      <a:pt x="494" y="8"/>
                    </a:lnTo>
                    <a:lnTo>
                      <a:pt x="494" y="6"/>
                    </a:lnTo>
                    <a:lnTo>
                      <a:pt x="495" y="6"/>
                    </a:lnTo>
                    <a:lnTo>
                      <a:pt x="495" y="4"/>
                    </a:lnTo>
                    <a:lnTo>
                      <a:pt x="497" y="4"/>
                    </a:lnTo>
                    <a:lnTo>
                      <a:pt x="495" y="4"/>
                    </a:lnTo>
                    <a:lnTo>
                      <a:pt x="495" y="2"/>
                    </a:lnTo>
                    <a:lnTo>
                      <a:pt x="497" y="2"/>
                    </a:lnTo>
                    <a:lnTo>
                      <a:pt x="497" y="0"/>
                    </a:lnTo>
                    <a:lnTo>
                      <a:pt x="499" y="0"/>
                    </a:lnTo>
                    <a:lnTo>
                      <a:pt x="499" y="2"/>
                    </a:lnTo>
                    <a:lnTo>
                      <a:pt x="499" y="4"/>
                    </a:lnTo>
                    <a:lnTo>
                      <a:pt x="499" y="6"/>
                    </a:lnTo>
                    <a:lnTo>
                      <a:pt x="499" y="8"/>
                    </a:lnTo>
                    <a:lnTo>
                      <a:pt x="499" y="9"/>
                    </a:lnTo>
                    <a:lnTo>
                      <a:pt x="499" y="11"/>
                    </a:lnTo>
                    <a:lnTo>
                      <a:pt x="501" y="11"/>
                    </a:lnTo>
                    <a:lnTo>
                      <a:pt x="499" y="11"/>
                    </a:lnTo>
                    <a:lnTo>
                      <a:pt x="501" y="13"/>
                    </a:lnTo>
                    <a:lnTo>
                      <a:pt x="501" y="15"/>
                    </a:lnTo>
                    <a:lnTo>
                      <a:pt x="499" y="15"/>
                    </a:lnTo>
                    <a:lnTo>
                      <a:pt x="499" y="17"/>
                    </a:lnTo>
                    <a:lnTo>
                      <a:pt x="499" y="19"/>
                    </a:lnTo>
                    <a:lnTo>
                      <a:pt x="497" y="19"/>
                    </a:lnTo>
                    <a:lnTo>
                      <a:pt x="494" y="23"/>
                    </a:lnTo>
                    <a:lnTo>
                      <a:pt x="492" y="25"/>
                    </a:lnTo>
                    <a:lnTo>
                      <a:pt x="490" y="25"/>
                    </a:lnTo>
                    <a:lnTo>
                      <a:pt x="490" y="27"/>
                    </a:lnTo>
                    <a:lnTo>
                      <a:pt x="490" y="29"/>
                    </a:lnTo>
                    <a:lnTo>
                      <a:pt x="490" y="31"/>
                    </a:lnTo>
                    <a:lnTo>
                      <a:pt x="488" y="31"/>
                    </a:lnTo>
                    <a:lnTo>
                      <a:pt x="488" y="32"/>
                    </a:lnTo>
                    <a:lnTo>
                      <a:pt x="486" y="32"/>
                    </a:lnTo>
                    <a:lnTo>
                      <a:pt x="486" y="34"/>
                    </a:lnTo>
                    <a:lnTo>
                      <a:pt x="484" y="34"/>
                    </a:lnTo>
                    <a:lnTo>
                      <a:pt x="482" y="34"/>
                    </a:lnTo>
                    <a:lnTo>
                      <a:pt x="480" y="36"/>
                    </a:lnTo>
                    <a:lnTo>
                      <a:pt x="478" y="36"/>
                    </a:lnTo>
                    <a:lnTo>
                      <a:pt x="478" y="38"/>
                    </a:lnTo>
                    <a:lnTo>
                      <a:pt x="476" y="38"/>
                    </a:lnTo>
                    <a:lnTo>
                      <a:pt x="476" y="40"/>
                    </a:lnTo>
                    <a:lnTo>
                      <a:pt x="474" y="40"/>
                    </a:lnTo>
                    <a:lnTo>
                      <a:pt x="472" y="40"/>
                    </a:lnTo>
                    <a:lnTo>
                      <a:pt x="471" y="40"/>
                    </a:lnTo>
                    <a:lnTo>
                      <a:pt x="472" y="40"/>
                    </a:lnTo>
                    <a:lnTo>
                      <a:pt x="471" y="40"/>
                    </a:lnTo>
                    <a:lnTo>
                      <a:pt x="472" y="40"/>
                    </a:lnTo>
                    <a:lnTo>
                      <a:pt x="471" y="40"/>
                    </a:lnTo>
                    <a:lnTo>
                      <a:pt x="472" y="40"/>
                    </a:lnTo>
                    <a:lnTo>
                      <a:pt x="471" y="40"/>
                    </a:lnTo>
                    <a:lnTo>
                      <a:pt x="471" y="42"/>
                    </a:lnTo>
                    <a:lnTo>
                      <a:pt x="469" y="42"/>
                    </a:lnTo>
                    <a:lnTo>
                      <a:pt x="467" y="42"/>
                    </a:lnTo>
                    <a:lnTo>
                      <a:pt x="467" y="44"/>
                    </a:lnTo>
                    <a:lnTo>
                      <a:pt x="465" y="44"/>
                    </a:lnTo>
                    <a:lnTo>
                      <a:pt x="463" y="44"/>
                    </a:lnTo>
                    <a:lnTo>
                      <a:pt x="463" y="46"/>
                    </a:lnTo>
                    <a:lnTo>
                      <a:pt x="461" y="46"/>
                    </a:lnTo>
                    <a:lnTo>
                      <a:pt x="459" y="46"/>
                    </a:lnTo>
                    <a:lnTo>
                      <a:pt x="457" y="46"/>
                    </a:lnTo>
                    <a:lnTo>
                      <a:pt x="455" y="46"/>
                    </a:lnTo>
                    <a:lnTo>
                      <a:pt x="453" y="46"/>
                    </a:lnTo>
                    <a:lnTo>
                      <a:pt x="453" y="44"/>
                    </a:lnTo>
                    <a:lnTo>
                      <a:pt x="451" y="44"/>
                    </a:lnTo>
                    <a:lnTo>
                      <a:pt x="449" y="44"/>
                    </a:lnTo>
                    <a:lnTo>
                      <a:pt x="447" y="44"/>
                    </a:lnTo>
                    <a:lnTo>
                      <a:pt x="446" y="44"/>
                    </a:lnTo>
                    <a:lnTo>
                      <a:pt x="444" y="44"/>
                    </a:lnTo>
                    <a:lnTo>
                      <a:pt x="442" y="46"/>
                    </a:lnTo>
                    <a:lnTo>
                      <a:pt x="440" y="46"/>
                    </a:lnTo>
                    <a:lnTo>
                      <a:pt x="438" y="46"/>
                    </a:lnTo>
                    <a:lnTo>
                      <a:pt x="436" y="48"/>
                    </a:lnTo>
                    <a:lnTo>
                      <a:pt x="434" y="48"/>
                    </a:lnTo>
                    <a:lnTo>
                      <a:pt x="432" y="48"/>
                    </a:lnTo>
                    <a:lnTo>
                      <a:pt x="428" y="48"/>
                    </a:lnTo>
                    <a:lnTo>
                      <a:pt x="426" y="48"/>
                    </a:lnTo>
                    <a:lnTo>
                      <a:pt x="424" y="48"/>
                    </a:lnTo>
                    <a:lnTo>
                      <a:pt x="426" y="48"/>
                    </a:lnTo>
                    <a:lnTo>
                      <a:pt x="424" y="48"/>
                    </a:lnTo>
                    <a:lnTo>
                      <a:pt x="422" y="48"/>
                    </a:lnTo>
                    <a:lnTo>
                      <a:pt x="421" y="48"/>
                    </a:lnTo>
                    <a:lnTo>
                      <a:pt x="419" y="48"/>
                    </a:lnTo>
                    <a:lnTo>
                      <a:pt x="417" y="50"/>
                    </a:lnTo>
                    <a:lnTo>
                      <a:pt x="413" y="48"/>
                    </a:lnTo>
                    <a:lnTo>
                      <a:pt x="413" y="50"/>
                    </a:lnTo>
                    <a:lnTo>
                      <a:pt x="413" y="48"/>
                    </a:lnTo>
                    <a:lnTo>
                      <a:pt x="411" y="48"/>
                    </a:lnTo>
                    <a:lnTo>
                      <a:pt x="413" y="48"/>
                    </a:lnTo>
                    <a:lnTo>
                      <a:pt x="413" y="46"/>
                    </a:lnTo>
                    <a:lnTo>
                      <a:pt x="415" y="46"/>
                    </a:lnTo>
                    <a:lnTo>
                      <a:pt x="415" y="44"/>
                    </a:lnTo>
                    <a:lnTo>
                      <a:pt x="413" y="44"/>
                    </a:lnTo>
                    <a:lnTo>
                      <a:pt x="413" y="42"/>
                    </a:lnTo>
                    <a:lnTo>
                      <a:pt x="411" y="44"/>
                    </a:lnTo>
                    <a:lnTo>
                      <a:pt x="411" y="42"/>
                    </a:lnTo>
                    <a:lnTo>
                      <a:pt x="409" y="40"/>
                    </a:lnTo>
                    <a:lnTo>
                      <a:pt x="409" y="38"/>
                    </a:lnTo>
                    <a:lnTo>
                      <a:pt x="411" y="38"/>
                    </a:lnTo>
                    <a:lnTo>
                      <a:pt x="411" y="36"/>
                    </a:lnTo>
                    <a:lnTo>
                      <a:pt x="411" y="34"/>
                    </a:lnTo>
                    <a:lnTo>
                      <a:pt x="411" y="32"/>
                    </a:lnTo>
                    <a:lnTo>
                      <a:pt x="409" y="32"/>
                    </a:lnTo>
                    <a:lnTo>
                      <a:pt x="409" y="34"/>
                    </a:lnTo>
                    <a:lnTo>
                      <a:pt x="409" y="32"/>
                    </a:lnTo>
                    <a:lnTo>
                      <a:pt x="409" y="31"/>
                    </a:lnTo>
                    <a:lnTo>
                      <a:pt x="409" y="29"/>
                    </a:lnTo>
                    <a:lnTo>
                      <a:pt x="411" y="29"/>
                    </a:lnTo>
                    <a:lnTo>
                      <a:pt x="413" y="29"/>
                    </a:lnTo>
                    <a:lnTo>
                      <a:pt x="411" y="29"/>
                    </a:lnTo>
                    <a:lnTo>
                      <a:pt x="413" y="29"/>
                    </a:lnTo>
                    <a:lnTo>
                      <a:pt x="415" y="29"/>
                    </a:lnTo>
                    <a:lnTo>
                      <a:pt x="415" y="31"/>
                    </a:lnTo>
                    <a:lnTo>
                      <a:pt x="417" y="31"/>
                    </a:lnTo>
                    <a:lnTo>
                      <a:pt x="415" y="31"/>
                    </a:lnTo>
                    <a:lnTo>
                      <a:pt x="417" y="31"/>
                    </a:lnTo>
                    <a:lnTo>
                      <a:pt x="415" y="32"/>
                    </a:lnTo>
                    <a:lnTo>
                      <a:pt x="415" y="34"/>
                    </a:lnTo>
                    <a:lnTo>
                      <a:pt x="417" y="34"/>
                    </a:lnTo>
                    <a:lnTo>
                      <a:pt x="415" y="34"/>
                    </a:lnTo>
                    <a:lnTo>
                      <a:pt x="417" y="34"/>
                    </a:lnTo>
                    <a:lnTo>
                      <a:pt x="419" y="34"/>
                    </a:lnTo>
                    <a:lnTo>
                      <a:pt x="419" y="36"/>
                    </a:lnTo>
                    <a:lnTo>
                      <a:pt x="421" y="36"/>
                    </a:lnTo>
                    <a:lnTo>
                      <a:pt x="422" y="36"/>
                    </a:lnTo>
                    <a:lnTo>
                      <a:pt x="424" y="36"/>
                    </a:lnTo>
                    <a:lnTo>
                      <a:pt x="424" y="34"/>
                    </a:lnTo>
                    <a:lnTo>
                      <a:pt x="426" y="34"/>
                    </a:lnTo>
                    <a:lnTo>
                      <a:pt x="428" y="34"/>
                    </a:lnTo>
                    <a:lnTo>
                      <a:pt x="428" y="32"/>
                    </a:lnTo>
                    <a:lnTo>
                      <a:pt x="428" y="31"/>
                    </a:lnTo>
                    <a:lnTo>
                      <a:pt x="428" y="32"/>
                    </a:lnTo>
                    <a:lnTo>
                      <a:pt x="426" y="32"/>
                    </a:lnTo>
                    <a:lnTo>
                      <a:pt x="428" y="31"/>
                    </a:lnTo>
                    <a:lnTo>
                      <a:pt x="428" y="29"/>
                    </a:lnTo>
                    <a:lnTo>
                      <a:pt x="430" y="27"/>
                    </a:lnTo>
                    <a:lnTo>
                      <a:pt x="430" y="29"/>
                    </a:lnTo>
                    <a:lnTo>
                      <a:pt x="430" y="27"/>
                    </a:lnTo>
                    <a:lnTo>
                      <a:pt x="428" y="29"/>
                    </a:lnTo>
                    <a:lnTo>
                      <a:pt x="428" y="27"/>
                    </a:lnTo>
                    <a:lnTo>
                      <a:pt x="430" y="27"/>
                    </a:lnTo>
                    <a:lnTo>
                      <a:pt x="432" y="27"/>
                    </a:lnTo>
                    <a:lnTo>
                      <a:pt x="432" y="25"/>
                    </a:lnTo>
                    <a:lnTo>
                      <a:pt x="434" y="23"/>
                    </a:lnTo>
                    <a:lnTo>
                      <a:pt x="438" y="23"/>
                    </a:lnTo>
                    <a:lnTo>
                      <a:pt x="440" y="23"/>
                    </a:lnTo>
                    <a:lnTo>
                      <a:pt x="442" y="21"/>
                    </a:lnTo>
                    <a:lnTo>
                      <a:pt x="446" y="19"/>
                    </a:lnTo>
                    <a:lnTo>
                      <a:pt x="447" y="17"/>
                    </a:lnTo>
                    <a:lnTo>
                      <a:pt x="449" y="17"/>
                    </a:lnTo>
                    <a:lnTo>
                      <a:pt x="451" y="17"/>
                    </a:lnTo>
                    <a:lnTo>
                      <a:pt x="453" y="17"/>
                    </a:lnTo>
                    <a:lnTo>
                      <a:pt x="453" y="19"/>
                    </a:lnTo>
                    <a:lnTo>
                      <a:pt x="451" y="19"/>
                    </a:lnTo>
                    <a:lnTo>
                      <a:pt x="451" y="21"/>
                    </a:lnTo>
                    <a:lnTo>
                      <a:pt x="451" y="19"/>
                    </a:lnTo>
                    <a:lnTo>
                      <a:pt x="451" y="21"/>
                    </a:lnTo>
                    <a:lnTo>
                      <a:pt x="453" y="21"/>
                    </a:lnTo>
                    <a:lnTo>
                      <a:pt x="455" y="21"/>
                    </a:lnTo>
                    <a:lnTo>
                      <a:pt x="453" y="21"/>
                    </a:lnTo>
                    <a:lnTo>
                      <a:pt x="453" y="23"/>
                    </a:lnTo>
                    <a:lnTo>
                      <a:pt x="455" y="23"/>
                    </a:lnTo>
                    <a:lnTo>
                      <a:pt x="453" y="23"/>
                    </a:lnTo>
                    <a:lnTo>
                      <a:pt x="455" y="23"/>
                    </a:lnTo>
                    <a:lnTo>
                      <a:pt x="453" y="23"/>
                    </a:lnTo>
                    <a:lnTo>
                      <a:pt x="451" y="23"/>
                    </a:lnTo>
                    <a:lnTo>
                      <a:pt x="451" y="25"/>
                    </a:lnTo>
                    <a:lnTo>
                      <a:pt x="451" y="27"/>
                    </a:lnTo>
                    <a:lnTo>
                      <a:pt x="449" y="27"/>
                    </a:lnTo>
                    <a:lnTo>
                      <a:pt x="451" y="27"/>
                    </a:lnTo>
                    <a:lnTo>
                      <a:pt x="449" y="27"/>
                    </a:lnTo>
                    <a:lnTo>
                      <a:pt x="451" y="27"/>
                    </a:lnTo>
                    <a:lnTo>
                      <a:pt x="449" y="27"/>
                    </a:lnTo>
                    <a:lnTo>
                      <a:pt x="451" y="27"/>
                    </a:lnTo>
                    <a:lnTo>
                      <a:pt x="453" y="27"/>
                    </a:lnTo>
                    <a:lnTo>
                      <a:pt x="453" y="29"/>
                    </a:lnTo>
                    <a:lnTo>
                      <a:pt x="455" y="29"/>
                    </a:lnTo>
                    <a:lnTo>
                      <a:pt x="453" y="29"/>
                    </a:lnTo>
                    <a:lnTo>
                      <a:pt x="455" y="29"/>
                    </a:lnTo>
                    <a:close/>
                    <a:moveTo>
                      <a:pt x="286" y="82"/>
                    </a:moveTo>
                    <a:lnTo>
                      <a:pt x="288" y="82"/>
                    </a:lnTo>
                    <a:lnTo>
                      <a:pt x="290" y="82"/>
                    </a:lnTo>
                    <a:lnTo>
                      <a:pt x="290" y="81"/>
                    </a:lnTo>
                    <a:lnTo>
                      <a:pt x="292" y="81"/>
                    </a:lnTo>
                    <a:lnTo>
                      <a:pt x="294" y="81"/>
                    </a:lnTo>
                    <a:lnTo>
                      <a:pt x="296" y="81"/>
                    </a:lnTo>
                    <a:lnTo>
                      <a:pt x="298" y="81"/>
                    </a:lnTo>
                    <a:lnTo>
                      <a:pt x="296" y="81"/>
                    </a:lnTo>
                    <a:lnTo>
                      <a:pt x="296" y="82"/>
                    </a:lnTo>
                    <a:lnTo>
                      <a:pt x="296" y="81"/>
                    </a:lnTo>
                    <a:lnTo>
                      <a:pt x="298" y="81"/>
                    </a:lnTo>
                    <a:lnTo>
                      <a:pt x="298" y="82"/>
                    </a:lnTo>
                    <a:lnTo>
                      <a:pt x="298" y="84"/>
                    </a:lnTo>
                    <a:lnTo>
                      <a:pt x="298" y="82"/>
                    </a:lnTo>
                    <a:lnTo>
                      <a:pt x="298" y="84"/>
                    </a:lnTo>
                    <a:lnTo>
                      <a:pt x="298" y="86"/>
                    </a:lnTo>
                    <a:lnTo>
                      <a:pt x="298" y="84"/>
                    </a:lnTo>
                    <a:lnTo>
                      <a:pt x="298" y="86"/>
                    </a:lnTo>
                    <a:lnTo>
                      <a:pt x="300" y="86"/>
                    </a:lnTo>
                    <a:lnTo>
                      <a:pt x="298" y="86"/>
                    </a:lnTo>
                    <a:lnTo>
                      <a:pt x="300" y="86"/>
                    </a:lnTo>
                    <a:lnTo>
                      <a:pt x="300" y="84"/>
                    </a:lnTo>
                    <a:lnTo>
                      <a:pt x="300" y="86"/>
                    </a:lnTo>
                    <a:lnTo>
                      <a:pt x="300" y="84"/>
                    </a:lnTo>
                    <a:lnTo>
                      <a:pt x="301" y="84"/>
                    </a:lnTo>
                    <a:lnTo>
                      <a:pt x="300" y="84"/>
                    </a:lnTo>
                    <a:lnTo>
                      <a:pt x="301" y="84"/>
                    </a:lnTo>
                    <a:lnTo>
                      <a:pt x="301" y="82"/>
                    </a:lnTo>
                    <a:lnTo>
                      <a:pt x="300" y="82"/>
                    </a:lnTo>
                    <a:lnTo>
                      <a:pt x="301" y="82"/>
                    </a:lnTo>
                    <a:lnTo>
                      <a:pt x="303" y="82"/>
                    </a:lnTo>
                    <a:lnTo>
                      <a:pt x="305" y="82"/>
                    </a:lnTo>
                    <a:lnTo>
                      <a:pt x="305" y="84"/>
                    </a:lnTo>
                    <a:lnTo>
                      <a:pt x="305" y="82"/>
                    </a:lnTo>
                    <a:lnTo>
                      <a:pt x="305" y="84"/>
                    </a:lnTo>
                    <a:lnTo>
                      <a:pt x="303" y="82"/>
                    </a:lnTo>
                    <a:lnTo>
                      <a:pt x="305" y="84"/>
                    </a:lnTo>
                    <a:lnTo>
                      <a:pt x="303" y="84"/>
                    </a:lnTo>
                    <a:lnTo>
                      <a:pt x="301" y="84"/>
                    </a:lnTo>
                    <a:lnTo>
                      <a:pt x="303" y="84"/>
                    </a:lnTo>
                    <a:lnTo>
                      <a:pt x="305" y="84"/>
                    </a:lnTo>
                    <a:lnTo>
                      <a:pt x="303" y="84"/>
                    </a:lnTo>
                    <a:lnTo>
                      <a:pt x="305" y="82"/>
                    </a:lnTo>
                    <a:lnTo>
                      <a:pt x="305" y="84"/>
                    </a:lnTo>
                    <a:lnTo>
                      <a:pt x="305" y="82"/>
                    </a:lnTo>
                    <a:lnTo>
                      <a:pt x="305" y="84"/>
                    </a:lnTo>
                    <a:lnTo>
                      <a:pt x="305" y="82"/>
                    </a:lnTo>
                    <a:lnTo>
                      <a:pt x="307" y="82"/>
                    </a:lnTo>
                    <a:lnTo>
                      <a:pt x="307" y="84"/>
                    </a:lnTo>
                    <a:lnTo>
                      <a:pt x="307" y="82"/>
                    </a:lnTo>
                    <a:lnTo>
                      <a:pt x="307" y="84"/>
                    </a:lnTo>
                    <a:lnTo>
                      <a:pt x="307" y="82"/>
                    </a:lnTo>
                    <a:lnTo>
                      <a:pt x="309" y="82"/>
                    </a:lnTo>
                    <a:lnTo>
                      <a:pt x="309" y="81"/>
                    </a:lnTo>
                    <a:lnTo>
                      <a:pt x="311" y="81"/>
                    </a:lnTo>
                    <a:lnTo>
                      <a:pt x="309" y="81"/>
                    </a:lnTo>
                    <a:lnTo>
                      <a:pt x="311" y="81"/>
                    </a:lnTo>
                    <a:lnTo>
                      <a:pt x="311" y="79"/>
                    </a:lnTo>
                    <a:lnTo>
                      <a:pt x="309" y="81"/>
                    </a:lnTo>
                    <a:lnTo>
                      <a:pt x="307" y="81"/>
                    </a:lnTo>
                    <a:lnTo>
                      <a:pt x="307" y="79"/>
                    </a:lnTo>
                    <a:lnTo>
                      <a:pt x="307" y="81"/>
                    </a:lnTo>
                    <a:lnTo>
                      <a:pt x="307" y="79"/>
                    </a:lnTo>
                    <a:lnTo>
                      <a:pt x="309" y="79"/>
                    </a:lnTo>
                    <a:lnTo>
                      <a:pt x="307" y="79"/>
                    </a:lnTo>
                    <a:lnTo>
                      <a:pt x="305" y="79"/>
                    </a:lnTo>
                    <a:lnTo>
                      <a:pt x="307" y="79"/>
                    </a:lnTo>
                    <a:lnTo>
                      <a:pt x="305" y="79"/>
                    </a:lnTo>
                    <a:lnTo>
                      <a:pt x="305" y="77"/>
                    </a:lnTo>
                    <a:lnTo>
                      <a:pt x="303" y="77"/>
                    </a:lnTo>
                    <a:lnTo>
                      <a:pt x="305" y="77"/>
                    </a:lnTo>
                    <a:lnTo>
                      <a:pt x="303" y="75"/>
                    </a:lnTo>
                    <a:lnTo>
                      <a:pt x="303" y="73"/>
                    </a:lnTo>
                    <a:lnTo>
                      <a:pt x="303" y="71"/>
                    </a:lnTo>
                    <a:lnTo>
                      <a:pt x="301" y="71"/>
                    </a:lnTo>
                    <a:lnTo>
                      <a:pt x="301" y="69"/>
                    </a:lnTo>
                    <a:lnTo>
                      <a:pt x="301" y="67"/>
                    </a:lnTo>
                    <a:lnTo>
                      <a:pt x="300" y="67"/>
                    </a:lnTo>
                    <a:lnTo>
                      <a:pt x="300" y="65"/>
                    </a:lnTo>
                    <a:lnTo>
                      <a:pt x="300" y="63"/>
                    </a:lnTo>
                    <a:lnTo>
                      <a:pt x="301" y="63"/>
                    </a:lnTo>
                    <a:lnTo>
                      <a:pt x="303" y="63"/>
                    </a:lnTo>
                    <a:lnTo>
                      <a:pt x="301" y="63"/>
                    </a:lnTo>
                    <a:lnTo>
                      <a:pt x="301" y="61"/>
                    </a:lnTo>
                    <a:lnTo>
                      <a:pt x="303" y="61"/>
                    </a:lnTo>
                    <a:lnTo>
                      <a:pt x="301" y="61"/>
                    </a:lnTo>
                    <a:lnTo>
                      <a:pt x="301" y="59"/>
                    </a:lnTo>
                    <a:lnTo>
                      <a:pt x="303" y="59"/>
                    </a:lnTo>
                    <a:lnTo>
                      <a:pt x="305" y="59"/>
                    </a:lnTo>
                    <a:lnTo>
                      <a:pt x="307" y="59"/>
                    </a:lnTo>
                    <a:lnTo>
                      <a:pt x="305" y="61"/>
                    </a:lnTo>
                    <a:lnTo>
                      <a:pt x="307" y="61"/>
                    </a:lnTo>
                    <a:lnTo>
                      <a:pt x="307" y="59"/>
                    </a:lnTo>
                    <a:lnTo>
                      <a:pt x="307" y="61"/>
                    </a:lnTo>
                    <a:lnTo>
                      <a:pt x="309" y="59"/>
                    </a:lnTo>
                    <a:lnTo>
                      <a:pt x="311" y="59"/>
                    </a:lnTo>
                    <a:lnTo>
                      <a:pt x="313" y="59"/>
                    </a:lnTo>
                    <a:lnTo>
                      <a:pt x="311" y="59"/>
                    </a:lnTo>
                    <a:lnTo>
                      <a:pt x="309" y="59"/>
                    </a:lnTo>
                    <a:lnTo>
                      <a:pt x="311" y="59"/>
                    </a:lnTo>
                    <a:lnTo>
                      <a:pt x="309" y="59"/>
                    </a:lnTo>
                    <a:lnTo>
                      <a:pt x="311" y="59"/>
                    </a:lnTo>
                    <a:lnTo>
                      <a:pt x="309" y="59"/>
                    </a:lnTo>
                    <a:lnTo>
                      <a:pt x="309" y="57"/>
                    </a:lnTo>
                    <a:lnTo>
                      <a:pt x="307" y="57"/>
                    </a:lnTo>
                    <a:lnTo>
                      <a:pt x="307" y="56"/>
                    </a:lnTo>
                    <a:lnTo>
                      <a:pt x="305" y="56"/>
                    </a:lnTo>
                    <a:lnTo>
                      <a:pt x="303" y="56"/>
                    </a:lnTo>
                    <a:lnTo>
                      <a:pt x="305" y="56"/>
                    </a:lnTo>
                    <a:lnTo>
                      <a:pt x="309" y="56"/>
                    </a:lnTo>
                    <a:lnTo>
                      <a:pt x="307" y="56"/>
                    </a:lnTo>
                    <a:lnTo>
                      <a:pt x="309" y="56"/>
                    </a:lnTo>
                    <a:lnTo>
                      <a:pt x="307" y="56"/>
                    </a:lnTo>
                    <a:lnTo>
                      <a:pt x="309" y="56"/>
                    </a:lnTo>
                    <a:lnTo>
                      <a:pt x="307" y="56"/>
                    </a:lnTo>
                    <a:lnTo>
                      <a:pt x="309" y="56"/>
                    </a:lnTo>
                    <a:lnTo>
                      <a:pt x="309" y="54"/>
                    </a:lnTo>
                    <a:lnTo>
                      <a:pt x="313" y="54"/>
                    </a:lnTo>
                    <a:lnTo>
                      <a:pt x="315" y="54"/>
                    </a:lnTo>
                    <a:lnTo>
                      <a:pt x="317" y="54"/>
                    </a:lnTo>
                    <a:lnTo>
                      <a:pt x="319" y="56"/>
                    </a:lnTo>
                    <a:lnTo>
                      <a:pt x="321" y="56"/>
                    </a:lnTo>
                    <a:lnTo>
                      <a:pt x="323" y="56"/>
                    </a:lnTo>
                    <a:lnTo>
                      <a:pt x="321" y="56"/>
                    </a:lnTo>
                    <a:lnTo>
                      <a:pt x="325" y="56"/>
                    </a:lnTo>
                    <a:lnTo>
                      <a:pt x="326" y="56"/>
                    </a:lnTo>
                    <a:lnTo>
                      <a:pt x="328" y="56"/>
                    </a:lnTo>
                    <a:lnTo>
                      <a:pt x="328" y="57"/>
                    </a:lnTo>
                    <a:lnTo>
                      <a:pt x="330" y="57"/>
                    </a:lnTo>
                    <a:lnTo>
                      <a:pt x="332" y="57"/>
                    </a:lnTo>
                    <a:lnTo>
                      <a:pt x="334" y="57"/>
                    </a:lnTo>
                    <a:lnTo>
                      <a:pt x="334" y="56"/>
                    </a:lnTo>
                    <a:lnTo>
                      <a:pt x="336" y="56"/>
                    </a:lnTo>
                    <a:lnTo>
                      <a:pt x="338" y="56"/>
                    </a:lnTo>
                    <a:lnTo>
                      <a:pt x="340" y="56"/>
                    </a:lnTo>
                    <a:lnTo>
                      <a:pt x="342" y="56"/>
                    </a:lnTo>
                    <a:lnTo>
                      <a:pt x="344" y="54"/>
                    </a:lnTo>
                    <a:lnTo>
                      <a:pt x="346" y="54"/>
                    </a:lnTo>
                    <a:lnTo>
                      <a:pt x="346" y="52"/>
                    </a:lnTo>
                    <a:lnTo>
                      <a:pt x="348" y="52"/>
                    </a:lnTo>
                    <a:lnTo>
                      <a:pt x="349" y="52"/>
                    </a:lnTo>
                    <a:lnTo>
                      <a:pt x="348" y="52"/>
                    </a:lnTo>
                    <a:lnTo>
                      <a:pt x="348" y="50"/>
                    </a:lnTo>
                    <a:lnTo>
                      <a:pt x="349" y="50"/>
                    </a:lnTo>
                    <a:lnTo>
                      <a:pt x="349" y="48"/>
                    </a:lnTo>
                    <a:lnTo>
                      <a:pt x="351" y="48"/>
                    </a:lnTo>
                    <a:lnTo>
                      <a:pt x="353" y="46"/>
                    </a:lnTo>
                    <a:lnTo>
                      <a:pt x="355" y="46"/>
                    </a:lnTo>
                    <a:lnTo>
                      <a:pt x="357" y="46"/>
                    </a:lnTo>
                    <a:lnTo>
                      <a:pt x="359" y="46"/>
                    </a:lnTo>
                    <a:lnTo>
                      <a:pt x="361" y="46"/>
                    </a:lnTo>
                    <a:lnTo>
                      <a:pt x="363" y="46"/>
                    </a:lnTo>
                    <a:lnTo>
                      <a:pt x="365" y="46"/>
                    </a:lnTo>
                    <a:lnTo>
                      <a:pt x="367" y="46"/>
                    </a:lnTo>
                    <a:lnTo>
                      <a:pt x="369" y="46"/>
                    </a:lnTo>
                    <a:lnTo>
                      <a:pt x="371" y="46"/>
                    </a:lnTo>
                    <a:lnTo>
                      <a:pt x="371" y="44"/>
                    </a:lnTo>
                    <a:lnTo>
                      <a:pt x="373" y="44"/>
                    </a:lnTo>
                    <a:lnTo>
                      <a:pt x="374" y="44"/>
                    </a:lnTo>
                    <a:lnTo>
                      <a:pt x="376" y="44"/>
                    </a:lnTo>
                    <a:lnTo>
                      <a:pt x="374" y="44"/>
                    </a:lnTo>
                    <a:lnTo>
                      <a:pt x="376" y="44"/>
                    </a:lnTo>
                    <a:lnTo>
                      <a:pt x="378" y="44"/>
                    </a:lnTo>
                    <a:lnTo>
                      <a:pt x="380" y="44"/>
                    </a:lnTo>
                    <a:lnTo>
                      <a:pt x="382" y="44"/>
                    </a:lnTo>
                    <a:lnTo>
                      <a:pt x="384" y="44"/>
                    </a:lnTo>
                    <a:lnTo>
                      <a:pt x="386" y="42"/>
                    </a:lnTo>
                    <a:lnTo>
                      <a:pt x="388" y="42"/>
                    </a:lnTo>
                    <a:lnTo>
                      <a:pt x="390" y="44"/>
                    </a:lnTo>
                    <a:lnTo>
                      <a:pt x="392" y="44"/>
                    </a:lnTo>
                    <a:lnTo>
                      <a:pt x="390" y="44"/>
                    </a:lnTo>
                    <a:lnTo>
                      <a:pt x="390" y="46"/>
                    </a:lnTo>
                    <a:lnTo>
                      <a:pt x="388" y="46"/>
                    </a:lnTo>
                    <a:lnTo>
                      <a:pt x="388" y="48"/>
                    </a:lnTo>
                    <a:lnTo>
                      <a:pt x="386" y="48"/>
                    </a:lnTo>
                    <a:lnTo>
                      <a:pt x="386" y="50"/>
                    </a:lnTo>
                    <a:lnTo>
                      <a:pt x="384" y="52"/>
                    </a:lnTo>
                    <a:lnTo>
                      <a:pt x="384" y="54"/>
                    </a:lnTo>
                    <a:lnTo>
                      <a:pt x="384" y="56"/>
                    </a:lnTo>
                    <a:lnTo>
                      <a:pt x="384" y="57"/>
                    </a:lnTo>
                    <a:lnTo>
                      <a:pt x="382" y="59"/>
                    </a:lnTo>
                    <a:lnTo>
                      <a:pt x="382" y="57"/>
                    </a:lnTo>
                    <a:lnTo>
                      <a:pt x="382" y="59"/>
                    </a:lnTo>
                    <a:lnTo>
                      <a:pt x="382" y="57"/>
                    </a:lnTo>
                    <a:lnTo>
                      <a:pt x="384" y="57"/>
                    </a:lnTo>
                    <a:lnTo>
                      <a:pt x="384" y="59"/>
                    </a:lnTo>
                    <a:lnTo>
                      <a:pt x="386" y="59"/>
                    </a:lnTo>
                    <a:lnTo>
                      <a:pt x="388" y="59"/>
                    </a:lnTo>
                    <a:lnTo>
                      <a:pt x="390" y="59"/>
                    </a:lnTo>
                    <a:lnTo>
                      <a:pt x="388" y="59"/>
                    </a:lnTo>
                    <a:lnTo>
                      <a:pt x="388" y="61"/>
                    </a:lnTo>
                    <a:lnTo>
                      <a:pt x="388" y="59"/>
                    </a:lnTo>
                    <a:lnTo>
                      <a:pt x="386" y="61"/>
                    </a:lnTo>
                    <a:lnTo>
                      <a:pt x="388" y="61"/>
                    </a:lnTo>
                    <a:lnTo>
                      <a:pt x="386" y="61"/>
                    </a:lnTo>
                    <a:lnTo>
                      <a:pt x="388" y="61"/>
                    </a:lnTo>
                    <a:lnTo>
                      <a:pt x="386" y="61"/>
                    </a:lnTo>
                    <a:lnTo>
                      <a:pt x="386" y="63"/>
                    </a:lnTo>
                    <a:lnTo>
                      <a:pt x="388" y="63"/>
                    </a:lnTo>
                    <a:lnTo>
                      <a:pt x="386" y="63"/>
                    </a:lnTo>
                    <a:lnTo>
                      <a:pt x="388" y="63"/>
                    </a:lnTo>
                    <a:lnTo>
                      <a:pt x="388" y="65"/>
                    </a:lnTo>
                    <a:lnTo>
                      <a:pt x="388" y="67"/>
                    </a:lnTo>
                    <a:lnTo>
                      <a:pt x="386" y="69"/>
                    </a:lnTo>
                    <a:lnTo>
                      <a:pt x="386" y="71"/>
                    </a:lnTo>
                    <a:lnTo>
                      <a:pt x="384" y="71"/>
                    </a:lnTo>
                    <a:lnTo>
                      <a:pt x="384" y="73"/>
                    </a:lnTo>
                    <a:lnTo>
                      <a:pt x="384" y="75"/>
                    </a:lnTo>
                    <a:lnTo>
                      <a:pt x="382" y="75"/>
                    </a:lnTo>
                    <a:lnTo>
                      <a:pt x="382" y="77"/>
                    </a:lnTo>
                    <a:lnTo>
                      <a:pt x="380" y="77"/>
                    </a:lnTo>
                    <a:lnTo>
                      <a:pt x="378" y="77"/>
                    </a:lnTo>
                    <a:lnTo>
                      <a:pt x="378" y="79"/>
                    </a:lnTo>
                    <a:lnTo>
                      <a:pt x="378" y="77"/>
                    </a:lnTo>
                    <a:lnTo>
                      <a:pt x="378" y="79"/>
                    </a:lnTo>
                    <a:lnTo>
                      <a:pt x="378" y="77"/>
                    </a:lnTo>
                    <a:lnTo>
                      <a:pt x="378" y="79"/>
                    </a:lnTo>
                    <a:lnTo>
                      <a:pt x="378" y="77"/>
                    </a:lnTo>
                    <a:lnTo>
                      <a:pt x="376" y="79"/>
                    </a:lnTo>
                    <a:lnTo>
                      <a:pt x="376" y="77"/>
                    </a:lnTo>
                    <a:lnTo>
                      <a:pt x="378" y="77"/>
                    </a:lnTo>
                    <a:lnTo>
                      <a:pt x="376" y="77"/>
                    </a:lnTo>
                    <a:lnTo>
                      <a:pt x="376" y="79"/>
                    </a:lnTo>
                    <a:lnTo>
                      <a:pt x="376" y="77"/>
                    </a:lnTo>
                    <a:lnTo>
                      <a:pt x="376" y="79"/>
                    </a:lnTo>
                    <a:lnTo>
                      <a:pt x="374" y="79"/>
                    </a:lnTo>
                    <a:lnTo>
                      <a:pt x="373" y="79"/>
                    </a:lnTo>
                    <a:lnTo>
                      <a:pt x="371" y="81"/>
                    </a:lnTo>
                    <a:lnTo>
                      <a:pt x="369" y="81"/>
                    </a:lnTo>
                    <a:lnTo>
                      <a:pt x="369" y="82"/>
                    </a:lnTo>
                    <a:lnTo>
                      <a:pt x="367" y="82"/>
                    </a:lnTo>
                    <a:lnTo>
                      <a:pt x="367" y="84"/>
                    </a:lnTo>
                    <a:lnTo>
                      <a:pt x="367" y="82"/>
                    </a:lnTo>
                    <a:lnTo>
                      <a:pt x="367" y="84"/>
                    </a:lnTo>
                    <a:lnTo>
                      <a:pt x="365" y="84"/>
                    </a:lnTo>
                    <a:lnTo>
                      <a:pt x="363" y="84"/>
                    </a:lnTo>
                    <a:lnTo>
                      <a:pt x="361" y="84"/>
                    </a:lnTo>
                    <a:lnTo>
                      <a:pt x="361" y="82"/>
                    </a:lnTo>
                    <a:lnTo>
                      <a:pt x="361" y="84"/>
                    </a:lnTo>
                    <a:lnTo>
                      <a:pt x="359" y="84"/>
                    </a:lnTo>
                    <a:lnTo>
                      <a:pt x="359" y="82"/>
                    </a:lnTo>
                    <a:lnTo>
                      <a:pt x="357" y="82"/>
                    </a:lnTo>
                    <a:lnTo>
                      <a:pt x="357" y="84"/>
                    </a:lnTo>
                    <a:lnTo>
                      <a:pt x="357" y="82"/>
                    </a:lnTo>
                    <a:lnTo>
                      <a:pt x="357" y="84"/>
                    </a:lnTo>
                    <a:lnTo>
                      <a:pt x="355" y="84"/>
                    </a:lnTo>
                    <a:lnTo>
                      <a:pt x="353" y="82"/>
                    </a:lnTo>
                    <a:lnTo>
                      <a:pt x="353" y="81"/>
                    </a:lnTo>
                    <a:lnTo>
                      <a:pt x="351" y="81"/>
                    </a:lnTo>
                    <a:lnTo>
                      <a:pt x="351" y="82"/>
                    </a:lnTo>
                    <a:lnTo>
                      <a:pt x="349" y="82"/>
                    </a:lnTo>
                    <a:lnTo>
                      <a:pt x="349" y="81"/>
                    </a:lnTo>
                    <a:lnTo>
                      <a:pt x="348" y="81"/>
                    </a:lnTo>
                    <a:lnTo>
                      <a:pt x="349" y="81"/>
                    </a:lnTo>
                    <a:lnTo>
                      <a:pt x="348" y="81"/>
                    </a:lnTo>
                    <a:lnTo>
                      <a:pt x="349" y="81"/>
                    </a:lnTo>
                    <a:lnTo>
                      <a:pt x="348" y="81"/>
                    </a:lnTo>
                    <a:lnTo>
                      <a:pt x="348" y="79"/>
                    </a:lnTo>
                    <a:lnTo>
                      <a:pt x="346" y="79"/>
                    </a:lnTo>
                    <a:lnTo>
                      <a:pt x="346" y="81"/>
                    </a:lnTo>
                    <a:lnTo>
                      <a:pt x="344" y="79"/>
                    </a:lnTo>
                    <a:lnTo>
                      <a:pt x="346" y="79"/>
                    </a:lnTo>
                    <a:lnTo>
                      <a:pt x="344" y="79"/>
                    </a:lnTo>
                    <a:lnTo>
                      <a:pt x="344" y="77"/>
                    </a:lnTo>
                    <a:lnTo>
                      <a:pt x="342" y="77"/>
                    </a:lnTo>
                    <a:lnTo>
                      <a:pt x="342" y="75"/>
                    </a:lnTo>
                    <a:lnTo>
                      <a:pt x="342" y="73"/>
                    </a:lnTo>
                    <a:lnTo>
                      <a:pt x="344" y="73"/>
                    </a:lnTo>
                    <a:lnTo>
                      <a:pt x="342" y="71"/>
                    </a:lnTo>
                    <a:lnTo>
                      <a:pt x="344" y="71"/>
                    </a:lnTo>
                    <a:lnTo>
                      <a:pt x="344" y="69"/>
                    </a:lnTo>
                    <a:lnTo>
                      <a:pt x="344" y="67"/>
                    </a:lnTo>
                    <a:lnTo>
                      <a:pt x="346" y="67"/>
                    </a:lnTo>
                    <a:lnTo>
                      <a:pt x="346" y="65"/>
                    </a:lnTo>
                    <a:lnTo>
                      <a:pt x="348" y="65"/>
                    </a:lnTo>
                    <a:lnTo>
                      <a:pt x="346" y="65"/>
                    </a:lnTo>
                    <a:lnTo>
                      <a:pt x="348" y="65"/>
                    </a:lnTo>
                    <a:lnTo>
                      <a:pt x="346" y="65"/>
                    </a:lnTo>
                    <a:lnTo>
                      <a:pt x="348" y="65"/>
                    </a:lnTo>
                    <a:lnTo>
                      <a:pt x="348" y="63"/>
                    </a:lnTo>
                    <a:lnTo>
                      <a:pt x="348" y="61"/>
                    </a:lnTo>
                    <a:lnTo>
                      <a:pt x="346" y="61"/>
                    </a:lnTo>
                    <a:lnTo>
                      <a:pt x="348" y="61"/>
                    </a:lnTo>
                    <a:lnTo>
                      <a:pt x="346" y="61"/>
                    </a:lnTo>
                    <a:lnTo>
                      <a:pt x="346" y="59"/>
                    </a:lnTo>
                    <a:lnTo>
                      <a:pt x="344" y="59"/>
                    </a:lnTo>
                    <a:lnTo>
                      <a:pt x="346" y="59"/>
                    </a:lnTo>
                    <a:lnTo>
                      <a:pt x="344" y="59"/>
                    </a:lnTo>
                    <a:lnTo>
                      <a:pt x="342" y="59"/>
                    </a:lnTo>
                    <a:lnTo>
                      <a:pt x="340" y="59"/>
                    </a:lnTo>
                    <a:lnTo>
                      <a:pt x="340" y="61"/>
                    </a:lnTo>
                    <a:lnTo>
                      <a:pt x="338" y="61"/>
                    </a:lnTo>
                    <a:lnTo>
                      <a:pt x="338" y="59"/>
                    </a:lnTo>
                    <a:lnTo>
                      <a:pt x="338" y="61"/>
                    </a:lnTo>
                    <a:lnTo>
                      <a:pt x="336" y="61"/>
                    </a:lnTo>
                    <a:lnTo>
                      <a:pt x="336" y="63"/>
                    </a:lnTo>
                    <a:lnTo>
                      <a:pt x="334" y="63"/>
                    </a:lnTo>
                    <a:lnTo>
                      <a:pt x="334" y="65"/>
                    </a:lnTo>
                    <a:lnTo>
                      <a:pt x="334" y="63"/>
                    </a:lnTo>
                    <a:lnTo>
                      <a:pt x="332" y="63"/>
                    </a:lnTo>
                    <a:lnTo>
                      <a:pt x="332" y="65"/>
                    </a:lnTo>
                    <a:lnTo>
                      <a:pt x="330" y="65"/>
                    </a:lnTo>
                    <a:lnTo>
                      <a:pt x="332" y="65"/>
                    </a:lnTo>
                    <a:lnTo>
                      <a:pt x="330" y="65"/>
                    </a:lnTo>
                    <a:lnTo>
                      <a:pt x="330" y="67"/>
                    </a:lnTo>
                    <a:lnTo>
                      <a:pt x="332" y="67"/>
                    </a:lnTo>
                    <a:lnTo>
                      <a:pt x="332" y="65"/>
                    </a:lnTo>
                    <a:lnTo>
                      <a:pt x="334" y="65"/>
                    </a:lnTo>
                    <a:lnTo>
                      <a:pt x="334" y="67"/>
                    </a:lnTo>
                    <a:lnTo>
                      <a:pt x="332" y="67"/>
                    </a:lnTo>
                    <a:lnTo>
                      <a:pt x="332" y="69"/>
                    </a:lnTo>
                    <a:lnTo>
                      <a:pt x="330" y="69"/>
                    </a:lnTo>
                    <a:lnTo>
                      <a:pt x="328" y="69"/>
                    </a:lnTo>
                    <a:lnTo>
                      <a:pt x="326" y="69"/>
                    </a:lnTo>
                    <a:lnTo>
                      <a:pt x="326" y="71"/>
                    </a:lnTo>
                    <a:lnTo>
                      <a:pt x="328" y="71"/>
                    </a:lnTo>
                    <a:lnTo>
                      <a:pt x="328" y="69"/>
                    </a:lnTo>
                    <a:lnTo>
                      <a:pt x="330" y="69"/>
                    </a:lnTo>
                    <a:lnTo>
                      <a:pt x="332" y="69"/>
                    </a:lnTo>
                    <a:lnTo>
                      <a:pt x="332" y="71"/>
                    </a:lnTo>
                    <a:lnTo>
                      <a:pt x="330" y="71"/>
                    </a:lnTo>
                    <a:lnTo>
                      <a:pt x="330" y="73"/>
                    </a:lnTo>
                    <a:lnTo>
                      <a:pt x="328" y="73"/>
                    </a:lnTo>
                    <a:lnTo>
                      <a:pt x="326" y="73"/>
                    </a:lnTo>
                    <a:lnTo>
                      <a:pt x="328" y="73"/>
                    </a:lnTo>
                    <a:lnTo>
                      <a:pt x="330" y="73"/>
                    </a:lnTo>
                    <a:lnTo>
                      <a:pt x="330" y="71"/>
                    </a:lnTo>
                    <a:lnTo>
                      <a:pt x="330" y="73"/>
                    </a:lnTo>
                    <a:lnTo>
                      <a:pt x="332" y="73"/>
                    </a:lnTo>
                    <a:lnTo>
                      <a:pt x="330" y="73"/>
                    </a:lnTo>
                    <a:lnTo>
                      <a:pt x="330" y="75"/>
                    </a:lnTo>
                    <a:lnTo>
                      <a:pt x="330" y="73"/>
                    </a:lnTo>
                    <a:lnTo>
                      <a:pt x="332" y="73"/>
                    </a:lnTo>
                    <a:lnTo>
                      <a:pt x="330" y="73"/>
                    </a:lnTo>
                    <a:lnTo>
                      <a:pt x="332" y="73"/>
                    </a:lnTo>
                    <a:lnTo>
                      <a:pt x="332" y="75"/>
                    </a:lnTo>
                    <a:lnTo>
                      <a:pt x="330" y="75"/>
                    </a:lnTo>
                    <a:lnTo>
                      <a:pt x="332" y="75"/>
                    </a:lnTo>
                    <a:lnTo>
                      <a:pt x="332" y="77"/>
                    </a:lnTo>
                    <a:lnTo>
                      <a:pt x="334" y="77"/>
                    </a:lnTo>
                    <a:lnTo>
                      <a:pt x="334" y="79"/>
                    </a:lnTo>
                    <a:lnTo>
                      <a:pt x="334" y="81"/>
                    </a:lnTo>
                    <a:lnTo>
                      <a:pt x="336" y="81"/>
                    </a:lnTo>
                    <a:lnTo>
                      <a:pt x="336" y="82"/>
                    </a:lnTo>
                    <a:lnTo>
                      <a:pt x="338" y="82"/>
                    </a:lnTo>
                    <a:lnTo>
                      <a:pt x="336" y="82"/>
                    </a:lnTo>
                    <a:lnTo>
                      <a:pt x="338" y="82"/>
                    </a:lnTo>
                    <a:lnTo>
                      <a:pt x="340" y="82"/>
                    </a:lnTo>
                    <a:lnTo>
                      <a:pt x="340" y="84"/>
                    </a:lnTo>
                    <a:lnTo>
                      <a:pt x="340" y="82"/>
                    </a:lnTo>
                    <a:lnTo>
                      <a:pt x="340" y="84"/>
                    </a:lnTo>
                    <a:lnTo>
                      <a:pt x="342" y="84"/>
                    </a:lnTo>
                    <a:lnTo>
                      <a:pt x="344" y="84"/>
                    </a:lnTo>
                    <a:lnTo>
                      <a:pt x="344" y="86"/>
                    </a:lnTo>
                    <a:lnTo>
                      <a:pt x="346" y="86"/>
                    </a:lnTo>
                    <a:lnTo>
                      <a:pt x="348" y="86"/>
                    </a:lnTo>
                    <a:lnTo>
                      <a:pt x="349" y="88"/>
                    </a:lnTo>
                    <a:lnTo>
                      <a:pt x="351" y="88"/>
                    </a:lnTo>
                    <a:lnTo>
                      <a:pt x="353" y="88"/>
                    </a:lnTo>
                    <a:lnTo>
                      <a:pt x="355" y="88"/>
                    </a:lnTo>
                    <a:lnTo>
                      <a:pt x="357" y="88"/>
                    </a:lnTo>
                    <a:lnTo>
                      <a:pt x="357" y="86"/>
                    </a:lnTo>
                    <a:lnTo>
                      <a:pt x="359" y="86"/>
                    </a:lnTo>
                    <a:lnTo>
                      <a:pt x="361" y="86"/>
                    </a:lnTo>
                    <a:lnTo>
                      <a:pt x="363" y="86"/>
                    </a:lnTo>
                    <a:lnTo>
                      <a:pt x="365" y="86"/>
                    </a:lnTo>
                    <a:lnTo>
                      <a:pt x="367" y="86"/>
                    </a:lnTo>
                    <a:lnTo>
                      <a:pt x="369" y="86"/>
                    </a:lnTo>
                    <a:lnTo>
                      <a:pt x="369" y="84"/>
                    </a:lnTo>
                    <a:lnTo>
                      <a:pt x="371" y="84"/>
                    </a:lnTo>
                    <a:lnTo>
                      <a:pt x="374" y="84"/>
                    </a:lnTo>
                    <a:lnTo>
                      <a:pt x="374" y="86"/>
                    </a:lnTo>
                    <a:lnTo>
                      <a:pt x="373" y="88"/>
                    </a:lnTo>
                    <a:lnTo>
                      <a:pt x="371" y="90"/>
                    </a:lnTo>
                    <a:lnTo>
                      <a:pt x="369" y="90"/>
                    </a:lnTo>
                    <a:lnTo>
                      <a:pt x="369" y="92"/>
                    </a:lnTo>
                    <a:lnTo>
                      <a:pt x="367" y="92"/>
                    </a:lnTo>
                    <a:lnTo>
                      <a:pt x="367" y="94"/>
                    </a:lnTo>
                    <a:lnTo>
                      <a:pt x="365" y="94"/>
                    </a:lnTo>
                    <a:lnTo>
                      <a:pt x="363" y="96"/>
                    </a:lnTo>
                    <a:lnTo>
                      <a:pt x="363" y="94"/>
                    </a:lnTo>
                    <a:lnTo>
                      <a:pt x="361" y="96"/>
                    </a:lnTo>
                    <a:lnTo>
                      <a:pt x="361" y="98"/>
                    </a:lnTo>
                    <a:lnTo>
                      <a:pt x="361" y="96"/>
                    </a:lnTo>
                    <a:lnTo>
                      <a:pt x="359" y="96"/>
                    </a:lnTo>
                    <a:lnTo>
                      <a:pt x="359" y="98"/>
                    </a:lnTo>
                    <a:lnTo>
                      <a:pt x="359" y="96"/>
                    </a:lnTo>
                    <a:lnTo>
                      <a:pt x="359" y="98"/>
                    </a:lnTo>
                    <a:lnTo>
                      <a:pt x="357" y="98"/>
                    </a:lnTo>
                    <a:lnTo>
                      <a:pt x="357" y="100"/>
                    </a:lnTo>
                    <a:lnTo>
                      <a:pt x="357" y="102"/>
                    </a:lnTo>
                    <a:lnTo>
                      <a:pt x="357" y="104"/>
                    </a:lnTo>
                    <a:lnTo>
                      <a:pt x="355" y="104"/>
                    </a:lnTo>
                    <a:lnTo>
                      <a:pt x="353" y="104"/>
                    </a:lnTo>
                    <a:lnTo>
                      <a:pt x="351" y="104"/>
                    </a:lnTo>
                    <a:lnTo>
                      <a:pt x="349" y="104"/>
                    </a:lnTo>
                    <a:lnTo>
                      <a:pt x="348" y="104"/>
                    </a:lnTo>
                    <a:lnTo>
                      <a:pt x="346" y="104"/>
                    </a:lnTo>
                    <a:lnTo>
                      <a:pt x="344" y="104"/>
                    </a:lnTo>
                    <a:lnTo>
                      <a:pt x="342" y="104"/>
                    </a:lnTo>
                    <a:lnTo>
                      <a:pt x="344" y="104"/>
                    </a:lnTo>
                    <a:lnTo>
                      <a:pt x="342" y="104"/>
                    </a:lnTo>
                    <a:lnTo>
                      <a:pt x="344" y="104"/>
                    </a:lnTo>
                    <a:lnTo>
                      <a:pt x="342" y="104"/>
                    </a:lnTo>
                    <a:lnTo>
                      <a:pt x="342" y="102"/>
                    </a:lnTo>
                    <a:lnTo>
                      <a:pt x="344" y="100"/>
                    </a:lnTo>
                    <a:lnTo>
                      <a:pt x="346" y="100"/>
                    </a:lnTo>
                    <a:lnTo>
                      <a:pt x="348" y="100"/>
                    </a:lnTo>
                    <a:lnTo>
                      <a:pt x="349" y="100"/>
                    </a:lnTo>
                    <a:lnTo>
                      <a:pt x="351" y="100"/>
                    </a:lnTo>
                    <a:lnTo>
                      <a:pt x="349" y="100"/>
                    </a:lnTo>
                    <a:lnTo>
                      <a:pt x="351" y="100"/>
                    </a:lnTo>
                    <a:lnTo>
                      <a:pt x="351" y="102"/>
                    </a:lnTo>
                    <a:lnTo>
                      <a:pt x="351" y="100"/>
                    </a:lnTo>
                    <a:lnTo>
                      <a:pt x="349" y="100"/>
                    </a:lnTo>
                    <a:lnTo>
                      <a:pt x="348" y="100"/>
                    </a:lnTo>
                    <a:lnTo>
                      <a:pt x="346" y="98"/>
                    </a:lnTo>
                    <a:lnTo>
                      <a:pt x="346" y="100"/>
                    </a:lnTo>
                    <a:lnTo>
                      <a:pt x="346" y="98"/>
                    </a:lnTo>
                    <a:lnTo>
                      <a:pt x="344" y="98"/>
                    </a:lnTo>
                    <a:lnTo>
                      <a:pt x="344" y="100"/>
                    </a:lnTo>
                    <a:lnTo>
                      <a:pt x="342" y="100"/>
                    </a:lnTo>
                    <a:lnTo>
                      <a:pt x="340" y="100"/>
                    </a:lnTo>
                    <a:lnTo>
                      <a:pt x="338" y="102"/>
                    </a:lnTo>
                    <a:lnTo>
                      <a:pt x="338" y="104"/>
                    </a:lnTo>
                    <a:lnTo>
                      <a:pt x="336" y="104"/>
                    </a:lnTo>
                    <a:lnTo>
                      <a:pt x="336" y="106"/>
                    </a:lnTo>
                    <a:lnTo>
                      <a:pt x="334" y="106"/>
                    </a:lnTo>
                    <a:lnTo>
                      <a:pt x="336" y="106"/>
                    </a:lnTo>
                    <a:lnTo>
                      <a:pt x="334" y="107"/>
                    </a:lnTo>
                    <a:lnTo>
                      <a:pt x="332" y="107"/>
                    </a:lnTo>
                    <a:lnTo>
                      <a:pt x="332" y="109"/>
                    </a:lnTo>
                    <a:lnTo>
                      <a:pt x="330" y="109"/>
                    </a:lnTo>
                    <a:lnTo>
                      <a:pt x="330" y="111"/>
                    </a:lnTo>
                    <a:lnTo>
                      <a:pt x="328" y="111"/>
                    </a:lnTo>
                    <a:lnTo>
                      <a:pt x="326" y="113"/>
                    </a:lnTo>
                    <a:lnTo>
                      <a:pt x="325" y="115"/>
                    </a:lnTo>
                    <a:lnTo>
                      <a:pt x="323" y="115"/>
                    </a:lnTo>
                    <a:lnTo>
                      <a:pt x="321" y="117"/>
                    </a:lnTo>
                    <a:lnTo>
                      <a:pt x="319" y="119"/>
                    </a:lnTo>
                    <a:lnTo>
                      <a:pt x="317" y="119"/>
                    </a:lnTo>
                    <a:lnTo>
                      <a:pt x="317" y="121"/>
                    </a:lnTo>
                    <a:lnTo>
                      <a:pt x="315" y="121"/>
                    </a:lnTo>
                    <a:lnTo>
                      <a:pt x="315" y="123"/>
                    </a:lnTo>
                    <a:lnTo>
                      <a:pt x="313" y="123"/>
                    </a:lnTo>
                    <a:lnTo>
                      <a:pt x="313" y="125"/>
                    </a:lnTo>
                    <a:lnTo>
                      <a:pt x="313" y="123"/>
                    </a:lnTo>
                    <a:lnTo>
                      <a:pt x="313" y="125"/>
                    </a:lnTo>
                    <a:lnTo>
                      <a:pt x="311" y="125"/>
                    </a:lnTo>
                    <a:lnTo>
                      <a:pt x="313" y="125"/>
                    </a:lnTo>
                    <a:lnTo>
                      <a:pt x="311" y="125"/>
                    </a:lnTo>
                    <a:lnTo>
                      <a:pt x="309" y="127"/>
                    </a:lnTo>
                    <a:lnTo>
                      <a:pt x="309" y="129"/>
                    </a:lnTo>
                    <a:lnTo>
                      <a:pt x="307" y="129"/>
                    </a:lnTo>
                    <a:lnTo>
                      <a:pt x="305" y="129"/>
                    </a:lnTo>
                    <a:lnTo>
                      <a:pt x="307" y="129"/>
                    </a:lnTo>
                    <a:lnTo>
                      <a:pt x="309" y="127"/>
                    </a:lnTo>
                    <a:lnTo>
                      <a:pt x="311" y="127"/>
                    </a:lnTo>
                    <a:lnTo>
                      <a:pt x="309" y="127"/>
                    </a:lnTo>
                    <a:lnTo>
                      <a:pt x="309" y="125"/>
                    </a:lnTo>
                    <a:lnTo>
                      <a:pt x="307" y="125"/>
                    </a:lnTo>
                    <a:lnTo>
                      <a:pt x="307" y="123"/>
                    </a:lnTo>
                    <a:lnTo>
                      <a:pt x="305" y="123"/>
                    </a:lnTo>
                    <a:lnTo>
                      <a:pt x="303" y="123"/>
                    </a:lnTo>
                    <a:lnTo>
                      <a:pt x="303" y="121"/>
                    </a:lnTo>
                    <a:lnTo>
                      <a:pt x="303" y="119"/>
                    </a:lnTo>
                    <a:lnTo>
                      <a:pt x="303" y="117"/>
                    </a:lnTo>
                    <a:lnTo>
                      <a:pt x="303" y="119"/>
                    </a:lnTo>
                    <a:lnTo>
                      <a:pt x="303" y="121"/>
                    </a:lnTo>
                    <a:lnTo>
                      <a:pt x="301" y="121"/>
                    </a:lnTo>
                    <a:lnTo>
                      <a:pt x="303" y="121"/>
                    </a:lnTo>
                    <a:lnTo>
                      <a:pt x="301" y="121"/>
                    </a:lnTo>
                    <a:lnTo>
                      <a:pt x="303" y="121"/>
                    </a:lnTo>
                    <a:lnTo>
                      <a:pt x="303" y="123"/>
                    </a:lnTo>
                    <a:lnTo>
                      <a:pt x="301" y="123"/>
                    </a:lnTo>
                    <a:lnTo>
                      <a:pt x="301" y="121"/>
                    </a:lnTo>
                    <a:lnTo>
                      <a:pt x="301" y="123"/>
                    </a:lnTo>
                    <a:lnTo>
                      <a:pt x="300" y="123"/>
                    </a:lnTo>
                    <a:lnTo>
                      <a:pt x="301" y="123"/>
                    </a:lnTo>
                    <a:lnTo>
                      <a:pt x="300" y="123"/>
                    </a:lnTo>
                    <a:lnTo>
                      <a:pt x="300" y="121"/>
                    </a:lnTo>
                    <a:lnTo>
                      <a:pt x="301" y="121"/>
                    </a:lnTo>
                    <a:lnTo>
                      <a:pt x="300" y="121"/>
                    </a:lnTo>
                    <a:lnTo>
                      <a:pt x="300" y="123"/>
                    </a:lnTo>
                    <a:lnTo>
                      <a:pt x="300" y="121"/>
                    </a:lnTo>
                    <a:lnTo>
                      <a:pt x="298" y="121"/>
                    </a:lnTo>
                    <a:lnTo>
                      <a:pt x="296" y="121"/>
                    </a:lnTo>
                    <a:lnTo>
                      <a:pt x="298" y="121"/>
                    </a:lnTo>
                    <a:lnTo>
                      <a:pt x="300" y="121"/>
                    </a:lnTo>
                    <a:lnTo>
                      <a:pt x="300" y="123"/>
                    </a:lnTo>
                    <a:lnTo>
                      <a:pt x="298" y="123"/>
                    </a:lnTo>
                    <a:lnTo>
                      <a:pt x="300" y="123"/>
                    </a:lnTo>
                    <a:lnTo>
                      <a:pt x="298" y="123"/>
                    </a:lnTo>
                    <a:lnTo>
                      <a:pt x="298" y="125"/>
                    </a:lnTo>
                    <a:lnTo>
                      <a:pt x="298" y="127"/>
                    </a:lnTo>
                    <a:lnTo>
                      <a:pt x="296" y="127"/>
                    </a:lnTo>
                    <a:lnTo>
                      <a:pt x="298" y="127"/>
                    </a:lnTo>
                    <a:lnTo>
                      <a:pt x="298" y="129"/>
                    </a:lnTo>
                    <a:lnTo>
                      <a:pt x="300" y="129"/>
                    </a:lnTo>
                    <a:lnTo>
                      <a:pt x="300" y="131"/>
                    </a:lnTo>
                    <a:lnTo>
                      <a:pt x="300" y="129"/>
                    </a:lnTo>
                    <a:lnTo>
                      <a:pt x="301" y="129"/>
                    </a:lnTo>
                    <a:lnTo>
                      <a:pt x="301" y="127"/>
                    </a:lnTo>
                    <a:lnTo>
                      <a:pt x="301" y="129"/>
                    </a:lnTo>
                    <a:lnTo>
                      <a:pt x="301" y="127"/>
                    </a:lnTo>
                    <a:lnTo>
                      <a:pt x="301" y="129"/>
                    </a:lnTo>
                    <a:lnTo>
                      <a:pt x="300" y="131"/>
                    </a:lnTo>
                    <a:lnTo>
                      <a:pt x="300" y="132"/>
                    </a:lnTo>
                    <a:lnTo>
                      <a:pt x="300" y="134"/>
                    </a:lnTo>
                    <a:lnTo>
                      <a:pt x="300" y="136"/>
                    </a:lnTo>
                    <a:lnTo>
                      <a:pt x="300" y="138"/>
                    </a:lnTo>
                    <a:lnTo>
                      <a:pt x="300" y="140"/>
                    </a:lnTo>
                    <a:lnTo>
                      <a:pt x="298" y="140"/>
                    </a:lnTo>
                    <a:lnTo>
                      <a:pt x="298" y="142"/>
                    </a:lnTo>
                    <a:lnTo>
                      <a:pt x="296" y="142"/>
                    </a:lnTo>
                    <a:lnTo>
                      <a:pt x="296" y="144"/>
                    </a:lnTo>
                    <a:lnTo>
                      <a:pt x="294" y="144"/>
                    </a:lnTo>
                    <a:lnTo>
                      <a:pt x="292" y="144"/>
                    </a:lnTo>
                    <a:lnTo>
                      <a:pt x="290" y="144"/>
                    </a:lnTo>
                    <a:lnTo>
                      <a:pt x="288" y="144"/>
                    </a:lnTo>
                    <a:lnTo>
                      <a:pt x="286" y="144"/>
                    </a:lnTo>
                    <a:lnTo>
                      <a:pt x="286" y="142"/>
                    </a:lnTo>
                    <a:lnTo>
                      <a:pt x="286" y="144"/>
                    </a:lnTo>
                    <a:lnTo>
                      <a:pt x="284" y="144"/>
                    </a:lnTo>
                    <a:lnTo>
                      <a:pt x="282" y="144"/>
                    </a:lnTo>
                    <a:lnTo>
                      <a:pt x="280" y="144"/>
                    </a:lnTo>
                    <a:lnTo>
                      <a:pt x="278" y="146"/>
                    </a:lnTo>
                    <a:lnTo>
                      <a:pt x="278" y="144"/>
                    </a:lnTo>
                    <a:lnTo>
                      <a:pt x="278" y="146"/>
                    </a:lnTo>
                    <a:lnTo>
                      <a:pt x="276" y="146"/>
                    </a:lnTo>
                    <a:lnTo>
                      <a:pt x="275" y="146"/>
                    </a:lnTo>
                    <a:lnTo>
                      <a:pt x="273" y="146"/>
                    </a:lnTo>
                    <a:lnTo>
                      <a:pt x="271" y="144"/>
                    </a:lnTo>
                    <a:lnTo>
                      <a:pt x="269" y="144"/>
                    </a:lnTo>
                    <a:lnTo>
                      <a:pt x="269" y="142"/>
                    </a:lnTo>
                    <a:lnTo>
                      <a:pt x="267" y="142"/>
                    </a:lnTo>
                    <a:lnTo>
                      <a:pt x="265" y="140"/>
                    </a:lnTo>
                    <a:lnTo>
                      <a:pt x="267" y="140"/>
                    </a:lnTo>
                    <a:lnTo>
                      <a:pt x="265" y="140"/>
                    </a:lnTo>
                    <a:lnTo>
                      <a:pt x="263" y="140"/>
                    </a:lnTo>
                    <a:lnTo>
                      <a:pt x="261" y="140"/>
                    </a:lnTo>
                    <a:lnTo>
                      <a:pt x="261" y="138"/>
                    </a:lnTo>
                    <a:lnTo>
                      <a:pt x="259" y="138"/>
                    </a:lnTo>
                    <a:lnTo>
                      <a:pt x="261" y="138"/>
                    </a:lnTo>
                    <a:lnTo>
                      <a:pt x="259" y="138"/>
                    </a:lnTo>
                    <a:lnTo>
                      <a:pt x="259" y="140"/>
                    </a:lnTo>
                    <a:lnTo>
                      <a:pt x="261" y="140"/>
                    </a:lnTo>
                    <a:lnTo>
                      <a:pt x="259" y="140"/>
                    </a:lnTo>
                    <a:lnTo>
                      <a:pt x="257" y="140"/>
                    </a:lnTo>
                    <a:lnTo>
                      <a:pt x="255" y="140"/>
                    </a:lnTo>
                    <a:lnTo>
                      <a:pt x="253" y="140"/>
                    </a:lnTo>
                    <a:lnTo>
                      <a:pt x="251" y="138"/>
                    </a:lnTo>
                    <a:lnTo>
                      <a:pt x="250" y="138"/>
                    </a:lnTo>
                    <a:lnTo>
                      <a:pt x="248" y="138"/>
                    </a:lnTo>
                    <a:lnTo>
                      <a:pt x="246" y="136"/>
                    </a:lnTo>
                    <a:lnTo>
                      <a:pt x="244" y="136"/>
                    </a:lnTo>
                    <a:lnTo>
                      <a:pt x="242" y="134"/>
                    </a:lnTo>
                    <a:lnTo>
                      <a:pt x="244" y="134"/>
                    </a:lnTo>
                    <a:lnTo>
                      <a:pt x="246" y="134"/>
                    </a:lnTo>
                    <a:lnTo>
                      <a:pt x="246" y="132"/>
                    </a:lnTo>
                    <a:lnTo>
                      <a:pt x="248" y="132"/>
                    </a:lnTo>
                    <a:lnTo>
                      <a:pt x="246" y="132"/>
                    </a:lnTo>
                    <a:lnTo>
                      <a:pt x="246" y="134"/>
                    </a:lnTo>
                    <a:lnTo>
                      <a:pt x="244" y="134"/>
                    </a:lnTo>
                    <a:lnTo>
                      <a:pt x="242" y="134"/>
                    </a:lnTo>
                    <a:lnTo>
                      <a:pt x="240" y="132"/>
                    </a:lnTo>
                    <a:lnTo>
                      <a:pt x="238" y="131"/>
                    </a:lnTo>
                    <a:lnTo>
                      <a:pt x="240" y="131"/>
                    </a:lnTo>
                    <a:lnTo>
                      <a:pt x="240" y="129"/>
                    </a:lnTo>
                    <a:lnTo>
                      <a:pt x="242" y="129"/>
                    </a:lnTo>
                    <a:lnTo>
                      <a:pt x="244" y="127"/>
                    </a:lnTo>
                    <a:lnTo>
                      <a:pt x="242" y="127"/>
                    </a:lnTo>
                    <a:lnTo>
                      <a:pt x="242" y="129"/>
                    </a:lnTo>
                    <a:lnTo>
                      <a:pt x="244" y="129"/>
                    </a:lnTo>
                    <a:lnTo>
                      <a:pt x="246" y="129"/>
                    </a:lnTo>
                    <a:lnTo>
                      <a:pt x="248" y="129"/>
                    </a:lnTo>
                    <a:lnTo>
                      <a:pt x="248" y="127"/>
                    </a:lnTo>
                    <a:lnTo>
                      <a:pt x="250" y="127"/>
                    </a:lnTo>
                    <a:lnTo>
                      <a:pt x="250" y="125"/>
                    </a:lnTo>
                    <a:lnTo>
                      <a:pt x="248" y="125"/>
                    </a:lnTo>
                    <a:lnTo>
                      <a:pt x="246" y="125"/>
                    </a:lnTo>
                    <a:lnTo>
                      <a:pt x="244" y="125"/>
                    </a:lnTo>
                    <a:lnTo>
                      <a:pt x="244" y="127"/>
                    </a:lnTo>
                    <a:lnTo>
                      <a:pt x="244" y="125"/>
                    </a:lnTo>
                    <a:lnTo>
                      <a:pt x="242" y="125"/>
                    </a:lnTo>
                    <a:lnTo>
                      <a:pt x="244" y="123"/>
                    </a:lnTo>
                    <a:lnTo>
                      <a:pt x="244" y="121"/>
                    </a:lnTo>
                    <a:lnTo>
                      <a:pt x="242" y="121"/>
                    </a:lnTo>
                    <a:lnTo>
                      <a:pt x="240" y="121"/>
                    </a:lnTo>
                    <a:lnTo>
                      <a:pt x="238" y="121"/>
                    </a:lnTo>
                    <a:lnTo>
                      <a:pt x="236" y="119"/>
                    </a:lnTo>
                    <a:lnTo>
                      <a:pt x="234" y="119"/>
                    </a:lnTo>
                    <a:lnTo>
                      <a:pt x="236" y="119"/>
                    </a:lnTo>
                    <a:lnTo>
                      <a:pt x="238" y="115"/>
                    </a:lnTo>
                    <a:lnTo>
                      <a:pt x="238" y="113"/>
                    </a:lnTo>
                    <a:lnTo>
                      <a:pt x="236" y="113"/>
                    </a:lnTo>
                    <a:lnTo>
                      <a:pt x="236" y="111"/>
                    </a:lnTo>
                    <a:lnTo>
                      <a:pt x="236" y="109"/>
                    </a:lnTo>
                    <a:lnTo>
                      <a:pt x="238" y="107"/>
                    </a:lnTo>
                    <a:lnTo>
                      <a:pt x="240" y="107"/>
                    </a:lnTo>
                    <a:lnTo>
                      <a:pt x="240" y="109"/>
                    </a:lnTo>
                    <a:lnTo>
                      <a:pt x="240" y="107"/>
                    </a:lnTo>
                    <a:lnTo>
                      <a:pt x="242" y="107"/>
                    </a:lnTo>
                    <a:lnTo>
                      <a:pt x="244" y="107"/>
                    </a:lnTo>
                    <a:lnTo>
                      <a:pt x="244" y="106"/>
                    </a:lnTo>
                    <a:lnTo>
                      <a:pt x="244" y="107"/>
                    </a:lnTo>
                    <a:lnTo>
                      <a:pt x="246" y="106"/>
                    </a:lnTo>
                    <a:lnTo>
                      <a:pt x="248" y="107"/>
                    </a:lnTo>
                    <a:lnTo>
                      <a:pt x="248" y="106"/>
                    </a:lnTo>
                    <a:lnTo>
                      <a:pt x="246" y="106"/>
                    </a:lnTo>
                    <a:lnTo>
                      <a:pt x="244" y="106"/>
                    </a:lnTo>
                    <a:lnTo>
                      <a:pt x="242" y="106"/>
                    </a:lnTo>
                    <a:lnTo>
                      <a:pt x="242" y="104"/>
                    </a:lnTo>
                    <a:lnTo>
                      <a:pt x="240" y="104"/>
                    </a:lnTo>
                    <a:lnTo>
                      <a:pt x="238" y="104"/>
                    </a:lnTo>
                    <a:lnTo>
                      <a:pt x="238" y="102"/>
                    </a:lnTo>
                    <a:lnTo>
                      <a:pt x="238" y="100"/>
                    </a:lnTo>
                    <a:lnTo>
                      <a:pt x="238" y="98"/>
                    </a:lnTo>
                    <a:lnTo>
                      <a:pt x="240" y="96"/>
                    </a:lnTo>
                    <a:lnTo>
                      <a:pt x="242" y="94"/>
                    </a:lnTo>
                    <a:lnTo>
                      <a:pt x="244" y="94"/>
                    </a:lnTo>
                    <a:lnTo>
                      <a:pt x="246" y="92"/>
                    </a:lnTo>
                    <a:lnTo>
                      <a:pt x="248" y="92"/>
                    </a:lnTo>
                    <a:lnTo>
                      <a:pt x="248" y="90"/>
                    </a:lnTo>
                    <a:lnTo>
                      <a:pt x="248" y="88"/>
                    </a:lnTo>
                    <a:lnTo>
                      <a:pt x="246" y="90"/>
                    </a:lnTo>
                    <a:lnTo>
                      <a:pt x="248" y="90"/>
                    </a:lnTo>
                    <a:lnTo>
                      <a:pt x="246" y="90"/>
                    </a:lnTo>
                    <a:lnTo>
                      <a:pt x="246" y="92"/>
                    </a:lnTo>
                    <a:lnTo>
                      <a:pt x="246" y="90"/>
                    </a:lnTo>
                    <a:lnTo>
                      <a:pt x="248" y="90"/>
                    </a:lnTo>
                    <a:lnTo>
                      <a:pt x="248" y="88"/>
                    </a:lnTo>
                    <a:lnTo>
                      <a:pt x="248" y="86"/>
                    </a:lnTo>
                    <a:lnTo>
                      <a:pt x="248" y="84"/>
                    </a:lnTo>
                    <a:lnTo>
                      <a:pt x="250" y="84"/>
                    </a:lnTo>
                    <a:lnTo>
                      <a:pt x="250" y="82"/>
                    </a:lnTo>
                    <a:lnTo>
                      <a:pt x="251" y="82"/>
                    </a:lnTo>
                    <a:lnTo>
                      <a:pt x="250" y="82"/>
                    </a:lnTo>
                    <a:lnTo>
                      <a:pt x="250" y="84"/>
                    </a:lnTo>
                    <a:lnTo>
                      <a:pt x="251" y="84"/>
                    </a:lnTo>
                    <a:lnTo>
                      <a:pt x="251" y="86"/>
                    </a:lnTo>
                    <a:lnTo>
                      <a:pt x="253" y="86"/>
                    </a:lnTo>
                    <a:lnTo>
                      <a:pt x="251" y="86"/>
                    </a:lnTo>
                    <a:lnTo>
                      <a:pt x="253" y="86"/>
                    </a:lnTo>
                    <a:lnTo>
                      <a:pt x="255" y="86"/>
                    </a:lnTo>
                    <a:lnTo>
                      <a:pt x="255" y="88"/>
                    </a:lnTo>
                    <a:lnTo>
                      <a:pt x="255" y="86"/>
                    </a:lnTo>
                    <a:lnTo>
                      <a:pt x="253" y="86"/>
                    </a:lnTo>
                    <a:lnTo>
                      <a:pt x="253" y="84"/>
                    </a:lnTo>
                    <a:lnTo>
                      <a:pt x="251" y="84"/>
                    </a:lnTo>
                    <a:lnTo>
                      <a:pt x="253" y="84"/>
                    </a:lnTo>
                    <a:lnTo>
                      <a:pt x="251" y="84"/>
                    </a:lnTo>
                    <a:lnTo>
                      <a:pt x="251" y="82"/>
                    </a:lnTo>
                    <a:lnTo>
                      <a:pt x="251" y="81"/>
                    </a:lnTo>
                    <a:lnTo>
                      <a:pt x="253" y="81"/>
                    </a:lnTo>
                    <a:lnTo>
                      <a:pt x="253" y="79"/>
                    </a:lnTo>
                    <a:lnTo>
                      <a:pt x="255" y="79"/>
                    </a:lnTo>
                    <a:lnTo>
                      <a:pt x="257" y="77"/>
                    </a:lnTo>
                    <a:lnTo>
                      <a:pt x="259" y="75"/>
                    </a:lnTo>
                    <a:lnTo>
                      <a:pt x="261" y="75"/>
                    </a:lnTo>
                    <a:lnTo>
                      <a:pt x="263" y="75"/>
                    </a:lnTo>
                    <a:lnTo>
                      <a:pt x="261" y="75"/>
                    </a:lnTo>
                    <a:lnTo>
                      <a:pt x="261" y="77"/>
                    </a:lnTo>
                    <a:lnTo>
                      <a:pt x="263" y="77"/>
                    </a:lnTo>
                    <a:lnTo>
                      <a:pt x="263" y="79"/>
                    </a:lnTo>
                    <a:lnTo>
                      <a:pt x="263" y="77"/>
                    </a:lnTo>
                    <a:lnTo>
                      <a:pt x="263" y="79"/>
                    </a:lnTo>
                    <a:lnTo>
                      <a:pt x="265" y="79"/>
                    </a:lnTo>
                    <a:lnTo>
                      <a:pt x="267" y="79"/>
                    </a:lnTo>
                    <a:lnTo>
                      <a:pt x="269" y="79"/>
                    </a:lnTo>
                    <a:lnTo>
                      <a:pt x="271" y="79"/>
                    </a:lnTo>
                    <a:lnTo>
                      <a:pt x="273" y="79"/>
                    </a:lnTo>
                    <a:lnTo>
                      <a:pt x="275" y="79"/>
                    </a:lnTo>
                    <a:lnTo>
                      <a:pt x="276" y="79"/>
                    </a:lnTo>
                    <a:lnTo>
                      <a:pt x="280" y="79"/>
                    </a:lnTo>
                    <a:lnTo>
                      <a:pt x="280" y="77"/>
                    </a:lnTo>
                    <a:lnTo>
                      <a:pt x="282" y="77"/>
                    </a:lnTo>
                    <a:lnTo>
                      <a:pt x="280" y="77"/>
                    </a:lnTo>
                    <a:lnTo>
                      <a:pt x="280" y="79"/>
                    </a:lnTo>
                    <a:lnTo>
                      <a:pt x="280" y="77"/>
                    </a:lnTo>
                    <a:lnTo>
                      <a:pt x="280" y="79"/>
                    </a:lnTo>
                    <a:lnTo>
                      <a:pt x="282" y="79"/>
                    </a:lnTo>
                    <a:lnTo>
                      <a:pt x="282" y="77"/>
                    </a:lnTo>
                    <a:lnTo>
                      <a:pt x="282" y="79"/>
                    </a:lnTo>
                    <a:lnTo>
                      <a:pt x="284" y="79"/>
                    </a:lnTo>
                    <a:lnTo>
                      <a:pt x="282" y="79"/>
                    </a:lnTo>
                    <a:lnTo>
                      <a:pt x="282" y="81"/>
                    </a:lnTo>
                    <a:lnTo>
                      <a:pt x="282" y="82"/>
                    </a:lnTo>
                    <a:lnTo>
                      <a:pt x="284" y="81"/>
                    </a:lnTo>
                    <a:lnTo>
                      <a:pt x="284" y="82"/>
                    </a:lnTo>
                    <a:lnTo>
                      <a:pt x="286" y="8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5" name="Freeform 105"/>
              <p:cNvSpPr>
                <a:spLocks noEditPoints="1"/>
              </p:cNvSpPr>
              <p:nvPr/>
            </p:nvSpPr>
            <p:spPr bwMode="auto">
              <a:xfrm>
                <a:off x="4567542" y="706100"/>
                <a:ext cx="1987323" cy="720943"/>
              </a:xfrm>
              <a:custGeom>
                <a:avLst/>
                <a:gdLst>
                  <a:gd name="T0" fmla="*/ 1155 w 1155"/>
                  <a:gd name="T1" fmla="*/ 209 h 419"/>
                  <a:gd name="T2" fmla="*/ 1122 w 1155"/>
                  <a:gd name="T3" fmla="*/ 229 h 419"/>
                  <a:gd name="T4" fmla="*/ 1132 w 1155"/>
                  <a:gd name="T5" fmla="*/ 219 h 419"/>
                  <a:gd name="T6" fmla="*/ 1145 w 1155"/>
                  <a:gd name="T7" fmla="*/ 184 h 419"/>
                  <a:gd name="T8" fmla="*/ 1132 w 1155"/>
                  <a:gd name="T9" fmla="*/ 169 h 419"/>
                  <a:gd name="T10" fmla="*/ 613 w 1155"/>
                  <a:gd name="T11" fmla="*/ 327 h 419"/>
                  <a:gd name="T12" fmla="*/ 607 w 1155"/>
                  <a:gd name="T13" fmla="*/ 340 h 419"/>
                  <a:gd name="T14" fmla="*/ 605 w 1155"/>
                  <a:gd name="T15" fmla="*/ 330 h 419"/>
                  <a:gd name="T16" fmla="*/ 344 w 1155"/>
                  <a:gd name="T17" fmla="*/ 407 h 419"/>
                  <a:gd name="T18" fmla="*/ 348 w 1155"/>
                  <a:gd name="T19" fmla="*/ 413 h 419"/>
                  <a:gd name="T20" fmla="*/ 337 w 1155"/>
                  <a:gd name="T21" fmla="*/ 415 h 419"/>
                  <a:gd name="T22" fmla="*/ 406 w 1155"/>
                  <a:gd name="T23" fmla="*/ 386 h 419"/>
                  <a:gd name="T24" fmla="*/ 406 w 1155"/>
                  <a:gd name="T25" fmla="*/ 392 h 419"/>
                  <a:gd name="T26" fmla="*/ 394 w 1155"/>
                  <a:gd name="T27" fmla="*/ 392 h 419"/>
                  <a:gd name="T28" fmla="*/ 396 w 1155"/>
                  <a:gd name="T29" fmla="*/ 388 h 419"/>
                  <a:gd name="T30" fmla="*/ 385 w 1155"/>
                  <a:gd name="T31" fmla="*/ 382 h 419"/>
                  <a:gd name="T32" fmla="*/ 400 w 1155"/>
                  <a:gd name="T33" fmla="*/ 380 h 419"/>
                  <a:gd name="T34" fmla="*/ 377 w 1155"/>
                  <a:gd name="T35" fmla="*/ 390 h 419"/>
                  <a:gd name="T36" fmla="*/ 327 w 1155"/>
                  <a:gd name="T37" fmla="*/ 400 h 419"/>
                  <a:gd name="T38" fmla="*/ 325 w 1155"/>
                  <a:gd name="T39" fmla="*/ 409 h 419"/>
                  <a:gd name="T40" fmla="*/ 325 w 1155"/>
                  <a:gd name="T41" fmla="*/ 402 h 419"/>
                  <a:gd name="T42" fmla="*/ 344 w 1155"/>
                  <a:gd name="T43" fmla="*/ 392 h 419"/>
                  <a:gd name="T44" fmla="*/ 340 w 1155"/>
                  <a:gd name="T45" fmla="*/ 396 h 419"/>
                  <a:gd name="T46" fmla="*/ 337 w 1155"/>
                  <a:gd name="T47" fmla="*/ 386 h 419"/>
                  <a:gd name="T48" fmla="*/ 335 w 1155"/>
                  <a:gd name="T49" fmla="*/ 384 h 419"/>
                  <a:gd name="T50" fmla="*/ 385 w 1155"/>
                  <a:gd name="T51" fmla="*/ 352 h 419"/>
                  <a:gd name="T52" fmla="*/ 383 w 1155"/>
                  <a:gd name="T53" fmla="*/ 357 h 419"/>
                  <a:gd name="T54" fmla="*/ 386 w 1155"/>
                  <a:gd name="T55" fmla="*/ 359 h 419"/>
                  <a:gd name="T56" fmla="*/ 390 w 1155"/>
                  <a:gd name="T57" fmla="*/ 361 h 419"/>
                  <a:gd name="T58" fmla="*/ 377 w 1155"/>
                  <a:gd name="T59" fmla="*/ 367 h 419"/>
                  <a:gd name="T60" fmla="*/ 369 w 1155"/>
                  <a:gd name="T61" fmla="*/ 371 h 419"/>
                  <a:gd name="T62" fmla="*/ 373 w 1155"/>
                  <a:gd name="T63" fmla="*/ 359 h 419"/>
                  <a:gd name="T64" fmla="*/ 273 w 1155"/>
                  <a:gd name="T65" fmla="*/ 398 h 419"/>
                  <a:gd name="T66" fmla="*/ 248 w 1155"/>
                  <a:gd name="T67" fmla="*/ 396 h 419"/>
                  <a:gd name="T68" fmla="*/ 267 w 1155"/>
                  <a:gd name="T69" fmla="*/ 392 h 419"/>
                  <a:gd name="T70" fmla="*/ 338 w 1155"/>
                  <a:gd name="T71" fmla="*/ 353 h 419"/>
                  <a:gd name="T72" fmla="*/ 337 w 1155"/>
                  <a:gd name="T73" fmla="*/ 361 h 419"/>
                  <a:gd name="T74" fmla="*/ 344 w 1155"/>
                  <a:gd name="T75" fmla="*/ 363 h 419"/>
                  <a:gd name="T76" fmla="*/ 342 w 1155"/>
                  <a:gd name="T77" fmla="*/ 359 h 419"/>
                  <a:gd name="T78" fmla="*/ 346 w 1155"/>
                  <a:gd name="T79" fmla="*/ 353 h 419"/>
                  <a:gd name="T80" fmla="*/ 354 w 1155"/>
                  <a:gd name="T81" fmla="*/ 348 h 419"/>
                  <a:gd name="T82" fmla="*/ 354 w 1155"/>
                  <a:gd name="T83" fmla="*/ 348 h 419"/>
                  <a:gd name="T84" fmla="*/ 358 w 1155"/>
                  <a:gd name="T85" fmla="*/ 350 h 419"/>
                  <a:gd name="T86" fmla="*/ 356 w 1155"/>
                  <a:gd name="T87" fmla="*/ 359 h 419"/>
                  <a:gd name="T88" fmla="*/ 356 w 1155"/>
                  <a:gd name="T89" fmla="*/ 361 h 419"/>
                  <a:gd name="T90" fmla="*/ 369 w 1155"/>
                  <a:gd name="T91" fmla="*/ 346 h 419"/>
                  <a:gd name="T92" fmla="*/ 367 w 1155"/>
                  <a:gd name="T93" fmla="*/ 357 h 419"/>
                  <a:gd name="T94" fmla="*/ 373 w 1155"/>
                  <a:gd name="T95" fmla="*/ 355 h 419"/>
                  <a:gd name="T96" fmla="*/ 363 w 1155"/>
                  <a:gd name="T97" fmla="*/ 361 h 419"/>
                  <a:gd name="T98" fmla="*/ 348 w 1155"/>
                  <a:gd name="T99" fmla="*/ 378 h 419"/>
                  <a:gd name="T100" fmla="*/ 348 w 1155"/>
                  <a:gd name="T101" fmla="*/ 386 h 419"/>
                  <a:gd name="T102" fmla="*/ 338 w 1155"/>
                  <a:gd name="T103" fmla="*/ 388 h 419"/>
                  <a:gd name="T104" fmla="*/ 342 w 1155"/>
                  <a:gd name="T105" fmla="*/ 369 h 419"/>
                  <a:gd name="T106" fmla="*/ 348 w 1155"/>
                  <a:gd name="T107" fmla="*/ 359 h 419"/>
                  <a:gd name="T108" fmla="*/ 494 w 1155"/>
                  <a:gd name="T109" fmla="*/ 246 h 419"/>
                  <a:gd name="T110" fmla="*/ 602 w 1155"/>
                  <a:gd name="T111" fmla="*/ 204 h 419"/>
                  <a:gd name="T112" fmla="*/ 590 w 1155"/>
                  <a:gd name="T113" fmla="*/ 192 h 419"/>
                  <a:gd name="T114" fmla="*/ 39 w 1155"/>
                  <a:gd name="T115" fmla="*/ 369 h 419"/>
                  <a:gd name="T116" fmla="*/ 31 w 1155"/>
                  <a:gd name="T117" fmla="*/ 390 h 419"/>
                  <a:gd name="T118" fmla="*/ 10 w 1155"/>
                  <a:gd name="T119" fmla="*/ 378 h 419"/>
                  <a:gd name="T120" fmla="*/ 473 w 1155"/>
                  <a:gd name="T121" fmla="*/ 180 h 419"/>
                  <a:gd name="T122" fmla="*/ 463 w 1155"/>
                  <a:gd name="T123" fmla="*/ 173 h 419"/>
                  <a:gd name="T124" fmla="*/ 688 w 1155"/>
                  <a:gd name="T125" fmla="*/ 0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5" h="419">
                    <a:moveTo>
                      <a:pt x="1134" y="217"/>
                    </a:moveTo>
                    <a:lnTo>
                      <a:pt x="1136" y="215"/>
                    </a:lnTo>
                    <a:lnTo>
                      <a:pt x="1134" y="215"/>
                    </a:lnTo>
                    <a:lnTo>
                      <a:pt x="1136" y="215"/>
                    </a:lnTo>
                    <a:lnTo>
                      <a:pt x="1136" y="213"/>
                    </a:lnTo>
                    <a:lnTo>
                      <a:pt x="1136" y="215"/>
                    </a:lnTo>
                    <a:lnTo>
                      <a:pt x="1138" y="215"/>
                    </a:lnTo>
                    <a:lnTo>
                      <a:pt x="1140" y="213"/>
                    </a:lnTo>
                    <a:lnTo>
                      <a:pt x="1140" y="211"/>
                    </a:lnTo>
                    <a:lnTo>
                      <a:pt x="1141" y="211"/>
                    </a:lnTo>
                    <a:lnTo>
                      <a:pt x="1141" y="213"/>
                    </a:lnTo>
                    <a:lnTo>
                      <a:pt x="1141" y="211"/>
                    </a:lnTo>
                    <a:lnTo>
                      <a:pt x="1143" y="211"/>
                    </a:lnTo>
                    <a:lnTo>
                      <a:pt x="1145" y="211"/>
                    </a:lnTo>
                    <a:lnTo>
                      <a:pt x="1145" y="209"/>
                    </a:lnTo>
                    <a:lnTo>
                      <a:pt x="1147" y="209"/>
                    </a:lnTo>
                    <a:lnTo>
                      <a:pt x="1147" y="207"/>
                    </a:lnTo>
                    <a:lnTo>
                      <a:pt x="1149" y="207"/>
                    </a:lnTo>
                    <a:lnTo>
                      <a:pt x="1149" y="205"/>
                    </a:lnTo>
                    <a:lnTo>
                      <a:pt x="1149" y="204"/>
                    </a:lnTo>
                    <a:lnTo>
                      <a:pt x="1147" y="204"/>
                    </a:lnTo>
                    <a:lnTo>
                      <a:pt x="1149" y="204"/>
                    </a:lnTo>
                    <a:lnTo>
                      <a:pt x="1151" y="204"/>
                    </a:lnTo>
                    <a:lnTo>
                      <a:pt x="1153" y="202"/>
                    </a:lnTo>
                    <a:lnTo>
                      <a:pt x="1153" y="204"/>
                    </a:lnTo>
                    <a:lnTo>
                      <a:pt x="1153" y="205"/>
                    </a:lnTo>
                    <a:lnTo>
                      <a:pt x="1155" y="207"/>
                    </a:lnTo>
                    <a:lnTo>
                      <a:pt x="1155" y="209"/>
                    </a:lnTo>
                    <a:lnTo>
                      <a:pt x="1153" y="209"/>
                    </a:lnTo>
                    <a:lnTo>
                      <a:pt x="1153" y="211"/>
                    </a:lnTo>
                    <a:lnTo>
                      <a:pt x="1151" y="213"/>
                    </a:lnTo>
                    <a:lnTo>
                      <a:pt x="1149" y="213"/>
                    </a:lnTo>
                    <a:lnTo>
                      <a:pt x="1145" y="215"/>
                    </a:lnTo>
                    <a:lnTo>
                      <a:pt x="1145" y="217"/>
                    </a:lnTo>
                    <a:lnTo>
                      <a:pt x="1145" y="219"/>
                    </a:lnTo>
                    <a:lnTo>
                      <a:pt x="1145" y="221"/>
                    </a:lnTo>
                    <a:lnTo>
                      <a:pt x="1143" y="221"/>
                    </a:lnTo>
                    <a:lnTo>
                      <a:pt x="1141" y="221"/>
                    </a:lnTo>
                    <a:lnTo>
                      <a:pt x="1140" y="221"/>
                    </a:lnTo>
                    <a:lnTo>
                      <a:pt x="1138" y="223"/>
                    </a:lnTo>
                    <a:lnTo>
                      <a:pt x="1136" y="223"/>
                    </a:lnTo>
                    <a:lnTo>
                      <a:pt x="1134" y="223"/>
                    </a:lnTo>
                    <a:lnTo>
                      <a:pt x="1136" y="223"/>
                    </a:lnTo>
                    <a:lnTo>
                      <a:pt x="1138" y="223"/>
                    </a:lnTo>
                    <a:lnTo>
                      <a:pt x="1136" y="223"/>
                    </a:lnTo>
                    <a:lnTo>
                      <a:pt x="1134" y="225"/>
                    </a:lnTo>
                    <a:lnTo>
                      <a:pt x="1132" y="225"/>
                    </a:lnTo>
                    <a:lnTo>
                      <a:pt x="1134" y="225"/>
                    </a:lnTo>
                    <a:lnTo>
                      <a:pt x="1132" y="225"/>
                    </a:lnTo>
                    <a:lnTo>
                      <a:pt x="1132" y="227"/>
                    </a:lnTo>
                    <a:lnTo>
                      <a:pt x="1130" y="227"/>
                    </a:lnTo>
                    <a:lnTo>
                      <a:pt x="1128" y="227"/>
                    </a:lnTo>
                    <a:lnTo>
                      <a:pt x="1126" y="227"/>
                    </a:lnTo>
                    <a:lnTo>
                      <a:pt x="1126" y="229"/>
                    </a:lnTo>
                    <a:lnTo>
                      <a:pt x="1124" y="229"/>
                    </a:lnTo>
                    <a:lnTo>
                      <a:pt x="1122" y="229"/>
                    </a:lnTo>
                    <a:lnTo>
                      <a:pt x="1122" y="230"/>
                    </a:lnTo>
                    <a:lnTo>
                      <a:pt x="1120" y="230"/>
                    </a:lnTo>
                    <a:lnTo>
                      <a:pt x="1120" y="229"/>
                    </a:lnTo>
                    <a:lnTo>
                      <a:pt x="1120" y="230"/>
                    </a:lnTo>
                    <a:lnTo>
                      <a:pt x="1118" y="230"/>
                    </a:lnTo>
                    <a:lnTo>
                      <a:pt x="1117" y="230"/>
                    </a:lnTo>
                    <a:lnTo>
                      <a:pt x="1117" y="229"/>
                    </a:lnTo>
                    <a:lnTo>
                      <a:pt x="1118" y="229"/>
                    </a:lnTo>
                    <a:lnTo>
                      <a:pt x="1120" y="229"/>
                    </a:lnTo>
                    <a:lnTo>
                      <a:pt x="1120" y="227"/>
                    </a:lnTo>
                    <a:lnTo>
                      <a:pt x="1120" y="229"/>
                    </a:lnTo>
                    <a:lnTo>
                      <a:pt x="1122" y="229"/>
                    </a:lnTo>
                    <a:lnTo>
                      <a:pt x="1124" y="229"/>
                    </a:lnTo>
                    <a:lnTo>
                      <a:pt x="1124" y="227"/>
                    </a:lnTo>
                    <a:lnTo>
                      <a:pt x="1126" y="227"/>
                    </a:lnTo>
                    <a:lnTo>
                      <a:pt x="1126" y="225"/>
                    </a:lnTo>
                    <a:lnTo>
                      <a:pt x="1126" y="223"/>
                    </a:lnTo>
                    <a:lnTo>
                      <a:pt x="1126" y="225"/>
                    </a:lnTo>
                    <a:lnTo>
                      <a:pt x="1128" y="225"/>
                    </a:lnTo>
                    <a:lnTo>
                      <a:pt x="1128" y="223"/>
                    </a:lnTo>
                    <a:lnTo>
                      <a:pt x="1130" y="223"/>
                    </a:lnTo>
                    <a:lnTo>
                      <a:pt x="1130" y="221"/>
                    </a:lnTo>
                    <a:lnTo>
                      <a:pt x="1128" y="221"/>
                    </a:lnTo>
                    <a:lnTo>
                      <a:pt x="1130" y="221"/>
                    </a:lnTo>
                    <a:lnTo>
                      <a:pt x="1132" y="221"/>
                    </a:lnTo>
                    <a:lnTo>
                      <a:pt x="1132" y="219"/>
                    </a:lnTo>
                    <a:lnTo>
                      <a:pt x="1130" y="219"/>
                    </a:lnTo>
                    <a:lnTo>
                      <a:pt x="1132" y="219"/>
                    </a:lnTo>
                    <a:lnTo>
                      <a:pt x="1134" y="217"/>
                    </a:lnTo>
                    <a:lnTo>
                      <a:pt x="1132" y="215"/>
                    </a:lnTo>
                    <a:lnTo>
                      <a:pt x="1134" y="215"/>
                    </a:lnTo>
                    <a:lnTo>
                      <a:pt x="1134" y="217"/>
                    </a:lnTo>
                    <a:close/>
                    <a:moveTo>
                      <a:pt x="1128" y="173"/>
                    </a:moveTo>
                    <a:lnTo>
                      <a:pt x="1130" y="173"/>
                    </a:lnTo>
                    <a:lnTo>
                      <a:pt x="1130" y="175"/>
                    </a:lnTo>
                    <a:lnTo>
                      <a:pt x="1132" y="175"/>
                    </a:lnTo>
                    <a:lnTo>
                      <a:pt x="1134" y="175"/>
                    </a:lnTo>
                    <a:lnTo>
                      <a:pt x="1136" y="175"/>
                    </a:lnTo>
                    <a:lnTo>
                      <a:pt x="1138" y="175"/>
                    </a:lnTo>
                    <a:lnTo>
                      <a:pt x="1138" y="177"/>
                    </a:lnTo>
                    <a:lnTo>
                      <a:pt x="1140" y="177"/>
                    </a:lnTo>
                    <a:lnTo>
                      <a:pt x="1140" y="179"/>
                    </a:lnTo>
                    <a:lnTo>
                      <a:pt x="1141" y="180"/>
                    </a:lnTo>
                    <a:lnTo>
                      <a:pt x="1143" y="180"/>
                    </a:lnTo>
                    <a:lnTo>
                      <a:pt x="1141" y="180"/>
                    </a:lnTo>
                    <a:lnTo>
                      <a:pt x="1143" y="180"/>
                    </a:lnTo>
                    <a:lnTo>
                      <a:pt x="1145" y="182"/>
                    </a:lnTo>
                    <a:lnTo>
                      <a:pt x="1147" y="184"/>
                    </a:lnTo>
                    <a:lnTo>
                      <a:pt x="1149" y="186"/>
                    </a:lnTo>
                    <a:lnTo>
                      <a:pt x="1149" y="188"/>
                    </a:lnTo>
                    <a:lnTo>
                      <a:pt x="1147" y="188"/>
                    </a:lnTo>
                    <a:lnTo>
                      <a:pt x="1147" y="190"/>
                    </a:lnTo>
                    <a:lnTo>
                      <a:pt x="1147" y="188"/>
                    </a:lnTo>
                    <a:lnTo>
                      <a:pt x="1147" y="186"/>
                    </a:lnTo>
                    <a:lnTo>
                      <a:pt x="1147" y="184"/>
                    </a:lnTo>
                    <a:lnTo>
                      <a:pt x="1145" y="184"/>
                    </a:lnTo>
                    <a:lnTo>
                      <a:pt x="1143" y="182"/>
                    </a:lnTo>
                    <a:lnTo>
                      <a:pt x="1141" y="182"/>
                    </a:lnTo>
                    <a:lnTo>
                      <a:pt x="1140" y="182"/>
                    </a:lnTo>
                    <a:lnTo>
                      <a:pt x="1138" y="184"/>
                    </a:lnTo>
                    <a:lnTo>
                      <a:pt x="1136" y="184"/>
                    </a:lnTo>
                    <a:lnTo>
                      <a:pt x="1134" y="184"/>
                    </a:lnTo>
                    <a:lnTo>
                      <a:pt x="1134" y="182"/>
                    </a:lnTo>
                    <a:lnTo>
                      <a:pt x="1132" y="182"/>
                    </a:lnTo>
                    <a:lnTo>
                      <a:pt x="1134" y="180"/>
                    </a:lnTo>
                    <a:lnTo>
                      <a:pt x="1132" y="180"/>
                    </a:lnTo>
                    <a:lnTo>
                      <a:pt x="1130" y="180"/>
                    </a:lnTo>
                    <a:lnTo>
                      <a:pt x="1130" y="179"/>
                    </a:lnTo>
                    <a:lnTo>
                      <a:pt x="1128" y="177"/>
                    </a:lnTo>
                    <a:lnTo>
                      <a:pt x="1128" y="175"/>
                    </a:lnTo>
                    <a:lnTo>
                      <a:pt x="1128" y="177"/>
                    </a:lnTo>
                    <a:lnTo>
                      <a:pt x="1128" y="175"/>
                    </a:lnTo>
                    <a:lnTo>
                      <a:pt x="1128" y="173"/>
                    </a:lnTo>
                    <a:close/>
                    <a:moveTo>
                      <a:pt x="1124" y="159"/>
                    </a:moveTo>
                    <a:lnTo>
                      <a:pt x="1126" y="161"/>
                    </a:lnTo>
                    <a:lnTo>
                      <a:pt x="1124" y="161"/>
                    </a:lnTo>
                    <a:lnTo>
                      <a:pt x="1126" y="161"/>
                    </a:lnTo>
                    <a:lnTo>
                      <a:pt x="1126" y="163"/>
                    </a:lnTo>
                    <a:lnTo>
                      <a:pt x="1126" y="165"/>
                    </a:lnTo>
                    <a:lnTo>
                      <a:pt x="1128" y="167"/>
                    </a:lnTo>
                    <a:lnTo>
                      <a:pt x="1130" y="167"/>
                    </a:lnTo>
                    <a:lnTo>
                      <a:pt x="1130" y="169"/>
                    </a:lnTo>
                    <a:lnTo>
                      <a:pt x="1130" y="171"/>
                    </a:lnTo>
                    <a:lnTo>
                      <a:pt x="1132" y="169"/>
                    </a:lnTo>
                    <a:lnTo>
                      <a:pt x="1134" y="171"/>
                    </a:lnTo>
                    <a:lnTo>
                      <a:pt x="1134" y="173"/>
                    </a:lnTo>
                    <a:lnTo>
                      <a:pt x="1134" y="175"/>
                    </a:lnTo>
                    <a:lnTo>
                      <a:pt x="1132" y="175"/>
                    </a:lnTo>
                    <a:lnTo>
                      <a:pt x="1130" y="175"/>
                    </a:lnTo>
                    <a:lnTo>
                      <a:pt x="1130" y="173"/>
                    </a:lnTo>
                    <a:lnTo>
                      <a:pt x="1128" y="173"/>
                    </a:lnTo>
                    <a:lnTo>
                      <a:pt x="1126" y="171"/>
                    </a:lnTo>
                    <a:lnTo>
                      <a:pt x="1124" y="171"/>
                    </a:lnTo>
                    <a:lnTo>
                      <a:pt x="1126" y="171"/>
                    </a:lnTo>
                    <a:lnTo>
                      <a:pt x="1124" y="171"/>
                    </a:lnTo>
                    <a:lnTo>
                      <a:pt x="1122" y="171"/>
                    </a:lnTo>
                    <a:lnTo>
                      <a:pt x="1122" y="169"/>
                    </a:lnTo>
                    <a:lnTo>
                      <a:pt x="1120" y="167"/>
                    </a:lnTo>
                    <a:lnTo>
                      <a:pt x="1120" y="165"/>
                    </a:lnTo>
                    <a:lnTo>
                      <a:pt x="1122" y="165"/>
                    </a:lnTo>
                    <a:lnTo>
                      <a:pt x="1122" y="163"/>
                    </a:lnTo>
                    <a:lnTo>
                      <a:pt x="1122" y="165"/>
                    </a:lnTo>
                    <a:lnTo>
                      <a:pt x="1120" y="165"/>
                    </a:lnTo>
                    <a:lnTo>
                      <a:pt x="1122" y="163"/>
                    </a:lnTo>
                    <a:lnTo>
                      <a:pt x="1122" y="161"/>
                    </a:lnTo>
                    <a:lnTo>
                      <a:pt x="1122" y="159"/>
                    </a:lnTo>
                    <a:lnTo>
                      <a:pt x="1124" y="159"/>
                    </a:lnTo>
                    <a:close/>
                    <a:moveTo>
                      <a:pt x="609" y="321"/>
                    </a:moveTo>
                    <a:lnTo>
                      <a:pt x="611" y="323"/>
                    </a:lnTo>
                    <a:lnTo>
                      <a:pt x="611" y="325"/>
                    </a:lnTo>
                    <a:lnTo>
                      <a:pt x="613" y="325"/>
                    </a:lnTo>
                    <a:lnTo>
                      <a:pt x="613" y="327"/>
                    </a:lnTo>
                    <a:lnTo>
                      <a:pt x="611" y="327"/>
                    </a:lnTo>
                    <a:lnTo>
                      <a:pt x="609" y="327"/>
                    </a:lnTo>
                    <a:lnTo>
                      <a:pt x="607" y="329"/>
                    </a:lnTo>
                    <a:lnTo>
                      <a:pt x="609" y="327"/>
                    </a:lnTo>
                    <a:lnTo>
                      <a:pt x="611" y="327"/>
                    </a:lnTo>
                    <a:lnTo>
                      <a:pt x="613" y="327"/>
                    </a:lnTo>
                    <a:lnTo>
                      <a:pt x="611" y="327"/>
                    </a:lnTo>
                    <a:lnTo>
                      <a:pt x="613" y="327"/>
                    </a:lnTo>
                    <a:lnTo>
                      <a:pt x="613" y="329"/>
                    </a:lnTo>
                    <a:lnTo>
                      <a:pt x="613" y="327"/>
                    </a:lnTo>
                    <a:lnTo>
                      <a:pt x="615" y="329"/>
                    </a:lnTo>
                    <a:lnTo>
                      <a:pt x="617" y="329"/>
                    </a:lnTo>
                    <a:lnTo>
                      <a:pt x="615" y="329"/>
                    </a:lnTo>
                    <a:lnTo>
                      <a:pt x="615" y="330"/>
                    </a:lnTo>
                    <a:lnTo>
                      <a:pt x="613" y="329"/>
                    </a:lnTo>
                    <a:lnTo>
                      <a:pt x="611" y="329"/>
                    </a:lnTo>
                    <a:lnTo>
                      <a:pt x="613" y="329"/>
                    </a:lnTo>
                    <a:lnTo>
                      <a:pt x="615" y="329"/>
                    </a:lnTo>
                    <a:lnTo>
                      <a:pt x="615" y="330"/>
                    </a:lnTo>
                    <a:lnTo>
                      <a:pt x="615" y="332"/>
                    </a:lnTo>
                    <a:lnTo>
                      <a:pt x="615" y="334"/>
                    </a:lnTo>
                    <a:lnTo>
                      <a:pt x="613" y="334"/>
                    </a:lnTo>
                    <a:lnTo>
                      <a:pt x="613" y="336"/>
                    </a:lnTo>
                    <a:lnTo>
                      <a:pt x="611" y="336"/>
                    </a:lnTo>
                    <a:lnTo>
                      <a:pt x="611" y="338"/>
                    </a:lnTo>
                    <a:lnTo>
                      <a:pt x="611" y="340"/>
                    </a:lnTo>
                    <a:lnTo>
                      <a:pt x="609" y="340"/>
                    </a:lnTo>
                    <a:lnTo>
                      <a:pt x="607" y="340"/>
                    </a:lnTo>
                    <a:lnTo>
                      <a:pt x="605" y="340"/>
                    </a:lnTo>
                    <a:lnTo>
                      <a:pt x="605" y="342"/>
                    </a:lnTo>
                    <a:lnTo>
                      <a:pt x="604" y="342"/>
                    </a:lnTo>
                    <a:lnTo>
                      <a:pt x="604" y="340"/>
                    </a:lnTo>
                    <a:lnTo>
                      <a:pt x="604" y="338"/>
                    </a:lnTo>
                    <a:lnTo>
                      <a:pt x="602" y="338"/>
                    </a:lnTo>
                    <a:lnTo>
                      <a:pt x="604" y="338"/>
                    </a:lnTo>
                    <a:lnTo>
                      <a:pt x="602" y="338"/>
                    </a:lnTo>
                    <a:lnTo>
                      <a:pt x="602" y="336"/>
                    </a:lnTo>
                    <a:lnTo>
                      <a:pt x="602" y="334"/>
                    </a:lnTo>
                    <a:lnTo>
                      <a:pt x="604" y="334"/>
                    </a:lnTo>
                    <a:lnTo>
                      <a:pt x="604" y="332"/>
                    </a:lnTo>
                    <a:lnTo>
                      <a:pt x="605" y="332"/>
                    </a:lnTo>
                    <a:lnTo>
                      <a:pt x="605" y="330"/>
                    </a:lnTo>
                    <a:lnTo>
                      <a:pt x="607" y="330"/>
                    </a:lnTo>
                    <a:lnTo>
                      <a:pt x="605" y="330"/>
                    </a:lnTo>
                    <a:lnTo>
                      <a:pt x="607" y="330"/>
                    </a:lnTo>
                    <a:lnTo>
                      <a:pt x="605" y="330"/>
                    </a:lnTo>
                    <a:lnTo>
                      <a:pt x="607" y="330"/>
                    </a:lnTo>
                    <a:lnTo>
                      <a:pt x="609" y="330"/>
                    </a:lnTo>
                    <a:lnTo>
                      <a:pt x="611" y="330"/>
                    </a:lnTo>
                    <a:lnTo>
                      <a:pt x="609" y="330"/>
                    </a:lnTo>
                    <a:lnTo>
                      <a:pt x="607" y="330"/>
                    </a:lnTo>
                    <a:lnTo>
                      <a:pt x="607" y="329"/>
                    </a:lnTo>
                    <a:lnTo>
                      <a:pt x="609" y="329"/>
                    </a:lnTo>
                    <a:lnTo>
                      <a:pt x="607" y="329"/>
                    </a:lnTo>
                    <a:lnTo>
                      <a:pt x="605" y="329"/>
                    </a:lnTo>
                    <a:lnTo>
                      <a:pt x="605" y="330"/>
                    </a:lnTo>
                    <a:lnTo>
                      <a:pt x="605" y="332"/>
                    </a:lnTo>
                    <a:lnTo>
                      <a:pt x="604" y="332"/>
                    </a:lnTo>
                    <a:lnTo>
                      <a:pt x="604" y="334"/>
                    </a:lnTo>
                    <a:lnTo>
                      <a:pt x="602" y="334"/>
                    </a:lnTo>
                    <a:lnTo>
                      <a:pt x="602" y="336"/>
                    </a:lnTo>
                    <a:lnTo>
                      <a:pt x="602" y="338"/>
                    </a:lnTo>
                    <a:lnTo>
                      <a:pt x="602" y="340"/>
                    </a:lnTo>
                    <a:lnTo>
                      <a:pt x="602" y="338"/>
                    </a:lnTo>
                    <a:lnTo>
                      <a:pt x="600" y="338"/>
                    </a:lnTo>
                    <a:lnTo>
                      <a:pt x="600" y="336"/>
                    </a:lnTo>
                    <a:lnTo>
                      <a:pt x="600" y="334"/>
                    </a:lnTo>
                    <a:lnTo>
                      <a:pt x="600" y="332"/>
                    </a:lnTo>
                    <a:lnTo>
                      <a:pt x="600" y="330"/>
                    </a:lnTo>
                    <a:lnTo>
                      <a:pt x="600" y="329"/>
                    </a:lnTo>
                    <a:lnTo>
                      <a:pt x="602" y="327"/>
                    </a:lnTo>
                    <a:lnTo>
                      <a:pt x="602" y="325"/>
                    </a:lnTo>
                    <a:lnTo>
                      <a:pt x="604" y="323"/>
                    </a:lnTo>
                    <a:lnTo>
                      <a:pt x="604" y="321"/>
                    </a:lnTo>
                    <a:lnTo>
                      <a:pt x="605" y="321"/>
                    </a:lnTo>
                    <a:lnTo>
                      <a:pt x="607" y="321"/>
                    </a:lnTo>
                    <a:lnTo>
                      <a:pt x="609" y="321"/>
                    </a:lnTo>
                    <a:close/>
                    <a:moveTo>
                      <a:pt x="344" y="407"/>
                    </a:moveTo>
                    <a:lnTo>
                      <a:pt x="344" y="409"/>
                    </a:lnTo>
                    <a:lnTo>
                      <a:pt x="344" y="407"/>
                    </a:lnTo>
                    <a:lnTo>
                      <a:pt x="344" y="409"/>
                    </a:lnTo>
                    <a:lnTo>
                      <a:pt x="344" y="407"/>
                    </a:lnTo>
                    <a:lnTo>
                      <a:pt x="344" y="409"/>
                    </a:lnTo>
                    <a:lnTo>
                      <a:pt x="344" y="407"/>
                    </a:lnTo>
                    <a:lnTo>
                      <a:pt x="346" y="407"/>
                    </a:lnTo>
                    <a:lnTo>
                      <a:pt x="344" y="407"/>
                    </a:lnTo>
                    <a:lnTo>
                      <a:pt x="346" y="407"/>
                    </a:lnTo>
                    <a:lnTo>
                      <a:pt x="346" y="409"/>
                    </a:lnTo>
                    <a:lnTo>
                      <a:pt x="348" y="409"/>
                    </a:lnTo>
                    <a:lnTo>
                      <a:pt x="348" y="411"/>
                    </a:lnTo>
                    <a:lnTo>
                      <a:pt x="348" y="413"/>
                    </a:lnTo>
                    <a:lnTo>
                      <a:pt x="346" y="413"/>
                    </a:lnTo>
                    <a:lnTo>
                      <a:pt x="346" y="411"/>
                    </a:lnTo>
                    <a:lnTo>
                      <a:pt x="344" y="411"/>
                    </a:lnTo>
                    <a:lnTo>
                      <a:pt x="344" y="413"/>
                    </a:lnTo>
                    <a:lnTo>
                      <a:pt x="342" y="411"/>
                    </a:lnTo>
                    <a:lnTo>
                      <a:pt x="340" y="411"/>
                    </a:lnTo>
                    <a:lnTo>
                      <a:pt x="342" y="411"/>
                    </a:lnTo>
                    <a:lnTo>
                      <a:pt x="342" y="413"/>
                    </a:lnTo>
                    <a:lnTo>
                      <a:pt x="342" y="411"/>
                    </a:lnTo>
                    <a:lnTo>
                      <a:pt x="342" y="413"/>
                    </a:lnTo>
                    <a:lnTo>
                      <a:pt x="340" y="411"/>
                    </a:lnTo>
                    <a:lnTo>
                      <a:pt x="342" y="413"/>
                    </a:lnTo>
                    <a:lnTo>
                      <a:pt x="344" y="415"/>
                    </a:lnTo>
                    <a:lnTo>
                      <a:pt x="344" y="413"/>
                    </a:lnTo>
                    <a:lnTo>
                      <a:pt x="346" y="413"/>
                    </a:lnTo>
                    <a:lnTo>
                      <a:pt x="344" y="413"/>
                    </a:lnTo>
                    <a:lnTo>
                      <a:pt x="344" y="411"/>
                    </a:lnTo>
                    <a:lnTo>
                      <a:pt x="346" y="413"/>
                    </a:lnTo>
                    <a:lnTo>
                      <a:pt x="348" y="413"/>
                    </a:lnTo>
                    <a:lnTo>
                      <a:pt x="348" y="411"/>
                    </a:lnTo>
                    <a:lnTo>
                      <a:pt x="348" y="413"/>
                    </a:lnTo>
                    <a:lnTo>
                      <a:pt x="348" y="411"/>
                    </a:lnTo>
                    <a:lnTo>
                      <a:pt x="350" y="411"/>
                    </a:lnTo>
                    <a:lnTo>
                      <a:pt x="350" y="413"/>
                    </a:lnTo>
                    <a:lnTo>
                      <a:pt x="352" y="413"/>
                    </a:lnTo>
                    <a:lnTo>
                      <a:pt x="352" y="415"/>
                    </a:lnTo>
                    <a:lnTo>
                      <a:pt x="354" y="417"/>
                    </a:lnTo>
                    <a:lnTo>
                      <a:pt x="356" y="419"/>
                    </a:lnTo>
                    <a:lnTo>
                      <a:pt x="354" y="419"/>
                    </a:lnTo>
                    <a:lnTo>
                      <a:pt x="352" y="419"/>
                    </a:lnTo>
                    <a:lnTo>
                      <a:pt x="350" y="419"/>
                    </a:lnTo>
                    <a:lnTo>
                      <a:pt x="350" y="417"/>
                    </a:lnTo>
                    <a:lnTo>
                      <a:pt x="350" y="419"/>
                    </a:lnTo>
                    <a:lnTo>
                      <a:pt x="348" y="419"/>
                    </a:lnTo>
                    <a:lnTo>
                      <a:pt x="350" y="419"/>
                    </a:lnTo>
                    <a:lnTo>
                      <a:pt x="348" y="419"/>
                    </a:lnTo>
                    <a:lnTo>
                      <a:pt x="348" y="417"/>
                    </a:lnTo>
                    <a:lnTo>
                      <a:pt x="350" y="417"/>
                    </a:lnTo>
                    <a:lnTo>
                      <a:pt x="348" y="417"/>
                    </a:lnTo>
                    <a:lnTo>
                      <a:pt x="348" y="415"/>
                    </a:lnTo>
                    <a:lnTo>
                      <a:pt x="348" y="417"/>
                    </a:lnTo>
                    <a:lnTo>
                      <a:pt x="346" y="417"/>
                    </a:lnTo>
                    <a:lnTo>
                      <a:pt x="344" y="417"/>
                    </a:lnTo>
                    <a:lnTo>
                      <a:pt x="342" y="417"/>
                    </a:lnTo>
                    <a:lnTo>
                      <a:pt x="340" y="417"/>
                    </a:lnTo>
                    <a:lnTo>
                      <a:pt x="338" y="415"/>
                    </a:lnTo>
                    <a:lnTo>
                      <a:pt x="340" y="415"/>
                    </a:lnTo>
                    <a:lnTo>
                      <a:pt x="338" y="415"/>
                    </a:lnTo>
                    <a:lnTo>
                      <a:pt x="337" y="415"/>
                    </a:lnTo>
                    <a:lnTo>
                      <a:pt x="337" y="413"/>
                    </a:lnTo>
                    <a:lnTo>
                      <a:pt x="337" y="415"/>
                    </a:lnTo>
                    <a:lnTo>
                      <a:pt x="337" y="413"/>
                    </a:lnTo>
                    <a:lnTo>
                      <a:pt x="338" y="413"/>
                    </a:lnTo>
                    <a:lnTo>
                      <a:pt x="337" y="415"/>
                    </a:lnTo>
                    <a:lnTo>
                      <a:pt x="337" y="413"/>
                    </a:lnTo>
                    <a:lnTo>
                      <a:pt x="337" y="411"/>
                    </a:lnTo>
                    <a:lnTo>
                      <a:pt x="338" y="411"/>
                    </a:lnTo>
                    <a:lnTo>
                      <a:pt x="338" y="409"/>
                    </a:lnTo>
                    <a:lnTo>
                      <a:pt x="340" y="409"/>
                    </a:lnTo>
                    <a:lnTo>
                      <a:pt x="342" y="409"/>
                    </a:lnTo>
                    <a:lnTo>
                      <a:pt x="342" y="407"/>
                    </a:lnTo>
                    <a:lnTo>
                      <a:pt x="344" y="407"/>
                    </a:lnTo>
                    <a:close/>
                    <a:moveTo>
                      <a:pt x="402" y="388"/>
                    </a:moveTo>
                    <a:lnTo>
                      <a:pt x="400" y="388"/>
                    </a:lnTo>
                    <a:lnTo>
                      <a:pt x="402" y="388"/>
                    </a:lnTo>
                    <a:lnTo>
                      <a:pt x="402" y="390"/>
                    </a:lnTo>
                    <a:lnTo>
                      <a:pt x="400" y="390"/>
                    </a:lnTo>
                    <a:lnTo>
                      <a:pt x="402" y="390"/>
                    </a:lnTo>
                    <a:lnTo>
                      <a:pt x="400" y="390"/>
                    </a:lnTo>
                    <a:lnTo>
                      <a:pt x="402" y="390"/>
                    </a:lnTo>
                    <a:lnTo>
                      <a:pt x="402" y="388"/>
                    </a:lnTo>
                    <a:lnTo>
                      <a:pt x="404" y="388"/>
                    </a:lnTo>
                    <a:lnTo>
                      <a:pt x="406" y="388"/>
                    </a:lnTo>
                    <a:lnTo>
                      <a:pt x="406" y="386"/>
                    </a:lnTo>
                    <a:lnTo>
                      <a:pt x="408" y="386"/>
                    </a:lnTo>
                    <a:lnTo>
                      <a:pt x="406" y="388"/>
                    </a:lnTo>
                    <a:lnTo>
                      <a:pt x="406" y="386"/>
                    </a:lnTo>
                    <a:lnTo>
                      <a:pt x="406" y="388"/>
                    </a:lnTo>
                    <a:lnTo>
                      <a:pt x="406" y="390"/>
                    </a:lnTo>
                    <a:lnTo>
                      <a:pt x="406" y="388"/>
                    </a:lnTo>
                    <a:lnTo>
                      <a:pt x="406" y="390"/>
                    </a:lnTo>
                    <a:lnTo>
                      <a:pt x="404" y="390"/>
                    </a:lnTo>
                    <a:lnTo>
                      <a:pt x="404" y="388"/>
                    </a:lnTo>
                    <a:lnTo>
                      <a:pt x="404" y="390"/>
                    </a:lnTo>
                    <a:lnTo>
                      <a:pt x="404" y="392"/>
                    </a:lnTo>
                    <a:lnTo>
                      <a:pt x="402" y="392"/>
                    </a:lnTo>
                    <a:lnTo>
                      <a:pt x="404" y="392"/>
                    </a:lnTo>
                    <a:lnTo>
                      <a:pt x="404" y="390"/>
                    </a:lnTo>
                    <a:lnTo>
                      <a:pt x="406" y="390"/>
                    </a:lnTo>
                    <a:lnTo>
                      <a:pt x="406" y="388"/>
                    </a:lnTo>
                    <a:lnTo>
                      <a:pt x="406" y="390"/>
                    </a:lnTo>
                    <a:lnTo>
                      <a:pt x="408" y="390"/>
                    </a:lnTo>
                    <a:lnTo>
                      <a:pt x="408" y="388"/>
                    </a:lnTo>
                    <a:lnTo>
                      <a:pt x="408" y="390"/>
                    </a:lnTo>
                    <a:lnTo>
                      <a:pt x="408" y="388"/>
                    </a:lnTo>
                    <a:lnTo>
                      <a:pt x="408" y="390"/>
                    </a:lnTo>
                    <a:lnTo>
                      <a:pt x="410" y="388"/>
                    </a:lnTo>
                    <a:lnTo>
                      <a:pt x="410" y="390"/>
                    </a:lnTo>
                    <a:lnTo>
                      <a:pt x="408" y="390"/>
                    </a:lnTo>
                    <a:lnTo>
                      <a:pt x="410" y="390"/>
                    </a:lnTo>
                    <a:lnTo>
                      <a:pt x="408" y="390"/>
                    </a:lnTo>
                    <a:lnTo>
                      <a:pt x="408" y="392"/>
                    </a:lnTo>
                    <a:lnTo>
                      <a:pt x="406" y="392"/>
                    </a:lnTo>
                    <a:lnTo>
                      <a:pt x="408" y="392"/>
                    </a:lnTo>
                    <a:lnTo>
                      <a:pt x="406" y="392"/>
                    </a:lnTo>
                    <a:lnTo>
                      <a:pt x="408" y="392"/>
                    </a:lnTo>
                    <a:lnTo>
                      <a:pt x="406" y="392"/>
                    </a:lnTo>
                    <a:lnTo>
                      <a:pt x="408" y="392"/>
                    </a:lnTo>
                    <a:lnTo>
                      <a:pt x="406" y="392"/>
                    </a:lnTo>
                    <a:lnTo>
                      <a:pt x="408" y="392"/>
                    </a:lnTo>
                    <a:lnTo>
                      <a:pt x="406" y="392"/>
                    </a:lnTo>
                    <a:lnTo>
                      <a:pt x="408" y="392"/>
                    </a:lnTo>
                    <a:lnTo>
                      <a:pt x="408" y="394"/>
                    </a:lnTo>
                    <a:lnTo>
                      <a:pt x="406" y="394"/>
                    </a:lnTo>
                    <a:lnTo>
                      <a:pt x="404" y="394"/>
                    </a:lnTo>
                    <a:lnTo>
                      <a:pt x="404" y="396"/>
                    </a:lnTo>
                    <a:lnTo>
                      <a:pt x="404" y="394"/>
                    </a:lnTo>
                    <a:lnTo>
                      <a:pt x="402" y="394"/>
                    </a:lnTo>
                    <a:lnTo>
                      <a:pt x="404" y="394"/>
                    </a:lnTo>
                    <a:lnTo>
                      <a:pt x="406" y="392"/>
                    </a:lnTo>
                    <a:lnTo>
                      <a:pt x="406" y="394"/>
                    </a:lnTo>
                    <a:lnTo>
                      <a:pt x="404" y="394"/>
                    </a:lnTo>
                    <a:lnTo>
                      <a:pt x="402" y="394"/>
                    </a:lnTo>
                    <a:lnTo>
                      <a:pt x="400" y="394"/>
                    </a:lnTo>
                    <a:lnTo>
                      <a:pt x="398" y="394"/>
                    </a:lnTo>
                    <a:lnTo>
                      <a:pt x="400" y="394"/>
                    </a:lnTo>
                    <a:lnTo>
                      <a:pt x="400" y="392"/>
                    </a:lnTo>
                    <a:lnTo>
                      <a:pt x="402" y="392"/>
                    </a:lnTo>
                    <a:lnTo>
                      <a:pt x="400" y="392"/>
                    </a:lnTo>
                    <a:lnTo>
                      <a:pt x="398" y="394"/>
                    </a:lnTo>
                    <a:lnTo>
                      <a:pt x="396" y="394"/>
                    </a:lnTo>
                    <a:lnTo>
                      <a:pt x="396" y="392"/>
                    </a:lnTo>
                    <a:lnTo>
                      <a:pt x="394" y="392"/>
                    </a:lnTo>
                    <a:lnTo>
                      <a:pt x="394" y="390"/>
                    </a:lnTo>
                    <a:lnTo>
                      <a:pt x="392" y="390"/>
                    </a:lnTo>
                    <a:lnTo>
                      <a:pt x="394" y="390"/>
                    </a:lnTo>
                    <a:lnTo>
                      <a:pt x="394" y="392"/>
                    </a:lnTo>
                    <a:lnTo>
                      <a:pt x="396" y="392"/>
                    </a:lnTo>
                    <a:lnTo>
                      <a:pt x="396" y="394"/>
                    </a:lnTo>
                    <a:lnTo>
                      <a:pt x="394" y="394"/>
                    </a:lnTo>
                    <a:lnTo>
                      <a:pt x="392" y="394"/>
                    </a:lnTo>
                    <a:lnTo>
                      <a:pt x="394" y="394"/>
                    </a:lnTo>
                    <a:lnTo>
                      <a:pt x="396" y="394"/>
                    </a:lnTo>
                    <a:lnTo>
                      <a:pt x="394" y="394"/>
                    </a:lnTo>
                    <a:lnTo>
                      <a:pt x="394" y="396"/>
                    </a:lnTo>
                    <a:lnTo>
                      <a:pt x="394" y="394"/>
                    </a:lnTo>
                    <a:lnTo>
                      <a:pt x="392" y="396"/>
                    </a:lnTo>
                    <a:lnTo>
                      <a:pt x="392" y="394"/>
                    </a:lnTo>
                    <a:lnTo>
                      <a:pt x="390" y="396"/>
                    </a:lnTo>
                    <a:lnTo>
                      <a:pt x="388" y="396"/>
                    </a:lnTo>
                    <a:lnTo>
                      <a:pt x="388" y="394"/>
                    </a:lnTo>
                    <a:lnTo>
                      <a:pt x="390" y="394"/>
                    </a:lnTo>
                    <a:lnTo>
                      <a:pt x="390" y="396"/>
                    </a:lnTo>
                    <a:lnTo>
                      <a:pt x="390" y="394"/>
                    </a:lnTo>
                    <a:lnTo>
                      <a:pt x="390" y="392"/>
                    </a:lnTo>
                    <a:lnTo>
                      <a:pt x="392" y="390"/>
                    </a:lnTo>
                    <a:lnTo>
                      <a:pt x="394" y="388"/>
                    </a:lnTo>
                    <a:lnTo>
                      <a:pt x="394" y="390"/>
                    </a:lnTo>
                    <a:lnTo>
                      <a:pt x="392" y="390"/>
                    </a:lnTo>
                    <a:lnTo>
                      <a:pt x="394" y="388"/>
                    </a:lnTo>
                    <a:lnTo>
                      <a:pt x="396" y="388"/>
                    </a:lnTo>
                    <a:lnTo>
                      <a:pt x="396" y="386"/>
                    </a:lnTo>
                    <a:lnTo>
                      <a:pt x="398" y="386"/>
                    </a:lnTo>
                    <a:lnTo>
                      <a:pt x="400" y="384"/>
                    </a:lnTo>
                    <a:lnTo>
                      <a:pt x="402" y="384"/>
                    </a:lnTo>
                    <a:lnTo>
                      <a:pt x="404" y="384"/>
                    </a:lnTo>
                    <a:lnTo>
                      <a:pt x="406" y="384"/>
                    </a:lnTo>
                    <a:lnTo>
                      <a:pt x="406" y="382"/>
                    </a:lnTo>
                    <a:lnTo>
                      <a:pt x="406" y="384"/>
                    </a:lnTo>
                    <a:lnTo>
                      <a:pt x="408" y="384"/>
                    </a:lnTo>
                    <a:lnTo>
                      <a:pt x="406" y="384"/>
                    </a:lnTo>
                    <a:lnTo>
                      <a:pt x="406" y="386"/>
                    </a:lnTo>
                    <a:lnTo>
                      <a:pt x="406" y="384"/>
                    </a:lnTo>
                    <a:lnTo>
                      <a:pt x="406" y="386"/>
                    </a:lnTo>
                    <a:lnTo>
                      <a:pt x="404" y="386"/>
                    </a:lnTo>
                    <a:lnTo>
                      <a:pt x="406" y="386"/>
                    </a:lnTo>
                    <a:lnTo>
                      <a:pt x="404" y="386"/>
                    </a:lnTo>
                    <a:lnTo>
                      <a:pt x="404" y="388"/>
                    </a:lnTo>
                    <a:lnTo>
                      <a:pt x="406" y="388"/>
                    </a:lnTo>
                    <a:lnTo>
                      <a:pt x="406" y="386"/>
                    </a:lnTo>
                    <a:lnTo>
                      <a:pt x="406" y="388"/>
                    </a:lnTo>
                    <a:lnTo>
                      <a:pt x="404" y="388"/>
                    </a:lnTo>
                    <a:lnTo>
                      <a:pt x="404" y="386"/>
                    </a:lnTo>
                    <a:lnTo>
                      <a:pt x="404" y="388"/>
                    </a:lnTo>
                    <a:lnTo>
                      <a:pt x="402" y="388"/>
                    </a:lnTo>
                    <a:close/>
                    <a:moveTo>
                      <a:pt x="379" y="382"/>
                    </a:moveTo>
                    <a:lnTo>
                      <a:pt x="381" y="382"/>
                    </a:lnTo>
                    <a:lnTo>
                      <a:pt x="383" y="382"/>
                    </a:lnTo>
                    <a:lnTo>
                      <a:pt x="385" y="382"/>
                    </a:lnTo>
                    <a:lnTo>
                      <a:pt x="383" y="382"/>
                    </a:lnTo>
                    <a:lnTo>
                      <a:pt x="385" y="382"/>
                    </a:lnTo>
                    <a:lnTo>
                      <a:pt x="385" y="384"/>
                    </a:lnTo>
                    <a:lnTo>
                      <a:pt x="385" y="382"/>
                    </a:lnTo>
                    <a:lnTo>
                      <a:pt x="386" y="382"/>
                    </a:lnTo>
                    <a:lnTo>
                      <a:pt x="386" y="384"/>
                    </a:lnTo>
                    <a:lnTo>
                      <a:pt x="388" y="382"/>
                    </a:lnTo>
                    <a:lnTo>
                      <a:pt x="390" y="382"/>
                    </a:lnTo>
                    <a:lnTo>
                      <a:pt x="392" y="382"/>
                    </a:lnTo>
                    <a:lnTo>
                      <a:pt x="392" y="384"/>
                    </a:lnTo>
                    <a:lnTo>
                      <a:pt x="390" y="384"/>
                    </a:lnTo>
                    <a:lnTo>
                      <a:pt x="392" y="384"/>
                    </a:lnTo>
                    <a:lnTo>
                      <a:pt x="392" y="382"/>
                    </a:lnTo>
                    <a:lnTo>
                      <a:pt x="390" y="382"/>
                    </a:lnTo>
                    <a:lnTo>
                      <a:pt x="392" y="382"/>
                    </a:lnTo>
                    <a:lnTo>
                      <a:pt x="392" y="380"/>
                    </a:lnTo>
                    <a:lnTo>
                      <a:pt x="394" y="380"/>
                    </a:lnTo>
                    <a:lnTo>
                      <a:pt x="396" y="380"/>
                    </a:lnTo>
                    <a:lnTo>
                      <a:pt x="396" y="378"/>
                    </a:lnTo>
                    <a:lnTo>
                      <a:pt x="398" y="378"/>
                    </a:lnTo>
                    <a:lnTo>
                      <a:pt x="396" y="380"/>
                    </a:lnTo>
                    <a:lnTo>
                      <a:pt x="398" y="378"/>
                    </a:lnTo>
                    <a:lnTo>
                      <a:pt x="400" y="378"/>
                    </a:lnTo>
                    <a:lnTo>
                      <a:pt x="400" y="380"/>
                    </a:lnTo>
                    <a:lnTo>
                      <a:pt x="400" y="382"/>
                    </a:lnTo>
                    <a:lnTo>
                      <a:pt x="400" y="380"/>
                    </a:lnTo>
                    <a:lnTo>
                      <a:pt x="398" y="380"/>
                    </a:lnTo>
                    <a:lnTo>
                      <a:pt x="400" y="380"/>
                    </a:lnTo>
                    <a:lnTo>
                      <a:pt x="400" y="382"/>
                    </a:lnTo>
                    <a:lnTo>
                      <a:pt x="398" y="382"/>
                    </a:lnTo>
                    <a:lnTo>
                      <a:pt x="398" y="384"/>
                    </a:lnTo>
                    <a:lnTo>
                      <a:pt x="396" y="384"/>
                    </a:lnTo>
                    <a:lnTo>
                      <a:pt x="394" y="384"/>
                    </a:lnTo>
                    <a:lnTo>
                      <a:pt x="396" y="384"/>
                    </a:lnTo>
                    <a:lnTo>
                      <a:pt x="394" y="386"/>
                    </a:lnTo>
                    <a:lnTo>
                      <a:pt x="392" y="386"/>
                    </a:lnTo>
                    <a:lnTo>
                      <a:pt x="390" y="386"/>
                    </a:lnTo>
                    <a:lnTo>
                      <a:pt x="388" y="386"/>
                    </a:lnTo>
                    <a:lnTo>
                      <a:pt x="386" y="386"/>
                    </a:lnTo>
                    <a:lnTo>
                      <a:pt x="385" y="386"/>
                    </a:lnTo>
                    <a:lnTo>
                      <a:pt x="386" y="386"/>
                    </a:lnTo>
                    <a:lnTo>
                      <a:pt x="386" y="388"/>
                    </a:lnTo>
                    <a:lnTo>
                      <a:pt x="386" y="386"/>
                    </a:lnTo>
                    <a:lnTo>
                      <a:pt x="388" y="386"/>
                    </a:lnTo>
                    <a:lnTo>
                      <a:pt x="388" y="388"/>
                    </a:lnTo>
                    <a:lnTo>
                      <a:pt x="386" y="388"/>
                    </a:lnTo>
                    <a:lnTo>
                      <a:pt x="385" y="388"/>
                    </a:lnTo>
                    <a:lnTo>
                      <a:pt x="383" y="388"/>
                    </a:lnTo>
                    <a:lnTo>
                      <a:pt x="381" y="388"/>
                    </a:lnTo>
                    <a:lnTo>
                      <a:pt x="381" y="390"/>
                    </a:lnTo>
                    <a:lnTo>
                      <a:pt x="379" y="390"/>
                    </a:lnTo>
                    <a:lnTo>
                      <a:pt x="379" y="388"/>
                    </a:lnTo>
                    <a:lnTo>
                      <a:pt x="377" y="388"/>
                    </a:lnTo>
                    <a:lnTo>
                      <a:pt x="379" y="388"/>
                    </a:lnTo>
                    <a:lnTo>
                      <a:pt x="377" y="388"/>
                    </a:lnTo>
                    <a:lnTo>
                      <a:pt x="377" y="390"/>
                    </a:lnTo>
                    <a:lnTo>
                      <a:pt x="375" y="390"/>
                    </a:lnTo>
                    <a:lnTo>
                      <a:pt x="375" y="392"/>
                    </a:lnTo>
                    <a:lnTo>
                      <a:pt x="375" y="390"/>
                    </a:lnTo>
                    <a:lnTo>
                      <a:pt x="377" y="390"/>
                    </a:lnTo>
                    <a:lnTo>
                      <a:pt x="375" y="392"/>
                    </a:lnTo>
                    <a:lnTo>
                      <a:pt x="373" y="392"/>
                    </a:lnTo>
                    <a:lnTo>
                      <a:pt x="371" y="392"/>
                    </a:lnTo>
                    <a:lnTo>
                      <a:pt x="369" y="392"/>
                    </a:lnTo>
                    <a:lnTo>
                      <a:pt x="365" y="392"/>
                    </a:lnTo>
                    <a:lnTo>
                      <a:pt x="363" y="390"/>
                    </a:lnTo>
                    <a:lnTo>
                      <a:pt x="365" y="390"/>
                    </a:lnTo>
                    <a:lnTo>
                      <a:pt x="365" y="388"/>
                    </a:lnTo>
                    <a:lnTo>
                      <a:pt x="367" y="388"/>
                    </a:lnTo>
                    <a:lnTo>
                      <a:pt x="367" y="386"/>
                    </a:lnTo>
                    <a:lnTo>
                      <a:pt x="369" y="386"/>
                    </a:lnTo>
                    <a:lnTo>
                      <a:pt x="371" y="384"/>
                    </a:lnTo>
                    <a:lnTo>
                      <a:pt x="373" y="384"/>
                    </a:lnTo>
                    <a:lnTo>
                      <a:pt x="373" y="382"/>
                    </a:lnTo>
                    <a:lnTo>
                      <a:pt x="375" y="382"/>
                    </a:lnTo>
                    <a:lnTo>
                      <a:pt x="377" y="382"/>
                    </a:lnTo>
                    <a:lnTo>
                      <a:pt x="379" y="382"/>
                    </a:lnTo>
                    <a:lnTo>
                      <a:pt x="381" y="382"/>
                    </a:lnTo>
                    <a:lnTo>
                      <a:pt x="379" y="382"/>
                    </a:lnTo>
                    <a:close/>
                    <a:moveTo>
                      <a:pt x="331" y="400"/>
                    </a:moveTo>
                    <a:lnTo>
                      <a:pt x="329" y="400"/>
                    </a:lnTo>
                    <a:lnTo>
                      <a:pt x="327" y="400"/>
                    </a:lnTo>
                    <a:lnTo>
                      <a:pt x="329" y="400"/>
                    </a:lnTo>
                    <a:lnTo>
                      <a:pt x="327" y="400"/>
                    </a:lnTo>
                    <a:lnTo>
                      <a:pt x="329" y="400"/>
                    </a:lnTo>
                    <a:lnTo>
                      <a:pt x="327" y="400"/>
                    </a:lnTo>
                    <a:lnTo>
                      <a:pt x="329" y="400"/>
                    </a:lnTo>
                    <a:lnTo>
                      <a:pt x="331" y="400"/>
                    </a:lnTo>
                    <a:lnTo>
                      <a:pt x="333" y="400"/>
                    </a:lnTo>
                    <a:lnTo>
                      <a:pt x="331" y="400"/>
                    </a:lnTo>
                    <a:lnTo>
                      <a:pt x="333" y="400"/>
                    </a:lnTo>
                    <a:lnTo>
                      <a:pt x="335" y="400"/>
                    </a:lnTo>
                    <a:lnTo>
                      <a:pt x="337" y="400"/>
                    </a:lnTo>
                    <a:lnTo>
                      <a:pt x="338" y="402"/>
                    </a:lnTo>
                    <a:lnTo>
                      <a:pt x="340" y="402"/>
                    </a:lnTo>
                    <a:lnTo>
                      <a:pt x="340" y="403"/>
                    </a:lnTo>
                    <a:lnTo>
                      <a:pt x="338" y="405"/>
                    </a:lnTo>
                    <a:lnTo>
                      <a:pt x="338" y="407"/>
                    </a:lnTo>
                    <a:lnTo>
                      <a:pt x="338" y="409"/>
                    </a:lnTo>
                    <a:lnTo>
                      <a:pt x="338" y="411"/>
                    </a:lnTo>
                    <a:lnTo>
                      <a:pt x="337" y="411"/>
                    </a:lnTo>
                    <a:lnTo>
                      <a:pt x="335" y="411"/>
                    </a:lnTo>
                    <a:lnTo>
                      <a:pt x="335" y="409"/>
                    </a:lnTo>
                    <a:lnTo>
                      <a:pt x="333" y="409"/>
                    </a:lnTo>
                    <a:lnTo>
                      <a:pt x="335" y="409"/>
                    </a:lnTo>
                    <a:lnTo>
                      <a:pt x="333" y="409"/>
                    </a:lnTo>
                    <a:lnTo>
                      <a:pt x="331" y="409"/>
                    </a:lnTo>
                    <a:lnTo>
                      <a:pt x="329" y="409"/>
                    </a:lnTo>
                    <a:lnTo>
                      <a:pt x="329" y="411"/>
                    </a:lnTo>
                    <a:lnTo>
                      <a:pt x="327" y="411"/>
                    </a:lnTo>
                    <a:lnTo>
                      <a:pt x="325" y="411"/>
                    </a:lnTo>
                    <a:lnTo>
                      <a:pt x="325" y="409"/>
                    </a:lnTo>
                    <a:lnTo>
                      <a:pt x="323" y="409"/>
                    </a:lnTo>
                    <a:lnTo>
                      <a:pt x="323" y="407"/>
                    </a:lnTo>
                    <a:lnTo>
                      <a:pt x="321" y="407"/>
                    </a:lnTo>
                    <a:lnTo>
                      <a:pt x="319" y="407"/>
                    </a:lnTo>
                    <a:lnTo>
                      <a:pt x="317" y="407"/>
                    </a:lnTo>
                    <a:lnTo>
                      <a:pt x="315" y="407"/>
                    </a:lnTo>
                    <a:lnTo>
                      <a:pt x="315" y="405"/>
                    </a:lnTo>
                    <a:lnTo>
                      <a:pt x="315" y="407"/>
                    </a:lnTo>
                    <a:lnTo>
                      <a:pt x="315" y="405"/>
                    </a:lnTo>
                    <a:lnTo>
                      <a:pt x="315" y="407"/>
                    </a:lnTo>
                    <a:lnTo>
                      <a:pt x="315" y="405"/>
                    </a:lnTo>
                    <a:lnTo>
                      <a:pt x="317" y="405"/>
                    </a:lnTo>
                    <a:lnTo>
                      <a:pt x="317" y="403"/>
                    </a:lnTo>
                    <a:lnTo>
                      <a:pt x="317" y="405"/>
                    </a:lnTo>
                    <a:lnTo>
                      <a:pt x="319" y="405"/>
                    </a:lnTo>
                    <a:lnTo>
                      <a:pt x="317" y="405"/>
                    </a:lnTo>
                    <a:lnTo>
                      <a:pt x="317" y="403"/>
                    </a:lnTo>
                    <a:lnTo>
                      <a:pt x="319" y="403"/>
                    </a:lnTo>
                    <a:lnTo>
                      <a:pt x="319" y="402"/>
                    </a:lnTo>
                    <a:lnTo>
                      <a:pt x="319" y="400"/>
                    </a:lnTo>
                    <a:lnTo>
                      <a:pt x="321" y="400"/>
                    </a:lnTo>
                    <a:lnTo>
                      <a:pt x="321" y="402"/>
                    </a:lnTo>
                    <a:lnTo>
                      <a:pt x="321" y="400"/>
                    </a:lnTo>
                    <a:lnTo>
                      <a:pt x="321" y="402"/>
                    </a:lnTo>
                    <a:lnTo>
                      <a:pt x="323" y="402"/>
                    </a:lnTo>
                    <a:lnTo>
                      <a:pt x="323" y="400"/>
                    </a:lnTo>
                    <a:lnTo>
                      <a:pt x="325" y="400"/>
                    </a:lnTo>
                    <a:lnTo>
                      <a:pt x="325" y="402"/>
                    </a:lnTo>
                    <a:lnTo>
                      <a:pt x="327" y="400"/>
                    </a:lnTo>
                    <a:lnTo>
                      <a:pt x="329" y="400"/>
                    </a:lnTo>
                    <a:lnTo>
                      <a:pt x="327" y="400"/>
                    </a:lnTo>
                    <a:lnTo>
                      <a:pt x="329" y="400"/>
                    </a:lnTo>
                    <a:lnTo>
                      <a:pt x="327" y="400"/>
                    </a:lnTo>
                    <a:lnTo>
                      <a:pt x="327" y="398"/>
                    </a:lnTo>
                    <a:lnTo>
                      <a:pt x="329" y="398"/>
                    </a:lnTo>
                    <a:lnTo>
                      <a:pt x="331" y="398"/>
                    </a:lnTo>
                    <a:lnTo>
                      <a:pt x="331" y="400"/>
                    </a:lnTo>
                    <a:close/>
                    <a:moveTo>
                      <a:pt x="340" y="394"/>
                    </a:moveTo>
                    <a:lnTo>
                      <a:pt x="342" y="394"/>
                    </a:lnTo>
                    <a:lnTo>
                      <a:pt x="340" y="394"/>
                    </a:lnTo>
                    <a:lnTo>
                      <a:pt x="338" y="394"/>
                    </a:lnTo>
                    <a:lnTo>
                      <a:pt x="338" y="392"/>
                    </a:lnTo>
                    <a:lnTo>
                      <a:pt x="340" y="392"/>
                    </a:lnTo>
                    <a:lnTo>
                      <a:pt x="340" y="390"/>
                    </a:lnTo>
                    <a:lnTo>
                      <a:pt x="338" y="390"/>
                    </a:lnTo>
                    <a:lnTo>
                      <a:pt x="340" y="390"/>
                    </a:lnTo>
                    <a:lnTo>
                      <a:pt x="340" y="392"/>
                    </a:lnTo>
                    <a:lnTo>
                      <a:pt x="340" y="394"/>
                    </a:lnTo>
                    <a:lnTo>
                      <a:pt x="342" y="394"/>
                    </a:lnTo>
                    <a:lnTo>
                      <a:pt x="340" y="392"/>
                    </a:lnTo>
                    <a:lnTo>
                      <a:pt x="342" y="392"/>
                    </a:lnTo>
                    <a:lnTo>
                      <a:pt x="342" y="390"/>
                    </a:lnTo>
                    <a:lnTo>
                      <a:pt x="342" y="392"/>
                    </a:lnTo>
                    <a:lnTo>
                      <a:pt x="342" y="394"/>
                    </a:lnTo>
                    <a:lnTo>
                      <a:pt x="342" y="392"/>
                    </a:lnTo>
                    <a:lnTo>
                      <a:pt x="344" y="392"/>
                    </a:lnTo>
                    <a:lnTo>
                      <a:pt x="344" y="394"/>
                    </a:lnTo>
                    <a:lnTo>
                      <a:pt x="344" y="396"/>
                    </a:lnTo>
                    <a:lnTo>
                      <a:pt x="342" y="396"/>
                    </a:lnTo>
                    <a:lnTo>
                      <a:pt x="342" y="398"/>
                    </a:lnTo>
                    <a:lnTo>
                      <a:pt x="342" y="400"/>
                    </a:lnTo>
                    <a:lnTo>
                      <a:pt x="344" y="400"/>
                    </a:lnTo>
                    <a:lnTo>
                      <a:pt x="344" y="402"/>
                    </a:lnTo>
                    <a:lnTo>
                      <a:pt x="344" y="400"/>
                    </a:lnTo>
                    <a:lnTo>
                      <a:pt x="344" y="402"/>
                    </a:lnTo>
                    <a:lnTo>
                      <a:pt x="344" y="403"/>
                    </a:lnTo>
                    <a:lnTo>
                      <a:pt x="342" y="403"/>
                    </a:lnTo>
                    <a:lnTo>
                      <a:pt x="340" y="402"/>
                    </a:lnTo>
                    <a:lnTo>
                      <a:pt x="340" y="400"/>
                    </a:lnTo>
                    <a:lnTo>
                      <a:pt x="342" y="400"/>
                    </a:lnTo>
                    <a:lnTo>
                      <a:pt x="340" y="400"/>
                    </a:lnTo>
                    <a:lnTo>
                      <a:pt x="340" y="402"/>
                    </a:lnTo>
                    <a:lnTo>
                      <a:pt x="340" y="400"/>
                    </a:lnTo>
                    <a:lnTo>
                      <a:pt x="340" y="402"/>
                    </a:lnTo>
                    <a:lnTo>
                      <a:pt x="338" y="402"/>
                    </a:lnTo>
                    <a:lnTo>
                      <a:pt x="338" y="400"/>
                    </a:lnTo>
                    <a:lnTo>
                      <a:pt x="337" y="400"/>
                    </a:lnTo>
                    <a:lnTo>
                      <a:pt x="335" y="400"/>
                    </a:lnTo>
                    <a:lnTo>
                      <a:pt x="335" y="398"/>
                    </a:lnTo>
                    <a:lnTo>
                      <a:pt x="337" y="396"/>
                    </a:lnTo>
                    <a:lnTo>
                      <a:pt x="337" y="394"/>
                    </a:lnTo>
                    <a:lnTo>
                      <a:pt x="338" y="394"/>
                    </a:lnTo>
                    <a:lnTo>
                      <a:pt x="338" y="396"/>
                    </a:lnTo>
                    <a:lnTo>
                      <a:pt x="340" y="396"/>
                    </a:lnTo>
                    <a:lnTo>
                      <a:pt x="340" y="394"/>
                    </a:lnTo>
                    <a:lnTo>
                      <a:pt x="340" y="396"/>
                    </a:lnTo>
                    <a:lnTo>
                      <a:pt x="340" y="394"/>
                    </a:lnTo>
                    <a:lnTo>
                      <a:pt x="340" y="396"/>
                    </a:lnTo>
                    <a:lnTo>
                      <a:pt x="342" y="396"/>
                    </a:lnTo>
                    <a:lnTo>
                      <a:pt x="340" y="396"/>
                    </a:lnTo>
                    <a:lnTo>
                      <a:pt x="342" y="396"/>
                    </a:lnTo>
                    <a:lnTo>
                      <a:pt x="340" y="394"/>
                    </a:lnTo>
                    <a:close/>
                    <a:moveTo>
                      <a:pt x="337" y="375"/>
                    </a:moveTo>
                    <a:lnTo>
                      <a:pt x="337" y="377"/>
                    </a:lnTo>
                    <a:lnTo>
                      <a:pt x="335" y="378"/>
                    </a:lnTo>
                    <a:lnTo>
                      <a:pt x="337" y="378"/>
                    </a:lnTo>
                    <a:lnTo>
                      <a:pt x="337" y="377"/>
                    </a:lnTo>
                    <a:lnTo>
                      <a:pt x="337" y="378"/>
                    </a:lnTo>
                    <a:lnTo>
                      <a:pt x="337" y="380"/>
                    </a:lnTo>
                    <a:lnTo>
                      <a:pt x="337" y="378"/>
                    </a:lnTo>
                    <a:lnTo>
                      <a:pt x="338" y="377"/>
                    </a:lnTo>
                    <a:lnTo>
                      <a:pt x="337" y="378"/>
                    </a:lnTo>
                    <a:lnTo>
                      <a:pt x="338" y="378"/>
                    </a:lnTo>
                    <a:lnTo>
                      <a:pt x="338" y="380"/>
                    </a:lnTo>
                    <a:lnTo>
                      <a:pt x="338" y="378"/>
                    </a:lnTo>
                    <a:lnTo>
                      <a:pt x="338" y="380"/>
                    </a:lnTo>
                    <a:lnTo>
                      <a:pt x="338" y="382"/>
                    </a:lnTo>
                    <a:lnTo>
                      <a:pt x="337" y="380"/>
                    </a:lnTo>
                    <a:lnTo>
                      <a:pt x="338" y="382"/>
                    </a:lnTo>
                    <a:lnTo>
                      <a:pt x="337" y="382"/>
                    </a:lnTo>
                    <a:lnTo>
                      <a:pt x="337" y="384"/>
                    </a:lnTo>
                    <a:lnTo>
                      <a:pt x="337" y="386"/>
                    </a:lnTo>
                    <a:lnTo>
                      <a:pt x="338" y="388"/>
                    </a:lnTo>
                    <a:lnTo>
                      <a:pt x="338" y="386"/>
                    </a:lnTo>
                    <a:lnTo>
                      <a:pt x="338" y="388"/>
                    </a:lnTo>
                    <a:lnTo>
                      <a:pt x="338" y="390"/>
                    </a:lnTo>
                    <a:lnTo>
                      <a:pt x="337" y="390"/>
                    </a:lnTo>
                    <a:lnTo>
                      <a:pt x="337" y="392"/>
                    </a:lnTo>
                    <a:lnTo>
                      <a:pt x="337" y="390"/>
                    </a:lnTo>
                    <a:lnTo>
                      <a:pt x="338" y="390"/>
                    </a:lnTo>
                    <a:lnTo>
                      <a:pt x="338" y="388"/>
                    </a:lnTo>
                    <a:lnTo>
                      <a:pt x="338" y="390"/>
                    </a:lnTo>
                    <a:lnTo>
                      <a:pt x="340" y="390"/>
                    </a:lnTo>
                    <a:lnTo>
                      <a:pt x="338" y="392"/>
                    </a:lnTo>
                    <a:lnTo>
                      <a:pt x="338" y="394"/>
                    </a:lnTo>
                    <a:lnTo>
                      <a:pt x="340" y="394"/>
                    </a:lnTo>
                    <a:lnTo>
                      <a:pt x="338" y="394"/>
                    </a:lnTo>
                    <a:lnTo>
                      <a:pt x="337" y="394"/>
                    </a:lnTo>
                    <a:lnTo>
                      <a:pt x="337" y="392"/>
                    </a:lnTo>
                    <a:lnTo>
                      <a:pt x="335" y="392"/>
                    </a:lnTo>
                    <a:lnTo>
                      <a:pt x="335" y="390"/>
                    </a:lnTo>
                    <a:lnTo>
                      <a:pt x="333" y="390"/>
                    </a:lnTo>
                    <a:lnTo>
                      <a:pt x="335" y="390"/>
                    </a:lnTo>
                    <a:lnTo>
                      <a:pt x="333" y="390"/>
                    </a:lnTo>
                    <a:lnTo>
                      <a:pt x="333" y="388"/>
                    </a:lnTo>
                    <a:lnTo>
                      <a:pt x="335" y="388"/>
                    </a:lnTo>
                    <a:lnTo>
                      <a:pt x="335" y="386"/>
                    </a:lnTo>
                    <a:lnTo>
                      <a:pt x="335" y="384"/>
                    </a:lnTo>
                    <a:lnTo>
                      <a:pt x="335" y="386"/>
                    </a:lnTo>
                    <a:lnTo>
                      <a:pt x="335" y="384"/>
                    </a:lnTo>
                    <a:lnTo>
                      <a:pt x="335" y="386"/>
                    </a:lnTo>
                    <a:lnTo>
                      <a:pt x="335" y="388"/>
                    </a:lnTo>
                    <a:lnTo>
                      <a:pt x="335" y="386"/>
                    </a:lnTo>
                    <a:lnTo>
                      <a:pt x="337" y="386"/>
                    </a:lnTo>
                    <a:lnTo>
                      <a:pt x="335" y="386"/>
                    </a:lnTo>
                    <a:lnTo>
                      <a:pt x="337" y="386"/>
                    </a:lnTo>
                    <a:lnTo>
                      <a:pt x="335" y="386"/>
                    </a:lnTo>
                    <a:lnTo>
                      <a:pt x="335" y="384"/>
                    </a:lnTo>
                    <a:lnTo>
                      <a:pt x="335" y="382"/>
                    </a:lnTo>
                    <a:lnTo>
                      <a:pt x="333" y="382"/>
                    </a:lnTo>
                    <a:lnTo>
                      <a:pt x="333" y="380"/>
                    </a:lnTo>
                    <a:lnTo>
                      <a:pt x="331" y="380"/>
                    </a:lnTo>
                    <a:lnTo>
                      <a:pt x="331" y="378"/>
                    </a:lnTo>
                    <a:lnTo>
                      <a:pt x="333" y="378"/>
                    </a:lnTo>
                    <a:lnTo>
                      <a:pt x="333" y="377"/>
                    </a:lnTo>
                    <a:lnTo>
                      <a:pt x="333" y="375"/>
                    </a:lnTo>
                    <a:lnTo>
                      <a:pt x="335" y="375"/>
                    </a:lnTo>
                    <a:lnTo>
                      <a:pt x="333" y="375"/>
                    </a:lnTo>
                    <a:lnTo>
                      <a:pt x="335" y="375"/>
                    </a:lnTo>
                    <a:lnTo>
                      <a:pt x="335" y="373"/>
                    </a:lnTo>
                    <a:lnTo>
                      <a:pt x="335" y="371"/>
                    </a:lnTo>
                    <a:lnTo>
                      <a:pt x="335" y="373"/>
                    </a:lnTo>
                    <a:lnTo>
                      <a:pt x="337" y="373"/>
                    </a:lnTo>
                    <a:lnTo>
                      <a:pt x="337" y="375"/>
                    </a:lnTo>
                    <a:close/>
                    <a:moveTo>
                      <a:pt x="385" y="353"/>
                    </a:moveTo>
                    <a:lnTo>
                      <a:pt x="385" y="352"/>
                    </a:lnTo>
                    <a:lnTo>
                      <a:pt x="385" y="353"/>
                    </a:lnTo>
                    <a:lnTo>
                      <a:pt x="385" y="352"/>
                    </a:lnTo>
                    <a:lnTo>
                      <a:pt x="386" y="352"/>
                    </a:lnTo>
                    <a:lnTo>
                      <a:pt x="386" y="353"/>
                    </a:lnTo>
                    <a:lnTo>
                      <a:pt x="385" y="353"/>
                    </a:lnTo>
                    <a:lnTo>
                      <a:pt x="383" y="355"/>
                    </a:lnTo>
                    <a:lnTo>
                      <a:pt x="381" y="357"/>
                    </a:lnTo>
                    <a:lnTo>
                      <a:pt x="379" y="357"/>
                    </a:lnTo>
                    <a:lnTo>
                      <a:pt x="379" y="359"/>
                    </a:lnTo>
                    <a:lnTo>
                      <a:pt x="377" y="359"/>
                    </a:lnTo>
                    <a:lnTo>
                      <a:pt x="375" y="359"/>
                    </a:lnTo>
                    <a:lnTo>
                      <a:pt x="375" y="361"/>
                    </a:lnTo>
                    <a:lnTo>
                      <a:pt x="377" y="359"/>
                    </a:lnTo>
                    <a:lnTo>
                      <a:pt x="379" y="359"/>
                    </a:lnTo>
                    <a:lnTo>
                      <a:pt x="379" y="357"/>
                    </a:lnTo>
                    <a:lnTo>
                      <a:pt x="379" y="359"/>
                    </a:lnTo>
                    <a:lnTo>
                      <a:pt x="381" y="359"/>
                    </a:lnTo>
                    <a:lnTo>
                      <a:pt x="381" y="357"/>
                    </a:lnTo>
                    <a:lnTo>
                      <a:pt x="381" y="359"/>
                    </a:lnTo>
                    <a:lnTo>
                      <a:pt x="379" y="359"/>
                    </a:lnTo>
                    <a:lnTo>
                      <a:pt x="381" y="359"/>
                    </a:lnTo>
                    <a:lnTo>
                      <a:pt x="379" y="359"/>
                    </a:lnTo>
                    <a:lnTo>
                      <a:pt x="381" y="359"/>
                    </a:lnTo>
                    <a:lnTo>
                      <a:pt x="379" y="361"/>
                    </a:lnTo>
                    <a:lnTo>
                      <a:pt x="381" y="361"/>
                    </a:lnTo>
                    <a:lnTo>
                      <a:pt x="381" y="359"/>
                    </a:lnTo>
                    <a:lnTo>
                      <a:pt x="381" y="361"/>
                    </a:lnTo>
                    <a:lnTo>
                      <a:pt x="381" y="359"/>
                    </a:lnTo>
                    <a:lnTo>
                      <a:pt x="383" y="359"/>
                    </a:lnTo>
                    <a:lnTo>
                      <a:pt x="383" y="357"/>
                    </a:lnTo>
                    <a:lnTo>
                      <a:pt x="385" y="357"/>
                    </a:lnTo>
                    <a:lnTo>
                      <a:pt x="386" y="357"/>
                    </a:lnTo>
                    <a:lnTo>
                      <a:pt x="388" y="357"/>
                    </a:lnTo>
                    <a:lnTo>
                      <a:pt x="388" y="355"/>
                    </a:lnTo>
                    <a:lnTo>
                      <a:pt x="388" y="357"/>
                    </a:lnTo>
                    <a:lnTo>
                      <a:pt x="388" y="355"/>
                    </a:lnTo>
                    <a:lnTo>
                      <a:pt x="388" y="357"/>
                    </a:lnTo>
                    <a:lnTo>
                      <a:pt x="386" y="357"/>
                    </a:lnTo>
                    <a:lnTo>
                      <a:pt x="385" y="357"/>
                    </a:lnTo>
                    <a:lnTo>
                      <a:pt x="386" y="357"/>
                    </a:lnTo>
                    <a:lnTo>
                      <a:pt x="388" y="357"/>
                    </a:lnTo>
                    <a:lnTo>
                      <a:pt x="388" y="355"/>
                    </a:lnTo>
                    <a:lnTo>
                      <a:pt x="390" y="355"/>
                    </a:lnTo>
                    <a:lnTo>
                      <a:pt x="390" y="357"/>
                    </a:lnTo>
                    <a:lnTo>
                      <a:pt x="388" y="357"/>
                    </a:lnTo>
                    <a:lnTo>
                      <a:pt x="386" y="357"/>
                    </a:lnTo>
                    <a:lnTo>
                      <a:pt x="388" y="357"/>
                    </a:lnTo>
                    <a:lnTo>
                      <a:pt x="390" y="357"/>
                    </a:lnTo>
                    <a:lnTo>
                      <a:pt x="390" y="355"/>
                    </a:lnTo>
                    <a:lnTo>
                      <a:pt x="390" y="357"/>
                    </a:lnTo>
                    <a:lnTo>
                      <a:pt x="388" y="357"/>
                    </a:lnTo>
                    <a:lnTo>
                      <a:pt x="386" y="359"/>
                    </a:lnTo>
                    <a:lnTo>
                      <a:pt x="388" y="357"/>
                    </a:lnTo>
                    <a:lnTo>
                      <a:pt x="386" y="359"/>
                    </a:lnTo>
                    <a:lnTo>
                      <a:pt x="385" y="359"/>
                    </a:lnTo>
                    <a:lnTo>
                      <a:pt x="386" y="359"/>
                    </a:lnTo>
                    <a:lnTo>
                      <a:pt x="388" y="359"/>
                    </a:lnTo>
                    <a:lnTo>
                      <a:pt x="386" y="359"/>
                    </a:lnTo>
                    <a:lnTo>
                      <a:pt x="385" y="359"/>
                    </a:lnTo>
                    <a:lnTo>
                      <a:pt x="385" y="361"/>
                    </a:lnTo>
                    <a:lnTo>
                      <a:pt x="383" y="361"/>
                    </a:lnTo>
                    <a:lnTo>
                      <a:pt x="381" y="361"/>
                    </a:lnTo>
                    <a:lnTo>
                      <a:pt x="381" y="363"/>
                    </a:lnTo>
                    <a:lnTo>
                      <a:pt x="381" y="361"/>
                    </a:lnTo>
                    <a:lnTo>
                      <a:pt x="383" y="361"/>
                    </a:lnTo>
                    <a:lnTo>
                      <a:pt x="381" y="363"/>
                    </a:lnTo>
                    <a:lnTo>
                      <a:pt x="379" y="363"/>
                    </a:lnTo>
                    <a:lnTo>
                      <a:pt x="381" y="363"/>
                    </a:lnTo>
                    <a:lnTo>
                      <a:pt x="383" y="363"/>
                    </a:lnTo>
                    <a:lnTo>
                      <a:pt x="383" y="361"/>
                    </a:lnTo>
                    <a:lnTo>
                      <a:pt x="385" y="361"/>
                    </a:lnTo>
                    <a:lnTo>
                      <a:pt x="383" y="361"/>
                    </a:lnTo>
                    <a:lnTo>
                      <a:pt x="385" y="361"/>
                    </a:lnTo>
                    <a:lnTo>
                      <a:pt x="386" y="361"/>
                    </a:lnTo>
                    <a:lnTo>
                      <a:pt x="388" y="361"/>
                    </a:lnTo>
                    <a:lnTo>
                      <a:pt x="390" y="361"/>
                    </a:lnTo>
                    <a:lnTo>
                      <a:pt x="388" y="361"/>
                    </a:lnTo>
                    <a:lnTo>
                      <a:pt x="386" y="361"/>
                    </a:lnTo>
                    <a:lnTo>
                      <a:pt x="386" y="363"/>
                    </a:lnTo>
                    <a:lnTo>
                      <a:pt x="386" y="361"/>
                    </a:lnTo>
                    <a:lnTo>
                      <a:pt x="386" y="363"/>
                    </a:lnTo>
                    <a:lnTo>
                      <a:pt x="386" y="361"/>
                    </a:lnTo>
                    <a:lnTo>
                      <a:pt x="388" y="361"/>
                    </a:lnTo>
                    <a:lnTo>
                      <a:pt x="390" y="361"/>
                    </a:lnTo>
                    <a:lnTo>
                      <a:pt x="392" y="361"/>
                    </a:lnTo>
                    <a:lnTo>
                      <a:pt x="390" y="361"/>
                    </a:lnTo>
                    <a:lnTo>
                      <a:pt x="392" y="361"/>
                    </a:lnTo>
                    <a:lnTo>
                      <a:pt x="390" y="361"/>
                    </a:lnTo>
                    <a:lnTo>
                      <a:pt x="392" y="361"/>
                    </a:lnTo>
                    <a:lnTo>
                      <a:pt x="390" y="361"/>
                    </a:lnTo>
                    <a:lnTo>
                      <a:pt x="390" y="363"/>
                    </a:lnTo>
                    <a:lnTo>
                      <a:pt x="390" y="361"/>
                    </a:lnTo>
                    <a:lnTo>
                      <a:pt x="390" y="363"/>
                    </a:lnTo>
                    <a:lnTo>
                      <a:pt x="388" y="363"/>
                    </a:lnTo>
                    <a:lnTo>
                      <a:pt x="386" y="363"/>
                    </a:lnTo>
                    <a:lnTo>
                      <a:pt x="386" y="365"/>
                    </a:lnTo>
                    <a:lnTo>
                      <a:pt x="385" y="365"/>
                    </a:lnTo>
                    <a:lnTo>
                      <a:pt x="383" y="365"/>
                    </a:lnTo>
                    <a:lnTo>
                      <a:pt x="381" y="367"/>
                    </a:lnTo>
                    <a:lnTo>
                      <a:pt x="379" y="367"/>
                    </a:lnTo>
                    <a:lnTo>
                      <a:pt x="381" y="367"/>
                    </a:lnTo>
                    <a:lnTo>
                      <a:pt x="383" y="365"/>
                    </a:lnTo>
                    <a:lnTo>
                      <a:pt x="385" y="365"/>
                    </a:lnTo>
                    <a:lnTo>
                      <a:pt x="383" y="365"/>
                    </a:lnTo>
                    <a:lnTo>
                      <a:pt x="385" y="365"/>
                    </a:lnTo>
                    <a:lnTo>
                      <a:pt x="383" y="367"/>
                    </a:lnTo>
                    <a:lnTo>
                      <a:pt x="381" y="367"/>
                    </a:lnTo>
                    <a:lnTo>
                      <a:pt x="379" y="367"/>
                    </a:lnTo>
                    <a:lnTo>
                      <a:pt x="377" y="369"/>
                    </a:lnTo>
                    <a:lnTo>
                      <a:pt x="377" y="367"/>
                    </a:lnTo>
                    <a:lnTo>
                      <a:pt x="377" y="369"/>
                    </a:lnTo>
                    <a:lnTo>
                      <a:pt x="377" y="367"/>
                    </a:lnTo>
                    <a:lnTo>
                      <a:pt x="379" y="367"/>
                    </a:lnTo>
                    <a:lnTo>
                      <a:pt x="377" y="367"/>
                    </a:lnTo>
                    <a:lnTo>
                      <a:pt x="379" y="367"/>
                    </a:lnTo>
                    <a:lnTo>
                      <a:pt x="379" y="365"/>
                    </a:lnTo>
                    <a:lnTo>
                      <a:pt x="381" y="365"/>
                    </a:lnTo>
                    <a:lnTo>
                      <a:pt x="383" y="365"/>
                    </a:lnTo>
                    <a:lnTo>
                      <a:pt x="383" y="363"/>
                    </a:lnTo>
                    <a:lnTo>
                      <a:pt x="385" y="363"/>
                    </a:lnTo>
                    <a:lnTo>
                      <a:pt x="383" y="363"/>
                    </a:lnTo>
                    <a:lnTo>
                      <a:pt x="385" y="363"/>
                    </a:lnTo>
                    <a:lnTo>
                      <a:pt x="383" y="363"/>
                    </a:lnTo>
                    <a:lnTo>
                      <a:pt x="383" y="365"/>
                    </a:lnTo>
                    <a:lnTo>
                      <a:pt x="379" y="365"/>
                    </a:lnTo>
                    <a:lnTo>
                      <a:pt x="379" y="367"/>
                    </a:lnTo>
                    <a:lnTo>
                      <a:pt x="377" y="367"/>
                    </a:lnTo>
                    <a:lnTo>
                      <a:pt x="375" y="369"/>
                    </a:lnTo>
                    <a:lnTo>
                      <a:pt x="373" y="369"/>
                    </a:lnTo>
                    <a:lnTo>
                      <a:pt x="373" y="371"/>
                    </a:lnTo>
                    <a:lnTo>
                      <a:pt x="371" y="371"/>
                    </a:lnTo>
                    <a:lnTo>
                      <a:pt x="373" y="369"/>
                    </a:lnTo>
                    <a:lnTo>
                      <a:pt x="375" y="367"/>
                    </a:lnTo>
                    <a:lnTo>
                      <a:pt x="373" y="367"/>
                    </a:lnTo>
                    <a:lnTo>
                      <a:pt x="373" y="369"/>
                    </a:lnTo>
                    <a:lnTo>
                      <a:pt x="373" y="367"/>
                    </a:lnTo>
                    <a:lnTo>
                      <a:pt x="373" y="369"/>
                    </a:lnTo>
                    <a:lnTo>
                      <a:pt x="371" y="369"/>
                    </a:lnTo>
                    <a:lnTo>
                      <a:pt x="371" y="371"/>
                    </a:lnTo>
                    <a:lnTo>
                      <a:pt x="369" y="371"/>
                    </a:lnTo>
                    <a:lnTo>
                      <a:pt x="371" y="371"/>
                    </a:lnTo>
                    <a:lnTo>
                      <a:pt x="369" y="371"/>
                    </a:lnTo>
                    <a:lnTo>
                      <a:pt x="369" y="373"/>
                    </a:lnTo>
                    <a:lnTo>
                      <a:pt x="367" y="373"/>
                    </a:lnTo>
                    <a:lnTo>
                      <a:pt x="365" y="373"/>
                    </a:lnTo>
                    <a:lnTo>
                      <a:pt x="363" y="373"/>
                    </a:lnTo>
                    <a:lnTo>
                      <a:pt x="361" y="373"/>
                    </a:lnTo>
                    <a:lnTo>
                      <a:pt x="363" y="373"/>
                    </a:lnTo>
                    <a:lnTo>
                      <a:pt x="361" y="375"/>
                    </a:lnTo>
                    <a:lnTo>
                      <a:pt x="361" y="373"/>
                    </a:lnTo>
                    <a:lnTo>
                      <a:pt x="363" y="373"/>
                    </a:lnTo>
                    <a:lnTo>
                      <a:pt x="363" y="371"/>
                    </a:lnTo>
                    <a:lnTo>
                      <a:pt x="365" y="371"/>
                    </a:lnTo>
                    <a:lnTo>
                      <a:pt x="363" y="371"/>
                    </a:lnTo>
                    <a:lnTo>
                      <a:pt x="365" y="371"/>
                    </a:lnTo>
                    <a:lnTo>
                      <a:pt x="363" y="371"/>
                    </a:lnTo>
                    <a:lnTo>
                      <a:pt x="363" y="369"/>
                    </a:lnTo>
                    <a:lnTo>
                      <a:pt x="365" y="369"/>
                    </a:lnTo>
                    <a:lnTo>
                      <a:pt x="363" y="367"/>
                    </a:lnTo>
                    <a:lnTo>
                      <a:pt x="365" y="365"/>
                    </a:lnTo>
                    <a:lnTo>
                      <a:pt x="367" y="365"/>
                    </a:lnTo>
                    <a:lnTo>
                      <a:pt x="365" y="365"/>
                    </a:lnTo>
                    <a:lnTo>
                      <a:pt x="367" y="363"/>
                    </a:lnTo>
                    <a:lnTo>
                      <a:pt x="369" y="363"/>
                    </a:lnTo>
                    <a:lnTo>
                      <a:pt x="369" y="361"/>
                    </a:lnTo>
                    <a:lnTo>
                      <a:pt x="371" y="361"/>
                    </a:lnTo>
                    <a:lnTo>
                      <a:pt x="369" y="361"/>
                    </a:lnTo>
                    <a:lnTo>
                      <a:pt x="371" y="361"/>
                    </a:lnTo>
                    <a:lnTo>
                      <a:pt x="371" y="359"/>
                    </a:lnTo>
                    <a:lnTo>
                      <a:pt x="373" y="359"/>
                    </a:lnTo>
                    <a:lnTo>
                      <a:pt x="375" y="357"/>
                    </a:lnTo>
                    <a:lnTo>
                      <a:pt x="375" y="359"/>
                    </a:lnTo>
                    <a:lnTo>
                      <a:pt x="377" y="357"/>
                    </a:lnTo>
                    <a:lnTo>
                      <a:pt x="379" y="357"/>
                    </a:lnTo>
                    <a:lnTo>
                      <a:pt x="381" y="355"/>
                    </a:lnTo>
                    <a:lnTo>
                      <a:pt x="383" y="355"/>
                    </a:lnTo>
                    <a:lnTo>
                      <a:pt x="383" y="353"/>
                    </a:lnTo>
                    <a:lnTo>
                      <a:pt x="385" y="353"/>
                    </a:lnTo>
                    <a:lnTo>
                      <a:pt x="385" y="352"/>
                    </a:lnTo>
                    <a:lnTo>
                      <a:pt x="386" y="352"/>
                    </a:lnTo>
                    <a:lnTo>
                      <a:pt x="385" y="352"/>
                    </a:lnTo>
                    <a:lnTo>
                      <a:pt x="385" y="353"/>
                    </a:lnTo>
                    <a:close/>
                    <a:moveTo>
                      <a:pt x="275" y="392"/>
                    </a:moveTo>
                    <a:lnTo>
                      <a:pt x="275" y="394"/>
                    </a:lnTo>
                    <a:lnTo>
                      <a:pt x="275" y="392"/>
                    </a:lnTo>
                    <a:lnTo>
                      <a:pt x="277" y="392"/>
                    </a:lnTo>
                    <a:lnTo>
                      <a:pt x="275" y="392"/>
                    </a:lnTo>
                    <a:lnTo>
                      <a:pt x="275" y="394"/>
                    </a:lnTo>
                    <a:lnTo>
                      <a:pt x="273" y="396"/>
                    </a:lnTo>
                    <a:lnTo>
                      <a:pt x="273" y="398"/>
                    </a:lnTo>
                    <a:lnTo>
                      <a:pt x="273" y="396"/>
                    </a:lnTo>
                    <a:lnTo>
                      <a:pt x="273" y="398"/>
                    </a:lnTo>
                    <a:lnTo>
                      <a:pt x="271" y="398"/>
                    </a:lnTo>
                    <a:lnTo>
                      <a:pt x="273" y="398"/>
                    </a:lnTo>
                    <a:lnTo>
                      <a:pt x="273" y="396"/>
                    </a:lnTo>
                    <a:lnTo>
                      <a:pt x="273" y="394"/>
                    </a:lnTo>
                    <a:lnTo>
                      <a:pt x="273" y="396"/>
                    </a:lnTo>
                    <a:lnTo>
                      <a:pt x="273" y="398"/>
                    </a:lnTo>
                    <a:lnTo>
                      <a:pt x="271" y="398"/>
                    </a:lnTo>
                    <a:lnTo>
                      <a:pt x="271" y="396"/>
                    </a:lnTo>
                    <a:lnTo>
                      <a:pt x="269" y="396"/>
                    </a:lnTo>
                    <a:lnTo>
                      <a:pt x="267" y="396"/>
                    </a:lnTo>
                    <a:lnTo>
                      <a:pt x="269" y="396"/>
                    </a:lnTo>
                    <a:lnTo>
                      <a:pt x="267" y="398"/>
                    </a:lnTo>
                    <a:lnTo>
                      <a:pt x="269" y="398"/>
                    </a:lnTo>
                    <a:lnTo>
                      <a:pt x="269" y="396"/>
                    </a:lnTo>
                    <a:lnTo>
                      <a:pt x="271" y="398"/>
                    </a:lnTo>
                    <a:lnTo>
                      <a:pt x="271" y="396"/>
                    </a:lnTo>
                    <a:lnTo>
                      <a:pt x="269" y="396"/>
                    </a:lnTo>
                    <a:lnTo>
                      <a:pt x="271" y="396"/>
                    </a:lnTo>
                    <a:lnTo>
                      <a:pt x="271" y="398"/>
                    </a:lnTo>
                    <a:lnTo>
                      <a:pt x="269" y="400"/>
                    </a:lnTo>
                    <a:lnTo>
                      <a:pt x="267" y="400"/>
                    </a:lnTo>
                    <a:lnTo>
                      <a:pt x="265" y="400"/>
                    </a:lnTo>
                    <a:lnTo>
                      <a:pt x="264" y="400"/>
                    </a:lnTo>
                    <a:lnTo>
                      <a:pt x="262" y="400"/>
                    </a:lnTo>
                    <a:lnTo>
                      <a:pt x="260" y="400"/>
                    </a:lnTo>
                    <a:lnTo>
                      <a:pt x="258" y="400"/>
                    </a:lnTo>
                    <a:lnTo>
                      <a:pt x="256" y="400"/>
                    </a:lnTo>
                    <a:lnTo>
                      <a:pt x="254" y="398"/>
                    </a:lnTo>
                    <a:lnTo>
                      <a:pt x="254" y="400"/>
                    </a:lnTo>
                    <a:lnTo>
                      <a:pt x="252" y="400"/>
                    </a:lnTo>
                    <a:lnTo>
                      <a:pt x="252" y="398"/>
                    </a:lnTo>
                    <a:lnTo>
                      <a:pt x="250" y="398"/>
                    </a:lnTo>
                    <a:lnTo>
                      <a:pt x="248" y="398"/>
                    </a:lnTo>
                    <a:lnTo>
                      <a:pt x="248" y="396"/>
                    </a:lnTo>
                    <a:lnTo>
                      <a:pt x="250" y="396"/>
                    </a:lnTo>
                    <a:lnTo>
                      <a:pt x="248" y="396"/>
                    </a:lnTo>
                    <a:lnTo>
                      <a:pt x="248" y="394"/>
                    </a:lnTo>
                    <a:lnTo>
                      <a:pt x="250" y="394"/>
                    </a:lnTo>
                    <a:lnTo>
                      <a:pt x="252" y="394"/>
                    </a:lnTo>
                    <a:lnTo>
                      <a:pt x="250" y="396"/>
                    </a:lnTo>
                    <a:lnTo>
                      <a:pt x="252" y="394"/>
                    </a:lnTo>
                    <a:lnTo>
                      <a:pt x="252" y="396"/>
                    </a:lnTo>
                    <a:lnTo>
                      <a:pt x="254" y="396"/>
                    </a:lnTo>
                    <a:lnTo>
                      <a:pt x="256" y="396"/>
                    </a:lnTo>
                    <a:lnTo>
                      <a:pt x="258" y="396"/>
                    </a:lnTo>
                    <a:lnTo>
                      <a:pt x="258" y="398"/>
                    </a:lnTo>
                    <a:lnTo>
                      <a:pt x="258" y="396"/>
                    </a:lnTo>
                    <a:lnTo>
                      <a:pt x="260" y="396"/>
                    </a:lnTo>
                    <a:lnTo>
                      <a:pt x="260" y="398"/>
                    </a:lnTo>
                    <a:lnTo>
                      <a:pt x="258" y="398"/>
                    </a:lnTo>
                    <a:lnTo>
                      <a:pt x="256" y="398"/>
                    </a:lnTo>
                    <a:lnTo>
                      <a:pt x="258" y="398"/>
                    </a:lnTo>
                    <a:lnTo>
                      <a:pt x="260" y="398"/>
                    </a:lnTo>
                    <a:lnTo>
                      <a:pt x="262" y="398"/>
                    </a:lnTo>
                    <a:lnTo>
                      <a:pt x="262" y="400"/>
                    </a:lnTo>
                    <a:lnTo>
                      <a:pt x="264" y="400"/>
                    </a:lnTo>
                    <a:lnTo>
                      <a:pt x="264" y="398"/>
                    </a:lnTo>
                    <a:lnTo>
                      <a:pt x="265" y="398"/>
                    </a:lnTo>
                    <a:lnTo>
                      <a:pt x="265" y="396"/>
                    </a:lnTo>
                    <a:lnTo>
                      <a:pt x="265" y="394"/>
                    </a:lnTo>
                    <a:lnTo>
                      <a:pt x="267" y="394"/>
                    </a:lnTo>
                    <a:lnTo>
                      <a:pt x="267" y="392"/>
                    </a:lnTo>
                    <a:lnTo>
                      <a:pt x="265" y="392"/>
                    </a:lnTo>
                    <a:lnTo>
                      <a:pt x="265" y="390"/>
                    </a:lnTo>
                    <a:lnTo>
                      <a:pt x="265" y="388"/>
                    </a:lnTo>
                    <a:lnTo>
                      <a:pt x="267" y="388"/>
                    </a:lnTo>
                    <a:lnTo>
                      <a:pt x="267" y="386"/>
                    </a:lnTo>
                    <a:lnTo>
                      <a:pt x="267" y="388"/>
                    </a:lnTo>
                    <a:lnTo>
                      <a:pt x="267" y="390"/>
                    </a:lnTo>
                    <a:lnTo>
                      <a:pt x="267" y="388"/>
                    </a:lnTo>
                    <a:lnTo>
                      <a:pt x="267" y="386"/>
                    </a:lnTo>
                    <a:lnTo>
                      <a:pt x="265" y="386"/>
                    </a:lnTo>
                    <a:lnTo>
                      <a:pt x="265" y="384"/>
                    </a:lnTo>
                    <a:lnTo>
                      <a:pt x="267" y="384"/>
                    </a:lnTo>
                    <a:lnTo>
                      <a:pt x="267" y="386"/>
                    </a:lnTo>
                    <a:lnTo>
                      <a:pt x="269" y="386"/>
                    </a:lnTo>
                    <a:lnTo>
                      <a:pt x="269" y="384"/>
                    </a:lnTo>
                    <a:lnTo>
                      <a:pt x="271" y="386"/>
                    </a:lnTo>
                    <a:lnTo>
                      <a:pt x="271" y="388"/>
                    </a:lnTo>
                    <a:lnTo>
                      <a:pt x="269" y="390"/>
                    </a:lnTo>
                    <a:lnTo>
                      <a:pt x="271" y="390"/>
                    </a:lnTo>
                    <a:lnTo>
                      <a:pt x="273" y="390"/>
                    </a:lnTo>
                    <a:lnTo>
                      <a:pt x="275" y="390"/>
                    </a:lnTo>
                    <a:lnTo>
                      <a:pt x="275" y="392"/>
                    </a:lnTo>
                    <a:close/>
                    <a:moveTo>
                      <a:pt x="335" y="353"/>
                    </a:moveTo>
                    <a:lnTo>
                      <a:pt x="337" y="352"/>
                    </a:lnTo>
                    <a:lnTo>
                      <a:pt x="337" y="353"/>
                    </a:lnTo>
                    <a:lnTo>
                      <a:pt x="338" y="353"/>
                    </a:lnTo>
                    <a:lnTo>
                      <a:pt x="337" y="353"/>
                    </a:lnTo>
                    <a:lnTo>
                      <a:pt x="338" y="353"/>
                    </a:lnTo>
                    <a:lnTo>
                      <a:pt x="338" y="355"/>
                    </a:lnTo>
                    <a:lnTo>
                      <a:pt x="337" y="355"/>
                    </a:lnTo>
                    <a:lnTo>
                      <a:pt x="338" y="355"/>
                    </a:lnTo>
                    <a:lnTo>
                      <a:pt x="338" y="357"/>
                    </a:lnTo>
                    <a:lnTo>
                      <a:pt x="338" y="355"/>
                    </a:lnTo>
                    <a:lnTo>
                      <a:pt x="337" y="355"/>
                    </a:lnTo>
                    <a:lnTo>
                      <a:pt x="338" y="355"/>
                    </a:lnTo>
                    <a:lnTo>
                      <a:pt x="338" y="353"/>
                    </a:lnTo>
                    <a:lnTo>
                      <a:pt x="338" y="355"/>
                    </a:lnTo>
                    <a:lnTo>
                      <a:pt x="340" y="355"/>
                    </a:lnTo>
                    <a:lnTo>
                      <a:pt x="340" y="357"/>
                    </a:lnTo>
                    <a:lnTo>
                      <a:pt x="342" y="357"/>
                    </a:lnTo>
                    <a:lnTo>
                      <a:pt x="340" y="355"/>
                    </a:lnTo>
                    <a:lnTo>
                      <a:pt x="342" y="355"/>
                    </a:lnTo>
                    <a:lnTo>
                      <a:pt x="342" y="357"/>
                    </a:lnTo>
                    <a:lnTo>
                      <a:pt x="342" y="359"/>
                    </a:lnTo>
                    <a:lnTo>
                      <a:pt x="342" y="361"/>
                    </a:lnTo>
                    <a:lnTo>
                      <a:pt x="340" y="361"/>
                    </a:lnTo>
                    <a:lnTo>
                      <a:pt x="340" y="363"/>
                    </a:lnTo>
                    <a:lnTo>
                      <a:pt x="338" y="363"/>
                    </a:lnTo>
                    <a:lnTo>
                      <a:pt x="338" y="365"/>
                    </a:lnTo>
                    <a:lnTo>
                      <a:pt x="337" y="365"/>
                    </a:lnTo>
                    <a:lnTo>
                      <a:pt x="335" y="365"/>
                    </a:lnTo>
                    <a:lnTo>
                      <a:pt x="335" y="363"/>
                    </a:lnTo>
                    <a:lnTo>
                      <a:pt x="335" y="365"/>
                    </a:lnTo>
                    <a:lnTo>
                      <a:pt x="335" y="363"/>
                    </a:lnTo>
                    <a:lnTo>
                      <a:pt x="335" y="361"/>
                    </a:lnTo>
                    <a:lnTo>
                      <a:pt x="337" y="361"/>
                    </a:lnTo>
                    <a:lnTo>
                      <a:pt x="335" y="361"/>
                    </a:lnTo>
                    <a:lnTo>
                      <a:pt x="335" y="359"/>
                    </a:lnTo>
                    <a:lnTo>
                      <a:pt x="333" y="359"/>
                    </a:lnTo>
                    <a:lnTo>
                      <a:pt x="333" y="357"/>
                    </a:lnTo>
                    <a:lnTo>
                      <a:pt x="335" y="357"/>
                    </a:lnTo>
                    <a:lnTo>
                      <a:pt x="335" y="355"/>
                    </a:lnTo>
                    <a:lnTo>
                      <a:pt x="335" y="353"/>
                    </a:lnTo>
                    <a:close/>
                    <a:moveTo>
                      <a:pt x="348" y="361"/>
                    </a:moveTo>
                    <a:lnTo>
                      <a:pt x="350" y="361"/>
                    </a:lnTo>
                    <a:lnTo>
                      <a:pt x="348" y="361"/>
                    </a:lnTo>
                    <a:lnTo>
                      <a:pt x="348" y="359"/>
                    </a:lnTo>
                    <a:lnTo>
                      <a:pt x="348" y="361"/>
                    </a:lnTo>
                    <a:lnTo>
                      <a:pt x="346" y="361"/>
                    </a:lnTo>
                    <a:lnTo>
                      <a:pt x="346" y="363"/>
                    </a:lnTo>
                    <a:lnTo>
                      <a:pt x="344" y="363"/>
                    </a:lnTo>
                    <a:lnTo>
                      <a:pt x="344" y="361"/>
                    </a:lnTo>
                    <a:lnTo>
                      <a:pt x="342" y="361"/>
                    </a:lnTo>
                    <a:lnTo>
                      <a:pt x="344" y="361"/>
                    </a:lnTo>
                    <a:lnTo>
                      <a:pt x="344" y="359"/>
                    </a:lnTo>
                    <a:lnTo>
                      <a:pt x="342" y="361"/>
                    </a:lnTo>
                    <a:lnTo>
                      <a:pt x="342" y="363"/>
                    </a:lnTo>
                    <a:lnTo>
                      <a:pt x="342" y="361"/>
                    </a:lnTo>
                    <a:lnTo>
                      <a:pt x="344" y="361"/>
                    </a:lnTo>
                    <a:lnTo>
                      <a:pt x="344" y="363"/>
                    </a:lnTo>
                    <a:lnTo>
                      <a:pt x="342" y="363"/>
                    </a:lnTo>
                    <a:lnTo>
                      <a:pt x="344" y="363"/>
                    </a:lnTo>
                    <a:lnTo>
                      <a:pt x="344" y="361"/>
                    </a:lnTo>
                    <a:lnTo>
                      <a:pt x="344" y="363"/>
                    </a:lnTo>
                    <a:lnTo>
                      <a:pt x="342" y="363"/>
                    </a:lnTo>
                    <a:lnTo>
                      <a:pt x="342" y="365"/>
                    </a:lnTo>
                    <a:lnTo>
                      <a:pt x="340" y="367"/>
                    </a:lnTo>
                    <a:lnTo>
                      <a:pt x="338" y="369"/>
                    </a:lnTo>
                    <a:lnTo>
                      <a:pt x="338" y="371"/>
                    </a:lnTo>
                    <a:lnTo>
                      <a:pt x="337" y="373"/>
                    </a:lnTo>
                    <a:lnTo>
                      <a:pt x="337" y="375"/>
                    </a:lnTo>
                    <a:lnTo>
                      <a:pt x="338" y="375"/>
                    </a:lnTo>
                    <a:lnTo>
                      <a:pt x="338" y="377"/>
                    </a:lnTo>
                    <a:lnTo>
                      <a:pt x="337" y="378"/>
                    </a:lnTo>
                    <a:lnTo>
                      <a:pt x="337" y="377"/>
                    </a:lnTo>
                    <a:lnTo>
                      <a:pt x="337" y="375"/>
                    </a:lnTo>
                    <a:lnTo>
                      <a:pt x="337" y="373"/>
                    </a:lnTo>
                    <a:lnTo>
                      <a:pt x="335" y="373"/>
                    </a:lnTo>
                    <a:lnTo>
                      <a:pt x="337" y="373"/>
                    </a:lnTo>
                    <a:lnTo>
                      <a:pt x="337" y="371"/>
                    </a:lnTo>
                    <a:lnTo>
                      <a:pt x="338" y="371"/>
                    </a:lnTo>
                    <a:lnTo>
                      <a:pt x="338" y="369"/>
                    </a:lnTo>
                    <a:lnTo>
                      <a:pt x="338" y="367"/>
                    </a:lnTo>
                    <a:lnTo>
                      <a:pt x="338" y="369"/>
                    </a:lnTo>
                    <a:lnTo>
                      <a:pt x="338" y="367"/>
                    </a:lnTo>
                    <a:lnTo>
                      <a:pt x="338" y="365"/>
                    </a:lnTo>
                    <a:lnTo>
                      <a:pt x="340" y="363"/>
                    </a:lnTo>
                    <a:lnTo>
                      <a:pt x="338" y="363"/>
                    </a:lnTo>
                    <a:lnTo>
                      <a:pt x="340" y="363"/>
                    </a:lnTo>
                    <a:lnTo>
                      <a:pt x="340" y="361"/>
                    </a:lnTo>
                    <a:lnTo>
                      <a:pt x="342" y="361"/>
                    </a:lnTo>
                    <a:lnTo>
                      <a:pt x="342" y="359"/>
                    </a:lnTo>
                    <a:lnTo>
                      <a:pt x="344" y="359"/>
                    </a:lnTo>
                    <a:lnTo>
                      <a:pt x="342" y="359"/>
                    </a:lnTo>
                    <a:lnTo>
                      <a:pt x="344" y="359"/>
                    </a:lnTo>
                    <a:lnTo>
                      <a:pt x="342" y="357"/>
                    </a:lnTo>
                    <a:lnTo>
                      <a:pt x="344" y="357"/>
                    </a:lnTo>
                    <a:lnTo>
                      <a:pt x="342" y="355"/>
                    </a:lnTo>
                    <a:lnTo>
                      <a:pt x="344" y="355"/>
                    </a:lnTo>
                    <a:lnTo>
                      <a:pt x="344" y="353"/>
                    </a:lnTo>
                    <a:lnTo>
                      <a:pt x="344" y="355"/>
                    </a:lnTo>
                    <a:lnTo>
                      <a:pt x="344" y="353"/>
                    </a:lnTo>
                    <a:lnTo>
                      <a:pt x="342" y="353"/>
                    </a:lnTo>
                    <a:lnTo>
                      <a:pt x="342" y="352"/>
                    </a:lnTo>
                    <a:lnTo>
                      <a:pt x="344" y="352"/>
                    </a:lnTo>
                    <a:lnTo>
                      <a:pt x="344" y="350"/>
                    </a:lnTo>
                    <a:lnTo>
                      <a:pt x="344" y="348"/>
                    </a:lnTo>
                    <a:lnTo>
                      <a:pt x="346" y="348"/>
                    </a:lnTo>
                    <a:lnTo>
                      <a:pt x="346" y="346"/>
                    </a:lnTo>
                    <a:lnTo>
                      <a:pt x="348" y="346"/>
                    </a:lnTo>
                    <a:lnTo>
                      <a:pt x="348" y="344"/>
                    </a:lnTo>
                    <a:lnTo>
                      <a:pt x="350" y="344"/>
                    </a:lnTo>
                    <a:lnTo>
                      <a:pt x="350" y="346"/>
                    </a:lnTo>
                    <a:lnTo>
                      <a:pt x="348" y="348"/>
                    </a:lnTo>
                    <a:lnTo>
                      <a:pt x="348" y="350"/>
                    </a:lnTo>
                    <a:lnTo>
                      <a:pt x="346" y="350"/>
                    </a:lnTo>
                    <a:lnTo>
                      <a:pt x="346" y="352"/>
                    </a:lnTo>
                    <a:lnTo>
                      <a:pt x="344" y="352"/>
                    </a:lnTo>
                    <a:lnTo>
                      <a:pt x="346" y="352"/>
                    </a:lnTo>
                    <a:lnTo>
                      <a:pt x="346" y="353"/>
                    </a:lnTo>
                    <a:lnTo>
                      <a:pt x="344" y="353"/>
                    </a:lnTo>
                    <a:lnTo>
                      <a:pt x="346" y="353"/>
                    </a:lnTo>
                    <a:lnTo>
                      <a:pt x="344" y="352"/>
                    </a:lnTo>
                    <a:lnTo>
                      <a:pt x="346" y="352"/>
                    </a:lnTo>
                    <a:lnTo>
                      <a:pt x="346" y="350"/>
                    </a:lnTo>
                    <a:lnTo>
                      <a:pt x="348" y="350"/>
                    </a:lnTo>
                    <a:lnTo>
                      <a:pt x="348" y="352"/>
                    </a:lnTo>
                    <a:lnTo>
                      <a:pt x="348" y="350"/>
                    </a:lnTo>
                    <a:lnTo>
                      <a:pt x="348" y="348"/>
                    </a:lnTo>
                    <a:lnTo>
                      <a:pt x="350" y="348"/>
                    </a:lnTo>
                    <a:lnTo>
                      <a:pt x="350" y="346"/>
                    </a:lnTo>
                    <a:lnTo>
                      <a:pt x="350" y="344"/>
                    </a:lnTo>
                    <a:lnTo>
                      <a:pt x="350" y="346"/>
                    </a:lnTo>
                    <a:lnTo>
                      <a:pt x="352" y="344"/>
                    </a:lnTo>
                    <a:lnTo>
                      <a:pt x="352" y="342"/>
                    </a:lnTo>
                    <a:lnTo>
                      <a:pt x="354" y="342"/>
                    </a:lnTo>
                    <a:lnTo>
                      <a:pt x="356" y="340"/>
                    </a:lnTo>
                    <a:lnTo>
                      <a:pt x="356" y="342"/>
                    </a:lnTo>
                    <a:lnTo>
                      <a:pt x="354" y="342"/>
                    </a:lnTo>
                    <a:lnTo>
                      <a:pt x="356" y="342"/>
                    </a:lnTo>
                    <a:lnTo>
                      <a:pt x="356" y="340"/>
                    </a:lnTo>
                    <a:lnTo>
                      <a:pt x="358" y="340"/>
                    </a:lnTo>
                    <a:lnTo>
                      <a:pt x="358" y="342"/>
                    </a:lnTo>
                    <a:lnTo>
                      <a:pt x="356" y="342"/>
                    </a:lnTo>
                    <a:lnTo>
                      <a:pt x="356" y="344"/>
                    </a:lnTo>
                    <a:lnTo>
                      <a:pt x="356" y="346"/>
                    </a:lnTo>
                    <a:lnTo>
                      <a:pt x="354" y="346"/>
                    </a:lnTo>
                    <a:lnTo>
                      <a:pt x="354" y="348"/>
                    </a:lnTo>
                    <a:lnTo>
                      <a:pt x="352" y="348"/>
                    </a:lnTo>
                    <a:lnTo>
                      <a:pt x="352" y="350"/>
                    </a:lnTo>
                    <a:lnTo>
                      <a:pt x="350" y="350"/>
                    </a:lnTo>
                    <a:lnTo>
                      <a:pt x="350" y="352"/>
                    </a:lnTo>
                    <a:lnTo>
                      <a:pt x="348" y="352"/>
                    </a:lnTo>
                    <a:lnTo>
                      <a:pt x="348" y="353"/>
                    </a:lnTo>
                    <a:lnTo>
                      <a:pt x="350" y="353"/>
                    </a:lnTo>
                    <a:lnTo>
                      <a:pt x="348" y="355"/>
                    </a:lnTo>
                    <a:lnTo>
                      <a:pt x="346" y="357"/>
                    </a:lnTo>
                    <a:lnTo>
                      <a:pt x="348" y="355"/>
                    </a:lnTo>
                    <a:lnTo>
                      <a:pt x="350" y="355"/>
                    </a:lnTo>
                    <a:lnTo>
                      <a:pt x="350" y="353"/>
                    </a:lnTo>
                    <a:lnTo>
                      <a:pt x="350" y="355"/>
                    </a:lnTo>
                    <a:lnTo>
                      <a:pt x="350" y="353"/>
                    </a:lnTo>
                    <a:lnTo>
                      <a:pt x="348" y="353"/>
                    </a:lnTo>
                    <a:lnTo>
                      <a:pt x="348" y="352"/>
                    </a:lnTo>
                    <a:lnTo>
                      <a:pt x="350" y="352"/>
                    </a:lnTo>
                    <a:lnTo>
                      <a:pt x="350" y="350"/>
                    </a:lnTo>
                    <a:lnTo>
                      <a:pt x="352" y="350"/>
                    </a:lnTo>
                    <a:lnTo>
                      <a:pt x="352" y="348"/>
                    </a:lnTo>
                    <a:lnTo>
                      <a:pt x="354" y="348"/>
                    </a:lnTo>
                    <a:lnTo>
                      <a:pt x="356" y="348"/>
                    </a:lnTo>
                    <a:lnTo>
                      <a:pt x="356" y="346"/>
                    </a:lnTo>
                    <a:lnTo>
                      <a:pt x="358" y="344"/>
                    </a:lnTo>
                    <a:lnTo>
                      <a:pt x="358" y="346"/>
                    </a:lnTo>
                    <a:lnTo>
                      <a:pt x="356" y="346"/>
                    </a:lnTo>
                    <a:lnTo>
                      <a:pt x="356" y="348"/>
                    </a:lnTo>
                    <a:lnTo>
                      <a:pt x="354" y="348"/>
                    </a:lnTo>
                    <a:lnTo>
                      <a:pt x="354" y="350"/>
                    </a:lnTo>
                    <a:lnTo>
                      <a:pt x="354" y="348"/>
                    </a:lnTo>
                    <a:lnTo>
                      <a:pt x="354" y="350"/>
                    </a:lnTo>
                    <a:lnTo>
                      <a:pt x="356" y="350"/>
                    </a:lnTo>
                    <a:lnTo>
                      <a:pt x="356" y="352"/>
                    </a:lnTo>
                    <a:lnTo>
                      <a:pt x="354" y="352"/>
                    </a:lnTo>
                    <a:lnTo>
                      <a:pt x="354" y="353"/>
                    </a:lnTo>
                    <a:lnTo>
                      <a:pt x="352" y="353"/>
                    </a:lnTo>
                    <a:lnTo>
                      <a:pt x="350" y="353"/>
                    </a:lnTo>
                    <a:lnTo>
                      <a:pt x="352" y="353"/>
                    </a:lnTo>
                    <a:lnTo>
                      <a:pt x="350" y="355"/>
                    </a:lnTo>
                    <a:lnTo>
                      <a:pt x="348" y="355"/>
                    </a:lnTo>
                    <a:lnTo>
                      <a:pt x="348" y="357"/>
                    </a:lnTo>
                    <a:lnTo>
                      <a:pt x="350" y="357"/>
                    </a:lnTo>
                    <a:lnTo>
                      <a:pt x="348" y="357"/>
                    </a:lnTo>
                    <a:lnTo>
                      <a:pt x="348" y="359"/>
                    </a:lnTo>
                    <a:lnTo>
                      <a:pt x="350" y="357"/>
                    </a:lnTo>
                    <a:lnTo>
                      <a:pt x="348" y="357"/>
                    </a:lnTo>
                    <a:lnTo>
                      <a:pt x="350" y="357"/>
                    </a:lnTo>
                    <a:lnTo>
                      <a:pt x="350" y="355"/>
                    </a:lnTo>
                    <a:lnTo>
                      <a:pt x="352" y="355"/>
                    </a:lnTo>
                    <a:lnTo>
                      <a:pt x="352" y="353"/>
                    </a:lnTo>
                    <a:lnTo>
                      <a:pt x="354" y="353"/>
                    </a:lnTo>
                    <a:lnTo>
                      <a:pt x="354" y="352"/>
                    </a:lnTo>
                    <a:lnTo>
                      <a:pt x="356" y="352"/>
                    </a:lnTo>
                    <a:lnTo>
                      <a:pt x="358" y="350"/>
                    </a:lnTo>
                    <a:lnTo>
                      <a:pt x="356" y="350"/>
                    </a:lnTo>
                    <a:lnTo>
                      <a:pt x="358" y="350"/>
                    </a:lnTo>
                    <a:lnTo>
                      <a:pt x="360" y="350"/>
                    </a:lnTo>
                    <a:lnTo>
                      <a:pt x="360" y="348"/>
                    </a:lnTo>
                    <a:lnTo>
                      <a:pt x="361" y="346"/>
                    </a:lnTo>
                    <a:lnTo>
                      <a:pt x="363" y="346"/>
                    </a:lnTo>
                    <a:lnTo>
                      <a:pt x="363" y="348"/>
                    </a:lnTo>
                    <a:lnTo>
                      <a:pt x="361" y="348"/>
                    </a:lnTo>
                    <a:lnTo>
                      <a:pt x="361" y="350"/>
                    </a:lnTo>
                    <a:lnTo>
                      <a:pt x="360" y="350"/>
                    </a:lnTo>
                    <a:lnTo>
                      <a:pt x="358" y="352"/>
                    </a:lnTo>
                    <a:lnTo>
                      <a:pt x="358" y="353"/>
                    </a:lnTo>
                    <a:lnTo>
                      <a:pt x="358" y="352"/>
                    </a:lnTo>
                    <a:lnTo>
                      <a:pt x="360" y="350"/>
                    </a:lnTo>
                    <a:lnTo>
                      <a:pt x="361" y="350"/>
                    </a:lnTo>
                    <a:lnTo>
                      <a:pt x="361" y="348"/>
                    </a:lnTo>
                    <a:lnTo>
                      <a:pt x="363" y="346"/>
                    </a:lnTo>
                    <a:lnTo>
                      <a:pt x="363" y="348"/>
                    </a:lnTo>
                    <a:lnTo>
                      <a:pt x="363" y="346"/>
                    </a:lnTo>
                    <a:lnTo>
                      <a:pt x="363" y="348"/>
                    </a:lnTo>
                    <a:lnTo>
                      <a:pt x="361" y="348"/>
                    </a:lnTo>
                    <a:lnTo>
                      <a:pt x="361" y="350"/>
                    </a:lnTo>
                    <a:lnTo>
                      <a:pt x="360" y="352"/>
                    </a:lnTo>
                    <a:lnTo>
                      <a:pt x="358" y="353"/>
                    </a:lnTo>
                    <a:lnTo>
                      <a:pt x="360" y="355"/>
                    </a:lnTo>
                    <a:lnTo>
                      <a:pt x="358" y="355"/>
                    </a:lnTo>
                    <a:lnTo>
                      <a:pt x="358" y="357"/>
                    </a:lnTo>
                    <a:lnTo>
                      <a:pt x="356" y="357"/>
                    </a:lnTo>
                    <a:lnTo>
                      <a:pt x="354" y="359"/>
                    </a:lnTo>
                    <a:lnTo>
                      <a:pt x="356" y="359"/>
                    </a:lnTo>
                    <a:lnTo>
                      <a:pt x="354" y="361"/>
                    </a:lnTo>
                    <a:lnTo>
                      <a:pt x="356" y="361"/>
                    </a:lnTo>
                    <a:lnTo>
                      <a:pt x="356" y="359"/>
                    </a:lnTo>
                    <a:lnTo>
                      <a:pt x="356" y="361"/>
                    </a:lnTo>
                    <a:lnTo>
                      <a:pt x="354" y="361"/>
                    </a:lnTo>
                    <a:lnTo>
                      <a:pt x="352" y="361"/>
                    </a:lnTo>
                    <a:lnTo>
                      <a:pt x="350" y="363"/>
                    </a:lnTo>
                    <a:lnTo>
                      <a:pt x="348" y="363"/>
                    </a:lnTo>
                    <a:lnTo>
                      <a:pt x="348" y="365"/>
                    </a:lnTo>
                    <a:lnTo>
                      <a:pt x="346" y="365"/>
                    </a:lnTo>
                    <a:lnTo>
                      <a:pt x="346" y="367"/>
                    </a:lnTo>
                    <a:lnTo>
                      <a:pt x="346" y="369"/>
                    </a:lnTo>
                    <a:lnTo>
                      <a:pt x="346" y="367"/>
                    </a:lnTo>
                    <a:lnTo>
                      <a:pt x="346" y="365"/>
                    </a:lnTo>
                    <a:lnTo>
                      <a:pt x="348" y="363"/>
                    </a:lnTo>
                    <a:lnTo>
                      <a:pt x="348" y="365"/>
                    </a:lnTo>
                    <a:lnTo>
                      <a:pt x="348" y="363"/>
                    </a:lnTo>
                    <a:lnTo>
                      <a:pt x="350" y="363"/>
                    </a:lnTo>
                    <a:lnTo>
                      <a:pt x="352" y="363"/>
                    </a:lnTo>
                    <a:lnTo>
                      <a:pt x="352" y="361"/>
                    </a:lnTo>
                    <a:lnTo>
                      <a:pt x="354" y="361"/>
                    </a:lnTo>
                    <a:lnTo>
                      <a:pt x="356" y="361"/>
                    </a:lnTo>
                    <a:lnTo>
                      <a:pt x="354" y="361"/>
                    </a:lnTo>
                    <a:lnTo>
                      <a:pt x="354" y="363"/>
                    </a:lnTo>
                    <a:lnTo>
                      <a:pt x="354" y="365"/>
                    </a:lnTo>
                    <a:lnTo>
                      <a:pt x="354" y="363"/>
                    </a:lnTo>
                    <a:lnTo>
                      <a:pt x="354" y="361"/>
                    </a:lnTo>
                    <a:lnTo>
                      <a:pt x="356" y="361"/>
                    </a:lnTo>
                    <a:lnTo>
                      <a:pt x="356" y="359"/>
                    </a:lnTo>
                    <a:lnTo>
                      <a:pt x="358" y="359"/>
                    </a:lnTo>
                    <a:lnTo>
                      <a:pt x="358" y="361"/>
                    </a:lnTo>
                    <a:lnTo>
                      <a:pt x="358" y="359"/>
                    </a:lnTo>
                    <a:lnTo>
                      <a:pt x="360" y="359"/>
                    </a:lnTo>
                    <a:lnTo>
                      <a:pt x="360" y="357"/>
                    </a:lnTo>
                    <a:lnTo>
                      <a:pt x="360" y="355"/>
                    </a:lnTo>
                    <a:lnTo>
                      <a:pt x="361" y="355"/>
                    </a:lnTo>
                    <a:lnTo>
                      <a:pt x="361" y="353"/>
                    </a:lnTo>
                    <a:lnTo>
                      <a:pt x="361" y="352"/>
                    </a:lnTo>
                    <a:lnTo>
                      <a:pt x="363" y="352"/>
                    </a:lnTo>
                    <a:lnTo>
                      <a:pt x="365" y="352"/>
                    </a:lnTo>
                    <a:lnTo>
                      <a:pt x="365" y="350"/>
                    </a:lnTo>
                    <a:lnTo>
                      <a:pt x="367" y="350"/>
                    </a:lnTo>
                    <a:lnTo>
                      <a:pt x="369" y="350"/>
                    </a:lnTo>
                    <a:lnTo>
                      <a:pt x="371" y="348"/>
                    </a:lnTo>
                    <a:lnTo>
                      <a:pt x="369" y="348"/>
                    </a:lnTo>
                    <a:lnTo>
                      <a:pt x="369" y="350"/>
                    </a:lnTo>
                    <a:lnTo>
                      <a:pt x="367" y="350"/>
                    </a:lnTo>
                    <a:lnTo>
                      <a:pt x="365" y="350"/>
                    </a:lnTo>
                    <a:lnTo>
                      <a:pt x="367" y="350"/>
                    </a:lnTo>
                    <a:lnTo>
                      <a:pt x="367" y="348"/>
                    </a:lnTo>
                    <a:lnTo>
                      <a:pt x="365" y="348"/>
                    </a:lnTo>
                    <a:lnTo>
                      <a:pt x="367" y="348"/>
                    </a:lnTo>
                    <a:lnTo>
                      <a:pt x="367" y="346"/>
                    </a:lnTo>
                    <a:lnTo>
                      <a:pt x="369" y="346"/>
                    </a:lnTo>
                    <a:lnTo>
                      <a:pt x="369" y="344"/>
                    </a:lnTo>
                    <a:lnTo>
                      <a:pt x="369" y="346"/>
                    </a:lnTo>
                    <a:lnTo>
                      <a:pt x="369" y="344"/>
                    </a:lnTo>
                    <a:lnTo>
                      <a:pt x="371" y="344"/>
                    </a:lnTo>
                    <a:lnTo>
                      <a:pt x="373" y="344"/>
                    </a:lnTo>
                    <a:lnTo>
                      <a:pt x="375" y="344"/>
                    </a:lnTo>
                    <a:lnTo>
                      <a:pt x="377" y="344"/>
                    </a:lnTo>
                    <a:lnTo>
                      <a:pt x="375" y="344"/>
                    </a:lnTo>
                    <a:lnTo>
                      <a:pt x="377" y="344"/>
                    </a:lnTo>
                    <a:lnTo>
                      <a:pt x="375" y="344"/>
                    </a:lnTo>
                    <a:lnTo>
                      <a:pt x="377" y="344"/>
                    </a:lnTo>
                    <a:lnTo>
                      <a:pt x="375" y="344"/>
                    </a:lnTo>
                    <a:lnTo>
                      <a:pt x="377" y="344"/>
                    </a:lnTo>
                    <a:lnTo>
                      <a:pt x="379" y="344"/>
                    </a:lnTo>
                    <a:lnTo>
                      <a:pt x="379" y="346"/>
                    </a:lnTo>
                    <a:lnTo>
                      <a:pt x="377" y="346"/>
                    </a:lnTo>
                    <a:lnTo>
                      <a:pt x="377" y="348"/>
                    </a:lnTo>
                    <a:lnTo>
                      <a:pt x="377" y="350"/>
                    </a:lnTo>
                    <a:lnTo>
                      <a:pt x="375" y="350"/>
                    </a:lnTo>
                    <a:lnTo>
                      <a:pt x="377" y="350"/>
                    </a:lnTo>
                    <a:lnTo>
                      <a:pt x="375" y="350"/>
                    </a:lnTo>
                    <a:lnTo>
                      <a:pt x="373" y="350"/>
                    </a:lnTo>
                    <a:lnTo>
                      <a:pt x="373" y="352"/>
                    </a:lnTo>
                    <a:lnTo>
                      <a:pt x="371" y="353"/>
                    </a:lnTo>
                    <a:lnTo>
                      <a:pt x="369" y="353"/>
                    </a:lnTo>
                    <a:lnTo>
                      <a:pt x="367" y="353"/>
                    </a:lnTo>
                    <a:lnTo>
                      <a:pt x="367" y="355"/>
                    </a:lnTo>
                    <a:lnTo>
                      <a:pt x="367" y="357"/>
                    </a:lnTo>
                    <a:lnTo>
                      <a:pt x="365" y="357"/>
                    </a:lnTo>
                    <a:lnTo>
                      <a:pt x="367" y="357"/>
                    </a:lnTo>
                    <a:lnTo>
                      <a:pt x="367" y="355"/>
                    </a:lnTo>
                    <a:lnTo>
                      <a:pt x="369" y="355"/>
                    </a:lnTo>
                    <a:lnTo>
                      <a:pt x="367" y="357"/>
                    </a:lnTo>
                    <a:lnTo>
                      <a:pt x="369" y="355"/>
                    </a:lnTo>
                    <a:lnTo>
                      <a:pt x="367" y="355"/>
                    </a:lnTo>
                    <a:lnTo>
                      <a:pt x="369" y="355"/>
                    </a:lnTo>
                    <a:lnTo>
                      <a:pt x="369" y="353"/>
                    </a:lnTo>
                    <a:lnTo>
                      <a:pt x="371" y="353"/>
                    </a:lnTo>
                    <a:lnTo>
                      <a:pt x="373" y="353"/>
                    </a:lnTo>
                    <a:lnTo>
                      <a:pt x="371" y="353"/>
                    </a:lnTo>
                    <a:lnTo>
                      <a:pt x="373" y="353"/>
                    </a:lnTo>
                    <a:lnTo>
                      <a:pt x="373" y="352"/>
                    </a:lnTo>
                    <a:lnTo>
                      <a:pt x="375" y="352"/>
                    </a:lnTo>
                    <a:lnTo>
                      <a:pt x="375" y="350"/>
                    </a:lnTo>
                    <a:lnTo>
                      <a:pt x="377" y="350"/>
                    </a:lnTo>
                    <a:lnTo>
                      <a:pt x="377" y="352"/>
                    </a:lnTo>
                    <a:lnTo>
                      <a:pt x="377" y="353"/>
                    </a:lnTo>
                    <a:lnTo>
                      <a:pt x="375" y="353"/>
                    </a:lnTo>
                    <a:lnTo>
                      <a:pt x="375" y="355"/>
                    </a:lnTo>
                    <a:lnTo>
                      <a:pt x="373" y="355"/>
                    </a:lnTo>
                    <a:lnTo>
                      <a:pt x="373" y="357"/>
                    </a:lnTo>
                    <a:lnTo>
                      <a:pt x="371" y="357"/>
                    </a:lnTo>
                    <a:lnTo>
                      <a:pt x="369" y="357"/>
                    </a:lnTo>
                    <a:lnTo>
                      <a:pt x="367" y="357"/>
                    </a:lnTo>
                    <a:lnTo>
                      <a:pt x="369" y="357"/>
                    </a:lnTo>
                    <a:lnTo>
                      <a:pt x="371" y="357"/>
                    </a:lnTo>
                    <a:lnTo>
                      <a:pt x="373" y="357"/>
                    </a:lnTo>
                    <a:lnTo>
                      <a:pt x="373" y="355"/>
                    </a:lnTo>
                    <a:lnTo>
                      <a:pt x="375" y="355"/>
                    </a:lnTo>
                    <a:lnTo>
                      <a:pt x="375" y="353"/>
                    </a:lnTo>
                    <a:lnTo>
                      <a:pt x="377" y="353"/>
                    </a:lnTo>
                    <a:lnTo>
                      <a:pt x="377" y="355"/>
                    </a:lnTo>
                    <a:lnTo>
                      <a:pt x="375" y="355"/>
                    </a:lnTo>
                    <a:lnTo>
                      <a:pt x="375" y="357"/>
                    </a:lnTo>
                    <a:lnTo>
                      <a:pt x="373" y="357"/>
                    </a:lnTo>
                    <a:lnTo>
                      <a:pt x="375" y="357"/>
                    </a:lnTo>
                    <a:lnTo>
                      <a:pt x="373" y="357"/>
                    </a:lnTo>
                    <a:lnTo>
                      <a:pt x="373" y="359"/>
                    </a:lnTo>
                    <a:lnTo>
                      <a:pt x="373" y="357"/>
                    </a:lnTo>
                    <a:lnTo>
                      <a:pt x="373" y="359"/>
                    </a:lnTo>
                    <a:lnTo>
                      <a:pt x="371" y="359"/>
                    </a:lnTo>
                    <a:lnTo>
                      <a:pt x="371" y="361"/>
                    </a:lnTo>
                    <a:lnTo>
                      <a:pt x="369" y="361"/>
                    </a:lnTo>
                    <a:lnTo>
                      <a:pt x="367" y="361"/>
                    </a:lnTo>
                    <a:lnTo>
                      <a:pt x="367" y="363"/>
                    </a:lnTo>
                    <a:lnTo>
                      <a:pt x="365" y="363"/>
                    </a:lnTo>
                    <a:lnTo>
                      <a:pt x="365" y="365"/>
                    </a:lnTo>
                    <a:lnTo>
                      <a:pt x="363" y="365"/>
                    </a:lnTo>
                    <a:lnTo>
                      <a:pt x="365" y="365"/>
                    </a:lnTo>
                    <a:lnTo>
                      <a:pt x="363" y="365"/>
                    </a:lnTo>
                    <a:lnTo>
                      <a:pt x="361" y="365"/>
                    </a:lnTo>
                    <a:lnTo>
                      <a:pt x="360" y="365"/>
                    </a:lnTo>
                    <a:lnTo>
                      <a:pt x="360" y="363"/>
                    </a:lnTo>
                    <a:lnTo>
                      <a:pt x="361" y="363"/>
                    </a:lnTo>
                    <a:lnTo>
                      <a:pt x="361" y="361"/>
                    </a:lnTo>
                    <a:lnTo>
                      <a:pt x="363" y="361"/>
                    </a:lnTo>
                    <a:lnTo>
                      <a:pt x="361" y="361"/>
                    </a:lnTo>
                    <a:lnTo>
                      <a:pt x="361" y="363"/>
                    </a:lnTo>
                    <a:lnTo>
                      <a:pt x="360" y="363"/>
                    </a:lnTo>
                    <a:lnTo>
                      <a:pt x="360" y="365"/>
                    </a:lnTo>
                    <a:lnTo>
                      <a:pt x="358" y="365"/>
                    </a:lnTo>
                    <a:lnTo>
                      <a:pt x="360" y="365"/>
                    </a:lnTo>
                    <a:lnTo>
                      <a:pt x="358" y="367"/>
                    </a:lnTo>
                    <a:lnTo>
                      <a:pt x="358" y="365"/>
                    </a:lnTo>
                    <a:lnTo>
                      <a:pt x="358" y="367"/>
                    </a:lnTo>
                    <a:lnTo>
                      <a:pt x="358" y="369"/>
                    </a:lnTo>
                    <a:lnTo>
                      <a:pt x="356" y="369"/>
                    </a:lnTo>
                    <a:lnTo>
                      <a:pt x="354" y="369"/>
                    </a:lnTo>
                    <a:lnTo>
                      <a:pt x="356" y="369"/>
                    </a:lnTo>
                    <a:lnTo>
                      <a:pt x="358" y="369"/>
                    </a:lnTo>
                    <a:lnTo>
                      <a:pt x="356" y="371"/>
                    </a:lnTo>
                    <a:lnTo>
                      <a:pt x="354" y="371"/>
                    </a:lnTo>
                    <a:lnTo>
                      <a:pt x="354" y="373"/>
                    </a:lnTo>
                    <a:lnTo>
                      <a:pt x="354" y="371"/>
                    </a:lnTo>
                    <a:lnTo>
                      <a:pt x="354" y="373"/>
                    </a:lnTo>
                    <a:lnTo>
                      <a:pt x="352" y="373"/>
                    </a:lnTo>
                    <a:lnTo>
                      <a:pt x="350" y="375"/>
                    </a:lnTo>
                    <a:lnTo>
                      <a:pt x="348" y="375"/>
                    </a:lnTo>
                    <a:lnTo>
                      <a:pt x="348" y="377"/>
                    </a:lnTo>
                    <a:lnTo>
                      <a:pt x="346" y="377"/>
                    </a:lnTo>
                    <a:lnTo>
                      <a:pt x="348" y="377"/>
                    </a:lnTo>
                    <a:lnTo>
                      <a:pt x="348" y="378"/>
                    </a:lnTo>
                    <a:lnTo>
                      <a:pt x="346" y="378"/>
                    </a:lnTo>
                    <a:lnTo>
                      <a:pt x="348" y="378"/>
                    </a:lnTo>
                    <a:lnTo>
                      <a:pt x="348" y="380"/>
                    </a:lnTo>
                    <a:lnTo>
                      <a:pt x="346" y="380"/>
                    </a:lnTo>
                    <a:lnTo>
                      <a:pt x="348" y="380"/>
                    </a:lnTo>
                    <a:lnTo>
                      <a:pt x="348" y="378"/>
                    </a:lnTo>
                    <a:lnTo>
                      <a:pt x="346" y="378"/>
                    </a:lnTo>
                    <a:lnTo>
                      <a:pt x="348" y="378"/>
                    </a:lnTo>
                    <a:lnTo>
                      <a:pt x="346" y="377"/>
                    </a:lnTo>
                    <a:lnTo>
                      <a:pt x="348" y="377"/>
                    </a:lnTo>
                    <a:lnTo>
                      <a:pt x="348" y="375"/>
                    </a:lnTo>
                    <a:lnTo>
                      <a:pt x="350" y="375"/>
                    </a:lnTo>
                    <a:lnTo>
                      <a:pt x="348" y="377"/>
                    </a:lnTo>
                    <a:lnTo>
                      <a:pt x="348" y="378"/>
                    </a:lnTo>
                    <a:lnTo>
                      <a:pt x="348" y="377"/>
                    </a:lnTo>
                    <a:lnTo>
                      <a:pt x="348" y="378"/>
                    </a:lnTo>
                    <a:lnTo>
                      <a:pt x="348" y="380"/>
                    </a:lnTo>
                    <a:lnTo>
                      <a:pt x="348" y="382"/>
                    </a:lnTo>
                    <a:lnTo>
                      <a:pt x="346" y="382"/>
                    </a:lnTo>
                    <a:lnTo>
                      <a:pt x="348" y="382"/>
                    </a:lnTo>
                    <a:lnTo>
                      <a:pt x="346" y="382"/>
                    </a:lnTo>
                    <a:lnTo>
                      <a:pt x="348" y="382"/>
                    </a:lnTo>
                    <a:lnTo>
                      <a:pt x="346" y="382"/>
                    </a:lnTo>
                    <a:lnTo>
                      <a:pt x="346" y="380"/>
                    </a:lnTo>
                    <a:lnTo>
                      <a:pt x="346" y="382"/>
                    </a:lnTo>
                    <a:lnTo>
                      <a:pt x="348" y="382"/>
                    </a:lnTo>
                    <a:lnTo>
                      <a:pt x="350" y="382"/>
                    </a:lnTo>
                    <a:lnTo>
                      <a:pt x="348" y="382"/>
                    </a:lnTo>
                    <a:lnTo>
                      <a:pt x="348" y="384"/>
                    </a:lnTo>
                    <a:lnTo>
                      <a:pt x="348" y="386"/>
                    </a:lnTo>
                    <a:lnTo>
                      <a:pt x="348" y="388"/>
                    </a:lnTo>
                    <a:lnTo>
                      <a:pt x="346" y="388"/>
                    </a:lnTo>
                    <a:lnTo>
                      <a:pt x="346" y="386"/>
                    </a:lnTo>
                    <a:lnTo>
                      <a:pt x="344" y="386"/>
                    </a:lnTo>
                    <a:lnTo>
                      <a:pt x="346" y="386"/>
                    </a:lnTo>
                    <a:lnTo>
                      <a:pt x="344" y="384"/>
                    </a:lnTo>
                    <a:lnTo>
                      <a:pt x="344" y="382"/>
                    </a:lnTo>
                    <a:lnTo>
                      <a:pt x="346" y="382"/>
                    </a:lnTo>
                    <a:lnTo>
                      <a:pt x="344" y="382"/>
                    </a:lnTo>
                    <a:lnTo>
                      <a:pt x="346" y="382"/>
                    </a:lnTo>
                    <a:lnTo>
                      <a:pt x="344" y="382"/>
                    </a:lnTo>
                    <a:lnTo>
                      <a:pt x="346" y="382"/>
                    </a:lnTo>
                    <a:lnTo>
                      <a:pt x="344" y="382"/>
                    </a:lnTo>
                    <a:lnTo>
                      <a:pt x="344" y="384"/>
                    </a:lnTo>
                    <a:lnTo>
                      <a:pt x="344" y="386"/>
                    </a:lnTo>
                    <a:lnTo>
                      <a:pt x="344" y="384"/>
                    </a:lnTo>
                    <a:lnTo>
                      <a:pt x="344" y="386"/>
                    </a:lnTo>
                    <a:lnTo>
                      <a:pt x="344" y="388"/>
                    </a:lnTo>
                    <a:lnTo>
                      <a:pt x="342" y="388"/>
                    </a:lnTo>
                    <a:lnTo>
                      <a:pt x="342" y="390"/>
                    </a:lnTo>
                    <a:lnTo>
                      <a:pt x="340" y="392"/>
                    </a:lnTo>
                    <a:lnTo>
                      <a:pt x="340" y="390"/>
                    </a:lnTo>
                    <a:lnTo>
                      <a:pt x="338" y="390"/>
                    </a:lnTo>
                    <a:lnTo>
                      <a:pt x="338" y="388"/>
                    </a:lnTo>
                    <a:lnTo>
                      <a:pt x="340" y="388"/>
                    </a:lnTo>
                    <a:lnTo>
                      <a:pt x="340" y="386"/>
                    </a:lnTo>
                    <a:lnTo>
                      <a:pt x="340" y="388"/>
                    </a:lnTo>
                    <a:lnTo>
                      <a:pt x="338" y="388"/>
                    </a:lnTo>
                    <a:lnTo>
                      <a:pt x="338" y="386"/>
                    </a:lnTo>
                    <a:lnTo>
                      <a:pt x="337" y="386"/>
                    </a:lnTo>
                    <a:lnTo>
                      <a:pt x="338" y="384"/>
                    </a:lnTo>
                    <a:lnTo>
                      <a:pt x="338" y="386"/>
                    </a:lnTo>
                    <a:lnTo>
                      <a:pt x="338" y="384"/>
                    </a:lnTo>
                    <a:lnTo>
                      <a:pt x="337" y="384"/>
                    </a:lnTo>
                    <a:lnTo>
                      <a:pt x="338" y="382"/>
                    </a:lnTo>
                    <a:lnTo>
                      <a:pt x="338" y="384"/>
                    </a:lnTo>
                    <a:lnTo>
                      <a:pt x="338" y="382"/>
                    </a:lnTo>
                    <a:lnTo>
                      <a:pt x="338" y="380"/>
                    </a:lnTo>
                    <a:lnTo>
                      <a:pt x="338" y="382"/>
                    </a:lnTo>
                    <a:lnTo>
                      <a:pt x="338" y="380"/>
                    </a:lnTo>
                    <a:lnTo>
                      <a:pt x="340" y="380"/>
                    </a:lnTo>
                    <a:lnTo>
                      <a:pt x="338" y="380"/>
                    </a:lnTo>
                    <a:lnTo>
                      <a:pt x="340" y="378"/>
                    </a:lnTo>
                    <a:lnTo>
                      <a:pt x="338" y="378"/>
                    </a:lnTo>
                    <a:lnTo>
                      <a:pt x="337" y="378"/>
                    </a:lnTo>
                    <a:lnTo>
                      <a:pt x="338" y="378"/>
                    </a:lnTo>
                    <a:lnTo>
                      <a:pt x="338" y="377"/>
                    </a:lnTo>
                    <a:lnTo>
                      <a:pt x="338" y="375"/>
                    </a:lnTo>
                    <a:lnTo>
                      <a:pt x="337" y="375"/>
                    </a:lnTo>
                    <a:lnTo>
                      <a:pt x="337" y="373"/>
                    </a:lnTo>
                    <a:lnTo>
                      <a:pt x="338" y="373"/>
                    </a:lnTo>
                    <a:lnTo>
                      <a:pt x="338" y="371"/>
                    </a:lnTo>
                    <a:lnTo>
                      <a:pt x="340" y="371"/>
                    </a:lnTo>
                    <a:lnTo>
                      <a:pt x="340" y="369"/>
                    </a:lnTo>
                    <a:lnTo>
                      <a:pt x="340" y="367"/>
                    </a:lnTo>
                    <a:lnTo>
                      <a:pt x="342" y="369"/>
                    </a:lnTo>
                    <a:lnTo>
                      <a:pt x="342" y="371"/>
                    </a:lnTo>
                    <a:lnTo>
                      <a:pt x="340" y="371"/>
                    </a:lnTo>
                    <a:lnTo>
                      <a:pt x="342" y="371"/>
                    </a:lnTo>
                    <a:lnTo>
                      <a:pt x="340" y="371"/>
                    </a:lnTo>
                    <a:lnTo>
                      <a:pt x="340" y="373"/>
                    </a:lnTo>
                    <a:lnTo>
                      <a:pt x="338" y="373"/>
                    </a:lnTo>
                    <a:lnTo>
                      <a:pt x="340" y="373"/>
                    </a:lnTo>
                    <a:lnTo>
                      <a:pt x="338" y="373"/>
                    </a:lnTo>
                    <a:lnTo>
                      <a:pt x="340" y="373"/>
                    </a:lnTo>
                    <a:lnTo>
                      <a:pt x="342" y="371"/>
                    </a:lnTo>
                    <a:lnTo>
                      <a:pt x="342" y="373"/>
                    </a:lnTo>
                    <a:lnTo>
                      <a:pt x="342" y="375"/>
                    </a:lnTo>
                    <a:lnTo>
                      <a:pt x="342" y="373"/>
                    </a:lnTo>
                    <a:lnTo>
                      <a:pt x="344" y="373"/>
                    </a:lnTo>
                    <a:lnTo>
                      <a:pt x="342" y="373"/>
                    </a:lnTo>
                    <a:lnTo>
                      <a:pt x="342" y="371"/>
                    </a:lnTo>
                    <a:lnTo>
                      <a:pt x="342" y="369"/>
                    </a:lnTo>
                    <a:lnTo>
                      <a:pt x="342" y="367"/>
                    </a:lnTo>
                    <a:lnTo>
                      <a:pt x="342" y="365"/>
                    </a:lnTo>
                    <a:lnTo>
                      <a:pt x="344" y="363"/>
                    </a:lnTo>
                    <a:lnTo>
                      <a:pt x="344" y="365"/>
                    </a:lnTo>
                    <a:lnTo>
                      <a:pt x="342" y="365"/>
                    </a:lnTo>
                    <a:lnTo>
                      <a:pt x="344" y="365"/>
                    </a:lnTo>
                    <a:lnTo>
                      <a:pt x="344" y="363"/>
                    </a:lnTo>
                    <a:lnTo>
                      <a:pt x="346" y="363"/>
                    </a:lnTo>
                    <a:lnTo>
                      <a:pt x="346" y="361"/>
                    </a:lnTo>
                    <a:lnTo>
                      <a:pt x="348" y="361"/>
                    </a:lnTo>
                    <a:lnTo>
                      <a:pt x="348" y="359"/>
                    </a:lnTo>
                    <a:lnTo>
                      <a:pt x="348" y="361"/>
                    </a:lnTo>
                    <a:lnTo>
                      <a:pt x="348" y="363"/>
                    </a:lnTo>
                    <a:lnTo>
                      <a:pt x="348" y="361"/>
                    </a:lnTo>
                    <a:close/>
                    <a:moveTo>
                      <a:pt x="511" y="248"/>
                    </a:moveTo>
                    <a:lnTo>
                      <a:pt x="511" y="250"/>
                    </a:lnTo>
                    <a:lnTo>
                      <a:pt x="511" y="248"/>
                    </a:lnTo>
                    <a:lnTo>
                      <a:pt x="511" y="250"/>
                    </a:lnTo>
                    <a:lnTo>
                      <a:pt x="513" y="250"/>
                    </a:lnTo>
                    <a:lnTo>
                      <a:pt x="511" y="250"/>
                    </a:lnTo>
                    <a:lnTo>
                      <a:pt x="511" y="252"/>
                    </a:lnTo>
                    <a:lnTo>
                      <a:pt x="511" y="250"/>
                    </a:lnTo>
                    <a:lnTo>
                      <a:pt x="511" y="252"/>
                    </a:lnTo>
                    <a:lnTo>
                      <a:pt x="509" y="252"/>
                    </a:lnTo>
                    <a:lnTo>
                      <a:pt x="507" y="252"/>
                    </a:lnTo>
                    <a:lnTo>
                      <a:pt x="507" y="250"/>
                    </a:lnTo>
                    <a:lnTo>
                      <a:pt x="506" y="250"/>
                    </a:lnTo>
                    <a:lnTo>
                      <a:pt x="504" y="250"/>
                    </a:lnTo>
                    <a:lnTo>
                      <a:pt x="502" y="250"/>
                    </a:lnTo>
                    <a:lnTo>
                      <a:pt x="500" y="250"/>
                    </a:lnTo>
                    <a:lnTo>
                      <a:pt x="500" y="248"/>
                    </a:lnTo>
                    <a:lnTo>
                      <a:pt x="498" y="248"/>
                    </a:lnTo>
                    <a:lnTo>
                      <a:pt x="498" y="246"/>
                    </a:lnTo>
                    <a:lnTo>
                      <a:pt x="496" y="246"/>
                    </a:lnTo>
                    <a:lnTo>
                      <a:pt x="494" y="246"/>
                    </a:lnTo>
                    <a:lnTo>
                      <a:pt x="494" y="244"/>
                    </a:lnTo>
                    <a:lnTo>
                      <a:pt x="492" y="244"/>
                    </a:lnTo>
                    <a:lnTo>
                      <a:pt x="492" y="246"/>
                    </a:lnTo>
                    <a:lnTo>
                      <a:pt x="494" y="246"/>
                    </a:lnTo>
                    <a:lnTo>
                      <a:pt x="492" y="246"/>
                    </a:lnTo>
                    <a:lnTo>
                      <a:pt x="490" y="246"/>
                    </a:lnTo>
                    <a:lnTo>
                      <a:pt x="490" y="244"/>
                    </a:lnTo>
                    <a:lnTo>
                      <a:pt x="490" y="242"/>
                    </a:lnTo>
                    <a:lnTo>
                      <a:pt x="488" y="242"/>
                    </a:lnTo>
                    <a:lnTo>
                      <a:pt x="490" y="242"/>
                    </a:lnTo>
                    <a:lnTo>
                      <a:pt x="488" y="242"/>
                    </a:lnTo>
                    <a:lnTo>
                      <a:pt x="490" y="242"/>
                    </a:lnTo>
                    <a:lnTo>
                      <a:pt x="492" y="242"/>
                    </a:lnTo>
                    <a:lnTo>
                      <a:pt x="494" y="242"/>
                    </a:lnTo>
                    <a:lnTo>
                      <a:pt x="496" y="242"/>
                    </a:lnTo>
                    <a:lnTo>
                      <a:pt x="498" y="242"/>
                    </a:lnTo>
                    <a:lnTo>
                      <a:pt x="500" y="244"/>
                    </a:lnTo>
                    <a:lnTo>
                      <a:pt x="502" y="244"/>
                    </a:lnTo>
                    <a:lnTo>
                      <a:pt x="504" y="244"/>
                    </a:lnTo>
                    <a:lnTo>
                      <a:pt x="506" y="244"/>
                    </a:lnTo>
                    <a:lnTo>
                      <a:pt x="506" y="246"/>
                    </a:lnTo>
                    <a:lnTo>
                      <a:pt x="507" y="246"/>
                    </a:lnTo>
                    <a:lnTo>
                      <a:pt x="509" y="248"/>
                    </a:lnTo>
                    <a:lnTo>
                      <a:pt x="511" y="248"/>
                    </a:lnTo>
                    <a:close/>
                    <a:moveTo>
                      <a:pt x="600" y="196"/>
                    </a:moveTo>
                    <a:lnTo>
                      <a:pt x="600" y="198"/>
                    </a:lnTo>
                    <a:lnTo>
                      <a:pt x="602" y="198"/>
                    </a:lnTo>
                    <a:lnTo>
                      <a:pt x="602" y="200"/>
                    </a:lnTo>
                    <a:lnTo>
                      <a:pt x="602" y="198"/>
                    </a:lnTo>
                    <a:lnTo>
                      <a:pt x="602" y="200"/>
                    </a:lnTo>
                    <a:lnTo>
                      <a:pt x="602" y="202"/>
                    </a:lnTo>
                    <a:lnTo>
                      <a:pt x="602" y="204"/>
                    </a:lnTo>
                    <a:lnTo>
                      <a:pt x="600" y="205"/>
                    </a:lnTo>
                    <a:lnTo>
                      <a:pt x="598" y="205"/>
                    </a:lnTo>
                    <a:lnTo>
                      <a:pt x="598" y="207"/>
                    </a:lnTo>
                    <a:lnTo>
                      <a:pt x="596" y="207"/>
                    </a:lnTo>
                    <a:lnTo>
                      <a:pt x="596" y="209"/>
                    </a:lnTo>
                    <a:lnTo>
                      <a:pt x="594" y="209"/>
                    </a:lnTo>
                    <a:lnTo>
                      <a:pt x="594" y="211"/>
                    </a:lnTo>
                    <a:lnTo>
                      <a:pt x="592" y="211"/>
                    </a:lnTo>
                    <a:lnTo>
                      <a:pt x="590" y="211"/>
                    </a:lnTo>
                    <a:lnTo>
                      <a:pt x="590" y="209"/>
                    </a:lnTo>
                    <a:lnTo>
                      <a:pt x="588" y="209"/>
                    </a:lnTo>
                    <a:lnTo>
                      <a:pt x="586" y="209"/>
                    </a:lnTo>
                    <a:lnTo>
                      <a:pt x="586" y="207"/>
                    </a:lnTo>
                    <a:lnTo>
                      <a:pt x="586" y="209"/>
                    </a:lnTo>
                    <a:lnTo>
                      <a:pt x="586" y="207"/>
                    </a:lnTo>
                    <a:lnTo>
                      <a:pt x="586" y="209"/>
                    </a:lnTo>
                    <a:lnTo>
                      <a:pt x="588" y="209"/>
                    </a:lnTo>
                    <a:lnTo>
                      <a:pt x="586" y="209"/>
                    </a:lnTo>
                    <a:lnTo>
                      <a:pt x="584" y="207"/>
                    </a:lnTo>
                    <a:lnTo>
                      <a:pt x="582" y="205"/>
                    </a:lnTo>
                    <a:lnTo>
                      <a:pt x="582" y="204"/>
                    </a:lnTo>
                    <a:lnTo>
                      <a:pt x="582" y="202"/>
                    </a:lnTo>
                    <a:lnTo>
                      <a:pt x="582" y="200"/>
                    </a:lnTo>
                    <a:lnTo>
                      <a:pt x="582" y="198"/>
                    </a:lnTo>
                    <a:lnTo>
                      <a:pt x="584" y="196"/>
                    </a:lnTo>
                    <a:lnTo>
                      <a:pt x="586" y="196"/>
                    </a:lnTo>
                    <a:lnTo>
                      <a:pt x="588" y="194"/>
                    </a:lnTo>
                    <a:lnTo>
                      <a:pt x="590" y="192"/>
                    </a:lnTo>
                    <a:lnTo>
                      <a:pt x="592" y="192"/>
                    </a:lnTo>
                    <a:lnTo>
                      <a:pt x="594" y="192"/>
                    </a:lnTo>
                    <a:lnTo>
                      <a:pt x="596" y="190"/>
                    </a:lnTo>
                    <a:lnTo>
                      <a:pt x="596" y="192"/>
                    </a:lnTo>
                    <a:lnTo>
                      <a:pt x="598" y="192"/>
                    </a:lnTo>
                    <a:lnTo>
                      <a:pt x="596" y="192"/>
                    </a:lnTo>
                    <a:lnTo>
                      <a:pt x="598" y="192"/>
                    </a:lnTo>
                    <a:lnTo>
                      <a:pt x="600" y="192"/>
                    </a:lnTo>
                    <a:lnTo>
                      <a:pt x="600" y="194"/>
                    </a:lnTo>
                    <a:lnTo>
                      <a:pt x="600" y="196"/>
                    </a:lnTo>
                    <a:close/>
                    <a:moveTo>
                      <a:pt x="10" y="369"/>
                    </a:moveTo>
                    <a:lnTo>
                      <a:pt x="12" y="369"/>
                    </a:lnTo>
                    <a:lnTo>
                      <a:pt x="14" y="369"/>
                    </a:lnTo>
                    <a:lnTo>
                      <a:pt x="16" y="369"/>
                    </a:lnTo>
                    <a:lnTo>
                      <a:pt x="18" y="369"/>
                    </a:lnTo>
                    <a:lnTo>
                      <a:pt x="18" y="371"/>
                    </a:lnTo>
                    <a:lnTo>
                      <a:pt x="18" y="369"/>
                    </a:lnTo>
                    <a:lnTo>
                      <a:pt x="20" y="369"/>
                    </a:lnTo>
                    <a:lnTo>
                      <a:pt x="21" y="369"/>
                    </a:lnTo>
                    <a:lnTo>
                      <a:pt x="25" y="369"/>
                    </a:lnTo>
                    <a:lnTo>
                      <a:pt x="27" y="369"/>
                    </a:lnTo>
                    <a:lnTo>
                      <a:pt x="31" y="369"/>
                    </a:lnTo>
                    <a:lnTo>
                      <a:pt x="35" y="369"/>
                    </a:lnTo>
                    <a:lnTo>
                      <a:pt x="37" y="369"/>
                    </a:lnTo>
                    <a:lnTo>
                      <a:pt x="37" y="371"/>
                    </a:lnTo>
                    <a:lnTo>
                      <a:pt x="39" y="371"/>
                    </a:lnTo>
                    <a:lnTo>
                      <a:pt x="37" y="369"/>
                    </a:lnTo>
                    <a:lnTo>
                      <a:pt x="39" y="369"/>
                    </a:lnTo>
                    <a:lnTo>
                      <a:pt x="39" y="371"/>
                    </a:lnTo>
                    <a:lnTo>
                      <a:pt x="41" y="371"/>
                    </a:lnTo>
                    <a:lnTo>
                      <a:pt x="41" y="373"/>
                    </a:lnTo>
                    <a:lnTo>
                      <a:pt x="41" y="371"/>
                    </a:lnTo>
                    <a:lnTo>
                      <a:pt x="41" y="373"/>
                    </a:lnTo>
                    <a:lnTo>
                      <a:pt x="39" y="373"/>
                    </a:lnTo>
                    <a:lnTo>
                      <a:pt x="41" y="373"/>
                    </a:lnTo>
                    <a:lnTo>
                      <a:pt x="41" y="375"/>
                    </a:lnTo>
                    <a:lnTo>
                      <a:pt x="41" y="377"/>
                    </a:lnTo>
                    <a:lnTo>
                      <a:pt x="39" y="377"/>
                    </a:lnTo>
                    <a:lnTo>
                      <a:pt x="41" y="377"/>
                    </a:lnTo>
                    <a:lnTo>
                      <a:pt x="39" y="377"/>
                    </a:lnTo>
                    <a:lnTo>
                      <a:pt x="39" y="378"/>
                    </a:lnTo>
                    <a:lnTo>
                      <a:pt x="39" y="377"/>
                    </a:lnTo>
                    <a:lnTo>
                      <a:pt x="39" y="378"/>
                    </a:lnTo>
                    <a:lnTo>
                      <a:pt x="39" y="377"/>
                    </a:lnTo>
                    <a:lnTo>
                      <a:pt x="39" y="378"/>
                    </a:lnTo>
                    <a:lnTo>
                      <a:pt x="37" y="378"/>
                    </a:lnTo>
                    <a:lnTo>
                      <a:pt x="39" y="378"/>
                    </a:lnTo>
                    <a:lnTo>
                      <a:pt x="39" y="380"/>
                    </a:lnTo>
                    <a:lnTo>
                      <a:pt x="37" y="382"/>
                    </a:lnTo>
                    <a:lnTo>
                      <a:pt x="37" y="384"/>
                    </a:lnTo>
                    <a:lnTo>
                      <a:pt x="37" y="382"/>
                    </a:lnTo>
                    <a:lnTo>
                      <a:pt x="35" y="384"/>
                    </a:lnTo>
                    <a:lnTo>
                      <a:pt x="33" y="384"/>
                    </a:lnTo>
                    <a:lnTo>
                      <a:pt x="33" y="386"/>
                    </a:lnTo>
                    <a:lnTo>
                      <a:pt x="31" y="388"/>
                    </a:lnTo>
                    <a:lnTo>
                      <a:pt x="31" y="390"/>
                    </a:lnTo>
                    <a:lnTo>
                      <a:pt x="29" y="390"/>
                    </a:lnTo>
                    <a:lnTo>
                      <a:pt x="27" y="390"/>
                    </a:lnTo>
                    <a:lnTo>
                      <a:pt x="25" y="390"/>
                    </a:lnTo>
                    <a:lnTo>
                      <a:pt x="23" y="390"/>
                    </a:lnTo>
                    <a:lnTo>
                      <a:pt x="21" y="390"/>
                    </a:lnTo>
                    <a:lnTo>
                      <a:pt x="20" y="390"/>
                    </a:lnTo>
                    <a:lnTo>
                      <a:pt x="18" y="390"/>
                    </a:lnTo>
                    <a:lnTo>
                      <a:pt x="16" y="390"/>
                    </a:lnTo>
                    <a:lnTo>
                      <a:pt x="14" y="388"/>
                    </a:lnTo>
                    <a:lnTo>
                      <a:pt x="12" y="388"/>
                    </a:lnTo>
                    <a:lnTo>
                      <a:pt x="12" y="386"/>
                    </a:lnTo>
                    <a:lnTo>
                      <a:pt x="8" y="386"/>
                    </a:lnTo>
                    <a:lnTo>
                      <a:pt x="6" y="386"/>
                    </a:lnTo>
                    <a:lnTo>
                      <a:pt x="4" y="386"/>
                    </a:lnTo>
                    <a:lnTo>
                      <a:pt x="2" y="386"/>
                    </a:lnTo>
                    <a:lnTo>
                      <a:pt x="2" y="384"/>
                    </a:lnTo>
                    <a:lnTo>
                      <a:pt x="0" y="384"/>
                    </a:lnTo>
                    <a:lnTo>
                      <a:pt x="0" y="382"/>
                    </a:lnTo>
                    <a:lnTo>
                      <a:pt x="2" y="382"/>
                    </a:lnTo>
                    <a:lnTo>
                      <a:pt x="2" y="380"/>
                    </a:lnTo>
                    <a:lnTo>
                      <a:pt x="4" y="380"/>
                    </a:lnTo>
                    <a:lnTo>
                      <a:pt x="6" y="380"/>
                    </a:lnTo>
                    <a:lnTo>
                      <a:pt x="8" y="380"/>
                    </a:lnTo>
                    <a:lnTo>
                      <a:pt x="10" y="380"/>
                    </a:lnTo>
                    <a:lnTo>
                      <a:pt x="12" y="378"/>
                    </a:lnTo>
                    <a:lnTo>
                      <a:pt x="10" y="378"/>
                    </a:lnTo>
                    <a:lnTo>
                      <a:pt x="12" y="378"/>
                    </a:lnTo>
                    <a:lnTo>
                      <a:pt x="10" y="378"/>
                    </a:lnTo>
                    <a:lnTo>
                      <a:pt x="12" y="377"/>
                    </a:lnTo>
                    <a:lnTo>
                      <a:pt x="12" y="375"/>
                    </a:lnTo>
                    <a:lnTo>
                      <a:pt x="12" y="377"/>
                    </a:lnTo>
                    <a:lnTo>
                      <a:pt x="10" y="375"/>
                    </a:lnTo>
                    <a:lnTo>
                      <a:pt x="12" y="375"/>
                    </a:lnTo>
                    <a:lnTo>
                      <a:pt x="10" y="375"/>
                    </a:lnTo>
                    <a:lnTo>
                      <a:pt x="10" y="377"/>
                    </a:lnTo>
                    <a:lnTo>
                      <a:pt x="10" y="375"/>
                    </a:lnTo>
                    <a:lnTo>
                      <a:pt x="10" y="373"/>
                    </a:lnTo>
                    <a:lnTo>
                      <a:pt x="10" y="371"/>
                    </a:lnTo>
                    <a:lnTo>
                      <a:pt x="10" y="369"/>
                    </a:lnTo>
                    <a:close/>
                    <a:moveTo>
                      <a:pt x="461" y="165"/>
                    </a:moveTo>
                    <a:lnTo>
                      <a:pt x="461" y="167"/>
                    </a:lnTo>
                    <a:lnTo>
                      <a:pt x="463" y="167"/>
                    </a:lnTo>
                    <a:lnTo>
                      <a:pt x="465" y="169"/>
                    </a:lnTo>
                    <a:lnTo>
                      <a:pt x="467" y="171"/>
                    </a:lnTo>
                    <a:lnTo>
                      <a:pt x="469" y="171"/>
                    </a:lnTo>
                    <a:lnTo>
                      <a:pt x="471" y="173"/>
                    </a:lnTo>
                    <a:lnTo>
                      <a:pt x="473" y="173"/>
                    </a:lnTo>
                    <a:lnTo>
                      <a:pt x="475" y="173"/>
                    </a:lnTo>
                    <a:lnTo>
                      <a:pt x="477" y="173"/>
                    </a:lnTo>
                    <a:lnTo>
                      <a:pt x="475" y="173"/>
                    </a:lnTo>
                    <a:lnTo>
                      <a:pt x="475" y="175"/>
                    </a:lnTo>
                    <a:lnTo>
                      <a:pt x="475" y="177"/>
                    </a:lnTo>
                    <a:lnTo>
                      <a:pt x="475" y="179"/>
                    </a:lnTo>
                    <a:lnTo>
                      <a:pt x="473" y="179"/>
                    </a:lnTo>
                    <a:lnTo>
                      <a:pt x="475" y="179"/>
                    </a:lnTo>
                    <a:lnTo>
                      <a:pt x="473" y="180"/>
                    </a:lnTo>
                    <a:lnTo>
                      <a:pt x="475" y="180"/>
                    </a:lnTo>
                    <a:lnTo>
                      <a:pt x="475" y="182"/>
                    </a:lnTo>
                    <a:lnTo>
                      <a:pt x="477" y="182"/>
                    </a:lnTo>
                    <a:lnTo>
                      <a:pt x="475" y="182"/>
                    </a:lnTo>
                    <a:lnTo>
                      <a:pt x="475" y="184"/>
                    </a:lnTo>
                    <a:lnTo>
                      <a:pt x="475" y="186"/>
                    </a:lnTo>
                    <a:lnTo>
                      <a:pt x="473" y="186"/>
                    </a:lnTo>
                    <a:lnTo>
                      <a:pt x="475" y="186"/>
                    </a:lnTo>
                    <a:lnTo>
                      <a:pt x="473" y="188"/>
                    </a:lnTo>
                    <a:lnTo>
                      <a:pt x="471" y="188"/>
                    </a:lnTo>
                    <a:lnTo>
                      <a:pt x="469" y="188"/>
                    </a:lnTo>
                    <a:lnTo>
                      <a:pt x="469" y="190"/>
                    </a:lnTo>
                    <a:lnTo>
                      <a:pt x="467" y="190"/>
                    </a:lnTo>
                    <a:lnTo>
                      <a:pt x="467" y="188"/>
                    </a:lnTo>
                    <a:lnTo>
                      <a:pt x="467" y="186"/>
                    </a:lnTo>
                    <a:lnTo>
                      <a:pt x="465" y="186"/>
                    </a:lnTo>
                    <a:lnTo>
                      <a:pt x="467" y="186"/>
                    </a:lnTo>
                    <a:lnTo>
                      <a:pt x="467" y="184"/>
                    </a:lnTo>
                    <a:lnTo>
                      <a:pt x="467" y="182"/>
                    </a:lnTo>
                    <a:lnTo>
                      <a:pt x="467" y="180"/>
                    </a:lnTo>
                    <a:lnTo>
                      <a:pt x="465" y="180"/>
                    </a:lnTo>
                    <a:lnTo>
                      <a:pt x="467" y="180"/>
                    </a:lnTo>
                    <a:lnTo>
                      <a:pt x="465" y="180"/>
                    </a:lnTo>
                    <a:lnTo>
                      <a:pt x="465" y="179"/>
                    </a:lnTo>
                    <a:lnTo>
                      <a:pt x="465" y="177"/>
                    </a:lnTo>
                    <a:lnTo>
                      <a:pt x="463" y="177"/>
                    </a:lnTo>
                    <a:lnTo>
                      <a:pt x="463" y="175"/>
                    </a:lnTo>
                    <a:lnTo>
                      <a:pt x="463" y="173"/>
                    </a:lnTo>
                    <a:lnTo>
                      <a:pt x="463" y="171"/>
                    </a:lnTo>
                    <a:lnTo>
                      <a:pt x="463" y="169"/>
                    </a:lnTo>
                    <a:lnTo>
                      <a:pt x="463" y="167"/>
                    </a:lnTo>
                    <a:lnTo>
                      <a:pt x="461" y="167"/>
                    </a:lnTo>
                    <a:lnTo>
                      <a:pt x="461" y="165"/>
                    </a:lnTo>
                    <a:close/>
                    <a:moveTo>
                      <a:pt x="688" y="0"/>
                    </a:moveTo>
                    <a:lnTo>
                      <a:pt x="688" y="2"/>
                    </a:lnTo>
                    <a:lnTo>
                      <a:pt x="686" y="2"/>
                    </a:lnTo>
                    <a:lnTo>
                      <a:pt x="686" y="4"/>
                    </a:lnTo>
                    <a:lnTo>
                      <a:pt x="686" y="6"/>
                    </a:lnTo>
                    <a:lnTo>
                      <a:pt x="688" y="6"/>
                    </a:lnTo>
                    <a:lnTo>
                      <a:pt x="688" y="7"/>
                    </a:lnTo>
                    <a:lnTo>
                      <a:pt x="686" y="7"/>
                    </a:lnTo>
                    <a:lnTo>
                      <a:pt x="684" y="7"/>
                    </a:lnTo>
                    <a:lnTo>
                      <a:pt x="682" y="7"/>
                    </a:lnTo>
                    <a:lnTo>
                      <a:pt x="682" y="9"/>
                    </a:lnTo>
                    <a:lnTo>
                      <a:pt x="680" y="11"/>
                    </a:lnTo>
                    <a:lnTo>
                      <a:pt x="678" y="11"/>
                    </a:lnTo>
                    <a:lnTo>
                      <a:pt x="677" y="13"/>
                    </a:lnTo>
                    <a:lnTo>
                      <a:pt x="675" y="13"/>
                    </a:lnTo>
                    <a:lnTo>
                      <a:pt x="675" y="11"/>
                    </a:lnTo>
                    <a:lnTo>
                      <a:pt x="677" y="11"/>
                    </a:lnTo>
                    <a:lnTo>
                      <a:pt x="677" y="9"/>
                    </a:lnTo>
                    <a:lnTo>
                      <a:pt x="678" y="9"/>
                    </a:lnTo>
                    <a:lnTo>
                      <a:pt x="678" y="7"/>
                    </a:lnTo>
                    <a:lnTo>
                      <a:pt x="684" y="2"/>
                    </a:lnTo>
                    <a:lnTo>
                      <a:pt x="686" y="2"/>
                    </a:lnTo>
                    <a:lnTo>
                      <a:pt x="688" y="0"/>
                    </a:lnTo>
                    <a:lnTo>
                      <a:pt x="690" y="0"/>
                    </a:lnTo>
                    <a:lnTo>
                      <a:pt x="688"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6" name="Freeform 106"/>
              <p:cNvSpPr>
                <a:spLocks noEditPoints="1"/>
              </p:cNvSpPr>
              <p:nvPr/>
            </p:nvSpPr>
            <p:spPr bwMode="auto">
              <a:xfrm>
                <a:off x="4426451" y="890208"/>
                <a:ext cx="2193798" cy="2250578"/>
              </a:xfrm>
              <a:custGeom>
                <a:avLst/>
                <a:gdLst>
                  <a:gd name="T0" fmla="*/ 1195 w 1275"/>
                  <a:gd name="T1" fmla="*/ 145 h 1308"/>
                  <a:gd name="T2" fmla="*/ 1237 w 1275"/>
                  <a:gd name="T3" fmla="*/ 97 h 1308"/>
                  <a:gd name="T4" fmla="*/ 916 w 1275"/>
                  <a:gd name="T5" fmla="*/ 168 h 1308"/>
                  <a:gd name="T6" fmla="*/ 939 w 1275"/>
                  <a:gd name="T7" fmla="*/ 112 h 1308"/>
                  <a:gd name="T8" fmla="*/ 620 w 1275"/>
                  <a:gd name="T9" fmla="*/ 275 h 1308"/>
                  <a:gd name="T10" fmla="*/ 273 w 1275"/>
                  <a:gd name="T11" fmla="*/ 300 h 1308"/>
                  <a:gd name="T12" fmla="*/ 140 w 1275"/>
                  <a:gd name="T13" fmla="*/ 329 h 1308"/>
                  <a:gd name="T14" fmla="*/ 169 w 1275"/>
                  <a:gd name="T15" fmla="*/ 293 h 1308"/>
                  <a:gd name="T16" fmla="*/ 299 w 1275"/>
                  <a:gd name="T17" fmla="*/ 308 h 1308"/>
                  <a:gd name="T18" fmla="*/ 365 w 1275"/>
                  <a:gd name="T19" fmla="*/ 421 h 1308"/>
                  <a:gd name="T20" fmla="*/ 390 w 1275"/>
                  <a:gd name="T21" fmla="*/ 298 h 1308"/>
                  <a:gd name="T22" fmla="*/ 422 w 1275"/>
                  <a:gd name="T23" fmla="*/ 460 h 1308"/>
                  <a:gd name="T24" fmla="*/ 401 w 1275"/>
                  <a:gd name="T25" fmla="*/ 564 h 1308"/>
                  <a:gd name="T26" fmla="*/ 451 w 1275"/>
                  <a:gd name="T27" fmla="*/ 631 h 1308"/>
                  <a:gd name="T28" fmla="*/ 565 w 1275"/>
                  <a:gd name="T29" fmla="*/ 750 h 1308"/>
                  <a:gd name="T30" fmla="*/ 568 w 1275"/>
                  <a:gd name="T31" fmla="*/ 781 h 1308"/>
                  <a:gd name="T32" fmla="*/ 538 w 1275"/>
                  <a:gd name="T33" fmla="*/ 731 h 1308"/>
                  <a:gd name="T34" fmla="*/ 524 w 1275"/>
                  <a:gd name="T35" fmla="*/ 666 h 1308"/>
                  <a:gd name="T36" fmla="*/ 449 w 1275"/>
                  <a:gd name="T37" fmla="*/ 602 h 1308"/>
                  <a:gd name="T38" fmla="*/ 490 w 1275"/>
                  <a:gd name="T39" fmla="*/ 548 h 1308"/>
                  <a:gd name="T40" fmla="*/ 518 w 1275"/>
                  <a:gd name="T41" fmla="*/ 481 h 1308"/>
                  <a:gd name="T42" fmla="*/ 451 w 1275"/>
                  <a:gd name="T43" fmla="*/ 468 h 1308"/>
                  <a:gd name="T44" fmla="*/ 457 w 1275"/>
                  <a:gd name="T45" fmla="*/ 333 h 1308"/>
                  <a:gd name="T46" fmla="*/ 522 w 1275"/>
                  <a:gd name="T47" fmla="*/ 343 h 1308"/>
                  <a:gd name="T48" fmla="*/ 605 w 1275"/>
                  <a:gd name="T49" fmla="*/ 366 h 1308"/>
                  <a:gd name="T50" fmla="*/ 605 w 1275"/>
                  <a:gd name="T51" fmla="*/ 287 h 1308"/>
                  <a:gd name="T52" fmla="*/ 666 w 1275"/>
                  <a:gd name="T53" fmla="*/ 348 h 1308"/>
                  <a:gd name="T54" fmla="*/ 676 w 1275"/>
                  <a:gd name="T55" fmla="*/ 427 h 1308"/>
                  <a:gd name="T56" fmla="*/ 664 w 1275"/>
                  <a:gd name="T57" fmla="*/ 364 h 1308"/>
                  <a:gd name="T58" fmla="*/ 657 w 1275"/>
                  <a:gd name="T59" fmla="*/ 279 h 1308"/>
                  <a:gd name="T60" fmla="*/ 689 w 1275"/>
                  <a:gd name="T61" fmla="*/ 268 h 1308"/>
                  <a:gd name="T62" fmla="*/ 718 w 1275"/>
                  <a:gd name="T63" fmla="*/ 222 h 1308"/>
                  <a:gd name="T64" fmla="*/ 716 w 1275"/>
                  <a:gd name="T65" fmla="*/ 158 h 1308"/>
                  <a:gd name="T66" fmla="*/ 799 w 1275"/>
                  <a:gd name="T67" fmla="*/ 147 h 1308"/>
                  <a:gd name="T68" fmla="*/ 820 w 1275"/>
                  <a:gd name="T69" fmla="*/ 193 h 1308"/>
                  <a:gd name="T70" fmla="*/ 903 w 1275"/>
                  <a:gd name="T71" fmla="*/ 102 h 1308"/>
                  <a:gd name="T72" fmla="*/ 905 w 1275"/>
                  <a:gd name="T73" fmla="*/ 177 h 1308"/>
                  <a:gd name="T74" fmla="*/ 951 w 1275"/>
                  <a:gd name="T75" fmla="*/ 271 h 1308"/>
                  <a:gd name="T76" fmla="*/ 885 w 1275"/>
                  <a:gd name="T77" fmla="*/ 337 h 1308"/>
                  <a:gd name="T78" fmla="*/ 891 w 1275"/>
                  <a:gd name="T79" fmla="*/ 371 h 1308"/>
                  <a:gd name="T80" fmla="*/ 926 w 1275"/>
                  <a:gd name="T81" fmla="*/ 454 h 1308"/>
                  <a:gd name="T82" fmla="*/ 983 w 1275"/>
                  <a:gd name="T83" fmla="*/ 543 h 1308"/>
                  <a:gd name="T84" fmla="*/ 889 w 1275"/>
                  <a:gd name="T85" fmla="*/ 416 h 1308"/>
                  <a:gd name="T86" fmla="*/ 947 w 1275"/>
                  <a:gd name="T87" fmla="*/ 289 h 1308"/>
                  <a:gd name="T88" fmla="*/ 941 w 1275"/>
                  <a:gd name="T89" fmla="*/ 145 h 1308"/>
                  <a:gd name="T90" fmla="*/ 999 w 1275"/>
                  <a:gd name="T91" fmla="*/ 112 h 1308"/>
                  <a:gd name="T92" fmla="*/ 1101 w 1275"/>
                  <a:gd name="T93" fmla="*/ 43 h 1308"/>
                  <a:gd name="T94" fmla="*/ 1175 w 1275"/>
                  <a:gd name="T95" fmla="*/ 64 h 1308"/>
                  <a:gd name="T96" fmla="*/ 1195 w 1275"/>
                  <a:gd name="T97" fmla="*/ 116 h 1308"/>
                  <a:gd name="T98" fmla="*/ 1185 w 1275"/>
                  <a:gd name="T99" fmla="*/ 181 h 1308"/>
                  <a:gd name="T100" fmla="*/ 1245 w 1275"/>
                  <a:gd name="T101" fmla="*/ 287 h 1308"/>
                  <a:gd name="T102" fmla="*/ 1106 w 1275"/>
                  <a:gd name="T103" fmla="*/ 496 h 1308"/>
                  <a:gd name="T104" fmla="*/ 1083 w 1275"/>
                  <a:gd name="T105" fmla="*/ 700 h 1308"/>
                  <a:gd name="T106" fmla="*/ 989 w 1275"/>
                  <a:gd name="T107" fmla="*/ 885 h 1308"/>
                  <a:gd name="T108" fmla="*/ 858 w 1275"/>
                  <a:gd name="T109" fmla="*/ 1081 h 1308"/>
                  <a:gd name="T110" fmla="*/ 851 w 1275"/>
                  <a:gd name="T111" fmla="*/ 1258 h 1308"/>
                  <a:gd name="T112" fmla="*/ 582 w 1275"/>
                  <a:gd name="T113" fmla="*/ 1275 h 1308"/>
                  <a:gd name="T114" fmla="*/ 409 w 1275"/>
                  <a:gd name="T115" fmla="*/ 1125 h 1308"/>
                  <a:gd name="T116" fmla="*/ 248 w 1275"/>
                  <a:gd name="T117" fmla="*/ 1171 h 1308"/>
                  <a:gd name="T118" fmla="*/ 140 w 1275"/>
                  <a:gd name="T119" fmla="*/ 979 h 1308"/>
                  <a:gd name="T120" fmla="*/ 27 w 1275"/>
                  <a:gd name="T121" fmla="*/ 829 h 1308"/>
                  <a:gd name="T122" fmla="*/ 75 w 1275"/>
                  <a:gd name="T123" fmla="*/ 494 h 1308"/>
                  <a:gd name="T124" fmla="*/ 94 w 1275"/>
                  <a:gd name="T125" fmla="*/ 304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75" h="1308">
                    <a:moveTo>
                      <a:pt x="616" y="769"/>
                    </a:moveTo>
                    <a:lnTo>
                      <a:pt x="614" y="769"/>
                    </a:lnTo>
                    <a:lnTo>
                      <a:pt x="616" y="769"/>
                    </a:lnTo>
                    <a:close/>
                    <a:moveTo>
                      <a:pt x="595" y="764"/>
                    </a:moveTo>
                    <a:lnTo>
                      <a:pt x="595" y="766"/>
                    </a:lnTo>
                    <a:lnTo>
                      <a:pt x="597" y="766"/>
                    </a:lnTo>
                    <a:lnTo>
                      <a:pt x="595" y="766"/>
                    </a:lnTo>
                    <a:lnTo>
                      <a:pt x="595" y="764"/>
                    </a:lnTo>
                    <a:lnTo>
                      <a:pt x="597" y="764"/>
                    </a:lnTo>
                    <a:lnTo>
                      <a:pt x="597" y="766"/>
                    </a:lnTo>
                    <a:lnTo>
                      <a:pt x="599" y="766"/>
                    </a:lnTo>
                    <a:lnTo>
                      <a:pt x="599" y="767"/>
                    </a:lnTo>
                    <a:lnTo>
                      <a:pt x="601" y="767"/>
                    </a:lnTo>
                    <a:lnTo>
                      <a:pt x="599" y="767"/>
                    </a:lnTo>
                    <a:lnTo>
                      <a:pt x="597" y="767"/>
                    </a:lnTo>
                    <a:lnTo>
                      <a:pt x="595" y="767"/>
                    </a:lnTo>
                    <a:lnTo>
                      <a:pt x="593" y="767"/>
                    </a:lnTo>
                    <a:lnTo>
                      <a:pt x="593" y="766"/>
                    </a:lnTo>
                    <a:lnTo>
                      <a:pt x="593" y="764"/>
                    </a:lnTo>
                    <a:lnTo>
                      <a:pt x="591" y="764"/>
                    </a:lnTo>
                    <a:lnTo>
                      <a:pt x="593" y="764"/>
                    </a:lnTo>
                    <a:lnTo>
                      <a:pt x="595" y="764"/>
                    </a:lnTo>
                    <a:close/>
                    <a:moveTo>
                      <a:pt x="526" y="733"/>
                    </a:moveTo>
                    <a:lnTo>
                      <a:pt x="526" y="731"/>
                    </a:lnTo>
                    <a:lnTo>
                      <a:pt x="526" y="733"/>
                    </a:lnTo>
                    <a:lnTo>
                      <a:pt x="528" y="733"/>
                    </a:lnTo>
                    <a:lnTo>
                      <a:pt x="528" y="735"/>
                    </a:lnTo>
                    <a:lnTo>
                      <a:pt x="526" y="735"/>
                    </a:lnTo>
                    <a:lnTo>
                      <a:pt x="524" y="733"/>
                    </a:lnTo>
                    <a:lnTo>
                      <a:pt x="522" y="733"/>
                    </a:lnTo>
                    <a:lnTo>
                      <a:pt x="522" y="731"/>
                    </a:lnTo>
                    <a:lnTo>
                      <a:pt x="522" y="733"/>
                    </a:lnTo>
                    <a:lnTo>
                      <a:pt x="524" y="733"/>
                    </a:lnTo>
                    <a:lnTo>
                      <a:pt x="522" y="733"/>
                    </a:lnTo>
                    <a:lnTo>
                      <a:pt x="522" y="731"/>
                    </a:lnTo>
                    <a:lnTo>
                      <a:pt x="524" y="731"/>
                    </a:lnTo>
                    <a:lnTo>
                      <a:pt x="524" y="733"/>
                    </a:lnTo>
                    <a:lnTo>
                      <a:pt x="524" y="731"/>
                    </a:lnTo>
                    <a:lnTo>
                      <a:pt x="526" y="731"/>
                    </a:lnTo>
                    <a:lnTo>
                      <a:pt x="526" y="733"/>
                    </a:lnTo>
                    <a:close/>
                    <a:moveTo>
                      <a:pt x="522" y="725"/>
                    </a:moveTo>
                    <a:lnTo>
                      <a:pt x="522" y="727"/>
                    </a:lnTo>
                    <a:lnTo>
                      <a:pt x="520" y="725"/>
                    </a:lnTo>
                    <a:lnTo>
                      <a:pt x="522" y="725"/>
                    </a:lnTo>
                    <a:lnTo>
                      <a:pt x="520" y="725"/>
                    </a:lnTo>
                    <a:lnTo>
                      <a:pt x="522" y="725"/>
                    </a:lnTo>
                    <a:lnTo>
                      <a:pt x="524" y="725"/>
                    </a:lnTo>
                    <a:lnTo>
                      <a:pt x="524" y="727"/>
                    </a:lnTo>
                    <a:lnTo>
                      <a:pt x="526" y="727"/>
                    </a:lnTo>
                    <a:lnTo>
                      <a:pt x="524" y="727"/>
                    </a:lnTo>
                    <a:lnTo>
                      <a:pt x="524" y="725"/>
                    </a:lnTo>
                    <a:lnTo>
                      <a:pt x="526" y="725"/>
                    </a:lnTo>
                    <a:lnTo>
                      <a:pt x="526" y="727"/>
                    </a:lnTo>
                    <a:lnTo>
                      <a:pt x="526" y="729"/>
                    </a:lnTo>
                    <a:lnTo>
                      <a:pt x="524" y="729"/>
                    </a:lnTo>
                    <a:lnTo>
                      <a:pt x="524" y="727"/>
                    </a:lnTo>
                    <a:lnTo>
                      <a:pt x="522" y="727"/>
                    </a:lnTo>
                    <a:lnTo>
                      <a:pt x="522" y="725"/>
                    </a:lnTo>
                    <a:close/>
                    <a:moveTo>
                      <a:pt x="515" y="725"/>
                    </a:moveTo>
                    <a:lnTo>
                      <a:pt x="513" y="725"/>
                    </a:lnTo>
                    <a:lnTo>
                      <a:pt x="513" y="723"/>
                    </a:lnTo>
                    <a:lnTo>
                      <a:pt x="513" y="721"/>
                    </a:lnTo>
                    <a:lnTo>
                      <a:pt x="513" y="723"/>
                    </a:lnTo>
                    <a:lnTo>
                      <a:pt x="513" y="721"/>
                    </a:lnTo>
                    <a:lnTo>
                      <a:pt x="513" y="723"/>
                    </a:lnTo>
                    <a:lnTo>
                      <a:pt x="515" y="723"/>
                    </a:lnTo>
                    <a:lnTo>
                      <a:pt x="513" y="723"/>
                    </a:lnTo>
                    <a:lnTo>
                      <a:pt x="515" y="723"/>
                    </a:lnTo>
                    <a:lnTo>
                      <a:pt x="515" y="725"/>
                    </a:lnTo>
                    <a:close/>
                    <a:moveTo>
                      <a:pt x="497" y="708"/>
                    </a:moveTo>
                    <a:lnTo>
                      <a:pt x="495" y="708"/>
                    </a:lnTo>
                    <a:lnTo>
                      <a:pt x="497" y="708"/>
                    </a:lnTo>
                    <a:lnTo>
                      <a:pt x="497" y="710"/>
                    </a:lnTo>
                    <a:lnTo>
                      <a:pt x="497" y="712"/>
                    </a:lnTo>
                    <a:lnTo>
                      <a:pt x="499" y="712"/>
                    </a:lnTo>
                    <a:lnTo>
                      <a:pt x="499" y="714"/>
                    </a:lnTo>
                    <a:lnTo>
                      <a:pt x="497" y="714"/>
                    </a:lnTo>
                    <a:lnTo>
                      <a:pt x="497" y="712"/>
                    </a:lnTo>
                    <a:lnTo>
                      <a:pt x="497" y="710"/>
                    </a:lnTo>
                    <a:lnTo>
                      <a:pt x="495" y="708"/>
                    </a:lnTo>
                    <a:lnTo>
                      <a:pt x="497" y="708"/>
                    </a:lnTo>
                    <a:lnTo>
                      <a:pt x="495" y="708"/>
                    </a:lnTo>
                    <a:lnTo>
                      <a:pt x="497" y="708"/>
                    </a:lnTo>
                    <a:close/>
                    <a:moveTo>
                      <a:pt x="951" y="518"/>
                    </a:moveTo>
                    <a:lnTo>
                      <a:pt x="951" y="519"/>
                    </a:lnTo>
                    <a:lnTo>
                      <a:pt x="949" y="519"/>
                    </a:lnTo>
                    <a:lnTo>
                      <a:pt x="949" y="518"/>
                    </a:lnTo>
                    <a:lnTo>
                      <a:pt x="951" y="518"/>
                    </a:lnTo>
                    <a:close/>
                    <a:moveTo>
                      <a:pt x="926" y="454"/>
                    </a:moveTo>
                    <a:lnTo>
                      <a:pt x="928" y="454"/>
                    </a:lnTo>
                    <a:lnTo>
                      <a:pt x="926" y="454"/>
                    </a:lnTo>
                    <a:lnTo>
                      <a:pt x="928" y="454"/>
                    </a:lnTo>
                    <a:lnTo>
                      <a:pt x="928" y="456"/>
                    </a:lnTo>
                    <a:lnTo>
                      <a:pt x="928" y="454"/>
                    </a:lnTo>
                    <a:lnTo>
                      <a:pt x="926" y="454"/>
                    </a:lnTo>
                    <a:lnTo>
                      <a:pt x="928" y="454"/>
                    </a:lnTo>
                    <a:lnTo>
                      <a:pt x="926" y="454"/>
                    </a:lnTo>
                    <a:close/>
                    <a:moveTo>
                      <a:pt x="926" y="454"/>
                    </a:moveTo>
                    <a:lnTo>
                      <a:pt x="924" y="454"/>
                    </a:lnTo>
                    <a:lnTo>
                      <a:pt x="926" y="454"/>
                    </a:lnTo>
                    <a:close/>
                    <a:moveTo>
                      <a:pt x="457" y="633"/>
                    </a:moveTo>
                    <a:lnTo>
                      <a:pt x="455" y="633"/>
                    </a:lnTo>
                    <a:lnTo>
                      <a:pt x="455" y="631"/>
                    </a:lnTo>
                    <a:lnTo>
                      <a:pt x="457" y="631"/>
                    </a:lnTo>
                    <a:lnTo>
                      <a:pt x="457" y="633"/>
                    </a:lnTo>
                    <a:lnTo>
                      <a:pt x="457" y="631"/>
                    </a:lnTo>
                    <a:lnTo>
                      <a:pt x="457" y="633"/>
                    </a:lnTo>
                    <a:lnTo>
                      <a:pt x="457" y="635"/>
                    </a:lnTo>
                    <a:lnTo>
                      <a:pt x="457" y="637"/>
                    </a:lnTo>
                    <a:lnTo>
                      <a:pt x="457" y="635"/>
                    </a:lnTo>
                    <a:lnTo>
                      <a:pt x="457" y="633"/>
                    </a:lnTo>
                    <a:lnTo>
                      <a:pt x="459" y="635"/>
                    </a:lnTo>
                    <a:lnTo>
                      <a:pt x="459" y="633"/>
                    </a:lnTo>
                    <a:lnTo>
                      <a:pt x="459" y="635"/>
                    </a:lnTo>
                    <a:lnTo>
                      <a:pt x="459" y="633"/>
                    </a:lnTo>
                    <a:lnTo>
                      <a:pt x="459" y="635"/>
                    </a:lnTo>
                    <a:lnTo>
                      <a:pt x="459" y="633"/>
                    </a:lnTo>
                    <a:lnTo>
                      <a:pt x="459" y="635"/>
                    </a:lnTo>
                    <a:lnTo>
                      <a:pt x="461" y="637"/>
                    </a:lnTo>
                    <a:lnTo>
                      <a:pt x="461" y="639"/>
                    </a:lnTo>
                    <a:lnTo>
                      <a:pt x="463" y="639"/>
                    </a:lnTo>
                    <a:lnTo>
                      <a:pt x="463" y="641"/>
                    </a:lnTo>
                    <a:lnTo>
                      <a:pt x="461" y="641"/>
                    </a:lnTo>
                    <a:lnTo>
                      <a:pt x="459" y="641"/>
                    </a:lnTo>
                    <a:lnTo>
                      <a:pt x="461" y="641"/>
                    </a:lnTo>
                    <a:lnTo>
                      <a:pt x="459" y="639"/>
                    </a:lnTo>
                    <a:lnTo>
                      <a:pt x="457" y="637"/>
                    </a:lnTo>
                    <a:lnTo>
                      <a:pt x="457" y="635"/>
                    </a:lnTo>
                    <a:lnTo>
                      <a:pt x="455" y="635"/>
                    </a:lnTo>
                    <a:lnTo>
                      <a:pt x="455" y="633"/>
                    </a:lnTo>
                    <a:lnTo>
                      <a:pt x="457" y="633"/>
                    </a:lnTo>
                    <a:lnTo>
                      <a:pt x="455" y="633"/>
                    </a:lnTo>
                    <a:lnTo>
                      <a:pt x="457" y="633"/>
                    </a:lnTo>
                    <a:lnTo>
                      <a:pt x="455" y="633"/>
                    </a:lnTo>
                    <a:lnTo>
                      <a:pt x="457" y="633"/>
                    </a:lnTo>
                    <a:close/>
                    <a:moveTo>
                      <a:pt x="901" y="433"/>
                    </a:moveTo>
                    <a:lnTo>
                      <a:pt x="903" y="433"/>
                    </a:lnTo>
                    <a:lnTo>
                      <a:pt x="901" y="433"/>
                    </a:lnTo>
                    <a:lnTo>
                      <a:pt x="901" y="431"/>
                    </a:lnTo>
                    <a:lnTo>
                      <a:pt x="899" y="431"/>
                    </a:lnTo>
                    <a:lnTo>
                      <a:pt x="901" y="431"/>
                    </a:lnTo>
                    <a:lnTo>
                      <a:pt x="901" y="433"/>
                    </a:lnTo>
                    <a:lnTo>
                      <a:pt x="903" y="433"/>
                    </a:lnTo>
                    <a:lnTo>
                      <a:pt x="901" y="433"/>
                    </a:lnTo>
                    <a:close/>
                    <a:moveTo>
                      <a:pt x="451" y="616"/>
                    </a:moveTo>
                    <a:lnTo>
                      <a:pt x="451" y="618"/>
                    </a:lnTo>
                    <a:lnTo>
                      <a:pt x="451" y="616"/>
                    </a:lnTo>
                    <a:lnTo>
                      <a:pt x="451" y="618"/>
                    </a:lnTo>
                    <a:lnTo>
                      <a:pt x="451" y="619"/>
                    </a:lnTo>
                    <a:lnTo>
                      <a:pt x="451" y="621"/>
                    </a:lnTo>
                    <a:lnTo>
                      <a:pt x="451" y="619"/>
                    </a:lnTo>
                    <a:lnTo>
                      <a:pt x="451" y="618"/>
                    </a:lnTo>
                    <a:lnTo>
                      <a:pt x="449" y="618"/>
                    </a:lnTo>
                    <a:lnTo>
                      <a:pt x="449" y="616"/>
                    </a:lnTo>
                    <a:lnTo>
                      <a:pt x="449" y="614"/>
                    </a:lnTo>
                    <a:lnTo>
                      <a:pt x="449" y="612"/>
                    </a:lnTo>
                    <a:lnTo>
                      <a:pt x="449" y="614"/>
                    </a:lnTo>
                    <a:lnTo>
                      <a:pt x="449" y="616"/>
                    </a:lnTo>
                    <a:lnTo>
                      <a:pt x="451" y="616"/>
                    </a:lnTo>
                    <a:close/>
                    <a:moveTo>
                      <a:pt x="926" y="346"/>
                    </a:moveTo>
                    <a:lnTo>
                      <a:pt x="926" y="348"/>
                    </a:lnTo>
                    <a:lnTo>
                      <a:pt x="924" y="348"/>
                    </a:lnTo>
                    <a:lnTo>
                      <a:pt x="924" y="346"/>
                    </a:lnTo>
                    <a:lnTo>
                      <a:pt x="926" y="345"/>
                    </a:lnTo>
                    <a:lnTo>
                      <a:pt x="928" y="345"/>
                    </a:lnTo>
                    <a:lnTo>
                      <a:pt x="930" y="345"/>
                    </a:lnTo>
                    <a:lnTo>
                      <a:pt x="931" y="345"/>
                    </a:lnTo>
                    <a:lnTo>
                      <a:pt x="930" y="346"/>
                    </a:lnTo>
                    <a:lnTo>
                      <a:pt x="928" y="346"/>
                    </a:lnTo>
                    <a:lnTo>
                      <a:pt x="928" y="348"/>
                    </a:lnTo>
                    <a:lnTo>
                      <a:pt x="928" y="346"/>
                    </a:lnTo>
                    <a:lnTo>
                      <a:pt x="926" y="346"/>
                    </a:lnTo>
                    <a:close/>
                    <a:moveTo>
                      <a:pt x="1200" y="162"/>
                    </a:moveTo>
                    <a:lnTo>
                      <a:pt x="1200" y="160"/>
                    </a:lnTo>
                    <a:lnTo>
                      <a:pt x="1200" y="162"/>
                    </a:lnTo>
                    <a:close/>
                    <a:moveTo>
                      <a:pt x="687" y="443"/>
                    </a:moveTo>
                    <a:lnTo>
                      <a:pt x="689" y="443"/>
                    </a:lnTo>
                    <a:lnTo>
                      <a:pt x="687" y="443"/>
                    </a:lnTo>
                    <a:close/>
                    <a:moveTo>
                      <a:pt x="1243" y="112"/>
                    </a:moveTo>
                    <a:lnTo>
                      <a:pt x="1245" y="110"/>
                    </a:lnTo>
                    <a:lnTo>
                      <a:pt x="1245" y="112"/>
                    </a:lnTo>
                    <a:lnTo>
                      <a:pt x="1245" y="114"/>
                    </a:lnTo>
                    <a:lnTo>
                      <a:pt x="1243" y="116"/>
                    </a:lnTo>
                    <a:lnTo>
                      <a:pt x="1243" y="118"/>
                    </a:lnTo>
                    <a:lnTo>
                      <a:pt x="1241" y="118"/>
                    </a:lnTo>
                    <a:lnTo>
                      <a:pt x="1241" y="116"/>
                    </a:lnTo>
                    <a:lnTo>
                      <a:pt x="1239" y="116"/>
                    </a:lnTo>
                    <a:lnTo>
                      <a:pt x="1241" y="114"/>
                    </a:lnTo>
                    <a:lnTo>
                      <a:pt x="1243" y="112"/>
                    </a:lnTo>
                    <a:close/>
                    <a:moveTo>
                      <a:pt x="682" y="435"/>
                    </a:moveTo>
                    <a:lnTo>
                      <a:pt x="684" y="435"/>
                    </a:lnTo>
                    <a:lnTo>
                      <a:pt x="682" y="435"/>
                    </a:lnTo>
                    <a:close/>
                    <a:moveTo>
                      <a:pt x="663" y="439"/>
                    </a:moveTo>
                    <a:lnTo>
                      <a:pt x="661" y="439"/>
                    </a:lnTo>
                    <a:lnTo>
                      <a:pt x="663" y="439"/>
                    </a:lnTo>
                    <a:close/>
                    <a:moveTo>
                      <a:pt x="666" y="433"/>
                    </a:moveTo>
                    <a:lnTo>
                      <a:pt x="666" y="435"/>
                    </a:lnTo>
                    <a:lnTo>
                      <a:pt x="664" y="435"/>
                    </a:lnTo>
                    <a:lnTo>
                      <a:pt x="666" y="433"/>
                    </a:lnTo>
                    <a:close/>
                    <a:moveTo>
                      <a:pt x="1200" y="160"/>
                    </a:moveTo>
                    <a:lnTo>
                      <a:pt x="1202" y="160"/>
                    </a:lnTo>
                    <a:lnTo>
                      <a:pt x="1200" y="160"/>
                    </a:lnTo>
                    <a:lnTo>
                      <a:pt x="1202" y="160"/>
                    </a:lnTo>
                    <a:lnTo>
                      <a:pt x="1202" y="158"/>
                    </a:lnTo>
                    <a:lnTo>
                      <a:pt x="1200" y="158"/>
                    </a:lnTo>
                    <a:lnTo>
                      <a:pt x="1200" y="156"/>
                    </a:lnTo>
                    <a:lnTo>
                      <a:pt x="1200" y="154"/>
                    </a:lnTo>
                    <a:lnTo>
                      <a:pt x="1199" y="154"/>
                    </a:lnTo>
                    <a:lnTo>
                      <a:pt x="1200" y="154"/>
                    </a:lnTo>
                    <a:lnTo>
                      <a:pt x="1199" y="154"/>
                    </a:lnTo>
                    <a:lnTo>
                      <a:pt x="1200" y="154"/>
                    </a:lnTo>
                    <a:lnTo>
                      <a:pt x="1199" y="152"/>
                    </a:lnTo>
                    <a:lnTo>
                      <a:pt x="1200" y="152"/>
                    </a:lnTo>
                    <a:lnTo>
                      <a:pt x="1199" y="152"/>
                    </a:lnTo>
                    <a:lnTo>
                      <a:pt x="1200" y="152"/>
                    </a:lnTo>
                    <a:lnTo>
                      <a:pt x="1199" y="152"/>
                    </a:lnTo>
                    <a:lnTo>
                      <a:pt x="1200" y="154"/>
                    </a:lnTo>
                    <a:lnTo>
                      <a:pt x="1200" y="152"/>
                    </a:lnTo>
                    <a:lnTo>
                      <a:pt x="1200" y="154"/>
                    </a:lnTo>
                    <a:lnTo>
                      <a:pt x="1200" y="152"/>
                    </a:lnTo>
                    <a:lnTo>
                      <a:pt x="1199" y="152"/>
                    </a:lnTo>
                    <a:lnTo>
                      <a:pt x="1199" y="150"/>
                    </a:lnTo>
                    <a:lnTo>
                      <a:pt x="1197" y="150"/>
                    </a:lnTo>
                    <a:lnTo>
                      <a:pt x="1199" y="150"/>
                    </a:lnTo>
                    <a:lnTo>
                      <a:pt x="1197" y="150"/>
                    </a:lnTo>
                    <a:lnTo>
                      <a:pt x="1197" y="148"/>
                    </a:lnTo>
                    <a:lnTo>
                      <a:pt x="1197" y="150"/>
                    </a:lnTo>
                    <a:lnTo>
                      <a:pt x="1199" y="150"/>
                    </a:lnTo>
                    <a:lnTo>
                      <a:pt x="1197" y="150"/>
                    </a:lnTo>
                    <a:lnTo>
                      <a:pt x="1199" y="148"/>
                    </a:lnTo>
                    <a:lnTo>
                      <a:pt x="1197" y="148"/>
                    </a:lnTo>
                    <a:lnTo>
                      <a:pt x="1197" y="147"/>
                    </a:lnTo>
                    <a:lnTo>
                      <a:pt x="1197" y="145"/>
                    </a:lnTo>
                    <a:lnTo>
                      <a:pt x="1195" y="145"/>
                    </a:lnTo>
                    <a:lnTo>
                      <a:pt x="1197" y="145"/>
                    </a:lnTo>
                    <a:lnTo>
                      <a:pt x="1195" y="145"/>
                    </a:lnTo>
                    <a:lnTo>
                      <a:pt x="1197" y="145"/>
                    </a:lnTo>
                    <a:lnTo>
                      <a:pt x="1195" y="145"/>
                    </a:lnTo>
                    <a:lnTo>
                      <a:pt x="1195" y="143"/>
                    </a:lnTo>
                    <a:lnTo>
                      <a:pt x="1193" y="143"/>
                    </a:lnTo>
                    <a:lnTo>
                      <a:pt x="1193" y="141"/>
                    </a:lnTo>
                    <a:lnTo>
                      <a:pt x="1193" y="139"/>
                    </a:lnTo>
                    <a:lnTo>
                      <a:pt x="1191" y="139"/>
                    </a:lnTo>
                    <a:lnTo>
                      <a:pt x="1193" y="139"/>
                    </a:lnTo>
                    <a:lnTo>
                      <a:pt x="1191" y="139"/>
                    </a:lnTo>
                    <a:lnTo>
                      <a:pt x="1191" y="137"/>
                    </a:lnTo>
                    <a:lnTo>
                      <a:pt x="1191" y="139"/>
                    </a:lnTo>
                    <a:lnTo>
                      <a:pt x="1189" y="139"/>
                    </a:lnTo>
                    <a:lnTo>
                      <a:pt x="1191" y="137"/>
                    </a:lnTo>
                    <a:lnTo>
                      <a:pt x="1189" y="137"/>
                    </a:lnTo>
                    <a:lnTo>
                      <a:pt x="1189" y="135"/>
                    </a:lnTo>
                    <a:lnTo>
                      <a:pt x="1189" y="137"/>
                    </a:lnTo>
                    <a:lnTo>
                      <a:pt x="1189" y="135"/>
                    </a:lnTo>
                    <a:lnTo>
                      <a:pt x="1187" y="135"/>
                    </a:lnTo>
                    <a:lnTo>
                      <a:pt x="1185" y="135"/>
                    </a:lnTo>
                    <a:lnTo>
                      <a:pt x="1185" y="133"/>
                    </a:lnTo>
                    <a:lnTo>
                      <a:pt x="1185" y="135"/>
                    </a:lnTo>
                    <a:lnTo>
                      <a:pt x="1183" y="135"/>
                    </a:lnTo>
                    <a:lnTo>
                      <a:pt x="1183" y="133"/>
                    </a:lnTo>
                    <a:lnTo>
                      <a:pt x="1181" y="133"/>
                    </a:lnTo>
                    <a:lnTo>
                      <a:pt x="1183" y="133"/>
                    </a:lnTo>
                    <a:lnTo>
                      <a:pt x="1183" y="131"/>
                    </a:lnTo>
                    <a:lnTo>
                      <a:pt x="1185" y="129"/>
                    </a:lnTo>
                    <a:lnTo>
                      <a:pt x="1187" y="127"/>
                    </a:lnTo>
                    <a:lnTo>
                      <a:pt x="1187" y="125"/>
                    </a:lnTo>
                    <a:lnTo>
                      <a:pt x="1189" y="125"/>
                    </a:lnTo>
                    <a:lnTo>
                      <a:pt x="1189" y="123"/>
                    </a:lnTo>
                    <a:lnTo>
                      <a:pt x="1191" y="123"/>
                    </a:lnTo>
                    <a:lnTo>
                      <a:pt x="1191" y="122"/>
                    </a:lnTo>
                    <a:lnTo>
                      <a:pt x="1193" y="122"/>
                    </a:lnTo>
                    <a:lnTo>
                      <a:pt x="1193" y="123"/>
                    </a:lnTo>
                    <a:lnTo>
                      <a:pt x="1193" y="125"/>
                    </a:lnTo>
                    <a:lnTo>
                      <a:pt x="1193" y="123"/>
                    </a:lnTo>
                    <a:lnTo>
                      <a:pt x="1193" y="125"/>
                    </a:lnTo>
                    <a:lnTo>
                      <a:pt x="1191" y="125"/>
                    </a:lnTo>
                    <a:lnTo>
                      <a:pt x="1191" y="127"/>
                    </a:lnTo>
                    <a:lnTo>
                      <a:pt x="1193" y="129"/>
                    </a:lnTo>
                    <a:lnTo>
                      <a:pt x="1193" y="127"/>
                    </a:lnTo>
                    <a:lnTo>
                      <a:pt x="1195" y="127"/>
                    </a:lnTo>
                    <a:lnTo>
                      <a:pt x="1197" y="127"/>
                    </a:lnTo>
                    <a:lnTo>
                      <a:pt x="1197" y="125"/>
                    </a:lnTo>
                    <a:lnTo>
                      <a:pt x="1199" y="125"/>
                    </a:lnTo>
                    <a:lnTo>
                      <a:pt x="1200" y="125"/>
                    </a:lnTo>
                    <a:lnTo>
                      <a:pt x="1202" y="125"/>
                    </a:lnTo>
                    <a:lnTo>
                      <a:pt x="1204" y="125"/>
                    </a:lnTo>
                    <a:lnTo>
                      <a:pt x="1204" y="123"/>
                    </a:lnTo>
                    <a:lnTo>
                      <a:pt x="1206" y="123"/>
                    </a:lnTo>
                    <a:lnTo>
                      <a:pt x="1208" y="123"/>
                    </a:lnTo>
                    <a:lnTo>
                      <a:pt x="1210" y="122"/>
                    </a:lnTo>
                    <a:lnTo>
                      <a:pt x="1212" y="122"/>
                    </a:lnTo>
                    <a:lnTo>
                      <a:pt x="1212" y="120"/>
                    </a:lnTo>
                    <a:lnTo>
                      <a:pt x="1214" y="120"/>
                    </a:lnTo>
                    <a:lnTo>
                      <a:pt x="1214" y="118"/>
                    </a:lnTo>
                    <a:lnTo>
                      <a:pt x="1216" y="118"/>
                    </a:lnTo>
                    <a:lnTo>
                      <a:pt x="1218" y="118"/>
                    </a:lnTo>
                    <a:lnTo>
                      <a:pt x="1220" y="118"/>
                    </a:lnTo>
                    <a:lnTo>
                      <a:pt x="1220" y="116"/>
                    </a:lnTo>
                    <a:lnTo>
                      <a:pt x="1222" y="116"/>
                    </a:lnTo>
                    <a:lnTo>
                      <a:pt x="1222" y="114"/>
                    </a:lnTo>
                    <a:lnTo>
                      <a:pt x="1223" y="114"/>
                    </a:lnTo>
                    <a:lnTo>
                      <a:pt x="1225" y="116"/>
                    </a:lnTo>
                    <a:lnTo>
                      <a:pt x="1227" y="116"/>
                    </a:lnTo>
                    <a:lnTo>
                      <a:pt x="1227" y="114"/>
                    </a:lnTo>
                    <a:lnTo>
                      <a:pt x="1229" y="114"/>
                    </a:lnTo>
                    <a:lnTo>
                      <a:pt x="1227" y="114"/>
                    </a:lnTo>
                    <a:lnTo>
                      <a:pt x="1229" y="112"/>
                    </a:lnTo>
                    <a:lnTo>
                      <a:pt x="1227" y="112"/>
                    </a:lnTo>
                    <a:lnTo>
                      <a:pt x="1227" y="110"/>
                    </a:lnTo>
                    <a:lnTo>
                      <a:pt x="1229" y="110"/>
                    </a:lnTo>
                    <a:lnTo>
                      <a:pt x="1231" y="110"/>
                    </a:lnTo>
                    <a:lnTo>
                      <a:pt x="1233" y="110"/>
                    </a:lnTo>
                    <a:lnTo>
                      <a:pt x="1231" y="112"/>
                    </a:lnTo>
                    <a:lnTo>
                      <a:pt x="1233" y="112"/>
                    </a:lnTo>
                    <a:lnTo>
                      <a:pt x="1233" y="114"/>
                    </a:lnTo>
                    <a:lnTo>
                      <a:pt x="1235" y="114"/>
                    </a:lnTo>
                    <a:lnTo>
                      <a:pt x="1235" y="116"/>
                    </a:lnTo>
                    <a:lnTo>
                      <a:pt x="1237" y="116"/>
                    </a:lnTo>
                    <a:lnTo>
                      <a:pt x="1237" y="118"/>
                    </a:lnTo>
                    <a:lnTo>
                      <a:pt x="1239" y="118"/>
                    </a:lnTo>
                    <a:lnTo>
                      <a:pt x="1239" y="116"/>
                    </a:lnTo>
                    <a:lnTo>
                      <a:pt x="1241" y="116"/>
                    </a:lnTo>
                    <a:lnTo>
                      <a:pt x="1241" y="118"/>
                    </a:lnTo>
                    <a:lnTo>
                      <a:pt x="1243" y="118"/>
                    </a:lnTo>
                    <a:lnTo>
                      <a:pt x="1241" y="120"/>
                    </a:lnTo>
                    <a:lnTo>
                      <a:pt x="1239" y="122"/>
                    </a:lnTo>
                    <a:lnTo>
                      <a:pt x="1237" y="123"/>
                    </a:lnTo>
                    <a:lnTo>
                      <a:pt x="1235" y="125"/>
                    </a:lnTo>
                    <a:lnTo>
                      <a:pt x="1235" y="127"/>
                    </a:lnTo>
                    <a:lnTo>
                      <a:pt x="1233" y="127"/>
                    </a:lnTo>
                    <a:lnTo>
                      <a:pt x="1231" y="127"/>
                    </a:lnTo>
                    <a:lnTo>
                      <a:pt x="1229" y="129"/>
                    </a:lnTo>
                    <a:lnTo>
                      <a:pt x="1227" y="129"/>
                    </a:lnTo>
                    <a:lnTo>
                      <a:pt x="1227" y="131"/>
                    </a:lnTo>
                    <a:lnTo>
                      <a:pt x="1225" y="131"/>
                    </a:lnTo>
                    <a:lnTo>
                      <a:pt x="1225" y="133"/>
                    </a:lnTo>
                    <a:lnTo>
                      <a:pt x="1223" y="133"/>
                    </a:lnTo>
                    <a:lnTo>
                      <a:pt x="1223" y="135"/>
                    </a:lnTo>
                    <a:lnTo>
                      <a:pt x="1222" y="135"/>
                    </a:lnTo>
                    <a:lnTo>
                      <a:pt x="1222" y="137"/>
                    </a:lnTo>
                    <a:lnTo>
                      <a:pt x="1223" y="137"/>
                    </a:lnTo>
                    <a:lnTo>
                      <a:pt x="1223" y="139"/>
                    </a:lnTo>
                    <a:lnTo>
                      <a:pt x="1223" y="141"/>
                    </a:lnTo>
                    <a:lnTo>
                      <a:pt x="1222" y="139"/>
                    </a:lnTo>
                    <a:lnTo>
                      <a:pt x="1222" y="141"/>
                    </a:lnTo>
                    <a:lnTo>
                      <a:pt x="1220" y="141"/>
                    </a:lnTo>
                    <a:lnTo>
                      <a:pt x="1220" y="139"/>
                    </a:lnTo>
                    <a:lnTo>
                      <a:pt x="1220" y="141"/>
                    </a:lnTo>
                    <a:lnTo>
                      <a:pt x="1218" y="141"/>
                    </a:lnTo>
                    <a:lnTo>
                      <a:pt x="1218" y="143"/>
                    </a:lnTo>
                    <a:lnTo>
                      <a:pt x="1216" y="143"/>
                    </a:lnTo>
                    <a:lnTo>
                      <a:pt x="1216" y="145"/>
                    </a:lnTo>
                    <a:lnTo>
                      <a:pt x="1214" y="145"/>
                    </a:lnTo>
                    <a:lnTo>
                      <a:pt x="1214" y="147"/>
                    </a:lnTo>
                    <a:lnTo>
                      <a:pt x="1212" y="147"/>
                    </a:lnTo>
                    <a:lnTo>
                      <a:pt x="1212" y="148"/>
                    </a:lnTo>
                    <a:lnTo>
                      <a:pt x="1214" y="148"/>
                    </a:lnTo>
                    <a:lnTo>
                      <a:pt x="1212" y="148"/>
                    </a:lnTo>
                    <a:lnTo>
                      <a:pt x="1212" y="150"/>
                    </a:lnTo>
                    <a:lnTo>
                      <a:pt x="1210" y="150"/>
                    </a:lnTo>
                    <a:lnTo>
                      <a:pt x="1210" y="152"/>
                    </a:lnTo>
                    <a:lnTo>
                      <a:pt x="1210" y="154"/>
                    </a:lnTo>
                    <a:lnTo>
                      <a:pt x="1210" y="156"/>
                    </a:lnTo>
                    <a:lnTo>
                      <a:pt x="1206" y="156"/>
                    </a:lnTo>
                    <a:lnTo>
                      <a:pt x="1206" y="158"/>
                    </a:lnTo>
                    <a:lnTo>
                      <a:pt x="1204" y="158"/>
                    </a:lnTo>
                    <a:lnTo>
                      <a:pt x="1202" y="160"/>
                    </a:lnTo>
                    <a:lnTo>
                      <a:pt x="1202" y="162"/>
                    </a:lnTo>
                    <a:lnTo>
                      <a:pt x="1200" y="162"/>
                    </a:lnTo>
                    <a:lnTo>
                      <a:pt x="1202" y="162"/>
                    </a:lnTo>
                    <a:lnTo>
                      <a:pt x="1200" y="162"/>
                    </a:lnTo>
                    <a:lnTo>
                      <a:pt x="1202" y="160"/>
                    </a:lnTo>
                    <a:lnTo>
                      <a:pt x="1200" y="160"/>
                    </a:lnTo>
                    <a:close/>
                    <a:moveTo>
                      <a:pt x="947" y="287"/>
                    </a:moveTo>
                    <a:lnTo>
                      <a:pt x="947" y="285"/>
                    </a:lnTo>
                    <a:lnTo>
                      <a:pt x="947" y="287"/>
                    </a:lnTo>
                    <a:lnTo>
                      <a:pt x="947" y="289"/>
                    </a:lnTo>
                    <a:lnTo>
                      <a:pt x="947" y="287"/>
                    </a:lnTo>
                    <a:lnTo>
                      <a:pt x="945" y="285"/>
                    </a:lnTo>
                    <a:lnTo>
                      <a:pt x="947" y="287"/>
                    </a:lnTo>
                    <a:close/>
                    <a:moveTo>
                      <a:pt x="1185" y="125"/>
                    </a:moveTo>
                    <a:lnTo>
                      <a:pt x="1187" y="123"/>
                    </a:lnTo>
                    <a:lnTo>
                      <a:pt x="1187" y="122"/>
                    </a:lnTo>
                    <a:lnTo>
                      <a:pt x="1189" y="122"/>
                    </a:lnTo>
                    <a:lnTo>
                      <a:pt x="1187" y="122"/>
                    </a:lnTo>
                    <a:lnTo>
                      <a:pt x="1189" y="122"/>
                    </a:lnTo>
                    <a:lnTo>
                      <a:pt x="1191" y="122"/>
                    </a:lnTo>
                    <a:lnTo>
                      <a:pt x="1189" y="122"/>
                    </a:lnTo>
                    <a:lnTo>
                      <a:pt x="1187" y="123"/>
                    </a:lnTo>
                    <a:lnTo>
                      <a:pt x="1187" y="125"/>
                    </a:lnTo>
                    <a:lnTo>
                      <a:pt x="1185" y="125"/>
                    </a:lnTo>
                    <a:close/>
                    <a:moveTo>
                      <a:pt x="1202" y="120"/>
                    </a:moveTo>
                    <a:lnTo>
                      <a:pt x="1200" y="120"/>
                    </a:lnTo>
                    <a:lnTo>
                      <a:pt x="1200" y="118"/>
                    </a:lnTo>
                    <a:lnTo>
                      <a:pt x="1200" y="120"/>
                    </a:lnTo>
                    <a:lnTo>
                      <a:pt x="1200" y="118"/>
                    </a:lnTo>
                    <a:lnTo>
                      <a:pt x="1200" y="120"/>
                    </a:lnTo>
                    <a:lnTo>
                      <a:pt x="1202" y="120"/>
                    </a:lnTo>
                    <a:lnTo>
                      <a:pt x="1200" y="122"/>
                    </a:lnTo>
                    <a:lnTo>
                      <a:pt x="1199" y="122"/>
                    </a:lnTo>
                    <a:lnTo>
                      <a:pt x="1197" y="122"/>
                    </a:lnTo>
                    <a:lnTo>
                      <a:pt x="1195" y="120"/>
                    </a:lnTo>
                    <a:lnTo>
                      <a:pt x="1195" y="122"/>
                    </a:lnTo>
                    <a:lnTo>
                      <a:pt x="1193" y="122"/>
                    </a:lnTo>
                    <a:lnTo>
                      <a:pt x="1193" y="120"/>
                    </a:lnTo>
                    <a:lnTo>
                      <a:pt x="1191" y="122"/>
                    </a:lnTo>
                    <a:lnTo>
                      <a:pt x="1189" y="122"/>
                    </a:lnTo>
                    <a:lnTo>
                      <a:pt x="1189" y="120"/>
                    </a:lnTo>
                    <a:lnTo>
                      <a:pt x="1187" y="120"/>
                    </a:lnTo>
                    <a:lnTo>
                      <a:pt x="1189" y="120"/>
                    </a:lnTo>
                    <a:lnTo>
                      <a:pt x="1189" y="118"/>
                    </a:lnTo>
                    <a:lnTo>
                      <a:pt x="1191" y="118"/>
                    </a:lnTo>
                    <a:lnTo>
                      <a:pt x="1191" y="116"/>
                    </a:lnTo>
                    <a:lnTo>
                      <a:pt x="1191" y="118"/>
                    </a:lnTo>
                    <a:lnTo>
                      <a:pt x="1193" y="118"/>
                    </a:lnTo>
                    <a:lnTo>
                      <a:pt x="1193" y="116"/>
                    </a:lnTo>
                    <a:lnTo>
                      <a:pt x="1195" y="116"/>
                    </a:lnTo>
                    <a:lnTo>
                      <a:pt x="1197" y="116"/>
                    </a:lnTo>
                    <a:lnTo>
                      <a:pt x="1199" y="116"/>
                    </a:lnTo>
                    <a:lnTo>
                      <a:pt x="1197" y="116"/>
                    </a:lnTo>
                    <a:lnTo>
                      <a:pt x="1197" y="114"/>
                    </a:lnTo>
                    <a:lnTo>
                      <a:pt x="1197" y="112"/>
                    </a:lnTo>
                    <a:lnTo>
                      <a:pt x="1199" y="112"/>
                    </a:lnTo>
                    <a:lnTo>
                      <a:pt x="1200" y="114"/>
                    </a:lnTo>
                    <a:lnTo>
                      <a:pt x="1202" y="114"/>
                    </a:lnTo>
                    <a:lnTo>
                      <a:pt x="1202" y="112"/>
                    </a:lnTo>
                    <a:lnTo>
                      <a:pt x="1202" y="114"/>
                    </a:lnTo>
                    <a:lnTo>
                      <a:pt x="1204" y="114"/>
                    </a:lnTo>
                    <a:lnTo>
                      <a:pt x="1204" y="112"/>
                    </a:lnTo>
                    <a:lnTo>
                      <a:pt x="1204" y="114"/>
                    </a:lnTo>
                    <a:lnTo>
                      <a:pt x="1204" y="116"/>
                    </a:lnTo>
                    <a:lnTo>
                      <a:pt x="1204" y="114"/>
                    </a:lnTo>
                    <a:lnTo>
                      <a:pt x="1206" y="114"/>
                    </a:lnTo>
                    <a:lnTo>
                      <a:pt x="1206" y="112"/>
                    </a:lnTo>
                    <a:lnTo>
                      <a:pt x="1206" y="114"/>
                    </a:lnTo>
                    <a:lnTo>
                      <a:pt x="1206" y="116"/>
                    </a:lnTo>
                    <a:lnTo>
                      <a:pt x="1208" y="116"/>
                    </a:lnTo>
                    <a:lnTo>
                      <a:pt x="1208" y="114"/>
                    </a:lnTo>
                    <a:lnTo>
                      <a:pt x="1208" y="116"/>
                    </a:lnTo>
                    <a:lnTo>
                      <a:pt x="1210" y="116"/>
                    </a:lnTo>
                    <a:lnTo>
                      <a:pt x="1210" y="114"/>
                    </a:lnTo>
                    <a:lnTo>
                      <a:pt x="1210" y="116"/>
                    </a:lnTo>
                    <a:lnTo>
                      <a:pt x="1208" y="116"/>
                    </a:lnTo>
                    <a:lnTo>
                      <a:pt x="1208" y="118"/>
                    </a:lnTo>
                    <a:lnTo>
                      <a:pt x="1206" y="118"/>
                    </a:lnTo>
                    <a:lnTo>
                      <a:pt x="1208" y="120"/>
                    </a:lnTo>
                    <a:lnTo>
                      <a:pt x="1206" y="120"/>
                    </a:lnTo>
                    <a:lnTo>
                      <a:pt x="1206" y="122"/>
                    </a:lnTo>
                    <a:lnTo>
                      <a:pt x="1204" y="122"/>
                    </a:lnTo>
                    <a:lnTo>
                      <a:pt x="1204" y="120"/>
                    </a:lnTo>
                    <a:lnTo>
                      <a:pt x="1202" y="122"/>
                    </a:lnTo>
                    <a:lnTo>
                      <a:pt x="1202" y="120"/>
                    </a:lnTo>
                    <a:close/>
                    <a:moveTo>
                      <a:pt x="428" y="466"/>
                    </a:moveTo>
                    <a:lnTo>
                      <a:pt x="426" y="466"/>
                    </a:lnTo>
                    <a:lnTo>
                      <a:pt x="426" y="464"/>
                    </a:lnTo>
                    <a:lnTo>
                      <a:pt x="428" y="464"/>
                    </a:lnTo>
                    <a:lnTo>
                      <a:pt x="428" y="462"/>
                    </a:lnTo>
                    <a:lnTo>
                      <a:pt x="426" y="462"/>
                    </a:lnTo>
                    <a:lnTo>
                      <a:pt x="428" y="462"/>
                    </a:lnTo>
                    <a:lnTo>
                      <a:pt x="430" y="462"/>
                    </a:lnTo>
                    <a:lnTo>
                      <a:pt x="432" y="462"/>
                    </a:lnTo>
                    <a:lnTo>
                      <a:pt x="432" y="464"/>
                    </a:lnTo>
                    <a:lnTo>
                      <a:pt x="430" y="464"/>
                    </a:lnTo>
                    <a:lnTo>
                      <a:pt x="430" y="466"/>
                    </a:lnTo>
                    <a:lnTo>
                      <a:pt x="428" y="466"/>
                    </a:lnTo>
                    <a:lnTo>
                      <a:pt x="428" y="468"/>
                    </a:lnTo>
                    <a:lnTo>
                      <a:pt x="426" y="468"/>
                    </a:lnTo>
                    <a:lnTo>
                      <a:pt x="426" y="466"/>
                    </a:lnTo>
                    <a:lnTo>
                      <a:pt x="428" y="466"/>
                    </a:lnTo>
                    <a:close/>
                    <a:moveTo>
                      <a:pt x="1183" y="60"/>
                    </a:moveTo>
                    <a:lnTo>
                      <a:pt x="1181" y="60"/>
                    </a:lnTo>
                    <a:lnTo>
                      <a:pt x="1183" y="60"/>
                    </a:lnTo>
                    <a:close/>
                    <a:moveTo>
                      <a:pt x="1237" y="104"/>
                    </a:moveTo>
                    <a:lnTo>
                      <a:pt x="1237" y="102"/>
                    </a:lnTo>
                    <a:lnTo>
                      <a:pt x="1237" y="100"/>
                    </a:lnTo>
                    <a:lnTo>
                      <a:pt x="1237" y="98"/>
                    </a:lnTo>
                    <a:lnTo>
                      <a:pt x="1237" y="97"/>
                    </a:lnTo>
                    <a:lnTo>
                      <a:pt x="1235" y="95"/>
                    </a:lnTo>
                    <a:lnTo>
                      <a:pt x="1235" y="93"/>
                    </a:lnTo>
                    <a:lnTo>
                      <a:pt x="1235" y="91"/>
                    </a:lnTo>
                    <a:lnTo>
                      <a:pt x="1237" y="91"/>
                    </a:lnTo>
                    <a:lnTo>
                      <a:pt x="1237" y="89"/>
                    </a:lnTo>
                    <a:lnTo>
                      <a:pt x="1235" y="89"/>
                    </a:lnTo>
                    <a:lnTo>
                      <a:pt x="1235" y="87"/>
                    </a:lnTo>
                    <a:lnTo>
                      <a:pt x="1237" y="89"/>
                    </a:lnTo>
                    <a:lnTo>
                      <a:pt x="1239" y="89"/>
                    </a:lnTo>
                    <a:lnTo>
                      <a:pt x="1241" y="89"/>
                    </a:lnTo>
                    <a:lnTo>
                      <a:pt x="1243" y="89"/>
                    </a:lnTo>
                    <a:lnTo>
                      <a:pt x="1245" y="91"/>
                    </a:lnTo>
                    <a:lnTo>
                      <a:pt x="1243" y="89"/>
                    </a:lnTo>
                    <a:lnTo>
                      <a:pt x="1241" y="89"/>
                    </a:lnTo>
                    <a:lnTo>
                      <a:pt x="1239" y="89"/>
                    </a:lnTo>
                    <a:lnTo>
                      <a:pt x="1237" y="89"/>
                    </a:lnTo>
                    <a:lnTo>
                      <a:pt x="1235" y="87"/>
                    </a:lnTo>
                    <a:lnTo>
                      <a:pt x="1235" y="89"/>
                    </a:lnTo>
                    <a:lnTo>
                      <a:pt x="1233" y="89"/>
                    </a:lnTo>
                    <a:lnTo>
                      <a:pt x="1231" y="89"/>
                    </a:lnTo>
                    <a:lnTo>
                      <a:pt x="1233" y="89"/>
                    </a:lnTo>
                    <a:lnTo>
                      <a:pt x="1233" y="87"/>
                    </a:lnTo>
                    <a:lnTo>
                      <a:pt x="1231" y="87"/>
                    </a:lnTo>
                    <a:lnTo>
                      <a:pt x="1231" y="85"/>
                    </a:lnTo>
                    <a:lnTo>
                      <a:pt x="1233" y="85"/>
                    </a:lnTo>
                    <a:lnTo>
                      <a:pt x="1233" y="83"/>
                    </a:lnTo>
                    <a:lnTo>
                      <a:pt x="1235" y="81"/>
                    </a:lnTo>
                    <a:lnTo>
                      <a:pt x="1235" y="79"/>
                    </a:lnTo>
                    <a:lnTo>
                      <a:pt x="1233" y="77"/>
                    </a:lnTo>
                    <a:lnTo>
                      <a:pt x="1233" y="75"/>
                    </a:lnTo>
                    <a:lnTo>
                      <a:pt x="1231" y="75"/>
                    </a:lnTo>
                    <a:lnTo>
                      <a:pt x="1229" y="75"/>
                    </a:lnTo>
                    <a:lnTo>
                      <a:pt x="1227" y="75"/>
                    </a:lnTo>
                    <a:lnTo>
                      <a:pt x="1227" y="73"/>
                    </a:lnTo>
                    <a:lnTo>
                      <a:pt x="1227" y="75"/>
                    </a:lnTo>
                    <a:lnTo>
                      <a:pt x="1227" y="73"/>
                    </a:lnTo>
                    <a:lnTo>
                      <a:pt x="1225" y="72"/>
                    </a:lnTo>
                    <a:lnTo>
                      <a:pt x="1223" y="72"/>
                    </a:lnTo>
                    <a:lnTo>
                      <a:pt x="1223" y="70"/>
                    </a:lnTo>
                    <a:lnTo>
                      <a:pt x="1222" y="70"/>
                    </a:lnTo>
                    <a:lnTo>
                      <a:pt x="1222" y="68"/>
                    </a:lnTo>
                    <a:lnTo>
                      <a:pt x="1222" y="66"/>
                    </a:lnTo>
                    <a:lnTo>
                      <a:pt x="1220" y="66"/>
                    </a:lnTo>
                    <a:lnTo>
                      <a:pt x="1218" y="66"/>
                    </a:lnTo>
                    <a:lnTo>
                      <a:pt x="1218" y="64"/>
                    </a:lnTo>
                    <a:lnTo>
                      <a:pt x="1218" y="62"/>
                    </a:lnTo>
                    <a:lnTo>
                      <a:pt x="1220" y="62"/>
                    </a:lnTo>
                    <a:lnTo>
                      <a:pt x="1220" y="60"/>
                    </a:lnTo>
                    <a:lnTo>
                      <a:pt x="1218" y="60"/>
                    </a:lnTo>
                    <a:lnTo>
                      <a:pt x="1216" y="60"/>
                    </a:lnTo>
                    <a:lnTo>
                      <a:pt x="1216" y="58"/>
                    </a:lnTo>
                    <a:lnTo>
                      <a:pt x="1214" y="60"/>
                    </a:lnTo>
                    <a:lnTo>
                      <a:pt x="1214" y="58"/>
                    </a:lnTo>
                    <a:lnTo>
                      <a:pt x="1212" y="58"/>
                    </a:lnTo>
                    <a:lnTo>
                      <a:pt x="1214" y="56"/>
                    </a:lnTo>
                    <a:lnTo>
                      <a:pt x="1214" y="54"/>
                    </a:lnTo>
                    <a:lnTo>
                      <a:pt x="1214" y="52"/>
                    </a:lnTo>
                    <a:lnTo>
                      <a:pt x="1214" y="50"/>
                    </a:lnTo>
                    <a:lnTo>
                      <a:pt x="1214" y="48"/>
                    </a:lnTo>
                    <a:lnTo>
                      <a:pt x="1214" y="47"/>
                    </a:lnTo>
                    <a:lnTo>
                      <a:pt x="1216" y="45"/>
                    </a:lnTo>
                    <a:lnTo>
                      <a:pt x="1218" y="45"/>
                    </a:lnTo>
                    <a:lnTo>
                      <a:pt x="1218" y="43"/>
                    </a:lnTo>
                    <a:lnTo>
                      <a:pt x="1218" y="41"/>
                    </a:lnTo>
                    <a:lnTo>
                      <a:pt x="1216" y="41"/>
                    </a:lnTo>
                    <a:lnTo>
                      <a:pt x="1216" y="39"/>
                    </a:lnTo>
                    <a:lnTo>
                      <a:pt x="1218" y="39"/>
                    </a:lnTo>
                    <a:lnTo>
                      <a:pt x="1216" y="39"/>
                    </a:lnTo>
                    <a:lnTo>
                      <a:pt x="1218" y="37"/>
                    </a:lnTo>
                    <a:lnTo>
                      <a:pt x="1218" y="35"/>
                    </a:lnTo>
                    <a:lnTo>
                      <a:pt x="1216" y="35"/>
                    </a:lnTo>
                    <a:lnTo>
                      <a:pt x="1218" y="35"/>
                    </a:lnTo>
                    <a:lnTo>
                      <a:pt x="1218" y="33"/>
                    </a:lnTo>
                    <a:lnTo>
                      <a:pt x="1220" y="33"/>
                    </a:lnTo>
                    <a:lnTo>
                      <a:pt x="1220" y="31"/>
                    </a:lnTo>
                    <a:lnTo>
                      <a:pt x="1218" y="31"/>
                    </a:lnTo>
                    <a:lnTo>
                      <a:pt x="1220" y="31"/>
                    </a:lnTo>
                    <a:lnTo>
                      <a:pt x="1220" y="33"/>
                    </a:lnTo>
                    <a:lnTo>
                      <a:pt x="1222" y="35"/>
                    </a:lnTo>
                    <a:lnTo>
                      <a:pt x="1222" y="37"/>
                    </a:lnTo>
                    <a:lnTo>
                      <a:pt x="1227" y="41"/>
                    </a:lnTo>
                    <a:lnTo>
                      <a:pt x="1227" y="43"/>
                    </a:lnTo>
                    <a:lnTo>
                      <a:pt x="1229" y="43"/>
                    </a:lnTo>
                    <a:lnTo>
                      <a:pt x="1231" y="43"/>
                    </a:lnTo>
                    <a:lnTo>
                      <a:pt x="1233" y="45"/>
                    </a:lnTo>
                    <a:lnTo>
                      <a:pt x="1235" y="45"/>
                    </a:lnTo>
                    <a:lnTo>
                      <a:pt x="1237" y="45"/>
                    </a:lnTo>
                    <a:lnTo>
                      <a:pt x="1243" y="47"/>
                    </a:lnTo>
                    <a:lnTo>
                      <a:pt x="1245" y="48"/>
                    </a:lnTo>
                    <a:lnTo>
                      <a:pt x="1243" y="52"/>
                    </a:lnTo>
                    <a:lnTo>
                      <a:pt x="1241" y="54"/>
                    </a:lnTo>
                    <a:lnTo>
                      <a:pt x="1243" y="56"/>
                    </a:lnTo>
                    <a:lnTo>
                      <a:pt x="1245" y="56"/>
                    </a:lnTo>
                    <a:lnTo>
                      <a:pt x="1247" y="58"/>
                    </a:lnTo>
                    <a:lnTo>
                      <a:pt x="1248" y="58"/>
                    </a:lnTo>
                    <a:lnTo>
                      <a:pt x="1252" y="58"/>
                    </a:lnTo>
                    <a:lnTo>
                      <a:pt x="1254" y="60"/>
                    </a:lnTo>
                    <a:lnTo>
                      <a:pt x="1256" y="60"/>
                    </a:lnTo>
                    <a:lnTo>
                      <a:pt x="1256" y="62"/>
                    </a:lnTo>
                    <a:lnTo>
                      <a:pt x="1258" y="66"/>
                    </a:lnTo>
                    <a:lnTo>
                      <a:pt x="1258" y="68"/>
                    </a:lnTo>
                    <a:lnTo>
                      <a:pt x="1254" y="68"/>
                    </a:lnTo>
                    <a:lnTo>
                      <a:pt x="1258" y="72"/>
                    </a:lnTo>
                    <a:lnTo>
                      <a:pt x="1262" y="72"/>
                    </a:lnTo>
                    <a:lnTo>
                      <a:pt x="1264" y="73"/>
                    </a:lnTo>
                    <a:lnTo>
                      <a:pt x="1266" y="75"/>
                    </a:lnTo>
                    <a:lnTo>
                      <a:pt x="1266" y="77"/>
                    </a:lnTo>
                    <a:lnTo>
                      <a:pt x="1266" y="79"/>
                    </a:lnTo>
                    <a:lnTo>
                      <a:pt x="1266" y="81"/>
                    </a:lnTo>
                    <a:lnTo>
                      <a:pt x="1266" y="83"/>
                    </a:lnTo>
                    <a:lnTo>
                      <a:pt x="1268" y="83"/>
                    </a:lnTo>
                    <a:lnTo>
                      <a:pt x="1270" y="87"/>
                    </a:lnTo>
                    <a:lnTo>
                      <a:pt x="1270" y="89"/>
                    </a:lnTo>
                    <a:lnTo>
                      <a:pt x="1270" y="91"/>
                    </a:lnTo>
                    <a:lnTo>
                      <a:pt x="1270" y="93"/>
                    </a:lnTo>
                    <a:lnTo>
                      <a:pt x="1268" y="95"/>
                    </a:lnTo>
                    <a:lnTo>
                      <a:pt x="1266" y="95"/>
                    </a:lnTo>
                    <a:lnTo>
                      <a:pt x="1264" y="97"/>
                    </a:lnTo>
                    <a:lnTo>
                      <a:pt x="1262" y="97"/>
                    </a:lnTo>
                    <a:lnTo>
                      <a:pt x="1260" y="97"/>
                    </a:lnTo>
                    <a:lnTo>
                      <a:pt x="1258" y="98"/>
                    </a:lnTo>
                    <a:lnTo>
                      <a:pt x="1254" y="102"/>
                    </a:lnTo>
                    <a:lnTo>
                      <a:pt x="1252" y="102"/>
                    </a:lnTo>
                    <a:lnTo>
                      <a:pt x="1250" y="102"/>
                    </a:lnTo>
                    <a:lnTo>
                      <a:pt x="1250" y="104"/>
                    </a:lnTo>
                    <a:lnTo>
                      <a:pt x="1248" y="104"/>
                    </a:lnTo>
                    <a:lnTo>
                      <a:pt x="1247" y="106"/>
                    </a:lnTo>
                    <a:lnTo>
                      <a:pt x="1247" y="108"/>
                    </a:lnTo>
                    <a:lnTo>
                      <a:pt x="1245" y="110"/>
                    </a:lnTo>
                    <a:lnTo>
                      <a:pt x="1243" y="110"/>
                    </a:lnTo>
                    <a:lnTo>
                      <a:pt x="1243" y="112"/>
                    </a:lnTo>
                    <a:lnTo>
                      <a:pt x="1241" y="112"/>
                    </a:lnTo>
                    <a:lnTo>
                      <a:pt x="1241" y="114"/>
                    </a:lnTo>
                    <a:lnTo>
                      <a:pt x="1241" y="112"/>
                    </a:lnTo>
                    <a:lnTo>
                      <a:pt x="1241" y="110"/>
                    </a:lnTo>
                    <a:lnTo>
                      <a:pt x="1239" y="110"/>
                    </a:lnTo>
                    <a:lnTo>
                      <a:pt x="1239" y="112"/>
                    </a:lnTo>
                    <a:lnTo>
                      <a:pt x="1239" y="110"/>
                    </a:lnTo>
                    <a:lnTo>
                      <a:pt x="1237" y="110"/>
                    </a:lnTo>
                    <a:lnTo>
                      <a:pt x="1237" y="112"/>
                    </a:lnTo>
                    <a:lnTo>
                      <a:pt x="1235" y="112"/>
                    </a:lnTo>
                    <a:lnTo>
                      <a:pt x="1237" y="110"/>
                    </a:lnTo>
                    <a:lnTo>
                      <a:pt x="1237" y="108"/>
                    </a:lnTo>
                    <a:lnTo>
                      <a:pt x="1239" y="108"/>
                    </a:lnTo>
                    <a:lnTo>
                      <a:pt x="1237" y="108"/>
                    </a:lnTo>
                    <a:lnTo>
                      <a:pt x="1235" y="108"/>
                    </a:lnTo>
                    <a:lnTo>
                      <a:pt x="1235" y="110"/>
                    </a:lnTo>
                    <a:lnTo>
                      <a:pt x="1233" y="110"/>
                    </a:lnTo>
                    <a:lnTo>
                      <a:pt x="1235" y="108"/>
                    </a:lnTo>
                    <a:lnTo>
                      <a:pt x="1235" y="106"/>
                    </a:lnTo>
                    <a:lnTo>
                      <a:pt x="1237" y="104"/>
                    </a:lnTo>
                    <a:close/>
                    <a:moveTo>
                      <a:pt x="445" y="433"/>
                    </a:moveTo>
                    <a:lnTo>
                      <a:pt x="445" y="435"/>
                    </a:lnTo>
                    <a:lnTo>
                      <a:pt x="443" y="435"/>
                    </a:lnTo>
                    <a:lnTo>
                      <a:pt x="442" y="435"/>
                    </a:lnTo>
                    <a:lnTo>
                      <a:pt x="443" y="435"/>
                    </a:lnTo>
                    <a:lnTo>
                      <a:pt x="445" y="433"/>
                    </a:lnTo>
                    <a:close/>
                    <a:moveTo>
                      <a:pt x="453" y="412"/>
                    </a:moveTo>
                    <a:lnTo>
                      <a:pt x="451" y="412"/>
                    </a:lnTo>
                    <a:lnTo>
                      <a:pt x="453" y="412"/>
                    </a:lnTo>
                    <a:lnTo>
                      <a:pt x="453" y="410"/>
                    </a:lnTo>
                    <a:lnTo>
                      <a:pt x="453" y="412"/>
                    </a:lnTo>
                    <a:lnTo>
                      <a:pt x="453" y="410"/>
                    </a:lnTo>
                    <a:lnTo>
                      <a:pt x="453" y="412"/>
                    </a:lnTo>
                    <a:lnTo>
                      <a:pt x="453" y="414"/>
                    </a:lnTo>
                    <a:lnTo>
                      <a:pt x="451" y="412"/>
                    </a:lnTo>
                    <a:lnTo>
                      <a:pt x="449" y="412"/>
                    </a:lnTo>
                    <a:lnTo>
                      <a:pt x="449" y="410"/>
                    </a:lnTo>
                    <a:lnTo>
                      <a:pt x="449" y="412"/>
                    </a:lnTo>
                    <a:lnTo>
                      <a:pt x="449" y="410"/>
                    </a:lnTo>
                    <a:lnTo>
                      <a:pt x="451" y="412"/>
                    </a:lnTo>
                    <a:lnTo>
                      <a:pt x="453" y="412"/>
                    </a:lnTo>
                    <a:close/>
                    <a:moveTo>
                      <a:pt x="1001" y="110"/>
                    </a:moveTo>
                    <a:lnTo>
                      <a:pt x="999" y="110"/>
                    </a:lnTo>
                    <a:lnTo>
                      <a:pt x="1001" y="110"/>
                    </a:lnTo>
                    <a:lnTo>
                      <a:pt x="999" y="110"/>
                    </a:lnTo>
                    <a:lnTo>
                      <a:pt x="1001" y="110"/>
                    </a:lnTo>
                    <a:lnTo>
                      <a:pt x="999" y="110"/>
                    </a:lnTo>
                    <a:lnTo>
                      <a:pt x="1001" y="110"/>
                    </a:lnTo>
                    <a:lnTo>
                      <a:pt x="1001" y="108"/>
                    </a:lnTo>
                    <a:lnTo>
                      <a:pt x="1001" y="110"/>
                    </a:lnTo>
                    <a:lnTo>
                      <a:pt x="1001" y="108"/>
                    </a:lnTo>
                    <a:lnTo>
                      <a:pt x="1001" y="110"/>
                    </a:lnTo>
                    <a:close/>
                    <a:moveTo>
                      <a:pt x="931" y="150"/>
                    </a:moveTo>
                    <a:lnTo>
                      <a:pt x="931" y="148"/>
                    </a:lnTo>
                    <a:lnTo>
                      <a:pt x="933" y="148"/>
                    </a:lnTo>
                    <a:lnTo>
                      <a:pt x="933" y="150"/>
                    </a:lnTo>
                    <a:lnTo>
                      <a:pt x="931" y="150"/>
                    </a:lnTo>
                    <a:lnTo>
                      <a:pt x="933" y="150"/>
                    </a:lnTo>
                    <a:lnTo>
                      <a:pt x="931" y="150"/>
                    </a:lnTo>
                    <a:lnTo>
                      <a:pt x="931" y="152"/>
                    </a:lnTo>
                    <a:lnTo>
                      <a:pt x="930" y="152"/>
                    </a:lnTo>
                    <a:lnTo>
                      <a:pt x="931" y="150"/>
                    </a:lnTo>
                    <a:close/>
                    <a:moveTo>
                      <a:pt x="912" y="166"/>
                    </a:moveTo>
                    <a:lnTo>
                      <a:pt x="912" y="168"/>
                    </a:lnTo>
                    <a:lnTo>
                      <a:pt x="912" y="166"/>
                    </a:lnTo>
                    <a:lnTo>
                      <a:pt x="914" y="166"/>
                    </a:lnTo>
                    <a:lnTo>
                      <a:pt x="914" y="164"/>
                    </a:lnTo>
                    <a:lnTo>
                      <a:pt x="914" y="162"/>
                    </a:lnTo>
                    <a:lnTo>
                      <a:pt x="912" y="162"/>
                    </a:lnTo>
                    <a:lnTo>
                      <a:pt x="912" y="164"/>
                    </a:lnTo>
                    <a:lnTo>
                      <a:pt x="912" y="162"/>
                    </a:lnTo>
                    <a:lnTo>
                      <a:pt x="912" y="160"/>
                    </a:lnTo>
                    <a:lnTo>
                      <a:pt x="912" y="162"/>
                    </a:lnTo>
                    <a:lnTo>
                      <a:pt x="912" y="160"/>
                    </a:lnTo>
                    <a:lnTo>
                      <a:pt x="914" y="160"/>
                    </a:lnTo>
                    <a:lnTo>
                      <a:pt x="912" y="160"/>
                    </a:lnTo>
                    <a:lnTo>
                      <a:pt x="912" y="158"/>
                    </a:lnTo>
                    <a:lnTo>
                      <a:pt x="914" y="158"/>
                    </a:lnTo>
                    <a:lnTo>
                      <a:pt x="916" y="158"/>
                    </a:lnTo>
                    <a:lnTo>
                      <a:pt x="916" y="156"/>
                    </a:lnTo>
                    <a:lnTo>
                      <a:pt x="918" y="156"/>
                    </a:lnTo>
                    <a:lnTo>
                      <a:pt x="916" y="156"/>
                    </a:lnTo>
                    <a:lnTo>
                      <a:pt x="916" y="154"/>
                    </a:lnTo>
                    <a:lnTo>
                      <a:pt x="918" y="154"/>
                    </a:lnTo>
                    <a:lnTo>
                      <a:pt x="918" y="152"/>
                    </a:lnTo>
                    <a:lnTo>
                      <a:pt x="918" y="154"/>
                    </a:lnTo>
                    <a:lnTo>
                      <a:pt x="916" y="154"/>
                    </a:lnTo>
                    <a:lnTo>
                      <a:pt x="916" y="152"/>
                    </a:lnTo>
                    <a:lnTo>
                      <a:pt x="918" y="152"/>
                    </a:lnTo>
                    <a:lnTo>
                      <a:pt x="920" y="150"/>
                    </a:lnTo>
                    <a:lnTo>
                      <a:pt x="922" y="152"/>
                    </a:lnTo>
                    <a:lnTo>
                      <a:pt x="922" y="154"/>
                    </a:lnTo>
                    <a:lnTo>
                      <a:pt x="924" y="154"/>
                    </a:lnTo>
                    <a:lnTo>
                      <a:pt x="922" y="156"/>
                    </a:lnTo>
                    <a:lnTo>
                      <a:pt x="920" y="156"/>
                    </a:lnTo>
                    <a:lnTo>
                      <a:pt x="920" y="158"/>
                    </a:lnTo>
                    <a:lnTo>
                      <a:pt x="922" y="158"/>
                    </a:lnTo>
                    <a:lnTo>
                      <a:pt x="922" y="160"/>
                    </a:lnTo>
                    <a:lnTo>
                      <a:pt x="920" y="162"/>
                    </a:lnTo>
                    <a:lnTo>
                      <a:pt x="918" y="162"/>
                    </a:lnTo>
                    <a:lnTo>
                      <a:pt x="918" y="164"/>
                    </a:lnTo>
                    <a:lnTo>
                      <a:pt x="920" y="164"/>
                    </a:lnTo>
                    <a:lnTo>
                      <a:pt x="920" y="166"/>
                    </a:lnTo>
                    <a:lnTo>
                      <a:pt x="918" y="168"/>
                    </a:lnTo>
                    <a:lnTo>
                      <a:pt x="916" y="168"/>
                    </a:lnTo>
                    <a:lnTo>
                      <a:pt x="916" y="170"/>
                    </a:lnTo>
                    <a:lnTo>
                      <a:pt x="916" y="168"/>
                    </a:lnTo>
                    <a:lnTo>
                      <a:pt x="918" y="168"/>
                    </a:lnTo>
                    <a:lnTo>
                      <a:pt x="920" y="166"/>
                    </a:lnTo>
                    <a:lnTo>
                      <a:pt x="920" y="168"/>
                    </a:lnTo>
                    <a:lnTo>
                      <a:pt x="920" y="166"/>
                    </a:lnTo>
                    <a:lnTo>
                      <a:pt x="920" y="168"/>
                    </a:lnTo>
                    <a:lnTo>
                      <a:pt x="922" y="168"/>
                    </a:lnTo>
                    <a:lnTo>
                      <a:pt x="922" y="170"/>
                    </a:lnTo>
                    <a:lnTo>
                      <a:pt x="922" y="172"/>
                    </a:lnTo>
                    <a:lnTo>
                      <a:pt x="920" y="172"/>
                    </a:lnTo>
                    <a:lnTo>
                      <a:pt x="918" y="173"/>
                    </a:lnTo>
                    <a:lnTo>
                      <a:pt x="918" y="175"/>
                    </a:lnTo>
                    <a:lnTo>
                      <a:pt x="916" y="175"/>
                    </a:lnTo>
                    <a:lnTo>
                      <a:pt x="914" y="175"/>
                    </a:lnTo>
                    <a:lnTo>
                      <a:pt x="914" y="173"/>
                    </a:lnTo>
                    <a:lnTo>
                      <a:pt x="914" y="175"/>
                    </a:lnTo>
                    <a:lnTo>
                      <a:pt x="916" y="175"/>
                    </a:lnTo>
                    <a:lnTo>
                      <a:pt x="916" y="177"/>
                    </a:lnTo>
                    <a:lnTo>
                      <a:pt x="916" y="179"/>
                    </a:lnTo>
                    <a:lnTo>
                      <a:pt x="914" y="179"/>
                    </a:lnTo>
                    <a:lnTo>
                      <a:pt x="914" y="177"/>
                    </a:lnTo>
                    <a:lnTo>
                      <a:pt x="912" y="177"/>
                    </a:lnTo>
                    <a:lnTo>
                      <a:pt x="912" y="179"/>
                    </a:lnTo>
                    <a:lnTo>
                      <a:pt x="912" y="177"/>
                    </a:lnTo>
                    <a:lnTo>
                      <a:pt x="910" y="177"/>
                    </a:lnTo>
                    <a:lnTo>
                      <a:pt x="912" y="177"/>
                    </a:lnTo>
                    <a:lnTo>
                      <a:pt x="910" y="177"/>
                    </a:lnTo>
                    <a:lnTo>
                      <a:pt x="910" y="175"/>
                    </a:lnTo>
                    <a:lnTo>
                      <a:pt x="908" y="175"/>
                    </a:lnTo>
                    <a:lnTo>
                      <a:pt x="910" y="175"/>
                    </a:lnTo>
                    <a:lnTo>
                      <a:pt x="908" y="175"/>
                    </a:lnTo>
                    <a:lnTo>
                      <a:pt x="908" y="173"/>
                    </a:lnTo>
                    <a:lnTo>
                      <a:pt x="910" y="173"/>
                    </a:lnTo>
                    <a:lnTo>
                      <a:pt x="910" y="172"/>
                    </a:lnTo>
                    <a:lnTo>
                      <a:pt x="910" y="170"/>
                    </a:lnTo>
                    <a:lnTo>
                      <a:pt x="908" y="170"/>
                    </a:lnTo>
                    <a:lnTo>
                      <a:pt x="910" y="170"/>
                    </a:lnTo>
                    <a:lnTo>
                      <a:pt x="910" y="168"/>
                    </a:lnTo>
                    <a:lnTo>
                      <a:pt x="912" y="166"/>
                    </a:lnTo>
                    <a:close/>
                    <a:moveTo>
                      <a:pt x="522" y="339"/>
                    </a:moveTo>
                    <a:lnTo>
                      <a:pt x="520" y="339"/>
                    </a:lnTo>
                    <a:lnTo>
                      <a:pt x="522" y="339"/>
                    </a:lnTo>
                    <a:lnTo>
                      <a:pt x="520" y="339"/>
                    </a:lnTo>
                    <a:lnTo>
                      <a:pt x="522" y="339"/>
                    </a:lnTo>
                    <a:lnTo>
                      <a:pt x="520" y="339"/>
                    </a:lnTo>
                    <a:lnTo>
                      <a:pt x="522" y="339"/>
                    </a:lnTo>
                    <a:close/>
                    <a:moveTo>
                      <a:pt x="928" y="139"/>
                    </a:moveTo>
                    <a:lnTo>
                      <a:pt x="928" y="141"/>
                    </a:lnTo>
                    <a:lnTo>
                      <a:pt x="926" y="141"/>
                    </a:lnTo>
                    <a:lnTo>
                      <a:pt x="928" y="141"/>
                    </a:lnTo>
                    <a:lnTo>
                      <a:pt x="928" y="139"/>
                    </a:lnTo>
                    <a:lnTo>
                      <a:pt x="928" y="137"/>
                    </a:lnTo>
                    <a:lnTo>
                      <a:pt x="928" y="135"/>
                    </a:lnTo>
                    <a:lnTo>
                      <a:pt x="926" y="135"/>
                    </a:lnTo>
                    <a:lnTo>
                      <a:pt x="928" y="135"/>
                    </a:lnTo>
                    <a:lnTo>
                      <a:pt x="928" y="133"/>
                    </a:lnTo>
                    <a:lnTo>
                      <a:pt x="928" y="131"/>
                    </a:lnTo>
                    <a:lnTo>
                      <a:pt x="930" y="131"/>
                    </a:lnTo>
                    <a:lnTo>
                      <a:pt x="931" y="131"/>
                    </a:lnTo>
                    <a:lnTo>
                      <a:pt x="931" y="129"/>
                    </a:lnTo>
                    <a:lnTo>
                      <a:pt x="931" y="127"/>
                    </a:lnTo>
                    <a:lnTo>
                      <a:pt x="931" y="129"/>
                    </a:lnTo>
                    <a:lnTo>
                      <a:pt x="931" y="131"/>
                    </a:lnTo>
                    <a:lnTo>
                      <a:pt x="931" y="133"/>
                    </a:lnTo>
                    <a:lnTo>
                      <a:pt x="933" y="133"/>
                    </a:lnTo>
                    <a:lnTo>
                      <a:pt x="933" y="135"/>
                    </a:lnTo>
                    <a:lnTo>
                      <a:pt x="931" y="137"/>
                    </a:lnTo>
                    <a:lnTo>
                      <a:pt x="933" y="137"/>
                    </a:lnTo>
                    <a:lnTo>
                      <a:pt x="931" y="139"/>
                    </a:lnTo>
                    <a:lnTo>
                      <a:pt x="931" y="141"/>
                    </a:lnTo>
                    <a:lnTo>
                      <a:pt x="930" y="141"/>
                    </a:lnTo>
                    <a:lnTo>
                      <a:pt x="930" y="143"/>
                    </a:lnTo>
                    <a:lnTo>
                      <a:pt x="931" y="143"/>
                    </a:lnTo>
                    <a:lnTo>
                      <a:pt x="931" y="145"/>
                    </a:lnTo>
                    <a:lnTo>
                      <a:pt x="933" y="145"/>
                    </a:lnTo>
                    <a:lnTo>
                      <a:pt x="931" y="145"/>
                    </a:lnTo>
                    <a:lnTo>
                      <a:pt x="930" y="147"/>
                    </a:lnTo>
                    <a:lnTo>
                      <a:pt x="931" y="147"/>
                    </a:lnTo>
                    <a:lnTo>
                      <a:pt x="931" y="148"/>
                    </a:lnTo>
                    <a:lnTo>
                      <a:pt x="931" y="150"/>
                    </a:lnTo>
                    <a:lnTo>
                      <a:pt x="930" y="150"/>
                    </a:lnTo>
                    <a:lnTo>
                      <a:pt x="928" y="152"/>
                    </a:lnTo>
                    <a:lnTo>
                      <a:pt x="930" y="152"/>
                    </a:lnTo>
                    <a:lnTo>
                      <a:pt x="928" y="154"/>
                    </a:lnTo>
                    <a:lnTo>
                      <a:pt x="926" y="154"/>
                    </a:lnTo>
                    <a:lnTo>
                      <a:pt x="926" y="156"/>
                    </a:lnTo>
                    <a:lnTo>
                      <a:pt x="926" y="158"/>
                    </a:lnTo>
                    <a:lnTo>
                      <a:pt x="926" y="160"/>
                    </a:lnTo>
                    <a:lnTo>
                      <a:pt x="924" y="160"/>
                    </a:lnTo>
                    <a:lnTo>
                      <a:pt x="922" y="160"/>
                    </a:lnTo>
                    <a:lnTo>
                      <a:pt x="922" y="158"/>
                    </a:lnTo>
                    <a:lnTo>
                      <a:pt x="922" y="156"/>
                    </a:lnTo>
                    <a:lnTo>
                      <a:pt x="924" y="156"/>
                    </a:lnTo>
                    <a:lnTo>
                      <a:pt x="924" y="154"/>
                    </a:lnTo>
                    <a:lnTo>
                      <a:pt x="922" y="154"/>
                    </a:lnTo>
                    <a:lnTo>
                      <a:pt x="922" y="152"/>
                    </a:lnTo>
                    <a:lnTo>
                      <a:pt x="924" y="152"/>
                    </a:lnTo>
                    <a:lnTo>
                      <a:pt x="922" y="152"/>
                    </a:lnTo>
                    <a:lnTo>
                      <a:pt x="922" y="150"/>
                    </a:lnTo>
                    <a:lnTo>
                      <a:pt x="920" y="150"/>
                    </a:lnTo>
                    <a:lnTo>
                      <a:pt x="922" y="150"/>
                    </a:lnTo>
                    <a:lnTo>
                      <a:pt x="920" y="150"/>
                    </a:lnTo>
                    <a:lnTo>
                      <a:pt x="922" y="150"/>
                    </a:lnTo>
                    <a:lnTo>
                      <a:pt x="922" y="148"/>
                    </a:lnTo>
                    <a:lnTo>
                      <a:pt x="920" y="148"/>
                    </a:lnTo>
                    <a:lnTo>
                      <a:pt x="920" y="147"/>
                    </a:lnTo>
                    <a:lnTo>
                      <a:pt x="920" y="145"/>
                    </a:lnTo>
                    <a:lnTo>
                      <a:pt x="922" y="145"/>
                    </a:lnTo>
                    <a:lnTo>
                      <a:pt x="922" y="143"/>
                    </a:lnTo>
                    <a:lnTo>
                      <a:pt x="922" y="141"/>
                    </a:lnTo>
                    <a:lnTo>
                      <a:pt x="920" y="141"/>
                    </a:lnTo>
                    <a:lnTo>
                      <a:pt x="922" y="139"/>
                    </a:lnTo>
                    <a:lnTo>
                      <a:pt x="924" y="139"/>
                    </a:lnTo>
                    <a:lnTo>
                      <a:pt x="926" y="139"/>
                    </a:lnTo>
                    <a:lnTo>
                      <a:pt x="926" y="137"/>
                    </a:lnTo>
                    <a:lnTo>
                      <a:pt x="928" y="137"/>
                    </a:lnTo>
                    <a:lnTo>
                      <a:pt x="928" y="139"/>
                    </a:lnTo>
                    <a:close/>
                    <a:moveTo>
                      <a:pt x="941" y="118"/>
                    </a:moveTo>
                    <a:lnTo>
                      <a:pt x="941" y="120"/>
                    </a:lnTo>
                    <a:lnTo>
                      <a:pt x="941" y="122"/>
                    </a:lnTo>
                    <a:lnTo>
                      <a:pt x="941" y="120"/>
                    </a:lnTo>
                    <a:lnTo>
                      <a:pt x="941" y="118"/>
                    </a:lnTo>
                    <a:lnTo>
                      <a:pt x="941" y="116"/>
                    </a:lnTo>
                    <a:lnTo>
                      <a:pt x="941" y="118"/>
                    </a:lnTo>
                    <a:lnTo>
                      <a:pt x="941" y="116"/>
                    </a:lnTo>
                    <a:lnTo>
                      <a:pt x="941" y="118"/>
                    </a:lnTo>
                    <a:lnTo>
                      <a:pt x="941" y="120"/>
                    </a:lnTo>
                    <a:lnTo>
                      <a:pt x="941" y="122"/>
                    </a:lnTo>
                    <a:lnTo>
                      <a:pt x="941" y="120"/>
                    </a:lnTo>
                    <a:lnTo>
                      <a:pt x="941" y="122"/>
                    </a:lnTo>
                    <a:lnTo>
                      <a:pt x="943" y="122"/>
                    </a:lnTo>
                    <a:lnTo>
                      <a:pt x="943" y="123"/>
                    </a:lnTo>
                    <a:lnTo>
                      <a:pt x="945" y="123"/>
                    </a:lnTo>
                    <a:lnTo>
                      <a:pt x="945" y="125"/>
                    </a:lnTo>
                    <a:lnTo>
                      <a:pt x="945" y="127"/>
                    </a:lnTo>
                    <a:lnTo>
                      <a:pt x="943" y="129"/>
                    </a:lnTo>
                    <a:lnTo>
                      <a:pt x="943" y="131"/>
                    </a:lnTo>
                    <a:lnTo>
                      <a:pt x="943" y="129"/>
                    </a:lnTo>
                    <a:lnTo>
                      <a:pt x="941" y="129"/>
                    </a:lnTo>
                    <a:lnTo>
                      <a:pt x="941" y="131"/>
                    </a:lnTo>
                    <a:lnTo>
                      <a:pt x="941" y="133"/>
                    </a:lnTo>
                    <a:lnTo>
                      <a:pt x="939" y="133"/>
                    </a:lnTo>
                    <a:lnTo>
                      <a:pt x="941" y="133"/>
                    </a:lnTo>
                    <a:lnTo>
                      <a:pt x="939" y="133"/>
                    </a:lnTo>
                    <a:lnTo>
                      <a:pt x="939" y="135"/>
                    </a:lnTo>
                    <a:lnTo>
                      <a:pt x="941" y="135"/>
                    </a:lnTo>
                    <a:lnTo>
                      <a:pt x="939" y="137"/>
                    </a:lnTo>
                    <a:lnTo>
                      <a:pt x="937" y="137"/>
                    </a:lnTo>
                    <a:lnTo>
                      <a:pt x="939" y="137"/>
                    </a:lnTo>
                    <a:lnTo>
                      <a:pt x="941" y="135"/>
                    </a:lnTo>
                    <a:lnTo>
                      <a:pt x="939" y="135"/>
                    </a:lnTo>
                    <a:lnTo>
                      <a:pt x="941" y="133"/>
                    </a:lnTo>
                    <a:lnTo>
                      <a:pt x="939" y="133"/>
                    </a:lnTo>
                    <a:lnTo>
                      <a:pt x="941" y="133"/>
                    </a:lnTo>
                    <a:lnTo>
                      <a:pt x="941" y="131"/>
                    </a:lnTo>
                    <a:lnTo>
                      <a:pt x="941" y="129"/>
                    </a:lnTo>
                    <a:lnTo>
                      <a:pt x="943" y="129"/>
                    </a:lnTo>
                    <a:lnTo>
                      <a:pt x="943" y="131"/>
                    </a:lnTo>
                    <a:lnTo>
                      <a:pt x="943" y="129"/>
                    </a:lnTo>
                    <a:lnTo>
                      <a:pt x="945" y="129"/>
                    </a:lnTo>
                    <a:lnTo>
                      <a:pt x="945" y="127"/>
                    </a:lnTo>
                    <a:lnTo>
                      <a:pt x="945" y="129"/>
                    </a:lnTo>
                    <a:lnTo>
                      <a:pt x="947" y="129"/>
                    </a:lnTo>
                    <a:lnTo>
                      <a:pt x="949" y="129"/>
                    </a:lnTo>
                    <a:lnTo>
                      <a:pt x="947" y="131"/>
                    </a:lnTo>
                    <a:lnTo>
                      <a:pt x="947" y="129"/>
                    </a:lnTo>
                    <a:lnTo>
                      <a:pt x="947" y="131"/>
                    </a:lnTo>
                    <a:lnTo>
                      <a:pt x="945" y="131"/>
                    </a:lnTo>
                    <a:lnTo>
                      <a:pt x="947" y="131"/>
                    </a:lnTo>
                    <a:lnTo>
                      <a:pt x="945" y="133"/>
                    </a:lnTo>
                    <a:lnTo>
                      <a:pt x="947" y="133"/>
                    </a:lnTo>
                    <a:lnTo>
                      <a:pt x="947" y="135"/>
                    </a:lnTo>
                    <a:lnTo>
                      <a:pt x="945" y="135"/>
                    </a:lnTo>
                    <a:lnTo>
                      <a:pt x="945" y="133"/>
                    </a:lnTo>
                    <a:lnTo>
                      <a:pt x="943" y="135"/>
                    </a:lnTo>
                    <a:lnTo>
                      <a:pt x="943" y="137"/>
                    </a:lnTo>
                    <a:lnTo>
                      <a:pt x="943" y="139"/>
                    </a:lnTo>
                    <a:lnTo>
                      <a:pt x="943" y="141"/>
                    </a:lnTo>
                    <a:lnTo>
                      <a:pt x="941" y="141"/>
                    </a:lnTo>
                    <a:lnTo>
                      <a:pt x="941" y="143"/>
                    </a:lnTo>
                    <a:lnTo>
                      <a:pt x="939" y="143"/>
                    </a:lnTo>
                    <a:lnTo>
                      <a:pt x="941" y="145"/>
                    </a:lnTo>
                    <a:lnTo>
                      <a:pt x="939" y="145"/>
                    </a:lnTo>
                    <a:lnTo>
                      <a:pt x="937" y="145"/>
                    </a:lnTo>
                    <a:lnTo>
                      <a:pt x="935" y="147"/>
                    </a:lnTo>
                    <a:lnTo>
                      <a:pt x="933" y="147"/>
                    </a:lnTo>
                    <a:lnTo>
                      <a:pt x="933" y="145"/>
                    </a:lnTo>
                    <a:lnTo>
                      <a:pt x="935" y="145"/>
                    </a:lnTo>
                    <a:lnTo>
                      <a:pt x="935" y="143"/>
                    </a:lnTo>
                    <a:lnTo>
                      <a:pt x="935" y="145"/>
                    </a:lnTo>
                    <a:lnTo>
                      <a:pt x="933" y="145"/>
                    </a:lnTo>
                    <a:lnTo>
                      <a:pt x="933" y="147"/>
                    </a:lnTo>
                    <a:lnTo>
                      <a:pt x="931" y="147"/>
                    </a:lnTo>
                    <a:lnTo>
                      <a:pt x="931" y="145"/>
                    </a:lnTo>
                    <a:lnTo>
                      <a:pt x="933" y="145"/>
                    </a:lnTo>
                    <a:lnTo>
                      <a:pt x="931" y="143"/>
                    </a:lnTo>
                    <a:lnTo>
                      <a:pt x="930" y="143"/>
                    </a:lnTo>
                    <a:lnTo>
                      <a:pt x="930" y="141"/>
                    </a:lnTo>
                    <a:lnTo>
                      <a:pt x="931" y="141"/>
                    </a:lnTo>
                    <a:lnTo>
                      <a:pt x="931" y="139"/>
                    </a:lnTo>
                    <a:lnTo>
                      <a:pt x="933" y="139"/>
                    </a:lnTo>
                    <a:lnTo>
                      <a:pt x="933" y="137"/>
                    </a:lnTo>
                    <a:lnTo>
                      <a:pt x="931" y="137"/>
                    </a:lnTo>
                    <a:lnTo>
                      <a:pt x="933" y="137"/>
                    </a:lnTo>
                    <a:lnTo>
                      <a:pt x="935" y="137"/>
                    </a:lnTo>
                    <a:lnTo>
                      <a:pt x="933" y="137"/>
                    </a:lnTo>
                    <a:lnTo>
                      <a:pt x="931" y="137"/>
                    </a:lnTo>
                    <a:lnTo>
                      <a:pt x="933" y="135"/>
                    </a:lnTo>
                    <a:lnTo>
                      <a:pt x="935" y="135"/>
                    </a:lnTo>
                    <a:lnTo>
                      <a:pt x="933" y="135"/>
                    </a:lnTo>
                    <a:lnTo>
                      <a:pt x="933" y="133"/>
                    </a:lnTo>
                    <a:lnTo>
                      <a:pt x="931" y="133"/>
                    </a:lnTo>
                    <a:lnTo>
                      <a:pt x="931" y="131"/>
                    </a:lnTo>
                    <a:lnTo>
                      <a:pt x="931" y="133"/>
                    </a:lnTo>
                    <a:lnTo>
                      <a:pt x="931" y="131"/>
                    </a:lnTo>
                    <a:lnTo>
                      <a:pt x="931" y="129"/>
                    </a:lnTo>
                    <a:lnTo>
                      <a:pt x="931" y="127"/>
                    </a:lnTo>
                    <a:lnTo>
                      <a:pt x="933" y="127"/>
                    </a:lnTo>
                    <a:lnTo>
                      <a:pt x="931" y="127"/>
                    </a:lnTo>
                    <a:lnTo>
                      <a:pt x="933" y="127"/>
                    </a:lnTo>
                    <a:lnTo>
                      <a:pt x="933" y="125"/>
                    </a:lnTo>
                    <a:lnTo>
                      <a:pt x="935" y="125"/>
                    </a:lnTo>
                    <a:lnTo>
                      <a:pt x="935" y="123"/>
                    </a:lnTo>
                    <a:lnTo>
                      <a:pt x="935" y="122"/>
                    </a:lnTo>
                    <a:lnTo>
                      <a:pt x="937" y="122"/>
                    </a:lnTo>
                    <a:lnTo>
                      <a:pt x="939" y="122"/>
                    </a:lnTo>
                    <a:lnTo>
                      <a:pt x="939" y="120"/>
                    </a:lnTo>
                    <a:lnTo>
                      <a:pt x="939" y="118"/>
                    </a:lnTo>
                    <a:lnTo>
                      <a:pt x="939" y="116"/>
                    </a:lnTo>
                    <a:lnTo>
                      <a:pt x="939" y="114"/>
                    </a:lnTo>
                    <a:lnTo>
                      <a:pt x="939" y="112"/>
                    </a:lnTo>
                    <a:lnTo>
                      <a:pt x="941" y="112"/>
                    </a:lnTo>
                    <a:lnTo>
                      <a:pt x="941" y="114"/>
                    </a:lnTo>
                    <a:lnTo>
                      <a:pt x="941" y="116"/>
                    </a:lnTo>
                    <a:lnTo>
                      <a:pt x="941" y="118"/>
                    </a:lnTo>
                    <a:close/>
                    <a:moveTo>
                      <a:pt x="941" y="110"/>
                    </a:moveTo>
                    <a:lnTo>
                      <a:pt x="939" y="112"/>
                    </a:lnTo>
                    <a:lnTo>
                      <a:pt x="941" y="110"/>
                    </a:lnTo>
                    <a:lnTo>
                      <a:pt x="939" y="112"/>
                    </a:lnTo>
                    <a:lnTo>
                      <a:pt x="939" y="110"/>
                    </a:lnTo>
                    <a:lnTo>
                      <a:pt x="939" y="108"/>
                    </a:lnTo>
                    <a:lnTo>
                      <a:pt x="939" y="110"/>
                    </a:lnTo>
                    <a:lnTo>
                      <a:pt x="941" y="110"/>
                    </a:lnTo>
                    <a:lnTo>
                      <a:pt x="941" y="108"/>
                    </a:lnTo>
                    <a:lnTo>
                      <a:pt x="941" y="110"/>
                    </a:lnTo>
                    <a:lnTo>
                      <a:pt x="939" y="110"/>
                    </a:lnTo>
                    <a:lnTo>
                      <a:pt x="939" y="108"/>
                    </a:lnTo>
                    <a:lnTo>
                      <a:pt x="941" y="108"/>
                    </a:lnTo>
                    <a:lnTo>
                      <a:pt x="939" y="108"/>
                    </a:lnTo>
                    <a:lnTo>
                      <a:pt x="941" y="108"/>
                    </a:lnTo>
                    <a:lnTo>
                      <a:pt x="941" y="106"/>
                    </a:lnTo>
                    <a:lnTo>
                      <a:pt x="941" y="108"/>
                    </a:lnTo>
                    <a:lnTo>
                      <a:pt x="943" y="108"/>
                    </a:lnTo>
                    <a:lnTo>
                      <a:pt x="941" y="108"/>
                    </a:lnTo>
                    <a:lnTo>
                      <a:pt x="943" y="108"/>
                    </a:lnTo>
                    <a:lnTo>
                      <a:pt x="941" y="108"/>
                    </a:lnTo>
                    <a:lnTo>
                      <a:pt x="941" y="110"/>
                    </a:lnTo>
                    <a:lnTo>
                      <a:pt x="941" y="108"/>
                    </a:lnTo>
                    <a:lnTo>
                      <a:pt x="941" y="110"/>
                    </a:lnTo>
                    <a:lnTo>
                      <a:pt x="941" y="108"/>
                    </a:lnTo>
                    <a:lnTo>
                      <a:pt x="943" y="108"/>
                    </a:lnTo>
                    <a:lnTo>
                      <a:pt x="945" y="108"/>
                    </a:lnTo>
                    <a:lnTo>
                      <a:pt x="943" y="108"/>
                    </a:lnTo>
                    <a:lnTo>
                      <a:pt x="943" y="110"/>
                    </a:lnTo>
                    <a:lnTo>
                      <a:pt x="943" y="112"/>
                    </a:lnTo>
                    <a:lnTo>
                      <a:pt x="941" y="112"/>
                    </a:lnTo>
                    <a:lnTo>
                      <a:pt x="941" y="110"/>
                    </a:lnTo>
                    <a:close/>
                    <a:moveTo>
                      <a:pt x="618" y="277"/>
                    </a:moveTo>
                    <a:lnTo>
                      <a:pt x="618" y="279"/>
                    </a:lnTo>
                    <a:lnTo>
                      <a:pt x="616" y="279"/>
                    </a:lnTo>
                    <a:lnTo>
                      <a:pt x="616" y="277"/>
                    </a:lnTo>
                    <a:lnTo>
                      <a:pt x="618" y="277"/>
                    </a:lnTo>
                    <a:close/>
                    <a:moveTo>
                      <a:pt x="943" y="106"/>
                    </a:moveTo>
                    <a:lnTo>
                      <a:pt x="945" y="106"/>
                    </a:lnTo>
                    <a:lnTo>
                      <a:pt x="943" y="106"/>
                    </a:lnTo>
                    <a:lnTo>
                      <a:pt x="945" y="106"/>
                    </a:lnTo>
                    <a:lnTo>
                      <a:pt x="943" y="106"/>
                    </a:lnTo>
                    <a:lnTo>
                      <a:pt x="945" y="106"/>
                    </a:lnTo>
                    <a:lnTo>
                      <a:pt x="943" y="104"/>
                    </a:lnTo>
                    <a:lnTo>
                      <a:pt x="945" y="104"/>
                    </a:lnTo>
                    <a:lnTo>
                      <a:pt x="943" y="104"/>
                    </a:lnTo>
                    <a:lnTo>
                      <a:pt x="945" y="104"/>
                    </a:lnTo>
                    <a:lnTo>
                      <a:pt x="943" y="104"/>
                    </a:lnTo>
                    <a:lnTo>
                      <a:pt x="945" y="104"/>
                    </a:lnTo>
                    <a:lnTo>
                      <a:pt x="945" y="106"/>
                    </a:lnTo>
                    <a:lnTo>
                      <a:pt x="943" y="106"/>
                    </a:lnTo>
                    <a:lnTo>
                      <a:pt x="943" y="104"/>
                    </a:lnTo>
                    <a:lnTo>
                      <a:pt x="943" y="106"/>
                    </a:lnTo>
                    <a:lnTo>
                      <a:pt x="943" y="104"/>
                    </a:lnTo>
                    <a:lnTo>
                      <a:pt x="943" y="106"/>
                    </a:lnTo>
                    <a:lnTo>
                      <a:pt x="943" y="104"/>
                    </a:lnTo>
                    <a:lnTo>
                      <a:pt x="943" y="106"/>
                    </a:lnTo>
                    <a:close/>
                    <a:moveTo>
                      <a:pt x="501" y="323"/>
                    </a:moveTo>
                    <a:lnTo>
                      <a:pt x="499" y="323"/>
                    </a:lnTo>
                    <a:lnTo>
                      <a:pt x="499" y="321"/>
                    </a:lnTo>
                    <a:lnTo>
                      <a:pt x="501" y="323"/>
                    </a:lnTo>
                    <a:close/>
                    <a:moveTo>
                      <a:pt x="933" y="108"/>
                    </a:moveTo>
                    <a:lnTo>
                      <a:pt x="933" y="106"/>
                    </a:lnTo>
                    <a:lnTo>
                      <a:pt x="933" y="108"/>
                    </a:lnTo>
                    <a:lnTo>
                      <a:pt x="931" y="108"/>
                    </a:lnTo>
                    <a:lnTo>
                      <a:pt x="933" y="108"/>
                    </a:lnTo>
                    <a:close/>
                    <a:moveTo>
                      <a:pt x="924" y="129"/>
                    </a:moveTo>
                    <a:lnTo>
                      <a:pt x="924" y="131"/>
                    </a:lnTo>
                    <a:lnTo>
                      <a:pt x="924" y="129"/>
                    </a:lnTo>
                    <a:lnTo>
                      <a:pt x="924" y="127"/>
                    </a:lnTo>
                    <a:lnTo>
                      <a:pt x="926" y="127"/>
                    </a:lnTo>
                    <a:lnTo>
                      <a:pt x="924" y="127"/>
                    </a:lnTo>
                    <a:lnTo>
                      <a:pt x="924" y="129"/>
                    </a:lnTo>
                    <a:lnTo>
                      <a:pt x="924" y="131"/>
                    </a:lnTo>
                    <a:lnTo>
                      <a:pt x="924" y="129"/>
                    </a:lnTo>
                    <a:lnTo>
                      <a:pt x="924" y="131"/>
                    </a:lnTo>
                    <a:lnTo>
                      <a:pt x="922" y="131"/>
                    </a:lnTo>
                    <a:lnTo>
                      <a:pt x="924" y="131"/>
                    </a:lnTo>
                    <a:lnTo>
                      <a:pt x="922" y="131"/>
                    </a:lnTo>
                    <a:lnTo>
                      <a:pt x="922" y="133"/>
                    </a:lnTo>
                    <a:lnTo>
                      <a:pt x="920" y="133"/>
                    </a:lnTo>
                    <a:lnTo>
                      <a:pt x="920" y="131"/>
                    </a:lnTo>
                    <a:lnTo>
                      <a:pt x="920" y="129"/>
                    </a:lnTo>
                    <a:lnTo>
                      <a:pt x="920" y="127"/>
                    </a:lnTo>
                    <a:lnTo>
                      <a:pt x="922" y="127"/>
                    </a:lnTo>
                    <a:lnTo>
                      <a:pt x="924" y="125"/>
                    </a:lnTo>
                    <a:lnTo>
                      <a:pt x="926" y="125"/>
                    </a:lnTo>
                    <a:lnTo>
                      <a:pt x="924" y="125"/>
                    </a:lnTo>
                    <a:lnTo>
                      <a:pt x="926" y="125"/>
                    </a:lnTo>
                    <a:lnTo>
                      <a:pt x="926" y="127"/>
                    </a:lnTo>
                    <a:lnTo>
                      <a:pt x="926" y="125"/>
                    </a:lnTo>
                    <a:lnTo>
                      <a:pt x="924" y="125"/>
                    </a:lnTo>
                    <a:lnTo>
                      <a:pt x="926" y="125"/>
                    </a:lnTo>
                    <a:lnTo>
                      <a:pt x="926" y="123"/>
                    </a:lnTo>
                    <a:lnTo>
                      <a:pt x="924" y="123"/>
                    </a:lnTo>
                    <a:lnTo>
                      <a:pt x="926" y="122"/>
                    </a:lnTo>
                    <a:lnTo>
                      <a:pt x="926" y="120"/>
                    </a:lnTo>
                    <a:lnTo>
                      <a:pt x="926" y="118"/>
                    </a:lnTo>
                    <a:lnTo>
                      <a:pt x="926" y="116"/>
                    </a:lnTo>
                    <a:lnTo>
                      <a:pt x="926" y="114"/>
                    </a:lnTo>
                    <a:lnTo>
                      <a:pt x="926" y="112"/>
                    </a:lnTo>
                    <a:lnTo>
                      <a:pt x="926" y="110"/>
                    </a:lnTo>
                    <a:lnTo>
                      <a:pt x="928" y="110"/>
                    </a:lnTo>
                    <a:lnTo>
                      <a:pt x="928" y="112"/>
                    </a:lnTo>
                    <a:lnTo>
                      <a:pt x="926" y="112"/>
                    </a:lnTo>
                    <a:lnTo>
                      <a:pt x="928" y="112"/>
                    </a:lnTo>
                    <a:lnTo>
                      <a:pt x="928" y="110"/>
                    </a:lnTo>
                    <a:lnTo>
                      <a:pt x="930" y="110"/>
                    </a:lnTo>
                    <a:lnTo>
                      <a:pt x="930" y="108"/>
                    </a:lnTo>
                    <a:lnTo>
                      <a:pt x="930" y="110"/>
                    </a:lnTo>
                    <a:lnTo>
                      <a:pt x="930" y="112"/>
                    </a:lnTo>
                    <a:lnTo>
                      <a:pt x="930" y="110"/>
                    </a:lnTo>
                    <a:lnTo>
                      <a:pt x="931" y="110"/>
                    </a:lnTo>
                    <a:lnTo>
                      <a:pt x="930" y="110"/>
                    </a:lnTo>
                    <a:lnTo>
                      <a:pt x="931" y="108"/>
                    </a:lnTo>
                    <a:lnTo>
                      <a:pt x="931" y="110"/>
                    </a:lnTo>
                    <a:lnTo>
                      <a:pt x="931" y="112"/>
                    </a:lnTo>
                    <a:lnTo>
                      <a:pt x="931" y="114"/>
                    </a:lnTo>
                    <a:lnTo>
                      <a:pt x="933" y="114"/>
                    </a:lnTo>
                    <a:lnTo>
                      <a:pt x="933" y="116"/>
                    </a:lnTo>
                    <a:lnTo>
                      <a:pt x="931" y="116"/>
                    </a:lnTo>
                    <a:lnTo>
                      <a:pt x="931" y="118"/>
                    </a:lnTo>
                    <a:lnTo>
                      <a:pt x="933" y="118"/>
                    </a:lnTo>
                    <a:lnTo>
                      <a:pt x="931" y="118"/>
                    </a:lnTo>
                    <a:lnTo>
                      <a:pt x="931" y="116"/>
                    </a:lnTo>
                    <a:lnTo>
                      <a:pt x="933" y="116"/>
                    </a:lnTo>
                    <a:lnTo>
                      <a:pt x="933" y="114"/>
                    </a:lnTo>
                    <a:lnTo>
                      <a:pt x="935" y="114"/>
                    </a:lnTo>
                    <a:lnTo>
                      <a:pt x="935" y="116"/>
                    </a:lnTo>
                    <a:lnTo>
                      <a:pt x="935" y="118"/>
                    </a:lnTo>
                    <a:lnTo>
                      <a:pt x="937" y="118"/>
                    </a:lnTo>
                    <a:lnTo>
                      <a:pt x="935" y="118"/>
                    </a:lnTo>
                    <a:lnTo>
                      <a:pt x="935" y="120"/>
                    </a:lnTo>
                    <a:lnTo>
                      <a:pt x="937" y="122"/>
                    </a:lnTo>
                    <a:lnTo>
                      <a:pt x="935" y="122"/>
                    </a:lnTo>
                    <a:lnTo>
                      <a:pt x="933" y="122"/>
                    </a:lnTo>
                    <a:lnTo>
                      <a:pt x="933" y="123"/>
                    </a:lnTo>
                    <a:lnTo>
                      <a:pt x="933" y="125"/>
                    </a:lnTo>
                    <a:lnTo>
                      <a:pt x="935" y="125"/>
                    </a:lnTo>
                    <a:lnTo>
                      <a:pt x="933" y="125"/>
                    </a:lnTo>
                    <a:lnTo>
                      <a:pt x="931" y="127"/>
                    </a:lnTo>
                    <a:lnTo>
                      <a:pt x="931" y="129"/>
                    </a:lnTo>
                    <a:lnTo>
                      <a:pt x="930" y="129"/>
                    </a:lnTo>
                    <a:lnTo>
                      <a:pt x="930" y="127"/>
                    </a:lnTo>
                    <a:lnTo>
                      <a:pt x="930" y="129"/>
                    </a:lnTo>
                    <a:lnTo>
                      <a:pt x="930" y="131"/>
                    </a:lnTo>
                    <a:lnTo>
                      <a:pt x="930" y="129"/>
                    </a:lnTo>
                    <a:lnTo>
                      <a:pt x="930" y="131"/>
                    </a:lnTo>
                    <a:lnTo>
                      <a:pt x="930" y="129"/>
                    </a:lnTo>
                    <a:lnTo>
                      <a:pt x="930" y="131"/>
                    </a:lnTo>
                    <a:lnTo>
                      <a:pt x="930" y="129"/>
                    </a:lnTo>
                    <a:lnTo>
                      <a:pt x="930" y="131"/>
                    </a:lnTo>
                    <a:lnTo>
                      <a:pt x="928" y="131"/>
                    </a:lnTo>
                    <a:lnTo>
                      <a:pt x="928" y="133"/>
                    </a:lnTo>
                    <a:lnTo>
                      <a:pt x="928" y="135"/>
                    </a:lnTo>
                    <a:lnTo>
                      <a:pt x="926" y="135"/>
                    </a:lnTo>
                    <a:lnTo>
                      <a:pt x="928" y="137"/>
                    </a:lnTo>
                    <a:lnTo>
                      <a:pt x="926" y="137"/>
                    </a:lnTo>
                    <a:lnTo>
                      <a:pt x="926" y="139"/>
                    </a:lnTo>
                    <a:lnTo>
                      <a:pt x="924" y="139"/>
                    </a:lnTo>
                    <a:lnTo>
                      <a:pt x="922" y="139"/>
                    </a:lnTo>
                    <a:lnTo>
                      <a:pt x="920" y="139"/>
                    </a:lnTo>
                    <a:lnTo>
                      <a:pt x="920" y="137"/>
                    </a:lnTo>
                    <a:lnTo>
                      <a:pt x="922" y="137"/>
                    </a:lnTo>
                    <a:lnTo>
                      <a:pt x="922" y="135"/>
                    </a:lnTo>
                    <a:lnTo>
                      <a:pt x="922" y="133"/>
                    </a:lnTo>
                    <a:lnTo>
                      <a:pt x="924" y="131"/>
                    </a:lnTo>
                    <a:lnTo>
                      <a:pt x="922" y="131"/>
                    </a:lnTo>
                    <a:lnTo>
                      <a:pt x="924" y="131"/>
                    </a:lnTo>
                    <a:lnTo>
                      <a:pt x="924" y="129"/>
                    </a:lnTo>
                    <a:close/>
                    <a:moveTo>
                      <a:pt x="666" y="252"/>
                    </a:moveTo>
                    <a:lnTo>
                      <a:pt x="668" y="252"/>
                    </a:lnTo>
                    <a:lnTo>
                      <a:pt x="666" y="252"/>
                    </a:lnTo>
                    <a:lnTo>
                      <a:pt x="664" y="250"/>
                    </a:lnTo>
                    <a:lnTo>
                      <a:pt x="664" y="248"/>
                    </a:lnTo>
                    <a:lnTo>
                      <a:pt x="666" y="248"/>
                    </a:lnTo>
                    <a:lnTo>
                      <a:pt x="664" y="248"/>
                    </a:lnTo>
                    <a:lnTo>
                      <a:pt x="666" y="248"/>
                    </a:lnTo>
                    <a:lnTo>
                      <a:pt x="664" y="248"/>
                    </a:lnTo>
                    <a:lnTo>
                      <a:pt x="666" y="248"/>
                    </a:lnTo>
                    <a:lnTo>
                      <a:pt x="668" y="246"/>
                    </a:lnTo>
                    <a:lnTo>
                      <a:pt x="670" y="245"/>
                    </a:lnTo>
                    <a:lnTo>
                      <a:pt x="672" y="243"/>
                    </a:lnTo>
                    <a:lnTo>
                      <a:pt x="674" y="243"/>
                    </a:lnTo>
                    <a:lnTo>
                      <a:pt x="676" y="241"/>
                    </a:lnTo>
                    <a:lnTo>
                      <a:pt x="676" y="243"/>
                    </a:lnTo>
                    <a:lnTo>
                      <a:pt x="674" y="243"/>
                    </a:lnTo>
                    <a:lnTo>
                      <a:pt x="676" y="243"/>
                    </a:lnTo>
                    <a:lnTo>
                      <a:pt x="678" y="243"/>
                    </a:lnTo>
                    <a:lnTo>
                      <a:pt x="678" y="241"/>
                    </a:lnTo>
                    <a:lnTo>
                      <a:pt x="678" y="243"/>
                    </a:lnTo>
                    <a:lnTo>
                      <a:pt x="680" y="243"/>
                    </a:lnTo>
                    <a:lnTo>
                      <a:pt x="682" y="243"/>
                    </a:lnTo>
                    <a:lnTo>
                      <a:pt x="684" y="245"/>
                    </a:lnTo>
                    <a:lnTo>
                      <a:pt x="684" y="246"/>
                    </a:lnTo>
                    <a:lnTo>
                      <a:pt x="682" y="246"/>
                    </a:lnTo>
                    <a:lnTo>
                      <a:pt x="682" y="248"/>
                    </a:lnTo>
                    <a:lnTo>
                      <a:pt x="682" y="250"/>
                    </a:lnTo>
                    <a:lnTo>
                      <a:pt x="682" y="252"/>
                    </a:lnTo>
                    <a:lnTo>
                      <a:pt x="680" y="252"/>
                    </a:lnTo>
                    <a:lnTo>
                      <a:pt x="678" y="252"/>
                    </a:lnTo>
                    <a:lnTo>
                      <a:pt x="676" y="252"/>
                    </a:lnTo>
                    <a:lnTo>
                      <a:pt x="676" y="250"/>
                    </a:lnTo>
                    <a:lnTo>
                      <a:pt x="674" y="250"/>
                    </a:lnTo>
                    <a:lnTo>
                      <a:pt x="672" y="250"/>
                    </a:lnTo>
                    <a:lnTo>
                      <a:pt x="672" y="252"/>
                    </a:lnTo>
                    <a:lnTo>
                      <a:pt x="672" y="250"/>
                    </a:lnTo>
                    <a:lnTo>
                      <a:pt x="672" y="252"/>
                    </a:lnTo>
                    <a:lnTo>
                      <a:pt x="672" y="250"/>
                    </a:lnTo>
                    <a:lnTo>
                      <a:pt x="670" y="250"/>
                    </a:lnTo>
                    <a:lnTo>
                      <a:pt x="670" y="252"/>
                    </a:lnTo>
                    <a:lnTo>
                      <a:pt x="672" y="252"/>
                    </a:lnTo>
                    <a:lnTo>
                      <a:pt x="670" y="252"/>
                    </a:lnTo>
                    <a:lnTo>
                      <a:pt x="668" y="252"/>
                    </a:lnTo>
                    <a:lnTo>
                      <a:pt x="670" y="252"/>
                    </a:lnTo>
                    <a:lnTo>
                      <a:pt x="668" y="252"/>
                    </a:lnTo>
                    <a:lnTo>
                      <a:pt x="670" y="252"/>
                    </a:lnTo>
                    <a:lnTo>
                      <a:pt x="668" y="252"/>
                    </a:lnTo>
                    <a:lnTo>
                      <a:pt x="670" y="252"/>
                    </a:lnTo>
                    <a:lnTo>
                      <a:pt x="668" y="254"/>
                    </a:lnTo>
                    <a:lnTo>
                      <a:pt x="668" y="252"/>
                    </a:lnTo>
                    <a:lnTo>
                      <a:pt x="668" y="254"/>
                    </a:lnTo>
                    <a:lnTo>
                      <a:pt x="668" y="252"/>
                    </a:lnTo>
                    <a:lnTo>
                      <a:pt x="668" y="254"/>
                    </a:lnTo>
                    <a:lnTo>
                      <a:pt x="666" y="254"/>
                    </a:lnTo>
                    <a:lnTo>
                      <a:pt x="664" y="254"/>
                    </a:lnTo>
                    <a:lnTo>
                      <a:pt x="664" y="252"/>
                    </a:lnTo>
                    <a:lnTo>
                      <a:pt x="664" y="254"/>
                    </a:lnTo>
                    <a:lnTo>
                      <a:pt x="663" y="254"/>
                    </a:lnTo>
                    <a:lnTo>
                      <a:pt x="663" y="252"/>
                    </a:lnTo>
                    <a:lnTo>
                      <a:pt x="663" y="250"/>
                    </a:lnTo>
                    <a:lnTo>
                      <a:pt x="664" y="250"/>
                    </a:lnTo>
                    <a:lnTo>
                      <a:pt x="663" y="250"/>
                    </a:lnTo>
                    <a:lnTo>
                      <a:pt x="664" y="250"/>
                    </a:lnTo>
                    <a:lnTo>
                      <a:pt x="666" y="252"/>
                    </a:lnTo>
                    <a:close/>
                    <a:moveTo>
                      <a:pt x="620" y="279"/>
                    </a:moveTo>
                    <a:lnTo>
                      <a:pt x="622" y="279"/>
                    </a:lnTo>
                    <a:lnTo>
                      <a:pt x="620" y="279"/>
                    </a:lnTo>
                    <a:lnTo>
                      <a:pt x="618" y="279"/>
                    </a:lnTo>
                    <a:lnTo>
                      <a:pt x="618" y="277"/>
                    </a:lnTo>
                    <a:lnTo>
                      <a:pt x="618" y="275"/>
                    </a:lnTo>
                    <a:lnTo>
                      <a:pt x="620" y="275"/>
                    </a:lnTo>
                    <a:lnTo>
                      <a:pt x="618" y="275"/>
                    </a:lnTo>
                    <a:lnTo>
                      <a:pt x="618" y="273"/>
                    </a:lnTo>
                    <a:lnTo>
                      <a:pt x="620" y="273"/>
                    </a:lnTo>
                    <a:lnTo>
                      <a:pt x="620" y="271"/>
                    </a:lnTo>
                    <a:lnTo>
                      <a:pt x="620" y="273"/>
                    </a:lnTo>
                    <a:lnTo>
                      <a:pt x="620" y="271"/>
                    </a:lnTo>
                    <a:lnTo>
                      <a:pt x="622" y="271"/>
                    </a:lnTo>
                    <a:lnTo>
                      <a:pt x="622" y="270"/>
                    </a:lnTo>
                    <a:lnTo>
                      <a:pt x="624" y="270"/>
                    </a:lnTo>
                    <a:lnTo>
                      <a:pt x="626" y="268"/>
                    </a:lnTo>
                    <a:lnTo>
                      <a:pt x="624" y="268"/>
                    </a:lnTo>
                    <a:lnTo>
                      <a:pt x="624" y="270"/>
                    </a:lnTo>
                    <a:lnTo>
                      <a:pt x="624" y="268"/>
                    </a:lnTo>
                    <a:lnTo>
                      <a:pt x="626" y="268"/>
                    </a:lnTo>
                    <a:lnTo>
                      <a:pt x="626" y="266"/>
                    </a:lnTo>
                    <a:lnTo>
                      <a:pt x="626" y="268"/>
                    </a:lnTo>
                    <a:lnTo>
                      <a:pt x="628" y="268"/>
                    </a:lnTo>
                    <a:lnTo>
                      <a:pt x="626" y="268"/>
                    </a:lnTo>
                    <a:lnTo>
                      <a:pt x="626" y="266"/>
                    </a:lnTo>
                    <a:lnTo>
                      <a:pt x="628" y="268"/>
                    </a:lnTo>
                    <a:lnTo>
                      <a:pt x="630" y="268"/>
                    </a:lnTo>
                    <a:lnTo>
                      <a:pt x="632" y="268"/>
                    </a:lnTo>
                    <a:lnTo>
                      <a:pt x="634" y="268"/>
                    </a:lnTo>
                    <a:lnTo>
                      <a:pt x="634" y="270"/>
                    </a:lnTo>
                    <a:lnTo>
                      <a:pt x="636" y="270"/>
                    </a:lnTo>
                    <a:lnTo>
                      <a:pt x="636" y="268"/>
                    </a:lnTo>
                    <a:lnTo>
                      <a:pt x="636" y="270"/>
                    </a:lnTo>
                    <a:lnTo>
                      <a:pt x="636" y="271"/>
                    </a:lnTo>
                    <a:lnTo>
                      <a:pt x="638" y="271"/>
                    </a:lnTo>
                    <a:lnTo>
                      <a:pt x="636" y="271"/>
                    </a:lnTo>
                    <a:lnTo>
                      <a:pt x="636" y="273"/>
                    </a:lnTo>
                    <a:lnTo>
                      <a:pt x="638" y="273"/>
                    </a:lnTo>
                    <a:lnTo>
                      <a:pt x="636" y="273"/>
                    </a:lnTo>
                    <a:lnTo>
                      <a:pt x="638" y="273"/>
                    </a:lnTo>
                    <a:lnTo>
                      <a:pt x="636" y="271"/>
                    </a:lnTo>
                    <a:lnTo>
                      <a:pt x="636" y="273"/>
                    </a:lnTo>
                    <a:lnTo>
                      <a:pt x="636" y="271"/>
                    </a:lnTo>
                    <a:lnTo>
                      <a:pt x="638" y="271"/>
                    </a:lnTo>
                    <a:lnTo>
                      <a:pt x="636" y="271"/>
                    </a:lnTo>
                    <a:lnTo>
                      <a:pt x="636" y="270"/>
                    </a:lnTo>
                    <a:lnTo>
                      <a:pt x="636" y="268"/>
                    </a:lnTo>
                    <a:lnTo>
                      <a:pt x="636" y="270"/>
                    </a:lnTo>
                    <a:lnTo>
                      <a:pt x="634" y="270"/>
                    </a:lnTo>
                    <a:lnTo>
                      <a:pt x="634" y="268"/>
                    </a:lnTo>
                    <a:lnTo>
                      <a:pt x="632" y="268"/>
                    </a:lnTo>
                    <a:lnTo>
                      <a:pt x="630" y="268"/>
                    </a:lnTo>
                    <a:lnTo>
                      <a:pt x="628" y="268"/>
                    </a:lnTo>
                    <a:lnTo>
                      <a:pt x="628" y="266"/>
                    </a:lnTo>
                    <a:lnTo>
                      <a:pt x="626" y="266"/>
                    </a:lnTo>
                    <a:lnTo>
                      <a:pt x="628" y="266"/>
                    </a:lnTo>
                    <a:lnTo>
                      <a:pt x="628" y="264"/>
                    </a:lnTo>
                    <a:lnTo>
                      <a:pt x="630" y="264"/>
                    </a:lnTo>
                    <a:lnTo>
                      <a:pt x="630" y="262"/>
                    </a:lnTo>
                    <a:lnTo>
                      <a:pt x="630" y="260"/>
                    </a:lnTo>
                    <a:lnTo>
                      <a:pt x="632" y="260"/>
                    </a:lnTo>
                    <a:lnTo>
                      <a:pt x="634" y="258"/>
                    </a:lnTo>
                    <a:lnTo>
                      <a:pt x="636" y="258"/>
                    </a:lnTo>
                    <a:lnTo>
                      <a:pt x="636" y="256"/>
                    </a:lnTo>
                    <a:lnTo>
                      <a:pt x="638" y="256"/>
                    </a:lnTo>
                    <a:lnTo>
                      <a:pt x="639" y="256"/>
                    </a:lnTo>
                    <a:lnTo>
                      <a:pt x="641" y="256"/>
                    </a:lnTo>
                    <a:lnTo>
                      <a:pt x="641" y="254"/>
                    </a:lnTo>
                    <a:lnTo>
                      <a:pt x="643" y="254"/>
                    </a:lnTo>
                    <a:lnTo>
                      <a:pt x="641" y="254"/>
                    </a:lnTo>
                    <a:lnTo>
                      <a:pt x="641" y="256"/>
                    </a:lnTo>
                    <a:lnTo>
                      <a:pt x="639" y="256"/>
                    </a:lnTo>
                    <a:lnTo>
                      <a:pt x="638" y="256"/>
                    </a:lnTo>
                    <a:lnTo>
                      <a:pt x="639" y="256"/>
                    </a:lnTo>
                    <a:lnTo>
                      <a:pt x="641" y="256"/>
                    </a:lnTo>
                    <a:lnTo>
                      <a:pt x="643" y="256"/>
                    </a:lnTo>
                    <a:lnTo>
                      <a:pt x="643" y="254"/>
                    </a:lnTo>
                    <a:lnTo>
                      <a:pt x="643" y="256"/>
                    </a:lnTo>
                    <a:lnTo>
                      <a:pt x="645" y="256"/>
                    </a:lnTo>
                    <a:lnTo>
                      <a:pt x="643" y="256"/>
                    </a:lnTo>
                    <a:lnTo>
                      <a:pt x="645" y="256"/>
                    </a:lnTo>
                    <a:lnTo>
                      <a:pt x="647" y="256"/>
                    </a:lnTo>
                    <a:lnTo>
                      <a:pt x="647" y="258"/>
                    </a:lnTo>
                    <a:lnTo>
                      <a:pt x="647" y="260"/>
                    </a:lnTo>
                    <a:lnTo>
                      <a:pt x="647" y="258"/>
                    </a:lnTo>
                    <a:lnTo>
                      <a:pt x="647" y="260"/>
                    </a:lnTo>
                    <a:lnTo>
                      <a:pt x="647" y="258"/>
                    </a:lnTo>
                    <a:lnTo>
                      <a:pt x="647" y="256"/>
                    </a:lnTo>
                    <a:lnTo>
                      <a:pt x="649" y="256"/>
                    </a:lnTo>
                    <a:lnTo>
                      <a:pt x="647" y="256"/>
                    </a:lnTo>
                    <a:lnTo>
                      <a:pt x="649" y="256"/>
                    </a:lnTo>
                    <a:lnTo>
                      <a:pt x="651" y="256"/>
                    </a:lnTo>
                    <a:lnTo>
                      <a:pt x="649" y="256"/>
                    </a:lnTo>
                    <a:lnTo>
                      <a:pt x="651" y="256"/>
                    </a:lnTo>
                    <a:lnTo>
                      <a:pt x="649" y="256"/>
                    </a:lnTo>
                    <a:lnTo>
                      <a:pt x="649" y="254"/>
                    </a:lnTo>
                    <a:lnTo>
                      <a:pt x="651" y="254"/>
                    </a:lnTo>
                    <a:lnTo>
                      <a:pt x="649" y="254"/>
                    </a:lnTo>
                    <a:lnTo>
                      <a:pt x="647" y="256"/>
                    </a:lnTo>
                    <a:lnTo>
                      <a:pt x="645" y="254"/>
                    </a:lnTo>
                    <a:lnTo>
                      <a:pt x="645" y="256"/>
                    </a:lnTo>
                    <a:lnTo>
                      <a:pt x="645" y="254"/>
                    </a:lnTo>
                    <a:lnTo>
                      <a:pt x="647" y="254"/>
                    </a:lnTo>
                    <a:lnTo>
                      <a:pt x="647" y="252"/>
                    </a:lnTo>
                    <a:lnTo>
                      <a:pt x="649" y="252"/>
                    </a:lnTo>
                    <a:lnTo>
                      <a:pt x="647" y="252"/>
                    </a:lnTo>
                    <a:lnTo>
                      <a:pt x="649" y="252"/>
                    </a:lnTo>
                    <a:lnTo>
                      <a:pt x="651" y="252"/>
                    </a:lnTo>
                    <a:lnTo>
                      <a:pt x="649" y="252"/>
                    </a:lnTo>
                    <a:lnTo>
                      <a:pt x="651" y="252"/>
                    </a:lnTo>
                    <a:lnTo>
                      <a:pt x="649" y="252"/>
                    </a:lnTo>
                    <a:lnTo>
                      <a:pt x="651" y="252"/>
                    </a:lnTo>
                    <a:lnTo>
                      <a:pt x="651" y="254"/>
                    </a:lnTo>
                    <a:lnTo>
                      <a:pt x="653" y="254"/>
                    </a:lnTo>
                    <a:lnTo>
                      <a:pt x="653" y="256"/>
                    </a:lnTo>
                    <a:lnTo>
                      <a:pt x="653" y="254"/>
                    </a:lnTo>
                    <a:lnTo>
                      <a:pt x="651" y="254"/>
                    </a:lnTo>
                    <a:lnTo>
                      <a:pt x="653" y="254"/>
                    </a:lnTo>
                    <a:lnTo>
                      <a:pt x="655" y="254"/>
                    </a:lnTo>
                    <a:lnTo>
                      <a:pt x="655" y="252"/>
                    </a:lnTo>
                    <a:lnTo>
                      <a:pt x="655" y="254"/>
                    </a:lnTo>
                    <a:lnTo>
                      <a:pt x="655" y="252"/>
                    </a:lnTo>
                    <a:lnTo>
                      <a:pt x="655" y="254"/>
                    </a:lnTo>
                    <a:lnTo>
                      <a:pt x="653" y="256"/>
                    </a:lnTo>
                    <a:lnTo>
                      <a:pt x="653" y="258"/>
                    </a:lnTo>
                    <a:lnTo>
                      <a:pt x="651" y="260"/>
                    </a:lnTo>
                    <a:lnTo>
                      <a:pt x="649" y="262"/>
                    </a:lnTo>
                    <a:lnTo>
                      <a:pt x="647" y="262"/>
                    </a:lnTo>
                    <a:lnTo>
                      <a:pt x="649" y="262"/>
                    </a:lnTo>
                    <a:lnTo>
                      <a:pt x="647" y="262"/>
                    </a:lnTo>
                    <a:lnTo>
                      <a:pt x="647" y="260"/>
                    </a:lnTo>
                    <a:lnTo>
                      <a:pt x="647" y="262"/>
                    </a:lnTo>
                    <a:lnTo>
                      <a:pt x="649" y="262"/>
                    </a:lnTo>
                    <a:lnTo>
                      <a:pt x="647" y="262"/>
                    </a:lnTo>
                    <a:lnTo>
                      <a:pt x="647" y="264"/>
                    </a:lnTo>
                    <a:lnTo>
                      <a:pt x="647" y="266"/>
                    </a:lnTo>
                    <a:lnTo>
                      <a:pt x="647" y="264"/>
                    </a:lnTo>
                    <a:lnTo>
                      <a:pt x="647" y="266"/>
                    </a:lnTo>
                    <a:lnTo>
                      <a:pt x="645" y="266"/>
                    </a:lnTo>
                    <a:lnTo>
                      <a:pt x="647" y="266"/>
                    </a:lnTo>
                    <a:lnTo>
                      <a:pt x="647" y="268"/>
                    </a:lnTo>
                    <a:lnTo>
                      <a:pt x="645" y="268"/>
                    </a:lnTo>
                    <a:lnTo>
                      <a:pt x="647" y="270"/>
                    </a:lnTo>
                    <a:lnTo>
                      <a:pt x="647" y="268"/>
                    </a:lnTo>
                    <a:lnTo>
                      <a:pt x="647" y="270"/>
                    </a:lnTo>
                    <a:lnTo>
                      <a:pt x="649" y="271"/>
                    </a:lnTo>
                    <a:lnTo>
                      <a:pt x="647" y="271"/>
                    </a:lnTo>
                    <a:lnTo>
                      <a:pt x="647" y="273"/>
                    </a:lnTo>
                    <a:lnTo>
                      <a:pt x="645" y="273"/>
                    </a:lnTo>
                    <a:lnTo>
                      <a:pt x="645" y="275"/>
                    </a:lnTo>
                    <a:lnTo>
                      <a:pt x="647" y="275"/>
                    </a:lnTo>
                    <a:lnTo>
                      <a:pt x="647" y="273"/>
                    </a:lnTo>
                    <a:lnTo>
                      <a:pt x="647" y="275"/>
                    </a:lnTo>
                    <a:lnTo>
                      <a:pt x="649" y="275"/>
                    </a:lnTo>
                    <a:lnTo>
                      <a:pt x="651" y="275"/>
                    </a:lnTo>
                    <a:lnTo>
                      <a:pt x="649" y="277"/>
                    </a:lnTo>
                    <a:lnTo>
                      <a:pt x="651" y="277"/>
                    </a:lnTo>
                    <a:lnTo>
                      <a:pt x="651" y="279"/>
                    </a:lnTo>
                    <a:lnTo>
                      <a:pt x="651" y="281"/>
                    </a:lnTo>
                    <a:lnTo>
                      <a:pt x="653" y="281"/>
                    </a:lnTo>
                    <a:lnTo>
                      <a:pt x="651" y="281"/>
                    </a:lnTo>
                    <a:lnTo>
                      <a:pt x="649" y="281"/>
                    </a:lnTo>
                    <a:lnTo>
                      <a:pt x="649" y="283"/>
                    </a:lnTo>
                    <a:lnTo>
                      <a:pt x="649" y="281"/>
                    </a:lnTo>
                    <a:lnTo>
                      <a:pt x="647" y="281"/>
                    </a:lnTo>
                    <a:lnTo>
                      <a:pt x="647" y="283"/>
                    </a:lnTo>
                    <a:lnTo>
                      <a:pt x="647" y="281"/>
                    </a:lnTo>
                    <a:lnTo>
                      <a:pt x="645" y="279"/>
                    </a:lnTo>
                    <a:lnTo>
                      <a:pt x="645" y="277"/>
                    </a:lnTo>
                    <a:lnTo>
                      <a:pt x="645" y="275"/>
                    </a:lnTo>
                    <a:lnTo>
                      <a:pt x="643" y="275"/>
                    </a:lnTo>
                    <a:lnTo>
                      <a:pt x="643" y="277"/>
                    </a:lnTo>
                    <a:lnTo>
                      <a:pt x="641" y="277"/>
                    </a:lnTo>
                    <a:lnTo>
                      <a:pt x="639" y="277"/>
                    </a:lnTo>
                    <a:lnTo>
                      <a:pt x="639" y="279"/>
                    </a:lnTo>
                    <a:lnTo>
                      <a:pt x="639" y="277"/>
                    </a:lnTo>
                    <a:lnTo>
                      <a:pt x="638" y="277"/>
                    </a:lnTo>
                    <a:lnTo>
                      <a:pt x="639" y="277"/>
                    </a:lnTo>
                    <a:lnTo>
                      <a:pt x="639" y="275"/>
                    </a:lnTo>
                    <a:lnTo>
                      <a:pt x="638" y="275"/>
                    </a:lnTo>
                    <a:lnTo>
                      <a:pt x="639" y="273"/>
                    </a:lnTo>
                    <a:lnTo>
                      <a:pt x="638" y="275"/>
                    </a:lnTo>
                    <a:lnTo>
                      <a:pt x="636" y="275"/>
                    </a:lnTo>
                    <a:lnTo>
                      <a:pt x="634" y="275"/>
                    </a:lnTo>
                    <a:lnTo>
                      <a:pt x="634" y="277"/>
                    </a:lnTo>
                    <a:lnTo>
                      <a:pt x="632" y="277"/>
                    </a:lnTo>
                    <a:lnTo>
                      <a:pt x="632" y="275"/>
                    </a:lnTo>
                    <a:lnTo>
                      <a:pt x="632" y="277"/>
                    </a:lnTo>
                    <a:lnTo>
                      <a:pt x="630" y="277"/>
                    </a:lnTo>
                    <a:lnTo>
                      <a:pt x="630" y="279"/>
                    </a:lnTo>
                    <a:lnTo>
                      <a:pt x="628" y="279"/>
                    </a:lnTo>
                    <a:lnTo>
                      <a:pt x="628" y="277"/>
                    </a:lnTo>
                    <a:lnTo>
                      <a:pt x="626" y="279"/>
                    </a:lnTo>
                    <a:lnTo>
                      <a:pt x="626" y="277"/>
                    </a:lnTo>
                    <a:lnTo>
                      <a:pt x="626" y="279"/>
                    </a:lnTo>
                    <a:lnTo>
                      <a:pt x="624" y="279"/>
                    </a:lnTo>
                    <a:lnTo>
                      <a:pt x="624" y="277"/>
                    </a:lnTo>
                    <a:lnTo>
                      <a:pt x="622" y="277"/>
                    </a:lnTo>
                    <a:lnTo>
                      <a:pt x="622" y="279"/>
                    </a:lnTo>
                    <a:lnTo>
                      <a:pt x="620" y="279"/>
                    </a:lnTo>
                    <a:close/>
                    <a:moveTo>
                      <a:pt x="920" y="108"/>
                    </a:moveTo>
                    <a:lnTo>
                      <a:pt x="920" y="110"/>
                    </a:lnTo>
                    <a:lnTo>
                      <a:pt x="920" y="112"/>
                    </a:lnTo>
                    <a:lnTo>
                      <a:pt x="922" y="112"/>
                    </a:lnTo>
                    <a:lnTo>
                      <a:pt x="922" y="114"/>
                    </a:lnTo>
                    <a:lnTo>
                      <a:pt x="922" y="112"/>
                    </a:lnTo>
                    <a:lnTo>
                      <a:pt x="922" y="114"/>
                    </a:lnTo>
                    <a:lnTo>
                      <a:pt x="922" y="116"/>
                    </a:lnTo>
                    <a:lnTo>
                      <a:pt x="920" y="116"/>
                    </a:lnTo>
                    <a:lnTo>
                      <a:pt x="920" y="114"/>
                    </a:lnTo>
                    <a:lnTo>
                      <a:pt x="918" y="114"/>
                    </a:lnTo>
                    <a:lnTo>
                      <a:pt x="918" y="112"/>
                    </a:lnTo>
                    <a:lnTo>
                      <a:pt x="916" y="112"/>
                    </a:lnTo>
                    <a:lnTo>
                      <a:pt x="916" y="110"/>
                    </a:lnTo>
                    <a:lnTo>
                      <a:pt x="916" y="112"/>
                    </a:lnTo>
                    <a:lnTo>
                      <a:pt x="914" y="112"/>
                    </a:lnTo>
                    <a:lnTo>
                      <a:pt x="914" y="110"/>
                    </a:lnTo>
                    <a:lnTo>
                      <a:pt x="916" y="110"/>
                    </a:lnTo>
                    <a:lnTo>
                      <a:pt x="914" y="110"/>
                    </a:lnTo>
                    <a:lnTo>
                      <a:pt x="916" y="110"/>
                    </a:lnTo>
                    <a:lnTo>
                      <a:pt x="916" y="108"/>
                    </a:lnTo>
                    <a:lnTo>
                      <a:pt x="918" y="108"/>
                    </a:lnTo>
                    <a:lnTo>
                      <a:pt x="920" y="108"/>
                    </a:lnTo>
                    <a:close/>
                    <a:moveTo>
                      <a:pt x="251" y="304"/>
                    </a:moveTo>
                    <a:lnTo>
                      <a:pt x="249" y="304"/>
                    </a:lnTo>
                    <a:lnTo>
                      <a:pt x="251" y="304"/>
                    </a:lnTo>
                    <a:close/>
                    <a:moveTo>
                      <a:pt x="274" y="300"/>
                    </a:moveTo>
                    <a:lnTo>
                      <a:pt x="274" y="298"/>
                    </a:lnTo>
                    <a:lnTo>
                      <a:pt x="274" y="296"/>
                    </a:lnTo>
                    <a:lnTo>
                      <a:pt x="276" y="296"/>
                    </a:lnTo>
                    <a:lnTo>
                      <a:pt x="274" y="296"/>
                    </a:lnTo>
                    <a:lnTo>
                      <a:pt x="274" y="298"/>
                    </a:lnTo>
                    <a:lnTo>
                      <a:pt x="276" y="298"/>
                    </a:lnTo>
                    <a:lnTo>
                      <a:pt x="274" y="300"/>
                    </a:lnTo>
                    <a:lnTo>
                      <a:pt x="276" y="298"/>
                    </a:lnTo>
                    <a:lnTo>
                      <a:pt x="274" y="300"/>
                    </a:lnTo>
                    <a:close/>
                    <a:moveTo>
                      <a:pt x="273" y="302"/>
                    </a:moveTo>
                    <a:lnTo>
                      <a:pt x="273" y="300"/>
                    </a:lnTo>
                    <a:lnTo>
                      <a:pt x="273" y="298"/>
                    </a:lnTo>
                    <a:lnTo>
                      <a:pt x="273" y="300"/>
                    </a:lnTo>
                    <a:lnTo>
                      <a:pt x="274" y="300"/>
                    </a:lnTo>
                    <a:lnTo>
                      <a:pt x="273" y="300"/>
                    </a:lnTo>
                    <a:lnTo>
                      <a:pt x="274" y="300"/>
                    </a:lnTo>
                    <a:lnTo>
                      <a:pt x="273" y="300"/>
                    </a:lnTo>
                    <a:lnTo>
                      <a:pt x="273" y="302"/>
                    </a:lnTo>
                    <a:lnTo>
                      <a:pt x="274" y="300"/>
                    </a:lnTo>
                    <a:lnTo>
                      <a:pt x="274" y="302"/>
                    </a:lnTo>
                    <a:lnTo>
                      <a:pt x="274" y="304"/>
                    </a:lnTo>
                    <a:lnTo>
                      <a:pt x="276" y="304"/>
                    </a:lnTo>
                    <a:lnTo>
                      <a:pt x="274" y="304"/>
                    </a:lnTo>
                    <a:lnTo>
                      <a:pt x="274" y="302"/>
                    </a:lnTo>
                    <a:lnTo>
                      <a:pt x="276" y="302"/>
                    </a:lnTo>
                    <a:lnTo>
                      <a:pt x="274" y="302"/>
                    </a:lnTo>
                    <a:lnTo>
                      <a:pt x="274" y="300"/>
                    </a:lnTo>
                    <a:lnTo>
                      <a:pt x="276" y="300"/>
                    </a:lnTo>
                    <a:lnTo>
                      <a:pt x="274" y="300"/>
                    </a:lnTo>
                    <a:lnTo>
                      <a:pt x="276" y="300"/>
                    </a:lnTo>
                    <a:lnTo>
                      <a:pt x="276" y="298"/>
                    </a:lnTo>
                    <a:lnTo>
                      <a:pt x="278" y="298"/>
                    </a:lnTo>
                    <a:lnTo>
                      <a:pt x="276" y="300"/>
                    </a:lnTo>
                    <a:lnTo>
                      <a:pt x="276" y="298"/>
                    </a:lnTo>
                    <a:lnTo>
                      <a:pt x="278" y="298"/>
                    </a:lnTo>
                    <a:lnTo>
                      <a:pt x="280" y="298"/>
                    </a:lnTo>
                    <a:lnTo>
                      <a:pt x="280" y="296"/>
                    </a:lnTo>
                    <a:lnTo>
                      <a:pt x="282" y="296"/>
                    </a:lnTo>
                    <a:lnTo>
                      <a:pt x="282" y="298"/>
                    </a:lnTo>
                    <a:lnTo>
                      <a:pt x="282" y="300"/>
                    </a:lnTo>
                    <a:lnTo>
                      <a:pt x="280" y="300"/>
                    </a:lnTo>
                    <a:lnTo>
                      <a:pt x="278" y="302"/>
                    </a:lnTo>
                    <a:lnTo>
                      <a:pt x="276" y="304"/>
                    </a:lnTo>
                    <a:lnTo>
                      <a:pt x="274" y="304"/>
                    </a:lnTo>
                    <a:lnTo>
                      <a:pt x="273" y="304"/>
                    </a:lnTo>
                    <a:lnTo>
                      <a:pt x="273" y="306"/>
                    </a:lnTo>
                    <a:lnTo>
                      <a:pt x="271" y="306"/>
                    </a:lnTo>
                    <a:lnTo>
                      <a:pt x="271" y="304"/>
                    </a:lnTo>
                    <a:lnTo>
                      <a:pt x="273" y="302"/>
                    </a:lnTo>
                    <a:lnTo>
                      <a:pt x="271" y="302"/>
                    </a:lnTo>
                    <a:lnTo>
                      <a:pt x="269" y="302"/>
                    </a:lnTo>
                    <a:lnTo>
                      <a:pt x="267" y="302"/>
                    </a:lnTo>
                    <a:lnTo>
                      <a:pt x="269" y="302"/>
                    </a:lnTo>
                    <a:lnTo>
                      <a:pt x="267" y="300"/>
                    </a:lnTo>
                    <a:lnTo>
                      <a:pt x="269" y="300"/>
                    </a:lnTo>
                    <a:lnTo>
                      <a:pt x="269" y="298"/>
                    </a:lnTo>
                    <a:lnTo>
                      <a:pt x="269" y="300"/>
                    </a:lnTo>
                    <a:lnTo>
                      <a:pt x="269" y="298"/>
                    </a:lnTo>
                    <a:lnTo>
                      <a:pt x="271" y="298"/>
                    </a:lnTo>
                    <a:lnTo>
                      <a:pt x="271" y="300"/>
                    </a:lnTo>
                    <a:lnTo>
                      <a:pt x="271" y="298"/>
                    </a:lnTo>
                    <a:lnTo>
                      <a:pt x="273" y="298"/>
                    </a:lnTo>
                    <a:lnTo>
                      <a:pt x="271" y="298"/>
                    </a:lnTo>
                    <a:lnTo>
                      <a:pt x="273" y="298"/>
                    </a:lnTo>
                    <a:lnTo>
                      <a:pt x="273" y="300"/>
                    </a:lnTo>
                    <a:lnTo>
                      <a:pt x="273" y="302"/>
                    </a:lnTo>
                    <a:close/>
                    <a:moveTo>
                      <a:pt x="265" y="300"/>
                    </a:moveTo>
                    <a:lnTo>
                      <a:pt x="265" y="298"/>
                    </a:lnTo>
                    <a:lnTo>
                      <a:pt x="265" y="300"/>
                    </a:lnTo>
                    <a:lnTo>
                      <a:pt x="267" y="300"/>
                    </a:lnTo>
                    <a:lnTo>
                      <a:pt x="267" y="298"/>
                    </a:lnTo>
                    <a:lnTo>
                      <a:pt x="265" y="298"/>
                    </a:lnTo>
                    <a:lnTo>
                      <a:pt x="267" y="300"/>
                    </a:lnTo>
                    <a:lnTo>
                      <a:pt x="265" y="300"/>
                    </a:lnTo>
                    <a:lnTo>
                      <a:pt x="265" y="298"/>
                    </a:lnTo>
                    <a:lnTo>
                      <a:pt x="267" y="298"/>
                    </a:lnTo>
                    <a:lnTo>
                      <a:pt x="269" y="298"/>
                    </a:lnTo>
                    <a:lnTo>
                      <a:pt x="269" y="300"/>
                    </a:lnTo>
                    <a:lnTo>
                      <a:pt x="267" y="300"/>
                    </a:lnTo>
                    <a:lnTo>
                      <a:pt x="265" y="300"/>
                    </a:lnTo>
                    <a:close/>
                    <a:moveTo>
                      <a:pt x="125" y="314"/>
                    </a:moveTo>
                    <a:lnTo>
                      <a:pt x="125" y="316"/>
                    </a:lnTo>
                    <a:lnTo>
                      <a:pt x="125" y="314"/>
                    </a:lnTo>
                    <a:close/>
                    <a:moveTo>
                      <a:pt x="165" y="296"/>
                    </a:moveTo>
                    <a:lnTo>
                      <a:pt x="163" y="296"/>
                    </a:lnTo>
                    <a:lnTo>
                      <a:pt x="165" y="296"/>
                    </a:lnTo>
                    <a:lnTo>
                      <a:pt x="165" y="295"/>
                    </a:lnTo>
                    <a:lnTo>
                      <a:pt x="167" y="295"/>
                    </a:lnTo>
                    <a:lnTo>
                      <a:pt x="167" y="293"/>
                    </a:lnTo>
                    <a:lnTo>
                      <a:pt x="167" y="295"/>
                    </a:lnTo>
                    <a:lnTo>
                      <a:pt x="167" y="296"/>
                    </a:lnTo>
                    <a:lnTo>
                      <a:pt x="165" y="296"/>
                    </a:lnTo>
                    <a:close/>
                    <a:moveTo>
                      <a:pt x="128" y="306"/>
                    </a:moveTo>
                    <a:lnTo>
                      <a:pt x="130" y="306"/>
                    </a:lnTo>
                    <a:lnTo>
                      <a:pt x="128" y="308"/>
                    </a:lnTo>
                    <a:lnTo>
                      <a:pt x="128" y="310"/>
                    </a:lnTo>
                    <a:lnTo>
                      <a:pt x="126" y="310"/>
                    </a:lnTo>
                    <a:lnTo>
                      <a:pt x="126" y="312"/>
                    </a:lnTo>
                    <a:lnTo>
                      <a:pt x="126" y="314"/>
                    </a:lnTo>
                    <a:lnTo>
                      <a:pt x="125" y="314"/>
                    </a:lnTo>
                    <a:lnTo>
                      <a:pt x="126" y="314"/>
                    </a:lnTo>
                    <a:lnTo>
                      <a:pt x="125" y="314"/>
                    </a:lnTo>
                    <a:lnTo>
                      <a:pt x="125" y="316"/>
                    </a:lnTo>
                    <a:lnTo>
                      <a:pt x="125" y="314"/>
                    </a:lnTo>
                    <a:lnTo>
                      <a:pt x="123" y="316"/>
                    </a:lnTo>
                    <a:lnTo>
                      <a:pt x="123" y="314"/>
                    </a:lnTo>
                    <a:lnTo>
                      <a:pt x="123" y="316"/>
                    </a:lnTo>
                    <a:lnTo>
                      <a:pt x="125" y="316"/>
                    </a:lnTo>
                    <a:lnTo>
                      <a:pt x="125" y="314"/>
                    </a:lnTo>
                    <a:lnTo>
                      <a:pt x="126" y="314"/>
                    </a:lnTo>
                    <a:lnTo>
                      <a:pt x="126" y="316"/>
                    </a:lnTo>
                    <a:lnTo>
                      <a:pt x="126" y="314"/>
                    </a:lnTo>
                    <a:lnTo>
                      <a:pt x="126" y="316"/>
                    </a:lnTo>
                    <a:lnTo>
                      <a:pt x="128" y="316"/>
                    </a:lnTo>
                    <a:lnTo>
                      <a:pt x="128" y="318"/>
                    </a:lnTo>
                    <a:lnTo>
                      <a:pt x="130" y="318"/>
                    </a:lnTo>
                    <a:lnTo>
                      <a:pt x="132" y="318"/>
                    </a:lnTo>
                    <a:lnTo>
                      <a:pt x="134" y="318"/>
                    </a:lnTo>
                    <a:lnTo>
                      <a:pt x="134" y="320"/>
                    </a:lnTo>
                    <a:lnTo>
                      <a:pt x="136" y="320"/>
                    </a:lnTo>
                    <a:lnTo>
                      <a:pt x="136" y="321"/>
                    </a:lnTo>
                    <a:lnTo>
                      <a:pt x="136" y="323"/>
                    </a:lnTo>
                    <a:lnTo>
                      <a:pt x="134" y="323"/>
                    </a:lnTo>
                    <a:lnTo>
                      <a:pt x="134" y="325"/>
                    </a:lnTo>
                    <a:lnTo>
                      <a:pt x="132" y="325"/>
                    </a:lnTo>
                    <a:lnTo>
                      <a:pt x="132" y="323"/>
                    </a:lnTo>
                    <a:lnTo>
                      <a:pt x="130" y="323"/>
                    </a:lnTo>
                    <a:lnTo>
                      <a:pt x="128" y="323"/>
                    </a:lnTo>
                    <a:lnTo>
                      <a:pt x="128" y="325"/>
                    </a:lnTo>
                    <a:lnTo>
                      <a:pt x="126" y="325"/>
                    </a:lnTo>
                    <a:lnTo>
                      <a:pt x="126" y="323"/>
                    </a:lnTo>
                    <a:lnTo>
                      <a:pt x="125" y="323"/>
                    </a:lnTo>
                    <a:lnTo>
                      <a:pt x="125" y="325"/>
                    </a:lnTo>
                    <a:lnTo>
                      <a:pt x="125" y="327"/>
                    </a:lnTo>
                    <a:lnTo>
                      <a:pt x="125" y="325"/>
                    </a:lnTo>
                    <a:lnTo>
                      <a:pt x="126" y="325"/>
                    </a:lnTo>
                    <a:lnTo>
                      <a:pt x="125" y="325"/>
                    </a:lnTo>
                    <a:lnTo>
                      <a:pt x="126" y="325"/>
                    </a:lnTo>
                    <a:lnTo>
                      <a:pt x="126" y="323"/>
                    </a:lnTo>
                    <a:lnTo>
                      <a:pt x="126" y="325"/>
                    </a:lnTo>
                    <a:lnTo>
                      <a:pt x="128" y="325"/>
                    </a:lnTo>
                    <a:lnTo>
                      <a:pt x="130" y="325"/>
                    </a:lnTo>
                    <a:lnTo>
                      <a:pt x="130" y="323"/>
                    </a:lnTo>
                    <a:lnTo>
                      <a:pt x="132" y="325"/>
                    </a:lnTo>
                    <a:lnTo>
                      <a:pt x="130" y="325"/>
                    </a:lnTo>
                    <a:lnTo>
                      <a:pt x="132" y="325"/>
                    </a:lnTo>
                    <a:lnTo>
                      <a:pt x="134" y="325"/>
                    </a:lnTo>
                    <a:lnTo>
                      <a:pt x="136" y="325"/>
                    </a:lnTo>
                    <a:lnTo>
                      <a:pt x="136" y="327"/>
                    </a:lnTo>
                    <a:lnTo>
                      <a:pt x="136" y="329"/>
                    </a:lnTo>
                    <a:lnTo>
                      <a:pt x="138" y="329"/>
                    </a:lnTo>
                    <a:lnTo>
                      <a:pt x="138" y="331"/>
                    </a:lnTo>
                    <a:lnTo>
                      <a:pt x="136" y="333"/>
                    </a:lnTo>
                    <a:lnTo>
                      <a:pt x="138" y="333"/>
                    </a:lnTo>
                    <a:lnTo>
                      <a:pt x="138" y="335"/>
                    </a:lnTo>
                    <a:lnTo>
                      <a:pt x="136" y="335"/>
                    </a:lnTo>
                    <a:lnTo>
                      <a:pt x="136" y="337"/>
                    </a:lnTo>
                    <a:lnTo>
                      <a:pt x="138" y="337"/>
                    </a:lnTo>
                    <a:lnTo>
                      <a:pt x="136" y="337"/>
                    </a:lnTo>
                    <a:lnTo>
                      <a:pt x="138" y="339"/>
                    </a:lnTo>
                    <a:lnTo>
                      <a:pt x="138" y="341"/>
                    </a:lnTo>
                    <a:lnTo>
                      <a:pt x="136" y="341"/>
                    </a:lnTo>
                    <a:lnTo>
                      <a:pt x="136" y="343"/>
                    </a:lnTo>
                    <a:lnTo>
                      <a:pt x="134" y="345"/>
                    </a:lnTo>
                    <a:lnTo>
                      <a:pt x="132" y="345"/>
                    </a:lnTo>
                    <a:lnTo>
                      <a:pt x="134" y="345"/>
                    </a:lnTo>
                    <a:lnTo>
                      <a:pt x="134" y="343"/>
                    </a:lnTo>
                    <a:lnTo>
                      <a:pt x="136" y="343"/>
                    </a:lnTo>
                    <a:lnTo>
                      <a:pt x="134" y="343"/>
                    </a:lnTo>
                    <a:lnTo>
                      <a:pt x="136" y="343"/>
                    </a:lnTo>
                    <a:lnTo>
                      <a:pt x="134" y="343"/>
                    </a:lnTo>
                    <a:lnTo>
                      <a:pt x="136" y="343"/>
                    </a:lnTo>
                    <a:lnTo>
                      <a:pt x="134" y="343"/>
                    </a:lnTo>
                    <a:lnTo>
                      <a:pt x="134" y="345"/>
                    </a:lnTo>
                    <a:lnTo>
                      <a:pt x="132" y="345"/>
                    </a:lnTo>
                    <a:lnTo>
                      <a:pt x="132" y="346"/>
                    </a:lnTo>
                    <a:lnTo>
                      <a:pt x="132" y="348"/>
                    </a:lnTo>
                    <a:lnTo>
                      <a:pt x="132" y="350"/>
                    </a:lnTo>
                    <a:lnTo>
                      <a:pt x="134" y="350"/>
                    </a:lnTo>
                    <a:lnTo>
                      <a:pt x="134" y="352"/>
                    </a:lnTo>
                    <a:lnTo>
                      <a:pt x="136" y="352"/>
                    </a:lnTo>
                    <a:lnTo>
                      <a:pt x="136" y="354"/>
                    </a:lnTo>
                    <a:lnTo>
                      <a:pt x="140" y="354"/>
                    </a:lnTo>
                    <a:lnTo>
                      <a:pt x="142" y="354"/>
                    </a:lnTo>
                    <a:lnTo>
                      <a:pt x="142" y="356"/>
                    </a:lnTo>
                    <a:lnTo>
                      <a:pt x="142" y="354"/>
                    </a:lnTo>
                    <a:lnTo>
                      <a:pt x="142" y="356"/>
                    </a:lnTo>
                    <a:lnTo>
                      <a:pt x="144" y="356"/>
                    </a:lnTo>
                    <a:lnTo>
                      <a:pt x="146" y="356"/>
                    </a:lnTo>
                    <a:lnTo>
                      <a:pt x="148" y="356"/>
                    </a:lnTo>
                    <a:lnTo>
                      <a:pt x="146" y="356"/>
                    </a:lnTo>
                    <a:lnTo>
                      <a:pt x="150" y="356"/>
                    </a:lnTo>
                    <a:lnTo>
                      <a:pt x="151" y="356"/>
                    </a:lnTo>
                    <a:lnTo>
                      <a:pt x="153" y="356"/>
                    </a:lnTo>
                    <a:lnTo>
                      <a:pt x="153" y="358"/>
                    </a:lnTo>
                    <a:lnTo>
                      <a:pt x="153" y="356"/>
                    </a:lnTo>
                    <a:lnTo>
                      <a:pt x="153" y="358"/>
                    </a:lnTo>
                    <a:lnTo>
                      <a:pt x="155" y="358"/>
                    </a:lnTo>
                    <a:lnTo>
                      <a:pt x="157" y="358"/>
                    </a:lnTo>
                    <a:lnTo>
                      <a:pt x="155" y="356"/>
                    </a:lnTo>
                    <a:lnTo>
                      <a:pt x="153" y="356"/>
                    </a:lnTo>
                    <a:lnTo>
                      <a:pt x="155" y="356"/>
                    </a:lnTo>
                    <a:lnTo>
                      <a:pt x="157" y="356"/>
                    </a:lnTo>
                    <a:lnTo>
                      <a:pt x="157" y="358"/>
                    </a:lnTo>
                    <a:lnTo>
                      <a:pt x="157" y="356"/>
                    </a:lnTo>
                    <a:lnTo>
                      <a:pt x="157" y="358"/>
                    </a:lnTo>
                    <a:lnTo>
                      <a:pt x="155" y="358"/>
                    </a:lnTo>
                    <a:lnTo>
                      <a:pt x="155" y="356"/>
                    </a:lnTo>
                    <a:lnTo>
                      <a:pt x="155" y="358"/>
                    </a:lnTo>
                    <a:lnTo>
                      <a:pt x="155" y="356"/>
                    </a:lnTo>
                    <a:lnTo>
                      <a:pt x="155" y="358"/>
                    </a:lnTo>
                    <a:lnTo>
                      <a:pt x="155" y="356"/>
                    </a:lnTo>
                    <a:lnTo>
                      <a:pt x="153" y="356"/>
                    </a:lnTo>
                    <a:lnTo>
                      <a:pt x="151" y="356"/>
                    </a:lnTo>
                    <a:lnTo>
                      <a:pt x="150" y="356"/>
                    </a:lnTo>
                    <a:lnTo>
                      <a:pt x="148" y="356"/>
                    </a:lnTo>
                    <a:lnTo>
                      <a:pt x="146" y="356"/>
                    </a:lnTo>
                    <a:lnTo>
                      <a:pt x="144" y="356"/>
                    </a:lnTo>
                    <a:lnTo>
                      <a:pt x="142" y="356"/>
                    </a:lnTo>
                    <a:lnTo>
                      <a:pt x="144" y="356"/>
                    </a:lnTo>
                    <a:lnTo>
                      <a:pt x="142" y="354"/>
                    </a:lnTo>
                    <a:lnTo>
                      <a:pt x="140" y="354"/>
                    </a:lnTo>
                    <a:lnTo>
                      <a:pt x="138" y="354"/>
                    </a:lnTo>
                    <a:lnTo>
                      <a:pt x="140" y="354"/>
                    </a:lnTo>
                    <a:lnTo>
                      <a:pt x="138" y="354"/>
                    </a:lnTo>
                    <a:lnTo>
                      <a:pt x="138" y="352"/>
                    </a:lnTo>
                    <a:lnTo>
                      <a:pt x="136" y="352"/>
                    </a:lnTo>
                    <a:lnTo>
                      <a:pt x="134" y="352"/>
                    </a:lnTo>
                    <a:lnTo>
                      <a:pt x="134" y="350"/>
                    </a:lnTo>
                    <a:lnTo>
                      <a:pt x="136" y="350"/>
                    </a:lnTo>
                    <a:lnTo>
                      <a:pt x="136" y="348"/>
                    </a:lnTo>
                    <a:lnTo>
                      <a:pt x="134" y="348"/>
                    </a:lnTo>
                    <a:lnTo>
                      <a:pt x="132" y="348"/>
                    </a:lnTo>
                    <a:lnTo>
                      <a:pt x="132" y="346"/>
                    </a:lnTo>
                    <a:lnTo>
                      <a:pt x="134" y="346"/>
                    </a:lnTo>
                    <a:lnTo>
                      <a:pt x="132" y="346"/>
                    </a:lnTo>
                    <a:lnTo>
                      <a:pt x="134" y="346"/>
                    </a:lnTo>
                    <a:lnTo>
                      <a:pt x="132" y="346"/>
                    </a:lnTo>
                    <a:lnTo>
                      <a:pt x="132" y="345"/>
                    </a:lnTo>
                    <a:lnTo>
                      <a:pt x="134" y="346"/>
                    </a:lnTo>
                    <a:lnTo>
                      <a:pt x="134" y="345"/>
                    </a:lnTo>
                    <a:lnTo>
                      <a:pt x="136" y="345"/>
                    </a:lnTo>
                    <a:lnTo>
                      <a:pt x="136" y="343"/>
                    </a:lnTo>
                    <a:lnTo>
                      <a:pt x="138" y="343"/>
                    </a:lnTo>
                    <a:lnTo>
                      <a:pt x="138" y="341"/>
                    </a:lnTo>
                    <a:lnTo>
                      <a:pt x="140" y="339"/>
                    </a:lnTo>
                    <a:lnTo>
                      <a:pt x="140" y="341"/>
                    </a:lnTo>
                    <a:lnTo>
                      <a:pt x="140" y="339"/>
                    </a:lnTo>
                    <a:lnTo>
                      <a:pt x="138" y="339"/>
                    </a:lnTo>
                    <a:lnTo>
                      <a:pt x="138" y="337"/>
                    </a:lnTo>
                    <a:lnTo>
                      <a:pt x="138" y="335"/>
                    </a:lnTo>
                    <a:lnTo>
                      <a:pt x="138" y="333"/>
                    </a:lnTo>
                    <a:lnTo>
                      <a:pt x="138" y="331"/>
                    </a:lnTo>
                    <a:lnTo>
                      <a:pt x="138" y="329"/>
                    </a:lnTo>
                    <a:lnTo>
                      <a:pt x="140" y="329"/>
                    </a:lnTo>
                    <a:lnTo>
                      <a:pt x="140" y="331"/>
                    </a:lnTo>
                    <a:lnTo>
                      <a:pt x="140" y="329"/>
                    </a:lnTo>
                    <a:lnTo>
                      <a:pt x="138" y="329"/>
                    </a:lnTo>
                    <a:lnTo>
                      <a:pt x="138" y="327"/>
                    </a:lnTo>
                    <a:lnTo>
                      <a:pt x="136" y="327"/>
                    </a:lnTo>
                    <a:lnTo>
                      <a:pt x="138" y="327"/>
                    </a:lnTo>
                    <a:lnTo>
                      <a:pt x="140" y="329"/>
                    </a:lnTo>
                    <a:lnTo>
                      <a:pt x="142" y="329"/>
                    </a:lnTo>
                    <a:lnTo>
                      <a:pt x="144" y="329"/>
                    </a:lnTo>
                    <a:lnTo>
                      <a:pt x="142" y="329"/>
                    </a:lnTo>
                    <a:lnTo>
                      <a:pt x="142" y="331"/>
                    </a:lnTo>
                    <a:lnTo>
                      <a:pt x="144" y="331"/>
                    </a:lnTo>
                    <a:lnTo>
                      <a:pt x="142" y="331"/>
                    </a:lnTo>
                    <a:lnTo>
                      <a:pt x="142" y="333"/>
                    </a:lnTo>
                    <a:lnTo>
                      <a:pt x="140" y="333"/>
                    </a:lnTo>
                    <a:lnTo>
                      <a:pt x="142" y="333"/>
                    </a:lnTo>
                    <a:lnTo>
                      <a:pt x="140" y="333"/>
                    </a:lnTo>
                    <a:lnTo>
                      <a:pt x="142" y="335"/>
                    </a:lnTo>
                    <a:lnTo>
                      <a:pt x="140" y="335"/>
                    </a:lnTo>
                    <a:lnTo>
                      <a:pt x="142" y="335"/>
                    </a:lnTo>
                    <a:lnTo>
                      <a:pt x="142" y="333"/>
                    </a:lnTo>
                    <a:lnTo>
                      <a:pt x="144" y="333"/>
                    </a:lnTo>
                    <a:lnTo>
                      <a:pt x="144" y="331"/>
                    </a:lnTo>
                    <a:lnTo>
                      <a:pt x="142" y="331"/>
                    </a:lnTo>
                    <a:lnTo>
                      <a:pt x="144" y="331"/>
                    </a:lnTo>
                    <a:lnTo>
                      <a:pt x="142" y="329"/>
                    </a:lnTo>
                    <a:lnTo>
                      <a:pt x="144" y="329"/>
                    </a:lnTo>
                    <a:lnTo>
                      <a:pt x="142" y="329"/>
                    </a:lnTo>
                    <a:lnTo>
                      <a:pt x="140" y="329"/>
                    </a:lnTo>
                    <a:lnTo>
                      <a:pt x="140" y="327"/>
                    </a:lnTo>
                    <a:lnTo>
                      <a:pt x="138" y="327"/>
                    </a:lnTo>
                    <a:lnTo>
                      <a:pt x="140" y="327"/>
                    </a:lnTo>
                    <a:lnTo>
                      <a:pt x="138" y="327"/>
                    </a:lnTo>
                    <a:lnTo>
                      <a:pt x="138" y="325"/>
                    </a:lnTo>
                    <a:lnTo>
                      <a:pt x="136" y="325"/>
                    </a:lnTo>
                    <a:lnTo>
                      <a:pt x="136" y="323"/>
                    </a:lnTo>
                    <a:lnTo>
                      <a:pt x="138" y="323"/>
                    </a:lnTo>
                    <a:lnTo>
                      <a:pt x="138" y="321"/>
                    </a:lnTo>
                    <a:lnTo>
                      <a:pt x="140" y="321"/>
                    </a:lnTo>
                    <a:lnTo>
                      <a:pt x="138" y="321"/>
                    </a:lnTo>
                    <a:lnTo>
                      <a:pt x="140" y="321"/>
                    </a:lnTo>
                    <a:lnTo>
                      <a:pt x="140" y="320"/>
                    </a:lnTo>
                    <a:lnTo>
                      <a:pt x="140" y="318"/>
                    </a:lnTo>
                    <a:lnTo>
                      <a:pt x="142" y="318"/>
                    </a:lnTo>
                    <a:lnTo>
                      <a:pt x="144" y="318"/>
                    </a:lnTo>
                    <a:lnTo>
                      <a:pt x="146" y="318"/>
                    </a:lnTo>
                    <a:lnTo>
                      <a:pt x="148" y="318"/>
                    </a:lnTo>
                    <a:lnTo>
                      <a:pt x="150" y="318"/>
                    </a:lnTo>
                    <a:lnTo>
                      <a:pt x="150" y="320"/>
                    </a:lnTo>
                    <a:lnTo>
                      <a:pt x="148" y="320"/>
                    </a:lnTo>
                    <a:lnTo>
                      <a:pt x="150" y="320"/>
                    </a:lnTo>
                    <a:lnTo>
                      <a:pt x="150" y="318"/>
                    </a:lnTo>
                    <a:lnTo>
                      <a:pt x="151" y="320"/>
                    </a:lnTo>
                    <a:lnTo>
                      <a:pt x="153" y="321"/>
                    </a:lnTo>
                    <a:lnTo>
                      <a:pt x="155" y="323"/>
                    </a:lnTo>
                    <a:lnTo>
                      <a:pt x="155" y="321"/>
                    </a:lnTo>
                    <a:lnTo>
                      <a:pt x="155" y="323"/>
                    </a:lnTo>
                    <a:lnTo>
                      <a:pt x="155" y="321"/>
                    </a:lnTo>
                    <a:lnTo>
                      <a:pt x="157" y="323"/>
                    </a:lnTo>
                    <a:lnTo>
                      <a:pt x="159" y="323"/>
                    </a:lnTo>
                    <a:lnTo>
                      <a:pt x="157" y="323"/>
                    </a:lnTo>
                    <a:lnTo>
                      <a:pt x="155" y="321"/>
                    </a:lnTo>
                    <a:lnTo>
                      <a:pt x="157" y="321"/>
                    </a:lnTo>
                    <a:lnTo>
                      <a:pt x="157" y="323"/>
                    </a:lnTo>
                    <a:lnTo>
                      <a:pt x="159" y="323"/>
                    </a:lnTo>
                    <a:lnTo>
                      <a:pt x="161" y="323"/>
                    </a:lnTo>
                    <a:lnTo>
                      <a:pt x="161" y="321"/>
                    </a:lnTo>
                    <a:lnTo>
                      <a:pt x="163" y="321"/>
                    </a:lnTo>
                    <a:lnTo>
                      <a:pt x="163" y="323"/>
                    </a:lnTo>
                    <a:lnTo>
                      <a:pt x="165" y="323"/>
                    </a:lnTo>
                    <a:lnTo>
                      <a:pt x="165" y="325"/>
                    </a:lnTo>
                    <a:lnTo>
                      <a:pt x="165" y="327"/>
                    </a:lnTo>
                    <a:lnTo>
                      <a:pt x="165" y="329"/>
                    </a:lnTo>
                    <a:lnTo>
                      <a:pt x="165" y="331"/>
                    </a:lnTo>
                    <a:lnTo>
                      <a:pt x="167" y="331"/>
                    </a:lnTo>
                    <a:lnTo>
                      <a:pt x="169" y="331"/>
                    </a:lnTo>
                    <a:lnTo>
                      <a:pt x="169" y="333"/>
                    </a:lnTo>
                    <a:lnTo>
                      <a:pt x="171" y="333"/>
                    </a:lnTo>
                    <a:lnTo>
                      <a:pt x="171" y="331"/>
                    </a:lnTo>
                    <a:lnTo>
                      <a:pt x="173" y="331"/>
                    </a:lnTo>
                    <a:lnTo>
                      <a:pt x="175" y="331"/>
                    </a:lnTo>
                    <a:lnTo>
                      <a:pt x="176" y="331"/>
                    </a:lnTo>
                    <a:lnTo>
                      <a:pt x="175" y="331"/>
                    </a:lnTo>
                    <a:lnTo>
                      <a:pt x="175" y="329"/>
                    </a:lnTo>
                    <a:lnTo>
                      <a:pt x="176" y="329"/>
                    </a:lnTo>
                    <a:lnTo>
                      <a:pt x="178" y="329"/>
                    </a:lnTo>
                    <a:lnTo>
                      <a:pt x="176" y="329"/>
                    </a:lnTo>
                    <a:lnTo>
                      <a:pt x="176" y="331"/>
                    </a:lnTo>
                    <a:lnTo>
                      <a:pt x="178" y="331"/>
                    </a:lnTo>
                    <a:lnTo>
                      <a:pt x="178" y="329"/>
                    </a:lnTo>
                    <a:lnTo>
                      <a:pt x="178" y="331"/>
                    </a:lnTo>
                    <a:lnTo>
                      <a:pt x="180" y="331"/>
                    </a:lnTo>
                    <a:lnTo>
                      <a:pt x="182" y="331"/>
                    </a:lnTo>
                    <a:lnTo>
                      <a:pt x="180" y="331"/>
                    </a:lnTo>
                    <a:lnTo>
                      <a:pt x="180" y="333"/>
                    </a:lnTo>
                    <a:lnTo>
                      <a:pt x="182" y="333"/>
                    </a:lnTo>
                    <a:lnTo>
                      <a:pt x="184" y="333"/>
                    </a:lnTo>
                    <a:lnTo>
                      <a:pt x="184" y="331"/>
                    </a:lnTo>
                    <a:lnTo>
                      <a:pt x="186" y="331"/>
                    </a:lnTo>
                    <a:lnTo>
                      <a:pt x="186" y="333"/>
                    </a:lnTo>
                    <a:lnTo>
                      <a:pt x="186" y="331"/>
                    </a:lnTo>
                    <a:lnTo>
                      <a:pt x="186" y="333"/>
                    </a:lnTo>
                    <a:lnTo>
                      <a:pt x="188" y="333"/>
                    </a:lnTo>
                    <a:lnTo>
                      <a:pt x="188" y="331"/>
                    </a:lnTo>
                    <a:lnTo>
                      <a:pt x="186" y="331"/>
                    </a:lnTo>
                    <a:lnTo>
                      <a:pt x="188" y="331"/>
                    </a:lnTo>
                    <a:lnTo>
                      <a:pt x="190" y="331"/>
                    </a:lnTo>
                    <a:lnTo>
                      <a:pt x="192" y="331"/>
                    </a:lnTo>
                    <a:lnTo>
                      <a:pt x="194" y="331"/>
                    </a:lnTo>
                    <a:lnTo>
                      <a:pt x="192" y="331"/>
                    </a:lnTo>
                    <a:lnTo>
                      <a:pt x="192" y="333"/>
                    </a:lnTo>
                    <a:lnTo>
                      <a:pt x="194" y="333"/>
                    </a:lnTo>
                    <a:lnTo>
                      <a:pt x="194" y="331"/>
                    </a:lnTo>
                    <a:lnTo>
                      <a:pt x="194" y="333"/>
                    </a:lnTo>
                    <a:lnTo>
                      <a:pt x="196" y="333"/>
                    </a:lnTo>
                    <a:lnTo>
                      <a:pt x="198" y="333"/>
                    </a:lnTo>
                    <a:lnTo>
                      <a:pt x="200" y="333"/>
                    </a:lnTo>
                    <a:lnTo>
                      <a:pt x="198" y="333"/>
                    </a:lnTo>
                    <a:lnTo>
                      <a:pt x="196" y="333"/>
                    </a:lnTo>
                    <a:lnTo>
                      <a:pt x="196" y="331"/>
                    </a:lnTo>
                    <a:lnTo>
                      <a:pt x="194" y="331"/>
                    </a:lnTo>
                    <a:lnTo>
                      <a:pt x="194" y="333"/>
                    </a:lnTo>
                    <a:lnTo>
                      <a:pt x="192" y="333"/>
                    </a:lnTo>
                    <a:lnTo>
                      <a:pt x="192" y="331"/>
                    </a:lnTo>
                    <a:lnTo>
                      <a:pt x="194" y="331"/>
                    </a:lnTo>
                    <a:lnTo>
                      <a:pt x="192" y="331"/>
                    </a:lnTo>
                    <a:lnTo>
                      <a:pt x="190" y="331"/>
                    </a:lnTo>
                    <a:lnTo>
                      <a:pt x="188" y="331"/>
                    </a:lnTo>
                    <a:lnTo>
                      <a:pt x="186" y="331"/>
                    </a:lnTo>
                    <a:lnTo>
                      <a:pt x="188" y="331"/>
                    </a:lnTo>
                    <a:lnTo>
                      <a:pt x="188" y="333"/>
                    </a:lnTo>
                    <a:lnTo>
                      <a:pt x="186" y="333"/>
                    </a:lnTo>
                    <a:lnTo>
                      <a:pt x="186" y="331"/>
                    </a:lnTo>
                    <a:lnTo>
                      <a:pt x="184" y="331"/>
                    </a:lnTo>
                    <a:lnTo>
                      <a:pt x="184" y="333"/>
                    </a:lnTo>
                    <a:lnTo>
                      <a:pt x="182" y="333"/>
                    </a:lnTo>
                    <a:lnTo>
                      <a:pt x="180" y="333"/>
                    </a:lnTo>
                    <a:lnTo>
                      <a:pt x="180" y="331"/>
                    </a:lnTo>
                    <a:lnTo>
                      <a:pt x="182" y="331"/>
                    </a:lnTo>
                    <a:lnTo>
                      <a:pt x="180" y="331"/>
                    </a:lnTo>
                    <a:lnTo>
                      <a:pt x="178" y="331"/>
                    </a:lnTo>
                    <a:lnTo>
                      <a:pt x="178" y="329"/>
                    </a:lnTo>
                    <a:lnTo>
                      <a:pt x="178" y="331"/>
                    </a:lnTo>
                    <a:lnTo>
                      <a:pt x="176" y="331"/>
                    </a:lnTo>
                    <a:lnTo>
                      <a:pt x="176" y="329"/>
                    </a:lnTo>
                    <a:lnTo>
                      <a:pt x="178" y="329"/>
                    </a:lnTo>
                    <a:lnTo>
                      <a:pt x="176" y="329"/>
                    </a:lnTo>
                    <a:lnTo>
                      <a:pt x="175" y="329"/>
                    </a:lnTo>
                    <a:lnTo>
                      <a:pt x="175" y="331"/>
                    </a:lnTo>
                    <a:lnTo>
                      <a:pt x="176" y="331"/>
                    </a:lnTo>
                    <a:lnTo>
                      <a:pt x="175" y="331"/>
                    </a:lnTo>
                    <a:lnTo>
                      <a:pt x="173" y="331"/>
                    </a:lnTo>
                    <a:lnTo>
                      <a:pt x="171" y="331"/>
                    </a:lnTo>
                    <a:lnTo>
                      <a:pt x="171" y="333"/>
                    </a:lnTo>
                    <a:lnTo>
                      <a:pt x="169" y="333"/>
                    </a:lnTo>
                    <a:lnTo>
                      <a:pt x="169" y="331"/>
                    </a:lnTo>
                    <a:lnTo>
                      <a:pt x="167" y="331"/>
                    </a:lnTo>
                    <a:lnTo>
                      <a:pt x="167" y="329"/>
                    </a:lnTo>
                    <a:lnTo>
                      <a:pt x="165" y="329"/>
                    </a:lnTo>
                    <a:lnTo>
                      <a:pt x="165" y="327"/>
                    </a:lnTo>
                    <a:lnTo>
                      <a:pt x="165" y="325"/>
                    </a:lnTo>
                    <a:lnTo>
                      <a:pt x="167" y="327"/>
                    </a:lnTo>
                    <a:lnTo>
                      <a:pt x="167" y="329"/>
                    </a:lnTo>
                    <a:lnTo>
                      <a:pt x="167" y="327"/>
                    </a:lnTo>
                    <a:lnTo>
                      <a:pt x="167" y="325"/>
                    </a:lnTo>
                    <a:lnTo>
                      <a:pt x="165" y="325"/>
                    </a:lnTo>
                    <a:lnTo>
                      <a:pt x="167" y="325"/>
                    </a:lnTo>
                    <a:lnTo>
                      <a:pt x="165" y="325"/>
                    </a:lnTo>
                    <a:lnTo>
                      <a:pt x="165" y="323"/>
                    </a:lnTo>
                    <a:lnTo>
                      <a:pt x="163" y="323"/>
                    </a:lnTo>
                    <a:lnTo>
                      <a:pt x="163" y="321"/>
                    </a:lnTo>
                    <a:lnTo>
                      <a:pt x="163" y="323"/>
                    </a:lnTo>
                    <a:lnTo>
                      <a:pt x="163" y="321"/>
                    </a:lnTo>
                    <a:lnTo>
                      <a:pt x="161" y="321"/>
                    </a:lnTo>
                    <a:lnTo>
                      <a:pt x="159" y="321"/>
                    </a:lnTo>
                    <a:lnTo>
                      <a:pt x="159" y="323"/>
                    </a:lnTo>
                    <a:lnTo>
                      <a:pt x="157" y="323"/>
                    </a:lnTo>
                    <a:lnTo>
                      <a:pt x="157" y="321"/>
                    </a:lnTo>
                    <a:lnTo>
                      <a:pt x="155" y="321"/>
                    </a:lnTo>
                    <a:lnTo>
                      <a:pt x="153" y="321"/>
                    </a:lnTo>
                    <a:lnTo>
                      <a:pt x="153" y="320"/>
                    </a:lnTo>
                    <a:lnTo>
                      <a:pt x="151" y="320"/>
                    </a:lnTo>
                    <a:lnTo>
                      <a:pt x="151" y="318"/>
                    </a:lnTo>
                    <a:lnTo>
                      <a:pt x="150" y="318"/>
                    </a:lnTo>
                    <a:lnTo>
                      <a:pt x="150" y="316"/>
                    </a:lnTo>
                    <a:lnTo>
                      <a:pt x="148" y="316"/>
                    </a:lnTo>
                    <a:lnTo>
                      <a:pt x="146" y="316"/>
                    </a:lnTo>
                    <a:lnTo>
                      <a:pt x="144" y="316"/>
                    </a:lnTo>
                    <a:lnTo>
                      <a:pt x="142" y="316"/>
                    </a:lnTo>
                    <a:lnTo>
                      <a:pt x="142" y="318"/>
                    </a:lnTo>
                    <a:lnTo>
                      <a:pt x="140" y="316"/>
                    </a:lnTo>
                    <a:lnTo>
                      <a:pt x="138" y="316"/>
                    </a:lnTo>
                    <a:lnTo>
                      <a:pt x="136" y="314"/>
                    </a:lnTo>
                    <a:lnTo>
                      <a:pt x="134" y="314"/>
                    </a:lnTo>
                    <a:lnTo>
                      <a:pt x="134" y="312"/>
                    </a:lnTo>
                    <a:lnTo>
                      <a:pt x="134" y="310"/>
                    </a:lnTo>
                    <a:lnTo>
                      <a:pt x="132" y="310"/>
                    </a:lnTo>
                    <a:lnTo>
                      <a:pt x="134" y="310"/>
                    </a:lnTo>
                    <a:lnTo>
                      <a:pt x="136" y="308"/>
                    </a:lnTo>
                    <a:lnTo>
                      <a:pt x="138" y="308"/>
                    </a:lnTo>
                    <a:lnTo>
                      <a:pt x="140" y="306"/>
                    </a:lnTo>
                    <a:lnTo>
                      <a:pt x="142" y="306"/>
                    </a:lnTo>
                    <a:lnTo>
                      <a:pt x="142" y="304"/>
                    </a:lnTo>
                    <a:lnTo>
                      <a:pt x="144" y="304"/>
                    </a:lnTo>
                    <a:lnTo>
                      <a:pt x="142" y="304"/>
                    </a:lnTo>
                    <a:lnTo>
                      <a:pt x="144" y="304"/>
                    </a:lnTo>
                    <a:lnTo>
                      <a:pt x="146" y="302"/>
                    </a:lnTo>
                    <a:lnTo>
                      <a:pt x="148" y="302"/>
                    </a:lnTo>
                    <a:lnTo>
                      <a:pt x="150" y="302"/>
                    </a:lnTo>
                    <a:lnTo>
                      <a:pt x="151" y="302"/>
                    </a:lnTo>
                    <a:lnTo>
                      <a:pt x="153" y="302"/>
                    </a:lnTo>
                    <a:lnTo>
                      <a:pt x="155" y="302"/>
                    </a:lnTo>
                    <a:lnTo>
                      <a:pt x="157" y="300"/>
                    </a:lnTo>
                    <a:lnTo>
                      <a:pt x="159" y="300"/>
                    </a:lnTo>
                    <a:lnTo>
                      <a:pt x="161" y="300"/>
                    </a:lnTo>
                    <a:lnTo>
                      <a:pt x="161" y="298"/>
                    </a:lnTo>
                    <a:lnTo>
                      <a:pt x="163" y="298"/>
                    </a:lnTo>
                    <a:lnTo>
                      <a:pt x="165" y="298"/>
                    </a:lnTo>
                    <a:lnTo>
                      <a:pt x="165" y="296"/>
                    </a:lnTo>
                    <a:lnTo>
                      <a:pt x="167" y="298"/>
                    </a:lnTo>
                    <a:lnTo>
                      <a:pt x="167" y="296"/>
                    </a:lnTo>
                    <a:lnTo>
                      <a:pt x="165" y="296"/>
                    </a:lnTo>
                    <a:lnTo>
                      <a:pt x="165" y="298"/>
                    </a:lnTo>
                    <a:lnTo>
                      <a:pt x="163" y="298"/>
                    </a:lnTo>
                    <a:lnTo>
                      <a:pt x="163" y="296"/>
                    </a:lnTo>
                    <a:lnTo>
                      <a:pt x="165" y="296"/>
                    </a:lnTo>
                    <a:lnTo>
                      <a:pt x="163" y="296"/>
                    </a:lnTo>
                    <a:lnTo>
                      <a:pt x="165" y="296"/>
                    </a:lnTo>
                    <a:lnTo>
                      <a:pt x="167" y="296"/>
                    </a:lnTo>
                    <a:lnTo>
                      <a:pt x="169" y="296"/>
                    </a:lnTo>
                    <a:lnTo>
                      <a:pt x="169" y="295"/>
                    </a:lnTo>
                    <a:lnTo>
                      <a:pt x="167" y="295"/>
                    </a:lnTo>
                    <a:lnTo>
                      <a:pt x="167" y="296"/>
                    </a:lnTo>
                    <a:lnTo>
                      <a:pt x="167" y="295"/>
                    </a:lnTo>
                    <a:lnTo>
                      <a:pt x="169" y="295"/>
                    </a:lnTo>
                    <a:lnTo>
                      <a:pt x="167" y="295"/>
                    </a:lnTo>
                    <a:lnTo>
                      <a:pt x="167" y="293"/>
                    </a:lnTo>
                    <a:lnTo>
                      <a:pt x="169" y="293"/>
                    </a:lnTo>
                    <a:lnTo>
                      <a:pt x="171" y="293"/>
                    </a:lnTo>
                    <a:lnTo>
                      <a:pt x="169" y="293"/>
                    </a:lnTo>
                    <a:lnTo>
                      <a:pt x="171" y="293"/>
                    </a:lnTo>
                    <a:lnTo>
                      <a:pt x="171" y="291"/>
                    </a:lnTo>
                    <a:lnTo>
                      <a:pt x="173" y="291"/>
                    </a:lnTo>
                    <a:lnTo>
                      <a:pt x="175" y="291"/>
                    </a:lnTo>
                    <a:lnTo>
                      <a:pt x="176" y="291"/>
                    </a:lnTo>
                    <a:lnTo>
                      <a:pt x="178" y="291"/>
                    </a:lnTo>
                    <a:lnTo>
                      <a:pt x="176" y="291"/>
                    </a:lnTo>
                    <a:lnTo>
                      <a:pt x="178" y="291"/>
                    </a:lnTo>
                    <a:lnTo>
                      <a:pt x="176" y="291"/>
                    </a:lnTo>
                    <a:lnTo>
                      <a:pt x="178" y="293"/>
                    </a:lnTo>
                    <a:lnTo>
                      <a:pt x="176" y="293"/>
                    </a:lnTo>
                    <a:lnTo>
                      <a:pt x="178" y="293"/>
                    </a:lnTo>
                    <a:lnTo>
                      <a:pt x="178" y="291"/>
                    </a:lnTo>
                    <a:lnTo>
                      <a:pt x="176" y="291"/>
                    </a:lnTo>
                    <a:lnTo>
                      <a:pt x="178" y="291"/>
                    </a:lnTo>
                    <a:lnTo>
                      <a:pt x="180" y="291"/>
                    </a:lnTo>
                    <a:lnTo>
                      <a:pt x="182" y="291"/>
                    </a:lnTo>
                    <a:lnTo>
                      <a:pt x="184" y="291"/>
                    </a:lnTo>
                    <a:lnTo>
                      <a:pt x="182" y="291"/>
                    </a:lnTo>
                    <a:lnTo>
                      <a:pt x="184" y="291"/>
                    </a:lnTo>
                    <a:lnTo>
                      <a:pt x="186" y="291"/>
                    </a:lnTo>
                    <a:lnTo>
                      <a:pt x="188" y="291"/>
                    </a:lnTo>
                    <a:lnTo>
                      <a:pt x="190" y="291"/>
                    </a:lnTo>
                    <a:lnTo>
                      <a:pt x="192" y="291"/>
                    </a:lnTo>
                    <a:lnTo>
                      <a:pt x="192" y="289"/>
                    </a:lnTo>
                    <a:lnTo>
                      <a:pt x="194" y="289"/>
                    </a:lnTo>
                    <a:lnTo>
                      <a:pt x="196" y="289"/>
                    </a:lnTo>
                    <a:lnTo>
                      <a:pt x="198" y="289"/>
                    </a:lnTo>
                    <a:lnTo>
                      <a:pt x="200" y="289"/>
                    </a:lnTo>
                    <a:lnTo>
                      <a:pt x="198" y="289"/>
                    </a:lnTo>
                    <a:lnTo>
                      <a:pt x="200" y="289"/>
                    </a:lnTo>
                    <a:lnTo>
                      <a:pt x="201" y="289"/>
                    </a:lnTo>
                    <a:lnTo>
                      <a:pt x="203" y="289"/>
                    </a:lnTo>
                    <a:lnTo>
                      <a:pt x="205" y="289"/>
                    </a:lnTo>
                    <a:lnTo>
                      <a:pt x="207" y="289"/>
                    </a:lnTo>
                    <a:lnTo>
                      <a:pt x="209" y="289"/>
                    </a:lnTo>
                    <a:lnTo>
                      <a:pt x="211" y="289"/>
                    </a:lnTo>
                    <a:lnTo>
                      <a:pt x="213" y="289"/>
                    </a:lnTo>
                    <a:lnTo>
                      <a:pt x="215" y="289"/>
                    </a:lnTo>
                    <a:lnTo>
                      <a:pt x="217" y="289"/>
                    </a:lnTo>
                    <a:lnTo>
                      <a:pt x="219" y="289"/>
                    </a:lnTo>
                    <a:lnTo>
                      <a:pt x="217" y="289"/>
                    </a:lnTo>
                    <a:lnTo>
                      <a:pt x="219" y="289"/>
                    </a:lnTo>
                    <a:lnTo>
                      <a:pt x="221" y="287"/>
                    </a:lnTo>
                    <a:lnTo>
                      <a:pt x="223" y="287"/>
                    </a:lnTo>
                    <a:lnTo>
                      <a:pt x="223" y="289"/>
                    </a:lnTo>
                    <a:lnTo>
                      <a:pt x="221" y="289"/>
                    </a:lnTo>
                    <a:lnTo>
                      <a:pt x="223" y="289"/>
                    </a:lnTo>
                    <a:lnTo>
                      <a:pt x="223" y="287"/>
                    </a:lnTo>
                    <a:lnTo>
                      <a:pt x="224" y="287"/>
                    </a:lnTo>
                    <a:lnTo>
                      <a:pt x="226" y="287"/>
                    </a:lnTo>
                    <a:lnTo>
                      <a:pt x="226" y="285"/>
                    </a:lnTo>
                    <a:lnTo>
                      <a:pt x="228" y="285"/>
                    </a:lnTo>
                    <a:lnTo>
                      <a:pt x="230" y="285"/>
                    </a:lnTo>
                    <a:lnTo>
                      <a:pt x="232" y="285"/>
                    </a:lnTo>
                    <a:lnTo>
                      <a:pt x="234" y="285"/>
                    </a:lnTo>
                    <a:lnTo>
                      <a:pt x="238" y="285"/>
                    </a:lnTo>
                    <a:lnTo>
                      <a:pt x="238" y="283"/>
                    </a:lnTo>
                    <a:lnTo>
                      <a:pt x="240" y="283"/>
                    </a:lnTo>
                    <a:lnTo>
                      <a:pt x="242" y="283"/>
                    </a:lnTo>
                    <a:lnTo>
                      <a:pt x="244" y="283"/>
                    </a:lnTo>
                    <a:lnTo>
                      <a:pt x="246" y="285"/>
                    </a:lnTo>
                    <a:lnTo>
                      <a:pt x="248" y="285"/>
                    </a:lnTo>
                    <a:lnTo>
                      <a:pt x="249" y="285"/>
                    </a:lnTo>
                    <a:lnTo>
                      <a:pt x="249" y="287"/>
                    </a:lnTo>
                    <a:lnTo>
                      <a:pt x="248" y="287"/>
                    </a:lnTo>
                    <a:lnTo>
                      <a:pt x="246" y="285"/>
                    </a:lnTo>
                    <a:lnTo>
                      <a:pt x="246" y="287"/>
                    </a:lnTo>
                    <a:lnTo>
                      <a:pt x="244" y="287"/>
                    </a:lnTo>
                    <a:lnTo>
                      <a:pt x="246" y="287"/>
                    </a:lnTo>
                    <a:lnTo>
                      <a:pt x="246" y="285"/>
                    </a:lnTo>
                    <a:lnTo>
                      <a:pt x="246" y="287"/>
                    </a:lnTo>
                    <a:lnTo>
                      <a:pt x="248" y="287"/>
                    </a:lnTo>
                    <a:lnTo>
                      <a:pt x="249" y="287"/>
                    </a:lnTo>
                    <a:lnTo>
                      <a:pt x="248" y="287"/>
                    </a:lnTo>
                    <a:lnTo>
                      <a:pt x="246" y="287"/>
                    </a:lnTo>
                    <a:lnTo>
                      <a:pt x="246" y="289"/>
                    </a:lnTo>
                    <a:lnTo>
                      <a:pt x="246" y="287"/>
                    </a:lnTo>
                    <a:lnTo>
                      <a:pt x="246" y="289"/>
                    </a:lnTo>
                    <a:lnTo>
                      <a:pt x="246" y="287"/>
                    </a:lnTo>
                    <a:lnTo>
                      <a:pt x="248" y="289"/>
                    </a:lnTo>
                    <a:lnTo>
                      <a:pt x="248" y="287"/>
                    </a:lnTo>
                    <a:lnTo>
                      <a:pt x="248" y="289"/>
                    </a:lnTo>
                    <a:lnTo>
                      <a:pt x="248" y="287"/>
                    </a:lnTo>
                    <a:lnTo>
                      <a:pt x="248" y="289"/>
                    </a:lnTo>
                    <a:lnTo>
                      <a:pt x="246" y="289"/>
                    </a:lnTo>
                    <a:lnTo>
                      <a:pt x="246" y="287"/>
                    </a:lnTo>
                    <a:lnTo>
                      <a:pt x="246" y="289"/>
                    </a:lnTo>
                    <a:lnTo>
                      <a:pt x="244" y="289"/>
                    </a:lnTo>
                    <a:lnTo>
                      <a:pt x="242" y="289"/>
                    </a:lnTo>
                    <a:lnTo>
                      <a:pt x="240" y="289"/>
                    </a:lnTo>
                    <a:lnTo>
                      <a:pt x="240" y="291"/>
                    </a:lnTo>
                    <a:lnTo>
                      <a:pt x="238" y="291"/>
                    </a:lnTo>
                    <a:lnTo>
                      <a:pt x="238" y="293"/>
                    </a:lnTo>
                    <a:lnTo>
                      <a:pt x="238" y="295"/>
                    </a:lnTo>
                    <a:lnTo>
                      <a:pt x="240" y="295"/>
                    </a:lnTo>
                    <a:lnTo>
                      <a:pt x="238" y="295"/>
                    </a:lnTo>
                    <a:lnTo>
                      <a:pt x="238" y="296"/>
                    </a:lnTo>
                    <a:lnTo>
                      <a:pt x="236" y="296"/>
                    </a:lnTo>
                    <a:lnTo>
                      <a:pt x="238" y="296"/>
                    </a:lnTo>
                    <a:lnTo>
                      <a:pt x="238" y="295"/>
                    </a:lnTo>
                    <a:lnTo>
                      <a:pt x="240" y="295"/>
                    </a:lnTo>
                    <a:lnTo>
                      <a:pt x="240" y="296"/>
                    </a:lnTo>
                    <a:lnTo>
                      <a:pt x="238" y="296"/>
                    </a:lnTo>
                    <a:lnTo>
                      <a:pt x="238" y="298"/>
                    </a:lnTo>
                    <a:lnTo>
                      <a:pt x="240" y="298"/>
                    </a:lnTo>
                    <a:lnTo>
                      <a:pt x="238" y="298"/>
                    </a:lnTo>
                    <a:lnTo>
                      <a:pt x="240" y="298"/>
                    </a:lnTo>
                    <a:lnTo>
                      <a:pt x="238" y="298"/>
                    </a:lnTo>
                    <a:lnTo>
                      <a:pt x="240" y="300"/>
                    </a:lnTo>
                    <a:lnTo>
                      <a:pt x="240" y="302"/>
                    </a:lnTo>
                    <a:lnTo>
                      <a:pt x="242" y="302"/>
                    </a:lnTo>
                    <a:lnTo>
                      <a:pt x="242" y="304"/>
                    </a:lnTo>
                    <a:lnTo>
                      <a:pt x="244" y="304"/>
                    </a:lnTo>
                    <a:lnTo>
                      <a:pt x="246" y="304"/>
                    </a:lnTo>
                    <a:lnTo>
                      <a:pt x="244" y="304"/>
                    </a:lnTo>
                    <a:lnTo>
                      <a:pt x="246" y="304"/>
                    </a:lnTo>
                    <a:lnTo>
                      <a:pt x="248" y="304"/>
                    </a:lnTo>
                    <a:lnTo>
                      <a:pt x="249" y="304"/>
                    </a:lnTo>
                    <a:lnTo>
                      <a:pt x="251" y="304"/>
                    </a:lnTo>
                    <a:lnTo>
                      <a:pt x="253" y="304"/>
                    </a:lnTo>
                    <a:lnTo>
                      <a:pt x="255" y="304"/>
                    </a:lnTo>
                    <a:lnTo>
                      <a:pt x="255" y="306"/>
                    </a:lnTo>
                    <a:lnTo>
                      <a:pt x="255" y="304"/>
                    </a:lnTo>
                    <a:lnTo>
                      <a:pt x="257" y="306"/>
                    </a:lnTo>
                    <a:lnTo>
                      <a:pt x="259" y="306"/>
                    </a:lnTo>
                    <a:lnTo>
                      <a:pt x="259" y="304"/>
                    </a:lnTo>
                    <a:lnTo>
                      <a:pt x="259" y="306"/>
                    </a:lnTo>
                    <a:lnTo>
                      <a:pt x="259" y="304"/>
                    </a:lnTo>
                    <a:lnTo>
                      <a:pt x="259" y="306"/>
                    </a:lnTo>
                    <a:lnTo>
                      <a:pt x="261" y="306"/>
                    </a:lnTo>
                    <a:lnTo>
                      <a:pt x="263" y="306"/>
                    </a:lnTo>
                    <a:lnTo>
                      <a:pt x="265" y="306"/>
                    </a:lnTo>
                    <a:lnTo>
                      <a:pt x="265" y="304"/>
                    </a:lnTo>
                    <a:lnTo>
                      <a:pt x="265" y="306"/>
                    </a:lnTo>
                    <a:lnTo>
                      <a:pt x="267" y="306"/>
                    </a:lnTo>
                    <a:lnTo>
                      <a:pt x="265" y="304"/>
                    </a:lnTo>
                    <a:lnTo>
                      <a:pt x="267" y="304"/>
                    </a:lnTo>
                    <a:lnTo>
                      <a:pt x="267" y="306"/>
                    </a:lnTo>
                    <a:lnTo>
                      <a:pt x="269" y="306"/>
                    </a:lnTo>
                    <a:lnTo>
                      <a:pt x="271" y="306"/>
                    </a:lnTo>
                    <a:lnTo>
                      <a:pt x="271" y="308"/>
                    </a:lnTo>
                    <a:lnTo>
                      <a:pt x="273" y="308"/>
                    </a:lnTo>
                    <a:lnTo>
                      <a:pt x="274" y="308"/>
                    </a:lnTo>
                    <a:lnTo>
                      <a:pt x="276" y="310"/>
                    </a:lnTo>
                    <a:lnTo>
                      <a:pt x="274" y="310"/>
                    </a:lnTo>
                    <a:lnTo>
                      <a:pt x="276" y="312"/>
                    </a:lnTo>
                    <a:lnTo>
                      <a:pt x="274" y="312"/>
                    </a:lnTo>
                    <a:lnTo>
                      <a:pt x="276" y="312"/>
                    </a:lnTo>
                    <a:lnTo>
                      <a:pt x="276" y="314"/>
                    </a:lnTo>
                    <a:lnTo>
                      <a:pt x="276" y="316"/>
                    </a:lnTo>
                    <a:lnTo>
                      <a:pt x="274" y="316"/>
                    </a:lnTo>
                    <a:lnTo>
                      <a:pt x="274" y="318"/>
                    </a:lnTo>
                    <a:lnTo>
                      <a:pt x="274" y="316"/>
                    </a:lnTo>
                    <a:lnTo>
                      <a:pt x="274" y="318"/>
                    </a:lnTo>
                    <a:lnTo>
                      <a:pt x="273" y="318"/>
                    </a:lnTo>
                    <a:lnTo>
                      <a:pt x="271" y="318"/>
                    </a:lnTo>
                    <a:lnTo>
                      <a:pt x="271" y="320"/>
                    </a:lnTo>
                    <a:lnTo>
                      <a:pt x="269" y="320"/>
                    </a:lnTo>
                    <a:lnTo>
                      <a:pt x="269" y="321"/>
                    </a:lnTo>
                    <a:lnTo>
                      <a:pt x="271" y="321"/>
                    </a:lnTo>
                    <a:lnTo>
                      <a:pt x="269" y="323"/>
                    </a:lnTo>
                    <a:lnTo>
                      <a:pt x="271" y="323"/>
                    </a:lnTo>
                    <a:lnTo>
                      <a:pt x="271" y="325"/>
                    </a:lnTo>
                    <a:lnTo>
                      <a:pt x="273" y="325"/>
                    </a:lnTo>
                    <a:lnTo>
                      <a:pt x="273" y="327"/>
                    </a:lnTo>
                    <a:lnTo>
                      <a:pt x="271" y="327"/>
                    </a:lnTo>
                    <a:lnTo>
                      <a:pt x="271" y="329"/>
                    </a:lnTo>
                    <a:lnTo>
                      <a:pt x="273" y="329"/>
                    </a:lnTo>
                    <a:lnTo>
                      <a:pt x="273" y="331"/>
                    </a:lnTo>
                    <a:lnTo>
                      <a:pt x="274" y="331"/>
                    </a:lnTo>
                    <a:lnTo>
                      <a:pt x="276" y="331"/>
                    </a:lnTo>
                    <a:lnTo>
                      <a:pt x="276" y="333"/>
                    </a:lnTo>
                    <a:lnTo>
                      <a:pt x="274" y="333"/>
                    </a:lnTo>
                    <a:lnTo>
                      <a:pt x="274" y="335"/>
                    </a:lnTo>
                    <a:lnTo>
                      <a:pt x="276" y="337"/>
                    </a:lnTo>
                    <a:lnTo>
                      <a:pt x="276" y="339"/>
                    </a:lnTo>
                    <a:lnTo>
                      <a:pt x="278" y="339"/>
                    </a:lnTo>
                    <a:lnTo>
                      <a:pt x="276" y="339"/>
                    </a:lnTo>
                    <a:lnTo>
                      <a:pt x="278" y="341"/>
                    </a:lnTo>
                    <a:lnTo>
                      <a:pt x="276" y="341"/>
                    </a:lnTo>
                    <a:lnTo>
                      <a:pt x="278" y="341"/>
                    </a:lnTo>
                    <a:lnTo>
                      <a:pt x="278" y="339"/>
                    </a:lnTo>
                    <a:lnTo>
                      <a:pt x="276" y="339"/>
                    </a:lnTo>
                    <a:lnTo>
                      <a:pt x="276" y="337"/>
                    </a:lnTo>
                    <a:lnTo>
                      <a:pt x="274" y="335"/>
                    </a:lnTo>
                    <a:lnTo>
                      <a:pt x="274" y="333"/>
                    </a:lnTo>
                    <a:lnTo>
                      <a:pt x="276" y="333"/>
                    </a:lnTo>
                    <a:lnTo>
                      <a:pt x="276" y="331"/>
                    </a:lnTo>
                    <a:lnTo>
                      <a:pt x="274" y="331"/>
                    </a:lnTo>
                    <a:lnTo>
                      <a:pt x="273" y="331"/>
                    </a:lnTo>
                    <a:lnTo>
                      <a:pt x="273" y="329"/>
                    </a:lnTo>
                    <a:lnTo>
                      <a:pt x="271" y="329"/>
                    </a:lnTo>
                    <a:lnTo>
                      <a:pt x="271" y="327"/>
                    </a:lnTo>
                    <a:lnTo>
                      <a:pt x="273" y="327"/>
                    </a:lnTo>
                    <a:lnTo>
                      <a:pt x="273" y="325"/>
                    </a:lnTo>
                    <a:lnTo>
                      <a:pt x="271" y="325"/>
                    </a:lnTo>
                    <a:lnTo>
                      <a:pt x="271" y="323"/>
                    </a:lnTo>
                    <a:lnTo>
                      <a:pt x="269" y="323"/>
                    </a:lnTo>
                    <a:lnTo>
                      <a:pt x="271" y="323"/>
                    </a:lnTo>
                    <a:lnTo>
                      <a:pt x="271" y="321"/>
                    </a:lnTo>
                    <a:lnTo>
                      <a:pt x="269" y="321"/>
                    </a:lnTo>
                    <a:lnTo>
                      <a:pt x="271" y="320"/>
                    </a:lnTo>
                    <a:lnTo>
                      <a:pt x="271" y="318"/>
                    </a:lnTo>
                    <a:lnTo>
                      <a:pt x="273" y="318"/>
                    </a:lnTo>
                    <a:lnTo>
                      <a:pt x="274" y="316"/>
                    </a:lnTo>
                    <a:lnTo>
                      <a:pt x="276" y="316"/>
                    </a:lnTo>
                    <a:lnTo>
                      <a:pt x="276" y="318"/>
                    </a:lnTo>
                    <a:lnTo>
                      <a:pt x="276" y="316"/>
                    </a:lnTo>
                    <a:lnTo>
                      <a:pt x="276" y="314"/>
                    </a:lnTo>
                    <a:lnTo>
                      <a:pt x="276" y="312"/>
                    </a:lnTo>
                    <a:lnTo>
                      <a:pt x="276" y="310"/>
                    </a:lnTo>
                    <a:lnTo>
                      <a:pt x="278" y="310"/>
                    </a:lnTo>
                    <a:lnTo>
                      <a:pt x="276" y="310"/>
                    </a:lnTo>
                    <a:lnTo>
                      <a:pt x="278" y="310"/>
                    </a:lnTo>
                    <a:lnTo>
                      <a:pt x="280" y="310"/>
                    </a:lnTo>
                    <a:lnTo>
                      <a:pt x="280" y="308"/>
                    </a:lnTo>
                    <a:lnTo>
                      <a:pt x="282" y="308"/>
                    </a:lnTo>
                    <a:lnTo>
                      <a:pt x="284" y="308"/>
                    </a:lnTo>
                    <a:lnTo>
                      <a:pt x="286" y="308"/>
                    </a:lnTo>
                    <a:lnTo>
                      <a:pt x="288" y="308"/>
                    </a:lnTo>
                    <a:lnTo>
                      <a:pt x="286" y="308"/>
                    </a:lnTo>
                    <a:lnTo>
                      <a:pt x="288" y="308"/>
                    </a:lnTo>
                    <a:lnTo>
                      <a:pt x="290" y="308"/>
                    </a:lnTo>
                    <a:lnTo>
                      <a:pt x="292" y="308"/>
                    </a:lnTo>
                    <a:lnTo>
                      <a:pt x="294" y="308"/>
                    </a:lnTo>
                    <a:lnTo>
                      <a:pt x="296" y="308"/>
                    </a:lnTo>
                    <a:lnTo>
                      <a:pt x="296" y="310"/>
                    </a:lnTo>
                    <a:lnTo>
                      <a:pt x="296" y="308"/>
                    </a:lnTo>
                    <a:lnTo>
                      <a:pt x="296" y="310"/>
                    </a:lnTo>
                    <a:lnTo>
                      <a:pt x="296" y="308"/>
                    </a:lnTo>
                    <a:lnTo>
                      <a:pt x="297" y="308"/>
                    </a:lnTo>
                    <a:lnTo>
                      <a:pt x="299" y="310"/>
                    </a:lnTo>
                    <a:lnTo>
                      <a:pt x="297" y="310"/>
                    </a:lnTo>
                    <a:lnTo>
                      <a:pt x="297" y="308"/>
                    </a:lnTo>
                    <a:lnTo>
                      <a:pt x="299" y="308"/>
                    </a:lnTo>
                    <a:lnTo>
                      <a:pt x="299" y="310"/>
                    </a:lnTo>
                    <a:lnTo>
                      <a:pt x="301" y="310"/>
                    </a:lnTo>
                    <a:lnTo>
                      <a:pt x="303" y="310"/>
                    </a:lnTo>
                    <a:lnTo>
                      <a:pt x="305" y="312"/>
                    </a:lnTo>
                    <a:lnTo>
                      <a:pt x="305" y="310"/>
                    </a:lnTo>
                    <a:lnTo>
                      <a:pt x="307" y="310"/>
                    </a:lnTo>
                    <a:lnTo>
                      <a:pt x="309" y="308"/>
                    </a:lnTo>
                    <a:lnTo>
                      <a:pt x="311" y="308"/>
                    </a:lnTo>
                    <a:lnTo>
                      <a:pt x="313" y="308"/>
                    </a:lnTo>
                    <a:lnTo>
                      <a:pt x="315" y="308"/>
                    </a:lnTo>
                    <a:lnTo>
                      <a:pt x="317" y="310"/>
                    </a:lnTo>
                    <a:lnTo>
                      <a:pt x="319" y="310"/>
                    </a:lnTo>
                    <a:lnTo>
                      <a:pt x="319" y="312"/>
                    </a:lnTo>
                    <a:lnTo>
                      <a:pt x="321" y="312"/>
                    </a:lnTo>
                    <a:lnTo>
                      <a:pt x="322" y="314"/>
                    </a:lnTo>
                    <a:lnTo>
                      <a:pt x="322" y="316"/>
                    </a:lnTo>
                    <a:lnTo>
                      <a:pt x="324" y="316"/>
                    </a:lnTo>
                    <a:lnTo>
                      <a:pt x="326" y="316"/>
                    </a:lnTo>
                    <a:lnTo>
                      <a:pt x="328" y="318"/>
                    </a:lnTo>
                    <a:lnTo>
                      <a:pt x="326" y="316"/>
                    </a:lnTo>
                    <a:lnTo>
                      <a:pt x="328" y="316"/>
                    </a:lnTo>
                    <a:lnTo>
                      <a:pt x="326" y="316"/>
                    </a:lnTo>
                    <a:lnTo>
                      <a:pt x="328" y="316"/>
                    </a:lnTo>
                    <a:lnTo>
                      <a:pt x="328" y="318"/>
                    </a:lnTo>
                    <a:lnTo>
                      <a:pt x="330" y="318"/>
                    </a:lnTo>
                    <a:lnTo>
                      <a:pt x="332" y="318"/>
                    </a:lnTo>
                    <a:lnTo>
                      <a:pt x="334" y="318"/>
                    </a:lnTo>
                    <a:lnTo>
                      <a:pt x="336" y="320"/>
                    </a:lnTo>
                    <a:lnTo>
                      <a:pt x="338" y="321"/>
                    </a:lnTo>
                    <a:lnTo>
                      <a:pt x="340" y="321"/>
                    </a:lnTo>
                    <a:lnTo>
                      <a:pt x="342" y="321"/>
                    </a:lnTo>
                    <a:lnTo>
                      <a:pt x="344" y="323"/>
                    </a:lnTo>
                    <a:lnTo>
                      <a:pt x="346" y="323"/>
                    </a:lnTo>
                    <a:lnTo>
                      <a:pt x="346" y="325"/>
                    </a:lnTo>
                    <a:lnTo>
                      <a:pt x="347" y="325"/>
                    </a:lnTo>
                    <a:lnTo>
                      <a:pt x="349" y="325"/>
                    </a:lnTo>
                    <a:lnTo>
                      <a:pt x="351" y="325"/>
                    </a:lnTo>
                    <a:lnTo>
                      <a:pt x="353" y="325"/>
                    </a:lnTo>
                    <a:lnTo>
                      <a:pt x="355" y="325"/>
                    </a:lnTo>
                    <a:lnTo>
                      <a:pt x="355" y="327"/>
                    </a:lnTo>
                    <a:lnTo>
                      <a:pt x="357" y="327"/>
                    </a:lnTo>
                    <a:lnTo>
                      <a:pt x="359" y="329"/>
                    </a:lnTo>
                    <a:lnTo>
                      <a:pt x="361" y="329"/>
                    </a:lnTo>
                    <a:lnTo>
                      <a:pt x="363" y="329"/>
                    </a:lnTo>
                    <a:lnTo>
                      <a:pt x="365" y="329"/>
                    </a:lnTo>
                    <a:lnTo>
                      <a:pt x="365" y="331"/>
                    </a:lnTo>
                    <a:lnTo>
                      <a:pt x="367" y="331"/>
                    </a:lnTo>
                    <a:lnTo>
                      <a:pt x="369" y="331"/>
                    </a:lnTo>
                    <a:lnTo>
                      <a:pt x="369" y="333"/>
                    </a:lnTo>
                    <a:lnTo>
                      <a:pt x="370" y="333"/>
                    </a:lnTo>
                    <a:lnTo>
                      <a:pt x="370" y="331"/>
                    </a:lnTo>
                    <a:lnTo>
                      <a:pt x="370" y="333"/>
                    </a:lnTo>
                    <a:lnTo>
                      <a:pt x="370" y="335"/>
                    </a:lnTo>
                    <a:lnTo>
                      <a:pt x="370" y="337"/>
                    </a:lnTo>
                    <a:lnTo>
                      <a:pt x="370" y="339"/>
                    </a:lnTo>
                    <a:lnTo>
                      <a:pt x="370" y="341"/>
                    </a:lnTo>
                    <a:lnTo>
                      <a:pt x="369" y="341"/>
                    </a:lnTo>
                    <a:lnTo>
                      <a:pt x="369" y="343"/>
                    </a:lnTo>
                    <a:lnTo>
                      <a:pt x="370" y="343"/>
                    </a:lnTo>
                    <a:lnTo>
                      <a:pt x="369" y="341"/>
                    </a:lnTo>
                    <a:lnTo>
                      <a:pt x="370" y="341"/>
                    </a:lnTo>
                    <a:lnTo>
                      <a:pt x="370" y="343"/>
                    </a:lnTo>
                    <a:lnTo>
                      <a:pt x="372" y="343"/>
                    </a:lnTo>
                    <a:lnTo>
                      <a:pt x="372" y="345"/>
                    </a:lnTo>
                    <a:lnTo>
                      <a:pt x="374" y="346"/>
                    </a:lnTo>
                    <a:lnTo>
                      <a:pt x="372" y="346"/>
                    </a:lnTo>
                    <a:lnTo>
                      <a:pt x="372" y="348"/>
                    </a:lnTo>
                    <a:lnTo>
                      <a:pt x="370" y="348"/>
                    </a:lnTo>
                    <a:lnTo>
                      <a:pt x="369" y="348"/>
                    </a:lnTo>
                    <a:lnTo>
                      <a:pt x="370" y="348"/>
                    </a:lnTo>
                    <a:lnTo>
                      <a:pt x="369" y="348"/>
                    </a:lnTo>
                    <a:lnTo>
                      <a:pt x="367" y="348"/>
                    </a:lnTo>
                    <a:lnTo>
                      <a:pt x="365" y="348"/>
                    </a:lnTo>
                    <a:lnTo>
                      <a:pt x="367" y="350"/>
                    </a:lnTo>
                    <a:lnTo>
                      <a:pt x="365" y="350"/>
                    </a:lnTo>
                    <a:lnTo>
                      <a:pt x="367" y="350"/>
                    </a:lnTo>
                    <a:lnTo>
                      <a:pt x="365" y="352"/>
                    </a:lnTo>
                    <a:lnTo>
                      <a:pt x="365" y="350"/>
                    </a:lnTo>
                    <a:lnTo>
                      <a:pt x="363" y="350"/>
                    </a:lnTo>
                    <a:lnTo>
                      <a:pt x="363" y="352"/>
                    </a:lnTo>
                    <a:lnTo>
                      <a:pt x="361" y="352"/>
                    </a:lnTo>
                    <a:lnTo>
                      <a:pt x="363" y="352"/>
                    </a:lnTo>
                    <a:lnTo>
                      <a:pt x="363" y="350"/>
                    </a:lnTo>
                    <a:lnTo>
                      <a:pt x="365" y="350"/>
                    </a:lnTo>
                    <a:lnTo>
                      <a:pt x="365" y="352"/>
                    </a:lnTo>
                    <a:lnTo>
                      <a:pt x="367" y="352"/>
                    </a:lnTo>
                    <a:lnTo>
                      <a:pt x="367" y="350"/>
                    </a:lnTo>
                    <a:lnTo>
                      <a:pt x="365" y="348"/>
                    </a:lnTo>
                    <a:lnTo>
                      <a:pt x="367" y="348"/>
                    </a:lnTo>
                    <a:lnTo>
                      <a:pt x="369" y="348"/>
                    </a:lnTo>
                    <a:lnTo>
                      <a:pt x="370" y="348"/>
                    </a:lnTo>
                    <a:lnTo>
                      <a:pt x="372" y="348"/>
                    </a:lnTo>
                    <a:lnTo>
                      <a:pt x="372" y="346"/>
                    </a:lnTo>
                    <a:lnTo>
                      <a:pt x="374" y="346"/>
                    </a:lnTo>
                    <a:lnTo>
                      <a:pt x="376" y="346"/>
                    </a:lnTo>
                    <a:lnTo>
                      <a:pt x="376" y="348"/>
                    </a:lnTo>
                    <a:lnTo>
                      <a:pt x="376" y="350"/>
                    </a:lnTo>
                    <a:lnTo>
                      <a:pt x="374" y="350"/>
                    </a:lnTo>
                    <a:lnTo>
                      <a:pt x="374" y="352"/>
                    </a:lnTo>
                    <a:lnTo>
                      <a:pt x="372" y="352"/>
                    </a:lnTo>
                    <a:lnTo>
                      <a:pt x="374" y="352"/>
                    </a:lnTo>
                    <a:lnTo>
                      <a:pt x="372" y="352"/>
                    </a:lnTo>
                    <a:lnTo>
                      <a:pt x="374" y="354"/>
                    </a:lnTo>
                    <a:lnTo>
                      <a:pt x="372" y="356"/>
                    </a:lnTo>
                    <a:lnTo>
                      <a:pt x="370" y="358"/>
                    </a:lnTo>
                    <a:lnTo>
                      <a:pt x="370" y="360"/>
                    </a:lnTo>
                    <a:lnTo>
                      <a:pt x="369" y="362"/>
                    </a:lnTo>
                    <a:lnTo>
                      <a:pt x="367" y="362"/>
                    </a:lnTo>
                    <a:lnTo>
                      <a:pt x="365" y="362"/>
                    </a:lnTo>
                    <a:lnTo>
                      <a:pt x="365" y="364"/>
                    </a:lnTo>
                    <a:lnTo>
                      <a:pt x="365" y="366"/>
                    </a:lnTo>
                    <a:lnTo>
                      <a:pt x="363" y="366"/>
                    </a:lnTo>
                    <a:lnTo>
                      <a:pt x="363" y="368"/>
                    </a:lnTo>
                    <a:lnTo>
                      <a:pt x="363" y="370"/>
                    </a:lnTo>
                    <a:lnTo>
                      <a:pt x="361" y="370"/>
                    </a:lnTo>
                    <a:lnTo>
                      <a:pt x="361" y="371"/>
                    </a:lnTo>
                    <a:lnTo>
                      <a:pt x="361" y="373"/>
                    </a:lnTo>
                    <a:lnTo>
                      <a:pt x="361" y="375"/>
                    </a:lnTo>
                    <a:lnTo>
                      <a:pt x="359" y="375"/>
                    </a:lnTo>
                    <a:lnTo>
                      <a:pt x="359" y="377"/>
                    </a:lnTo>
                    <a:lnTo>
                      <a:pt x="357" y="379"/>
                    </a:lnTo>
                    <a:lnTo>
                      <a:pt x="357" y="381"/>
                    </a:lnTo>
                    <a:lnTo>
                      <a:pt x="359" y="381"/>
                    </a:lnTo>
                    <a:lnTo>
                      <a:pt x="357" y="381"/>
                    </a:lnTo>
                    <a:lnTo>
                      <a:pt x="359" y="381"/>
                    </a:lnTo>
                    <a:lnTo>
                      <a:pt x="359" y="383"/>
                    </a:lnTo>
                    <a:lnTo>
                      <a:pt x="361" y="383"/>
                    </a:lnTo>
                    <a:lnTo>
                      <a:pt x="359" y="383"/>
                    </a:lnTo>
                    <a:lnTo>
                      <a:pt x="359" y="385"/>
                    </a:lnTo>
                    <a:lnTo>
                      <a:pt x="357" y="385"/>
                    </a:lnTo>
                    <a:lnTo>
                      <a:pt x="357" y="387"/>
                    </a:lnTo>
                    <a:lnTo>
                      <a:pt x="357" y="389"/>
                    </a:lnTo>
                    <a:lnTo>
                      <a:pt x="359" y="389"/>
                    </a:lnTo>
                    <a:lnTo>
                      <a:pt x="359" y="391"/>
                    </a:lnTo>
                    <a:lnTo>
                      <a:pt x="357" y="389"/>
                    </a:lnTo>
                    <a:lnTo>
                      <a:pt x="357" y="391"/>
                    </a:lnTo>
                    <a:lnTo>
                      <a:pt x="359" y="391"/>
                    </a:lnTo>
                    <a:lnTo>
                      <a:pt x="359" y="393"/>
                    </a:lnTo>
                    <a:lnTo>
                      <a:pt x="359" y="395"/>
                    </a:lnTo>
                    <a:lnTo>
                      <a:pt x="357" y="396"/>
                    </a:lnTo>
                    <a:lnTo>
                      <a:pt x="357" y="398"/>
                    </a:lnTo>
                    <a:lnTo>
                      <a:pt x="357" y="400"/>
                    </a:lnTo>
                    <a:lnTo>
                      <a:pt x="359" y="402"/>
                    </a:lnTo>
                    <a:lnTo>
                      <a:pt x="359" y="404"/>
                    </a:lnTo>
                    <a:lnTo>
                      <a:pt x="359" y="406"/>
                    </a:lnTo>
                    <a:lnTo>
                      <a:pt x="359" y="408"/>
                    </a:lnTo>
                    <a:lnTo>
                      <a:pt x="359" y="410"/>
                    </a:lnTo>
                    <a:lnTo>
                      <a:pt x="359" y="412"/>
                    </a:lnTo>
                    <a:lnTo>
                      <a:pt x="359" y="414"/>
                    </a:lnTo>
                    <a:lnTo>
                      <a:pt x="361" y="414"/>
                    </a:lnTo>
                    <a:lnTo>
                      <a:pt x="363" y="414"/>
                    </a:lnTo>
                    <a:lnTo>
                      <a:pt x="361" y="414"/>
                    </a:lnTo>
                    <a:lnTo>
                      <a:pt x="363" y="414"/>
                    </a:lnTo>
                    <a:lnTo>
                      <a:pt x="365" y="414"/>
                    </a:lnTo>
                    <a:lnTo>
                      <a:pt x="367" y="414"/>
                    </a:lnTo>
                    <a:lnTo>
                      <a:pt x="367" y="416"/>
                    </a:lnTo>
                    <a:lnTo>
                      <a:pt x="367" y="418"/>
                    </a:lnTo>
                    <a:lnTo>
                      <a:pt x="367" y="420"/>
                    </a:lnTo>
                    <a:lnTo>
                      <a:pt x="365" y="420"/>
                    </a:lnTo>
                    <a:lnTo>
                      <a:pt x="363" y="421"/>
                    </a:lnTo>
                    <a:lnTo>
                      <a:pt x="361" y="421"/>
                    </a:lnTo>
                    <a:lnTo>
                      <a:pt x="363" y="421"/>
                    </a:lnTo>
                    <a:lnTo>
                      <a:pt x="361" y="421"/>
                    </a:lnTo>
                    <a:lnTo>
                      <a:pt x="361" y="423"/>
                    </a:lnTo>
                    <a:lnTo>
                      <a:pt x="359" y="423"/>
                    </a:lnTo>
                    <a:lnTo>
                      <a:pt x="359" y="425"/>
                    </a:lnTo>
                    <a:lnTo>
                      <a:pt x="357" y="427"/>
                    </a:lnTo>
                    <a:lnTo>
                      <a:pt x="355" y="427"/>
                    </a:lnTo>
                    <a:lnTo>
                      <a:pt x="353" y="427"/>
                    </a:lnTo>
                    <a:lnTo>
                      <a:pt x="351" y="427"/>
                    </a:lnTo>
                    <a:lnTo>
                      <a:pt x="349" y="427"/>
                    </a:lnTo>
                    <a:lnTo>
                      <a:pt x="347" y="427"/>
                    </a:lnTo>
                    <a:lnTo>
                      <a:pt x="346" y="427"/>
                    </a:lnTo>
                    <a:lnTo>
                      <a:pt x="346" y="429"/>
                    </a:lnTo>
                    <a:lnTo>
                      <a:pt x="344" y="429"/>
                    </a:lnTo>
                    <a:lnTo>
                      <a:pt x="344" y="427"/>
                    </a:lnTo>
                    <a:lnTo>
                      <a:pt x="344" y="429"/>
                    </a:lnTo>
                    <a:lnTo>
                      <a:pt x="342" y="431"/>
                    </a:lnTo>
                    <a:lnTo>
                      <a:pt x="340" y="431"/>
                    </a:lnTo>
                    <a:lnTo>
                      <a:pt x="340" y="433"/>
                    </a:lnTo>
                    <a:lnTo>
                      <a:pt x="338" y="433"/>
                    </a:lnTo>
                    <a:lnTo>
                      <a:pt x="336" y="433"/>
                    </a:lnTo>
                    <a:lnTo>
                      <a:pt x="334" y="433"/>
                    </a:lnTo>
                    <a:lnTo>
                      <a:pt x="334" y="435"/>
                    </a:lnTo>
                    <a:lnTo>
                      <a:pt x="332" y="435"/>
                    </a:lnTo>
                    <a:lnTo>
                      <a:pt x="330" y="435"/>
                    </a:lnTo>
                    <a:lnTo>
                      <a:pt x="328" y="435"/>
                    </a:lnTo>
                    <a:lnTo>
                      <a:pt x="328" y="437"/>
                    </a:lnTo>
                    <a:lnTo>
                      <a:pt x="326" y="437"/>
                    </a:lnTo>
                    <a:lnTo>
                      <a:pt x="324" y="437"/>
                    </a:lnTo>
                    <a:lnTo>
                      <a:pt x="322" y="437"/>
                    </a:lnTo>
                    <a:lnTo>
                      <a:pt x="324" y="437"/>
                    </a:lnTo>
                    <a:lnTo>
                      <a:pt x="322" y="437"/>
                    </a:lnTo>
                    <a:lnTo>
                      <a:pt x="321" y="437"/>
                    </a:lnTo>
                    <a:lnTo>
                      <a:pt x="321" y="439"/>
                    </a:lnTo>
                    <a:lnTo>
                      <a:pt x="319" y="439"/>
                    </a:lnTo>
                    <a:lnTo>
                      <a:pt x="317" y="439"/>
                    </a:lnTo>
                    <a:lnTo>
                      <a:pt x="317" y="437"/>
                    </a:lnTo>
                    <a:lnTo>
                      <a:pt x="315" y="437"/>
                    </a:lnTo>
                    <a:lnTo>
                      <a:pt x="313" y="437"/>
                    </a:lnTo>
                    <a:lnTo>
                      <a:pt x="311" y="439"/>
                    </a:lnTo>
                    <a:lnTo>
                      <a:pt x="313" y="439"/>
                    </a:lnTo>
                    <a:lnTo>
                      <a:pt x="315" y="439"/>
                    </a:lnTo>
                    <a:lnTo>
                      <a:pt x="317" y="439"/>
                    </a:lnTo>
                    <a:lnTo>
                      <a:pt x="319" y="439"/>
                    </a:lnTo>
                    <a:lnTo>
                      <a:pt x="321" y="439"/>
                    </a:lnTo>
                    <a:lnTo>
                      <a:pt x="322" y="439"/>
                    </a:lnTo>
                    <a:lnTo>
                      <a:pt x="322" y="437"/>
                    </a:lnTo>
                    <a:lnTo>
                      <a:pt x="324" y="437"/>
                    </a:lnTo>
                    <a:lnTo>
                      <a:pt x="328" y="437"/>
                    </a:lnTo>
                    <a:lnTo>
                      <a:pt x="330" y="435"/>
                    </a:lnTo>
                    <a:lnTo>
                      <a:pt x="332" y="435"/>
                    </a:lnTo>
                    <a:lnTo>
                      <a:pt x="334" y="435"/>
                    </a:lnTo>
                    <a:lnTo>
                      <a:pt x="332" y="435"/>
                    </a:lnTo>
                    <a:lnTo>
                      <a:pt x="334" y="435"/>
                    </a:lnTo>
                    <a:lnTo>
                      <a:pt x="334" y="433"/>
                    </a:lnTo>
                    <a:lnTo>
                      <a:pt x="336" y="433"/>
                    </a:lnTo>
                    <a:lnTo>
                      <a:pt x="338" y="433"/>
                    </a:lnTo>
                    <a:lnTo>
                      <a:pt x="340" y="433"/>
                    </a:lnTo>
                    <a:lnTo>
                      <a:pt x="340" y="431"/>
                    </a:lnTo>
                    <a:lnTo>
                      <a:pt x="342" y="431"/>
                    </a:lnTo>
                    <a:lnTo>
                      <a:pt x="342" y="429"/>
                    </a:lnTo>
                    <a:lnTo>
                      <a:pt x="344" y="429"/>
                    </a:lnTo>
                    <a:lnTo>
                      <a:pt x="346" y="429"/>
                    </a:lnTo>
                    <a:lnTo>
                      <a:pt x="349" y="427"/>
                    </a:lnTo>
                    <a:lnTo>
                      <a:pt x="351" y="427"/>
                    </a:lnTo>
                    <a:lnTo>
                      <a:pt x="353" y="427"/>
                    </a:lnTo>
                    <a:lnTo>
                      <a:pt x="355" y="427"/>
                    </a:lnTo>
                    <a:lnTo>
                      <a:pt x="357" y="427"/>
                    </a:lnTo>
                    <a:lnTo>
                      <a:pt x="359" y="427"/>
                    </a:lnTo>
                    <a:lnTo>
                      <a:pt x="357" y="427"/>
                    </a:lnTo>
                    <a:lnTo>
                      <a:pt x="359" y="427"/>
                    </a:lnTo>
                    <a:lnTo>
                      <a:pt x="359" y="425"/>
                    </a:lnTo>
                    <a:lnTo>
                      <a:pt x="359" y="423"/>
                    </a:lnTo>
                    <a:lnTo>
                      <a:pt x="361" y="423"/>
                    </a:lnTo>
                    <a:lnTo>
                      <a:pt x="361" y="421"/>
                    </a:lnTo>
                    <a:lnTo>
                      <a:pt x="363" y="421"/>
                    </a:lnTo>
                    <a:lnTo>
                      <a:pt x="365" y="421"/>
                    </a:lnTo>
                    <a:lnTo>
                      <a:pt x="365" y="420"/>
                    </a:lnTo>
                    <a:lnTo>
                      <a:pt x="367" y="420"/>
                    </a:lnTo>
                    <a:lnTo>
                      <a:pt x="367" y="418"/>
                    </a:lnTo>
                    <a:lnTo>
                      <a:pt x="369" y="416"/>
                    </a:lnTo>
                    <a:lnTo>
                      <a:pt x="367" y="414"/>
                    </a:lnTo>
                    <a:lnTo>
                      <a:pt x="365" y="414"/>
                    </a:lnTo>
                    <a:lnTo>
                      <a:pt x="363" y="414"/>
                    </a:lnTo>
                    <a:lnTo>
                      <a:pt x="361" y="414"/>
                    </a:lnTo>
                    <a:lnTo>
                      <a:pt x="361" y="412"/>
                    </a:lnTo>
                    <a:lnTo>
                      <a:pt x="359" y="412"/>
                    </a:lnTo>
                    <a:lnTo>
                      <a:pt x="359" y="410"/>
                    </a:lnTo>
                    <a:lnTo>
                      <a:pt x="359" y="408"/>
                    </a:lnTo>
                    <a:lnTo>
                      <a:pt x="359" y="406"/>
                    </a:lnTo>
                    <a:lnTo>
                      <a:pt x="359" y="404"/>
                    </a:lnTo>
                    <a:lnTo>
                      <a:pt x="361" y="402"/>
                    </a:lnTo>
                    <a:lnTo>
                      <a:pt x="359" y="402"/>
                    </a:lnTo>
                    <a:lnTo>
                      <a:pt x="359" y="400"/>
                    </a:lnTo>
                    <a:lnTo>
                      <a:pt x="357" y="400"/>
                    </a:lnTo>
                    <a:lnTo>
                      <a:pt x="357" y="398"/>
                    </a:lnTo>
                    <a:lnTo>
                      <a:pt x="357" y="396"/>
                    </a:lnTo>
                    <a:lnTo>
                      <a:pt x="359" y="395"/>
                    </a:lnTo>
                    <a:lnTo>
                      <a:pt x="359" y="393"/>
                    </a:lnTo>
                    <a:lnTo>
                      <a:pt x="359" y="391"/>
                    </a:lnTo>
                    <a:lnTo>
                      <a:pt x="359" y="389"/>
                    </a:lnTo>
                    <a:lnTo>
                      <a:pt x="357" y="389"/>
                    </a:lnTo>
                    <a:lnTo>
                      <a:pt x="357" y="387"/>
                    </a:lnTo>
                    <a:lnTo>
                      <a:pt x="359" y="383"/>
                    </a:lnTo>
                    <a:lnTo>
                      <a:pt x="361" y="383"/>
                    </a:lnTo>
                    <a:lnTo>
                      <a:pt x="359" y="383"/>
                    </a:lnTo>
                    <a:lnTo>
                      <a:pt x="359" y="381"/>
                    </a:lnTo>
                    <a:lnTo>
                      <a:pt x="359" y="383"/>
                    </a:lnTo>
                    <a:lnTo>
                      <a:pt x="359" y="381"/>
                    </a:lnTo>
                    <a:lnTo>
                      <a:pt x="357" y="381"/>
                    </a:lnTo>
                    <a:lnTo>
                      <a:pt x="357" y="379"/>
                    </a:lnTo>
                    <a:lnTo>
                      <a:pt x="357" y="377"/>
                    </a:lnTo>
                    <a:lnTo>
                      <a:pt x="359" y="377"/>
                    </a:lnTo>
                    <a:lnTo>
                      <a:pt x="359" y="375"/>
                    </a:lnTo>
                    <a:lnTo>
                      <a:pt x="361" y="375"/>
                    </a:lnTo>
                    <a:lnTo>
                      <a:pt x="361" y="373"/>
                    </a:lnTo>
                    <a:lnTo>
                      <a:pt x="361" y="371"/>
                    </a:lnTo>
                    <a:lnTo>
                      <a:pt x="363" y="370"/>
                    </a:lnTo>
                    <a:lnTo>
                      <a:pt x="363" y="368"/>
                    </a:lnTo>
                    <a:lnTo>
                      <a:pt x="365" y="366"/>
                    </a:lnTo>
                    <a:lnTo>
                      <a:pt x="365" y="364"/>
                    </a:lnTo>
                    <a:lnTo>
                      <a:pt x="367" y="364"/>
                    </a:lnTo>
                    <a:lnTo>
                      <a:pt x="367" y="362"/>
                    </a:lnTo>
                    <a:lnTo>
                      <a:pt x="369" y="362"/>
                    </a:lnTo>
                    <a:lnTo>
                      <a:pt x="370" y="360"/>
                    </a:lnTo>
                    <a:lnTo>
                      <a:pt x="370" y="358"/>
                    </a:lnTo>
                    <a:lnTo>
                      <a:pt x="372" y="356"/>
                    </a:lnTo>
                    <a:lnTo>
                      <a:pt x="374" y="356"/>
                    </a:lnTo>
                    <a:lnTo>
                      <a:pt x="374" y="354"/>
                    </a:lnTo>
                    <a:lnTo>
                      <a:pt x="374" y="352"/>
                    </a:lnTo>
                    <a:lnTo>
                      <a:pt x="374" y="350"/>
                    </a:lnTo>
                    <a:lnTo>
                      <a:pt x="376" y="350"/>
                    </a:lnTo>
                    <a:lnTo>
                      <a:pt x="376" y="348"/>
                    </a:lnTo>
                    <a:lnTo>
                      <a:pt x="376" y="346"/>
                    </a:lnTo>
                    <a:lnTo>
                      <a:pt x="374" y="346"/>
                    </a:lnTo>
                    <a:lnTo>
                      <a:pt x="374" y="345"/>
                    </a:lnTo>
                    <a:lnTo>
                      <a:pt x="374" y="346"/>
                    </a:lnTo>
                    <a:lnTo>
                      <a:pt x="372" y="345"/>
                    </a:lnTo>
                    <a:lnTo>
                      <a:pt x="372" y="343"/>
                    </a:lnTo>
                    <a:lnTo>
                      <a:pt x="370" y="343"/>
                    </a:lnTo>
                    <a:lnTo>
                      <a:pt x="370" y="341"/>
                    </a:lnTo>
                    <a:lnTo>
                      <a:pt x="369" y="341"/>
                    </a:lnTo>
                    <a:lnTo>
                      <a:pt x="370" y="341"/>
                    </a:lnTo>
                    <a:lnTo>
                      <a:pt x="370" y="339"/>
                    </a:lnTo>
                    <a:lnTo>
                      <a:pt x="370" y="341"/>
                    </a:lnTo>
                    <a:lnTo>
                      <a:pt x="369" y="341"/>
                    </a:lnTo>
                    <a:lnTo>
                      <a:pt x="370" y="341"/>
                    </a:lnTo>
                    <a:lnTo>
                      <a:pt x="370" y="339"/>
                    </a:lnTo>
                    <a:lnTo>
                      <a:pt x="370" y="337"/>
                    </a:lnTo>
                    <a:lnTo>
                      <a:pt x="370" y="335"/>
                    </a:lnTo>
                    <a:lnTo>
                      <a:pt x="370" y="333"/>
                    </a:lnTo>
                    <a:lnTo>
                      <a:pt x="372" y="333"/>
                    </a:lnTo>
                    <a:lnTo>
                      <a:pt x="370" y="333"/>
                    </a:lnTo>
                    <a:lnTo>
                      <a:pt x="372" y="333"/>
                    </a:lnTo>
                    <a:lnTo>
                      <a:pt x="370" y="331"/>
                    </a:lnTo>
                    <a:lnTo>
                      <a:pt x="369" y="331"/>
                    </a:lnTo>
                    <a:lnTo>
                      <a:pt x="367" y="331"/>
                    </a:lnTo>
                    <a:lnTo>
                      <a:pt x="367" y="329"/>
                    </a:lnTo>
                    <a:lnTo>
                      <a:pt x="365" y="329"/>
                    </a:lnTo>
                    <a:lnTo>
                      <a:pt x="363" y="329"/>
                    </a:lnTo>
                    <a:lnTo>
                      <a:pt x="361" y="329"/>
                    </a:lnTo>
                    <a:lnTo>
                      <a:pt x="359" y="327"/>
                    </a:lnTo>
                    <a:lnTo>
                      <a:pt x="357" y="325"/>
                    </a:lnTo>
                    <a:lnTo>
                      <a:pt x="355" y="325"/>
                    </a:lnTo>
                    <a:lnTo>
                      <a:pt x="355" y="323"/>
                    </a:lnTo>
                    <a:lnTo>
                      <a:pt x="353" y="323"/>
                    </a:lnTo>
                    <a:lnTo>
                      <a:pt x="351" y="325"/>
                    </a:lnTo>
                    <a:lnTo>
                      <a:pt x="349" y="325"/>
                    </a:lnTo>
                    <a:lnTo>
                      <a:pt x="347" y="325"/>
                    </a:lnTo>
                    <a:lnTo>
                      <a:pt x="347" y="323"/>
                    </a:lnTo>
                    <a:lnTo>
                      <a:pt x="346" y="323"/>
                    </a:lnTo>
                    <a:lnTo>
                      <a:pt x="344" y="323"/>
                    </a:lnTo>
                    <a:lnTo>
                      <a:pt x="344" y="321"/>
                    </a:lnTo>
                    <a:lnTo>
                      <a:pt x="342" y="321"/>
                    </a:lnTo>
                    <a:lnTo>
                      <a:pt x="340" y="321"/>
                    </a:lnTo>
                    <a:lnTo>
                      <a:pt x="338" y="321"/>
                    </a:lnTo>
                    <a:lnTo>
                      <a:pt x="338" y="320"/>
                    </a:lnTo>
                    <a:lnTo>
                      <a:pt x="336" y="320"/>
                    </a:lnTo>
                    <a:lnTo>
                      <a:pt x="336" y="318"/>
                    </a:lnTo>
                    <a:lnTo>
                      <a:pt x="334" y="318"/>
                    </a:lnTo>
                    <a:lnTo>
                      <a:pt x="332" y="318"/>
                    </a:lnTo>
                    <a:lnTo>
                      <a:pt x="330" y="316"/>
                    </a:lnTo>
                    <a:lnTo>
                      <a:pt x="328" y="316"/>
                    </a:lnTo>
                    <a:lnTo>
                      <a:pt x="326" y="316"/>
                    </a:lnTo>
                    <a:lnTo>
                      <a:pt x="324" y="316"/>
                    </a:lnTo>
                    <a:lnTo>
                      <a:pt x="324" y="314"/>
                    </a:lnTo>
                    <a:lnTo>
                      <a:pt x="322" y="314"/>
                    </a:lnTo>
                    <a:lnTo>
                      <a:pt x="324" y="314"/>
                    </a:lnTo>
                    <a:lnTo>
                      <a:pt x="322" y="312"/>
                    </a:lnTo>
                    <a:lnTo>
                      <a:pt x="321" y="312"/>
                    </a:lnTo>
                    <a:lnTo>
                      <a:pt x="321" y="310"/>
                    </a:lnTo>
                    <a:lnTo>
                      <a:pt x="319" y="310"/>
                    </a:lnTo>
                    <a:lnTo>
                      <a:pt x="317" y="308"/>
                    </a:lnTo>
                    <a:lnTo>
                      <a:pt x="315" y="308"/>
                    </a:lnTo>
                    <a:lnTo>
                      <a:pt x="315" y="306"/>
                    </a:lnTo>
                    <a:lnTo>
                      <a:pt x="313" y="306"/>
                    </a:lnTo>
                    <a:lnTo>
                      <a:pt x="311" y="306"/>
                    </a:lnTo>
                    <a:lnTo>
                      <a:pt x="311" y="308"/>
                    </a:lnTo>
                    <a:lnTo>
                      <a:pt x="309" y="308"/>
                    </a:lnTo>
                    <a:lnTo>
                      <a:pt x="307" y="308"/>
                    </a:lnTo>
                    <a:lnTo>
                      <a:pt x="307" y="310"/>
                    </a:lnTo>
                    <a:lnTo>
                      <a:pt x="305" y="310"/>
                    </a:lnTo>
                    <a:lnTo>
                      <a:pt x="303" y="310"/>
                    </a:lnTo>
                    <a:lnTo>
                      <a:pt x="301" y="310"/>
                    </a:lnTo>
                    <a:lnTo>
                      <a:pt x="301" y="308"/>
                    </a:lnTo>
                    <a:lnTo>
                      <a:pt x="299" y="308"/>
                    </a:lnTo>
                    <a:lnTo>
                      <a:pt x="297" y="308"/>
                    </a:lnTo>
                    <a:lnTo>
                      <a:pt x="297" y="306"/>
                    </a:lnTo>
                    <a:lnTo>
                      <a:pt x="296" y="306"/>
                    </a:lnTo>
                    <a:lnTo>
                      <a:pt x="294" y="306"/>
                    </a:lnTo>
                    <a:lnTo>
                      <a:pt x="294" y="308"/>
                    </a:lnTo>
                    <a:lnTo>
                      <a:pt x="292" y="308"/>
                    </a:lnTo>
                    <a:lnTo>
                      <a:pt x="290" y="308"/>
                    </a:lnTo>
                    <a:lnTo>
                      <a:pt x="288" y="308"/>
                    </a:lnTo>
                    <a:lnTo>
                      <a:pt x="286" y="308"/>
                    </a:lnTo>
                    <a:lnTo>
                      <a:pt x="284" y="308"/>
                    </a:lnTo>
                    <a:lnTo>
                      <a:pt x="282" y="308"/>
                    </a:lnTo>
                    <a:lnTo>
                      <a:pt x="280" y="308"/>
                    </a:lnTo>
                    <a:lnTo>
                      <a:pt x="278" y="308"/>
                    </a:lnTo>
                    <a:lnTo>
                      <a:pt x="276" y="308"/>
                    </a:lnTo>
                    <a:lnTo>
                      <a:pt x="274" y="308"/>
                    </a:lnTo>
                    <a:lnTo>
                      <a:pt x="273" y="306"/>
                    </a:lnTo>
                    <a:lnTo>
                      <a:pt x="274" y="304"/>
                    </a:lnTo>
                    <a:lnTo>
                      <a:pt x="276" y="304"/>
                    </a:lnTo>
                    <a:lnTo>
                      <a:pt x="278" y="304"/>
                    </a:lnTo>
                    <a:lnTo>
                      <a:pt x="280" y="304"/>
                    </a:lnTo>
                    <a:lnTo>
                      <a:pt x="282" y="304"/>
                    </a:lnTo>
                    <a:lnTo>
                      <a:pt x="284" y="304"/>
                    </a:lnTo>
                    <a:lnTo>
                      <a:pt x="286" y="304"/>
                    </a:lnTo>
                    <a:lnTo>
                      <a:pt x="288" y="304"/>
                    </a:lnTo>
                    <a:lnTo>
                      <a:pt x="288" y="302"/>
                    </a:lnTo>
                    <a:lnTo>
                      <a:pt x="290" y="302"/>
                    </a:lnTo>
                    <a:lnTo>
                      <a:pt x="292" y="302"/>
                    </a:lnTo>
                    <a:lnTo>
                      <a:pt x="294" y="302"/>
                    </a:lnTo>
                    <a:lnTo>
                      <a:pt x="296" y="302"/>
                    </a:lnTo>
                    <a:lnTo>
                      <a:pt x="296" y="304"/>
                    </a:lnTo>
                    <a:lnTo>
                      <a:pt x="296" y="302"/>
                    </a:lnTo>
                    <a:lnTo>
                      <a:pt x="296" y="304"/>
                    </a:lnTo>
                    <a:lnTo>
                      <a:pt x="296" y="302"/>
                    </a:lnTo>
                    <a:lnTo>
                      <a:pt x="297" y="302"/>
                    </a:lnTo>
                    <a:lnTo>
                      <a:pt x="299" y="302"/>
                    </a:lnTo>
                    <a:lnTo>
                      <a:pt x="301" y="302"/>
                    </a:lnTo>
                    <a:lnTo>
                      <a:pt x="303" y="302"/>
                    </a:lnTo>
                    <a:lnTo>
                      <a:pt x="305" y="300"/>
                    </a:lnTo>
                    <a:lnTo>
                      <a:pt x="307" y="300"/>
                    </a:lnTo>
                    <a:lnTo>
                      <a:pt x="307" y="298"/>
                    </a:lnTo>
                    <a:lnTo>
                      <a:pt x="309" y="298"/>
                    </a:lnTo>
                    <a:lnTo>
                      <a:pt x="311" y="298"/>
                    </a:lnTo>
                    <a:lnTo>
                      <a:pt x="313" y="296"/>
                    </a:lnTo>
                    <a:lnTo>
                      <a:pt x="315" y="298"/>
                    </a:lnTo>
                    <a:lnTo>
                      <a:pt x="317" y="298"/>
                    </a:lnTo>
                    <a:lnTo>
                      <a:pt x="317" y="296"/>
                    </a:lnTo>
                    <a:lnTo>
                      <a:pt x="317" y="298"/>
                    </a:lnTo>
                    <a:lnTo>
                      <a:pt x="319" y="298"/>
                    </a:lnTo>
                    <a:lnTo>
                      <a:pt x="321" y="298"/>
                    </a:lnTo>
                    <a:lnTo>
                      <a:pt x="322" y="298"/>
                    </a:lnTo>
                    <a:lnTo>
                      <a:pt x="324" y="298"/>
                    </a:lnTo>
                    <a:lnTo>
                      <a:pt x="326" y="298"/>
                    </a:lnTo>
                    <a:lnTo>
                      <a:pt x="328" y="298"/>
                    </a:lnTo>
                    <a:lnTo>
                      <a:pt x="330" y="298"/>
                    </a:lnTo>
                    <a:lnTo>
                      <a:pt x="332" y="298"/>
                    </a:lnTo>
                    <a:lnTo>
                      <a:pt x="334" y="298"/>
                    </a:lnTo>
                    <a:lnTo>
                      <a:pt x="336" y="298"/>
                    </a:lnTo>
                    <a:lnTo>
                      <a:pt x="338" y="298"/>
                    </a:lnTo>
                    <a:lnTo>
                      <a:pt x="340" y="298"/>
                    </a:lnTo>
                    <a:lnTo>
                      <a:pt x="342" y="298"/>
                    </a:lnTo>
                    <a:lnTo>
                      <a:pt x="344" y="298"/>
                    </a:lnTo>
                    <a:lnTo>
                      <a:pt x="346" y="298"/>
                    </a:lnTo>
                    <a:lnTo>
                      <a:pt x="347" y="298"/>
                    </a:lnTo>
                    <a:lnTo>
                      <a:pt x="349" y="298"/>
                    </a:lnTo>
                    <a:lnTo>
                      <a:pt x="351" y="298"/>
                    </a:lnTo>
                    <a:lnTo>
                      <a:pt x="353" y="298"/>
                    </a:lnTo>
                    <a:lnTo>
                      <a:pt x="355" y="298"/>
                    </a:lnTo>
                    <a:lnTo>
                      <a:pt x="355" y="300"/>
                    </a:lnTo>
                    <a:lnTo>
                      <a:pt x="357" y="300"/>
                    </a:lnTo>
                    <a:lnTo>
                      <a:pt x="357" y="298"/>
                    </a:lnTo>
                    <a:lnTo>
                      <a:pt x="359" y="298"/>
                    </a:lnTo>
                    <a:lnTo>
                      <a:pt x="361" y="296"/>
                    </a:lnTo>
                    <a:lnTo>
                      <a:pt x="359" y="298"/>
                    </a:lnTo>
                    <a:lnTo>
                      <a:pt x="357" y="298"/>
                    </a:lnTo>
                    <a:lnTo>
                      <a:pt x="357" y="300"/>
                    </a:lnTo>
                    <a:lnTo>
                      <a:pt x="355" y="300"/>
                    </a:lnTo>
                    <a:lnTo>
                      <a:pt x="355" y="298"/>
                    </a:lnTo>
                    <a:lnTo>
                      <a:pt x="357" y="298"/>
                    </a:lnTo>
                    <a:lnTo>
                      <a:pt x="357" y="296"/>
                    </a:lnTo>
                    <a:lnTo>
                      <a:pt x="359" y="296"/>
                    </a:lnTo>
                    <a:lnTo>
                      <a:pt x="361" y="296"/>
                    </a:lnTo>
                    <a:lnTo>
                      <a:pt x="361" y="295"/>
                    </a:lnTo>
                    <a:lnTo>
                      <a:pt x="363" y="295"/>
                    </a:lnTo>
                    <a:lnTo>
                      <a:pt x="365" y="295"/>
                    </a:lnTo>
                    <a:lnTo>
                      <a:pt x="367" y="295"/>
                    </a:lnTo>
                    <a:lnTo>
                      <a:pt x="369" y="295"/>
                    </a:lnTo>
                    <a:lnTo>
                      <a:pt x="367" y="295"/>
                    </a:lnTo>
                    <a:lnTo>
                      <a:pt x="369" y="295"/>
                    </a:lnTo>
                    <a:lnTo>
                      <a:pt x="370" y="295"/>
                    </a:lnTo>
                    <a:lnTo>
                      <a:pt x="370" y="296"/>
                    </a:lnTo>
                    <a:lnTo>
                      <a:pt x="372" y="296"/>
                    </a:lnTo>
                    <a:lnTo>
                      <a:pt x="374" y="296"/>
                    </a:lnTo>
                    <a:lnTo>
                      <a:pt x="376" y="296"/>
                    </a:lnTo>
                    <a:lnTo>
                      <a:pt x="378" y="296"/>
                    </a:lnTo>
                    <a:lnTo>
                      <a:pt x="380" y="296"/>
                    </a:lnTo>
                    <a:lnTo>
                      <a:pt x="382" y="296"/>
                    </a:lnTo>
                    <a:lnTo>
                      <a:pt x="384" y="296"/>
                    </a:lnTo>
                    <a:lnTo>
                      <a:pt x="386" y="296"/>
                    </a:lnTo>
                    <a:lnTo>
                      <a:pt x="386" y="298"/>
                    </a:lnTo>
                    <a:lnTo>
                      <a:pt x="386" y="296"/>
                    </a:lnTo>
                    <a:lnTo>
                      <a:pt x="386" y="298"/>
                    </a:lnTo>
                    <a:lnTo>
                      <a:pt x="386" y="296"/>
                    </a:lnTo>
                    <a:lnTo>
                      <a:pt x="388" y="296"/>
                    </a:lnTo>
                    <a:lnTo>
                      <a:pt x="390" y="296"/>
                    </a:lnTo>
                    <a:lnTo>
                      <a:pt x="390" y="298"/>
                    </a:lnTo>
                    <a:lnTo>
                      <a:pt x="390" y="296"/>
                    </a:lnTo>
                    <a:lnTo>
                      <a:pt x="390" y="298"/>
                    </a:lnTo>
                    <a:lnTo>
                      <a:pt x="390" y="296"/>
                    </a:lnTo>
                    <a:lnTo>
                      <a:pt x="390" y="298"/>
                    </a:lnTo>
                    <a:lnTo>
                      <a:pt x="390" y="296"/>
                    </a:lnTo>
                    <a:lnTo>
                      <a:pt x="390" y="298"/>
                    </a:lnTo>
                    <a:lnTo>
                      <a:pt x="392" y="296"/>
                    </a:lnTo>
                    <a:lnTo>
                      <a:pt x="392" y="298"/>
                    </a:lnTo>
                    <a:lnTo>
                      <a:pt x="392" y="296"/>
                    </a:lnTo>
                    <a:lnTo>
                      <a:pt x="392" y="298"/>
                    </a:lnTo>
                    <a:lnTo>
                      <a:pt x="394" y="298"/>
                    </a:lnTo>
                    <a:lnTo>
                      <a:pt x="395" y="298"/>
                    </a:lnTo>
                    <a:lnTo>
                      <a:pt x="395" y="300"/>
                    </a:lnTo>
                    <a:lnTo>
                      <a:pt x="395" y="298"/>
                    </a:lnTo>
                    <a:lnTo>
                      <a:pt x="397" y="300"/>
                    </a:lnTo>
                    <a:lnTo>
                      <a:pt x="395" y="300"/>
                    </a:lnTo>
                    <a:lnTo>
                      <a:pt x="397" y="300"/>
                    </a:lnTo>
                    <a:lnTo>
                      <a:pt x="399" y="302"/>
                    </a:lnTo>
                    <a:lnTo>
                      <a:pt x="401" y="302"/>
                    </a:lnTo>
                    <a:lnTo>
                      <a:pt x="401" y="300"/>
                    </a:lnTo>
                    <a:lnTo>
                      <a:pt x="401" y="302"/>
                    </a:lnTo>
                    <a:lnTo>
                      <a:pt x="403" y="302"/>
                    </a:lnTo>
                    <a:lnTo>
                      <a:pt x="405" y="302"/>
                    </a:lnTo>
                    <a:lnTo>
                      <a:pt x="405" y="304"/>
                    </a:lnTo>
                    <a:lnTo>
                      <a:pt x="405" y="302"/>
                    </a:lnTo>
                    <a:lnTo>
                      <a:pt x="407" y="302"/>
                    </a:lnTo>
                    <a:lnTo>
                      <a:pt x="407" y="304"/>
                    </a:lnTo>
                    <a:lnTo>
                      <a:pt x="409" y="304"/>
                    </a:lnTo>
                    <a:lnTo>
                      <a:pt x="411" y="304"/>
                    </a:lnTo>
                    <a:lnTo>
                      <a:pt x="411" y="306"/>
                    </a:lnTo>
                    <a:lnTo>
                      <a:pt x="413" y="306"/>
                    </a:lnTo>
                    <a:lnTo>
                      <a:pt x="411" y="306"/>
                    </a:lnTo>
                    <a:lnTo>
                      <a:pt x="411" y="304"/>
                    </a:lnTo>
                    <a:lnTo>
                      <a:pt x="409" y="304"/>
                    </a:lnTo>
                    <a:lnTo>
                      <a:pt x="411" y="304"/>
                    </a:lnTo>
                    <a:lnTo>
                      <a:pt x="413" y="304"/>
                    </a:lnTo>
                    <a:lnTo>
                      <a:pt x="415" y="304"/>
                    </a:lnTo>
                    <a:lnTo>
                      <a:pt x="417" y="304"/>
                    </a:lnTo>
                    <a:lnTo>
                      <a:pt x="419" y="306"/>
                    </a:lnTo>
                    <a:lnTo>
                      <a:pt x="419" y="308"/>
                    </a:lnTo>
                    <a:lnTo>
                      <a:pt x="419" y="310"/>
                    </a:lnTo>
                    <a:lnTo>
                      <a:pt x="419" y="308"/>
                    </a:lnTo>
                    <a:lnTo>
                      <a:pt x="420" y="308"/>
                    </a:lnTo>
                    <a:lnTo>
                      <a:pt x="420" y="310"/>
                    </a:lnTo>
                    <a:lnTo>
                      <a:pt x="422" y="310"/>
                    </a:lnTo>
                    <a:lnTo>
                      <a:pt x="424" y="310"/>
                    </a:lnTo>
                    <a:lnTo>
                      <a:pt x="426" y="310"/>
                    </a:lnTo>
                    <a:lnTo>
                      <a:pt x="426" y="312"/>
                    </a:lnTo>
                    <a:lnTo>
                      <a:pt x="428" y="312"/>
                    </a:lnTo>
                    <a:lnTo>
                      <a:pt x="430" y="312"/>
                    </a:lnTo>
                    <a:lnTo>
                      <a:pt x="428" y="312"/>
                    </a:lnTo>
                    <a:lnTo>
                      <a:pt x="426" y="312"/>
                    </a:lnTo>
                    <a:lnTo>
                      <a:pt x="426" y="310"/>
                    </a:lnTo>
                    <a:lnTo>
                      <a:pt x="428" y="310"/>
                    </a:lnTo>
                    <a:lnTo>
                      <a:pt x="428" y="312"/>
                    </a:lnTo>
                    <a:lnTo>
                      <a:pt x="428" y="310"/>
                    </a:lnTo>
                    <a:lnTo>
                      <a:pt x="430" y="312"/>
                    </a:lnTo>
                    <a:lnTo>
                      <a:pt x="432" y="312"/>
                    </a:lnTo>
                    <a:lnTo>
                      <a:pt x="434" y="312"/>
                    </a:lnTo>
                    <a:lnTo>
                      <a:pt x="436" y="314"/>
                    </a:lnTo>
                    <a:lnTo>
                      <a:pt x="438" y="314"/>
                    </a:lnTo>
                    <a:lnTo>
                      <a:pt x="436" y="314"/>
                    </a:lnTo>
                    <a:lnTo>
                      <a:pt x="436" y="316"/>
                    </a:lnTo>
                    <a:lnTo>
                      <a:pt x="438" y="316"/>
                    </a:lnTo>
                    <a:lnTo>
                      <a:pt x="436" y="314"/>
                    </a:lnTo>
                    <a:lnTo>
                      <a:pt x="438" y="314"/>
                    </a:lnTo>
                    <a:lnTo>
                      <a:pt x="438" y="316"/>
                    </a:lnTo>
                    <a:lnTo>
                      <a:pt x="440" y="316"/>
                    </a:lnTo>
                    <a:lnTo>
                      <a:pt x="442" y="316"/>
                    </a:lnTo>
                    <a:lnTo>
                      <a:pt x="443" y="318"/>
                    </a:lnTo>
                    <a:lnTo>
                      <a:pt x="445" y="318"/>
                    </a:lnTo>
                    <a:lnTo>
                      <a:pt x="445" y="320"/>
                    </a:lnTo>
                    <a:lnTo>
                      <a:pt x="447" y="320"/>
                    </a:lnTo>
                    <a:lnTo>
                      <a:pt x="447" y="321"/>
                    </a:lnTo>
                    <a:lnTo>
                      <a:pt x="447" y="323"/>
                    </a:lnTo>
                    <a:lnTo>
                      <a:pt x="449" y="323"/>
                    </a:lnTo>
                    <a:lnTo>
                      <a:pt x="449" y="325"/>
                    </a:lnTo>
                    <a:lnTo>
                      <a:pt x="451" y="327"/>
                    </a:lnTo>
                    <a:lnTo>
                      <a:pt x="451" y="329"/>
                    </a:lnTo>
                    <a:lnTo>
                      <a:pt x="453" y="329"/>
                    </a:lnTo>
                    <a:lnTo>
                      <a:pt x="453" y="331"/>
                    </a:lnTo>
                    <a:lnTo>
                      <a:pt x="455" y="333"/>
                    </a:lnTo>
                    <a:lnTo>
                      <a:pt x="455" y="335"/>
                    </a:lnTo>
                    <a:lnTo>
                      <a:pt x="457" y="337"/>
                    </a:lnTo>
                    <a:lnTo>
                      <a:pt x="457" y="339"/>
                    </a:lnTo>
                    <a:lnTo>
                      <a:pt x="457" y="341"/>
                    </a:lnTo>
                    <a:lnTo>
                      <a:pt x="457" y="343"/>
                    </a:lnTo>
                    <a:lnTo>
                      <a:pt x="457" y="345"/>
                    </a:lnTo>
                    <a:lnTo>
                      <a:pt x="459" y="346"/>
                    </a:lnTo>
                    <a:lnTo>
                      <a:pt x="461" y="350"/>
                    </a:lnTo>
                    <a:lnTo>
                      <a:pt x="461" y="352"/>
                    </a:lnTo>
                    <a:lnTo>
                      <a:pt x="463" y="354"/>
                    </a:lnTo>
                    <a:lnTo>
                      <a:pt x="463" y="356"/>
                    </a:lnTo>
                    <a:lnTo>
                      <a:pt x="465" y="356"/>
                    </a:lnTo>
                    <a:lnTo>
                      <a:pt x="467" y="358"/>
                    </a:lnTo>
                    <a:lnTo>
                      <a:pt x="468" y="358"/>
                    </a:lnTo>
                    <a:lnTo>
                      <a:pt x="470" y="358"/>
                    </a:lnTo>
                    <a:lnTo>
                      <a:pt x="470" y="360"/>
                    </a:lnTo>
                    <a:lnTo>
                      <a:pt x="470" y="362"/>
                    </a:lnTo>
                    <a:lnTo>
                      <a:pt x="470" y="364"/>
                    </a:lnTo>
                    <a:lnTo>
                      <a:pt x="470" y="366"/>
                    </a:lnTo>
                    <a:lnTo>
                      <a:pt x="470" y="368"/>
                    </a:lnTo>
                    <a:lnTo>
                      <a:pt x="470" y="370"/>
                    </a:lnTo>
                    <a:lnTo>
                      <a:pt x="470" y="371"/>
                    </a:lnTo>
                    <a:lnTo>
                      <a:pt x="468" y="373"/>
                    </a:lnTo>
                    <a:lnTo>
                      <a:pt x="470" y="373"/>
                    </a:lnTo>
                    <a:lnTo>
                      <a:pt x="468" y="373"/>
                    </a:lnTo>
                    <a:lnTo>
                      <a:pt x="468" y="375"/>
                    </a:lnTo>
                    <a:lnTo>
                      <a:pt x="468" y="373"/>
                    </a:lnTo>
                    <a:lnTo>
                      <a:pt x="470" y="373"/>
                    </a:lnTo>
                    <a:lnTo>
                      <a:pt x="468" y="373"/>
                    </a:lnTo>
                    <a:lnTo>
                      <a:pt x="470" y="373"/>
                    </a:lnTo>
                    <a:lnTo>
                      <a:pt x="468" y="371"/>
                    </a:lnTo>
                    <a:lnTo>
                      <a:pt x="470" y="371"/>
                    </a:lnTo>
                    <a:lnTo>
                      <a:pt x="470" y="370"/>
                    </a:lnTo>
                    <a:lnTo>
                      <a:pt x="472" y="370"/>
                    </a:lnTo>
                    <a:lnTo>
                      <a:pt x="474" y="370"/>
                    </a:lnTo>
                    <a:lnTo>
                      <a:pt x="476" y="371"/>
                    </a:lnTo>
                    <a:lnTo>
                      <a:pt x="476" y="373"/>
                    </a:lnTo>
                    <a:lnTo>
                      <a:pt x="474" y="373"/>
                    </a:lnTo>
                    <a:lnTo>
                      <a:pt x="474" y="375"/>
                    </a:lnTo>
                    <a:lnTo>
                      <a:pt x="472" y="375"/>
                    </a:lnTo>
                    <a:lnTo>
                      <a:pt x="472" y="377"/>
                    </a:lnTo>
                    <a:lnTo>
                      <a:pt x="470" y="379"/>
                    </a:lnTo>
                    <a:lnTo>
                      <a:pt x="470" y="383"/>
                    </a:lnTo>
                    <a:lnTo>
                      <a:pt x="470" y="385"/>
                    </a:lnTo>
                    <a:lnTo>
                      <a:pt x="470" y="383"/>
                    </a:lnTo>
                    <a:lnTo>
                      <a:pt x="468" y="385"/>
                    </a:lnTo>
                    <a:lnTo>
                      <a:pt x="468" y="387"/>
                    </a:lnTo>
                    <a:lnTo>
                      <a:pt x="468" y="389"/>
                    </a:lnTo>
                    <a:lnTo>
                      <a:pt x="467" y="391"/>
                    </a:lnTo>
                    <a:lnTo>
                      <a:pt x="465" y="391"/>
                    </a:lnTo>
                    <a:lnTo>
                      <a:pt x="465" y="393"/>
                    </a:lnTo>
                    <a:lnTo>
                      <a:pt x="463" y="393"/>
                    </a:lnTo>
                    <a:lnTo>
                      <a:pt x="465" y="393"/>
                    </a:lnTo>
                    <a:lnTo>
                      <a:pt x="463" y="393"/>
                    </a:lnTo>
                    <a:lnTo>
                      <a:pt x="461" y="393"/>
                    </a:lnTo>
                    <a:lnTo>
                      <a:pt x="459" y="393"/>
                    </a:lnTo>
                    <a:lnTo>
                      <a:pt x="457" y="393"/>
                    </a:lnTo>
                    <a:lnTo>
                      <a:pt x="453" y="395"/>
                    </a:lnTo>
                    <a:lnTo>
                      <a:pt x="451" y="395"/>
                    </a:lnTo>
                    <a:lnTo>
                      <a:pt x="451" y="396"/>
                    </a:lnTo>
                    <a:lnTo>
                      <a:pt x="449" y="396"/>
                    </a:lnTo>
                    <a:lnTo>
                      <a:pt x="447" y="398"/>
                    </a:lnTo>
                    <a:lnTo>
                      <a:pt x="445" y="398"/>
                    </a:lnTo>
                    <a:lnTo>
                      <a:pt x="443" y="400"/>
                    </a:lnTo>
                    <a:lnTo>
                      <a:pt x="443" y="402"/>
                    </a:lnTo>
                    <a:lnTo>
                      <a:pt x="442" y="404"/>
                    </a:lnTo>
                    <a:lnTo>
                      <a:pt x="443" y="404"/>
                    </a:lnTo>
                    <a:lnTo>
                      <a:pt x="442" y="404"/>
                    </a:lnTo>
                    <a:lnTo>
                      <a:pt x="442" y="406"/>
                    </a:lnTo>
                    <a:lnTo>
                      <a:pt x="442" y="408"/>
                    </a:lnTo>
                    <a:lnTo>
                      <a:pt x="443" y="408"/>
                    </a:lnTo>
                    <a:lnTo>
                      <a:pt x="443" y="410"/>
                    </a:lnTo>
                    <a:lnTo>
                      <a:pt x="445" y="410"/>
                    </a:lnTo>
                    <a:lnTo>
                      <a:pt x="447" y="410"/>
                    </a:lnTo>
                    <a:lnTo>
                      <a:pt x="445" y="410"/>
                    </a:lnTo>
                    <a:lnTo>
                      <a:pt x="447" y="410"/>
                    </a:lnTo>
                    <a:lnTo>
                      <a:pt x="447" y="412"/>
                    </a:lnTo>
                    <a:lnTo>
                      <a:pt x="445" y="412"/>
                    </a:lnTo>
                    <a:lnTo>
                      <a:pt x="447" y="412"/>
                    </a:lnTo>
                    <a:lnTo>
                      <a:pt x="447" y="410"/>
                    </a:lnTo>
                    <a:lnTo>
                      <a:pt x="447" y="412"/>
                    </a:lnTo>
                    <a:lnTo>
                      <a:pt x="449" y="412"/>
                    </a:lnTo>
                    <a:lnTo>
                      <a:pt x="451" y="414"/>
                    </a:lnTo>
                    <a:lnTo>
                      <a:pt x="451" y="416"/>
                    </a:lnTo>
                    <a:lnTo>
                      <a:pt x="451" y="418"/>
                    </a:lnTo>
                    <a:lnTo>
                      <a:pt x="451" y="420"/>
                    </a:lnTo>
                    <a:lnTo>
                      <a:pt x="451" y="421"/>
                    </a:lnTo>
                    <a:lnTo>
                      <a:pt x="449" y="421"/>
                    </a:lnTo>
                    <a:lnTo>
                      <a:pt x="449" y="423"/>
                    </a:lnTo>
                    <a:lnTo>
                      <a:pt x="447" y="425"/>
                    </a:lnTo>
                    <a:lnTo>
                      <a:pt x="445" y="429"/>
                    </a:lnTo>
                    <a:lnTo>
                      <a:pt x="443" y="431"/>
                    </a:lnTo>
                    <a:lnTo>
                      <a:pt x="442" y="433"/>
                    </a:lnTo>
                    <a:lnTo>
                      <a:pt x="440" y="433"/>
                    </a:lnTo>
                    <a:lnTo>
                      <a:pt x="438" y="433"/>
                    </a:lnTo>
                    <a:lnTo>
                      <a:pt x="438" y="435"/>
                    </a:lnTo>
                    <a:lnTo>
                      <a:pt x="436" y="435"/>
                    </a:lnTo>
                    <a:lnTo>
                      <a:pt x="436" y="437"/>
                    </a:lnTo>
                    <a:lnTo>
                      <a:pt x="436" y="439"/>
                    </a:lnTo>
                    <a:lnTo>
                      <a:pt x="436" y="441"/>
                    </a:lnTo>
                    <a:lnTo>
                      <a:pt x="434" y="441"/>
                    </a:lnTo>
                    <a:lnTo>
                      <a:pt x="434" y="443"/>
                    </a:lnTo>
                    <a:lnTo>
                      <a:pt x="436" y="443"/>
                    </a:lnTo>
                    <a:lnTo>
                      <a:pt x="434" y="443"/>
                    </a:lnTo>
                    <a:lnTo>
                      <a:pt x="432" y="443"/>
                    </a:lnTo>
                    <a:lnTo>
                      <a:pt x="432" y="445"/>
                    </a:lnTo>
                    <a:lnTo>
                      <a:pt x="430" y="445"/>
                    </a:lnTo>
                    <a:lnTo>
                      <a:pt x="432" y="445"/>
                    </a:lnTo>
                    <a:lnTo>
                      <a:pt x="432" y="446"/>
                    </a:lnTo>
                    <a:lnTo>
                      <a:pt x="430" y="446"/>
                    </a:lnTo>
                    <a:lnTo>
                      <a:pt x="430" y="448"/>
                    </a:lnTo>
                    <a:lnTo>
                      <a:pt x="428" y="448"/>
                    </a:lnTo>
                    <a:lnTo>
                      <a:pt x="428" y="450"/>
                    </a:lnTo>
                    <a:lnTo>
                      <a:pt x="428" y="452"/>
                    </a:lnTo>
                    <a:lnTo>
                      <a:pt x="428" y="454"/>
                    </a:lnTo>
                    <a:lnTo>
                      <a:pt x="428" y="456"/>
                    </a:lnTo>
                    <a:lnTo>
                      <a:pt x="430" y="454"/>
                    </a:lnTo>
                    <a:lnTo>
                      <a:pt x="432" y="454"/>
                    </a:lnTo>
                    <a:lnTo>
                      <a:pt x="432" y="456"/>
                    </a:lnTo>
                    <a:lnTo>
                      <a:pt x="430" y="456"/>
                    </a:lnTo>
                    <a:lnTo>
                      <a:pt x="432" y="456"/>
                    </a:lnTo>
                    <a:lnTo>
                      <a:pt x="432" y="454"/>
                    </a:lnTo>
                    <a:lnTo>
                      <a:pt x="430" y="454"/>
                    </a:lnTo>
                    <a:lnTo>
                      <a:pt x="428" y="454"/>
                    </a:lnTo>
                    <a:lnTo>
                      <a:pt x="428" y="456"/>
                    </a:lnTo>
                    <a:lnTo>
                      <a:pt x="428" y="454"/>
                    </a:lnTo>
                    <a:lnTo>
                      <a:pt x="428" y="452"/>
                    </a:lnTo>
                    <a:lnTo>
                      <a:pt x="428" y="450"/>
                    </a:lnTo>
                    <a:lnTo>
                      <a:pt x="430" y="448"/>
                    </a:lnTo>
                    <a:lnTo>
                      <a:pt x="430" y="446"/>
                    </a:lnTo>
                    <a:lnTo>
                      <a:pt x="432" y="446"/>
                    </a:lnTo>
                    <a:lnTo>
                      <a:pt x="432" y="445"/>
                    </a:lnTo>
                    <a:lnTo>
                      <a:pt x="432" y="443"/>
                    </a:lnTo>
                    <a:lnTo>
                      <a:pt x="434" y="445"/>
                    </a:lnTo>
                    <a:lnTo>
                      <a:pt x="436" y="443"/>
                    </a:lnTo>
                    <a:lnTo>
                      <a:pt x="436" y="445"/>
                    </a:lnTo>
                    <a:lnTo>
                      <a:pt x="436" y="443"/>
                    </a:lnTo>
                    <a:lnTo>
                      <a:pt x="434" y="443"/>
                    </a:lnTo>
                    <a:lnTo>
                      <a:pt x="436" y="441"/>
                    </a:lnTo>
                    <a:lnTo>
                      <a:pt x="436" y="443"/>
                    </a:lnTo>
                    <a:lnTo>
                      <a:pt x="436" y="445"/>
                    </a:lnTo>
                    <a:lnTo>
                      <a:pt x="438" y="446"/>
                    </a:lnTo>
                    <a:lnTo>
                      <a:pt x="438" y="448"/>
                    </a:lnTo>
                    <a:lnTo>
                      <a:pt x="438" y="450"/>
                    </a:lnTo>
                    <a:lnTo>
                      <a:pt x="438" y="452"/>
                    </a:lnTo>
                    <a:lnTo>
                      <a:pt x="438" y="454"/>
                    </a:lnTo>
                    <a:lnTo>
                      <a:pt x="436" y="454"/>
                    </a:lnTo>
                    <a:lnTo>
                      <a:pt x="436" y="456"/>
                    </a:lnTo>
                    <a:lnTo>
                      <a:pt x="434" y="458"/>
                    </a:lnTo>
                    <a:lnTo>
                      <a:pt x="436" y="458"/>
                    </a:lnTo>
                    <a:lnTo>
                      <a:pt x="434" y="460"/>
                    </a:lnTo>
                    <a:lnTo>
                      <a:pt x="432" y="460"/>
                    </a:lnTo>
                    <a:lnTo>
                      <a:pt x="432" y="462"/>
                    </a:lnTo>
                    <a:lnTo>
                      <a:pt x="430" y="462"/>
                    </a:lnTo>
                    <a:lnTo>
                      <a:pt x="428" y="462"/>
                    </a:lnTo>
                    <a:lnTo>
                      <a:pt x="426" y="462"/>
                    </a:lnTo>
                    <a:lnTo>
                      <a:pt x="424" y="462"/>
                    </a:lnTo>
                    <a:lnTo>
                      <a:pt x="422" y="462"/>
                    </a:lnTo>
                    <a:lnTo>
                      <a:pt x="424" y="462"/>
                    </a:lnTo>
                    <a:lnTo>
                      <a:pt x="422" y="460"/>
                    </a:lnTo>
                    <a:lnTo>
                      <a:pt x="420" y="460"/>
                    </a:lnTo>
                    <a:lnTo>
                      <a:pt x="420" y="458"/>
                    </a:lnTo>
                    <a:lnTo>
                      <a:pt x="420" y="460"/>
                    </a:lnTo>
                    <a:lnTo>
                      <a:pt x="420" y="458"/>
                    </a:lnTo>
                    <a:lnTo>
                      <a:pt x="419" y="458"/>
                    </a:lnTo>
                    <a:lnTo>
                      <a:pt x="417" y="458"/>
                    </a:lnTo>
                    <a:lnTo>
                      <a:pt x="415" y="458"/>
                    </a:lnTo>
                    <a:lnTo>
                      <a:pt x="417" y="458"/>
                    </a:lnTo>
                    <a:lnTo>
                      <a:pt x="419" y="458"/>
                    </a:lnTo>
                    <a:lnTo>
                      <a:pt x="420" y="458"/>
                    </a:lnTo>
                    <a:lnTo>
                      <a:pt x="420" y="460"/>
                    </a:lnTo>
                    <a:lnTo>
                      <a:pt x="422" y="460"/>
                    </a:lnTo>
                    <a:lnTo>
                      <a:pt x="422" y="462"/>
                    </a:lnTo>
                    <a:lnTo>
                      <a:pt x="424" y="462"/>
                    </a:lnTo>
                    <a:lnTo>
                      <a:pt x="422" y="462"/>
                    </a:lnTo>
                    <a:lnTo>
                      <a:pt x="424" y="462"/>
                    </a:lnTo>
                    <a:lnTo>
                      <a:pt x="426" y="462"/>
                    </a:lnTo>
                    <a:lnTo>
                      <a:pt x="428" y="462"/>
                    </a:lnTo>
                    <a:lnTo>
                      <a:pt x="428" y="464"/>
                    </a:lnTo>
                    <a:lnTo>
                      <a:pt x="426" y="464"/>
                    </a:lnTo>
                    <a:lnTo>
                      <a:pt x="426" y="466"/>
                    </a:lnTo>
                    <a:lnTo>
                      <a:pt x="428" y="466"/>
                    </a:lnTo>
                    <a:lnTo>
                      <a:pt x="426" y="466"/>
                    </a:lnTo>
                    <a:lnTo>
                      <a:pt x="426" y="468"/>
                    </a:lnTo>
                    <a:lnTo>
                      <a:pt x="424" y="466"/>
                    </a:lnTo>
                    <a:lnTo>
                      <a:pt x="424" y="468"/>
                    </a:lnTo>
                    <a:lnTo>
                      <a:pt x="426" y="468"/>
                    </a:lnTo>
                    <a:lnTo>
                      <a:pt x="426" y="470"/>
                    </a:lnTo>
                    <a:lnTo>
                      <a:pt x="424" y="470"/>
                    </a:lnTo>
                    <a:lnTo>
                      <a:pt x="424" y="468"/>
                    </a:lnTo>
                    <a:lnTo>
                      <a:pt x="424" y="470"/>
                    </a:lnTo>
                    <a:lnTo>
                      <a:pt x="424" y="471"/>
                    </a:lnTo>
                    <a:lnTo>
                      <a:pt x="424" y="470"/>
                    </a:lnTo>
                    <a:lnTo>
                      <a:pt x="424" y="471"/>
                    </a:lnTo>
                    <a:lnTo>
                      <a:pt x="426" y="471"/>
                    </a:lnTo>
                    <a:lnTo>
                      <a:pt x="424" y="471"/>
                    </a:lnTo>
                    <a:lnTo>
                      <a:pt x="426" y="471"/>
                    </a:lnTo>
                    <a:lnTo>
                      <a:pt x="424" y="473"/>
                    </a:lnTo>
                    <a:lnTo>
                      <a:pt x="426" y="473"/>
                    </a:lnTo>
                    <a:lnTo>
                      <a:pt x="424" y="473"/>
                    </a:lnTo>
                    <a:lnTo>
                      <a:pt x="424" y="475"/>
                    </a:lnTo>
                    <a:lnTo>
                      <a:pt x="422" y="475"/>
                    </a:lnTo>
                    <a:lnTo>
                      <a:pt x="424" y="475"/>
                    </a:lnTo>
                    <a:lnTo>
                      <a:pt x="424" y="477"/>
                    </a:lnTo>
                    <a:lnTo>
                      <a:pt x="424" y="479"/>
                    </a:lnTo>
                    <a:lnTo>
                      <a:pt x="424" y="477"/>
                    </a:lnTo>
                    <a:lnTo>
                      <a:pt x="424" y="475"/>
                    </a:lnTo>
                    <a:lnTo>
                      <a:pt x="422" y="475"/>
                    </a:lnTo>
                    <a:lnTo>
                      <a:pt x="424" y="475"/>
                    </a:lnTo>
                    <a:lnTo>
                      <a:pt x="424" y="473"/>
                    </a:lnTo>
                    <a:lnTo>
                      <a:pt x="426" y="473"/>
                    </a:lnTo>
                    <a:lnTo>
                      <a:pt x="424" y="473"/>
                    </a:lnTo>
                    <a:lnTo>
                      <a:pt x="426" y="471"/>
                    </a:lnTo>
                    <a:lnTo>
                      <a:pt x="424" y="471"/>
                    </a:lnTo>
                    <a:lnTo>
                      <a:pt x="426" y="471"/>
                    </a:lnTo>
                    <a:lnTo>
                      <a:pt x="424" y="471"/>
                    </a:lnTo>
                    <a:lnTo>
                      <a:pt x="424" y="470"/>
                    </a:lnTo>
                    <a:lnTo>
                      <a:pt x="424" y="471"/>
                    </a:lnTo>
                    <a:lnTo>
                      <a:pt x="424" y="470"/>
                    </a:lnTo>
                    <a:lnTo>
                      <a:pt x="424" y="468"/>
                    </a:lnTo>
                    <a:lnTo>
                      <a:pt x="424" y="470"/>
                    </a:lnTo>
                    <a:lnTo>
                      <a:pt x="426" y="470"/>
                    </a:lnTo>
                    <a:lnTo>
                      <a:pt x="426" y="468"/>
                    </a:lnTo>
                    <a:lnTo>
                      <a:pt x="424" y="468"/>
                    </a:lnTo>
                    <a:lnTo>
                      <a:pt x="426" y="468"/>
                    </a:lnTo>
                    <a:lnTo>
                      <a:pt x="426" y="466"/>
                    </a:lnTo>
                    <a:lnTo>
                      <a:pt x="428" y="466"/>
                    </a:lnTo>
                    <a:lnTo>
                      <a:pt x="426" y="466"/>
                    </a:lnTo>
                    <a:lnTo>
                      <a:pt x="426" y="468"/>
                    </a:lnTo>
                    <a:lnTo>
                      <a:pt x="428" y="468"/>
                    </a:lnTo>
                    <a:lnTo>
                      <a:pt x="428" y="466"/>
                    </a:lnTo>
                    <a:lnTo>
                      <a:pt x="430" y="466"/>
                    </a:lnTo>
                    <a:lnTo>
                      <a:pt x="430" y="464"/>
                    </a:lnTo>
                    <a:lnTo>
                      <a:pt x="432" y="464"/>
                    </a:lnTo>
                    <a:lnTo>
                      <a:pt x="432" y="462"/>
                    </a:lnTo>
                    <a:lnTo>
                      <a:pt x="432" y="460"/>
                    </a:lnTo>
                    <a:lnTo>
                      <a:pt x="434" y="460"/>
                    </a:lnTo>
                    <a:lnTo>
                      <a:pt x="434" y="462"/>
                    </a:lnTo>
                    <a:lnTo>
                      <a:pt x="434" y="464"/>
                    </a:lnTo>
                    <a:lnTo>
                      <a:pt x="436" y="464"/>
                    </a:lnTo>
                    <a:lnTo>
                      <a:pt x="436" y="468"/>
                    </a:lnTo>
                    <a:lnTo>
                      <a:pt x="434" y="470"/>
                    </a:lnTo>
                    <a:lnTo>
                      <a:pt x="436" y="470"/>
                    </a:lnTo>
                    <a:lnTo>
                      <a:pt x="436" y="471"/>
                    </a:lnTo>
                    <a:lnTo>
                      <a:pt x="436" y="470"/>
                    </a:lnTo>
                    <a:lnTo>
                      <a:pt x="434" y="470"/>
                    </a:lnTo>
                    <a:lnTo>
                      <a:pt x="436" y="468"/>
                    </a:lnTo>
                    <a:lnTo>
                      <a:pt x="436" y="470"/>
                    </a:lnTo>
                    <a:lnTo>
                      <a:pt x="436" y="471"/>
                    </a:lnTo>
                    <a:lnTo>
                      <a:pt x="436" y="473"/>
                    </a:lnTo>
                    <a:lnTo>
                      <a:pt x="436" y="475"/>
                    </a:lnTo>
                    <a:lnTo>
                      <a:pt x="434" y="477"/>
                    </a:lnTo>
                    <a:lnTo>
                      <a:pt x="434" y="479"/>
                    </a:lnTo>
                    <a:lnTo>
                      <a:pt x="432" y="481"/>
                    </a:lnTo>
                    <a:lnTo>
                      <a:pt x="432" y="483"/>
                    </a:lnTo>
                    <a:lnTo>
                      <a:pt x="430" y="483"/>
                    </a:lnTo>
                    <a:lnTo>
                      <a:pt x="430" y="485"/>
                    </a:lnTo>
                    <a:lnTo>
                      <a:pt x="428" y="485"/>
                    </a:lnTo>
                    <a:lnTo>
                      <a:pt x="428" y="487"/>
                    </a:lnTo>
                    <a:lnTo>
                      <a:pt x="428" y="491"/>
                    </a:lnTo>
                    <a:lnTo>
                      <a:pt x="428" y="493"/>
                    </a:lnTo>
                    <a:lnTo>
                      <a:pt x="426" y="493"/>
                    </a:lnTo>
                    <a:lnTo>
                      <a:pt x="426" y="494"/>
                    </a:lnTo>
                    <a:lnTo>
                      <a:pt x="426" y="493"/>
                    </a:lnTo>
                    <a:lnTo>
                      <a:pt x="426" y="494"/>
                    </a:lnTo>
                    <a:lnTo>
                      <a:pt x="426" y="496"/>
                    </a:lnTo>
                    <a:lnTo>
                      <a:pt x="426" y="494"/>
                    </a:lnTo>
                    <a:lnTo>
                      <a:pt x="426" y="496"/>
                    </a:lnTo>
                    <a:lnTo>
                      <a:pt x="428" y="496"/>
                    </a:lnTo>
                    <a:lnTo>
                      <a:pt x="428" y="498"/>
                    </a:lnTo>
                    <a:lnTo>
                      <a:pt x="428" y="500"/>
                    </a:lnTo>
                    <a:lnTo>
                      <a:pt x="428" y="502"/>
                    </a:lnTo>
                    <a:lnTo>
                      <a:pt x="428" y="504"/>
                    </a:lnTo>
                    <a:lnTo>
                      <a:pt x="426" y="506"/>
                    </a:lnTo>
                    <a:lnTo>
                      <a:pt x="428" y="504"/>
                    </a:lnTo>
                    <a:lnTo>
                      <a:pt x="428" y="506"/>
                    </a:lnTo>
                    <a:lnTo>
                      <a:pt x="430" y="506"/>
                    </a:lnTo>
                    <a:lnTo>
                      <a:pt x="430" y="508"/>
                    </a:lnTo>
                    <a:lnTo>
                      <a:pt x="428" y="510"/>
                    </a:lnTo>
                    <a:lnTo>
                      <a:pt x="430" y="512"/>
                    </a:lnTo>
                    <a:lnTo>
                      <a:pt x="430" y="514"/>
                    </a:lnTo>
                    <a:lnTo>
                      <a:pt x="430" y="516"/>
                    </a:lnTo>
                    <a:lnTo>
                      <a:pt x="430" y="518"/>
                    </a:lnTo>
                    <a:lnTo>
                      <a:pt x="430" y="519"/>
                    </a:lnTo>
                    <a:lnTo>
                      <a:pt x="430" y="521"/>
                    </a:lnTo>
                    <a:lnTo>
                      <a:pt x="432" y="521"/>
                    </a:lnTo>
                    <a:lnTo>
                      <a:pt x="432" y="523"/>
                    </a:lnTo>
                    <a:lnTo>
                      <a:pt x="432" y="525"/>
                    </a:lnTo>
                    <a:lnTo>
                      <a:pt x="432" y="527"/>
                    </a:lnTo>
                    <a:lnTo>
                      <a:pt x="432" y="525"/>
                    </a:lnTo>
                    <a:lnTo>
                      <a:pt x="432" y="523"/>
                    </a:lnTo>
                    <a:lnTo>
                      <a:pt x="432" y="525"/>
                    </a:lnTo>
                    <a:lnTo>
                      <a:pt x="432" y="527"/>
                    </a:lnTo>
                    <a:lnTo>
                      <a:pt x="432" y="529"/>
                    </a:lnTo>
                    <a:lnTo>
                      <a:pt x="432" y="531"/>
                    </a:lnTo>
                    <a:lnTo>
                      <a:pt x="432" y="533"/>
                    </a:lnTo>
                    <a:lnTo>
                      <a:pt x="432" y="531"/>
                    </a:lnTo>
                    <a:lnTo>
                      <a:pt x="434" y="533"/>
                    </a:lnTo>
                    <a:lnTo>
                      <a:pt x="432" y="535"/>
                    </a:lnTo>
                    <a:lnTo>
                      <a:pt x="432" y="537"/>
                    </a:lnTo>
                    <a:lnTo>
                      <a:pt x="432" y="539"/>
                    </a:lnTo>
                    <a:lnTo>
                      <a:pt x="432" y="541"/>
                    </a:lnTo>
                    <a:lnTo>
                      <a:pt x="432" y="543"/>
                    </a:lnTo>
                    <a:lnTo>
                      <a:pt x="430" y="544"/>
                    </a:lnTo>
                    <a:lnTo>
                      <a:pt x="428" y="544"/>
                    </a:lnTo>
                    <a:lnTo>
                      <a:pt x="430" y="544"/>
                    </a:lnTo>
                    <a:lnTo>
                      <a:pt x="430" y="543"/>
                    </a:lnTo>
                    <a:lnTo>
                      <a:pt x="432" y="543"/>
                    </a:lnTo>
                    <a:lnTo>
                      <a:pt x="432" y="544"/>
                    </a:lnTo>
                    <a:lnTo>
                      <a:pt x="430" y="544"/>
                    </a:lnTo>
                    <a:lnTo>
                      <a:pt x="430" y="546"/>
                    </a:lnTo>
                    <a:lnTo>
                      <a:pt x="430" y="544"/>
                    </a:lnTo>
                    <a:lnTo>
                      <a:pt x="430" y="546"/>
                    </a:lnTo>
                    <a:lnTo>
                      <a:pt x="428" y="546"/>
                    </a:lnTo>
                    <a:lnTo>
                      <a:pt x="428" y="548"/>
                    </a:lnTo>
                    <a:lnTo>
                      <a:pt x="428" y="550"/>
                    </a:lnTo>
                    <a:lnTo>
                      <a:pt x="426" y="550"/>
                    </a:lnTo>
                    <a:lnTo>
                      <a:pt x="424" y="550"/>
                    </a:lnTo>
                    <a:lnTo>
                      <a:pt x="424" y="548"/>
                    </a:lnTo>
                    <a:lnTo>
                      <a:pt x="426" y="548"/>
                    </a:lnTo>
                    <a:lnTo>
                      <a:pt x="428" y="546"/>
                    </a:lnTo>
                    <a:lnTo>
                      <a:pt x="428" y="544"/>
                    </a:lnTo>
                    <a:lnTo>
                      <a:pt x="428" y="546"/>
                    </a:lnTo>
                    <a:lnTo>
                      <a:pt x="426" y="546"/>
                    </a:lnTo>
                    <a:lnTo>
                      <a:pt x="426" y="548"/>
                    </a:lnTo>
                    <a:lnTo>
                      <a:pt x="426" y="546"/>
                    </a:lnTo>
                    <a:lnTo>
                      <a:pt x="426" y="548"/>
                    </a:lnTo>
                    <a:lnTo>
                      <a:pt x="424" y="548"/>
                    </a:lnTo>
                    <a:lnTo>
                      <a:pt x="424" y="550"/>
                    </a:lnTo>
                    <a:lnTo>
                      <a:pt x="424" y="552"/>
                    </a:lnTo>
                    <a:lnTo>
                      <a:pt x="424" y="554"/>
                    </a:lnTo>
                    <a:lnTo>
                      <a:pt x="422" y="554"/>
                    </a:lnTo>
                    <a:lnTo>
                      <a:pt x="424" y="554"/>
                    </a:lnTo>
                    <a:lnTo>
                      <a:pt x="424" y="556"/>
                    </a:lnTo>
                    <a:lnTo>
                      <a:pt x="422" y="556"/>
                    </a:lnTo>
                    <a:lnTo>
                      <a:pt x="422" y="558"/>
                    </a:lnTo>
                    <a:lnTo>
                      <a:pt x="422" y="560"/>
                    </a:lnTo>
                    <a:lnTo>
                      <a:pt x="420" y="560"/>
                    </a:lnTo>
                    <a:lnTo>
                      <a:pt x="419" y="560"/>
                    </a:lnTo>
                    <a:lnTo>
                      <a:pt x="419" y="558"/>
                    </a:lnTo>
                    <a:lnTo>
                      <a:pt x="417" y="558"/>
                    </a:lnTo>
                    <a:lnTo>
                      <a:pt x="417" y="560"/>
                    </a:lnTo>
                    <a:lnTo>
                      <a:pt x="415" y="560"/>
                    </a:lnTo>
                    <a:lnTo>
                      <a:pt x="417" y="558"/>
                    </a:lnTo>
                    <a:lnTo>
                      <a:pt x="415" y="558"/>
                    </a:lnTo>
                    <a:lnTo>
                      <a:pt x="415" y="560"/>
                    </a:lnTo>
                    <a:lnTo>
                      <a:pt x="413" y="558"/>
                    </a:lnTo>
                    <a:lnTo>
                      <a:pt x="415" y="558"/>
                    </a:lnTo>
                    <a:lnTo>
                      <a:pt x="413" y="558"/>
                    </a:lnTo>
                    <a:lnTo>
                      <a:pt x="413" y="556"/>
                    </a:lnTo>
                    <a:lnTo>
                      <a:pt x="411" y="556"/>
                    </a:lnTo>
                    <a:lnTo>
                      <a:pt x="413" y="556"/>
                    </a:lnTo>
                    <a:lnTo>
                      <a:pt x="413" y="558"/>
                    </a:lnTo>
                    <a:lnTo>
                      <a:pt x="415" y="558"/>
                    </a:lnTo>
                    <a:lnTo>
                      <a:pt x="413" y="558"/>
                    </a:lnTo>
                    <a:lnTo>
                      <a:pt x="413" y="560"/>
                    </a:lnTo>
                    <a:lnTo>
                      <a:pt x="415" y="560"/>
                    </a:lnTo>
                    <a:lnTo>
                      <a:pt x="415" y="558"/>
                    </a:lnTo>
                    <a:lnTo>
                      <a:pt x="417" y="558"/>
                    </a:lnTo>
                    <a:lnTo>
                      <a:pt x="415" y="560"/>
                    </a:lnTo>
                    <a:lnTo>
                      <a:pt x="417" y="560"/>
                    </a:lnTo>
                    <a:lnTo>
                      <a:pt x="417" y="558"/>
                    </a:lnTo>
                    <a:lnTo>
                      <a:pt x="417" y="560"/>
                    </a:lnTo>
                    <a:lnTo>
                      <a:pt x="417" y="558"/>
                    </a:lnTo>
                    <a:lnTo>
                      <a:pt x="419" y="558"/>
                    </a:lnTo>
                    <a:lnTo>
                      <a:pt x="419" y="560"/>
                    </a:lnTo>
                    <a:lnTo>
                      <a:pt x="420" y="560"/>
                    </a:lnTo>
                    <a:lnTo>
                      <a:pt x="420" y="562"/>
                    </a:lnTo>
                    <a:lnTo>
                      <a:pt x="419" y="562"/>
                    </a:lnTo>
                    <a:lnTo>
                      <a:pt x="419" y="564"/>
                    </a:lnTo>
                    <a:lnTo>
                      <a:pt x="420" y="564"/>
                    </a:lnTo>
                    <a:lnTo>
                      <a:pt x="422" y="564"/>
                    </a:lnTo>
                    <a:lnTo>
                      <a:pt x="422" y="566"/>
                    </a:lnTo>
                    <a:lnTo>
                      <a:pt x="420" y="566"/>
                    </a:lnTo>
                    <a:lnTo>
                      <a:pt x="420" y="564"/>
                    </a:lnTo>
                    <a:lnTo>
                      <a:pt x="419" y="564"/>
                    </a:lnTo>
                    <a:lnTo>
                      <a:pt x="419" y="566"/>
                    </a:lnTo>
                    <a:lnTo>
                      <a:pt x="420" y="566"/>
                    </a:lnTo>
                    <a:lnTo>
                      <a:pt x="420" y="568"/>
                    </a:lnTo>
                    <a:lnTo>
                      <a:pt x="422" y="568"/>
                    </a:lnTo>
                    <a:lnTo>
                      <a:pt x="420" y="568"/>
                    </a:lnTo>
                    <a:lnTo>
                      <a:pt x="419" y="568"/>
                    </a:lnTo>
                    <a:lnTo>
                      <a:pt x="419" y="569"/>
                    </a:lnTo>
                    <a:lnTo>
                      <a:pt x="419" y="568"/>
                    </a:lnTo>
                    <a:lnTo>
                      <a:pt x="417" y="566"/>
                    </a:lnTo>
                    <a:lnTo>
                      <a:pt x="415" y="568"/>
                    </a:lnTo>
                    <a:lnTo>
                      <a:pt x="415" y="566"/>
                    </a:lnTo>
                    <a:lnTo>
                      <a:pt x="413" y="566"/>
                    </a:lnTo>
                    <a:lnTo>
                      <a:pt x="415" y="566"/>
                    </a:lnTo>
                    <a:lnTo>
                      <a:pt x="413" y="566"/>
                    </a:lnTo>
                    <a:lnTo>
                      <a:pt x="413" y="564"/>
                    </a:lnTo>
                    <a:lnTo>
                      <a:pt x="411" y="564"/>
                    </a:lnTo>
                    <a:lnTo>
                      <a:pt x="411" y="566"/>
                    </a:lnTo>
                    <a:lnTo>
                      <a:pt x="409" y="566"/>
                    </a:lnTo>
                    <a:lnTo>
                      <a:pt x="407" y="566"/>
                    </a:lnTo>
                    <a:lnTo>
                      <a:pt x="405" y="566"/>
                    </a:lnTo>
                    <a:lnTo>
                      <a:pt x="403" y="564"/>
                    </a:lnTo>
                    <a:lnTo>
                      <a:pt x="401" y="564"/>
                    </a:lnTo>
                    <a:lnTo>
                      <a:pt x="399" y="564"/>
                    </a:lnTo>
                    <a:lnTo>
                      <a:pt x="397" y="564"/>
                    </a:lnTo>
                    <a:lnTo>
                      <a:pt x="397" y="566"/>
                    </a:lnTo>
                    <a:lnTo>
                      <a:pt x="395" y="566"/>
                    </a:lnTo>
                    <a:lnTo>
                      <a:pt x="395" y="564"/>
                    </a:lnTo>
                    <a:lnTo>
                      <a:pt x="394" y="564"/>
                    </a:lnTo>
                    <a:lnTo>
                      <a:pt x="394" y="566"/>
                    </a:lnTo>
                    <a:lnTo>
                      <a:pt x="394" y="568"/>
                    </a:lnTo>
                    <a:lnTo>
                      <a:pt x="395" y="569"/>
                    </a:lnTo>
                    <a:lnTo>
                      <a:pt x="394" y="569"/>
                    </a:lnTo>
                    <a:lnTo>
                      <a:pt x="392" y="568"/>
                    </a:lnTo>
                    <a:lnTo>
                      <a:pt x="392" y="569"/>
                    </a:lnTo>
                    <a:lnTo>
                      <a:pt x="390" y="569"/>
                    </a:lnTo>
                    <a:lnTo>
                      <a:pt x="388" y="569"/>
                    </a:lnTo>
                    <a:lnTo>
                      <a:pt x="386" y="569"/>
                    </a:lnTo>
                    <a:lnTo>
                      <a:pt x="384" y="569"/>
                    </a:lnTo>
                    <a:lnTo>
                      <a:pt x="386" y="569"/>
                    </a:lnTo>
                    <a:lnTo>
                      <a:pt x="386" y="568"/>
                    </a:lnTo>
                    <a:lnTo>
                      <a:pt x="386" y="566"/>
                    </a:lnTo>
                    <a:lnTo>
                      <a:pt x="384" y="566"/>
                    </a:lnTo>
                    <a:lnTo>
                      <a:pt x="384" y="568"/>
                    </a:lnTo>
                    <a:lnTo>
                      <a:pt x="382" y="568"/>
                    </a:lnTo>
                    <a:lnTo>
                      <a:pt x="380" y="568"/>
                    </a:lnTo>
                    <a:lnTo>
                      <a:pt x="380" y="566"/>
                    </a:lnTo>
                    <a:lnTo>
                      <a:pt x="380" y="564"/>
                    </a:lnTo>
                    <a:lnTo>
                      <a:pt x="378" y="564"/>
                    </a:lnTo>
                    <a:lnTo>
                      <a:pt x="378" y="566"/>
                    </a:lnTo>
                    <a:lnTo>
                      <a:pt x="378" y="568"/>
                    </a:lnTo>
                    <a:lnTo>
                      <a:pt x="378" y="569"/>
                    </a:lnTo>
                    <a:lnTo>
                      <a:pt x="376" y="569"/>
                    </a:lnTo>
                    <a:lnTo>
                      <a:pt x="376" y="568"/>
                    </a:lnTo>
                    <a:lnTo>
                      <a:pt x="374" y="566"/>
                    </a:lnTo>
                    <a:lnTo>
                      <a:pt x="376" y="566"/>
                    </a:lnTo>
                    <a:lnTo>
                      <a:pt x="374" y="564"/>
                    </a:lnTo>
                    <a:lnTo>
                      <a:pt x="372" y="566"/>
                    </a:lnTo>
                    <a:lnTo>
                      <a:pt x="374" y="568"/>
                    </a:lnTo>
                    <a:lnTo>
                      <a:pt x="372" y="568"/>
                    </a:lnTo>
                    <a:lnTo>
                      <a:pt x="370" y="568"/>
                    </a:lnTo>
                    <a:lnTo>
                      <a:pt x="370" y="569"/>
                    </a:lnTo>
                    <a:lnTo>
                      <a:pt x="372" y="569"/>
                    </a:lnTo>
                    <a:lnTo>
                      <a:pt x="370" y="571"/>
                    </a:lnTo>
                    <a:lnTo>
                      <a:pt x="369" y="571"/>
                    </a:lnTo>
                    <a:lnTo>
                      <a:pt x="367" y="571"/>
                    </a:lnTo>
                    <a:lnTo>
                      <a:pt x="367" y="573"/>
                    </a:lnTo>
                    <a:lnTo>
                      <a:pt x="369" y="573"/>
                    </a:lnTo>
                    <a:lnTo>
                      <a:pt x="370" y="573"/>
                    </a:lnTo>
                    <a:lnTo>
                      <a:pt x="369" y="573"/>
                    </a:lnTo>
                    <a:lnTo>
                      <a:pt x="369" y="575"/>
                    </a:lnTo>
                    <a:lnTo>
                      <a:pt x="369" y="577"/>
                    </a:lnTo>
                    <a:lnTo>
                      <a:pt x="367" y="577"/>
                    </a:lnTo>
                    <a:lnTo>
                      <a:pt x="367" y="579"/>
                    </a:lnTo>
                    <a:lnTo>
                      <a:pt x="367" y="581"/>
                    </a:lnTo>
                    <a:lnTo>
                      <a:pt x="365" y="581"/>
                    </a:lnTo>
                    <a:lnTo>
                      <a:pt x="363" y="581"/>
                    </a:lnTo>
                    <a:lnTo>
                      <a:pt x="365" y="581"/>
                    </a:lnTo>
                    <a:lnTo>
                      <a:pt x="365" y="583"/>
                    </a:lnTo>
                    <a:lnTo>
                      <a:pt x="367" y="581"/>
                    </a:lnTo>
                    <a:lnTo>
                      <a:pt x="367" y="579"/>
                    </a:lnTo>
                    <a:lnTo>
                      <a:pt x="367" y="577"/>
                    </a:lnTo>
                    <a:lnTo>
                      <a:pt x="369" y="577"/>
                    </a:lnTo>
                    <a:lnTo>
                      <a:pt x="369" y="575"/>
                    </a:lnTo>
                    <a:lnTo>
                      <a:pt x="369" y="573"/>
                    </a:lnTo>
                    <a:lnTo>
                      <a:pt x="370" y="573"/>
                    </a:lnTo>
                    <a:lnTo>
                      <a:pt x="369" y="573"/>
                    </a:lnTo>
                    <a:lnTo>
                      <a:pt x="367" y="573"/>
                    </a:lnTo>
                    <a:lnTo>
                      <a:pt x="367" y="571"/>
                    </a:lnTo>
                    <a:lnTo>
                      <a:pt x="369" y="571"/>
                    </a:lnTo>
                    <a:lnTo>
                      <a:pt x="370" y="571"/>
                    </a:lnTo>
                    <a:lnTo>
                      <a:pt x="372" y="569"/>
                    </a:lnTo>
                    <a:lnTo>
                      <a:pt x="370" y="569"/>
                    </a:lnTo>
                    <a:lnTo>
                      <a:pt x="370" y="568"/>
                    </a:lnTo>
                    <a:lnTo>
                      <a:pt x="372" y="568"/>
                    </a:lnTo>
                    <a:lnTo>
                      <a:pt x="374" y="568"/>
                    </a:lnTo>
                    <a:lnTo>
                      <a:pt x="372" y="566"/>
                    </a:lnTo>
                    <a:lnTo>
                      <a:pt x="374" y="564"/>
                    </a:lnTo>
                    <a:lnTo>
                      <a:pt x="374" y="566"/>
                    </a:lnTo>
                    <a:lnTo>
                      <a:pt x="376" y="568"/>
                    </a:lnTo>
                    <a:lnTo>
                      <a:pt x="376" y="569"/>
                    </a:lnTo>
                    <a:lnTo>
                      <a:pt x="378" y="569"/>
                    </a:lnTo>
                    <a:lnTo>
                      <a:pt x="378" y="568"/>
                    </a:lnTo>
                    <a:lnTo>
                      <a:pt x="378" y="566"/>
                    </a:lnTo>
                    <a:lnTo>
                      <a:pt x="378" y="564"/>
                    </a:lnTo>
                    <a:lnTo>
                      <a:pt x="380" y="564"/>
                    </a:lnTo>
                    <a:lnTo>
                      <a:pt x="380" y="566"/>
                    </a:lnTo>
                    <a:lnTo>
                      <a:pt x="380" y="568"/>
                    </a:lnTo>
                    <a:lnTo>
                      <a:pt x="382" y="568"/>
                    </a:lnTo>
                    <a:lnTo>
                      <a:pt x="382" y="569"/>
                    </a:lnTo>
                    <a:lnTo>
                      <a:pt x="382" y="568"/>
                    </a:lnTo>
                    <a:lnTo>
                      <a:pt x="384" y="568"/>
                    </a:lnTo>
                    <a:lnTo>
                      <a:pt x="386" y="566"/>
                    </a:lnTo>
                    <a:lnTo>
                      <a:pt x="386" y="568"/>
                    </a:lnTo>
                    <a:lnTo>
                      <a:pt x="386" y="569"/>
                    </a:lnTo>
                    <a:lnTo>
                      <a:pt x="384" y="569"/>
                    </a:lnTo>
                    <a:lnTo>
                      <a:pt x="386" y="569"/>
                    </a:lnTo>
                    <a:lnTo>
                      <a:pt x="388" y="569"/>
                    </a:lnTo>
                    <a:lnTo>
                      <a:pt x="390" y="569"/>
                    </a:lnTo>
                    <a:lnTo>
                      <a:pt x="392" y="568"/>
                    </a:lnTo>
                    <a:lnTo>
                      <a:pt x="394" y="569"/>
                    </a:lnTo>
                    <a:lnTo>
                      <a:pt x="395" y="569"/>
                    </a:lnTo>
                    <a:lnTo>
                      <a:pt x="395" y="568"/>
                    </a:lnTo>
                    <a:lnTo>
                      <a:pt x="394" y="568"/>
                    </a:lnTo>
                    <a:lnTo>
                      <a:pt x="395" y="568"/>
                    </a:lnTo>
                    <a:lnTo>
                      <a:pt x="394" y="568"/>
                    </a:lnTo>
                    <a:lnTo>
                      <a:pt x="394" y="566"/>
                    </a:lnTo>
                    <a:lnTo>
                      <a:pt x="394" y="564"/>
                    </a:lnTo>
                    <a:lnTo>
                      <a:pt x="395" y="564"/>
                    </a:lnTo>
                    <a:lnTo>
                      <a:pt x="395" y="566"/>
                    </a:lnTo>
                    <a:lnTo>
                      <a:pt x="397" y="566"/>
                    </a:lnTo>
                    <a:lnTo>
                      <a:pt x="395" y="566"/>
                    </a:lnTo>
                    <a:lnTo>
                      <a:pt x="397" y="566"/>
                    </a:lnTo>
                    <a:lnTo>
                      <a:pt x="397" y="564"/>
                    </a:lnTo>
                    <a:lnTo>
                      <a:pt x="399" y="564"/>
                    </a:lnTo>
                    <a:lnTo>
                      <a:pt x="401" y="564"/>
                    </a:lnTo>
                    <a:lnTo>
                      <a:pt x="403" y="564"/>
                    </a:lnTo>
                    <a:lnTo>
                      <a:pt x="403" y="566"/>
                    </a:lnTo>
                    <a:lnTo>
                      <a:pt x="405" y="566"/>
                    </a:lnTo>
                    <a:lnTo>
                      <a:pt x="407" y="566"/>
                    </a:lnTo>
                    <a:lnTo>
                      <a:pt x="409" y="566"/>
                    </a:lnTo>
                    <a:lnTo>
                      <a:pt x="411" y="566"/>
                    </a:lnTo>
                    <a:lnTo>
                      <a:pt x="413" y="566"/>
                    </a:lnTo>
                    <a:lnTo>
                      <a:pt x="411" y="566"/>
                    </a:lnTo>
                    <a:lnTo>
                      <a:pt x="413" y="566"/>
                    </a:lnTo>
                    <a:lnTo>
                      <a:pt x="411" y="566"/>
                    </a:lnTo>
                    <a:lnTo>
                      <a:pt x="413" y="566"/>
                    </a:lnTo>
                    <a:lnTo>
                      <a:pt x="411" y="566"/>
                    </a:lnTo>
                    <a:lnTo>
                      <a:pt x="413" y="564"/>
                    </a:lnTo>
                    <a:lnTo>
                      <a:pt x="413" y="566"/>
                    </a:lnTo>
                    <a:lnTo>
                      <a:pt x="411" y="566"/>
                    </a:lnTo>
                    <a:lnTo>
                      <a:pt x="413" y="566"/>
                    </a:lnTo>
                    <a:lnTo>
                      <a:pt x="415" y="566"/>
                    </a:lnTo>
                    <a:lnTo>
                      <a:pt x="415" y="568"/>
                    </a:lnTo>
                    <a:lnTo>
                      <a:pt x="413" y="568"/>
                    </a:lnTo>
                    <a:lnTo>
                      <a:pt x="415" y="568"/>
                    </a:lnTo>
                    <a:lnTo>
                      <a:pt x="415" y="566"/>
                    </a:lnTo>
                    <a:lnTo>
                      <a:pt x="415" y="568"/>
                    </a:lnTo>
                    <a:lnTo>
                      <a:pt x="417" y="568"/>
                    </a:lnTo>
                    <a:lnTo>
                      <a:pt x="417" y="566"/>
                    </a:lnTo>
                    <a:lnTo>
                      <a:pt x="417" y="568"/>
                    </a:lnTo>
                    <a:lnTo>
                      <a:pt x="419" y="568"/>
                    </a:lnTo>
                    <a:lnTo>
                      <a:pt x="417" y="569"/>
                    </a:lnTo>
                    <a:lnTo>
                      <a:pt x="419" y="569"/>
                    </a:lnTo>
                    <a:lnTo>
                      <a:pt x="420" y="569"/>
                    </a:lnTo>
                    <a:lnTo>
                      <a:pt x="419" y="569"/>
                    </a:lnTo>
                    <a:lnTo>
                      <a:pt x="419" y="571"/>
                    </a:lnTo>
                    <a:lnTo>
                      <a:pt x="419" y="569"/>
                    </a:lnTo>
                    <a:lnTo>
                      <a:pt x="420" y="569"/>
                    </a:lnTo>
                    <a:lnTo>
                      <a:pt x="420" y="571"/>
                    </a:lnTo>
                    <a:lnTo>
                      <a:pt x="419" y="571"/>
                    </a:lnTo>
                    <a:lnTo>
                      <a:pt x="420" y="571"/>
                    </a:lnTo>
                    <a:lnTo>
                      <a:pt x="419" y="573"/>
                    </a:lnTo>
                    <a:lnTo>
                      <a:pt x="420" y="571"/>
                    </a:lnTo>
                    <a:lnTo>
                      <a:pt x="419" y="571"/>
                    </a:lnTo>
                    <a:lnTo>
                      <a:pt x="420" y="571"/>
                    </a:lnTo>
                    <a:lnTo>
                      <a:pt x="420" y="569"/>
                    </a:lnTo>
                    <a:lnTo>
                      <a:pt x="419" y="569"/>
                    </a:lnTo>
                    <a:lnTo>
                      <a:pt x="419" y="571"/>
                    </a:lnTo>
                    <a:lnTo>
                      <a:pt x="419" y="569"/>
                    </a:lnTo>
                    <a:lnTo>
                      <a:pt x="420" y="569"/>
                    </a:lnTo>
                    <a:lnTo>
                      <a:pt x="419" y="569"/>
                    </a:lnTo>
                    <a:lnTo>
                      <a:pt x="419" y="568"/>
                    </a:lnTo>
                    <a:lnTo>
                      <a:pt x="420" y="568"/>
                    </a:lnTo>
                    <a:lnTo>
                      <a:pt x="420" y="569"/>
                    </a:lnTo>
                    <a:lnTo>
                      <a:pt x="422" y="569"/>
                    </a:lnTo>
                    <a:lnTo>
                      <a:pt x="424" y="569"/>
                    </a:lnTo>
                    <a:lnTo>
                      <a:pt x="422" y="568"/>
                    </a:lnTo>
                    <a:lnTo>
                      <a:pt x="424" y="568"/>
                    </a:lnTo>
                    <a:lnTo>
                      <a:pt x="424" y="569"/>
                    </a:lnTo>
                    <a:lnTo>
                      <a:pt x="424" y="571"/>
                    </a:lnTo>
                    <a:lnTo>
                      <a:pt x="424" y="573"/>
                    </a:lnTo>
                    <a:lnTo>
                      <a:pt x="422" y="575"/>
                    </a:lnTo>
                    <a:lnTo>
                      <a:pt x="424" y="577"/>
                    </a:lnTo>
                    <a:lnTo>
                      <a:pt x="424" y="579"/>
                    </a:lnTo>
                    <a:lnTo>
                      <a:pt x="424" y="581"/>
                    </a:lnTo>
                    <a:lnTo>
                      <a:pt x="426" y="581"/>
                    </a:lnTo>
                    <a:lnTo>
                      <a:pt x="426" y="583"/>
                    </a:lnTo>
                    <a:lnTo>
                      <a:pt x="424" y="583"/>
                    </a:lnTo>
                    <a:lnTo>
                      <a:pt x="426" y="585"/>
                    </a:lnTo>
                    <a:lnTo>
                      <a:pt x="426" y="587"/>
                    </a:lnTo>
                    <a:lnTo>
                      <a:pt x="424" y="587"/>
                    </a:lnTo>
                    <a:lnTo>
                      <a:pt x="424" y="589"/>
                    </a:lnTo>
                    <a:lnTo>
                      <a:pt x="426" y="589"/>
                    </a:lnTo>
                    <a:lnTo>
                      <a:pt x="426" y="587"/>
                    </a:lnTo>
                    <a:lnTo>
                      <a:pt x="426" y="589"/>
                    </a:lnTo>
                    <a:lnTo>
                      <a:pt x="426" y="591"/>
                    </a:lnTo>
                    <a:lnTo>
                      <a:pt x="428" y="593"/>
                    </a:lnTo>
                    <a:lnTo>
                      <a:pt x="426" y="593"/>
                    </a:lnTo>
                    <a:lnTo>
                      <a:pt x="428" y="593"/>
                    </a:lnTo>
                    <a:lnTo>
                      <a:pt x="428" y="594"/>
                    </a:lnTo>
                    <a:lnTo>
                      <a:pt x="426" y="593"/>
                    </a:lnTo>
                    <a:lnTo>
                      <a:pt x="426" y="594"/>
                    </a:lnTo>
                    <a:lnTo>
                      <a:pt x="428" y="594"/>
                    </a:lnTo>
                    <a:lnTo>
                      <a:pt x="428" y="593"/>
                    </a:lnTo>
                    <a:lnTo>
                      <a:pt x="428" y="594"/>
                    </a:lnTo>
                    <a:lnTo>
                      <a:pt x="428" y="593"/>
                    </a:lnTo>
                    <a:lnTo>
                      <a:pt x="430" y="593"/>
                    </a:lnTo>
                    <a:lnTo>
                      <a:pt x="430" y="594"/>
                    </a:lnTo>
                    <a:lnTo>
                      <a:pt x="432" y="594"/>
                    </a:lnTo>
                    <a:lnTo>
                      <a:pt x="430" y="596"/>
                    </a:lnTo>
                    <a:lnTo>
                      <a:pt x="432" y="598"/>
                    </a:lnTo>
                    <a:lnTo>
                      <a:pt x="432" y="600"/>
                    </a:lnTo>
                    <a:lnTo>
                      <a:pt x="432" y="598"/>
                    </a:lnTo>
                    <a:lnTo>
                      <a:pt x="430" y="598"/>
                    </a:lnTo>
                    <a:lnTo>
                      <a:pt x="432" y="598"/>
                    </a:lnTo>
                    <a:lnTo>
                      <a:pt x="432" y="600"/>
                    </a:lnTo>
                    <a:lnTo>
                      <a:pt x="434" y="600"/>
                    </a:lnTo>
                    <a:lnTo>
                      <a:pt x="436" y="602"/>
                    </a:lnTo>
                    <a:lnTo>
                      <a:pt x="436" y="604"/>
                    </a:lnTo>
                    <a:lnTo>
                      <a:pt x="438" y="604"/>
                    </a:lnTo>
                    <a:lnTo>
                      <a:pt x="438" y="606"/>
                    </a:lnTo>
                    <a:lnTo>
                      <a:pt x="436" y="608"/>
                    </a:lnTo>
                    <a:lnTo>
                      <a:pt x="436" y="606"/>
                    </a:lnTo>
                    <a:lnTo>
                      <a:pt x="436" y="608"/>
                    </a:lnTo>
                    <a:lnTo>
                      <a:pt x="438" y="606"/>
                    </a:lnTo>
                    <a:lnTo>
                      <a:pt x="438" y="604"/>
                    </a:lnTo>
                    <a:lnTo>
                      <a:pt x="438" y="606"/>
                    </a:lnTo>
                    <a:lnTo>
                      <a:pt x="440" y="606"/>
                    </a:lnTo>
                    <a:lnTo>
                      <a:pt x="440" y="608"/>
                    </a:lnTo>
                    <a:lnTo>
                      <a:pt x="442" y="610"/>
                    </a:lnTo>
                    <a:lnTo>
                      <a:pt x="442" y="612"/>
                    </a:lnTo>
                    <a:lnTo>
                      <a:pt x="442" y="614"/>
                    </a:lnTo>
                    <a:lnTo>
                      <a:pt x="443" y="614"/>
                    </a:lnTo>
                    <a:lnTo>
                      <a:pt x="443" y="616"/>
                    </a:lnTo>
                    <a:lnTo>
                      <a:pt x="443" y="618"/>
                    </a:lnTo>
                    <a:lnTo>
                      <a:pt x="445" y="618"/>
                    </a:lnTo>
                    <a:lnTo>
                      <a:pt x="447" y="618"/>
                    </a:lnTo>
                    <a:lnTo>
                      <a:pt x="447" y="619"/>
                    </a:lnTo>
                    <a:lnTo>
                      <a:pt x="447" y="621"/>
                    </a:lnTo>
                    <a:lnTo>
                      <a:pt x="447" y="623"/>
                    </a:lnTo>
                    <a:lnTo>
                      <a:pt x="447" y="625"/>
                    </a:lnTo>
                    <a:lnTo>
                      <a:pt x="449" y="627"/>
                    </a:lnTo>
                    <a:lnTo>
                      <a:pt x="451" y="629"/>
                    </a:lnTo>
                    <a:lnTo>
                      <a:pt x="451" y="631"/>
                    </a:lnTo>
                    <a:lnTo>
                      <a:pt x="449" y="631"/>
                    </a:lnTo>
                    <a:lnTo>
                      <a:pt x="451" y="631"/>
                    </a:lnTo>
                    <a:lnTo>
                      <a:pt x="449" y="631"/>
                    </a:lnTo>
                    <a:lnTo>
                      <a:pt x="451" y="631"/>
                    </a:lnTo>
                    <a:lnTo>
                      <a:pt x="449" y="631"/>
                    </a:lnTo>
                    <a:lnTo>
                      <a:pt x="451" y="631"/>
                    </a:lnTo>
                    <a:lnTo>
                      <a:pt x="449" y="631"/>
                    </a:lnTo>
                    <a:lnTo>
                      <a:pt x="451" y="631"/>
                    </a:lnTo>
                    <a:lnTo>
                      <a:pt x="449" y="631"/>
                    </a:lnTo>
                    <a:lnTo>
                      <a:pt x="451" y="631"/>
                    </a:lnTo>
                    <a:lnTo>
                      <a:pt x="451" y="633"/>
                    </a:lnTo>
                    <a:lnTo>
                      <a:pt x="453" y="633"/>
                    </a:lnTo>
                    <a:lnTo>
                      <a:pt x="453" y="635"/>
                    </a:lnTo>
                    <a:lnTo>
                      <a:pt x="455" y="635"/>
                    </a:lnTo>
                    <a:lnTo>
                      <a:pt x="455" y="637"/>
                    </a:lnTo>
                    <a:lnTo>
                      <a:pt x="455" y="639"/>
                    </a:lnTo>
                    <a:lnTo>
                      <a:pt x="457" y="639"/>
                    </a:lnTo>
                    <a:lnTo>
                      <a:pt x="457" y="641"/>
                    </a:lnTo>
                    <a:lnTo>
                      <a:pt x="457" y="643"/>
                    </a:lnTo>
                    <a:lnTo>
                      <a:pt x="457" y="644"/>
                    </a:lnTo>
                    <a:lnTo>
                      <a:pt x="459" y="646"/>
                    </a:lnTo>
                    <a:lnTo>
                      <a:pt x="459" y="648"/>
                    </a:lnTo>
                    <a:lnTo>
                      <a:pt x="459" y="650"/>
                    </a:lnTo>
                    <a:lnTo>
                      <a:pt x="459" y="652"/>
                    </a:lnTo>
                    <a:lnTo>
                      <a:pt x="461" y="652"/>
                    </a:lnTo>
                    <a:lnTo>
                      <a:pt x="461" y="654"/>
                    </a:lnTo>
                    <a:lnTo>
                      <a:pt x="463" y="654"/>
                    </a:lnTo>
                    <a:lnTo>
                      <a:pt x="461" y="654"/>
                    </a:lnTo>
                    <a:lnTo>
                      <a:pt x="459" y="652"/>
                    </a:lnTo>
                    <a:lnTo>
                      <a:pt x="459" y="650"/>
                    </a:lnTo>
                    <a:lnTo>
                      <a:pt x="459" y="648"/>
                    </a:lnTo>
                    <a:lnTo>
                      <a:pt x="459" y="646"/>
                    </a:lnTo>
                    <a:lnTo>
                      <a:pt x="457" y="644"/>
                    </a:lnTo>
                    <a:lnTo>
                      <a:pt x="459" y="644"/>
                    </a:lnTo>
                    <a:lnTo>
                      <a:pt x="461" y="646"/>
                    </a:lnTo>
                    <a:lnTo>
                      <a:pt x="459" y="646"/>
                    </a:lnTo>
                    <a:lnTo>
                      <a:pt x="459" y="648"/>
                    </a:lnTo>
                    <a:lnTo>
                      <a:pt x="461" y="648"/>
                    </a:lnTo>
                    <a:lnTo>
                      <a:pt x="463" y="648"/>
                    </a:lnTo>
                    <a:lnTo>
                      <a:pt x="463" y="650"/>
                    </a:lnTo>
                    <a:lnTo>
                      <a:pt x="465" y="650"/>
                    </a:lnTo>
                    <a:lnTo>
                      <a:pt x="465" y="652"/>
                    </a:lnTo>
                    <a:lnTo>
                      <a:pt x="463" y="650"/>
                    </a:lnTo>
                    <a:lnTo>
                      <a:pt x="463" y="652"/>
                    </a:lnTo>
                    <a:lnTo>
                      <a:pt x="465" y="652"/>
                    </a:lnTo>
                    <a:lnTo>
                      <a:pt x="465" y="654"/>
                    </a:lnTo>
                    <a:lnTo>
                      <a:pt x="467" y="654"/>
                    </a:lnTo>
                    <a:lnTo>
                      <a:pt x="467" y="656"/>
                    </a:lnTo>
                    <a:lnTo>
                      <a:pt x="465" y="654"/>
                    </a:lnTo>
                    <a:lnTo>
                      <a:pt x="467" y="656"/>
                    </a:lnTo>
                    <a:lnTo>
                      <a:pt x="467" y="658"/>
                    </a:lnTo>
                    <a:lnTo>
                      <a:pt x="468" y="658"/>
                    </a:lnTo>
                    <a:lnTo>
                      <a:pt x="468" y="660"/>
                    </a:lnTo>
                    <a:lnTo>
                      <a:pt x="468" y="662"/>
                    </a:lnTo>
                    <a:lnTo>
                      <a:pt x="470" y="664"/>
                    </a:lnTo>
                    <a:lnTo>
                      <a:pt x="470" y="666"/>
                    </a:lnTo>
                    <a:lnTo>
                      <a:pt x="470" y="668"/>
                    </a:lnTo>
                    <a:lnTo>
                      <a:pt x="470" y="669"/>
                    </a:lnTo>
                    <a:lnTo>
                      <a:pt x="468" y="669"/>
                    </a:lnTo>
                    <a:lnTo>
                      <a:pt x="470" y="669"/>
                    </a:lnTo>
                    <a:lnTo>
                      <a:pt x="468" y="669"/>
                    </a:lnTo>
                    <a:lnTo>
                      <a:pt x="470" y="669"/>
                    </a:lnTo>
                    <a:lnTo>
                      <a:pt x="468" y="669"/>
                    </a:lnTo>
                    <a:lnTo>
                      <a:pt x="470" y="669"/>
                    </a:lnTo>
                    <a:lnTo>
                      <a:pt x="468" y="669"/>
                    </a:lnTo>
                    <a:lnTo>
                      <a:pt x="470" y="669"/>
                    </a:lnTo>
                    <a:lnTo>
                      <a:pt x="470" y="668"/>
                    </a:lnTo>
                    <a:lnTo>
                      <a:pt x="470" y="666"/>
                    </a:lnTo>
                    <a:lnTo>
                      <a:pt x="472" y="666"/>
                    </a:lnTo>
                    <a:lnTo>
                      <a:pt x="472" y="668"/>
                    </a:lnTo>
                    <a:lnTo>
                      <a:pt x="472" y="669"/>
                    </a:lnTo>
                    <a:lnTo>
                      <a:pt x="472" y="671"/>
                    </a:lnTo>
                    <a:lnTo>
                      <a:pt x="470" y="671"/>
                    </a:lnTo>
                    <a:lnTo>
                      <a:pt x="470" y="673"/>
                    </a:lnTo>
                    <a:lnTo>
                      <a:pt x="472" y="675"/>
                    </a:lnTo>
                    <a:lnTo>
                      <a:pt x="472" y="677"/>
                    </a:lnTo>
                    <a:lnTo>
                      <a:pt x="472" y="675"/>
                    </a:lnTo>
                    <a:lnTo>
                      <a:pt x="470" y="673"/>
                    </a:lnTo>
                    <a:lnTo>
                      <a:pt x="472" y="673"/>
                    </a:lnTo>
                    <a:lnTo>
                      <a:pt x="470" y="673"/>
                    </a:lnTo>
                    <a:lnTo>
                      <a:pt x="472" y="671"/>
                    </a:lnTo>
                    <a:lnTo>
                      <a:pt x="472" y="673"/>
                    </a:lnTo>
                    <a:lnTo>
                      <a:pt x="472" y="671"/>
                    </a:lnTo>
                    <a:lnTo>
                      <a:pt x="472" y="669"/>
                    </a:lnTo>
                    <a:lnTo>
                      <a:pt x="472" y="668"/>
                    </a:lnTo>
                    <a:lnTo>
                      <a:pt x="474" y="668"/>
                    </a:lnTo>
                    <a:lnTo>
                      <a:pt x="474" y="669"/>
                    </a:lnTo>
                    <a:lnTo>
                      <a:pt x="476" y="669"/>
                    </a:lnTo>
                    <a:lnTo>
                      <a:pt x="476" y="671"/>
                    </a:lnTo>
                    <a:lnTo>
                      <a:pt x="476" y="673"/>
                    </a:lnTo>
                    <a:lnTo>
                      <a:pt x="478" y="675"/>
                    </a:lnTo>
                    <a:lnTo>
                      <a:pt x="478" y="677"/>
                    </a:lnTo>
                    <a:lnTo>
                      <a:pt x="480" y="677"/>
                    </a:lnTo>
                    <a:lnTo>
                      <a:pt x="480" y="679"/>
                    </a:lnTo>
                    <a:lnTo>
                      <a:pt x="482" y="679"/>
                    </a:lnTo>
                    <a:lnTo>
                      <a:pt x="480" y="679"/>
                    </a:lnTo>
                    <a:lnTo>
                      <a:pt x="482" y="681"/>
                    </a:lnTo>
                    <a:lnTo>
                      <a:pt x="482" y="683"/>
                    </a:lnTo>
                    <a:lnTo>
                      <a:pt x="484" y="683"/>
                    </a:lnTo>
                    <a:lnTo>
                      <a:pt x="482" y="683"/>
                    </a:lnTo>
                    <a:lnTo>
                      <a:pt x="482" y="681"/>
                    </a:lnTo>
                    <a:lnTo>
                      <a:pt x="482" y="679"/>
                    </a:lnTo>
                    <a:lnTo>
                      <a:pt x="482" y="677"/>
                    </a:lnTo>
                    <a:lnTo>
                      <a:pt x="484" y="677"/>
                    </a:lnTo>
                    <a:lnTo>
                      <a:pt x="484" y="679"/>
                    </a:lnTo>
                    <a:lnTo>
                      <a:pt x="486" y="681"/>
                    </a:lnTo>
                    <a:lnTo>
                      <a:pt x="488" y="681"/>
                    </a:lnTo>
                    <a:lnTo>
                      <a:pt x="488" y="683"/>
                    </a:lnTo>
                    <a:lnTo>
                      <a:pt x="488" y="685"/>
                    </a:lnTo>
                    <a:lnTo>
                      <a:pt x="488" y="687"/>
                    </a:lnTo>
                    <a:lnTo>
                      <a:pt x="490" y="687"/>
                    </a:lnTo>
                    <a:lnTo>
                      <a:pt x="490" y="689"/>
                    </a:lnTo>
                    <a:lnTo>
                      <a:pt x="490" y="691"/>
                    </a:lnTo>
                    <a:lnTo>
                      <a:pt x="492" y="693"/>
                    </a:lnTo>
                    <a:lnTo>
                      <a:pt x="492" y="694"/>
                    </a:lnTo>
                    <a:lnTo>
                      <a:pt x="492" y="696"/>
                    </a:lnTo>
                    <a:lnTo>
                      <a:pt x="492" y="698"/>
                    </a:lnTo>
                    <a:lnTo>
                      <a:pt x="492" y="700"/>
                    </a:lnTo>
                    <a:lnTo>
                      <a:pt x="492" y="702"/>
                    </a:lnTo>
                    <a:lnTo>
                      <a:pt x="493" y="704"/>
                    </a:lnTo>
                    <a:lnTo>
                      <a:pt x="493" y="706"/>
                    </a:lnTo>
                    <a:lnTo>
                      <a:pt x="493" y="708"/>
                    </a:lnTo>
                    <a:lnTo>
                      <a:pt x="495" y="708"/>
                    </a:lnTo>
                    <a:lnTo>
                      <a:pt x="495" y="710"/>
                    </a:lnTo>
                    <a:lnTo>
                      <a:pt x="495" y="712"/>
                    </a:lnTo>
                    <a:lnTo>
                      <a:pt x="495" y="714"/>
                    </a:lnTo>
                    <a:lnTo>
                      <a:pt x="495" y="716"/>
                    </a:lnTo>
                    <a:lnTo>
                      <a:pt x="497" y="714"/>
                    </a:lnTo>
                    <a:lnTo>
                      <a:pt x="499" y="714"/>
                    </a:lnTo>
                    <a:lnTo>
                      <a:pt x="499" y="716"/>
                    </a:lnTo>
                    <a:lnTo>
                      <a:pt x="501" y="718"/>
                    </a:lnTo>
                    <a:lnTo>
                      <a:pt x="501" y="716"/>
                    </a:lnTo>
                    <a:lnTo>
                      <a:pt x="501" y="718"/>
                    </a:lnTo>
                    <a:lnTo>
                      <a:pt x="501" y="719"/>
                    </a:lnTo>
                    <a:lnTo>
                      <a:pt x="503" y="719"/>
                    </a:lnTo>
                    <a:lnTo>
                      <a:pt x="503" y="721"/>
                    </a:lnTo>
                    <a:lnTo>
                      <a:pt x="505" y="721"/>
                    </a:lnTo>
                    <a:lnTo>
                      <a:pt x="503" y="721"/>
                    </a:lnTo>
                    <a:lnTo>
                      <a:pt x="503" y="719"/>
                    </a:lnTo>
                    <a:lnTo>
                      <a:pt x="505" y="721"/>
                    </a:lnTo>
                    <a:lnTo>
                      <a:pt x="505" y="723"/>
                    </a:lnTo>
                    <a:lnTo>
                      <a:pt x="507" y="723"/>
                    </a:lnTo>
                    <a:lnTo>
                      <a:pt x="507" y="725"/>
                    </a:lnTo>
                    <a:lnTo>
                      <a:pt x="509" y="725"/>
                    </a:lnTo>
                    <a:lnTo>
                      <a:pt x="511" y="725"/>
                    </a:lnTo>
                    <a:lnTo>
                      <a:pt x="511" y="727"/>
                    </a:lnTo>
                    <a:lnTo>
                      <a:pt x="511" y="729"/>
                    </a:lnTo>
                    <a:lnTo>
                      <a:pt x="511" y="727"/>
                    </a:lnTo>
                    <a:lnTo>
                      <a:pt x="511" y="729"/>
                    </a:lnTo>
                    <a:lnTo>
                      <a:pt x="513" y="729"/>
                    </a:lnTo>
                    <a:lnTo>
                      <a:pt x="515" y="729"/>
                    </a:lnTo>
                    <a:lnTo>
                      <a:pt x="515" y="731"/>
                    </a:lnTo>
                    <a:lnTo>
                      <a:pt x="516" y="733"/>
                    </a:lnTo>
                    <a:lnTo>
                      <a:pt x="516" y="735"/>
                    </a:lnTo>
                    <a:lnTo>
                      <a:pt x="516" y="737"/>
                    </a:lnTo>
                    <a:lnTo>
                      <a:pt x="516" y="735"/>
                    </a:lnTo>
                    <a:lnTo>
                      <a:pt x="518" y="735"/>
                    </a:lnTo>
                    <a:lnTo>
                      <a:pt x="518" y="737"/>
                    </a:lnTo>
                    <a:lnTo>
                      <a:pt x="520" y="737"/>
                    </a:lnTo>
                    <a:lnTo>
                      <a:pt x="518" y="737"/>
                    </a:lnTo>
                    <a:lnTo>
                      <a:pt x="520" y="737"/>
                    </a:lnTo>
                    <a:lnTo>
                      <a:pt x="522" y="735"/>
                    </a:lnTo>
                    <a:lnTo>
                      <a:pt x="520" y="735"/>
                    </a:lnTo>
                    <a:lnTo>
                      <a:pt x="522" y="735"/>
                    </a:lnTo>
                    <a:lnTo>
                      <a:pt x="524" y="737"/>
                    </a:lnTo>
                    <a:lnTo>
                      <a:pt x="524" y="739"/>
                    </a:lnTo>
                    <a:lnTo>
                      <a:pt x="522" y="739"/>
                    </a:lnTo>
                    <a:lnTo>
                      <a:pt x="522" y="741"/>
                    </a:lnTo>
                    <a:lnTo>
                      <a:pt x="524" y="741"/>
                    </a:lnTo>
                    <a:lnTo>
                      <a:pt x="524" y="742"/>
                    </a:lnTo>
                    <a:lnTo>
                      <a:pt x="526" y="742"/>
                    </a:lnTo>
                    <a:lnTo>
                      <a:pt x="526" y="744"/>
                    </a:lnTo>
                    <a:lnTo>
                      <a:pt x="526" y="742"/>
                    </a:lnTo>
                    <a:lnTo>
                      <a:pt x="524" y="742"/>
                    </a:lnTo>
                    <a:lnTo>
                      <a:pt x="524" y="741"/>
                    </a:lnTo>
                    <a:lnTo>
                      <a:pt x="522" y="741"/>
                    </a:lnTo>
                    <a:lnTo>
                      <a:pt x="522" y="739"/>
                    </a:lnTo>
                    <a:lnTo>
                      <a:pt x="524" y="739"/>
                    </a:lnTo>
                    <a:lnTo>
                      <a:pt x="524" y="737"/>
                    </a:lnTo>
                    <a:lnTo>
                      <a:pt x="526" y="739"/>
                    </a:lnTo>
                    <a:lnTo>
                      <a:pt x="528" y="741"/>
                    </a:lnTo>
                    <a:lnTo>
                      <a:pt x="528" y="742"/>
                    </a:lnTo>
                    <a:lnTo>
                      <a:pt x="528" y="744"/>
                    </a:lnTo>
                    <a:lnTo>
                      <a:pt x="530" y="744"/>
                    </a:lnTo>
                    <a:lnTo>
                      <a:pt x="532" y="744"/>
                    </a:lnTo>
                    <a:lnTo>
                      <a:pt x="532" y="746"/>
                    </a:lnTo>
                    <a:lnTo>
                      <a:pt x="534" y="746"/>
                    </a:lnTo>
                    <a:lnTo>
                      <a:pt x="534" y="748"/>
                    </a:lnTo>
                    <a:lnTo>
                      <a:pt x="536" y="748"/>
                    </a:lnTo>
                    <a:lnTo>
                      <a:pt x="538" y="748"/>
                    </a:lnTo>
                    <a:lnTo>
                      <a:pt x="538" y="750"/>
                    </a:lnTo>
                    <a:lnTo>
                      <a:pt x="538" y="748"/>
                    </a:lnTo>
                    <a:lnTo>
                      <a:pt x="540" y="748"/>
                    </a:lnTo>
                    <a:lnTo>
                      <a:pt x="538" y="748"/>
                    </a:lnTo>
                    <a:lnTo>
                      <a:pt x="540" y="748"/>
                    </a:lnTo>
                    <a:lnTo>
                      <a:pt x="540" y="750"/>
                    </a:lnTo>
                    <a:lnTo>
                      <a:pt x="538" y="750"/>
                    </a:lnTo>
                    <a:lnTo>
                      <a:pt x="540" y="750"/>
                    </a:lnTo>
                    <a:lnTo>
                      <a:pt x="540" y="748"/>
                    </a:lnTo>
                    <a:lnTo>
                      <a:pt x="541" y="750"/>
                    </a:lnTo>
                    <a:lnTo>
                      <a:pt x="543" y="750"/>
                    </a:lnTo>
                    <a:lnTo>
                      <a:pt x="543" y="752"/>
                    </a:lnTo>
                    <a:lnTo>
                      <a:pt x="543" y="750"/>
                    </a:lnTo>
                    <a:lnTo>
                      <a:pt x="541" y="750"/>
                    </a:lnTo>
                    <a:lnTo>
                      <a:pt x="543" y="750"/>
                    </a:lnTo>
                    <a:lnTo>
                      <a:pt x="543" y="752"/>
                    </a:lnTo>
                    <a:lnTo>
                      <a:pt x="545" y="752"/>
                    </a:lnTo>
                    <a:lnTo>
                      <a:pt x="545" y="754"/>
                    </a:lnTo>
                    <a:lnTo>
                      <a:pt x="547" y="752"/>
                    </a:lnTo>
                    <a:lnTo>
                      <a:pt x="547" y="754"/>
                    </a:lnTo>
                    <a:lnTo>
                      <a:pt x="547" y="752"/>
                    </a:lnTo>
                    <a:lnTo>
                      <a:pt x="545" y="752"/>
                    </a:lnTo>
                    <a:lnTo>
                      <a:pt x="543" y="752"/>
                    </a:lnTo>
                    <a:lnTo>
                      <a:pt x="543" y="750"/>
                    </a:lnTo>
                    <a:lnTo>
                      <a:pt x="545" y="750"/>
                    </a:lnTo>
                    <a:lnTo>
                      <a:pt x="543" y="750"/>
                    </a:lnTo>
                    <a:lnTo>
                      <a:pt x="541" y="750"/>
                    </a:lnTo>
                    <a:lnTo>
                      <a:pt x="540" y="750"/>
                    </a:lnTo>
                    <a:lnTo>
                      <a:pt x="541" y="748"/>
                    </a:lnTo>
                    <a:lnTo>
                      <a:pt x="540" y="748"/>
                    </a:lnTo>
                    <a:lnTo>
                      <a:pt x="541" y="748"/>
                    </a:lnTo>
                    <a:lnTo>
                      <a:pt x="541" y="746"/>
                    </a:lnTo>
                    <a:lnTo>
                      <a:pt x="543" y="746"/>
                    </a:lnTo>
                    <a:lnTo>
                      <a:pt x="545" y="746"/>
                    </a:lnTo>
                    <a:lnTo>
                      <a:pt x="543" y="746"/>
                    </a:lnTo>
                    <a:lnTo>
                      <a:pt x="545" y="746"/>
                    </a:lnTo>
                    <a:lnTo>
                      <a:pt x="545" y="744"/>
                    </a:lnTo>
                    <a:lnTo>
                      <a:pt x="547" y="744"/>
                    </a:lnTo>
                    <a:lnTo>
                      <a:pt x="547" y="746"/>
                    </a:lnTo>
                    <a:lnTo>
                      <a:pt x="549" y="746"/>
                    </a:lnTo>
                    <a:lnTo>
                      <a:pt x="551" y="746"/>
                    </a:lnTo>
                    <a:lnTo>
                      <a:pt x="551" y="748"/>
                    </a:lnTo>
                    <a:lnTo>
                      <a:pt x="551" y="746"/>
                    </a:lnTo>
                    <a:lnTo>
                      <a:pt x="553" y="746"/>
                    </a:lnTo>
                    <a:lnTo>
                      <a:pt x="553" y="748"/>
                    </a:lnTo>
                    <a:lnTo>
                      <a:pt x="555" y="750"/>
                    </a:lnTo>
                    <a:lnTo>
                      <a:pt x="557" y="750"/>
                    </a:lnTo>
                    <a:lnTo>
                      <a:pt x="555" y="750"/>
                    </a:lnTo>
                    <a:lnTo>
                      <a:pt x="557" y="750"/>
                    </a:lnTo>
                    <a:lnTo>
                      <a:pt x="559" y="750"/>
                    </a:lnTo>
                    <a:lnTo>
                      <a:pt x="561" y="752"/>
                    </a:lnTo>
                    <a:lnTo>
                      <a:pt x="563" y="752"/>
                    </a:lnTo>
                    <a:lnTo>
                      <a:pt x="565" y="752"/>
                    </a:lnTo>
                    <a:lnTo>
                      <a:pt x="565" y="750"/>
                    </a:lnTo>
                    <a:lnTo>
                      <a:pt x="566" y="750"/>
                    </a:lnTo>
                    <a:lnTo>
                      <a:pt x="565" y="750"/>
                    </a:lnTo>
                    <a:lnTo>
                      <a:pt x="566" y="750"/>
                    </a:lnTo>
                    <a:lnTo>
                      <a:pt x="568" y="748"/>
                    </a:lnTo>
                    <a:lnTo>
                      <a:pt x="570" y="750"/>
                    </a:lnTo>
                    <a:lnTo>
                      <a:pt x="572" y="750"/>
                    </a:lnTo>
                    <a:lnTo>
                      <a:pt x="572" y="752"/>
                    </a:lnTo>
                    <a:lnTo>
                      <a:pt x="572" y="754"/>
                    </a:lnTo>
                    <a:lnTo>
                      <a:pt x="574" y="756"/>
                    </a:lnTo>
                    <a:lnTo>
                      <a:pt x="574" y="758"/>
                    </a:lnTo>
                    <a:lnTo>
                      <a:pt x="574" y="760"/>
                    </a:lnTo>
                    <a:lnTo>
                      <a:pt x="574" y="762"/>
                    </a:lnTo>
                    <a:lnTo>
                      <a:pt x="576" y="762"/>
                    </a:lnTo>
                    <a:lnTo>
                      <a:pt x="574" y="762"/>
                    </a:lnTo>
                    <a:lnTo>
                      <a:pt x="574" y="764"/>
                    </a:lnTo>
                    <a:lnTo>
                      <a:pt x="574" y="762"/>
                    </a:lnTo>
                    <a:lnTo>
                      <a:pt x="574" y="764"/>
                    </a:lnTo>
                    <a:lnTo>
                      <a:pt x="574" y="766"/>
                    </a:lnTo>
                    <a:lnTo>
                      <a:pt x="574" y="767"/>
                    </a:lnTo>
                    <a:lnTo>
                      <a:pt x="572" y="767"/>
                    </a:lnTo>
                    <a:lnTo>
                      <a:pt x="572" y="769"/>
                    </a:lnTo>
                    <a:lnTo>
                      <a:pt x="572" y="771"/>
                    </a:lnTo>
                    <a:lnTo>
                      <a:pt x="570" y="771"/>
                    </a:lnTo>
                    <a:lnTo>
                      <a:pt x="572" y="771"/>
                    </a:lnTo>
                    <a:lnTo>
                      <a:pt x="570" y="771"/>
                    </a:lnTo>
                    <a:lnTo>
                      <a:pt x="570" y="773"/>
                    </a:lnTo>
                    <a:lnTo>
                      <a:pt x="570" y="775"/>
                    </a:lnTo>
                    <a:lnTo>
                      <a:pt x="570" y="773"/>
                    </a:lnTo>
                    <a:lnTo>
                      <a:pt x="570" y="775"/>
                    </a:lnTo>
                    <a:lnTo>
                      <a:pt x="570" y="777"/>
                    </a:lnTo>
                    <a:lnTo>
                      <a:pt x="568" y="777"/>
                    </a:lnTo>
                    <a:lnTo>
                      <a:pt x="568" y="779"/>
                    </a:lnTo>
                    <a:lnTo>
                      <a:pt x="568" y="781"/>
                    </a:lnTo>
                    <a:lnTo>
                      <a:pt x="566" y="781"/>
                    </a:lnTo>
                    <a:lnTo>
                      <a:pt x="566" y="783"/>
                    </a:lnTo>
                    <a:lnTo>
                      <a:pt x="565" y="783"/>
                    </a:lnTo>
                    <a:lnTo>
                      <a:pt x="563" y="785"/>
                    </a:lnTo>
                    <a:lnTo>
                      <a:pt x="561" y="785"/>
                    </a:lnTo>
                    <a:lnTo>
                      <a:pt x="561" y="787"/>
                    </a:lnTo>
                    <a:lnTo>
                      <a:pt x="559" y="787"/>
                    </a:lnTo>
                    <a:lnTo>
                      <a:pt x="557" y="787"/>
                    </a:lnTo>
                    <a:lnTo>
                      <a:pt x="555" y="787"/>
                    </a:lnTo>
                    <a:lnTo>
                      <a:pt x="555" y="789"/>
                    </a:lnTo>
                    <a:lnTo>
                      <a:pt x="555" y="791"/>
                    </a:lnTo>
                    <a:lnTo>
                      <a:pt x="553" y="791"/>
                    </a:lnTo>
                    <a:lnTo>
                      <a:pt x="551" y="791"/>
                    </a:lnTo>
                    <a:lnTo>
                      <a:pt x="549" y="791"/>
                    </a:lnTo>
                    <a:lnTo>
                      <a:pt x="549" y="792"/>
                    </a:lnTo>
                    <a:lnTo>
                      <a:pt x="547" y="791"/>
                    </a:lnTo>
                    <a:lnTo>
                      <a:pt x="545" y="791"/>
                    </a:lnTo>
                    <a:lnTo>
                      <a:pt x="543" y="791"/>
                    </a:lnTo>
                    <a:lnTo>
                      <a:pt x="543" y="789"/>
                    </a:lnTo>
                    <a:lnTo>
                      <a:pt x="541" y="791"/>
                    </a:lnTo>
                    <a:lnTo>
                      <a:pt x="540" y="791"/>
                    </a:lnTo>
                    <a:lnTo>
                      <a:pt x="540" y="789"/>
                    </a:lnTo>
                    <a:lnTo>
                      <a:pt x="538" y="789"/>
                    </a:lnTo>
                    <a:lnTo>
                      <a:pt x="536" y="789"/>
                    </a:lnTo>
                    <a:lnTo>
                      <a:pt x="536" y="791"/>
                    </a:lnTo>
                    <a:lnTo>
                      <a:pt x="534" y="791"/>
                    </a:lnTo>
                    <a:lnTo>
                      <a:pt x="534" y="789"/>
                    </a:lnTo>
                    <a:lnTo>
                      <a:pt x="534" y="787"/>
                    </a:lnTo>
                    <a:lnTo>
                      <a:pt x="534" y="789"/>
                    </a:lnTo>
                    <a:lnTo>
                      <a:pt x="534" y="787"/>
                    </a:lnTo>
                    <a:lnTo>
                      <a:pt x="536" y="787"/>
                    </a:lnTo>
                    <a:lnTo>
                      <a:pt x="538" y="787"/>
                    </a:lnTo>
                    <a:lnTo>
                      <a:pt x="540" y="789"/>
                    </a:lnTo>
                    <a:lnTo>
                      <a:pt x="538" y="787"/>
                    </a:lnTo>
                    <a:lnTo>
                      <a:pt x="536" y="787"/>
                    </a:lnTo>
                    <a:lnTo>
                      <a:pt x="534" y="787"/>
                    </a:lnTo>
                    <a:lnTo>
                      <a:pt x="532" y="787"/>
                    </a:lnTo>
                    <a:lnTo>
                      <a:pt x="530" y="787"/>
                    </a:lnTo>
                    <a:lnTo>
                      <a:pt x="532" y="787"/>
                    </a:lnTo>
                    <a:lnTo>
                      <a:pt x="532" y="789"/>
                    </a:lnTo>
                    <a:lnTo>
                      <a:pt x="530" y="789"/>
                    </a:lnTo>
                    <a:lnTo>
                      <a:pt x="528" y="789"/>
                    </a:lnTo>
                    <a:lnTo>
                      <a:pt x="526" y="789"/>
                    </a:lnTo>
                    <a:lnTo>
                      <a:pt x="524" y="789"/>
                    </a:lnTo>
                    <a:lnTo>
                      <a:pt x="524" y="787"/>
                    </a:lnTo>
                    <a:lnTo>
                      <a:pt x="522" y="789"/>
                    </a:lnTo>
                    <a:lnTo>
                      <a:pt x="524" y="789"/>
                    </a:lnTo>
                    <a:lnTo>
                      <a:pt x="522" y="789"/>
                    </a:lnTo>
                    <a:lnTo>
                      <a:pt x="524" y="789"/>
                    </a:lnTo>
                    <a:lnTo>
                      <a:pt x="522" y="789"/>
                    </a:lnTo>
                    <a:lnTo>
                      <a:pt x="520" y="789"/>
                    </a:lnTo>
                    <a:lnTo>
                      <a:pt x="518" y="791"/>
                    </a:lnTo>
                    <a:lnTo>
                      <a:pt x="516" y="791"/>
                    </a:lnTo>
                    <a:lnTo>
                      <a:pt x="515" y="791"/>
                    </a:lnTo>
                    <a:lnTo>
                      <a:pt x="515" y="792"/>
                    </a:lnTo>
                    <a:lnTo>
                      <a:pt x="515" y="791"/>
                    </a:lnTo>
                    <a:lnTo>
                      <a:pt x="515" y="792"/>
                    </a:lnTo>
                    <a:lnTo>
                      <a:pt x="515" y="791"/>
                    </a:lnTo>
                    <a:lnTo>
                      <a:pt x="515" y="792"/>
                    </a:lnTo>
                    <a:lnTo>
                      <a:pt x="513" y="792"/>
                    </a:lnTo>
                    <a:lnTo>
                      <a:pt x="513" y="791"/>
                    </a:lnTo>
                    <a:lnTo>
                      <a:pt x="511" y="789"/>
                    </a:lnTo>
                    <a:lnTo>
                      <a:pt x="511" y="791"/>
                    </a:lnTo>
                    <a:lnTo>
                      <a:pt x="509" y="791"/>
                    </a:lnTo>
                    <a:lnTo>
                      <a:pt x="507" y="791"/>
                    </a:lnTo>
                    <a:lnTo>
                      <a:pt x="505" y="792"/>
                    </a:lnTo>
                    <a:lnTo>
                      <a:pt x="505" y="794"/>
                    </a:lnTo>
                    <a:lnTo>
                      <a:pt x="503" y="794"/>
                    </a:lnTo>
                    <a:lnTo>
                      <a:pt x="503" y="796"/>
                    </a:lnTo>
                    <a:lnTo>
                      <a:pt x="501" y="796"/>
                    </a:lnTo>
                    <a:lnTo>
                      <a:pt x="501" y="798"/>
                    </a:lnTo>
                    <a:lnTo>
                      <a:pt x="501" y="800"/>
                    </a:lnTo>
                    <a:lnTo>
                      <a:pt x="499" y="800"/>
                    </a:lnTo>
                    <a:lnTo>
                      <a:pt x="501" y="800"/>
                    </a:lnTo>
                    <a:lnTo>
                      <a:pt x="499" y="800"/>
                    </a:lnTo>
                    <a:lnTo>
                      <a:pt x="497" y="800"/>
                    </a:lnTo>
                    <a:lnTo>
                      <a:pt x="497" y="802"/>
                    </a:lnTo>
                    <a:lnTo>
                      <a:pt x="497" y="804"/>
                    </a:lnTo>
                    <a:lnTo>
                      <a:pt x="497" y="806"/>
                    </a:lnTo>
                    <a:lnTo>
                      <a:pt x="495" y="806"/>
                    </a:lnTo>
                    <a:lnTo>
                      <a:pt x="493" y="806"/>
                    </a:lnTo>
                    <a:lnTo>
                      <a:pt x="493" y="808"/>
                    </a:lnTo>
                    <a:lnTo>
                      <a:pt x="492" y="806"/>
                    </a:lnTo>
                    <a:lnTo>
                      <a:pt x="490" y="806"/>
                    </a:lnTo>
                    <a:lnTo>
                      <a:pt x="488" y="806"/>
                    </a:lnTo>
                    <a:lnTo>
                      <a:pt x="486" y="806"/>
                    </a:lnTo>
                    <a:lnTo>
                      <a:pt x="486" y="808"/>
                    </a:lnTo>
                    <a:lnTo>
                      <a:pt x="484" y="810"/>
                    </a:lnTo>
                    <a:lnTo>
                      <a:pt x="482" y="810"/>
                    </a:lnTo>
                    <a:lnTo>
                      <a:pt x="480" y="810"/>
                    </a:lnTo>
                    <a:lnTo>
                      <a:pt x="478" y="812"/>
                    </a:lnTo>
                    <a:lnTo>
                      <a:pt x="476" y="812"/>
                    </a:lnTo>
                    <a:lnTo>
                      <a:pt x="476" y="814"/>
                    </a:lnTo>
                    <a:lnTo>
                      <a:pt x="474" y="814"/>
                    </a:lnTo>
                    <a:lnTo>
                      <a:pt x="474" y="816"/>
                    </a:lnTo>
                    <a:lnTo>
                      <a:pt x="474" y="814"/>
                    </a:lnTo>
                    <a:lnTo>
                      <a:pt x="472" y="814"/>
                    </a:lnTo>
                    <a:lnTo>
                      <a:pt x="470" y="814"/>
                    </a:lnTo>
                    <a:lnTo>
                      <a:pt x="470" y="816"/>
                    </a:lnTo>
                    <a:lnTo>
                      <a:pt x="468" y="816"/>
                    </a:lnTo>
                    <a:lnTo>
                      <a:pt x="470" y="816"/>
                    </a:lnTo>
                    <a:lnTo>
                      <a:pt x="472" y="814"/>
                    </a:lnTo>
                    <a:lnTo>
                      <a:pt x="472" y="816"/>
                    </a:lnTo>
                    <a:lnTo>
                      <a:pt x="474" y="816"/>
                    </a:lnTo>
                    <a:lnTo>
                      <a:pt x="476" y="814"/>
                    </a:lnTo>
                    <a:lnTo>
                      <a:pt x="476" y="816"/>
                    </a:lnTo>
                    <a:lnTo>
                      <a:pt x="476" y="814"/>
                    </a:lnTo>
                    <a:lnTo>
                      <a:pt x="478" y="812"/>
                    </a:lnTo>
                    <a:lnTo>
                      <a:pt x="480" y="812"/>
                    </a:lnTo>
                    <a:lnTo>
                      <a:pt x="482" y="810"/>
                    </a:lnTo>
                    <a:lnTo>
                      <a:pt x="482" y="812"/>
                    </a:lnTo>
                    <a:lnTo>
                      <a:pt x="482" y="810"/>
                    </a:lnTo>
                    <a:lnTo>
                      <a:pt x="484" y="810"/>
                    </a:lnTo>
                    <a:lnTo>
                      <a:pt x="486" y="810"/>
                    </a:lnTo>
                    <a:lnTo>
                      <a:pt x="486" y="808"/>
                    </a:lnTo>
                    <a:lnTo>
                      <a:pt x="488" y="808"/>
                    </a:lnTo>
                    <a:lnTo>
                      <a:pt x="488" y="806"/>
                    </a:lnTo>
                    <a:lnTo>
                      <a:pt x="490" y="806"/>
                    </a:lnTo>
                    <a:lnTo>
                      <a:pt x="490" y="808"/>
                    </a:lnTo>
                    <a:lnTo>
                      <a:pt x="492" y="808"/>
                    </a:lnTo>
                    <a:lnTo>
                      <a:pt x="493" y="808"/>
                    </a:lnTo>
                    <a:lnTo>
                      <a:pt x="495" y="808"/>
                    </a:lnTo>
                    <a:lnTo>
                      <a:pt x="495" y="806"/>
                    </a:lnTo>
                    <a:lnTo>
                      <a:pt x="497" y="806"/>
                    </a:lnTo>
                    <a:lnTo>
                      <a:pt x="495" y="806"/>
                    </a:lnTo>
                    <a:lnTo>
                      <a:pt x="497" y="806"/>
                    </a:lnTo>
                    <a:lnTo>
                      <a:pt x="497" y="804"/>
                    </a:lnTo>
                    <a:lnTo>
                      <a:pt x="497" y="802"/>
                    </a:lnTo>
                    <a:lnTo>
                      <a:pt x="497" y="800"/>
                    </a:lnTo>
                    <a:lnTo>
                      <a:pt x="499" y="800"/>
                    </a:lnTo>
                    <a:lnTo>
                      <a:pt x="499" y="802"/>
                    </a:lnTo>
                    <a:lnTo>
                      <a:pt x="501" y="800"/>
                    </a:lnTo>
                    <a:lnTo>
                      <a:pt x="501" y="798"/>
                    </a:lnTo>
                    <a:lnTo>
                      <a:pt x="503" y="796"/>
                    </a:lnTo>
                    <a:lnTo>
                      <a:pt x="505" y="794"/>
                    </a:lnTo>
                    <a:lnTo>
                      <a:pt x="505" y="792"/>
                    </a:lnTo>
                    <a:lnTo>
                      <a:pt x="507" y="791"/>
                    </a:lnTo>
                    <a:lnTo>
                      <a:pt x="509" y="791"/>
                    </a:lnTo>
                    <a:lnTo>
                      <a:pt x="507" y="791"/>
                    </a:lnTo>
                    <a:lnTo>
                      <a:pt x="509" y="791"/>
                    </a:lnTo>
                    <a:lnTo>
                      <a:pt x="511" y="791"/>
                    </a:lnTo>
                    <a:lnTo>
                      <a:pt x="513" y="791"/>
                    </a:lnTo>
                    <a:lnTo>
                      <a:pt x="511" y="791"/>
                    </a:lnTo>
                    <a:lnTo>
                      <a:pt x="513" y="791"/>
                    </a:lnTo>
                    <a:lnTo>
                      <a:pt x="513" y="792"/>
                    </a:lnTo>
                    <a:lnTo>
                      <a:pt x="515" y="792"/>
                    </a:lnTo>
                    <a:lnTo>
                      <a:pt x="516" y="791"/>
                    </a:lnTo>
                    <a:lnTo>
                      <a:pt x="515" y="792"/>
                    </a:lnTo>
                    <a:lnTo>
                      <a:pt x="515" y="791"/>
                    </a:lnTo>
                    <a:lnTo>
                      <a:pt x="516" y="791"/>
                    </a:lnTo>
                    <a:lnTo>
                      <a:pt x="518" y="791"/>
                    </a:lnTo>
                    <a:lnTo>
                      <a:pt x="520" y="791"/>
                    </a:lnTo>
                    <a:lnTo>
                      <a:pt x="520" y="789"/>
                    </a:lnTo>
                    <a:lnTo>
                      <a:pt x="520" y="791"/>
                    </a:lnTo>
                    <a:lnTo>
                      <a:pt x="522" y="789"/>
                    </a:lnTo>
                    <a:lnTo>
                      <a:pt x="524" y="789"/>
                    </a:lnTo>
                    <a:lnTo>
                      <a:pt x="524" y="791"/>
                    </a:lnTo>
                    <a:lnTo>
                      <a:pt x="526" y="791"/>
                    </a:lnTo>
                    <a:lnTo>
                      <a:pt x="526" y="789"/>
                    </a:lnTo>
                    <a:lnTo>
                      <a:pt x="526" y="791"/>
                    </a:lnTo>
                    <a:lnTo>
                      <a:pt x="528" y="791"/>
                    </a:lnTo>
                    <a:lnTo>
                      <a:pt x="526" y="791"/>
                    </a:lnTo>
                    <a:lnTo>
                      <a:pt x="528" y="791"/>
                    </a:lnTo>
                    <a:lnTo>
                      <a:pt x="528" y="789"/>
                    </a:lnTo>
                    <a:lnTo>
                      <a:pt x="530" y="789"/>
                    </a:lnTo>
                    <a:lnTo>
                      <a:pt x="530" y="791"/>
                    </a:lnTo>
                    <a:lnTo>
                      <a:pt x="528" y="792"/>
                    </a:lnTo>
                    <a:lnTo>
                      <a:pt x="530" y="792"/>
                    </a:lnTo>
                    <a:lnTo>
                      <a:pt x="530" y="791"/>
                    </a:lnTo>
                    <a:lnTo>
                      <a:pt x="530" y="789"/>
                    </a:lnTo>
                    <a:lnTo>
                      <a:pt x="532" y="787"/>
                    </a:lnTo>
                    <a:lnTo>
                      <a:pt x="534" y="787"/>
                    </a:lnTo>
                    <a:lnTo>
                      <a:pt x="534" y="789"/>
                    </a:lnTo>
                    <a:lnTo>
                      <a:pt x="534" y="791"/>
                    </a:lnTo>
                    <a:lnTo>
                      <a:pt x="532" y="789"/>
                    </a:lnTo>
                    <a:lnTo>
                      <a:pt x="534" y="791"/>
                    </a:lnTo>
                    <a:lnTo>
                      <a:pt x="536" y="791"/>
                    </a:lnTo>
                    <a:lnTo>
                      <a:pt x="536" y="789"/>
                    </a:lnTo>
                    <a:lnTo>
                      <a:pt x="538" y="789"/>
                    </a:lnTo>
                    <a:lnTo>
                      <a:pt x="540" y="789"/>
                    </a:lnTo>
                    <a:lnTo>
                      <a:pt x="540" y="791"/>
                    </a:lnTo>
                    <a:lnTo>
                      <a:pt x="540" y="789"/>
                    </a:lnTo>
                    <a:lnTo>
                      <a:pt x="540" y="791"/>
                    </a:lnTo>
                    <a:lnTo>
                      <a:pt x="541" y="791"/>
                    </a:lnTo>
                    <a:lnTo>
                      <a:pt x="543" y="791"/>
                    </a:lnTo>
                    <a:lnTo>
                      <a:pt x="545" y="791"/>
                    </a:lnTo>
                    <a:lnTo>
                      <a:pt x="547" y="791"/>
                    </a:lnTo>
                    <a:lnTo>
                      <a:pt x="547" y="792"/>
                    </a:lnTo>
                    <a:lnTo>
                      <a:pt x="549" y="792"/>
                    </a:lnTo>
                    <a:lnTo>
                      <a:pt x="551" y="791"/>
                    </a:lnTo>
                    <a:lnTo>
                      <a:pt x="553" y="791"/>
                    </a:lnTo>
                    <a:lnTo>
                      <a:pt x="555" y="791"/>
                    </a:lnTo>
                    <a:lnTo>
                      <a:pt x="555" y="789"/>
                    </a:lnTo>
                    <a:lnTo>
                      <a:pt x="557" y="789"/>
                    </a:lnTo>
                    <a:lnTo>
                      <a:pt x="557" y="787"/>
                    </a:lnTo>
                    <a:lnTo>
                      <a:pt x="559" y="787"/>
                    </a:lnTo>
                    <a:lnTo>
                      <a:pt x="561" y="785"/>
                    </a:lnTo>
                    <a:lnTo>
                      <a:pt x="563" y="785"/>
                    </a:lnTo>
                    <a:lnTo>
                      <a:pt x="565" y="785"/>
                    </a:lnTo>
                    <a:lnTo>
                      <a:pt x="565" y="783"/>
                    </a:lnTo>
                    <a:lnTo>
                      <a:pt x="566" y="783"/>
                    </a:lnTo>
                    <a:lnTo>
                      <a:pt x="566" y="781"/>
                    </a:lnTo>
                    <a:lnTo>
                      <a:pt x="568" y="781"/>
                    </a:lnTo>
                    <a:lnTo>
                      <a:pt x="568" y="779"/>
                    </a:lnTo>
                    <a:lnTo>
                      <a:pt x="568" y="781"/>
                    </a:lnTo>
                    <a:lnTo>
                      <a:pt x="568" y="779"/>
                    </a:lnTo>
                    <a:lnTo>
                      <a:pt x="568" y="777"/>
                    </a:lnTo>
                    <a:lnTo>
                      <a:pt x="570" y="777"/>
                    </a:lnTo>
                    <a:lnTo>
                      <a:pt x="570" y="775"/>
                    </a:lnTo>
                    <a:lnTo>
                      <a:pt x="570" y="777"/>
                    </a:lnTo>
                    <a:lnTo>
                      <a:pt x="570" y="775"/>
                    </a:lnTo>
                    <a:lnTo>
                      <a:pt x="570" y="773"/>
                    </a:lnTo>
                    <a:lnTo>
                      <a:pt x="570" y="771"/>
                    </a:lnTo>
                    <a:lnTo>
                      <a:pt x="570" y="773"/>
                    </a:lnTo>
                    <a:lnTo>
                      <a:pt x="572" y="771"/>
                    </a:lnTo>
                    <a:lnTo>
                      <a:pt x="572" y="769"/>
                    </a:lnTo>
                    <a:lnTo>
                      <a:pt x="572" y="767"/>
                    </a:lnTo>
                    <a:lnTo>
                      <a:pt x="574" y="767"/>
                    </a:lnTo>
                    <a:lnTo>
                      <a:pt x="574" y="766"/>
                    </a:lnTo>
                    <a:lnTo>
                      <a:pt x="574" y="764"/>
                    </a:lnTo>
                    <a:lnTo>
                      <a:pt x="576" y="762"/>
                    </a:lnTo>
                    <a:lnTo>
                      <a:pt x="576" y="760"/>
                    </a:lnTo>
                    <a:lnTo>
                      <a:pt x="574" y="760"/>
                    </a:lnTo>
                    <a:lnTo>
                      <a:pt x="576" y="760"/>
                    </a:lnTo>
                    <a:lnTo>
                      <a:pt x="574" y="758"/>
                    </a:lnTo>
                    <a:lnTo>
                      <a:pt x="576" y="758"/>
                    </a:lnTo>
                    <a:lnTo>
                      <a:pt x="574" y="758"/>
                    </a:lnTo>
                    <a:lnTo>
                      <a:pt x="574" y="756"/>
                    </a:lnTo>
                    <a:lnTo>
                      <a:pt x="574" y="754"/>
                    </a:lnTo>
                    <a:lnTo>
                      <a:pt x="572" y="754"/>
                    </a:lnTo>
                    <a:lnTo>
                      <a:pt x="572" y="752"/>
                    </a:lnTo>
                    <a:lnTo>
                      <a:pt x="574" y="752"/>
                    </a:lnTo>
                    <a:lnTo>
                      <a:pt x="574" y="754"/>
                    </a:lnTo>
                    <a:lnTo>
                      <a:pt x="576" y="754"/>
                    </a:lnTo>
                    <a:lnTo>
                      <a:pt x="576" y="756"/>
                    </a:lnTo>
                    <a:lnTo>
                      <a:pt x="578" y="756"/>
                    </a:lnTo>
                    <a:lnTo>
                      <a:pt x="578" y="758"/>
                    </a:lnTo>
                    <a:lnTo>
                      <a:pt x="576" y="758"/>
                    </a:lnTo>
                    <a:lnTo>
                      <a:pt x="578" y="758"/>
                    </a:lnTo>
                    <a:lnTo>
                      <a:pt x="578" y="756"/>
                    </a:lnTo>
                    <a:lnTo>
                      <a:pt x="576" y="756"/>
                    </a:lnTo>
                    <a:lnTo>
                      <a:pt x="578" y="756"/>
                    </a:lnTo>
                    <a:lnTo>
                      <a:pt x="580" y="756"/>
                    </a:lnTo>
                    <a:lnTo>
                      <a:pt x="580" y="758"/>
                    </a:lnTo>
                    <a:lnTo>
                      <a:pt x="582" y="760"/>
                    </a:lnTo>
                    <a:lnTo>
                      <a:pt x="584" y="760"/>
                    </a:lnTo>
                    <a:lnTo>
                      <a:pt x="584" y="762"/>
                    </a:lnTo>
                    <a:lnTo>
                      <a:pt x="586" y="762"/>
                    </a:lnTo>
                    <a:lnTo>
                      <a:pt x="586" y="764"/>
                    </a:lnTo>
                    <a:lnTo>
                      <a:pt x="586" y="762"/>
                    </a:lnTo>
                    <a:lnTo>
                      <a:pt x="584" y="762"/>
                    </a:lnTo>
                    <a:lnTo>
                      <a:pt x="584" y="760"/>
                    </a:lnTo>
                    <a:lnTo>
                      <a:pt x="586" y="762"/>
                    </a:lnTo>
                    <a:lnTo>
                      <a:pt x="588" y="762"/>
                    </a:lnTo>
                    <a:lnTo>
                      <a:pt x="588" y="764"/>
                    </a:lnTo>
                    <a:lnTo>
                      <a:pt x="589" y="764"/>
                    </a:lnTo>
                    <a:lnTo>
                      <a:pt x="591" y="764"/>
                    </a:lnTo>
                    <a:lnTo>
                      <a:pt x="591" y="766"/>
                    </a:lnTo>
                    <a:lnTo>
                      <a:pt x="593" y="766"/>
                    </a:lnTo>
                    <a:lnTo>
                      <a:pt x="593" y="767"/>
                    </a:lnTo>
                    <a:lnTo>
                      <a:pt x="593" y="766"/>
                    </a:lnTo>
                    <a:lnTo>
                      <a:pt x="593" y="767"/>
                    </a:lnTo>
                    <a:lnTo>
                      <a:pt x="595" y="767"/>
                    </a:lnTo>
                    <a:lnTo>
                      <a:pt x="593" y="767"/>
                    </a:lnTo>
                    <a:lnTo>
                      <a:pt x="595" y="767"/>
                    </a:lnTo>
                    <a:lnTo>
                      <a:pt x="595" y="769"/>
                    </a:lnTo>
                    <a:lnTo>
                      <a:pt x="597" y="769"/>
                    </a:lnTo>
                    <a:lnTo>
                      <a:pt x="597" y="771"/>
                    </a:lnTo>
                    <a:lnTo>
                      <a:pt x="597" y="773"/>
                    </a:lnTo>
                    <a:lnTo>
                      <a:pt x="599" y="773"/>
                    </a:lnTo>
                    <a:lnTo>
                      <a:pt x="599" y="775"/>
                    </a:lnTo>
                    <a:lnTo>
                      <a:pt x="601" y="775"/>
                    </a:lnTo>
                    <a:lnTo>
                      <a:pt x="601" y="777"/>
                    </a:lnTo>
                    <a:lnTo>
                      <a:pt x="601" y="779"/>
                    </a:lnTo>
                    <a:lnTo>
                      <a:pt x="601" y="777"/>
                    </a:lnTo>
                    <a:lnTo>
                      <a:pt x="601" y="775"/>
                    </a:lnTo>
                    <a:lnTo>
                      <a:pt x="599" y="773"/>
                    </a:lnTo>
                    <a:lnTo>
                      <a:pt x="597" y="771"/>
                    </a:lnTo>
                    <a:lnTo>
                      <a:pt x="597" y="769"/>
                    </a:lnTo>
                    <a:lnTo>
                      <a:pt x="595" y="769"/>
                    </a:lnTo>
                    <a:lnTo>
                      <a:pt x="597" y="769"/>
                    </a:lnTo>
                    <a:lnTo>
                      <a:pt x="599" y="769"/>
                    </a:lnTo>
                    <a:lnTo>
                      <a:pt x="597" y="769"/>
                    </a:lnTo>
                    <a:lnTo>
                      <a:pt x="595" y="769"/>
                    </a:lnTo>
                    <a:lnTo>
                      <a:pt x="595" y="767"/>
                    </a:lnTo>
                    <a:lnTo>
                      <a:pt x="597" y="767"/>
                    </a:lnTo>
                    <a:lnTo>
                      <a:pt x="599" y="767"/>
                    </a:lnTo>
                    <a:lnTo>
                      <a:pt x="601" y="767"/>
                    </a:lnTo>
                    <a:lnTo>
                      <a:pt x="601" y="769"/>
                    </a:lnTo>
                    <a:lnTo>
                      <a:pt x="603" y="769"/>
                    </a:lnTo>
                    <a:lnTo>
                      <a:pt x="605" y="771"/>
                    </a:lnTo>
                    <a:lnTo>
                      <a:pt x="607" y="771"/>
                    </a:lnTo>
                    <a:lnTo>
                      <a:pt x="609" y="773"/>
                    </a:lnTo>
                    <a:lnTo>
                      <a:pt x="609" y="775"/>
                    </a:lnTo>
                    <a:lnTo>
                      <a:pt x="609" y="773"/>
                    </a:lnTo>
                    <a:lnTo>
                      <a:pt x="611" y="775"/>
                    </a:lnTo>
                    <a:lnTo>
                      <a:pt x="613" y="775"/>
                    </a:lnTo>
                    <a:lnTo>
                      <a:pt x="614" y="775"/>
                    </a:lnTo>
                    <a:lnTo>
                      <a:pt x="616" y="775"/>
                    </a:lnTo>
                    <a:lnTo>
                      <a:pt x="616" y="777"/>
                    </a:lnTo>
                    <a:lnTo>
                      <a:pt x="618" y="777"/>
                    </a:lnTo>
                    <a:lnTo>
                      <a:pt x="620" y="777"/>
                    </a:lnTo>
                    <a:lnTo>
                      <a:pt x="622" y="777"/>
                    </a:lnTo>
                    <a:lnTo>
                      <a:pt x="624" y="777"/>
                    </a:lnTo>
                    <a:lnTo>
                      <a:pt x="622" y="777"/>
                    </a:lnTo>
                    <a:lnTo>
                      <a:pt x="624" y="777"/>
                    </a:lnTo>
                    <a:lnTo>
                      <a:pt x="626" y="777"/>
                    </a:lnTo>
                    <a:lnTo>
                      <a:pt x="626" y="779"/>
                    </a:lnTo>
                    <a:lnTo>
                      <a:pt x="628" y="779"/>
                    </a:lnTo>
                    <a:lnTo>
                      <a:pt x="626" y="777"/>
                    </a:lnTo>
                    <a:lnTo>
                      <a:pt x="624" y="777"/>
                    </a:lnTo>
                    <a:lnTo>
                      <a:pt x="624" y="775"/>
                    </a:lnTo>
                    <a:lnTo>
                      <a:pt x="626" y="775"/>
                    </a:lnTo>
                    <a:lnTo>
                      <a:pt x="626" y="777"/>
                    </a:lnTo>
                    <a:lnTo>
                      <a:pt x="626" y="773"/>
                    </a:lnTo>
                    <a:lnTo>
                      <a:pt x="624" y="773"/>
                    </a:lnTo>
                    <a:lnTo>
                      <a:pt x="622" y="773"/>
                    </a:lnTo>
                    <a:lnTo>
                      <a:pt x="620" y="773"/>
                    </a:lnTo>
                    <a:lnTo>
                      <a:pt x="618" y="771"/>
                    </a:lnTo>
                    <a:lnTo>
                      <a:pt x="618" y="769"/>
                    </a:lnTo>
                    <a:lnTo>
                      <a:pt x="618" y="771"/>
                    </a:lnTo>
                    <a:lnTo>
                      <a:pt x="618" y="769"/>
                    </a:lnTo>
                    <a:lnTo>
                      <a:pt x="616" y="769"/>
                    </a:lnTo>
                    <a:lnTo>
                      <a:pt x="616" y="767"/>
                    </a:lnTo>
                    <a:lnTo>
                      <a:pt x="614" y="769"/>
                    </a:lnTo>
                    <a:lnTo>
                      <a:pt x="613" y="769"/>
                    </a:lnTo>
                    <a:lnTo>
                      <a:pt x="611" y="769"/>
                    </a:lnTo>
                    <a:lnTo>
                      <a:pt x="609" y="769"/>
                    </a:lnTo>
                    <a:lnTo>
                      <a:pt x="609" y="767"/>
                    </a:lnTo>
                    <a:lnTo>
                      <a:pt x="607" y="767"/>
                    </a:lnTo>
                    <a:lnTo>
                      <a:pt x="607" y="766"/>
                    </a:lnTo>
                    <a:lnTo>
                      <a:pt x="605" y="766"/>
                    </a:lnTo>
                    <a:lnTo>
                      <a:pt x="603" y="766"/>
                    </a:lnTo>
                    <a:lnTo>
                      <a:pt x="603" y="764"/>
                    </a:lnTo>
                    <a:lnTo>
                      <a:pt x="601" y="764"/>
                    </a:lnTo>
                    <a:lnTo>
                      <a:pt x="599" y="764"/>
                    </a:lnTo>
                    <a:lnTo>
                      <a:pt x="599" y="762"/>
                    </a:lnTo>
                    <a:lnTo>
                      <a:pt x="599" y="764"/>
                    </a:lnTo>
                    <a:lnTo>
                      <a:pt x="601" y="764"/>
                    </a:lnTo>
                    <a:lnTo>
                      <a:pt x="599" y="764"/>
                    </a:lnTo>
                    <a:lnTo>
                      <a:pt x="597" y="764"/>
                    </a:lnTo>
                    <a:lnTo>
                      <a:pt x="595" y="762"/>
                    </a:lnTo>
                    <a:lnTo>
                      <a:pt x="595" y="760"/>
                    </a:lnTo>
                    <a:lnTo>
                      <a:pt x="593" y="760"/>
                    </a:lnTo>
                    <a:lnTo>
                      <a:pt x="595" y="760"/>
                    </a:lnTo>
                    <a:lnTo>
                      <a:pt x="595" y="762"/>
                    </a:lnTo>
                    <a:lnTo>
                      <a:pt x="595" y="760"/>
                    </a:lnTo>
                    <a:lnTo>
                      <a:pt x="595" y="762"/>
                    </a:lnTo>
                    <a:lnTo>
                      <a:pt x="595" y="760"/>
                    </a:lnTo>
                    <a:lnTo>
                      <a:pt x="597" y="762"/>
                    </a:lnTo>
                    <a:lnTo>
                      <a:pt x="599" y="762"/>
                    </a:lnTo>
                    <a:lnTo>
                      <a:pt x="597" y="762"/>
                    </a:lnTo>
                    <a:lnTo>
                      <a:pt x="597" y="760"/>
                    </a:lnTo>
                    <a:lnTo>
                      <a:pt x="597" y="762"/>
                    </a:lnTo>
                    <a:lnTo>
                      <a:pt x="597" y="760"/>
                    </a:lnTo>
                    <a:lnTo>
                      <a:pt x="595" y="760"/>
                    </a:lnTo>
                    <a:lnTo>
                      <a:pt x="593" y="760"/>
                    </a:lnTo>
                    <a:lnTo>
                      <a:pt x="593" y="758"/>
                    </a:lnTo>
                    <a:lnTo>
                      <a:pt x="593" y="760"/>
                    </a:lnTo>
                    <a:lnTo>
                      <a:pt x="593" y="758"/>
                    </a:lnTo>
                    <a:lnTo>
                      <a:pt x="591" y="760"/>
                    </a:lnTo>
                    <a:lnTo>
                      <a:pt x="591" y="758"/>
                    </a:lnTo>
                    <a:lnTo>
                      <a:pt x="589" y="760"/>
                    </a:lnTo>
                    <a:lnTo>
                      <a:pt x="589" y="758"/>
                    </a:lnTo>
                    <a:lnTo>
                      <a:pt x="588" y="756"/>
                    </a:lnTo>
                    <a:lnTo>
                      <a:pt x="586" y="756"/>
                    </a:lnTo>
                    <a:lnTo>
                      <a:pt x="586" y="754"/>
                    </a:lnTo>
                    <a:lnTo>
                      <a:pt x="586" y="756"/>
                    </a:lnTo>
                    <a:lnTo>
                      <a:pt x="588" y="756"/>
                    </a:lnTo>
                    <a:lnTo>
                      <a:pt x="586" y="756"/>
                    </a:lnTo>
                    <a:lnTo>
                      <a:pt x="586" y="754"/>
                    </a:lnTo>
                    <a:lnTo>
                      <a:pt x="584" y="754"/>
                    </a:lnTo>
                    <a:lnTo>
                      <a:pt x="582" y="754"/>
                    </a:lnTo>
                    <a:lnTo>
                      <a:pt x="580" y="752"/>
                    </a:lnTo>
                    <a:lnTo>
                      <a:pt x="578" y="752"/>
                    </a:lnTo>
                    <a:lnTo>
                      <a:pt x="576" y="750"/>
                    </a:lnTo>
                    <a:lnTo>
                      <a:pt x="574" y="750"/>
                    </a:lnTo>
                    <a:lnTo>
                      <a:pt x="572" y="748"/>
                    </a:lnTo>
                    <a:lnTo>
                      <a:pt x="570" y="748"/>
                    </a:lnTo>
                    <a:lnTo>
                      <a:pt x="568" y="748"/>
                    </a:lnTo>
                    <a:lnTo>
                      <a:pt x="568" y="746"/>
                    </a:lnTo>
                    <a:lnTo>
                      <a:pt x="566" y="746"/>
                    </a:lnTo>
                    <a:lnTo>
                      <a:pt x="565" y="746"/>
                    </a:lnTo>
                    <a:lnTo>
                      <a:pt x="563" y="746"/>
                    </a:lnTo>
                    <a:lnTo>
                      <a:pt x="561" y="746"/>
                    </a:lnTo>
                    <a:lnTo>
                      <a:pt x="561" y="744"/>
                    </a:lnTo>
                    <a:lnTo>
                      <a:pt x="559" y="744"/>
                    </a:lnTo>
                    <a:lnTo>
                      <a:pt x="557" y="744"/>
                    </a:lnTo>
                    <a:lnTo>
                      <a:pt x="559" y="744"/>
                    </a:lnTo>
                    <a:lnTo>
                      <a:pt x="561" y="744"/>
                    </a:lnTo>
                    <a:lnTo>
                      <a:pt x="559" y="744"/>
                    </a:lnTo>
                    <a:lnTo>
                      <a:pt x="561" y="744"/>
                    </a:lnTo>
                    <a:lnTo>
                      <a:pt x="559" y="742"/>
                    </a:lnTo>
                    <a:lnTo>
                      <a:pt x="557" y="742"/>
                    </a:lnTo>
                    <a:lnTo>
                      <a:pt x="555" y="742"/>
                    </a:lnTo>
                    <a:lnTo>
                      <a:pt x="553" y="742"/>
                    </a:lnTo>
                    <a:lnTo>
                      <a:pt x="551" y="742"/>
                    </a:lnTo>
                    <a:lnTo>
                      <a:pt x="549" y="742"/>
                    </a:lnTo>
                    <a:lnTo>
                      <a:pt x="549" y="744"/>
                    </a:lnTo>
                    <a:lnTo>
                      <a:pt x="549" y="742"/>
                    </a:lnTo>
                    <a:lnTo>
                      <a:pt x="549" y="744"/>
                    </a:lnTo>
                    <a:lnTo>
                      <a:pt x="547" y="744"/>
                    </a:lnTo>
                    <a:lnTo>
                      <a:pt x="547" y="742"/>
                    </a:lnTo>
                    <a:lnTo>
                      <a:pt x="547" y="744"/>
                    </a:lnTo>
                    <a:lnTo>
                      <a:pt x="547" y="742"/>
                    </a:lnTo>
                    <a:lnTo>
                      <a:pt x="547" y="744"/>
                    </a:lnTo>
                    <a:lnTo>
                      <a:pt x="547" y="742"/>
                    </a:lnTo>
                    <a:lnTo>
                      <a:pt x="547" y="744"/>
                    </a:lnTo>
                    <a:lnTo>
                      <a:pt x="547" y="742"/>
                    </a:lnTo>
                    <a:lnTo>
                      <a:pt x="547" y="744"/>
                    </a:lnTo>
                    <a:lnTo>
                      <a:pt x="545" y="744"/>
                    </a:lnTo>
                    <a:lnTo>
                      <a:pt x="545" y="742"/>
                    </a:lnTo>
                    <a:lnTo>
                      <a:pt x="543" y="742"/>
                    </a:lnTo>
                    <a:lnTo>
                      <a:pt x="545" y="742"/>
                    </a:lnTo>
                    <a:lnTo>
                      <a:pt x="543" y="742"/>
                    </a:lnTo>
                    <a:lnTo>
                      <a:pt x="543" y="741"/>
                    </a:lnTo>
                    <a:lnTo>
                      <a:pt x="543" y="739"/>
                    </a:lnTo>
                    <a:lnTo>
                      <a:pt x="545" y="741"/>
                    </a:lnTo>
                    <a:lnTo>
                      <a:pt x="543" y="741"/>
                    </a:lnTo>
                    <a:lnTo>
                      <a:pt x="545" y="741"/>
                    </a:lnTo>
                    <a:lnTo>
                      <a:pt x="543" y="741"/>
                    </a:lnTo>
                    <a:lnTo>
                      <a:pt x="543" y="739"/>
                    </a:lnTo>
                    <a:lnTo>
                      <a:pt x="545" y="739"/>
                    </a:lnTo>
                    <a:lnTo>
                      <a:pt x="545" y="741"/>
                    </a:lnTo>
                    <a:lnTo>
                      <a:pt x="545" y="742"/>
                    </a:lnTo>
                    <a:lnTo>
                      <a:pt x="547" y="742"/>
                    </a:lnTo>
                    <a:lnTo>
                      <a:pt x="545" y="742"/>
                    </a:lnTo>
                    <a:lnTo>
                      <a:pt x="547" y="742"/>
                    </a:lnTo>
                    <a:lnTo>
                      <a:pt x="547" y="741"/>
                    </a:lnTo>
                    <a:lnTo>
                      <a:pt x="547" y="742"/>
                    </a:lnTo>
                    <a:lnTo>
                      <a:pt x="547" y="741"/>
                    </a:lnTo>
                    <a:lnTo>
                      <a:pt x="545" y="741"/>
                    </a:lnTo>
                    <a:lnTo>
                      <a:pt x="545" y="739"/>
                    </a:lnTo>
                    <a:lnTo>
                      <a:pt x="545" y="737"/>
                    </a:lnTo>
                    <a:lnTo>
                      <a:pt x="545" y="739"/>
                    </a:lnTo>
                    <a:lnTo>
                      <a:pt x="545" y="737"/>
                    </a:lnTo>
                    <a:lnTo>
                      <a:pt x="545" y="735"/>
                    </a:lnTo>
                    <a:lnTo>
                      <a:pt x="543" y="735"/>
                    </a:lnTo>
                    <a:lnTo>
                      <a:pt x="543" y="733"/>
                    </a:lnTo>
                    <a:lnTo>
                      <a:pt x="541" y="733"/>
                    </a:lnTo>
                    <a:lnTo>
                      <a:pt x="540" y="733"/>
                    </a:lnTo>
                    <a:lnTo>
                      <a:pt x="538" y="733"/>
                    </a:lnTo>
                    <a:lnTo>
                      <a:pt x="538" y="731"/>
                    </a:lnTo>
                    <a:lnTo>
                      <a:pt x="536" y="731"/>
                    </a:lnTo>
                    <a:lnTo>
                      <a:pt x="536" y="729"/>
                    </a:lnTo>
                    <a:lnTo>
                      <a:pt x="534" y="729"/>
                    </a:lnTo>
                    <a:lnTo>
                      <a:pt x="532" y="729"/>
                    </a:lnTo>
                    <a:lnTo>
                      <a:pt x="530" y="729"/>
                    </a:lnTo>
                    <a:lnTo>
                      <a:pt x="528" y="729"/>
                    </a:lnTo>
                    <a:lnTo>
                      <a:pt x="528" y="727"/>
                    </a:lnTo>
                    <a:lnTo>
                      <a:pt x="528" y="729"/>
                    </a:lnTo>
                    <a:lnTo>
                      <a:pt x="526" y="727"/>
                    </a:lnTo>
                    <a:lnTo>
                      <a:pt x="528" y="727"/>
                    </a:lnTo>
                    <a:lnTo>
                      <a:pt x="526" y="727"/>
                    </a:lnTo>
                    <a:lnTo>
                      <a:pt x="526" y="725"/>
                    </a:lnTo>
                    <a:lnTo>
                      <a:pt x="524" y="725"/>
                    </a:lnTo>
                    <a:lnTo>
                      <a:pt x="522" y="725"/>
                    </a:lnTo>
                    <a:lnTo>
                      <a:pt x="524" y="725"/>
                    </a:lnTo>
                    <a:lnTo>
                      <a:pt x="524" y="723"/>
                    </a:lnTo>
                    <a:lnTo>
                      <a:pt x="524" y="725"/>
                    </a:lnTo>
                    <a:lnTo>
                      <a:pt x="524" y="723"/>
                    </a:lnTo>
                    <a:lnTo>
                      <a:pt x="524" y="725"/>
                    </a:lnTo>
                    <a:lnTo>
                      <a:pt x="526" y="725"/>
                    </a:lnTo>
                    <a:lnTo>
                      <a:pt x="526" y="723"/>
                    </a:lnTo>
                    <a:lnTo>
                      <a:pt x="524" y="723"/>
                    </a:lnTo>
                    <a:lnTo>
                      <a:pt x="524" y="721"/>
                    </a:lnTo>
                    <a:lnTo>
                      <a:pt x="524" y="723"/>
                    </a:lnTo>
                    <a:lnTo>
                      <a:pt x="526" y="723"/>
                    </a:lnTo>
                    <a:lnTo>
                      <a:pt x="526" y="721"/>
                    </a:lnTo>
                    <a:lnTo>
                      <a:pt x="528" y="721"/>
                    </a:lnTo>
                    <a:lnTo>
                      <a:pt x="528" y="719"/>
                    </a:lnTo>
                    <a:lnTo>
                      <a:pt x="530" y="719"/>
                    </a:lnTo>
                    <a:lnTo>
                      <a:pt x="530" y="718"/>
                    </a:lnTo>
                    <a:lnTo>
                      <a:pt x="530" y="719"/>
                    </a:lnTo>
                    <a:lnTo>
                      <a:pt x="532" y="719"/>
                    </a:lnTo>
                    <a:lnTo>
                      <a:pt x="530" y="719"/>
                    </a:lnTo>
                    <a:lnTo>
                      <a:pt x="532" y="719"/>
                    </a:lnTo>
                    <a:lnTo>
                      <a:pt x="534" y="719"/>
                    </a:lnTo>
                    <a:lnTo>
                      <a:pt x="534" y="718"/>
                    </a:lnTo>
                    <a:lnTo>
                      <a:pt x="536" y="716"/>
                    </a:lnTo>
                    <a:lnTo>
                      <a:pt x="534" y="716"/>
                    </a:lnTo>
                    <a:lnTo>
                      <a:pt x="534" y="714"/>
                    </a:lnTo>
                    <a:lnTo>
                      <a:pt x="536" y="714"/>
                    </a:lnTo>
                    <a:lnTo>
                      <a:pt x="536" y="712"/>
                    </a:lnTo>
                    <a:lnTo>
                      <a:pt x="536" y="710"/>
                    </a:lnTo>
                    <a:lnTo>
                      <a:pt x="538" y="710"/>
                    </a:lnTo>
                    <a:lnTo>
                      <a:pt x="538" y="708"/>
                    </a:lnTo>
                    <a:lnTo>
                      <a:pt x="540" y="708"/>
                    </a:lnTo>
                    <a:lnTo>
                      <a:pt x="540" y="706"/>
                    </a:lnTo>
                    <a:lnTo>
                      <a:pt x="541" y="706"/>
                    </a:lnTo>
                    <a:lnTo>
                      <a:pt x="541" y="704"/>
                    </a:lnTo>
                    <a:lnTo>
                      <a:pt x="543" y="704"/>
                    </a:lnTo>
                    <a:lnTo>
                      <a:pt x="543" y="702"/>
                    </a:lnTo>
                    <a:lnTo>
                      <a:pt x="545" y="702"/>
                    </a:lnTo>
                    <a:lnTo>
                      <a:pt x="545" y="700"/>
                    </a:lnTo>
                    <a:lnTo>
                      <a:pt x="545" y="698"/>
                    </a:lnTo>
                    <a:lnTo>
                      <a:pt x="545" y="700"/>
                    </a:lnTo>
                    <a:lnTo>
                      <a:pt x="547" y="700"/>
                    </a:lnTo>
                    <a:lnTo>
                      <a:pt x="547" y="698"/>
                    </a:lnTo>
                    <a:lnTo>
                      <a:pt x="545" y="698"/>
                    </a:lnTo>
                    <a:lnTo>
                      <a:pt x="545" y="700"/>
                    </a:lnTo>
                    <a:lnTo>
                      <a:pt x="545" y="702"/>
                    </a:lnTo>
                    <a:lnTo>
                      <a:pt x="543" y="702"/>
                    </a:lnTo>
                    <a:lnTo>
                      <a:pt x="543" y="704"/>
                    </a:lnTo>
                    <a:lnTo>
                      <a:pt x="541" y="704"/>
                    </a:lnTo>
                    <a:lnTo>
                      <a:pt x="541" y="706"/>
                    </a:lnTo>
                    <a:lnTo>
                      <a:pt x="540" y="706"/>
                    </a:lnTo>
                    <a:lnTo>
                      <a:pt x="540" y="708"/>
                    </a:lnTo>
                    <a:lnTo>
                      <a:pt x="538" y="708"/>
                    </a:lnTo>
                    <a:lnTo>
                      <a:pt x="538" y="710"/>
                    </a:lnTo>
                    <a:lnTo>
                      <a:pt x="536" y="710"/>
                    </a:lnTo>
                    <a:lnTo>
                      <a:pt x="536" y="712"/>
                    </a:lnTo>
                    <a:lnTo>
                      <a:pt x="536" y="714"/>
                    </a:lnTo>
                    <a:lnTo>
                      <a:pt x="534" y="714"/>
                    </a:lnTo>
                    <a:lnTo>
                      <a:pt x="534" y="716"/>
                    </a:lnTo>
                    <a:lnTo>
                      <a:pt x="536" y="716"/>
                    </a:lnTo>
                    <a:lnTo>
                      <a:pt x="534" y="716"/>
                    </a:lnTo>
                    <a:lnTo>
                      <a:pt x="536" y="716"/>
                    </a:lnTo>
                    <a:lnTo>
                      <a:pt x="534" y="716"/>
                    </a:lnTo>
                    <a:lnTo>
                      <a:pt x="536" y="716"/>
                    </a:lnTo>
                    <a:lnTo>
                      <a:pt x="534" y="716"/>
                    </a:lnTo>
                    <a:lnTo>
                      <a:pt x="534" y="718"/>
                    </a:lnTo>
                    <a:lnTo>
                      <a:pt x="534" y="719"/>
                    </a:lnTo>
                    <a:lnTo>
                      <a:pt x="532" y="719"/>
                    </a:lnTo>
                    <a:lnTo>
                      <a:pt x="532" y="718"/>
                    </a:lnTo>
                    <a:lnTo>
                      <a:pt x="530" y="719"/>
                    </a:lnTo>
                    <a:lnTo>
                      <a:pt x="530" y="718"/>
                    </a:lnTo>
                    <a:lnTo>
                      <a:pt x="530" y="719"/>
                    </a:lnTo>
                    <a:lnTo>
                      <a:pt x="528" y="719"/>
                    </a:lnTo>
                    <a:lnTo>
                      <a:pt x="530" y="719"/>
                    </a:lnTo>
                    <a:lnTo>
                      <a:pt x="528" y="719"/>
                    </a:lnTo>
                    <a:lnTo>
                      <a:pt x="528" y="721"/>
                    </a:lnTo>
                    <a:lnTo>
                      <a:pt x="526" y="721"/>
                    </a:lnTo>
                    <a:lnTo>
                      <a:pt x="526" y="723"/>
                    </a:lnTo>
                    <a:lnTo>
                      <a:pt x="524" y="723"/>
                    </a:lnTo>
                    <a:lnTo>
                      <a:pt x="524" y="721"/>
                    </a:lnTo>
                    <a:lnTo>
                      <a:pt x="524" y="723"/>
                    </a:lnTo>
                    <a:lnTo>
                      <a:pt x="526" y="723"/>
                    </a:lnTo>
                    <a:lnTo>
                      <a:pt x="526" y="725"/>
                    </a:lnTo>
                    <a:lnTo>
                      <a:pt x="524" y="725"/>
                    </a:lnTo>
                    <a:lnTo>
                      <a:pt x="524" y="723"/>
                    </a:lnTo>
                    <a:lnTo>
                      <a:pt x="524" y="725"/>
                    </a:lnTo>
                    <a:lnTo>
                      <a:pt x="522" y="725"/>
                    </a:lnTo>
                    <a:lnTo>
                      <a:pt x="520" y="725"/>
                    </a:lnTo>
                    <a:lnTo>
                      <a:pt x="520" y="723"/>
                    </a:lnTo>
                    <a:lnTo>
                      <a:pt x="518" y="723"/>
                    </a:lnTo>
                    <a:lnTo>
                      <a:pt x="518" y="721"/>
                    </a:lnTo>
                    <a:lnTo>
                      <a:pt x="516" y="721"/>
                    </a:lnTo>
                    <a:lnTo>
                      <a:pt x="516" y="719"/>
                    </a:lnTo>
                    <a:lnTo>
                      <a:pt x="515" y="719"/>
                    </a:lnTo>
                    <a:lnTo>
                      <a:pt x="513" y="718"/>
                    </a:lnTo>
                    <a:lnTo>
                      <a:pt x="511" y="718"/>
                    </a:lnTo>
                    <a:lnTo>
                      <a:pt x="509" y="716"/>
                    </a:lnTo>
                    <a:lnTo>
                      <a:pt x="509" y="714"/>
                    </a:lnTo>
                    <a:lnTo>
                      <a:pt x="507" y="714"/>
                    </a:lnTo>
                    <a:lnTo>
                      <a:pt x="507" y="712"/>
                    </a:lnTo>
                    <a:lnTo>
                      <a:pt x="507" y="710"/>
                    </a:lnTo>
                    <a:lnTo>
                      <a:pt x="505" y="708"/>
                    </a:lnTo>
                    <a:lnTo>
                      <a:pt x="503" y="708"/>
                    </a:lnTo>
                    <a:lnTo>
                      <a:pt x="505" y="708"/>
                    </a:lnTo>
                    <a:lnTo>
                      <a:pt x="503" y="708"/>
                    </a:lnTo>
                    <a:lnTo>
                      <a:pt x="503" y="706"/>
                    </a:lnTo>
                    <a:lnTo>
                      <a:pt x="505" y="706"/>
                    </a:lnTo>
                    <a:lnTo>
                      <a:pt x="505" y="708"/>
                    </a:lnTo>
                    <a:lnTo>
                      <a:pt x="505" y="706"/>
                    </a:lnTo>
                    <a:lnTo>
                      <a:pt x="505" y="708"/>
                    </a:lnTo>
                    <a:lnTo>
                      <a:pt x="505" y="706"/>
                    </a:lnTo>
                    <a:lnTo>
                      <a:pt x="505" y="708"/>
                    </a:lnTo>
                    <a:lnTo>
                      <a:pt x="505" y="706"/>
                    </a:lnTo>
                    <a:lnTo>
                      <a:pt x="505" y="704"/>
                    </a:lnTo>
                    <a:lnTo>
                      <a:pt x="503" y="704"/>
                    </a:lnTo>
                    <a:lnTo>
                      <a:pt x="503" y="702"/>
                    </a:lnTo>
                    <a:lnTo>
                      <a:pt x="501" y="702"/>
                    </a:lnTo>
                    <a:lnTo>
                      <a:pt x="501" y="700"/>
                    </a:lnTo>
                    <a:lnTo>
                      <a:pt x="499" y="700"/>
                    </a:lnTo>
                    <a:lnTo>
                      <a:pt x="499" y="698"/>
                    </a:lnTo>
                    <a:lnTo>
                      <a:pt x="499" y="696"/>
                    </a:lnTo>
                    <a:lnTo>
                      <a:pt x="499" y="694"/>
                    </a:lnTo>
                    <a:lnTo>
                      <a:pt x="497" y="694"/>
                    </a:lnTo>
                    <a:lnTo>
                      <a:pt x="497" y="693"/>
                    </a:lnTo>
                    <a:lnTo>
                      <a:pt x="497" y="691"/>
                    </a:lnTo>
                    <a:lnTo>
                      <a:pt x="495" y="689"/>
                    </a:lnTo>
                    <a:lnTo>
                      <a:pt x="495" y="687"/>
                    </a:lnTo>
                    <a:lnTo>
                      <a:pt x="493" y="687"/>
                    </a:lnTo>
                    <a:lnTo>
                      <a:pt x="495" y="687"/>
                    </a:lnTo>
                    <a:lnTo>
                      <a:pt x="493" y="687"/>
                    </a:lnTo>
                    <a:lnTo>
                      <a:pt x="493" y="685"/>
                    </a:lnTo>
                    <a:lnTo>
                      <a:pt x="493" y="683"/>
                    </a:lnTo>
                    <a:lnTo>
                      <a:pt x="492" y="683"/>
                    </a:lnTo>
                    <a:lnTo>
                      <a:pt x="492" y="681"/>
                    </a:lnTo>
                    <a:lnTo>
                      <a:pt x="490" y="681"/>
                    </a:lnTo>
                    <a:lnTo>
                      <a:pt x="490" y="679"/>
                    </a:lnTo>
                    <a:lnTo>
                      <a:pt x="488" y="679"/>
                    </a:lnTo>
                    <a:lnTo>
                      <a:pt x="488" y="677"/>
                    </a:lnTo>
                    <a:lnTo>
                      <a:pt x="488" y="675"/>
                    </a:lnTo>
                    <a:lnTo>
                      <a:pt x="488" y="673"/>
                    </a:lnTo>
                    <a:lnTo>
                      <a:pt x="486" y="673"/>
                    </a:lnTo>
                    <a:lnTo>
                      <a:pt x="486" y="671"/>
                    </a:lnTo>
                    <a:lnTo>
                      <a:pt x="484" y="671"/>
                    </a:lnTo>
                    <a:lnTo>
                      <a:pt x="486" y="671"/>
                    </a:lnTo>
                    <a:lnTo>
                      <a:pt x="484" y="669"/>
                    </a:lnTo>
                    <a:lnTo>
                      <a:pt x="482" y="669"/>
                    </a:lnTo>
                    <a:lnTo>
                      <a:pt x="482" y="668"/>
                    </a:lnTo>
                    <a:lnTo>
                      <a:pt x="482" y="666"/>
                    </a:lnTo>
                    <a:lnTo>
                      <a:pt x="480" y="666"/>
                    </a:lnTo>
                    <a:lnTo>
                      <a:pt x="480" y="664"/>
                    </a:lnTo>
                    <a:lnTo>
                      <a:pt x="478" y="664"/>
                    </a:lnTo>
                    <a:lnTo>
                      <a:pt x="478" y="662"/>
                    </a:lnTo>
                    <a:lnTo>
                      <a:pt x="478" y="664"/>
                    </a:lnTo>
                    <a:lnTo>
                      <a:pt x="478" y="662"/>
                    </a:lnTo>
                    <a:lnTo>
                      <a:pt x="476" y="660"/>
                    </a:lnTo>
                    <a:lnTo>
                      <a:pt x="476" y="658"/>
                    </a:lnTo>
                    <a:lnTo>
                      <a:pt x="474" y="658"/>
                    </a:lnTo>
                    <a:lnTo>
                      <a:pt x="476" y="658"/>
                    </a:lnTo>
                    <a:lnTo>
                      <a:pt x="474" y="658"/>
                    </a:lnTo>
                    <a:lnTo>
                      <a:pt x="476" y="658"/>
                    </a:lnTo>
                    <a:lnTo>
                      <a:pt x="478" y="658"/>
                    </a:lnTo>
                    <a:lnTo>
                      <a:pt x="478" y="656"/>
                    </a:lnTo>
                    <a:lnTo>
                      <a:pt x="478" y="658"/>
                    </a:lnTo>
                    <a:lnTo>
                      <a:pt x="478" y="656"/>
                    </a:lnTo>
                    <a:lnTo>
                      <a:pt x="480" y="656"/>
                    </a:lnTo>
                    <a:lnTo>
                      <a:pt x="480" y="658"/>
                    </a:lnTo>
                    <a:lnTo>
                      <a:pt x="482" y="656"/>
                    </a:lnTo>
                    <a:lnTo>
                      <a:pt x="480" y="656"/>
                    </a:lnTo>
                    <a:lnTo>
                      <a:pt x="480" y="654"/>
                    </a:lnTo>
                    <a:lnTo>
                      <a:pt x="482" y="654"/>
                    </a:lnTo>
                    <a:lnTo>
                      <a:pt x="482" y="656"/>
                    </a:lnTo>
                    <a:lnTo>
                      <a:pt x="482" y="654"/>
                    </a:lnTo>
                    <a:lnTo>
                      <a:pt x="484" y="656"/>
                    </a:lnTo>
                    <a:lnTo>
                      <a:pt x="486" y="656"/>
                    </a:lnTo>
                    <a:lnTo>
                      <a:pt x="484" y="656"/>
                    </a:lnTo>
                    <a:lnTo>
                      <a:pt x="484" y="658"/>
                    </a:lnTo>
                    <a:lnTo>
                      <a:pt x="486" y="658"/>
                    </a:lnTo>
                    <a:lnTo>
                      <a:pt x="486" y="656"/>
                    </a:lnTo>
                    <a:lnTo>
                      <a:pt x="488" y="658"/>
                    </a:lnTo>
                    <a:lnTo>
                      <a:pt x="490" y="658"/>
                    </a:lnTo>
                    <a:lnTo>
                      <a:pt x="492" y="658"/>
                    </a:lnTo>
                    <a:lnTo>
                      <a:pt x="493" y="658"/>
                    </a:lnTo>
                    <a:lnTo>
                      <a:pt x="495" y="658"/>
                    </a:lnTo>
                    <a:lnTo>
                      <a:pt x="497" y="658"/>
                    </a:lnTo>
                    <a:lnTo>
                      <a:pt x="497" y="660"/>
                    </a:lnTo>
                    <a:lnTo>
                      <a:pt x="499" y="660"/>
                    </a:lnTo>
                    <a:lnTo>
                      <a:pt x="499" y="662"/>
                    </a:lnTo>
                    <a:lnTo>
                      <a:pt x="497" y="662"/>
                    </a:lnTo>
                    <a:lnTo>
                      <a:pt x="499" y="662"/>
                    </a:lnTo>
                    <a:lnTo>
                      <a:pt x="499" y="664"/>
                    </a:lnTo>
                    <a:lnTo>
                      <a:pt x="499" y="666"/>
                    </a:lnTo>
                    <a:lnTo>
                      <a:pt x="501" y="666"/>
                    </a:lnTo>
                    <a:lnTo>
                      <a:pt x="499" y="666"/>
                    </a:lnTo>
                    <a:lnTo>
                      <a:pt x="499" y="668"/>
                    </a:lnTo>
                    <a:lnTo>
                      <a:pt x="501" y="668"/>
                    </a:lnTo>
                    <a:lnTo>
                      <a:pt x="501" y="666"/>
                    </a:lnTo>
                    <a:lnTo>
                      <a:pt x="501" y="668"/>
                    </a:lnTo>
                    <a:lnTo>
                      <a:pt x="503" y="668"/>
                    </a:lnTo>
                    <a:lnTo>
                      <a:pt x="503" y="669"/>
                    </a:lnTo>
                    <a:lnTo>
                      <a:pt x="501" y="669"/>
                    </a:lnTo>
                    <a:lnTo>
                      <a:pt x="503" y="669"/>
                    </a:lnTo>
                    <a:lnTo>
                      <a:pt x="503" y="671"/>
                    </a:lnTo>
                    <a:lnTo>
                      <a:pt x="505" y="671"/>
                    </a:lnTo>
                    <a:lnTo>
                      <a:pt x="507" y="671"/>
                    </a:lnTo>
                    <a:lnTo>
                      <a:pt x="507" y="669"/>
                    </a:lnTo>
                    <a:lnTo>
                      <a:pt x="509" y="669"/>
                    </a:lnTo>
                    <a:lnTo>
                      <a:pt x="511" y="669"/>
                    </a:lnTo>
                    <a:lnTo>
                      <a:pt x="513" y="669"/>
                    </a:lnTo>
                    <a:lnTo>
                      <a:pt x="515" y="668"/>
                    </a:lnTo>
                    <a:lnTo>
                      <a:pt x="516" y="668"/>
                    </a:lnTo>
                    <a:lnTo>
                      <a:pt x="518" y="668"/>
                    </a:lnTo>
                    <a:lnTo>
                      <a:pt x="518" y="666"/>
                    </a:lnTo>
                    <a:lnTo>
                      <a:pt x="520" y="666"/>
                    </a:lnTo>
                    <a:lnTo>
                      <a:pt x="520" y="668"/>
                    </a:lnTo>
                    <a:lnTo>
                      <a:pt x="518" y="668"/>
                    </a:lnTo>
                    <a:lnTo>
                      <a:pt x="520" y="668"/>
                    </a:lnTo>
                    <a:lnTo>
                      <a:pt x="522" y="666"/>
                    </a:lnTo>
                    <a:lnTo>
                      <a:pt x="522" y="668"/>
                    </a:lnTo>
                    <a:lnTo>
                      <a:pt x="522" y="666"/>
                    </a:lnTo>
                    <a:lnTo>
                      <a:pt x="522" y="668"/>
                    </a:lnTo>
                    <a:lnTo>
                      <a:pt x="524" y="666"/>
                    </a:lnTo>
                    <a:lnTo>
                      <a:pt x="526" y="666"/>
                    </a:lnTo>
                    <a:lnTo>
                      <a:pt x="524" y="666"/>
                    </a:lnTo>
                    <a:lnTo>
                      <a:pt x="524" y="664"/>
                    </a:lnTo>
                    <a:lnTo>
                      <a:pt x="524" y="666"/>
                    </a:lnTo>
                    <a:lnTo>
                      <a:pt x="524" y="664"/>
                    </a:lnTo>
                    <a:lnTo>
                      <a:pt x="526" y="664"/>
                    </a:lnTo>
                    <a:lnTo>
                      <a:pt x="528" y="666"/>
                    </a:lnTo>
                    <a:lnTo>
                      <a:pt x="528" y="664"/>
                    </a:lnTo>
                    <a:lnTo>
                      <a:pt x="530" y="664"/>
                    </a:lnTo>
                    <a:lnTo>
                      <a:pt x="528" y="664"/>
                    </a:lnTo>
                    <a:lnTo>
                      <a:pt x="530" y="662"/>
                    </a:lnTo>
                    <a:lnTo>
                      <a:pt x="530" y="664"/>
                    </a:lnTo>
                    <a:lnTo>
                      <a:pt x="532" y="662"/>
                    </a:lnTo>
                    <a:lnTo>
                      <a:pt x="534" y="662"/>
                    </a:lnTo>
                    <a:lnTo>
                      <a:pt x="534" y="660"/>
                    </a:lnTo>
                    <a:lnTo>
                      <a:pt x="534" y="658"/>
                    </a:lnTo>
                    <a:lnTo>
                      <a:pt x="534" y="656"/>
                    </a:lnTo>
                    <a:lnTo>
                      <a:pt x="536" y="656"/>
                    </a:lnTo>
                    <a:lnTo>
                      <a:pt x="534" y="656"/>
                    </a:lnTo>
                    <a:lnTo>
                      <a:pt x="536" y="656"/>
                    </a:lnTo>
                    <a:lnTo>
                      <a:pt x="536" y="654"/>
                    </a:lnTo>
                    <a:lnTo>
                      <a:pt x="538" y="654"/>
                    </a:lnTo>
                    <a:lnTo>
                      <a:pt x="538" y="652"/>
                    </a:lnTo>
                    <a:lnTo>
                      <a:pt x="536" y="652"/>
                    </a:lnTo>
                    <a:lnTo>
                      <a:pt x="538" y="652"/>
                    </a:lnTo>
                    <a:lnTo>
                      <a:pt x="538" y="650"/>
                    </a:lnTo>
                    <a:lnTo>
                      <a:pt x="540" y="650"/>
                    </a:lnTo>
                    <a:lnTo>
                      <a:pt x="541" y="650"/>
                    </a:lnTo>
                    <a:lnTo>
                      <a:pt x="541" y="648"/>
                    </a:lnTo>
                    <a:lnTo>
                      <a:pt x="541" y="646"/>
                    </a:lnTo>
                    <a:lnTo>
                      <a:pt x="541" y="644"/>
                    </a:lnTo>
                    <a:lnTo>
                      <a:pt x="543" y="644"/>
                    </a:lnTo>
                    <a:lnTo>
                      <a:pt x="541" y="646"/>
                    </a:lnTo>
                    <a:lnTo>
                      <a:pt x="541" y="648"/>
                    </a:lnTo>
                    <a:lnTo>
                      <a:pt x="541" y="650"/>
                    </a:lnTo>
                    <a:lnTo>
                      <a:pt x="540" y="650"/>
                    </a:lnTo>
                    <a:lnTo>
                      <a:pt x="538" y="650"/>
                    </a:lnTo>
                    <a:lnTo>
                      <a:pt x="538" y="652"/>
                    </a:lnTo>
                    <a:lnTo>
                      <a:pt x="536" y="652"/>
                    </a:lnTo>
                    <a:lnTo>
                      <a:pt x="538" y="652"/>
                    </a:lnTo>
                    <a:lnTo>
                      <a:pt x="538" y="654"/>
                    </a:lnTo>
                    <a:lnTo>
                      <a:pt x="536" y="654"/>
                    </a:lnTo>
                    <a:lnTo>
                      <a:pt x="536" y="656"/>
                    </a:lnTo>
                    <a:lnTo>
                      <a:pt x="534" y="656"/>
                    </a:lnTo>
                    <a:lnTo>
                      <a:pt x="534" y="658"/>
                    </a:lnTo>
                    <a:lnTo>
                      <a:pt x="534" y="660"/>
                    </a:lnTo>
                    <a:lnTo>
                      <a:pt x="534" y="662"/>
                    </a:lnTo>
                    <a:lnTo>
                      <a:pt x="532" y="662"/>
                    </a:lnTo>
                    <a:lnTo>
                      <a:pt x="530" y="664"/>
                    </a:lnTo>
                    <a:lnTo>
                      <a:pt x="530" y="662"/>
                    </a:lnTo>
                    <a:lnTo>
                      <a:pt x="528" y="664"/>
                    </a:lnTo>
                    <a:lnTo>
                      <a:pt x="530" y="664"/>
                    </a:lnTo>
                    <a:lnTo>
                      <a:pt x="528" y="664"/>
                    </a:lnTo>
                    <a:lnTo>
                      <a:pt x="528" y="666"/>
                    </a:lnTo>
                    <a:lnTo>
                      <a:pt x="528" y="664"/>
                    </a:lnTo>
                    <a:lnTo>
                      <a:pt x="526" y="664"/>
                    </a:lnTo>
                    <a:lnTo>
                      <a:pt x="524" y="664"/>
                    </a:lnTo>
                    <a:lnTo>
                      <a:pt x="524" y="666"/>
                    </a:lnTo>
                    <a:lnTo>
                      <a:pt x="524" y="664"/>
                    </a:lnTo>
                    <a:lnTo>
                      <a:pt x="524" y="666"/>
                    </a:lnTo>
                    <a:lnTo>
                      <a:pt x="522" y="666"/>
                    </a:lnTo>
                    <a:lnTo>
                      <a:pt x="522" y="668"/>
                    </a:lnTo>
                    <a:lnTo>
                      <a:pt x="522" y="666"/>
                    </a:lnTo>
                    <a:lnTo>
                      <a:pt x="520" y="668"/>
                    </a:lnTo>
                    <a:lnTo>
                      <a:pt x="518" y="668"/>
                    </a:lnTo>
                    <a:lnTo>
                      <a:pt x="520" y="668"/>
                    </a:lnTo>
                    <a:lnTo>
                      <a:pt x="520" y="666"/>
                    </a:lnTo>
                    <a:lnTo>
                      <a:pt x="518" y="666"/>
                    </a:lnTo>
                    <a:lnTo>
                      <a:pt x="518" y="668"/>
                    </a:lnTo>
                    <a:lnTo>
                      <a:pt x="516" y="668"/>
                    </a:lnTo>
                    <a:lnTo>
                      <a:pt x="515" y="668"/>
                    </a:lnTo>
                    <a:lnTo>
                      <a:pt x="513" y="669"/>
                    </a:lnTo>
                    <a:lnTo>
                      <a:pt x="511" y="669"/>
                    </a:lnTo>
                    <a:lnTo>
                      <a:pt x="509" y="669"/>
                    </a:lnTo>
                    <a:lnTo>
                      <a:pt x="507" y="669"/>
                    </a:lnTo>
                    <a:lnTo>
                      <a:pt x="507" y="671"/>
                    </a:lnTo>
                    <a:lnTo>
                      <a:pt x="505" y="671"/>
                    </a:lnTo>
                    <a:lnTo>
                      <a:pt x="503" y="671"/>
                    </a:lnTo>
                    <a:lnTo>
                      <a:pt x="503" y="669"/>
                    </a:lnTo>
                    <a:lnTo>
                      <a:pt x="505" y="669"/>
                    </a:lnTo>
                    <a:lnTo>
                      <a:pt x="503" y="669"/>
                    </a:lnTo>
                    <a:lnTo>
                      <a:pt x="501" y="669"/>
                    </a:lnTo>
                    <a:lnTo>
                      <a:pt x="503" y="669"/>
                    </a:lnTo>
                    <a:lnTo>
                      <a:pt x="503" y="668"/>
                    </a:lnTo>
                    <a:lnTo>
                      <a:pt x="501" y="668"/>
                    </a:lnTo>
                    <a:lnTo>
                      <a:pt x="501" y="666"/>
                    </a:lnTo>
                    <a:lnTo>
                      <a:pt x="501" y="668"/>
                    </a:lnTo>
                    <a:lnTo>
                      <a:pt x="499" y="668"/>
                    </a:lnTo>
                    <a:lnTo>
                      <a:pt x="499" y="666"/>
                    </a:lnTo>
                    <a:lnTo>
                      <a:pt x="501" y="666"/>
                    </a:lnTo>
                    <a:lnTo>
                      <a:pt x="499" y="666"/>
                    </a:lnTo>
                    <a:lnTo>
                      <a:pt x="499" y="664"/>
                    </a:lnTo>
                    <a:lnTo>
                      <a:pt x="499" y="662"/>
                    </a:lnTo>
                    <a:lnTo>
                      <a:pt x="497" y="662"/>
                    </a:lnTo>
                    <a:lnTo>
                      <a:pt x="499" y="662"/>
                    </a:lnTo>
                    <a:lnTo>
                      <a:pt x="499" y="660"/>
                    </a:lnTo>
                    <a:lnTo>
                      <a:pt x="497" y="660"/>
                    </a:lnTo>
                    <a:lnTo>
                      <a:pt x="497" y="658"/>
                    </a:lnTo>
                    <a:lnTo>
                      <a:pt x="495" y="658"/>
                    </a:lnTo>
                    <a:lnTo>
                      <a:pt x="493" y="658"/>
                    </a:lnTo>
                    <a:lnTo>
                      <a:pt x="493" y="656"/>
                    </a:lnTo>
                    <a:lnTo>
                      <a:pt x="493" y="658"/>
                    </a:lnTo>
                    <a:lnTo>
                      <a:pt x="492" y="658"/>
                    </a:lnTo>
                    <a:lnTo>
                      <a:pt x="492" y="656"/>
                    </a:lnTo>
                    <a:lnTo>
                      <a:pt x="492" y="658"/>
                    </a:lnTo>
                    <a:lnTo>
                      <a:pt x="490" y="658"/>
                    </a:lnTo>
                    <a:lnTo>
                      <a:pt x="490" y="656"/>
                    </a:lnTo>
                    <a:lnTo>
                      <a:pt x="490" y="658"/>
                    </a:lnTo>
                    <a:lnTo>
                      <a:pt x="488" y="658"/>
                    </a:lnTo>
                    <a:lnTo>
                      <a:pt x="488" y="656"/>
                    </a:lnTo>
                    <a:lnTo>
                      <a:pt x="486" y="656"/>
                    </a:lnTo>
                    <a:lnTo>
                      <a:pt x="486" y="658"/>
                    </a:lnTo>
                    <a:lnTo>
                      <a:pt x="484" y="658"/>
                    </a:lnTo>
                    <a:lnTo>
                      <a:pt x="484" y="656"/>
                    </a:lnTo>
                    <a:lnTo>
                      <a:pt x="486" y="656"/>
                    </a:lnTo>
                    <a:lnTo>
                      <a:pt x="484" y="656"/>
                    </a:lnTo>
                    <a:lnTo>
                      <a:pt x="482" y="654"/>
                    </a:lnTo>
                    <a:lnTo>
                      <a:pt x="480" y="654"/>
                    </a:lnTo>
                    <a:lnTo>
                      <a:pt x="480" y="656"/>
                    </a:lnTo>
                    <a:lnTo>
                      <a:pt x="482" y="656"/>
                    </a:lnTo>
                    <a:lnTo>
                      <a:pt x="480" y="656"/>
                    </a:lnTo>
                    <a:lnTo>
                      <a:pt x="478" y="656"/>
                    </a:lnTo>
                    <a:lnTo>
                      <a:pt x="478" y="658"/>
                    </a:lnTo>
                    <a:lnTo>
                      <a:pt x="476" y="658"/>
                    </a:lnTo>
                    <a:lnTo>
                      <a:pt x="476" y="656"/>
                    </a:lnTo>
                    <a:lnTo>
                      <a:pt x="474" y="656"/>
                    </a:lnTo>
                    <a:lnTo>
                      <a:pt x="474" y="658"/>
                    </a:lnTo>
                    <a:lnTo>
                      <a:pt x="474" y="656"/>
                    </a:lnTo>
                    <a:lnTo>
                      <a:pt x="472" y="656"/>
                    </a:lnTo>
                    <a:lnTo>
                      <a:pt x="472" y="654"/>
                    </a:lnTo>
                    <a:lnTo>
                      <a:pt x="474" y="654"/>
                    </a:lnTo>
                    <a:lnTo>
                      <a:pt x="474" y="652"/>
                    </a:lnTo>
                    <a:lnTo>
                      <a:pt x="474" y="654"/>
                    </a:lnTo>
                    <a:lnTo>
                      <a:pt x="474" y="652"/>
                    </a:lnTo>
                    <a:lnTo>
                      <a:pt x="472" y="654"/>
                    </a:lnTo>
                    <a:lnTo>
                      <a:pt x="472" y="652"/>
                    </a:lnTo>
                    <a:lnTo>
                      <a:pt x="472" y="654"/>
                    </a:lnTo>
                    <a:lnTo>
                      <a:pt x="472" y="652"/>
                    </a:lnTo>
                    <a:lnTo>
                      <a:pt x="470" y="652"/>
                    </a:lnTo>
                    <a:lnTo>
                      <a:pt x="468" y="650"/>
                    </a:lnTo>
                    <a:lnTo>
                      <a:pt x="470" y="650"/>
                    </a:lnTo>
                    <a:lnTo>
                      <a:pt x="470" y="652"/>
                    </a:lnTo>
                    <a:lnTo>
                      <a:pt x="470" y="650"/>
                    </a:lnTo>
                    <a:lnTo>
                      <a:pt x="468" y="648"/>
                    </a:lnTo>
                    <a:lnTo>
                      <a:pt x="467" y="646"/>
                    </a:lnTo>
                    <a:lnTo>
                      <a:pt x="465" y="644"/>
                    </a:lnTo>
                    <a:lnTo>
                      <a:pt x="463" y="643"/>
                    </a:lnTo>
                    <a:lnTo>
                      <a:pt x="463" y="641"/>
                    </a:lnTo>
                    <a:lnTo>
                      <a:pt x="463" y="639"/>
                    </a:lnTo>
                    <a:lnTo>
                      <a:pt x="463" y="641"/>
                    </a:lnTo>
                    <a:lnTo>
                      <a:pt x="463" y="639"/>
                    </a:lnTo>
                    <a:lnTo>
                      <a:pt x="461" y="639"/>
                    </a:lnTo>
                    <a:lnTo>
                      <a:pt x="461" y="637"/>
                    </a:lnTo>
                    <a:lnTo>
                      <a:pt x="461" y="635"/>
                    </a:lnTo>
                    <a:lnTo>
                      <a:pt x="459" y="635"/>
                    </a:lnTo>
                    <a:lnTo>
                      <a:pt x="459" y="633"/>
                    </a:lnTo>
                    <a:lnTo>
                      <a:pt x="461" y="635"/>
                    </a:lnTo>
                    <a:lnTo>
                      <a:pt x="461" y="633"/>
                    </a:lnTo>
                    <a:lnTo>
                      <a:pt x="459" y="633"/>
                    </a:lnTo>
                    <a:lnTo>
                      <a:pt x="459" y="631"/>
                    </a:lnTo>
                    <a:lnTo>
                      <a:pt x="457" y="631"/>
                    </a:lnTo>
                    <a:lnTo>
                      <a:pt x="457" y="629"/>
                    </a:lnTo>
                    <a:lnTo>
                      <a:pt x="459" y="629"/>
                    </a:lnTo>
                    <a:lnTo>
                      <a:pt x="459" y="627"/>
                    </a:lnTo>
                    <a:lnTo>
                      <a:pt x="461" y="627"/>
                    </a:lnTo>
                    <a:lnTo>
                      <a:pt x="459" y="627"/>
                    </a:lnTo>
                    <a:lnTo>
                      <a:pt x="461" y="627"/>
                    </a:lnTo>
                    <a:lnTo>
                      <a:pt x="461" y="625"/>
                    </a:lnTo>
                    <a:lnTo>
                      <a:pt x="461" y="627"/>
                    </a:lnTo>
                    <a:lnTo>
                      <a:pt x="461" y="625"/>
                    </a:lnTo>
                    <a:lnTo>
                      <a:pt x="461" y="627"/>
                    </a:lnTo>
                    <a:lnTo>
                      <a:pt x="463" y="627"/>
                    </a:lnTo>
                    <a:lnTo>
                      <a:pt x="463" y="629"/>
                    </a:lnTo>
                    <a:lnTo>
                      <a:pt x="465" y="629"/>
                    </a:lnTo>
                    <a:lnTo>
                      <a:pt x="467" y="629"/>
                    </a:lnTo>
                    <a:lnTo>
                      <a:pt x="465" y="629"/>
                    </a:lnTo>
                    <a:lnTo>
                      <a:pt x="465" y="631"/>
                    </a:lnTo>
                    <a:lnTo>
                      <a:pt x="467" y="631"/>
                    </a:lnTo>
                    <a:lnTo>
                      <a:pt x="467" y="629"/>
                    </a:lnTo>
                    <a:lnTo>
                      <a:pt x="467" y="631"/>
                    </a:lnTo>
                    <a:lnTo>
                      <a:pt x="467" y="629"/>
                    </a:lnTo>
                    <a:lnTo>
                      <a:pt x="467" y="631"/>
                    </a:lnTo>
                    <a:lnTo>
                      <a:pt x="465" y="631"/>
                    </a:lnTo>
                    <a:lnTo>
                      <a:pt x="465" y="629"/>
                    </a:lnTo>
                    <a:lnTo>
                      <a:pt x="467" y="629"/>
                    </a:lnTo>
                    <a:lnTo>
                      <a:pt x="465" y="629"/>
                    </a:lnTo>
                    <a:lnTo>
                      <a:pt x="463" y="629"/>
                    </a:lnTo>
                    <a:lnTo>
                      <a:pt x="463" y="627"/>
                    </a:lnTo>
                    <a:lnTo>
                      <a:pt x="461" y="627"/>
                    </a:lnTo>
                    <a:lnTo>
                      <a:pt x="461" y="625"/>
                    </a:lnTo>
                    <a:lnTo>
                      <a:pt x="461" y="627"/>
                    </a:lnTo>
                    <a:lnTo>
                      <a:pt x="461" y="625"/>
                    </a:lnTo>
                    <a:lnTo>
                      <a:pt x="461" y="627"/>
                    </a:lnTo>
                    <a:lnTo>
                      <a:pt x="459" y="627"/>
                    </a:lnTo>
                    <a:lnTo>
                      <a:pt x="461" y="627"/>
                    </a:lnTo>
                    <a:lnTo>
                      <a:pt x="459" y="627"/>
                    </a:lnTo>
                    <a:lnTo>
                      <a:pt x="459" y="625"/>
                    </a:lnTo>
                    <a:lnTo>
                      <a:pt x="457" y="625"/>
                    </a:lnTo>
                    <a:lnTo>
                      <a:pt x="455" y="623"/>
                    </a:lnTo>
                    <a:lnTo>
                      <a:pt x="455" y="625"/>
                    </a:lnTo>
                    <a:lnTo>
                      <a:pt x="453" y="623"/>
                    </a:lnTo>
                    <a:lnTo>
                      <a:pt x="455" y="623"/>
                    </a:lnTo>
                    <a:lnTo>
                      <a:pt x="457" y="621"/>
                    </a:lnTo>
                    <a:lnTo>
                      <a:pt x="455" y="621"/>
                    </a:lnTo>
                    <a:lnTo>
                      <a:pt x="455" y="619"/>
                    </a:lnTo>
                    <a:lnTo>
                      <a:pt x="453" y="619"/>
                    </a:lnTo>
                    <a:lnTo>
                      <a:pt x="455" y="618"/>
                    </a:lnTo>
                    <a:lnTo>
                      <a:pt x="453" y="618"/>
                    </a:lnTo>
                    <a:lnTo>
                      <a:pt x="453" y="616"/>
                    </a:lnTo>
                    <a:lnTo>
                      <a:pt x="451" y="616"/>
                    </a:lnTo>
                    <a:lnTo>
                      <a:pt x="451" y="614"/>
                    </a:lnTo>
                    <a:lnTo>
                      <a:pt x="453" y="614"/>
                    </a:lnTo>
                    <a:lnTo>
                      <a:pt x="455" y="614"/>
                    </a:lnTo>
                    <a:lnTo>
                      <a:pt x="455" y="616"/>
                    </a:lnTo>
                    <a:lnTo>
                      <a:pt x="457" y="616"/>
                    </a:lnTo>
                    <a:lnTo>
                      <a:pt x="455" y="616"/>
                    </a:lnTo>
                    <a:lnTo>
                      <a:pt x="455" y="614"/>
                    </a:lnTo>
                    <a:lnTo>
                      <a:pt x="453" y="614"/>
                    </a:lnTo>
                    <a:lnTo>
                      <a:pt x="451" y="612"/>
                    </a:lnTo>
                    <a:lnTo>
                      <a:pt x="451" y="614"/>
                    </a:lnTo>
                    <a:lnTo>
                      <a:pt x="451" y="612"/>
                    </a:lnTo>
                    <a:lnTo>
                      <a:pt x="451" y="610"/>
                    </a:lnTo>
                    <a:lnTo>
                      <a:pt x="449" y="610"/>
                    </a:lnTo>
                    <a:lnTo>
                      <a:pt x="451" y="610"/>
                    </a:lnTo>
                    <a:lnTo>
                      <a:pt x="449" y="610"/>
                    </a:lnTo>
                    <a:lnTo>
                      <a:pt x="447" y="610"/>
                    </a:lnTo>
                    <a:lnTo>
                      <a:pt x="447" y="608"/>
                    </a:lnTo>
                    <a:lnTo>
                      <a:pt x="445" y="608"/>
                    </a:lnTo>
                    <a:lnTo>
                      <a:pt x="447" y="608"/>
                    </a:lnTo>
                    <a:lnTo>
                      <a:pt x="447" y="606"/>
                    </a:lnTo>
                    <a:lnTo>
                      <a:pt x="445" y="604"/>
                    </a:lnTo>
                    <a:lnTo>
                      <a:pt x="445" y="602"/>
                    </a:lnTo>
                    <a:lnTo>
                      <a:pt x="447" y="602"/>
                    </a:lnTo>
                    <a:lnTo>
                      <a:pt x="445" y="602"/>
                    </a:lnTo>
                    <a:lnTo>
                      <a:pt x="445" y="604"/>
                    </a:lnTo>
                    <a:lnTo>
                      <a:pt x="447" y="604"/>
                    </a:lnTo>
                    <a:lnTo>
                      <a:pt x="447" y="602"/>
                    </a:lnTo>
                    <a:lnTo>
                      <a:pt x="447" y="604"/>
                    </a:lnTo>
                    <a:lnTo>
                      <a:pt x="449" y="604"/>
                    </a:lnTo>
                    <a:lnTo>
                      <a:pt x="449" y="602"/>
                    </a:lnTo>
                    <a:lnTo>
                      <a:pt x="451" y="602"/>
                    </a:lnTo>
                    <a:lnTo>
                      <a:pt x="449" y="602"/>
                    </a:lnTo>
                    <a:lnTo>
                      <a:pt x="451" y="602"/>
                    </a:lnTo>
                    <a:lnTo>
                      <a:pt x="451" y="600"/>
                    </a:lnTo>
                    <a:lnTo>
                      <a:pt x="451" y="602"/>
                    </a:lnTo>
                    <a:lnTo>
                      <a:pt x="451" y="600"/>
                    </a:lnTo>
                    <a:lnTo>
                      <a:pt x="451" y="602"/>
                    </a:lnTo>
                    <a:lnTo>
                      <a:pt x="451" y="600"/>
                    </a:lnTo>
                    <a:lnTo>
                      <a:pt x="453" y="600"/>
                    </a:lnTo>
                    <a:lnTo>
                      <a:pt x="453" y="602"/>
                    </a:lnTo>
                    <a:lnTo>
                      <a:pt x="455" y="600"/>
                    </a:lnTo>
                    <a:lnTo>
                      <a:pt x="457" y="600"/>
                    </a:lnTo>
                    <a:lnTo>
                      <a:pt x="457" y="598"/>
                    </a:lnTo>
                    <a:lnTo>
                      <a:pt x="457" y="600"/>
                    </a:lnTo>
                    <a:lnTo>
                      <a:pt x="459" y="602"/>
                    </a:lnTo>
                    <a:lnTo>
                      <a:pt x="457" y="602"/>
                    </a:lnTo>
                    <a:lnTo>
                      <a:pt x="459" y="602"/>
                    </a:lnTo>
                    <a:lnTo>
                      <a:pt x="459" y="600"/>
                    </a:lnTo>
                    <a:lnTo>
                      <a:pt x="461" y="600"/>
                    </a:lnTo>
                    <a:lnTo>
                      <a:pt x="461" y="602"/>
                    </a:lnTo>
                    <a:lnTo>
                      <a:pt x="461" y="600"/>
                    </a:lnTo>
                    <a:lnTo>
                      <a:pt x="463" y="600"/>
                    </a:lnTo>
                    <a:lnTo>
                      <a:pt x="465" y="602"/>
                    </a:lnTo>
                    <a:lnTo>
                      <a:pt x="467" y="602"/>
                    </a:lnTo>
                    <a:lnTo>
                      <a:pt x="467" y="600"/>
                    </a:lnTo>
                    <a:lnTo>
                      <a:pt x="468" y="600"/>
                    </a:lnTo>
                    <a:lnTo>
                      <a:pt x="470" y="600"/>
                    </a:lnTo>
                    <a:lnTo>
                      <a:pt x="472" y="600"/>
                    </a:lnTo>
                    <a:lnTo>
                      <a:pt x="474" y="600"/>
                    </a:lnTo>
                    <a:lnTo>
                      <a:pt x="474" y="598"/>
                    </a:lnTo>
                    <a:lnTo>
                      <a:pt x="476" y="598"/>
                    </a:lnTo>
                    <a:lnTo>
                      <a:pt x="474" y="598"/>
                    </a:lnTo>
                    <a:lnTo>
                      <a:pt x="474" y="600"/>
                    </a:lnTo>
                    <a:lnTo>
                      <a:pt x="472" y="600"/>
                    </a:lnTo>
                    <a:lnTo>
                      <a:pt x="470" y="600"/>
                    </a:lnTo>
                    <a:lnTo>
                      <a:pt x="468" y="600"/>
                    </a:lnTo>
                    <a:lnTo>
                      <a:pt x="467" y="600"/>
                    </a:lnTo>
                    <a:lnTo>
                      <a:pt x="467" y="602"/>
                    </a:lnTo>
                    <a:lnTo>
                      <a:pt x="465" y="602"/>
                    </a:lnTo>
                    <a:lnTo>
                      <a:pt x="463" y="600"/>
                    </a:lnTo>
                    <a:lnTo>
                      <a:pt x="461" y="600"/>
                    </a:lnTo>
                    <a:lnTo>
                      <a:pt x="461" y="602"/>
                    </a:lnTo>
                    <a:lnTo>
                      <a:pt x="461" y="600"/>
                    </a:lnTo>
                    <a:lnTo>
                      <a:pt x="459" y="600"/>
                    </a:lnTo>
                    <a:lnTo>
                      <a:pt x="459" y="602"/>
                    </a:lnTo>
                    <a:lnTo>
                      <a:pt x="457" y="600"/>
                    </a:lnTo>
                    <a:lnTo>
                      <a:pt x="459" y="598"/>
                    </a:lnTo>
                    <a:lnTo>
                      <a:pt x="459" y="600"/>
                    </a:lnTo>
                    <a:lnTo>
                      <a:pt x="459" y="598"/>
                    </a:lnTo>
                    <a:lnTo>
                      <a:pt x="461" y="598"/>
                    </a:lnTo>
                    <a:lnTo>
                      <a:pt x="463" y="598"/>
                    </a:lnTo>
                    <a:lnTo>
                      <a:pt x="463" y="596"/>
                    </a:lnTo>
                    <a:lnTo>
                      <a:pt x="465" y="596"/>
                    </a:lnTo>
                    <a:lnTo>
                      <a:pt x="467" y="596"/>
                    </a:lnTo>
                    <a:lnTo>
                      <a:pt x="467" y="594"/>
                    </a:lnTo>
                    <a:lnTo>
                      <a:pt x="468" y="594"/>
                    </a:lnTo>
                    <a:lnTo>
                      <a:pt x="468" y="593"/>
                    </a:lnTo>
                    <a:lnTo>
                      <a:pt x="468" y="591"/>
                    </a:lnTo>
                    <a:lnTo>
                      <a:pt x="470" y="591"/>
                    </a:lnTo>
                    <a:lnTo>
                      <a:pt x="470" y="589"/>
                    </a:lnTo>
                    <a:lnTo>
                      <a:pt x="470" y="587"/>
                    </a:lnTo>
                    <a:lnTo>
                      <a:pt x="472" y="587"/>
                    </a:lnTo>
                    <a:lnTo>
                      <a:pt x="474" y="587"/>
                    </a:lnTo>
                    <a:lnTo>
                      <a:pt x="474" y="585"/>
                    </a:lnTo>
                    <a:lnTo>
                      <a:pt x="474" y="583"/>
                    </a:lnTo>
                    <a:lnTo>
                      <a:pt x="476" y="583"/>
                    </a:lnTo>
                    <a:lnTo>
                      <a:pt x="476" y="581"/>
                    </a:lnTo>
                    <a:lnTo>
                      <a:pt x="476" y="583"/>
                    </a:lnTo>
                    <a:lnTo>
                      <a:pt x="474" y="583"/>
                    </a:lnTo>
                    <a:lnTo>
                      <a:pt x="474" y="585"/>
                    </a:lnTo>
                    <a:lnTo>
                      <a:pt x="474" y="587"/>
                    </a:lnTo>
                    <a:lnTo>
                      <a:pt x="472" y="587"/>
                    </a:lnTo>
                    <a:lnTo>
                      <a:pt x="470" y="587"/>
                    </a:lnTo>
                    <a:lnTo>
                      <a:pt x="470" y="589"/>
                    </a:lnTo>
                    <a:lnTo>
                      <a:pt x="470" y="591"/>
                    </a:lnTo>
                    <a:lnTo>
                      <a:pt x="470" y="589"/>
                    </a:lnTo>
                    <a:lnTo>
                      <a:pt x="470" y="591"/>
                    </a:lnTo>
                    <a:lnTo>
                      <a:pt x="468" y="591"/>
                    </a:lnTo>
                    <a:lnTo>
                      <a:pt x="468" y="593"/>
                    </a:lnTo>
                    <a:lnTo>
                      <a:pt x="468" y="594"/>
                    </a:lnTo>
                    <a:lnTo>
                      <a:pt x="467" y="594"/>
                    </a:lnTo>
                    <a:lnTo>
                      <a:pt x="467" y="596"/>
                    </a:lnTo>
                    <a:lnTo>
                      <a:pt x="465" y="596"/>
                    </a:lnTo>
                    <a:lnTo>
                      <a:pt x="463" y="596"/>
                    </a:lnTo>
                    <a:lnTo>
                      <a:pt x="463" y="598"/>
                    </a:lnTo>
                    <a:lnTo>
                      <a:pt x="461" y="598"/>
                    </a:lnTo>
                    <a:lnTo>
                      <a:pt x="459" y="598"/>
                    </a:lnTo>
                    <a:lnTo>
                      <a:pt x="459" y="600"/>
                    </a:lnTo>
                    <a:lnTo>
                      <a:pt x="459" y="598"/>
                    </a:lnTo>
                    <a:lnTo>
                      <a:pt x="457" y="598"/>
                    </a:lnTo>
                    <a:lnTo>
                      <a:pt x="457" y="600"/>
                    </a:lnTo>
                    <a:lnTo>
                      <a:pt x="457" y="598"/>
                    </a:lnTo>
                    <a:lnTo>
                      <a:pt x="457" y="600"/>
                    </a:lnTo>
                    <a:lnTo>
                      <a:pt x="457" y="598"/>
                    </a:lnTo>
                    <a:lnTo>
                      <a:pt x="455" y="598"/>
                    </a:lnTo>
                    <a:lnTo>
                      <a:pt x="455" y="600"/>
                    </a:lnTo>
                    <a:lnTo>
                      <a:pt x="453" y="600"/>
                    </a:lnTo>
                    <a:lnTo>
                      <a:pt x="455" y="600"/>
                    </a:lnTo>
                    <a:lnTo>
                      <a:pt x="453" y="600"/>
                    </a:lnTo>
                    <a:lnTo>
                      <a:pt x="453" y="602"/>
                    </a:lnTo>
                    <a:lnTo>
                      <a:pt x="453" y="600"/>
                    </a:lnTo>
                    <a:lnTo>
                      <a:pt x="451" y="600"/>
                    </a:lnTo>
                    <a:lnTo>
                      <a:pt x="449" y="600"/>
                    </a:lnTo>
                    <a:lnTo>
                      <a:pt x="449" y="602"/>
                    </a:lnTo>
                    <a:lnTo>
                      <a:pt x="451" y="602"/>
                    </a:lnTo>
                    <a:lnTo>
                      <a:pt x="449" y="602"/>
                    </a:lnTo>
                    <a:lnTo>
                      <a:pt x="449" y="604"/>
                    </a:lnTo>
                    <a:lnTo>
                      <a:pt x="447" y="602"/>
                    </a:lnTo>
                    <a:lnTo>
                      <a:pt x="447" y="604"/>
                    </a:lnTo>
                    <a:lnTo>
                      <a:pt x="445" y="604"/>
                    </a:lnTo>
                    <a:lnTo>
                      <a:pt x="445" y="602"/>
                    </a:lnTo>
                    <a:lnTo>
                      <a:pt x="447" y="602"/>
                    </a:lnTo>
                    <a:lnTo>
                      <a:pt x="445" y="602"/>
                    </a:lnTo>
                    <a:lnTo>
                      <a:pt x="445" y="604"/>
                    </a:lnTo>
                    <a:lnTo>
                      <a:pt x="443" y="604"/>
                    </a:lnTo>
                    <a:lnTo>
                      <a:pt x="443" y="602"/>
                    </a:lnTo>
                    <a:lnTo>
                      <a:pt x="442" y="602"/>
                    </a:lnTo>
                    <a:lnTo>
                      <a:pt x="442" y="600"/>
                    </a:lnTo>
                    <a:lnTo>
                      <a:pt x="440" y="600"/>
                    </a:lnTo>
                    <a:lnTo>
                      <a:pt x="440" y="598"/>
                    </a:lnTo>
                    <a:lnTo>
                      <a:pt x="440" y="600"/>
                    </a:lnTo>
                    <a:lnTo>
                      <a:pt x="438" y="600"/>
                    </a:lnTo>
                    <a:lnTo>
                      <a:pt x="436" y="598"/>
                    </a:lnTo>
                    <a:lnTo>
                      <a:pt x="434" y="596"/>
                    </a:lnTo>
                    <a:lnTo>
                      <a:pt x="436" y="594"/>
                    </a:lnTo>
                    <a:lnTo>
                      <a:pt x="434" y="594"/>
                    </a:lnTo>
                    <a:lnTo>
                      <a:pt x="434" y="593"/>
                    </a:lnTo>
                    <a:lnTo>
                      <a:pt x="434" y="591"/>
                    </a:lnTo>
                    <a:lnTo>
                      <a:pt x="436" y="591"/>
                    </a:lnTo>
                    <a:lnTo>
                      <a:pt x="436" y="589"/>
                    </a:lnTo>
                    <a:lnTo>
                      <a:pt x="434" y="589"/>
                    </a:lnTo>
                    <a:lnTo>
                      <a:pt x="434" y="587"/>
                    </a:lnTo>
                    <a:lnTo>
                      <a:pt x="432" y="585"/>
                    </a:lnTo>
                    <a:lnTo>
                      <a:pt x="430" y="585"/>
                    </a:lnTo>
                    <a:lnTo>
                      <a:pt x="432" y="583"/>
                    </a:lnTo>
                    <a:lnTo>
                      <a:pt x="432" y="585"/>
                    </a:lnTo>
                    <a:lnTo>
                      <a:pt x="432" y="583"/>
                    </a:lnTo>
                    <a:lnTo>
                      <a:pt x="430" y="583"/>
                    </a:lnTo>
                    <a:lnTo>
                      <a:pt x="430" y="581"/>
                    </a:lnTo>
                    <a:lnTo>
                      <a:pt x="430" y="579"/>
                    </a:lnTo>
                    <a:lnTo>
                      <a:pt x="428" y="579"/>
                    </a:lnTo>
                    <a:lnTo>
                      <a:pt x="428" y="577"/>
                    </a:lnTo>
                    <a:lnTo>
                      <a:pt x="428" y="575"/>
                    </a:lnTo>
                    <a:lnTo>
                      <a:pt x="428" y="573"/>
                    </a:lnTo>
                    <a:lnTo>
                      <a:pt x="428" y="571"/>
                    </a:lnTo>
                    <a:lnTo>
                      <a:pt x="426" y="569"/>
                    </a:lnTo>
                    <a:lnTo>
                      <a:pt x="426" y="568"/>
                    </a:lnTo>
                    <a:lnTo>
                      <a:pt x="426" y="566"/>
                    </a:lnTo>
                    <a:lnTo>
                      <a:pt x="426" y="564"/>
                    </a:lnTo>
                    <a:lnTo>
                      <a:pt x="426" y="562"/>
                    </a:lnTo>
                    <a:lnTo>
                      <a:pt x="426" y="560"/>
                    </a:lnTo>
                    <a:lnTo>
                      <a:pt x="424" y="562"/>
                    </a:lnTo>
                    <a:lnTo>
                      <a:pt x="426" y="560"/>
                    </a:lnTo>
                    <a:lnTo>
                      <a:pt x="428" y="560"/>
                    </a:lnTo>
                    <a:lnTo>
                      <a:pt x="430" y="560"/>
                    </a:lnTo>
                    <a:lnTo>
                      <a:pt x="428" y="560"/>
                    </a:lnTo>
                    <a:lnTo>
                      <a:pt x="428" y="558"/>
                    </a:lnTo>
                    <a:lnTo>
                      <a:pt x="430" y="558"/>
                    </a:lnTo>
                    <a:lnTo>
                      <a:pt x="432" y="558"/>
                    </a:lnTo>
                    <a:lnTo>
                      <a:pt x="434" y="556"/>
                    </a:lnTo>
                    <a:lnTo>
                      <a:pt x="436" y="556"/>
                    </a:lnTo>
                    <a:lnTo>
                      <a:pt x="436" y="554"/>
                    </a:lnTo>
                    <a:lnTo>
                      <a:pt x="438" y="554"/>
                    </a:lnTo>
                    <a:lnTo>
                      <a:pt x="438" y="556"/>
                    </a:lnTo>
                    <a:lnTo>
                      <a:pt x="436" y="558"/>
                    </a:lnTo>
                    <a:lnTo>
                      <a:pt x="438" y="558"/>
                    </a:lnTo>
                    <a:lnTo>
                      <a:pt x="440" y="558"/>
                    </a:lnTo>
                    <a:lnTo>
                      <a:pt x="440" y="560"/>
                    </a:lnTo>
                    <a:lnTo>
                      <a:pt x="440" y="562"/>
                    </a:lnTo>
                    <a:lnTo>
                      <a:pt x="438" y="562"/>
                    </a:lnTo>
                    <a:lnTo>
                      <a:pt x="438" y="564"/>
                    </a:lnTo>
                    <a:lnTo>
                      <a:pt x="440" y="564"/>
                    </a:lnTo>
                    <a:lnTo>
                      <a:pt x="440" y="566"/>
                    </a:lnTo>
                    <a:lnTo>
                      <a:pt x="440" y="568"/>
                    </a:lnTo>
                    <a:lnTo>
                      <a:pt x="442" y="566"/>
                    </a:lnTo>
                    <a:lnTo>
                      <a:pt x="442" y="568"/>
                    </a:lnTo>
                    <a:lnTo>
                      <a:pt x="443" y="569"/>
                    </a:lnTo>
                    <a:lnTo>
                      <a:pt x="445" y="569"/>
                    </a:lnTo>
                    <a:lnTo>
                      <a:pt x="445" y="571"/>
                    </a:lnTo>
                    <a:lnTo>
                      <a:pt x="447" y="571"/>
                    </a:lnTo>
                    <a:lnTo>
                      <a:pt x="449" y="571"/>
                    </a:lnTo>
                    <a:lnTo>
                      <a:pt x="449" y="573"/>
                    </a:lnTo>
                    <a:lnTo>
                      <a:pt x="447" y="573"/>
                    </a:lnTo>
                    <a:lnTo>
                      <a:pt x="449" y="573"/>
                    </a:lnTo>
                    <a:lnTo>
                      <a:pt x="451" y="573"/>
                    </a:lnTo>
                    <a:lnTo>
                      <a:pt x="453" y="573"/>
                    </a:lnTo>
                    <a:lnTo>
                      <a:pt x="453" y="575"/>
                    </a:lnTo>
                    <a:lnTo>
                      <a:pt x="455" y="575"/>
                    </a:lnTo>
                    <a:lnTo>
                      <a:pt x="457" y="575"/>
                    </a:lnTo>
                    <a:lnTo>
                      <a:pt x="459" y="573"/>
                    </a:lnTo>
                    <a:lnTo>
                      <a:pt x="461" y="573"/>
                    </a:lnTo>
                    <a:lnTo>
                      <a:pt x="461" y="575"/>
                    </a:lnTo>
                    <a:lnTo>
                      <a:pt x="463" y="575"/>
                    </a:lnTo>
                    <a:lnTo>
                      <a:pt x="463" y="573"/>
                    </a:lnTo>
                    <a:lnTo>
                      <a:pt x="465" y="573"/>
                    </a:lnTo>
                    <a:lnTo>
                      <a:pt x="465" y="571"/>
                    </a:lnTo>
                    <a:lnTo>
                      <a:pt x="465" y="569"/>
                    </a:lnTo>
                    <a:lnTo>
                      <a:pt x="465" y="568"/>
                    </a:lnTo>
                    <a:lnTo>
                      <a:pt x="465" y="566"/>
                    </a:lnTo>
                    <a:lnTo>
                      <a:pt x="467" y="566"/>
                    </a:lnTo>
                    <a:lnTo>
                      <a:pt x="467" y="564"/>
                    </a:lnTo>
                    <a:lnTo>
                      <a:pt x="465" y="564"/>
                    </a:lnTo>
                    <a:lnTo>
                      <a:pt x="465" y="562"/>
                    </a:lnTo>
                    <a:lnTo>
                      <a:pt x="465" y="560"/>
                    </a:lnTo>
                    <a:lnTo>
                      <a:pt x="467" y="560"/>
                    </a:lnTo>
                    <a:lnTo>
                      <a:pt x="467" y="558"/>
                    </a:lnTo>
                    <a:lnTo>
                      <a:pt x="468" y="558"/>
                    </a:lnTo>
                    <a:lnTo>
                      <a:pt x="468" y="556"/>
                    </a:lnTo>
                    <a:lnTo>
                      <a:pt x="468" y="554"/>
                    </a:lnTo>
                    <a:lnTo>
                      <a:pt x="470" y="554"/>
                    </a:lnTo>
                    <a:lnTo>
                      <a:pt x="470" y="556"/>
                    </a:lnTo>
                    <a:lnTo>
                      <a:pt x="472" y="556"/>
                    </a:lnTo>
                    <a:lnTo>
                      <a:pt x="472" y="554"/>
                    </a:lnTo>
                    <a:lnTo>
                      <a:pt x="474" y="554"/>
                    </a:lnTo>
                    <a:lnTo>
                      <a:pt x="476" y="554"/>
                    </a:lnTo>
                    <a:lnTo>
                      <a:pt x="478" y="554"/>
                    </a:lnTo>
                    <a:lnTo>
                      <a:pt x="480" y="554"/>
                    </a:lnTo>
                    <a:lnTo>
                      <a:pt x="480" y="552"/>
                    </a:lnTo>
                    <a:lnTo>
                      <a:pt x="480" y="554"/>
                    </a:lnTo>
                    <a:lnTo>
                      <a:pt x="482" y="554"/>
                    </a:lnTo>
                    <a:lnTo>
                      <a:pt x="484" y="554"/>
                    </a:lnTo>
                    <a:lnTo>
                      <a:pt x="486" y="554"/>
                    </a:lnTo>
                    <a:lnTo>
                      <a:pt x="486" y="552"/>
                    </a:lnTo>
                    <a:lnTo>
                      <a:pt x="488" y="552"/>
                    </a:lnTo>
                    <a:lnTo>
                      <a:pt x="488" y="550"/>
                    </a:lnTo>
                    <a:lnTo>
                      <a:pt x="490" y="550"/>
                    </a:lnTo>
                    <a:lnTo>
                      <a:pt x="492" y="550"/>
                    </a:lnTo>
                    <a:lnTo>
                      <a:pt x="492" y="548"/>
                    </a:lnTo>
                    <a:lnTo>
                      <a:pt x="490" y="548"/>
                    </a:lnTo>
                    <a:lnTo>
                      <a:pt x="492" y="548"/>
                    </a:lnTo>
                    <a:lnTo>
                      <a:pt x="490" y="546"/>
                    </a:lnTo>
                    <a:lnTo>
                      <a:pt x="492" y="546"/>
                    </a:lnTo>
                    <a:lnTo>
                      <a:pt x="492" y="544"/>
                    </a:lnTo>
                    <a:lnTo>
                      <a:pt x="492" y="543"/>
                    </a:lnTo>
                    <a:lnTo>
                      <a:pt x="492" y="544"/>
                    </a:lnTo>
                    <a:lnTo>
                      <a:pt x="492" y="546"/>
                    </a:lnTo>
                    <a:lnTo>
                      <a:pt x="490" y="546"/>
                    </a:lnTo>
                    <a:lnTo>
                      <a:pt x="490" y="548"/>
                    </a:lnTo>
                    <a:lnTo>
                      <a:pt x="492" y="548"/>
                    </a:lnTo>
                    <a:lnTo>
                      <a:pt x="490" y="548"/>
                    </a:lnTo>
                    <a:lnTo>
                      <a:pt x="492" y="550"/>
                    </a:lnTo>
                    <a:lnTo>
                      <a:pt x="490" y="550"/>
                    </a:lnTo>
                    <a:lnTo>
                      <a:pt x="488" y="550"/>
                    </a:lnTo>
                    <a:lnTo>
                      <a:pt x="488" y="552"/>
                    </a:lnTo>
                    <a:lnTo>
                      <a:pt x="486" y="552"/>
                    </a:lnTo>
                    <a:lnTo>
                      <a:pt x="486" y="554"/>
                    </a:lnTo>
                    <a:lnTo>
                      <a:pt x="484" y="554"/>
                    </a:lnTo>
                    <a:lnTo>
                      <a:pt x="482" y="554"/>
                    </a:lnTo>
                    <a:lnTo>
                      <a:pt x="480" y="554"/>
                    </a:lnTo>
                    <a:lnTo>
                      <a:pt x="480" y="552"/>
                    </a:lnTo>
                    <a:lnTo>
                      <a:pt x="480" y="554"/>
                    </a:lnTo>
                    <a:lnTo>
                      <a:pt x="478" y="554"/>
                    </a:lnTo>
                    <a:lnTo>
                      <a:pt x="476" y="554"/>
                    </a:lnTo>
                    <a:lnTo>
                      <a:pt x="474" y="554"/>
                    </a:lnTo>
                    <a:lnTo>
                      <a:pt x="472" y="554"/>
                    </a:lnTo>
                    <a:lnTo>
                      <a:pt x="472" y="556"/>
                    </a:lnTo>
                    <a:lnTo>
                      <a:pt x="470" y="556"/>
                    </a:lnTo>
                    <a:lnTo>
                      <a:pt x="470" y="554"/>
                    </a:lnTo>
                    <a:lnTo>
                      <a:pt x="468" y="554"/>
                    </a:lnTo>
                    <a:lnTo>
                      <a:pt x="468" y="556"/>
                    </a:lnTo>
                    <a:lnTo>
                      <a:pt x="467" y="556"/>
                    </a:lnTo>
                    <a:lnTo>
                      <a:pt x="467" y="558"/>
                    </a:lnTo>
                    <a:lnTo>
                      <a:pt x="467" y="560"/>
                    </a:lnTo>
                    <a:lnTo>
                      <a:pt x="465" y="560"/>
                    </a:lnTo>
                    <a:lnTo>
                      <a:pt x="465" y="562"/>
                    </a:lnTo>
                    <a:lnTo>
                      <a:pt x="465" y="564"/>
                    </a:lnTo>
                    <a:lnTo>
                      <a:pt x="467" y="564"/>
                    </a:lnTo>
                    <a:lnTo>
                      <a:pt x="467" y="566"/>
                    </a:lnTo>
                    <a:lnTo>
                      <a:pt x="465" y="566"/>
                    </a:lnTo>
                    <a:lnTo>
                      <a:pt x="467" y="566"/>
                    </a:lnTo>
                    <a:lnTo>
                      <a:pt x="465" y="568"/>
                    </a:lnTo>
                    <a:lnTo>
                      <a:pt x="463" y="568"/>
                    </a:lnTo>
                    <a:lnTo>
                      <a:pt x="463" y="569"/>
                    </a:lnTo>
                    <a:lnTo>
                      <a:pt x="465" y="569"/>
                    </a:lnTo>
                    <a:lnTo>
                      <a:pt x="463" y="569"/>
                    </a:lnTo>
                    <a:lnTo>
                      <a:pt x="465" y="569"/>
                    </a:lnTo>
                    <a:lnTo>
                      <a:pt x="465" y="571"/>
                    </a:lnTo>
                    <a:lnTo>
                      <a:pt x="463" y="573"/>
                    </a:lnTo>
                    <a:lnTo>
                      <a:pt x="463" y="575"/>
                    </a:lnTo>
                    <a:lnTo>
                      <a:pt x="461" y="575"/>
                    </a:lnTo>
                    <a:lnTo>
                      <a:pt x="461" y="573"/>
                    </a:lnTo>
                    <a:lnTo>
                      <a:pt x="459" y="573"/>
                    </a:lnTo>
                    <a:lnTo>
                      <a:pt x="457" y="573"/>
                    </a:lnTo>
                    <a:lnTo>
                      <a:pt x="457" y="575"/>
                    </a:lnTo>
                    <a:lnTo>
                      <a:pt x="455" y="575"/>
                    </a:lnTo>
                    <a:lnTo>
                      <a:pt x="453" y="575"/>
                    </a:lnTo>
                    <a:lnTo>
                      <a:pt x="453" y="573"/>
                    </a:lnTo>
                    <a:lnTo>
                      <a:pt x="451" y="573"/>
                    </a:lnTo>
                    <a:lnTo>
                      <a:pt x="451" y="571"/>
                    </a:lnTo>
                    <a:lnTo>
                      <a:pt x="451" y="573"/>
                    </a:lnTo>
                    <a:lnTo>
                      <a:pt x="449" y="573"/>
                    </a:lnTo>
                    <a:lnTo>
                      <a:pt x="447" y="573"/>
                    </a:lnTo>
                    <a:lnTo>
                      <a:pt x="449" y="573"/>
                    </a:lnTo>
                    <a:lnTo>
                      <a:pt x="449" y="571"/>
                    </a:lnTo>
                    <a:lnTo>
                      <a:pt x="447" y="571"/>
                    </a:lnTo>
                    <a:lnTo>
                      <a:pt x="445" y="571"/>
                    </a:lnTo>
                    <a:lnTo>
                      <a:pt x="445" y="569"/>
                    </a:lnTo>
                    <a:lnTo>
                      <a:pt x="443" y="569"/>
                    </a:lnTo>
                    <a:lnTo>
                      <a:pt x="443" y="568"/>
                    </a:lnTo>
                    <a:lnTo>
                      <a:pt x="442" y="568"/>
                    </a:lnTo>
                    <a:lnTo>
                      <a:pt x="442" y="566"/>
                    </a:lnTo>
                    <a:lnTo>
                      <a:pt x="440" y="566"/>
                    </a:lnTo>
                    <a:lnTo>
                      <a:pt x="442" y="566"/>
                    </a:lnTo>
                    <a:lnTo>
                      <a:pt x="442" y="564"/>
                    </a:lnTo>
                    <a:lnTo>
                      <a:pt x="440" y="564"/>
                    </a:lnTo>
                    <a:lnTo>
                      <a:pt x="438" y="562"/>
                    </a:lnTo>
                    <a:lnTo>
                      <a:pt x="440" y="562"/>
                    </a:lnTo>
                    <a:lnTo>
                      <a:pt x="440" y="560"/>
                    </a:lnTo>
                    <a:lnTo>
                      <a:pt x="440" y="558"/>
                    </a:lnTo>
                    <a:lnTo>
                      <a:pt x="438" y="558"/>
                    </a:lnTo>
                    <a:lnTo>
                      <a:pt x="438" y="556"/>
                    </a:lnTo>
                    <a:lnTo>
                      <a:pt x="438" y="554"/>
                    </a:lnTo>
                    <a:lnTo>
                      <a:pt x="436" y="554"/>
                    </a:lnTo>
                    <a:lnTo>
                      <a:pt x="434" y="556"/>
                    </a:lnTo>
                    <a:lnTo>
                      <a:pt x="434" y="554"/>
                    </a:lnTo>
                    <a:lnTo>
                      <a:pt x="436" y="554"/>
                    </a:lnTo>
                    <a:lnTo>
                      <a:pt x="434" y="554"/>
                    </a:lnTo>
                    <a:lnTo>
                      <a:pt x="434" y="556"/>
                    </a:lnTo>
                    <a:lnTo>
                      <a:pt x="432" y="556"/>
                    </a:lnTo>
                    <a:lnTo>
                      <a:pt x="432" y="558"/>
                    </a:lnTo>
                    <a:lnTo>
                      <a:pt x="430" y="558"/>
                    </a:lnTo>
                    <a:lnTo>
                      <a:pt x="428" y="558"/>
                    </a:lnTo>
                    <a:lnTo>
                      <a:pt x="428" y="560"/>
                    </a:lnTo>
                    <a:lnTo>
                      <a:pt x="428" y="558"/>
                    </a:lnTo>
                    <a:lnTo>
                      <a:pt x="426" y="556"/>
                    </a:lnTo>
                    <a:lnTo>
                      <a:pt x="426" y="554"/>
                    </a:lnTo>
                    <a:lnTo>
                      <a:pt x="428" y="554"/>
                    </a:lnTo>
                    <a:lnTo>
                      <a:pt x="430" y="552"/>
                    </a:lnTo>
                    <a:lnTo>
                      <a:pt x="430" y="550"/>
                    </a:lnTo>
                    <a:lnTo>
                      <a:pt x="432" y="548"/>
                    </a:lnTo>
                    <a:lnTo>
                      <a:pt x="434" y="548"/>
                    </a:lnTo>
                    <a:lnTo>
                      <a:pt x="434" y="546"/>
                    </a:lnTo>
                    <a:lnTo>
                      <a:pt x="434" y="544"/>
                    </a:lnTo>
                    <a:lnTo>
                      <a:pt x="434" y="543"/>
                    </a:lnTo>
                    <a:lnTo>
                      <a:pt x="434" y="541"/>
                    </a:lnTo>
                    <a:lnTo>
                      <a:pt x="434" y="539"/>
                    </a:lnTo>
                    <a:lnTo>
                      <a:pt x="434" y="537"/>
                    </a:lnTo>
                    <a:lnTo>
                      <a:pt x="436" y="537"/>
                    </a:lnTo>
                    <a:lnTo>
                      <a:pt x="436" y="535"/>
                    </a:lnTo>
                    <a:lnTo>
                      <a:pt x="436" y="533"/>
                    </a:lnTo>
                    <a:lnTo>
                      <a:pt x="438" y="533"/>
                    </a:lnTo>
                    <a:lnTo>
                      <a:pt x="438" y="535"/>
                    </a:lnTo>
                    <a:lnTo>
                      <a:pt x="438" y="533"/>
                    </a:lnTo>
                    <a:lnTo>
                      <a:pt x="438" y="535"/>
                    </a:lnTo>
                    <a:lnTo>
                      <a:pt x="438" y="533"/>
                    </a:lnTo>
                    <a:lnTo>
                      <a:pt x="438" y="535"/>
                    </a:lnTo>
                    <a:lnTo>
                      <a:pt x="438" y="533"/>
                    </a:lnTo>
                    <a:lnTo>
                      <a:pt x="438" y="531"/>
                    </a:lnTo>
                    <a:lnTo>
                      <a:pt x="438" y="533"/>
                    </a:lnTo>
                    <a:lnTo>
                      <a:pt x="438" y="531"/>
                    </a:lnTo>
                    <a:lnTo>
                      <a:pt x="438" y="533"/>
                    </a:lnTo>
                    <a:lnTo>
                      <a:pt x="436" y="533"/>
                    </a:lnTo>
                    <a:lnTo>
                      <a:pt x="436" y="531"/>
                    </a:lnTo>
                    <a:lnTo>
                      <a:pt x="434" y="531"/>
                    </a:lnTo>
                    <a:lnTo>
                      <a:pt x="434" y="529"/>
                    </a:lnTo>
                    <a:lnTo>
                      <a:pt x="434" y="527"/>
                    </a:lnTo>
                    <a:lnTo>
                      <a:pt x="434" y="525"/>
                    </a:lnTo>
                    <a:lnTo>
                      <a:pt x="434" y="523"/>
                    </a:lnTo>
                    <a:lnTo>
                      <a:pt x="434" y="521"/>
                    </a:lnTo>
                    <a:lnTo>
                      <a:pt x="434" y="519"/>
                    </a:lnTo>
                    <a:lnTo>
                      <a:pt x="432" y="519"/>
                    </a:lnTo>
                    <a:lnTo>
                      <a:pt x="432" y="518"/>
                    </a:lnTo>
                    <a:lnTo>
                      <a:pt x="432" y="516"/>
                    </a:lnTo>
                    <a:lnTo>
                      <a:pt x="432" y="514"/>
                    </a:lnTo>
                    <a:lnTo>
                      <a:pt x="434" y="514"/>
                    </a:lnTo>
                    <a:lnTo>
                      <a:pt x="434" y="512"/>
                    </a:lnTo>
                    <a:lnTo>
                      <a:pt x="432" y="512"/>
                    </a:lnTo>
                    <a:lnTo>
                      <a:pt x="432" y="510"/>
                    </a:lnTo>
                    <a:lnTo>
                      <a:pt x="434" y="510"/>
                    </a:lnTo>
                    <a:lnTo>
                      <a:pt x="434" y="508"/>
                    </a:lnTo>
                    <a:lnTo>
                      <a:pt x="432" y="508"/>
                    </a:lnTo>
                    <a:lnTo>
                      <a:pt x="434" y="506"/>
                    </a:lnTo>
                    <a:lnTo>
                      <a:pt x="432" y="506"/>
                    </a:lnTo>
                    <a:lnTo>
                      <a:pt x="432" y="504"/>
                    </a:lnTo>
                    <a:lnTo>
                      <a:pt x="434" y="504"/>
                    </a:lnTo>
                    <a:lnTo>
                      <a:pt x="434" y="502"/>
                    </a:lnTo>
                    <a:lnTo>
                      <a:pt x="436" y="502"/>
                    </a:lnTo>
                    <a:lnTo>
                      <a:pt x="436" y="500"/>
                    </a:lnTo>
                    <a:lnTo>
                      <a:pt x="438" y="500"/>
                    </a:lnTo>
                    <a:lnTo>
                      <a:pt x="440" y="500"/>
                    </a:lnTo>
                    <a:lnTo>
                      <a:pt x="440" y="498"/>
                    </a:lnTo>
                    <a:lnTo>
                      <a:pt x="442" y="498"/>
                    </a:lnTo>
                    <a:lnTo>
                      <a:pt x="440" y="498"/>
                    </a:lnTo>
                    <a:lnTo>
                      <a:pt x="440" y="496"/>
                    </a:lnTo>
                    <a:lnTo>
                      <a:pt x="442" y="496"/>
                    </a:lnTo>
                    <a:lnTo>
                      <a:pt x="442" y="494"/>
                    </a:lnTo>
                    <a:lnTo>
                      <a:pt x="443" y="494"/>
                    </a:lnTo>
                    <a:lnTo>
                      <a:pt x="442" y="494"/>
                    </a:lnTo>
                    <a:lnTo>
                      <a:pt x="440" y="494"/>
                    </a:lnTo>
                    <a:lnTo>
                      <a:pt x="440" y="493"/>
                    </a:lnTo>
                    <a:lnTo>
                      <a:pt x="442" y="493"/>
                    </a:lnTo>
                    <a:lnTo>
                      <a:pt x="442" y="491"/>
                    </a:lnTo>
                    <a:lnTo>
                      <a:pt x="442" y="489"/>
                    </a:lnTo>
                    <a:lnTo>
                      <a:pt x="440" y="489"/>
                    </a:lnTo>
                    <a:lnTo>
                      <a:pt x="442" y="489"/>
                    </a:lnTo>
                    <a:lnTo>
                      <a:pt x="442" y="487"/>
                    </a:lnTo>
                    <a:lnTo>
                      <a:pt x="440" y="487"/>
                    </a:lnTo>
                    <a:lnTo>
                      <a:pt x="442" y="487"/>
                    </a:lnTo>
                    <a:lnTo>
                      <a:pt x="443" y="487"/>
                    </a:lnTo>
                    <a:lnTo>
                      <a:pt x="445" y="487"/>
                    </a:lnTo>
                    <a:lnTo>
                      <a:pt x="445" y="489"/>
                    </a:lnTo>
                    <a:lnTo>
                      <a:pt x="447" y="489"/>
                    </a:lnTo>
                    <a:lnTo>
                      <a:pt x="449" y="489"/>
                    </a:lnTo>
                    <a:lnTo>
                      <a:pt x="449" y="491"/>
                    </a:lnTo>
                    <a:lnTo>
                      <a:pt x="451" y="491"/>
                    </a:lnTo>
                    <a:lnTo>
                      <a:pt x="451" y="493"/>
                    </a:lnTo>
                    <a:lnTo>
                      <a:pt x="453" y="493"/>
                    </a:lnTo>
                    <a:lnTo>
                      <a:pt x="455" y="493"/>
                    </a:lnTo>
                    <a:lnTo>
                      <a:pt x="457" y="493"/>
                    </a:lnTo>
                    <a:lnTo>
                      <a:pt x="459" y="493"/>
                    </a:lnTo>
                    <a:lnTo>
                      <a:pt x="461" y="493"/>
                    </a:lnTo>
                    <a:lnTo>
                      <a:pt x="461" y="494"/>
                    </a:lnTo>
                    <a:lnTo>
                      <a:pt x="461" y="493"/>
                    </a:lnTo>
                    <a:lnTo>
                      <a:pt x="463" y="493"/>
                    </a:lnTo>
                    <a:lnTo>
                      <a:pt x="463" y="494"/>
                    </a:lnTo>
                    <a:lnTo>
                      <a:pt x="463" y="496"/>
                    </a:lnTo>
                    <a:lnTo>
                      <a:pt x="465" y="494"/>
                    </a:lnTo>
                    <a:lnTo>
                      <a:pt x="467" y="494"/>
                    </a:lnTo>
                    <a:lnTo>
                      <a:pt x="467" y="496"/>
                    </a:lnTo>
                    <a:lnTo>
                      <a:pt x="468" y="496"/>
                    </a:lnTo>
                    <a:lnTo>
                      <a:pt x="470" y="496"/>
                    </a:lnTo>
                    <a:lnTo>
                      <a:pt x="472" y="496"/>
                    </a:lnTo>
                    <a:lnTo>
                      <a:pt x="474" y="496"/>
                    </a:lnTo>
                    <a:lnTo>
                      <a:pt x="474" y="498"/>
                    </a:lnTo>
                    <a:lnTo>
                      <a:pt x="476" y="498"/>
                    </a:lnTo>
                    <a:lnTo>
                      <a:pt x="476" y="496"/>
                    </a:lnTo>
                    <a:lnTo>
                      <a:pt x="478" y="496"/>
                    </a:lnTo>
                    <a:lnTo>
                      <a:pt x="480" y="496"/>
                    </a:lnTo>
                    <a:lnTo>
                      <a:pt x="478" y="496"/>
                    </a:lnTo>
                    <a:lnTo>
                      <a:pt x="478" y="494"/>
                    </a:lnTo>
                    <a:lnTo>
                      <a:pt x="480" y="494"/>
                    </a:lnTo>
                    <a:lnTo>
                      <a:pt x="482" y="496"/>
                    </a:lnTo>
                    <a:lnTo>
                      <a:pt x="482" y="494"/>
                    </a:lnTo>
                    <a:lnTo>
                      <a:pt x="482" y="496"/>
                    </a:lnTo>
                    <a:lnTo>
                      <a:pt x="482" y="494"/>
                    </a:lnTo>
                    <a:lnTo>
                      <a:pt x="484" y="494"/>
                    </a:lnTo>
                    <a:lnTo>
                      <a:pt x="486" y="494"/>
                    </a:lnTo>
                    <a:lnTo>
                      <a:pt x="486" y="496"/>
                    </a:lnTo>
                    <a:lnTo>
                      <a:pt x="488" y="496"/>
                    </a:lnTo>
                    <a:lnTo>
                      <a:pt x="490" y="496"/>
                    </a:lnTo>
                    <a:lnTo>
                      <a:pt x="490" y="494"/>
                    </a:lnTo>
                    <a:lnTo>
                      <a:pt x="492" y="494"/>
                    </a:lnTo>
                    <a:lnTo>
                      <a:pt x="492" y="496"/>
                    </a:lnTo>
                    <a:lnTo>
                      <a:pt x="493" y="496"/>
                    </a:lnTo>
                    <a:lnTo>
                      <a:pt x="493" y="494"/>
                    </a:lnTo>
                    <a:lnTo>
                      <a:pt x="495" y="494"/>
                    </a:lnTo>
                    <a:lnTo>
                      <a:pt x="495" y="493"/>
                    </a:lnTo>
                    <a:lnTo>
                      <a:pt x="497" y="493"/>
                    </a:lnTo>
                    <a:lnTo>
                      <a:pt x="497" y="491"/>
                    </a:lnTo>
                    <a:lnTo>
                      <a:pt x="499" y="491"/>
                    </a:lnTo>
                    <a:lnTo>
                      <a:pt x="501" y="489"/>
                    </a:lnTo>
                    <a:lnTo>
                      <a:pt x="503" y="489"/>
                    </a:lnTo>
                    <a:lnTo>
                      <a:pt x="505" y="489"/>
                    </a:lnTo>
                    <a:lnTo>
                      <a:pt x="505" y="487"/>
                    </a:lnTo>
                    <a:lnTo>
                      <a:pt x="505" y="489"/>
                    </a:lnTo>
                    <a:lnTo>
                      <a:pt x="505" y="487"/>
                    </a:lnTo>
                    <a:lnTo>
                      <a:pt x="505" y="485"/>
                    </a:lnTo>
                    <a:lnTo>
                      <a:pt x="507" y="485"/>
                    </a:lnTo>
                    <a:lnTo>
                      <a:pt x="507" y="487"/>
                    </a:lnTo>
                    <a:lnTo>
                      <a:pt x="507" y="485"/>
                    </a:lnTo>
                    <a:lnTo>
                      <a:pt x="509" y="485"/>
                    </a:lnTo>
                    <a:lnTo>
                      <a:pt x="511" y="485"/>
                    </a:lnTo>
                    <a:lnTo>
                      <a:pt x="513" y="483"/>
                    </a:lnTo>
                    <a:lnTo>
                      <a:pt x="515" y="483"/>
                    </a:lnTo>
                    <a:lnTo>
                      <a:pt x="516" y="483"/>
                    </a:lnTo>
                    <a:lnTo>
                      <a:pt x="516" y="481"/>
                    </a:lnTo>
                    <a:lnTo>
                      <a:pt x="516" y="483"/>
                    </a:lnTo>
                    <a:lnTo>
                      <a:pt x="516" y="481"/>
                    </a:lnTo>
                    <a:lnTo>
                      <a:pt x="518" y="481"/>
                    </a:lnTo>
                    <a:lnTo>
                      <a:pt x="518" y="483"/>
                    </a:lnTo>
                    <a:lnTo>
                      <a:pt x="520" y="483"/>
                    </a:lnTo>
                    <a:lnTo>
                      <a:pt x="518" y="481"/>
                    </a:lnTo>
                    <a:lnTo>
                      <a:pt x="518" y="483"/>
                    </a:lnTo>
                    <a:lnTo>
                      <a:pt x="518" y="481"/>
                    </a:lnTo>
                    <a:lnTo>
                      <a:pt x="520" y="481"/>
                    </a:lnTo>
                    <a:lnTo>
                      <a:pt x="518" y="481"/>
                    </a:lnTo>
                    <a:lnTo>
                      <a:pt x="516" y="481"/>
                    </a:lnTo>
                    <a:lnTo>
                      <a:pt x="518" y="481"/>
                    </a:lnTo>
                    <a:lnTo>
                      <a:pt x="516" y="481"/>
                    </a:lnTo>
                    <a:lnTo>
                      <a:pt x="515" y="481"/>
                    </a:lnTo>
                    <a:lnTo>
                      <a:pt x="515" y="483"/>
                    </a:lnTo>
                    <a:lnTo>
                      <a:pt x="513" y="483"/>
                    </a:lnTo>
                    <a:lnTo>
                      <a:pt x="511" y="483"/>
                    </a:lnTo>
                    <a:lnTo>
                      <a:pt x="511" y="485"/>
                    </a:lnTo>
                    <a:lnTo>
                      <a:pt x="509" y="485"/>
                    </a:lnTo>
                    <a:lnTo>
                      <a:pt x="507" y="485"/>
                    </a:lnTo>
                    <a:lnTo>
                      <a:pt x="505" y="485"/>
                    </a:lnTo>
                    <a:lnTo>
                      <a:pt x="505" y="487"/>
                    </a:lnTo>
                    <a:lnTo>
                      <a:pt x="505" y="489"/>
                    </a:lnTo>
                    <a:lnTo>
                      <a:pt x="503" y="487"/>
                    </a:lnTo>
                    <a:lnTo>
                      <a:pt x="503" y="489"/>
                    </a:lnTo>
                    <a:lnTo>
                      <a:pt x="503" y="487"/>
                    </a:lnTo>
                    <a:lnTo>
                      <a:pt x="503" y="489"/>
                    </a:lnTo>
                    <a:lnTo>
                      <a:pt x="503" y="487"/>
                    </a:lnTo>
                    <a:lnTo>
                      <a:pt x="503" y="489"/>
                    </a:lnTo>
                    <a:lnTo>
                      <a:pt x="503" y="487"/>
                    </a:lnTo>
                    <a:lnTo>
                      <a:pt x="503" y="489"/>
                    </a:lnTo>
                    <a:lnTo>
                      <a:pt x="501" y="489"/>
                    </a:lnTo>
                    <a:lnTo>
                      <a:pt x="499" y="489"/>
                    </a:lnTo>
                    <a:lnTo>
                      <a:pt x="499" y="491"/>
                    </a:lnTo>
                    <a:lnTo>
                      <a:pt x="497" y="491"/>
                    </a:lnTo>
                    <a:lnTo>
                      <a:pt x="497" y="493"/>
                    </a:lnTo>
                    <a:lnTo>
                      <a:pt x="497" y="491"/>
                    </a:lnTo>
                    <a:lnTo>
                      <a:pt x="497" y="493"/>
                    </a:lnTo>
                    <a:lnTo>
                      <a:pt x="495" y="493"/>
                    </a:lnTo>
                    <a:lnTo>
                      <a:pt x="497" y="493"/>
                    </a:lnTo>
                    <a:lnTo>
                      <a:pt x="495" y="493"/>
                    </a:lnTo>
                    <a:lnTo>
                      <a:pt x="495" y="494"/>
                    </a:lnTo>
                    <a:lnTo>
                      <a:pt x="493" y="494"/>
                    </a:lnTo>
                    <a:lnTo>
                      <a:pt x="493" y="496"/>
                    </a:lnTo>
                    <a:lnTo>
                      <a:pt x="492" y="496"/>
                    </a:lnTo>
                    <a:lnTo>
                      <a:pt x="492" y="494"/>
                    </a:lnTo>
                    <a:lnTo>
                      <a:pt x="490" y="494"/>
                    </a:lnTo>
                    <a:lnTo>
                      <a:pt x="490" y="496"/>
                    </a:lnTo>
                    <a:lnTo>
                      <a:pt x="488" y="496"/>
                    </a:lnTo>
                    <a:lnTo>
                      <a:pt x="486" y="496"/>
                    </a:lnTo>
                    <a:lnTo>
                      <a:pt x="486" y="494"/>
                    </a:lnTo>
                    <a:lnTo>
                      <a:pt x="484" y="494"/>
                    </a:lnTo>
                    <a:lnTo>
                      <a:pt x="486" y="494"/>
                    </a:lnTo>
                    <a:lnTo>
                      <a:pt x="484" y="494"/>
                    </a:lnTo>
                    <a:lnTo>
                      <a:pt x="482" y="494"/>
                    </a:lnTo>
                    <a:lnTo>
                      <a:pt x="484" y="494"/>
                    </a:lnTo>
                    <a:lnTo>
                      <a:pt x="482" y="494"/>
                    </a:lnTo>
                    <a:lnTo>
                      <a:pt x="482" y="496"/>
                    </a:lnTo>
                    <a:lnTo>
                      <a:pt x="482" y="494"/>
                    </a:lnTo>
                    <a:lnTo>
                      <a:pt x="480" y="494"/>
                    </a:lnTo>
                    <a:lnTo>
                      <a:pt x="478" y="494"/>
                    </a:lnTo>
                    <a:lnTo>
                      <a:pt x="478" y="496"/>
                    </a:lnTo>
                    <a:lnTo>
                      <a:pt x="480" y="496"/>
                    </a:lnTo>
                    <a:lnTo>
                      <a:pt x="478" y="496"/>
                    </a:lnTo>
                    <a:lnTo>
                      <a:pt x="476" y="496"/>
                    </a:lnTo>
                    <a:lnTo>
                      <a:pt x="476" y="498"/>
                    </a:lnTo>
                    <a:lnTo>
                      <a:pt x="474" y="498"/>
                    </a:lnTo>
                    <a:lnTo>
                      <a:pt x="474" y="496"/>
                    </a:lnTo>
                    <a:lnTo>
                      <a:pt x="472" y="496"/>
                    </a:lnTo>
                    <a:lnTo>
                      <a:pt x="470" y="496"/>
                    </a:lnTo>
                    <a:lnTo>
                      <a:pt x="468" y="496"/>
                    </a:lnTo>
                    <a:lnTo>
                      <a:pt x="467" y="496"/>
                    </a:lnTo>
                    <a:lnTo>
                      <a:pt x="467" y="494"/>
                    </a:lnTo>
                    <a:lnTo>
                      <a:pt x="465" y="494"/>
                    </a:lnTo>
                    <a:lnTo>
                      <a:pt x="467" y="494"/>
                    </a:lnTo>
                    <a:lnTo>
                      <a:pt x="465" y="494"/>
                    </a:lnTo>
                    <a:lnTo>
                      <a:pt x="463" y="494"/>
                    </a:lnTo>
                    <a:lnTo>
                      <a:pt x="463" y="493"/>
                    </a:lnTo>
                    <a:lnTo>
                      <a:pt x="461" y="493"/>
                    </a:lnTo>
                    <a:lnTo>
                      <a:pt x="459" y="493"/>
                    </a:lnTo>
                    <a:lnTo>
                      <a:pt x="457" y="493"/>
                    </a:lnTo>
                    <a:lnTo>
                      <a:pt x="457" y="491"/>
                    </a:lnTo>
                    <a:lnTo>
                      <a:pt x="455" y="493"/>
                    </a:lnTo>
                    <a:lnTo>
                      <a:pt x="455" y="491"/>
                    </a:lnTo>
                    <a:lnTo>
                      <a:pt x="455" y="493"/>
                    </a:lnTo>
                    <a:lnTo>
                      <a:pt x="455" y="491"/>
                    </a:lnTo>
                    <a:lnTo>
                      <a:pt x="455" y="493"/>
                    </a:lnTo>
                    <a:lnTo>
                      <a:pt x="453" y="491"/>
                    </a:lnTo>
                    <a:lnTo>
                      <a:pt x="453" y="493"/>
                    </a:lnTo>
                    <a:lnTo>
                      <a:pt x="451" y="493"/>
                    </a:lnTo>
                    <a:lnTo>
                      <a:pt x="451" y="491"/>
                    </a:lnTo>
                    <a:lnTo>
                      <a:pt x="449" y="489"/>
                    </a:lnTo>
                    <a:lnTo>
                      <a:pt x="449" y="491"/>
                    </a:lnTo>
                    <a:lnTo>
                      <a:pt x="449" y="489"/>
                    </a:lnTo>
                    <a:lnTo>
                      <a:pt x="447" y="489"/>
                    </a:lnTo>
                    <a:lnTo>
                      <a:pt x="445" y="489"/>
                    </a:lnTo>
                    <a:lnTo>
                      <a:pt x="445" y="487"/>
                    </a:lnTo>
                    <a:lnTo>
                      <a:pt x="443" y="487"/>
                    </a:lnTo>
                    <a:lnTo>
                      <a:pt x="442" y="487"/>
                    </a:lnTo>
                    <a:lnTo>
                      <a:pt x="440" y="487"/>
                    </a:lnTo>
                    <a:lnTo>
                      <a:pt x="442" y="487"/>
                    </a:lnTo>
                    <a:lnTo>
                      <a:pt x="442" y="489"/>
                    </a:lnTo>
                    <a:lnTo>
                      <a:pt x="440" y="489"/>
                    </a:lnTo>
                    <a:lnTo>
                      <a:pt x="442" y="491"/>
                    </a:lnTo>
                    <a:lnTo>
                      <a:pt x="442" y="493"/>
                    </a:lnTo>
                    <a:lnTo>
                      <a:pt x="440" y="493"/>
                    </a:lnTo>
                    <a:lnTo>
                      <a:pt x="440" y="494"/>
                    </a:lnTo>
                    <a:lnTo>
                      <a:pt x="442" y="494"/>
                    </a:lnTo>
                    <a:lnTo>
                      <a:pt x="443" y="494"/>
                    </a:lnTo>
                    <a:lnTo>
                      <a:pt x="442" y="494"/>
                    </a:lnTo>
                    <a:lnTo>
                      <a:pt x="442" y="496"/>
                    </a:lnTo>
                    <a:lnTo>
                      <a:pt x="440" y="496"/>
                    </a:lnTo>
                    <a:lnTo>
                      <a:pt x="440" y="498"/>
                    </a:lnTo>
                    <a:lnTo>
                      <a:pt x="442" y="498"/>
                    </a:lnTo>
                    <a:lnTo>
                      <a:pt x="440" y="498"/>
                    </a:lnTo>
                    <a:lnTo>
                      <a:pt x="440" y="500"/>
                    </a:lnTo>
                    <a:lnTo>
                      <a:pt x="438" y="500"/>
                    </a:lnTo>
                    <a:lnTo>
                      <a:pt x="438" y="498"/>
                    </a:lnTo>
                    <a:lnTo>
                      <a:pt x="436" y="498"/>
                    </a:lnTo>
                    <a:lnTo>
                      <a:pt x="436" y="500"/>
                    </a:lnTo>
                    <a:lnTo>
                      <a:pt x="436" y="502"/>
                    </a:lnTo>
                    <a:lnTo>
                      <a:pt x="434" y="502"/>
                    </a:lnTo>
                    <a:lnTo>
                      <a:pt x="434" y="504"/>
                    </a:lnTo>
                    <a:lnTo>
                      <a:pt x="432" y="504"/>
                    </a:lnTo>
                    <a:lnTo>
                      <a:pt x="432" y="506"/>
                    </a:lnTo>
                    <a:lnTo>
                      <a:pt x="434" y="506"/>
                    </a:lnTo>
                    <a:lnTo>
                      <a:pt x="432" y="506"/>
                    </a:lnTo>
                    <a:lnTo>
                      <a:pt x="432" y="508"/>
                    </a:lnTo>
                    <a:lnTo>
                      <a:pt x="434" y="508"/>
                    </a:lnTo>
                    <a:lnTo>
                      <a:pt x="434" y="510"/>
                    </a:lnTo>
                    <a:lnTo>
                      <a:pt x="432" y="510"/>
                    </a:lnTo>
                    <a:lnTo>
                      <a:pt x="432" y="512"/>
                    </a:lnTo>
                    <a:lnTo>
                      <a:pt x="430" y="508"/>
                    </a:lnTo>
                    <a:lnTo>
                      <a:pt x="430" y="506"/>
                    </a:lnTo>
                    <a:lnTo>
                      <a:pt x="430" y="504"/>
                    </a:lnTo>
                    <a:lnTo>
                      <a:pt x="430" y="502"/>
                    </a:lnTo>
                    <a:lnTo>
                      <a:pt x="428" y="500"/>
                    </a:lnTo>
                    <a:lnTo>
                      <a:pt x="428" y="498"/>
                    </a:lnTo>
                    <a:lnTo>
                      <a:pt x="428" y="496"/>
                    </a:lnTo>
                    <a:lnTo>
                      <a:pt x="428" y="494"/>
                    </a:lnTo>
                    <a:lnTo>
                      <a:pt x="428" y="493"/>
                    </a:lnTo>
                    <a:lnTo>
                      <a:pt x="430" y="491"/>
                    </a:lnTo>
                    <a:lnTo>
                      <a:pt x="430" y="489"/>
                    </a:lnTo>
                    <a:lnTo>
                      <a:pt x="430" y="487"/>
                    </a:lnTo>
                    <a:lnTo>
                      <a:pt x="430" y="485"/>
                    </a:lnTo>
                    <a:lnTo>
                      <a:pt x="432" y="485"/>
                    </a:lnTo>
                    <a:lnTo>
                      <a:pt x="432" y="483"/>
                    </a:lnTo>
                    <a:lnTo>
                      <a:pt x="434" y="483"/>
                    </a:lnTo>
                    <a:lnTo>
                      <a:pt x="434" y="481"/>
                    </a:lnTo>
                    <a:lnTo>
                      <a:pt x="436" y="479"/>
                    </a:lnTo>
                    <a:lnTo>
                      <a:pt x="436" y="477"/>
                    </a:lnTo>
                    <a:lnTo>
                      <a:pt x="436" y="475"/>
                    </a:lnTo>
                    <a:lnTo>
                      <a:pt x="438" y="475"/>
                    </a:lnTo>
                    <a:lnTo>
                      <a:pt x="436" y="473"/>
                    </a:lnTo>
                    <a:lnTo>
                      <a:pt x="438" y="473"/>
                    </a:lnTo>
                    <a:lnTo>
                      <a:pt x="436" y="471"/>
                    </a:lnTo>
                    <a:lnTo>
                      <a:pt x="438" y="470"/>
                    </a:lnTo>
                    <a:lnTo>
                      <a:pt x="440" y="468"/>
                    </a:lnTo>
                    <a:lnTo>
                      <a:pt x="440" y="466"/>
                    </a:lnTo>
                    <a:lnTo>
                      <a:pt x="438" y="464"/>
                    </a:lnTo>
                    <a:lnTo>
                      <a:pt x="438" y="462"/>
                    </a:lnTo>
                    <a:lnTo>
                      <a:pt x="438" y="460"/>
                    </a:lnTo>
                    <a:lnTo>
                      <a:pt x="438" y="458"/>
                    </a:lnTo>
                    <a:lnTo>
                      <a:pt x="440" y="456"/>
                    </a:lnTo>
                    <a:lnTo>
                      <a:pt x="440" y="454"/>
                    </a:lnTo>
                    <a:lnTo>
                      <a:pt x="440" y="452"/>
                    </a:lnTo>
                    <a:lnTo>
                      <a:pt x="440" y="450"/>
                    </a:lnTo>
                    <a:lnTo>
                      <a:pt x="440" y="448"/>
                    </a:lnTo>
                    <a:lnTo>
                      <a:pt x="440" y="446"/>
                    </a:lnTo>
                    <a:lnTo>
                      <a:pt x="440" y="445"/>
                    </a:lnTo>
                    <a:lnTo>
                      <a:pt x="442" y="445"/>
                    </a:lnTo>
                    <a:lnTo>
                      <a:pt x="443" y="445"/>
                    </a:lnTo>
                    <a:lnTo>
                      <a:pt x="443" y="443"/>
                    </a:lnTo>
                    <a:lnTo>
                      <a:pt x="443" y="445"/>
                    </a:lnTo>
                    <a:lnTo>
                      <a:pt x="445" y="445"/>
                    </a:lnTo>
                    <a:lnTo>
                      <a:pt x="445" y="443"/>
                    </a:lnTo>
                    <a:lnTo>
                      <a:pt x="445" y="445"/>
                    </a:lnTo>
                    <a:lnTo>
                      <a:pt x="447" y="445"/>
                    </a:lnTo>
                    <a:lnTo>
                      <a:pt x="449" y="445"/>
                    </a:lnTo>
                    <a:lnTo>
                      <a:pt x="451" y="445"/>
                    </a:lnTo>
                    <a:lnTo>
                      <a:pt x="451" y="443"/>
                    </a:lnTo>
                    <a:lnTo>
                      <a:pt x="451" y="445"/>
                    </a:lnTo>
                    <a:lnTo>
                      <a:pt x="453" y="445"/>
                    </a:lnTo>
                    <a:lnTo>
                      <a:pt x="453" y="446"/>
                    </a:lnTo>
                    <a:lnTo>
                      <a:pt x="453" y="445"/>
                    </a:lnTo>
                    <a:lnTo>
                      <a:pt x="453" y="446"/>
                    </a:lnTo>
                    <a:lnTo>
                      <a:pt x="455" y="446"/>
                    </a:lnTo>
                    <a:lnTo>
                      <a:pt x="453" y="446"/>
                    </a:lnTo>
                    <a:lnTo>
                      <a:pt x="455" y="448"/>
                    </a:lnTo>
                    <a:lnTo>
                      <a:pt x="453" y="448"/>
                    </a:lnTo>
                    <a:lnTo>
                      <a:pt x="455" y="448"/>
                    </a:lnTo>
                    <a:lnTo>
                      <a:pt x="455" y="450"/>
                    </a:lnTo>
                    <a:lnTo>
                      <a:pt x="457" y="450"/>
                    </a:lnTo>
                    <a:lnTo>
                      <a:pt x="457" y="452"/>
                    </a:lnTo>
                    <a:lnTo>
                      <a:pt x="455" y="452"/>
                    </a:lnTo>
                    <a:lnTo>
                      <a:pt x="457" y="452"/>
                    </a:lnTo>
                    <a:lnTo>
                      <a:pt x="455" y="452"/>
                    </a:lnTo>
                    <a:lnTo>
                      <a:pt x="457" y="452"/>
                    </a:lnTo>
                    <a:lnTo>
                      <a:pt x="457" y="454"/>
                    </a:lnTo>
                    <a:lnTo>
                      <a:pt x="457" y="456"/>
                    </a:lnTo>
                    <a:lnTo>
                      <a:pt x="455" y="456"/>
                    </a:lnTo>
                    <a:lnTo>
                      <a:pt x="455" y="458"/>
                    </a:lnTo>
                    <a:lnTo>
                      <a:pt x="453" y="458"/>
                    </a:lnTo>
                    <a:lnTo>
                      <a:pt x="453" y="460"/>
                    </a:lnTo>
                    <a:lnTo>
                      <a:pt x="453" y="462"/>
                    </a:lnTo>
                    <a:lnTo>
                      <a:pt x="453" y="464"/>
                    </a:lnTo>
                    <a:lnTo>
                      <a:pt x="451" y="464"/>
                    </a:lnTo>
                    <a:lnTo>
                      <a:pt x="451" y="466"/>
                    </a:lnTo>
                    <a:lnTo>
                      <a:pt x="451" y="468"/>
                    </a:lnTo>
                    <a:lnTo>
                      <a:pt x="451" y="466"/>
                    </a:lnTo>
                    <a:lnTo>
                      <a:pt x="453" y="468"/>
                    </a:lnTo>
                    <a:lnTo>
                      <a:pt x="451" y="468"/>
                    </a:lnTo>
                    <a:lnTo>
                      <a:pt x="451" y="470"/>
                    </a:lnTo>
                    <a:lnTo>
                      <a:pt x="451" y="471"/>
                    </a:lnTo>
                    <a:lnTo>
                      <a:pt x="449" y="471"/>
                    </a:lnTo>
                    <a:lnTo>
                      <a:pt x="451" y="471"/>
                    </a:lnTo>
                    <a:lnTo>
                      <a:pt x="451" y="473"/>
                    </a:lnTo>
                    <a:lnTo>
                      <a:pt x="449" y="471"/>
                    </a:lnTo>
                    <a:lnTo>
                      <a:pt x="449" y="473"/>
                    </a:lnTo>
                    <a:lnTo>
                      <a:pt x="449" y="475"/>
                    </a:lnTo>
                    <a:lnTo>
                      <a:pt x="449" y="477"/>
                    </a:lnTo>
                    <a:lnTo>
                      <a:pt x="451" y="475"/>
                    </a:lnTo>
                    <a:lnTo>
                      <a:pt x="451" y="477"/>
                    </a:lnTo>
                    <a:lnTo>
                      <a:pt x="453" y="477"/>
                    </a:lnTo>
                    <a:lnTo>
                      <a:pt x="455" y="479"/>
                    </a:lnTo>
                    <a:lnTo>
                      <a:pt x="455" y="477"/>
                    </a:lnTo>
                    <a:lnTo>
                      <a:pt x="455" y="479"/>
                    </a:lnTo>
                    <a:lnTo>
                      <a:pt x="457" y="479"/>
                    </a:lnTo>
                    <a:lnTo>
                      <a:pt x="459" y="479"/>
                    </a:lnTo>
                    <a:lnTo>
                      <a:pt x="461" y="479"/>
                    </a:lnTo>
                    <a:lnTo>
                      <a:pt x="459" y="479"/>
                    </a:lnTo>
                    <a:lnTo>
                      <a:pt x="457" y="479"/>
                    </a:lnTo>
                    <a:lnTo>
                      <a:pt x="455" y="479"/>
                    </a:lnTo>
                    <a:lnTo>
                      <a:pt x="455" y="477"/>
                    </a:lnTo>
                    <a:lnTo>
                      <a:pt x="453" y="477"/>
                    </a:lnTo>
                    <a:lnTo>
                      <a:pt x="455" y="477"/>
                    </a:lnTo>
                    <a:lnTo>
                      <a:pt x="453" y="477"/>
                    </a:lnTo>
                    <a:lnTo>
                      <a:pt x="455" y="477"/>
                    </a:lnTo>
                    <a:lnTo>
                      <a:pt x="453" y="477"/>
                    </a:lnTo>
                    <a:lnTo>
                      <a:pt x="451" y="477"/>
                    </a:lnTo>
                    <a:lnTo>
                      <a:pt x="451" y="475"/>
                    </a:lnTo>
                    <a:lnTo>
                      <a:pt x="449" y="477"/>
                    </a:lnTo>
                    <a:lnTo>
                      <a:pt x="449" y="475"/>
                    </a:lnTo>
                    <a:lnTo>
                      <a:pt x="449" y="473"/>
                    </a:lnTo>
                    <a:lnTo>
                      <a:pt x="449" y="471"/>
                    </a:lnTo>
                    <a:lnTo>
                      <a:pt x="449" y="473"/>
                    </a:lnTo>
                    <a:lnTo>
                      <a:pt x="451" y="473"/>
                    </a:lnTo>
                    <a:lnTo>
                      <a:pt x="451" y="471"/>
                    </a:lnTo>
                    <a:lnTo>
                      <a:pt x="451" y="470"/>
                    </a:lnTo>
                    <a:lnTo>
                      <a:pt x="451" y="468"/>
                    </a:lnTo>
                    <a:lnTo>
                      <a:pt x="453" y="468"/>
                    </a:lnTo>
                    <a:lnTo>
                      <a:pt x="451" y="466"/>
                    </a:lnTo>
                    <a:lnTo>
                      <a:pt x="451" y="464"/>
                    </a:lnTo>
                    <a:lnTo>
                      <a:pt x="451" y="466"/>
                    </a:lnTo>
                    <a:lnTo>
                      <a:pt x="451" y="464"/>
                    </a:lnTo>
                    <a:lnTo>
                      <a:pt x="453" y="464"/>
                    </a:lnTo>
                    <a:lnTo>
                      <a:pt x="453" y="462"/>
                    </a:lnTo>
                    <a:lnTo>
                      <a:pt x="453" y="460"/>
                    </a:lnTo>
                    <a:lnTo>
                      <a:pt x="453" y="462"/>
                    </a:lnTo>
                    <a:lnTo>
                      <a:pt x="453" y="460"/>
                    </a:lnTo>
                    <a:lnTo>
                      <a:pt x="455" y="460"/>
                    </a:lnTo>
                    <a:lnTo>
                      <a:pt x="453" y="460"/>
                    </a:lnTo>
                    <a:lnTo>
                      <a:pt x="453" y="458"/>
                    </a:lnTo>
                    <a:lnTo>
                      <a:pt x="455" y="458"/>
                    </a:lnTo>
                    <a:lnTo>
                      <a:pt x="455" y="456"/>
                    </a:lnTo>
                    <a:lnTo>
                      <a:pt x="457" y="456"/>
                    </a:lnTo>
                    <a:lnTo>
                      <a:pt x="457" y="454"/>
                    </a:lnTo>
                    <a:lnTo>
                      <a:pt x="459" y="454"/>
                    </a:lnTo>
                    <a:lnTo>
                      <a:pt x="457" y="454"/>
                    </a:lnTo>
                    <a:lnTo>
                      <a:pt x="457" y="452"/>
                    </a:lnTo>
                    <a:lnTo>
                      <a:pt x="455" y="452"/>
                    </a:lnTo>
                    <a:lnTo>
                      <a:pt x="457" y="452"/>
                    </a:lnTo>
                    <a:lnTo>
                      <a:pt x="455" y="452"/>
                    </a:lnTo>
                    <a:lnTo>
                      <a:pt x="457" y="452"/>
                    </a:lnTo>
                    <a:lnTo>
                      <a:pt x="457" y="450"/>
                    </a:lnTo>
                    <a:lnTo>
                      <a:pt x="455" y="450"/>
                    </a:lnTo>
                    <a:lnTo>
                      <a:pt x="455" y="448"/>
                    </a:lnTo>
                    <a:lnTo>
                      <a:pt x="453" y="448"/>
                    </a:lnTo>
                    <a:lnTo>
                      <a:pt x="455" y="448"/>
                    </a:lnTo>
                    <a:lnTo>
                      <a:pt x="455" y="446"/>
                    </a:lnTo>
                    <a:lnTo>
                      <a:pt x="453" y="446"/>
                    </a:lnTo>
                    <a:lnTo>
                      <a:pt x="453" y="445"/>
                    </a:lnTo>
                    <a:lnTo>
                      <a:pt x="455" y="445"/>
                    </a:lnTo>
                    <a:lnTo>
                      <a:pt x="453" y="445"/>
                    </a:lnTo>
                    <a:lnTo>
                      <a:pt x="451" y="445"/>
                    </a:lnTo>
                    <a:lnTo>
                      <a:pt x="453" y="445"/>
                    </a:lnTo>
                    <a:lnTo>
                      <a:pt x="451" y="445"/>
                    </a:lnTo>
                    <a:lnTo>
                      <a:pt x="451" y="443"/>
                    </a:lnTo>
                    <a:lnTo>
                      <a:pt x="449" y="445"/>
                    </a:lnTo>
                    <a:lnTo>
                      <a:pt x="447" y="445"/>
                    </a:lnTo>
                    <a:lnTo>
                      <a:pt x="445" y="445"/>
                    </a:lnTo>
                    <a:lnTo>
                      <a:pt x="445" y="443"/>
                    </a:lnTo>
                    <a:lnTo>
                      <a:pt x="445" y="445"/>
                    </a:lnTo>
                    <a:lnTo>
                      <a:pt x="443" y="445"/>
                    </a:lnTo>
                    <a:lnTo>
                      <a:pt x="443" y="443"/>
                    </a:lnTo>
                    <a:lnTo>
                      <a:pt x="443" y="445"/>
                    </a:lnTo>
                    <a:lnTo>
                      <a:pt x="442" y="445"/>
                    </a:lnTo>
                    <a:lnTo>
                      <a:pt x="440" y="445"/>
                    </a:lnTo>
                    <a:lnTo>
                      <a:pt x="440" y="446"/>
                    </a:lnTo>
                    <a:lnTo>
                      <a:pt x="440" y="445"/>
                    </a:lnTo>
                    <a:lnTo>
                      <a:pt x="438" y="445"/>
                    </a:lnTo>
                    <a:lnTo>
                      <a:pt x="440" y="445"/>
                    </a:lnTo>
                    <a:lnTo>
                      <a:pt x="440" y="446"/>
                    </a:lnTo>
                    <a:lnTo>
                      <a:pt x="438" y="445"/>
                    </a:lnTo>
                    <a:lnTo>
                      <a:pt x="438" y="443"/>
                    </a:lnTo>
                    <a:lnTo>
                      <a:pt x="438" y="441"/>
                    </a:lnTo>
                    <a:lnTo>
                      <a:pt x="438" y="439"/>
                    </a:lnTo>
                    <a:lnTo>
                      <a:pt x="440" y="439"/>
                    </a:lnTo>
                    <a:lnTo>
                      <a:pt x="442" y="439"/>
                    </a:lnTo>
                    <a:lnTo>
                      <a:pt x="440" y="441"/>
                    </a:lnTo>
                    <a:lnTo>
                      <a:pt x="442" y="439"/>
                    </a:lnTo>
                    <a:lnTo>
                      <a:pt x="440" y="441"/>
                    </a:lnTo>
                    <a:lnTo>
                      <a:pt x="442" y="441"/>
                    </a:lnTo>
                    <a:lnTo>
                      <a:pt x="440" y="441"/>
                    </a:lnTo>
                    <a:lnTo>
                      <a:pt x="442" y="441"/>
                    </a:lnTo>
                    <a:lnTo>
                      <a:pt x="440" y="441"/>
                    </a:lnTo>
                    <a:lnTo>
                      <a:pt x="442" y="443"/>
                    </a:lnTo>
                    <a:lnTo>
                      <a:pt x="440" y="443"/>
                    </a:lnTo>
                    <a:lnTo>
                      <a:pt x="442" y="443"/>
                    </a:lnTo>
                    <a:lnTo>
                      <a:pt x="443" y="443"/>
                    </a:lnTo>
                    <a:lnTo>
                      <a:pt x="443" y="441"/>
                    </a:lnTo>
                    <a:lnTo>
                      <a:pt x="442" y="441"/>
                    </a:lnTo>
                    <a:lnTo>
                      <a:pt x="442" y="443"/>
                    </a:lnTo>
                    <a:lnTo>
                      <a:pt x="440" y="443"/>
                    </a:lnTo>
                    <a:lnTo>
                      <a:pt x="442" y="443"/>
                    </a:lnTo>
                    <a:lnTo>
                      <a:pt x="440" y="441"/>
                    </a:lnTo>
                    <a:lnTo>
                      <a:pt x="442" y="441"/>
                    </a:lnTo>
                    <a:lnTo>
                      <a:pt x="440" y="441"/>
                    </a:lnTo>
                    <a:lnTo>
                      <a:pt x="442" y="439"/>
                    </a:lnTo>
                    <a:lnTo>
                      <a:pt x="440" y="439"/>
                    </a:lnTo>
                    <a:lnTo>
                      <a:pt x="442" y="439"/>
                    </a:lnTo>
                    <a:lnTo>
                      <a:pt x="440" y="439"/>
                    </a:lnTo>
                    <a:lnTo>
                      <a:pt x="440" y="437"/>
                    </a:lnTo>
                    <a:lnTo>
                      <a:pt x="440" y="439"/>
                    </a:lnTo>
                    <a:lnTo>
                      <a:pt x="442" y="439"/>
                    </a:lnTo>
                    <a:lnTo>
                      <a:pt x="442" y="437"/>
                    </a:lnTo>
                    <a:lnTo>
                      <a:pt x="440" y="437"/>
                    </a:lnTo>
                    <a:lnTo>
                      <a:pt x="442" y="437"/>
                    </a:lnTo>
                    <a:lnTo>
                      <a:pt x="443" y="437"/>
                    </a:lnTo>
                    <a:lnTo>
                      <a:pt x="443" y="435"/>
                    </a:lnTo>
                    <a:lnTo>
                      <a:pt x="445" y="435"/>
                    </a:lnTo>
                    <a:lnTo>
                      <a:pt x="445" y="433"/>
                    </a:lnTo>
                    <a:lnTo>
                      <a:pt x="447" y="433"/>
                    </a:lnTo>
                    <a:lnTo>
                      <a:pt x="447" y="431"/>
                    </a:lnTo>
                    <a:lnTo>
                      <a:pt x="449" y="431"/>
                    </a:lnTo>
                    <a:lnTo>
                      <a:pt x="449" y="429"/>
                    </a:lnTo>
                    <a:lnTo>
                      <a:pt x="449" y="427"/>
                    </a:lnTo>
                    <a:lnTo>
                      <a:pt x="451" y="427"/>
                    </a:lnTo>
                    <a:lnTo>
                      <a:pt x="451" y="425"/>
                    </a:lnTo>
                    <a:lnTo>
                      <a:pt x="453" y="425"/>
                    </a:lnTo>
                    <a:lnTo>
                      <a:pt x="453" y="423"/>
                    </a:lnTo>
                    <a:lnTo>
                      <a:pt x="455" y="423"/>
                    </a:lnTo>
                    <a:lnTo>
                      <a:pt x="455" y="421"/>
                    </a:lnTo>
                    <a:lnTo>
                      <a:pt x="455" y="420"/>
                    </a:lnTo>
                    <a:lnTo>
                      <a:pt x="455" y="418"/>
                    </a:lnTo>
                    <a:lnTo>
                      <a:pt x="457" y="418"/>
                    </a:lnTo>
                    <a:lnTo>
                      <a:pt x="455" y="418"/>
                    </a:lnTo>
                    <a:lnTo>
                      <a:pt x="453" y="416"/>
                    </a:lnTo>
                    <a:lnTo>
                      <a:pt x="455" y="416"/>
                    </a:lnTo>
                    <a:lnTo>
                      <a:pt x="453" y="416"/>
                    </a:lnTo>
                    <a:lnTo>
                      <a:pt x="455" y="416"/>
                    </a:lnTo>
                    <a:lnTo>
                      <a:pt x="453" y="416"/>
                    </a:lnTo>
                    <a:lnTo>
                      <a:pt x="455" y="416"/>
                    </a:lnTo>
                    <a:lnTo>
                      <a:pt x="455" y="414"/>
                    </a:lnTo>
                    <a:lnTo>
                      <a:pt x="453" y="414"/>
                    </a:lnTo>
                    <a:lnTo>
                      <a:pt x="455" y="414"/>
                    </a:lnTo>
                    <a:lnTo>
                      <a:pt x="455" y="412"/>
                    </a:lnTo>
                    <a:lnTo>
                      <a:pt x="455" y="410"/>
                    </a:lnTo>
                    <a:lnTo>
                      <a:pt x="453" y="410"/>
                    </a:lnTo>
                    <a:lnTo>
                      <a:pt x="453" y="408"/>
                    </a:lnTo>
                    <a:lnTo>
                      <a:pt x="451" y="408"/>
                    </a:lnTo>
                    <a:lnTo>
                      <a:pt x="451" y="410"/>
                    </a:lnTo>
                    <a:lnTo>
                      <a:pt x="449" y="410"/>
                    </a:lnTo>
                    <a:lnTo>
                      <a:pt x="447" y="410"/>
                    </a:lnTo>
                    <a:lnTo>
                      <a:pt x="447" y="408"/>
                    </a:lnTo>
                    <a:lnTo>
                      <a:pt x="447" y="406"/>
                    </a:lnTo>
                    <a:lnTo>
                      <a:pt x="449" y="404"/>
                    </a:lnTo>
                    <a:lnTo>
                      <a:pt x="451" y="404"/>
                    </a:lnTo>
                    <a:lnTo>
                      <a:pt x="449" y="404"/>
                    </a:lnTo>
                    <a:lnTo>
                      <a:pt x="451" y="404"/>
                    </a:lnTo>
                    <a:lnTo>
                      <a:pt x="451" y="402"/>
                    </a:lnTo>
                    <a:lnTo>
                      <a:pt x="451" y="404"/>
                    </a:lnTo>
                    <a:lnTo>
                      <a:pt x="451" y="402"/>
                    </a:lnTo>
                    <a:lnTo>
                      <a:pt x="453" y="402"/>
                    </a:lnTo>
                    <a:lnTo>
                      <a:pt x="455" y="402"/>
                    </a:lnTo>
                    <a:lnTo>
                      <a:pt x="457" y="402"/>
                    </a:lnTo>
                    <a:lnTo>
                      <a:pt x="459" y="402"/>
                    </a:lnTo>
                    <a:lnTo>
                      <a:pt x="459" y="404"/>
                    </a:lnTo>
                    <a:lnTo>
                      <a:pt x="461" y="404"/>
                    </a:lnTo>
                    <a:lnTo>
                      <a:pt x="463" y="404"/>
                    </a:lnTo>
                    <a:lnTo>
                      <a:pt x="463" y="406"/>
                    </a:lnTo>
                    <a:lnTo>
                      <a:pt x="463" y="404"/>
                    </a:lnTo>
                    <a:lnTo>
                      <a:pt x="465" y="404"/>
                    </a:lnTo>
                    <a:lnTo>
                      <a:pt x="463" y="404"/>
                    </a:lnTo>
                    <a:lnTo>
                      <a:pt x="463" y="406"/>
                    </a:lnTo>
                    <a:lnTo>
                      <a:pt x="463" y="404"/>
                    </a:lnTo>
                    <a:lnTo>
                      <a:pt x="461" y="404"/>
                    </a:lnTo>
                    <a:lnTo>
                      <a:pt x="459" y="404"/>
                    </a:lnTo>
                    <a:lnTo>
                      <a:pt x="459" y="402"/>
                    </a:lnTo>
                    <a:lnTo>
                      <a:pt x="457" y="402"/>
                    </a:lnTo>
                    <a:lnTo>
                      <a:pt x="459" y="402"/>
                    </a:lnTo>
                    <a:lnTo>
                      <a:pt x="457" y="402"/>
                    </a:lnTo>
                    <a:lnTo>
                      <a:pt x="455" y="402"/>
                    </a:lnTo>
                    <a:lnTo>
                      <a:pt x="457" y="402"/>
                    </a:lnTo>
                    <a:lnTo>
                      <a:pt x="455" y="402"/>
                    </a:lnTo>
                    <a:lnTo>
                      <a:pt x="453" y="402"/>
                    </a:lnTo>
                    <a:lnTo>
                      <a:pt x="451" y="402"/>
                    </a:lnTo>
                    <a:lnTo>
                      <a:pt x="449" y="404"/>
                    </a:lnTo>
                    <a:lnTo>
                      <a:pt x="447" y="404"/>
                    </a:lnTo>
                    <a:lnTo>
                      <a:pt x="447" y="406"/>
                    </a:lnTo>
                    <a:lnTo>
                      <a:pt x="447" y="408"/>
                    </a:lnTo>
                    <a:lnTo>
                      <a:pt x="445" y="408"/>
                    </a:lnTo>
                    <a:lnTo>
                      <a:pt x="443" y="406"/>
                    </a:lnTo>
                    <a:lnTo>
                      <a:pt x="445" y="406"/>
                    </a:lnTo>
                    <a:lnTo>
                      <a:pt x="443" y="406"/>
                    </a:lnTo>
                    <a:lnTo>
                      <a:pt x="443" y="404"/>
                    </a:lnTo>
                    <a:lnTo>
                      <a:pt x="443" y="402"/>
                    </a:lnTo>
                    <a:lnTo>
                      <a:pt x="443" y="404"/>
                    </a:lnTo>
                    <a:lnTo>
                      <a:pt x="443" y="402"/>
                    </a:lnTo>
                    <a:lnTo>
                      <a:pt x="443" y="404"/>
                    </a:lnTo>
                    <a:lnTo>
                      <a:pt x="443" y="402"/>
                    </a:lnTo>
                    <a:lnTo>
                      <a:pt x="445" y="402"/>
                    </a:lnTo>
                    <a:lnTo>
                      <a:pt x="445" y="400"/>
                    </a:lnTo>
                    <a:lnTo>
                      <a:pt x="447" y="398"/>
                    </a:lnTo>
                    <a:lnTo>
                      <a:pt x="449" y="398"/>
                    </a:lnTo>
                    <a:lnTo>
                      <a:pt x="451" y="398"/>
                    </a:lnTo>
                    <a:lnTo>
                      <a:pt x="451" y="396"/>
                    </a:lnTo>
                    <a:lnTo>
                      <a:pt x="453" y="396"/>
                    </a:lnTo>
                    <a:lnTo>
                      <a:pt x="453" y="398"/>
                    </a:lnTo>
                    <a:lnTo>
                      <a:pt x="451" y="398"/>
                    </a:lnTo>
                    <a:lnTo>
                      <a:pt x="453" y="398"/>
                    </a:lnTo>
                    <a:lnTo>
                      <a:pt x="451" y="398"/>
                    </a:lnTo>
                    <a:lnTo>
                      <a:pt x="453" y="398"/>
                    </a:lnTo>
                    <a:lnTo>
                      <a:pt x="453" y="396"/>
                    </a:lnTo>
                    <a:lnTo>
                      <a:pt x="455" y="396"/>
                    </a:lnTo>
                    <a:lnTo>
                      <a:pt x="457" y="396"/>
                    </a:lnTo>
                    <a:lnTo>
                      <a:pt x="459" y="396"/>
                    </a:lnTo>
                    <a:lnTo>
                      <a:pt x="459" y="395"/>
                    </a:lnTo>
                    <a:lnTo>
                      <a:pt x="461" y="395"/>
                    </a:lnTo>
                    <a:lnTo>
                      <a:pt x="463" y="395"/>
                    </a:lnTo>
                    <a:lnTo>
                      <a:pt x="465" y="395"/>
                    </a:lnTo>
                    <a:lnTo>
                      <a:pt x="467" y="395"/>
                    </a:lnTo>
                    <a:lnTo>
                      <a:pt x="467" y="393"/>
                    </a:lnTo>
                    <a:lnTo>
                      <a:pt x="468" y="393"/>
                    </a:lnTo>
                    <a:lnTo>
                      <a:pt x="468" y="391"/>
                    </a:lnTo>
                    <a:lnTo>
                      <a:pt x="470" y="391"/>
                    </a:lnTo>
                    <a:lnTo>
                      <a:pt x="470" y="389"/>
                    </a:lnTo>
                    <a:lnTo>
                      <a:pt x="470" y="387"/>
                    </a:lnTo>
                    <a:lnTo>
                      <a:pt x="472" y="387"/>
                    </a:lnTo>
                    <a:lnTo>
                      <a:pt x="470" y="387"/>
                    </a:lnTo>
                    <a:lnTo>
                      <a:pt x="470" y="385"/>
                    </a:lnTo>
                    <a:lnTo>
                      <a:pt x="470" y="383"/>
                    </a:lnTo>
                    <a:lnTo>
                      <a:pt x="472" y="383"/>
                    </a:lnTo>
                    <a:lnTo>
                      <a:pt x="472" y="381"/>
                    </a:lnTo>
                    <a:lnTo>
                      <a:pt x="472" y="379"/>
                    </a:lnTo>
                    <a:lnTo>
                      <a:pt x="472" y="377"/>
                    </a:lnTo>
                    <a:lnTo>
                      <a:pt x="474" y="379"/>
                    </a:lnTo>
                    <a:lnTo>
                      <a:pt x="474" y="377"/>
                    </a:lnTo>
                    <a:lnTo>
                      <a:pt x="472" y="377"/>
                    </a:lnTo>
                    <a:lnTo>
                      <a:pt x="474" y="377"/>
                    </a:lnTo>
                    <a:lnTo>
                      <a:pt x="474" y="375"/>
                    </a:lnTo>
                    <a:lnTo>
                      <a:pt x="476" y="375"/>
                    </a:lnTo>
                    <a:lnTo>
                      <a:pt x="476" y="373"/>
                    </a:lnTo>
                    <a:lnTo>
                      <a:pt x="478" y="371"/>
                    </a:lnTo>
                    <a:lnTo>
                      <a:pt x="476" y="370"/>
                    </a:lnTo>
                    <a:lnTo>
                      <a:pt x="474" y="370"/>
                    </a:lnTo>
                    <a:lnTo>
                      <a:pt x="472" y="368"/>
                    </a:lnTo>
                    <a:lnTo>
                      <a:pt x="472" y="366"/>
                    </a:lnTo>
                    <a:lnTo>
                      <a:pt x="472" y="364"/>
                    </a:lnTo>
                    <a:lnTo>
                      <a:pt x="472" y="362"/>
                    </a:lnTo>
                    <a:lnTo>
                      <a:pt x="472" y="360"/>
                    </a:lnTo>
                    <a:lnTo>
                      <a:pt x="472" y="358"/>
                    </a:lnTo>
                    <a:lnTo>
                      <a:pt x="470" y="358"/>
                    </a:lnTo>
                    <a:lnTo>
                      <a:pt x="468" y="358"/>
                    </a:lnTo>
                    <a:lnTo>
                      <a:pt x="467" y="356"/>
                    </a:lnTo>
                    <a:lnTo>
                      <a:pt x="465" y="356"/>
                    </a:lnTo>
                    <a:lnTo>
                      <a:pt x="465" y="354"/>
                    </a:lnTo>
                    <a:lnTo>
                      <a:pt x="463" y="352"/>
                    </a:lnTo>
                    <a:lnTo>
                      <a:pt x="463" y="350"/>
                    </a:lnTo>
                    <a:lnTo>
                      <a:pt x="461" y="350"/>
                    </a:lnTo>
                    <a:lnTo>
                      <a:pt x="461" y="346"/>
                    </a:lnTo>
                    <a:lnTo>
                      <a:pt x="459" y="345"/>
                    </a:lnTo>
                    <a:lnTo>
                      <a:pt x="459" y="343"/>
                    </a:lnTo>
                    <a:lnTo>
                      <a:pt x="459" y="341"/>
                    </a:lnTo>
                    <a:lnTo>
                      <a:pt x="459" y="339"/>
                    </a:lnTo>
                    <a:lnTo>
                      <a:pt x="459" y="337"/>
                    </a:lnTo>
                    <a:lnTo>
                      <a:pt x="457" y="335"/>
                    </a:lnTo>
                    <a:lnTo>
                      <a:pt x="457" y="333"/>
                    </a:lnTo>
                    <a:lnTo>
                      <a:pt x="455" y="331"/>
                    </a:lnTo>
                    <a:lnTo>
                      <a:pt x="453" y="329"/>
                    </a:lnTo>
                    <a:lnTo>
                      <a:pt x="453" y="327"/>
                    </a:lnTo>
                    <a:lnTo>
                      <a:pt x="453" y="325"/>
                    </a:lnTo>
                    <a:lnTo>
                      <a:pt x="453" y="323"/>
                    </a:lnTo>
                    <a:lnTo>
                      <a:pt x="453" y="321"/>
                    </a:lnTo>
                    <a:lnTo>
                      <a:pt x="453" y="323"/>
                    </a:lnTo>
                    <a:lnTo>
                      <a:pt x="451" y="323"/>
                    </a:lnTo>
                    <a:lnTo>
                      <a:pt x="451" y="325"/>
                    </a:lnTo>
                    <a:lnTo>
                      <a:pt x="451" y="323"/>
                    </a:lnTo>
                    <a:lnTo>
                      <a:pt x="449" y="323"/>
                    </a:lnTo>
                    <a:lnTo>
                      <a:pt x="449" y="321"/>
                    </a:lnTo>
                    <a:lnTo>
                      <a:pt x="449" y="320"/>
                    </a:lnTo>
                    <a:lnTo>
                      <a:pt x="449" y="318"/>
                    </a:lnTo>
                    <a:lnTo>
                      <a:pt x="449" y="316"/>
                    </a:lnTo>
                    <a:lnTo>
                      <a:pt x="451" y="316"/>
                    </a:lnTo>
                    <a:lnTo>
                      <a:pt x="453" y="316"/>
                    </a:lnTo>
                    <a:lnTo>
                      <a:pt x="455" y="316"/>
                    </a:lnTo>
                    <a:lnTo>
                      <a:pt x="455" y="318"/>
                    </a:lnTo>
                    <a:lnTo>
                      <a:pt x="455" y="320"/>
                    </a:lnTo>
                    <a:lnTo>
                      <a:pt x="457" y="320"/>
                    </a:lnTo>
                    <a:lnTo>
                      <a:pt x="455" y="320"/>
                    </a:lnTo>
                    <a:lnTo>
                      <a:pt x="457" y="318"/>
                    </a:lnTo>
                    <a:lnTo>
                      <a:pt x="455" y="318"/>
                    </a:lnTo>
                    <a:lnTo>
                      <a:pt x="455" y="316"/>
                    </a:lnTo>
                    <a:lnTo>
                      <a:pt x="453" y="316"/>
                    </a:lnTo>
                    <a:lnTo>
                      <a:pt x="451" y="316"/>
                    </a:lnTo>
                    <a:lnTo>
                      <a:pt x="451" y="314"/>
                    </a:lnTo>
                    <a:lnTo>
                      <a:pt x="451" y="316"/>
                    </a:lnTo>
                    <a:lnTo>
                      <a:pt x="449" y="316"/>
                    </a:lnTo>
                    <a:lnTo>
                      <a:pt x="449" y="314"/>
                    </a:lnTo>
                    <a:lnTo>
                      <a:pt x="447" y="314"/>
                    </a:lnTo>
                    <a:lnTo>
                      <a:pt x="445" y="312"/>
                    </a:lnTo>
                    <a:lnTo>
                      <a:pt x="443" y="312"/>
                    </a:lnTo>
                    <a:lnTo>
                      <a:pt x="442" y="312"/>
                    </a:lnTo>
                    <a:lnTo>
                      <a:pt x="440" y="310"/>
                    </a:lnTo>
                    <a:lnTo>
                      <a:pt x="440" y="308"/>
                    </a:lnTo>
                    <a:lnTo>
                      <a:pt x="438" y="306"/>
                    </a:lnTo>
                    <a:lnTo>
                      <a:pt x="438" y="304"/>
                    </a:lnTo>
                    <a:lnTo>
                      <a:pt x="438" y="302"/>
                    </a:lnTo>
                    <a:lnTo>
                      <a:pt x="436" y="302"/>
                    </a:lnTo>
                    <a:lnTo>
                      <a:pt x="436" y="300"/>
                    </a:lnTo>
                    <a:lnTo>
                      <a:pt x="436" y="298"/>
                    </a:lnTo>
                    <a:lnTo>
                      <a:pt x="434" y="298"/>
                    </a:lnTo>
                    <a:lnTo>
                      <a:pt x="434" y="296"/>
                    </a:lnTo>
                    <a:lnTo>
                      <a:pt x="432" y="296"/>
                    </a:lnTo>
                    <a:lnTo>
                      <a:pt x="430" y="295"/>
                    </a:lnTo>
                    <a:lnTo>
                      <a:pt x="428" y="295"/>
                    </a:lnTo>
                    <a:lnTo>
                      <a:pt x="430" y="293"/>
                    </a:lnTo>
                    <a:lnTo>
                      <a:pt x="432" y="293"/>
                    </a:lnTo>
                    <a:lnTo>
                      <a:pt x="432" y="291"/>
                    </a:lnTo>
                    <a:lnTo>
                      <a:pt x="434" y="291"/>
                    </a:lnTo>
                    <a:lnTo>
                      <a:pt x="436" y="291"/>
                    </a:lnTo>
                    <a:lnTo>
                      <a:pt x="436" y="293"/>
                    </a:lnTo>
                    <a:lnTo>
                      <a:pt x="436" y="291"/>
                    </a:lnTo>
                    <a:lnTo>
                      <a:pt x="436" y="293"/>
                    </a:lnTo>
                    <a:lnTo>
                      <a:pt x="434" y="293"/>
                    </a:lnTo>
                    <a:lnTo>
                      <a:pt x="436" y="293"/>
                    </a:lnTo>
                    <a:lnTo>
                      <a:pt x="436" y="291"/>
                    </a:lnTo>
                    <a:lnTo>
                      <a:pt x="438" y="291"/>
                    </a:lnTo>
                    <a:lnTo>
                      <a:pt x="440" y="291"/>
                    </a:lnTo>
                    <a:lnTo>
                      <a:pt x="442" y="289"/>
                    </a:lnTo>
                    <a:lnTo>
                      <a:pt x="442" y="291"/>
                    </a:lnTo>
                    <a:lnTo>
                      <a:pt x="443" y="291"/>
                    </a:lnTo>
                    <a:lnTo>
                      <a:pt x="445" y="291"/>
                    </a:lnTo>
                    <a:lnTo>
                      <a:pt x="447" y="291"/>
                    </a:lnTo>
                    <a:lnTo>
                      <a:pt x="447" y="289"/>
                    </a:lnTo>
                    <a:lnTo>
                      <a:pt x="449" y="289"/>
                    </a:lnTo>
                    <a:lnTo>
                      <a:pt x="451" y="291"/>
                    </a:lnTo>
                    <a:lnTo>
                      <a:pt x="453" y="291"/>
                    </a:lnTo>
                    <a:lnTo>
                      <a:pt x="455" y="293"/>
                    </a:lnTo>
                    <a:lnTo>
                      <a:pt x="453" y="293"/>
                    </a:lnTo>
                    <a:lnTo>
                      <a:pt x="453" y="295"/>
                    </a:lnTo>
                    <a:lnTo>
                      <a:pt x="455" y="295"/>
                    </a:lnTo>
                    <a:lnTo>
                      <a:pt x="457" y="293"/>
                    </a:lnTo>
                    <a:lnTo>
                      <a:pt x="457" y="295"/>
                    </a:lnTo>
                    <a:lnTo>
                      <a:pt x="459" y="295"/>
                    </a:lnTo>
                    <a:lnTo>
                      <a:pt x="461" y="295"/>
                    </a:lnTo>
                    <a:lnTo>
                      <a:pt x="463" y="296"/>
                    </a:lnTo>
                    <a:lnTo>
                      <a:pt x="465" y="296"/>
                    </a:lnTo>
                    <a:lnTo>
                      <a:pt x="467" y="296"/>
                    </a:lnTo>
                    <a:lnTo>
                      <a:pt x="468" y="298"/>
                    </a:lnTo>
                    <a:lnTo>
                      <a:pt x="470" y="298"/>
                    </a:lnTo>
                    <a:lnTo>
                      <a:pt x="472" y="298"/>
                    </a:lnTo>
                    <a:lnTo>
                      <a:pt x="472" y="300"/>
                    </a:lnTo>
                    <a:lnTo>
                      <a:pt x="474" y="300"/>
                    </a:lnTo>
                    <a:lnTo>
                      <a:pt x="474" y="302"/>
                    </a:lnTo>
                    <a:lnTo>
                      <a:pt x="474" y="304"/>
                    </a:lnTo>
                    <a:lnTo>
                      <a:pt x="476" y="304"/>
                    </a:lnTo>
                    <a:lnTo>
                      <a:pt x="476" y="306"/>
                    </a:lnTo>
                    <a:lnTo>
                      <a:pt x="478" y="306"/>
                    </a:lnTo>
                    <a:lnTo>
                      <a:pt x="480" y="306"/>
                    </a:lnTo>
                    <a:lnTo>
                      <a:pt x="480" y="308"/>
                    </a:lnTo>
                    <a:lnTo>
                      <a:pt x="480" y="310"/>
                    </a:lnTo>
                    <a:lnTo>
                      <a:pt x="482" y="310"/>
                    </a:lnTo>
                    <a:lnTo>
                      <a:pt x="482" y="312"/>
                    </a:lnTo>
                    <a:lnTo>
                      <a:pt x="484" y="312"/>
                    </a:lnTo>
                    <a:lnTo>
                      <a:pt x="486" y="312"/>
                    </a:lnTo>
                    <a:lnTo>
                      <a:pt x="488" y="312"/>
                    </a:lnTo>
                    <a:lnTo>
                      <a:pt x="490" y="312"/>
                    </a:lnTo>
                    <a:lnTo>
                      <a:pt x="488" y="312"/>
                    </a:lnTo>
                    <a:lnTo>
                      <a:pt x="490" y="312"/>
                    </a:lnTo>
                    <a:lnTo>
                      <a:pt x="490" y="310"/>
                    </a:lnTo>
                    <a:lnTo>
                      <a:pt x="492" y="310"/>
                    </a:lnTo>
                    <a:lnTo>
                      <a:pt x="492" y="308"/>
                    </a:lnTo>
                    <a:lnTo>
                      <a:pt x="493" y="306"/>
                    </a:lnTo>
                    <a:lnTo>
                      <a:pt x="493" y="304"/>
                    </a:lnTo>
                    <a:lnTo>
                      <a:pt x="492" y="304"/>
                    </a:lnTo>
                    <a:lnTo>
                      <a:pt x="490" y="302"/>
                    </a:lnTo>
                    <a:lnTo>
                      <a:pt x="490" y="300"/>
                    </a:lnTo>
                    <a:lnTo>
                      <a:pt x="488" y="300"/>
                    </a:lnTo>
                    <a:lnTo>
                      <a:pt x="488" y="298"/>
                    </a:lnTo>
                    <a:lnTo>
                      <a:pt x="486" y="298"/>
                    </a:lnTo>
                    <a:lnTo>
                      <a:pt x="486" y="296"/>
                    </a:lnTo>
                    <a:lnTo>
                      <a:pt x="488" y="298"/>
                    </a:lnTo>
                    <a:lnTo>
                      <a:pt x="490" y="298"/>
                    </a:lnTo>
                    <a:lnTo>
                      <a:pt x="490" y="300"/>
                    </a:lnTo>
                    <a:lnTo>
                      <a:pt x="492" y="300"/>
                    </a:lnTo>
                    <a:lnTo>
                      <a:pt x="493" y="302"/>
                    </a:lnTo>
                    <a:lnTo>
                      <a:pt x="495" y="302"/>
                    </a:lnTo>
                    <a:lnTo>
                      <a:pt x="493" y="304"/>
                    </a:lnTo>
                    <a:lnTo>
                      <a:pt x="495" y="304"/>
                    </a:lnTo>
                    <a:lnTo>
                      <a:pt x="495" y="306"/>
                    </a:lnTo>
                    <a:lnTo>
                      <a:pt x="497" y="306"/>
                    </a:lnTo>
                    <a:lnTo>
                      <a:pt x="499" y="306"/>
                    </a:lnTo>
                    <a:lnTo>
                      <a:pt x="499" y="308"/>
                    </a:lnTo>
                    <a:lnTo>
                      <a:pt x="501" y="308"/>
                    </a:lnTo>
                    <a:lnTo>
                      <a:pt x="499" y="308"/>
                    </a:lnTo>
                    <a:lnTo>
                      <a:pt x="497" y="308"/>
                    </a:lnTo>
                    <a:lnTo>
                      <a:pt x="495" y="308"/>
                    </a:lnTo>
                    <a:lnTo>
                      <a:pt x="495" y="310"/>
                    </a:lnTo>
                    <a:lnTo>
                      <a:pt x="493" y="310"/>
                    </a:lnTo>
                    <a:lnTo>
                      <a:pt x="493" y="312"/>
                    </a:lnTo>
                    <a:lnTo>
                      <a:pt x="492" y="312"/>
                    </a:lnTo>
                    <a:lnTo>
                      <a:pt x="490" y="312"/>
                    </a:lnTo>
                    <a:lnTo>
                      <a:pt x="490" y="314"/>
                    </a:lnTo>
                    <a:lnTo>
                      <a:pt x="488" y="314"/>
                    </a:lnTo>
                    <a:lnTo>
                      <a:pt x="490" y="314"/>
                    </a:lnTo>
                    <a:lnTo>
                      <a:pt x="488" y="314"/>
                    </a:lnTo>
                    <a:lnTo>
                      <a:pt x="488" y="316"/>
                    </a:lnTo>
                    <a:lnTo>
                      <a:pt x="488" y="318"/>
                    </a:lnTo>
                    <a:lnTo>
                      <a:pt x="490" y="318"/>
                    </a:lnTo>
                    <a:lnTo>
                      <a:pt x="490" y="320"/>
                    </a:lnTo>
                    <a:lnTo>
                      <a:pt x="492" y="320"/>
                    </a:lnTo>
                    <a:lnTo>
                      <a:pt x="492" y="318"/>
                    </a:lnTo>
                    <a:lnTo>
                      <a:pt x="493" y="318"/>
                    </a:lnTo>
                    <a:lnTo>
                      <a:pt x="495" y="318"/>
                    </a:lnTo>
                    <a:lnTo>
                      <a:pt x="495" y="316"/>
                    </a:lnTo>
                    <a:lnTo>
                      <a:pt x="497" y="318"/>
                    </a:lnTo>
                    <a:lnTo>
                      <a:pt x="499" y="318"/>
                    </a:lnTo>
                    <a:lnTo>
                      <a:pt x="499" y="320"/>
                    </a:lnTo>
                    <a:lnTo>
                      <a:pt x="499" y="321"/>
                    </a:lnTo>
                    <a:lnTo>
                      <a:pt x="501" y="321"/>
                    </a:lnTo>
                    <a:lnTo>
                      <a:pt x="499" y="321"/>
                    </a:lnTo>
                    <a:lnTo>
                      <a:pt x="499" y="323"/>
                    </a:lnTo>
                    <a:lnTo>
                      <a:pt x="501" y="323"/>
                    </a:lnTo>
                    <a:lnTo>
                      <a:pt x="499" y="323"/>
                    </a:lnTo>
                    <a:lnTo>
                      <a:pt x="501" y="323"/>
                    </a:lnTo>
                    <a:lnTo>
                      <a:pt x="503" y="323"/>
                    </a:lnTo>
                    <a:lnTo>
                      <a:pt x="503" y="325"/>
                    </a:lnTo>
                    <a:lnTo>
                      <a:pt x="503" y="327"/>
                    </a:lnTo>
                    <a:lnTo>
                      <a:pt x="505" y="327"/>
                    </a:lnTo>
                    <a:lnTo>
                      <a:pt x="505" y="329"/>
                    </a:lnTo>
                    <a:lnTo>
                      <a:pt x="507" y="329"/>
                    </a:lnTo>
                    <a:lnTo>
                      <a:pt x="507" y="331"/>
                    </a:lnTo>
                    <a:lnTo>
                      <a:pt x="507" y="333"/>
                    </a:lnTo>
                    <a:lnTo>
                      <a:pt x="509" y="333"/>
                    </a:lnTo>
                    <a:lnTo>
                      <a:pt x="509" y="331"/>
                    </a:lnTo>
                    <a:lnTo>
                      <a:pt x="511" y="331"/>
                    </a:lnTo>
                    <a:lnTo>
                      <a:pt x="513" y="331"/>
                    </a:lnTo>
                    <a:lnTo>
                      <a:pt x="511" y="331"/>
                    </a:lnTo>
                    <a:lnTo>
                      <a:pt x="513" y="331"/>
                    </a:lnTo>
                    <a:lnTo>
                      <a:pt x="515" y="333"/>
                    </a:lnTo>
                    <a:lnTo>
                      <a:pt x="516" y="335"/>
                    </a:lnTo>
                    <a:lnTo>
                      <a:pt x="516" y="337"/>
                    </a:lnTo>
                    <a:lnTo>
                      <a:pt x="518" y="337"/>
                    </a:lnTo>
                    <a:lnTo>
                      <a:pt x="518" y="339"/>
                    </a:lnTo>
                    <a:lnTo>
                      <a:pt x="518" y="337"/>
                    </a:lnTo>
                    <a:lnTo>
                      <a:pt x="516" y="337"/>
                    </a:lnTo>
                    <a:lnTo>
                      <a:pt x="518" y="339"/>
                    </a:lnTo>
                    <a:lnTo>
                      <a:pt x="516" y="339"/>
                    </a:lnTo>
                    <a:lnTo>
                      <a:pt x="518" y="339"/>
                    </a:lnTo>
                    <a:lnTo>
                      <a:pt x="518" y="341"/>
                    </a:lnTo>
                    <a:lnTo>
                      <a:pt x="516" y="341"/>
                    </a:lnTo>
                    <a:lnTo>
                      <a:pt x="518" y="341"/>
                    </a:lnTo>
                    <a:lnTo>
                      <a:pt x="520" y="341"/>
                    </a:lnTo>
                    <a:lnTo>
                      <a:pt x="520" y="339"/>
                    </a:lnTo>
                    <a:lnTo>
                      <a:pt x="520" y="341"/>
                    </a:lnTo>
                    <a:lnTo>
                      <a:pt x="522" y="341"/>
                    </a:lnTo>
                    <a:lnTo>
                      <a:pt x="522" y="343"/>
                    </a:lnTo>
                    <a:lnTo>
                      <a:pt x="522" y="341"/>
                    </a:lnTo>
                    <a:lnTo>
                      <a:pt x="522" y="343"/>
                    </a:lnTo>
                    <a:lnTo>
                      <a:pt x="522" y="341"/>
                    </a:lnTo>
                    <a:lnTo>
                      <a:pt x="520" y="339"/>
                    </a:lnTo>
                    <a:lnTo>
                      <a:pt x="522" y="339"/>
                    </a:lnTo>
                    <a:lnTo>
                      <a:pt x="522" y="341"/>
                    </a:lnTo>
                    <a:lnTo>
                      <a:pt x="522" y="339"/>
                    </a:lnTo>
                    <a:lnTo>
                      <a:pt x="522" y="341"/>
                    </a:lnTo>
                    <a:lnTo>
                      <a:pt x="522" y="339"/>
                    </a:lnTo>
                    <a:lnTo>
                      <a:pt x="522" y="341"/>
                    </a:lnTo>
                    <a:lnTo>
                      <a:pt x="524" y="341"/>
                    </a:lnTo>
                    <a:lnTo>
                      <a:pt x="524" y="343"/>
                    </a:lnTo>
                    <a:lnTo>
                      <a:pt x="522" y="343"/>
                    </a:lnTo>
                    <a:lnTo>
                      <a:pt x="522" y="345"/>
                    </a:lnTo>
                    <a:lnTo>
                      <a:pt x="522" y="346"/>
                    </a:lnTo>
                    <a:lnTo>
                      <a:pt x="522" y="348"/>
                    </a:lnTo>
                    <a:lnTo>
                      <a:pt x="520" y="348"/>
                    </a:lnTo>
                    <a:lnTo>
                      <a:pt x="520" y="350"/>
                    </a:lnTo>
                    <a:lnTo>
                      <a:pt x="520" y="352"/>
                    </a:lnTo>
                    <a:lnTo>
                      <a:pt x="520" y="354"/>
                    </a:lnTo>
                    <a:lnTo>
                      <a:pt x="520" y="356"/>
                    </a:lnTo>
                    <a:lnTo>
                      <a:pt x="520" y="354"/>
                    </a:lnTo>
                    <a:lnTo>
                      <a:pt x="520" y="356"/>
                    </a:lnTo>
                    <a:lnTo>
                      <a:pt x="520" y="358"/>
                    </a:lnTo>
                    <a:lnTo>
                      <a:pt x="520" y="360"/>
                    </a:lnTo>
                    <a:lnTo>
                      <a:pt x="520" y="358"/>
                    </a:lnTo>
                    <a:lnTo>
                      <a:pt x="520" y="360"/>
                    </a:lnTo>
                    <a:lnTo>
                      <a:pt x="520" y="362"/>
                    </a:lnTo>
                    <a:lnTo>
                      <a:pt x="520" y="360"/>
                    </a:lnTo>
                    <a:lnTo>
                      <a:pt x="520" y="358"/>
                    </a:lnTo>
                    <a:lnTo>
                      <a:pt x="520" y="356"/>
                    </a:lnTo>
                    <a:lnTo>
                      <a:pt x="520" y="354"/>
                    </a:lnTo>
                    <a:lnTo>
                      <a:pt x="520" y="352"/>
                    </a:lnTo>
                    <a:lnTo>
                      <a:pt x="520" y="350"/>
                    </a:lnTo>
                    <a:lnTo>
                      <a:pt x="522" y="350"/>
                    </a:lnTo>
                    <a:lnTo>
                      <a:pt x="520" y="350"/>
                    </a:lnTo>
                    <a:lnTo>
                      <a:pt x="522" y="350"/>
                    </a:lnTo>
                    <a:lnTo>
                      <a:pt x="520" y="350"/>
                    </a:lnTo>
                    <a:lnTo>
                      <a:pt x="520" y="348"/>
                    </a:lnTo>
                    <a:lnTo>
                      <a:pt x="522" y="350"/>
                    </a:lnTo>
                    <a:lnTo>
                      <a:pt x="522" y="348"/>
                    </a:lnTo>
                    <a:lnTo>
                      <a:pt x="520" y="348"/>
                    </a:lnTo>
                    <a:lnTo>
                      <a:pt x="522" y="348"/>
                    </a:lnTo>
                    <a:lnTo>
                      <a:pt x="522" y="346"/>
                    </a:lnTo>
                    <a:lnTo>
                      <a:pt x="522" y="348"/>
                    </a:lnTo>
                    <a:lnTo>
                      <a:pt x="522" y="346"/>
                    </a:lnTo>
                    <a:lnTo>
                      <a:pt x="522" y="345"/>
                    </a:lnTo>
                    <a:lnTo>
                      <a:pt x="522" y="343"/>
                    </a:lnTo>
                    <a:lnTo>
                      <a:pt x="524" y="343"/>
                    </a:lnTo>
                    <a:lnTo>
                      <a:pt x="524" y="341"/>
                    </a:lnTo>
                    <a:lnTo>
                      <a:pt x="524" y="343"/>
                    </a:lnTo>
                    <a:lnTo>
                      <a:pt x="524" y="341"/>
                    </a:lnTo>
                    <a:lnTo>
                      <a:pt x="524" y="339"/>
                    </a:lnTo>
                    <a:lnTo>
                      <a:pt x="526" y="339"/>
                    </a:lnTo>
                    <a:lnTo>
                      <a:pt x="526" y="337"/>
                    </a:lnTo>
                    <a:lnTo>
                      <a:pt x="526" y="339"/>
                    </a:lnTo>
                    <a:lnTo>
                      <a:pt x="528" y="339"/>
                    </a:lnTo>
                    <a:lnTo>
                      <a:pt x="528" y="341"/>
                    </a:lnTo>
                    <a:lnTo>
                      <a:pt x="530" y="341"/>
                    </a:lnTo>
                    <a:lnTo>
                      <a:pt x="530" y="343"/>
                    </a:lnTo>
                    <a:lnTo>
                      <a:pt x="532" y="343"/>
                    </a:lnTo>
                    <a:lnTo>
                      <a:pt x="532" y="345"/>
                    </a:lnTo>
                    <a:lnTo>
                      <a:pt x="534" y="345"/>
                    </a:lnTo>
                    <a:lnTo>
                      <a:pt x="536" y="345"/>
                    </a:lnTo>
                    <a:lnTo>
                      <a:pt x="538" y="345"/>
                    </a:lnTo>
                    <a:lnTo>
                      <a:pt x="538" y="343"/>
                    </a:lnTo>
                    <a:lnTo>
                      <a:pt x="540" y="345"/>
                    </a:lnTo>
                    <a:lnTo>
                      <a:pt x="541" y="345"/>
                    </a:lnTo>
                    <a:lnTo>
                      <a:pt x="543" y="345"/>
                    </a:lnTo>
                    <a:lnTo>
                      <a:pt x="541" y="345"/>
                    </a:lnTo>
                    <a:lnTo>
                      <a:pt x="543" y="345"/>
                    </a:lnTo>
                    <a:lnTo>
                      <a:pt x="543" y="343"/>
                    </a:lnTo>
                    <a:lnTo>
                      <a:pt x="545" y="343"/>
                    </a:lnTo>
                    <a:lnTo>
                      <a:pt x="545" y="341"/>
                    </a:lnTo>
                    <a:lnTo>
                      <a:pt x="543" y="341"/>
                    </a:lnTo>
                    <a:lnTo>
                      <a:pt x="543" y="339"/>
                    </a:lnTo>
                    <a:lnTo>
                      <a:pt x="543" y="337"/>
                    </a:lnTo>
                    <a:lnTo>
                      <a:pt x="543" y="339"/>
                    </a:lnTo>
                    <a:lnTo>
                      <a:pt x="545" y="339"/>
                    </a:lnTo>
                    <a:lnTo>
                      <a:pt x="545" y="341"/>
                    </a:lnTo>
                    <a:lnTo>
                      <a:pt x="545" y="343"/>
                    </a:lnTo>
                    <a:lnTo>
                      <a:pt x="547" y="343"/>
                    </a:lnTo>
                    <a:lnTo>
                      <a:pt x="547" y="345"/>
                    </a:lnTo>
                    <a:lnTo>
                      <a:pt x="549" y="345"/>
                    </a:lnTo>
                    <a:lnTo>
                      <a:pt x="549" y="346"/>
                    </a:lnTo>
                    <a:lnTo>
                      <a:pt x="549" y="348"/>
                    </a:lnTo>
                    <a:lnTo>
                      <a:pt x="551" y="348"/>
                    </a:lnTo>
                    <a:lnTo>
                      <a:pt x="553" y="348"/>
                    </a:lnTo>
                    <a:lnTo>
                      <a:pt x="555" y="348"/>
                    </a:lnTo>
                    <a:lnTo>
                      <a:pt x="553" y="348"/>
                    </a:lnTo>
                    <a:lnTo>
                      <a:pt x="555" y="348"/>
                    </a:lnTo>
                    <a:lnTo>
                      <a:pt x="557" y="348"/>
                    </a:lnTo>
                    <a:lnTo>
                      <a:pt x="557" y="346"/>
                    </a:lnTo>
                    <a:lnTo>
                      <a:pt x="559" y="346"/>
                    </a:lnTo>
                    <a:lnTo>
                      <a:pt x="559" y="345"/>
                    </a:lnTo>
                    <a:lnTo>
                      <a:pt x="561" y="345"/>
                    </a:lnTo>
                    <a:lnTo>
                      <a:pt x="561" y="346"/>
                    </a:lnTo>
                    <a:lnTo>
                      <a:pt x="559" y="346"/>
                    </a:lnTo>
                    <a:lnTo>
                      <a:pt x="559" y="348"/>
                    </a:lnTo>
                    <a:lnTo>
                      <a:pt x="561" y="348"/>
                    </a:lnTo>
                    <a:lnTo>
                      <a:pt x="559" y="348"/>
                    </a:lnTo>
                    <a:lnTo>
                      <a:pt x="561" y="346"/>
                    </a:lnTo>
                    <a:lnTo>
                      <a:pt x="559" y="346"/>
                    </a:lnTo>
                    <a:lnTo>
                      <a:pt x="561" y="346"/>
                    </a:lnTo>
                    <a:lnTo>
                      <a:pt x="561" y="348"/>
                    </a:lnTo>
                    <a:lnTo>
                      <a:pt x="561" y="346"/>
                    </a:lnTo>
                    <a:lnTo>
                      <a:pt x="563" y="346"/>
                    </a:lnTo>
                    <a:lnTo>
                      <a:pt x="563" y="345"/>
                    </a:lnTo>
                    <a:lnTo>
                      <a:pt x="563" y="346"/>
                    </a:lnTo>
                    <a:lnTo>
                      <a:pt x="561" y="346"/>
                    </a:lnTo>
                    <a:lnTo>
                      <a:pt x="561" y="345"/>
                    </a:lnTo>
                    <a:lnTo>
                      <a:pt x="559" y="345"/>
                    </a:lnTo>
                    <a:lnTo>
                      <a:pt x="559" y="343"/>
                    </a:lnTo>
                    <a:lnTo>
                      <a:pt x="561" y="343"/>
                    </a:lnTo>
                    <a:lnTo>
                      <a:pt x="561" y="341"/>
                    </a:lnTo>
                    <a:lnTo>
                      <a:pt x="561" y="339"/>
                    </a:lnTo>
                    <a:lnTo>
                      <a:pt x="563" y="339"/>
                    </a:lnTo>
                    <a:lnTo>
                      <a:pt x="565" y="339"/>
                    </a:lnTo>
                    <a:lnTo>
                      <a:pt x="563" y="339"/>
                    </a:lnTo>
                    <a:lnTo>
                      <a:pt x="565" y="339"/>
                    </a:lnTo>
                    <a:lnTo>
                      <a:pt x="563" y="339"/>
                    </a:lnTo>
                    <a:lnTo>
                      <a:pt x="565" y="339"/>
                    </a:lnTo>
                    <a:lnTo>
                      <a:pt x="563" y="339"/>
                    </a:lnTo>
                    <a:lnTo>
                      <a:pt x="561" y="339"/>
                    </a:lnTo>
                    <a:lnTo>
                      <a:pt x="561" y="341"/>
                    </a:lnTo>
                    <a:lnTo>
                      <a:pt x="561" y="339"/>
                    </a:lnTo>
                    <a:lnTo>
                      <a:pt x="561" y="337"/>
                    </a:lnTo>
                    <a:lnTo>
                      <a:pt x="563" y="337"/>
                    </a:lnTo>
                    <a:lnTo>
                      <a:pt x="561" y="337"/>
                    </a:lnTo>
                    <a:lnTo>
                      <a:pt x="563" y="337"/>
                    </a:lnTo>
                    <a:lnTo>
                      <a:pt x="561" y="337"/>
                    </a:lnTo>
                    <a:lnTo>
                      <a:pt x="563" y="337"/>
                    </a:lnTo>
                    <a:lnTo>
                      <a:pt x="563" y="335"/>
                    </a:lnTo>
                    <a:lnTo>
                      <a:pt x="563" y="337"/>
                    </a:lnTo>
                    <a:lnTo>
                      <a:pt x="563" y="335"/>
                    </a:lnTo>
                    <a:lnTo>
                      <a:pt x="563" y="333"/>
                    </a:lnTo>
                    <a:lnTo>
                      <a:pt x="563" y="331"/>
                    </a:lnTo>
                    <a:lnTo>
                      <a:pt x="563" y="333"/>
                    </a:lnTo>
                    <a:lnTo>
                      <a:pt x="563" y="331"/>
                    </a:lnTo>
                    <a:lnTo>
                      <a:pt x="563" y="329"/>
                    </a:lnTo>
                    <a:lnTo>
                      <a:pt x="563" y="327"/>
                    </a:lnTo>
                    <a:lnTo>
                      <a:pt x="563" y="325"/>
                    </a:lnTo>
                    <a:lnTo>
                      <a:pt x="563" y="323"/>
                    </a:lnTo>
                    <a:lnTo>
                      <a:pt x="561" y="323"/>
                    </a:lnTo>
                    <a:lnTo>
                      <a:pt x="561" y="321"/>
                    </a:lnTo>
                    <a:lnTo>
                      <a:pt x="563" y="321"/>
                    </a:lnTo>
                    <a:lnTo>
                      <a:pt x="561" y="321"/>
                    </a:lnTo>
                    <a:lnTo>
                      <a:pt x="561" y="320"/>
                    </a:lnTo>
                    <a:lnTo>
                      <a:pt x="563" y="320"/>
                    </a:lnTo>
                    <a:lnTo>
                      <a:pt x="563" y="321"/>
                    </a:lnTo>
                    <a:lnTo>
                      <a:pt x="563" y="320"/>
                    </a:lnTo>
                    <a:lnTo>
                      <a:pt x="565" y="320"/>
                    </a:lnTo>
                    <a:lnTo>
                      <a:pt x="566" y="320"/>
                    </a:lnTo>
                    <a:lnTo>
                      <a:pt x="566" y="321"/>
                    </a:lnTo>
                    <a:lnTo>
                      <a:pt x="568" y="321"/>
                    </a:lnTo>
                    <a:lnTo>
                      <a:pt x="568" y="320"/>
                    </a:lnTo>
                    <a:lnTo>
                      <a:pt x="568" y="318"/>
                    </a:lnTo>
                    <a:lnTo>
                      <a:pt x="570" y="318"/>
                    </a:lnTo>
                    <a:lnTo>
                      <a:pt x="572" y="318"/>
                    </a:lnTo>
                    <a:lnTo>
                      <a:pt x="574" y="318"/>
                    </a:lnTo>
                    <a:lnTo>
                      <a:pt x="572" y="318"/>
                    </a:lnTo>
                    <a:lnTo>
                      <a:pt x="572" y="316"/>
                    </a:lnTo>
                    <a:lnTo>
                      <a:pt x="572" y="318"/>
                    </a:lnTo>
                    <a:lnTo>
                      <a:pt x="570" y="318"/>
                    </a:lnTo>
                    <a:lnTo>
                      <a:pt x="568" y="318"/>
                    </a:lnTo>
                    <a:lnTo>
                      <a:pt x="566" y="318"/>
                    </a:lnTo>
                    <a:lnTo>
                      <a:pt x="568" y="318"/>
                    </a:lnTo>
                    <a:lnTo>
                      <a:pt x="568" y="316"/>
                    </a:lnTo>
                    <a:lnTo>
                      <a:pt x="566" y="316"/>
                    </a:lnTo>
                    <a:lnTo>
                      <a:pt x="566" y="318"/>
                    </a:lnTo>
                    <a:lnTo>
                      <a:pt x="565" y="318"/>
                    </a:lnTo>
                    <a:lnTo>
                      <a:pt x="563" y="318"/>
                    </a:lnTo>
                    <a:lnTo>
                      <a:pt x="561" y="318"/>
                    </a:lnTo>
                    <a:lnTo>
                      <a:pt x="561" y="320"/>
                    </a:lnTo>
                    <a:lnTo>
                      <a:pt x="561" y="318"/>
                    </a:lnTo>
                    <a:lnTo>
                      <a:pt x="561" y="316"/>
                    </a:lnTo>
                    <a:lnTo>
                      <a:pt x="563" y="316"/>
                    </a:lnTo>
                    <a:lnTo>
                      <a:pt x="563" y="314"/>
                    </a:lnTo>
                    <a:lnTo>
                      <a:pt x="565" y="314"/>
                    </a:lnTo>
                    <a:lnTo>
                      <a:pt x="563" y="314"/>
                    </a:lnTo>
                    <a:lnTo>
                      <a:pt x="563" y="316"/>
                    </a:lnTo>
                    <a:lnTo>
                      <a:pt x="563" y="314"/>
                    </a:lnTo>
                    <a:lnTo>
                      <a:pt x="565" y="314"/>
                    </a:lnTo>
                    <a:lnTo>
                      <a:pt x="566" y="314"/>
                    </a:lnTo>
                    <a:lnTo>
                      <a:pt x="568" y="314"/>
                    </a:lnTo>
                    <a:lnTo>
                      <a:pt x="570" y="314"/>
                    </a:lnTo>
                    <a:lnTo>
                      <a:pt x="572" y="314"/>
                    </a:lnTo>
                    <a:lnTo>
                      <a:pt x="574" y="314"/>
                    </a:lnTo>
                    <a:lnTo>
                      <a:pt x="574" y="316"/>
                    </a:lnTo>
                    <a:lnTo>
                      <a:pt x="576" y="314"/>
                    </a:lnTo>
                    <a:lnTo>
                      <a:pt x="576" y="316"/>
                    </a:lnTo>
                    <a:lnTo>
                      <a:pt x="574" y="316"/>
                    </a:lnTo>
                    <a:lnTo>
                      <a:pt x="576" y="316"/>
                    </a:lnTo>
                    <a:lnTo>
                      <a:pt x="578" y="316"/>
                    </a:lnTo>
                    <a:lnTo>
                      <a:pt x="580" y="316"/>
                    </a:lnTo>
                    <a:lnTo>
                      <a:pt x="582" y="318"/>
                    </a:lnTo>
                    <a:lnTo>
                      <a:pt x="584" y="318"/>
                    </a:lnTo>
                    <a:lnTo>
                      <a:pt x="582" y="320"/>
                    </a:lnTo>
                    <a:lnTo>
                      <a:pt x="584" y="320"/>
                    </a:lnTo>
                    <a:lnTo>
                      <a:pt x="586" y="320"/>
                    </a:lnTo>
                    <a:lnTo>
                      <a:pt x="584" y="321"/>
                    </a:lnTo>
                    <a:lnTo>
                      <a:pt x="586" y="321"/>
                    </a:lnTo>
                    <a:lnTo>
                      <a:pt x="588" y="321"/>
                    </a:lnTo>
                    <a:lnTo>
                      <a:pt x="588" y="320"/>
                    </a:lnTo>
                    <a:lnTo>
                      <a:pt x="588" y="321"/>
                    </a:lnTo>
                    <a:lnTo>
                      <a:pt x="589" y="321"/>
                    </a:lnTo>
                    <a:lnTo>
                      <a:pt x="589" y="320"/>
                    </a:lnTo>
                    <a:lnTo>
                      <a:pt x="589" y="321"/>
                    </a:lnTo>
                    <a:lnTo>
                      <a:pt x="589" y="323"/>
                    </a:lnTo>
                    <a:lnTo>
                      <a:pt x="591" y="323"/>
                    </a:lnTo>
                    <a:lnTo>
                      <a:pt x="591" y="321"/>
                    </a:lnTo>
                    <a:lnTo>
                      <a:pt x="593" y="321"/>
                    </a:lnTo>
                    <a:lnTo>
                      <a:pt x="595" y="321"/>
                    </a:lnTo>
                    <a:lnTo>
                      <a:pt x="593" y="321"/>
                    </a:lnTo>
                    <a:lnTo>
                      <a:pt x="593" y="323"/>
                    </a:lnTo>
                    <a:lnTo>
                      <a:pt x="595" y="323"/>
                    </a:lnTo>
                    <a:lnTo>
                      <a:pt x="595" y="321"/>
                    </a:lnTo>
                    <a:lnTo>
                      <a:pt x="597" y="321"/>
                    </a:lnTo>
                    <a:lnTo>
                      <a:pt x="597" y="323"/>
                    </a:lnTo>
                    <a:lnTo>
                      <a:pt x="599" y="323"/>
                    </a:lnTo>
                    <a:lnTo>
                      <a:pt x="599" y="325"/>
                    </a:lnTo>
                    <a:lnTo>
                      <a:pt x="601" y="323"/>
                    </a:lnTo>
                    <a:lnTo>
                      <a:pt x="599" y="323"/>
                    </a:lnTo>
                    <a:lnTo>
                      <a:pt x="599" y="321"/>
                    </a:lnTo>
                    <a:lnTo>
                      <a:pt x="601" y="321"/>
                    </a:lnTo>
                    <a:lnTo>
                      <a:pt x="603" y="321"/>
                    </a:lnTo>
                    <a:lnTo>
                      <a:pt x="603" y="323"/>
                    </a:lnTo>
                    <a:lnTo>
                      <a:pt x="603" y="325"/>
                    </a:lnTo>
                    <a:lnTo>
                      <a:pt x="605" y="325"/>
                    </a:lnTo>
                    <a:lnTo>
                      <a:pt x="605" y="327"/>
                    </a:lnTo>
                    <a:lnTo>
                      <a:pt x="603" y="329"/>
                    </a:lnTo>
                    <a:lnTo>
                      <a:pt x="605" y="329"/>
                    </a:lnTo>
                    <a:lnTo>
                      <a:pt x="605" y="331"/>
                    </a:lnTo>
                    <a:lnTo>
                      <a:pt x="607" y="331"/>
                    </a:lnTo>
                    <a:lnTo>
                      <a:pt x="605" y="333"/>
                    </a:lnTo>
                    <a:lnTo>
                      <a:pt x="607" y="333"/>
                    </a:lnTo>
                    <a:lnTo>
                      <a:pt x="607" y="335"/>
                    </a:lnTo>
                    <a:lnTo>
                      <a:pt x="605" y="335"/>
                    </a:lnTo>
                    <a:lnTo>
                      <a:pt x="603" y="335"/>
                    </a:lnTo>
                    <a:lnTo>
                      <a:pt x="603" y="337"/>
                    </a:lnTo>
                    <a:lnTo>
                      <a:pt x="601" y="339"/>
                    </a:lnTo>
                    <a:lnTo>
                      <a:pt x="603" y="339"/>
                    </a:lnTo>
                    <a:lnTo>
                      <a:pt x="603" y="341"/>
                    </a:lnTo>
                    <a:lnTo>
                      <a:pt x="603" y="343"/>
                    </a:lnTo>
                    <a:lnTo>
                      <a:pt x="601" y="343"/>
                    </a:lnTo>
                    <a:lnTo>
                      <a:pt x="603" y="345"/>
                    </a:lnTo>
                    <a:lnTo>
                      <a:pt x="601" y="345"/>
                    </a:lnTo>
                    <a:lnTo>
                      <a:pt x="601" y="346"/>
                    </a:lnTo>
                    <a:lnTo>
                      <a:pt x="601" y="345"/>
                    </a:lnTo>
                    <a:lnTo>
                      <a:pt x="601" y="346"/>
                    </a:lnTo>
                    <a:lnTo>
                      <a:pt x="599" y="346"/>
                    </a:lnTo>
                    <a:lnTo>
                      <a:pt x="601" y="346"/>
                    </a:lnTo>
                    <a:lnTo>
                      <a:pt x="599" y="346"/>
                    </a:lnTo>
                    <a:lnTo>
                      <a:pt x="599" y="348"/>
                    </a:lnTo>
                    <a:lnTo>
                      <a:pt x="599" y="346"/>
                    </a:lnTo>
                    <a:lnTo>
                      <a:pt x="599" y="348"/>
                    </a:lnTo>
                    <a:lnTo>
                      <a:pt x="599" y="346"/>
                    </a:lnTo>
                    <a:lnTo>
                      <a:pt x="601" y="346"/>
                    </a:lnTo>
                    <a:lnTo>
                      <a:pt x="601" y="348"/>
                    </a:lnTo>
                    <a:lnTo>
                      <a:pt x="601" y="350"/>
                    </a:lnTo>
                    <a:lnTo>
                      <a:pt x="601" y="348"/>
                    </a:lnTo>
                    <a:lnTo>
                      <a:pt x="601" y="350"/>
                    </a:lnTo>
                    <a:lnTo>
                      <a:pt x="603" y="350"/>
                    </a:lnTo>
                    <a:lnTo>
                      <a:pt x="601" y="350"/>
                    </a:lnTo>
                    <a:lnTo>
                      <a:pt x="603" y="350"/>
                    </a:lnTo>
                    <a:lnTo>
                      <a:pt x="601" y="352"/>
                    </a:lnTo>
                    <a:lnTo>
                      <a:pt x="603" y="352"/>
                    </a:lnTo>
                    <a:lnTo>
                      <a:pt x="603" y="354"/>
                    </a:lnTo>
                    <a:lnTo>
                      <a:pt x="605" y="354"/>
                    </a:lnTo>
                    <a:lnTo>
                      <a:pt x="603" y="354"/>
                    </a:lnTo>
                    <a:lnTo>
                      <a:pt x="605" y="354"/>
                    </a:lnTo>
                    <a:lnTo>
                      <a:pt x="603" y="354"/>
                    </a:lnTo>
                    <a:lnTo>
                      <a:pt x="603" y="356"/>
                    </a:lnTo>
                    <a:lnTo>
                      <a:pt x="605" y="356"/>
                    </a:lnTo>
                    <a:lnTo>
                      <a:pt x="603" y="356"/>
                    </a:lnTo>
                    <a:lnTo>
                      <a:pt x="603" y="358"/>
                    </a:lnTo>
                    <a:lnTo>
                      <a:pt x="605" y="356"/>
                    </a:lnTo>
                    <a:lnTo>
                      <a:pt x="605" y="358"/>
                    </a:lnTo>
                    <a:lnTo>
                      <a:pt x="603" y="358"/>
                    </a:lnTo>
                    <a:lnTo>
                      <a:pt x="603" y="360"/>
                    </a:lnTo>
                    <a:lnTo>
                      <a:pt x="605" y="360"/>
                    </a:lnTo>
                    <a:lnTo>
                      <a:pt x="603" y="360"/>
                    </a:lnTo>
                    <a:lnTo>
                      <a:pt x="605" y="360"/>
                    </a:lnTo>
                    <a:lnTo>
                      <a:pt x="605" y="362"/>
                    </a:lnTo>
                    <a:lnTo>
                      <a:pt x="605" y="364"/>
                    </a:lnTo>
                    <a:lnTo>
                      <a:pt x="605" y="366"/>
                    </a:lnTo>
                    <a:lnTo>
                      <a:pt x="605" y="368"/>
                    </a:lnTo>
                    <a:lnTo>
                      <a:pt x="605" y="366"/>
                    </a:lnTo>
                    <a:lnTo>
                      <a:pt x="603" y="366"/>
                    </a:lnTo>
                    <a:lnTo>
                      <a:pt x="605" y="366"/>
                    </a:lnTo>
                    <a:lnTo>
                      <a:pt x="603" y="366"/>
                    </a:lnTo>
                    <a:lnTo>
                      <a:pt x="605" y="366"/>
                    </a:lnTo>
                    <a:lnTo>
                      <a:pt x="603" y="368"/>
                    </a:lnTo>
                    <a:lnTo>
                      <a:pt x="605" y="368"/>
                    </a:lnTo>
                    <a:lnTo>
                      <a:pt x="603" y="368"/>
                    </a:lnTo>
                    <a:lnTo>
                      <a:pt x="603" y="370"/>
                    </a:lnTo>
                    <a:lnTo>
                      <a:pt x="601" y="370"/>
                    </a:lnTo>
                    <a:lnTo>
                      <a:pt x="601" y="371"/>
                    </a:lnTo>
                    <a:lnTo>
                      <a:pt x="601" y="373"/>
                    </a:lnTo>
                    <a:lnTo>
                      <a:pt x="601" y="375"/>
                    </a:lnTo>
                    <a:lnTo>
                      <a:pt x="601" y="377"/>
                    </a:lnTo>
                    <a:lnTo>
                      <a:pt x="601" y="379"/>
                    </a:lnTo>
                    <a:lnTo>
                      <a:pt x="601" y="381"/>
                    </a:lnTo>
                    <a:lnTo>
                      <a:pt x="603" y="381"/>
                    </a:lnTo>
                    <a:lnTo>
                      <a:pt x="603" y="383"/>
                    </a:lnTo>
                    <a:lnTo>
                      <a:pt x="603" y="385"/>
                    </a:lnTo>
                    <a:lnTo>
                      <a:pt x="603" y="387"/>
                    </a:lnTo>
                    <a:lnTo>
                      <a:pt x="603" y="389"/>
                    </a:lnTo>
                    <a:lnTo>
                      <a:pt x="603" y="387"/>
                    </a:lnTo>
                    <a:lnTo>
                      <a:pt x="603" y="385"/>
                    </a:lnTo>
                    <a:lnTo>
                      <a:pt x="603" y="383"/>
                    </a:lnTo>
                    <a:lnTo>
                      <a:pt x="603" y="381"/>
                    </a:lnTo>
                    <a:lnTo>
                      <a:pt x="601" y="381"/>
                    </a:lnTo>
                    <a:lnTo>
                      <a:pt x="601" y="379"/>
                    </a:lnTo>
                    <a:lnTo>
                      <a:pt x="603" y="379"/>
                    </a:lnTo>
                    <a:lnTo>
                      <a:pt x="601" y="379"/>
                    </a:lnTo>
                    <a:lnTo>
                      <a:pt x="601" y="377"/>
                    </a:lnTo>
                    <a:lnTo>
                      <a:pt x="601" y="375"/>
                    </a:lnTo>
                    <a:lnTo>
                      <a:pt x="601" y="373"/>
                    </a:lnTo>
                    <a:lnTo>
                      <a:pt x="601" y="371"/>
                    </a:lnTo>
                    <a:lnTo>
                      <a:pt x="603" y="370"/>
                    </a:lnTo>
                    <a:lnTo>
                      <a:pt x="601" y="370"/>
                    </a:lnTo>
                    <a:lnTo>
                      <a:pt x="603" y="370"/>
                    </a:lnTo>
                    <a:lnTo>
                      <a:pt x="601" y="370"/>
                    </a:lnTo>
                    <a:lnTo>
                      <a:pt x="603" y="370"/>
                    </a:lnTo>
                    <a:lnTo>
                      <a:pt x="603" y="368"/>
                    </a:lnTo>
                    <a:lnTo>
                      <a:pt x="605" y="368"/>
                    </a:lnTo>
                    <a:lnTo>
                      <a:pt x="605" y="366"/>
                    </a:lnTo>
                    <a:lnTo>
                      <a:pt x="605" y="364"/>
                    </a:lnTo>
                    <a:lnTo>
                      <a:pt x="605" y="362"/>
                    </a:lnTo>
                    <a:lnTo>
                      <a:pt x="605" y="364"/>
                    </a:lnTo>
                    <a:lnTo>
                      <a:pt x="605" y="362"/>
                    </a:lnTo>
                    <a:lnTo>
                      <a:pt x="605" y="360"/>
                    </a:lnTo>
                    <a:lnTo>
                      <a:pt x="603" y="360"/>
                    </a:lnTo>
                    <a:lnTo>
                      <a:pt x="603" y="358"/>
                    </a:lnTo>
                    <a:lnTo>
                      <a:pt x="605" y="358"/>
                    </a:lnTo>
                    <a:lnTo>
                      <a:pt x="605" y="356"/>
                    </a:lnTo>
                    <a:lnTo>
                      <a:pt x="603" y="356"/>
                    </a:lnTo>
                    <a:lnTo>
                      <a:pt x="603" y="354"/>
                    </a:lnTo>
                    <a:lnTo>
                      <a:pt x="605" y="354"/>
                    </a:lnTo>
                    <a:lnTo>
                      <a:pt x="603" y="354"/>
                    </a:lnTo>
                    <a:lnTo>
                      <a:pt x="605" y="354"/>
                    </a:lnTo>
                    <a:lnTo>
                      <a:pt x="603" y="354"/>
                    </a:lnTo>
                    <a:lnTo>
                      <a:pt x="605" y="352"/>
                    </a:lnTo>
                    <a:lnTo>
                      <a:pt x="603" y="352"/>
                    </a:lnTo>
                    <a:lnTo>
                      <a:pt x="603" y="350"/>
                    </a:lnTo>
                    <a:lnTo>
                      <a:pt x="603" y="348"/>
                    </a:lnTo>
                    <a:lnTo>
                      <a:pt x="603" y="350"/>
                    </a:lnTo>
                    <a:lnTo>
                      <a:pt x="601" y="348"/>
                    </a:lnTo>
                    <a:lnTo>
                      <a:pt x="603" y="348"/>
                    </a:lnTo>
                    <a:lnTo>
                      <a:pt x="601" y="348"/>
                    </a:lnTo>
                    <a:lnTo>
                      <a:pt x="601" y="346"/>
                    </a:lnTo>
                    <a:lnTo>
                      <a:pt x="601" y="345"/>
                    </a:lnTo>
                    <a:lnTo>
                      <a:pt x="603" y="345"/>
                    </a:lnTo>
                    <a:lnTo>
                      <a:pt x="603" y="343"/>
                    </a:lnTo>
                    <a:lnTo>
                      <a:pt x="603" y="341"/>
                    </a:lnTo>
                    <a:lnTo>
                      <a:pt x="603" y="339"/>
                    </a:lnTo>
                    <a:lnTo>
                      <a:pt x="601" y="339"/>
                    </a:lnTo>
                    <a:lnTo>
                      <a:pt x="603" y="339"/>
                    </a:lnTo>
                    <a:lnTo>
                      <a:pt x="603" y="337"/>
                    </a:lnTo>
                    <a:lnTo>
                      <a:pt x="603" y="335"/>
                    </a:lnTo>
                    <a:lnTo>
                      <a:pt x="605" y="335"/>
                    </a:lnTo>
                    <a:lnTo>
                      <a:pt x="607" y="335"/>
                    </a:lnTo>
                    <a:lnTo>
                      <a:pt x="607" y="333"/>
                    </a:lnTo>
                    <a:lnTo>
                      <a:pt x="605" y="333"/>
                    </a:lnTo>
                    <a:lnTo>
                      <a:pt x="607" y="331"/>
                    </a:lnTo>
                    <a:lnTo>
                      <a:pt x="605" y="331"/>
                    </a:lnTo>
                    <a:lnTo>
                      <a:pt x="605" y="329"/>
                    </a:lnTo>
                    <a:lnTo>
                      <a:pt x="603" y="329"/>
                    </a:lnTo>
                    <a:lnTo>
                      <a:pt x="605" y="329"/>
                    </a:lnTo>
                    <a:lnTo>
                      <a:pt x="605" y="327"/>
                    </a:lnTo>
                    <a:lnTo>
                      <a:pt x="607" y="327"/>
                    </a:lnTo>
                    <a:lnTo>
                      <a:pt x="605" y="327"/>
                    </a:lnTo>
                    <a:lnTo>
                      <a:pt x="605" y="325"/>
                    </a:lnTo>
                    <a:lnTo>
                      <a:pt x="603" y="325"/>
                    </a:lnTo>
                    <a:lnTo>
                      <a:pt x="603" y="323"/>
                    </a:lnTo>
                    <a:lnTo>
                      <a:pt x="603" y="321"/>
                    </a:lnTo>
                    <a:lnTo>
                      <a:pt x="601" y="321"/>
                    </a:lnTo>
                    <a:lnTo>
                      <a:pt x="599" y="321"/>
                    </a:lnTo>
                    <a:lnTo>
                      <a:pt x="599" y="323"/>
                    </a:lnTo>
                    <a:lnTo>
                      <a:pt x="601" y="323"/>
                    </a:lnTo>
                    <a:lnTo>
                      <a:pt x="599" y="325"/>
                    </a:lnTo>
                    <a:lnTo>
                      <a:pt x="599" y="323"/>
                    </a:lnTo>
                    <a:lnTo>
                      <a:pt x="599" y="325"/>
                    </a:lnTo>
                    <a:lnTo>
                      <a:pt x="599" y="323"/>
                    </a:lnTo>
                    <a:lnTo>
                      <a:pt x="597" y="323"/>
                    </a:lnTo>
                    <a:lnTo>
                      <a:pt x="597" y="321"/>
                    </a:lnTo>
                    <a:lnTo>
                      <a:pt x="595" y="321"/>
                    </a:lnTo>
                    <a:lnTo>
                      <a:pt x="595" y="323"/>
                    </a:lnTo>
                    <a:lnTo>
                      <a:pt x="593" y="323"/>
                    </a:lnTo>
                    <a:lnTo>
                      <a:pt x="593" y="321"/>
                    </a:lnTo>
                    <a:lnTo>
                      <a:pt x="595" y="321"/>
                    </a:lnTo>
                    <a:lnTo>
                      <a:pt x="593" y="321"/>
                    </a:lnTo>
                    <a:lnTo>
                      <a:pt x="591" y="321"/>
                    </a:lnTo>
                    <a:lnTo>
                      <a:pt x="591" y="323"/>
                    </a:lnTo>
                    <a:lnTo>
                      <a:pt x="589" y="321"/>
                    </a:lnTo>
                    <a:lnTo>
                      <a:pt x="591" y="321"/>
                    </a:lnTo>
                    <a:lnTo>
                      <a:pt x="589" y="321"/>
                    </a:lnTo>
                    <a:lnTo>
                      <a:pt x="589" y="320"/>
                    </a:lnTo>
                    <a:lnTo>
                      <a:pt x="589" y="321"/>
                    </a:lnTo>
                    <a:lnTo>
                      <a:pt x="588" y="321"/>
                    </a:lnTo>
                    <a:lnTo>
                      <a:pt x="588" y="320"/>
                    </a:lnTo>
                    <a:lnTo>
                      <a:pt x="588" y="321"/>
                    </a:lnTo>
                    <a:lnTo>
                      <a:pt x="586" y="321"/>
                    </a:lnTo>
                    <a:lnTo>
                      <a:pt x="584" y="321"/>
                    </a:lnTo>
                    <a:lnTo>
                      <a:pt x="586" y="320"/>
                    </a:lnTo>
                    <a:lnTo>
                      <a:pt x="584" y="320"/>
                    </a:lnTo>
                    <a:lnTo>
                      <a:pt x="584" y="318"/>
                    </a:lnTo>
                    <a:lnTo>
                      <a:pt x="582" y="318"/>
                    </a:lnTo>
                    <a:lnTo>
                      <a:pt x="580" y="316"/>
                    </a:lnTo>
                    <a:lnTo>
                      <a:pt x="582" y="316"/>
                    </a:lnTo>
                    <a:lnTo>
                      <a:pt x="580" y="316"/>
                    </a:lnTo>
                    <a:lnTo>
                      <a:pt x="580" y="314"/>
                    </a:lnTo>
                    <a:lnTo>
                      <a:pt x="578" y="314"/>
                    </a:lnTo>
                    <a:lnTo>
                      <a:pt x="576" y="316"/>
                    </a:lnTo>
                    <a:lnTo>
                      <a:pt x="574" y="316"/>
                    </a:lnTo>
                    <a:lnTo>
                      <a:pt x="576" y="316"/>
                    </a:lnTo>
                    <a:lnTo>
                      <a:pt x="576" y="314"/>
                    </a:lnTo>
                    <a:lnTo>
                      <a:pt x="574" y="314"/>
                    </a:lnTo>
                    <a:lnTo>
                      <a:pt x="574" y="316"/>
                    </a:lnTo>
                    <a:lnTo>
                      <a:pt x="574" y="314"/>
                    </a:lnTo>
                    <a:lnTo>
                      <a:pt x="572" y="314"/>
                    </a:lnTo>
                    <a:lnTo>
                      <a:pt x="570" y="314"/>
                    </a:lnTo>
                    <a:lnTo>
                      <a:pt x="568" y="314"/>
                    </a:lnTo>
                    <a:lnTo>
                      <a:pt x="566" y="314"/>
                    </a:lnTo>
                    <a:lnTo>
                      <a:pt x="566" y="312"/>
                    </a:lnTo>
                    <a:lnTo>
                      <a:pt x="568" y="312"/>
                    </a:lnTo>
                    <a:lnTo>
                      <a:pt x="568" y="314"/>
                    </a:lnTo>
                    <a:lnTo>
                      <a:pt x="568" y="312"/>
                    </a:lnTo>
                    <a:lnTo>
                      <a:pt x="568" y="314"/>
                    </a:lnTo>
                    <a:lnTo>
                      <a:pt x="568" y="312"/>
                    </a:lnTo>
                    <a:lnTo>
                      <a:pt x="566" y="312"/>
                    </a:lnTo>
                    <a:lnTo>
                      <a:pt x="565" y="312"/>
                    </a:lnTo>
                    <a:lnTo>
                      <a:pt x="565" y="314"/>
                    </a:lnTo>
                    <a:lnTo>
                      <a:pt x="565" y="312"/>
                    </a:lnTo>
                    <a:lnTo>
                      <a:pt x="563" y="312"/>
                    </a:lnTo>
                    <a:lnTo>
                      <a:pt x="563" y="314"/>
                    </a:lnTo>
                    <a:lnTo>
                      <a:pt x="561" y="314"/>
                    </a:lnTo>
                    <a:lnTo>
                      <a:pt x="561" y="312"/>
                    </a:lnTo>
                    <a:lnTo>
                      <a:pt x="563" y="312"/>
                    </a:lnTo>
                    <a:lnTo>
                      <a:pt x="563" y="310"/>
                    </a:lnTo>
                    <a:lnTo>
                      <a:pt x="563" y="312"/>
                    </a:lnTo>
                    <a:lnTo>
                      <a:pt x="561" y="312"/>
                    </a:lnTo>
                    <a:lnTo>
                      <a:pt x="563" y="312"/>
                    </a:lnTo>
                    <a:lnTo>
                      <a:pt x="561" y="312"/>
                    </a:lnTo>
                    <a:lnTo>
                      <a:pt x="563" y="312"/>
                    </a:lnTo>
                    <a:lnTo>
                      <a:pt x="563" y="310"/>
                    </a:lnTo>
                    <a:lnTo>
                      <a:pt x="561" y="310"/>
                    </a:lnTo>
                    <a:lnTo>
                      <a:pt x="561" y="308"/>
                    </a:lnTo>
                    <a:lnTo>
                      <a:pt x="561" y="306"/>
                    </a:lnTo>
                    <a:lnTo>
                      <a:pt x="561" y="304"/>
                    </a:lnTo>
                    <a:lnTo>
                      <a:pt x="561" y="302"/>
                    </a:lnTo>
                    <a:lnTo>
                      <a:pt x="561" y="300"/>
                    </a:lnTo>
                    <a:lnTo>
                      <a:pt x="561" y="298"/>
                    </a:lnTo>
                    <a:lnTo>
                      <a:pt x="561" y="296"/>
                    </a:lnTo>
                    <a:lnTo>
                      <a:pt x="561" y="295"/>
                    </a:lnTo>
                    <a:lnTo>
                      <a:pt x="559" y="291"/>
                    </a:lnTo>
                    <a:lnTo>
                      <a:pt x="559" y="289"/>
                    </a:lnTo>
                    <a:lnTo>
                      <a:pt x="559" y="287"/>
                    </a:lnTo>
                    <a:lnTo>
                      <a:pt x="561" y="285"/>
                    </a:lnTo>
                    <a:lnTo>
                      <a:pt x="561" y="281"/>
                    </a:lnTo>
                    <a:lnTo>
                      <a:pt x="561" y="277"/>
                    </a:lnTo>
                    <a:lnTo>
                      <a:pt x="561" y="275"/>
                    </a:lnTo>
                    <a:lnTo>
                      <a:pt x="563" y="273"/>
                    </a:lnTo>
                    <a:lnTo>
                      <a:pt x="563" y="271"/>
                    </a:lnTo>
                    <a:lnTo>
                      <a:pt x="563" y="270"/>
                    </a:lnTo>
                    <a:lnTo>
                      <a:pt x="565" y="270"/>
                    </a:lnTo>
                    <a:lnTo>
                      <a:pt x="566" y="270"/>
                    </a:lnTo>
                    <a:lnTo>
                      <a:pt x="566" y="268"/>
                    </a:lnTo>
                    <a:lnTo>
                      <a:pt x="568" y="268"/>
                    </a:lnTo>
                    <a:lnTo>
                      <a:pt x="570" y="266"/>
                    </a:lnTo>
                    <a:lnTo>
                      <a:pt x="572" y="266"/>
                    </a:lnTo>
                    <a:lnTo>
                      <a:pt x="572" y="268"/>
                    </a:lnTo>
                    <a:lnTo>
                      <a:pt x="574" y="268"/>
                    </a:lnTo>
                    <a:lnTo>
                      <a:pt x="576" y="268"/>
                    </a:lnTo>
                    <a:lnTo>
                      <a:pt x="578" y="270"/>
                    </a:lnTo>
                    <a:lnTo>
                      <a:pt x="578" y="271"/>
                    </a:lnTo>
                    <a:lnTo>
                      <a:pt x="578" y="270"/>
                    </a:lnTo>
                    <a:lnTo>
                      <a:pt x="576" y="270"/>
                    </a:lnTo>
                    <a:lnTo>
                      <a:pt x="576" y="268"/>
                    </a:lnTo>
                    <a:lnTo>
                      <a:pt x="574" y="268"/>
                    </a:lnTo>
                    <a:lnTo>
                      <a:pt x="572" y="268"/>
                    </a:lnTo>
                    <a:lnTo>
                      <a:pt x="570" y="268"/>
                    </a:lnTo>
                    <a:lnTo>
                      <a:pt x="568" y="268"/>
                    </a:lnTo>
                    <a:lnTo>
                      <a:pt x="568" y="270"/>
                    </a:lnTo>
                    <a:lnTo>
                      <a:pt x="566" y="270"/>
                    </a:lnTo>
                    <a:lnTo>
                      <a:pt x="566" y="271"/>
                    </a:lnTo>
                    <a:lnTo>
                      <a:pt x="568" y="271"/>
                    </a:lnTo>
                    <a:lnTo>
                      <a:pt x="566" y="271"/>
                    </a:lnTo>
                    <a:lnTo>
                      <a:pt x="565" y="271"/>
                    </a:lnTo>
                    <a:lnTo>
                      <a:pt x="566" y="273"/>
                    </a:lnTo>
                    <a:lnTo>
                      <a:pt x="566" y="275"/>
                    </a:lnTo>
                    <a:lnTo>
                      <a:pt x="568" y="275"/>
                    </a:lnTo>
                    <a:lnTo>
                      <a:pt x="566" y="275"/>
                    </a:lnTo>
                    <a:lnTo>
                      <a:pt x="566" y="277"/>
                    </a:lnTo>
                    <a:lnTo>
                      <a:pt x="566" y="279"/>
                    </a:lnTo>
                    <a:lnTo>
                      <a:pt x="568" y="279"/>
                    </a:lnTo>
                    <a:lnTo>
                      <a:pt x="570" y="279"/>
                    </a:lnTo>
                    <a:lnTo>
                      <a:pt x="572" y="279"/>
                    </a:lnTo>
                    <a:lnTo>
                      <a:pt x="574" y="279"/>
                    </a:lnTo>
                    <a:lnTo>
                      <a:pt x="574" y="281"/>
                    </a:lnTo>
                    <a:lnTo>
                      <a:pt x="576" y="281"/>
                    </a:lnTo>
                    <a:lnTo>
                      <a:pt x="576" y="283"/>
                    </a:lnTo>
                    <a:lnTo>
                      <a:pt x="578" y="283"/>
                    </a:lnTo>
                    <a:lnTo>
                      <a:pt x="578" y="285"/>
                    </a:lnTo>
                    <a:lnTo>
                      <a:pt x="580" y="285"/>
                    </a:lnTo>
                    <a:lnTo>
                      <a:pt x="584" y="287"/>
                    </a:lnTo>
                    <a:lnTo>
                      <a:pt x="586" y="287"/>
                    </a:lnTo>
                    <a:lnTo>
                      <a:pt x="588" y="287"/>
                    </a:lnTo>
                    <a:lnTo>
                      <a:pt x="589" y="289"/>
                    </a:lnTo>
                    <a:lnTo>
                      <a:pt x="593" y="289"/>
                    </a:lnTo>
                    <a:lnTo>
                      <a:pt x="591" y="289"/>
                    </a:lnTo>
                    <a:lnTo>
                      <a:pt x="591" y="291"/>
                    </a:lnTo>
                    <a:lnTo>
                      <a:pt x="593" y="291"/>
                    </a:lnTo>
                    <a:lnTo>
                      <a:pt x="591" y="291"/>
                    </a:lnTo>
                    <a:lnTo>
                      <a:pt x="591" y="289"/>
                    </a:lnTo>
                    <a:lnTo>
                      <a:pt x="593" y="289"/>
                    </a:lnTo>
                    <a:lnTo>
                      <a:pt x="597" y="289"/>
                    </a:lnTo>
                    <a:lnTo>
                      <a:pt x="601" y="289"/>
                    </a:lnTo>
                    <a:lnTo>
                      <a:pt x="603" y="289"/>
                    </a:lnTo>
                    <a:lnTo>
                      <a:pt x="603" y="287"/>
                    </a:lnTo>
                    <a:lnTo>
                      <a:pt x="603" y="289"/>
                    </a:lnTo>
                    <a:lnTo>
                      <a:pt x="603" y="287"/>
                    </a:lnTo>
                    <a:lnTo>
                      <a:pt x="605" y="287"/>
                    </a:lnTo>
                    <a:lnTo>
                      <a:pt x="607" y="287"/>
                    </a:lnTo>
                    <a:lnTo>
                      <a:pt x="609" y="287"/>
                    </a:lnTo>
                    <a:lnTo>
                      <a:pt x="611" y="287"/>
                    </a:lnTo>
                    <a:lnTo>
                      <a:pt x="611" y="285"/>
                    </a:lnTo>
                    <a:lnTo>
                      <a:pt x="613" y="285"/>
                    </a:lnTo>
                    <a:lnTo>
                      <a:pt x="614" y="283"/>
                    </a:lnTo>
                    <a:lnTo>
                      <a:pt x="614" y="281"/>
                    </a:lnTo>
                    <a:lnTo>
                      <a:pt x="616" y="281"/>
                    </a:lnTo>
                    <a:lnTo>
                      <a:pt x="618" y="281"/>
                    </a:lnTo>
                    <a:lnTo>
                      <a:pt x="620" y="281"/>
                    </a:lnTo>
                    <a:lnTo>
                      <a:pt x="620" y="283"/>
                    </a:lnTo>
                    <a:lnTo>
                      <a:pt x="620" y="285"/>
                    </a:lnTo>
                    <a:lnTo>
                      <a:pt x="618" y="285"/>
                    </a:lnTo>
                    <a:lnTo>
                      <a:pt x="620" y="285"/>
                    </a:lnTo>
                    <a:lnTo>
                      <a:pt x="620" y="287"/>
                    </a:lnTo>
                    <a:lnTo>
                      <a:pt x="620" y="289"/>
                    </a:lnTo>
                    <a:lnTo>
                      <a:pt x="620" y="287"/>
                    </a:lnTo>
                    <a:lnTo>
                      <a:pt x="620" y="289"/>
                    </a:lnTo>
                    <a:lnTo>
                      <a:pt x="620" y="287"/>
                    </a:lnTo>
                    <a:lnTo>
                      <a:pt x="622" y="287"/>
                    </a:lnTo>
                    <a:lnTo>
                      <a:pt x="624" y="287"/>
                    </a:lnTo>
                    <a:lnTo>
                      <a:pt x="622" y="287"/>
                    </a:lnTo>
                    <a:lnTo>
                      <a:pt x="620" y="287"/>
                    </a:lnTo>
                    <a:lnTo>
                      <a:pt x="620" y="285"/>
                    </a:lnTo>
                    <a:lnTo>
                      <a:pt x="620" y="283"/>
                    </a:lnTo>
                    <a:lnTo>
                      <a:pt x="622" y="283"/>
                    </a:lnTo>
                    <a:lnTo>
                      <a:pt x="622" y="285"/>
                    </a:lnTo>
                    <a:lnTo>
                      <a:pt x="622" y="283"/>
                    </a:lnTo>
                    <a:lnTo>
                      <a:pt x="622" y="285"/>
                    </a:lnTo>
                    <a:lnTo>
                      <a:pt x="622" y="283"/>
                    </a:lnTo>
                    <a:lnTo>
                      <a:pt x="622" y="285"/>
                    </a:lnTo>
                    <a:lnTo>
                      <a:pt x="624" y="283"/>
                    </a:lnTo>
                    <a:lnTo>
                      <a:pt x="624" y="285"/>
                    </a:lnTo>
                    <a:lnTo>
                      <a:pt x="626" y="285"/>
                    </a:lnTo>
                    <a:lnTo>
                      <a:pt x="626" y="283"/>
                    </a:lnTo>
                    <a:lnTo>
                      <a:pt x="628" y="285"/>
                    </a:lnTo>
                    <a:lnTo>
                      <a:pt x="628" y="283"/>
                    </a:lnTo>
                    <a:lnTo>
                      <a:pt x="630" y="283"/>
                    </a:lnTo>
                    <a:lnTo>
                      <a:pt x="628" y="283"/>
                    </a:lnTo>
                    <a:lnTo>
                      <a:pt x="630" y="283"/>
                    </a:lnTo>
                    <a:lnTo>
                      <a:pt x="632" y="283"/>
                    </a:lnTo>
                    <a:lnTo>
                      <a:pt x="632" y="285"/>
                    </a:lnTo>
                    <a:lnTo>
                      <a:pt x="632" y="283"/>
                    </a:lnTo>
                    <a:lnTo>
                      <a:pt x="634" y="283"/>
                    </a:lnTo>
                    <a:lnTo>
                      <a:pt x="634" y="285"/>
                    </a:lnTo>
                    <a:lnTo>
                      <a:pt x="632" y="285"/>
                    </a:lnTo>
                    <a:lnTo>
                      <a:pt x="634" y="285"/>
                    </a:lnTo>
                    <a:lnTo>
                      <a:pt x="634" y="283"/>
                    </a:lnTo>
                    <a:lnTo>
                      <a:pt x="632" y="283"/>
                    </a:lnTo>
                    <a:lnTo>
                      <a:pt x="632" y="285"/>
                    </a:lnTo>
                    <a:lnTo>
                      <a:pt x="632" y="283"/>
                    </a:lnTo>
                    <a:lnTo>
                      <a:pt x="634" y="283"/>
                    </a:lnTo>
                    <a:lnTo>
                      <a:pt x="636" y="283"/>
                    </a:lnTo>
                    <a:lnTo>
                      <a:pt x="638" y="283"/>
                    </a:lnTo>
                    <a:lnTo>
                      <a:pt x="636" y="283"/>
                    </a:lnTo>
                    <a:lnTo>
                      <a:pt x="634" y="283"/>
                    </a:lnTo>
                    <a:lnTo>
                      <a:pt x="632" y="283"/>
                    </a:lnTo>
                    <a:lnTo>
                      <a:pt x="630" y="283"/>
                    </a:lnTo>
                    <a:lnTo>
                      <a:pt x="632" y="283"/>
                    </a:lnTo>
                    <a:lnTo>
                      <a:pt x="630" y="283"/>
                    </a:lnTo>
                    <a:lnTo>
                      <a:pt x="628" y="283"/>
                    </a:lnTo>
                    <a:lnTo>
                      <a:pt x="630" y="283"/>
                    </a:lnTo>
                    <a:lnTo>
                      <a:pt x="628" y="283"/>
                    </a:lnTo>
                    <a:lnTo>
                      <a:pt x="626" y="283"/>
                    </a:lnTo>
                    <a:lnTo>
                      <a:pt x="626" y="285"/>
                    </a:lnTo>
                    <a:lnTo>
                      <a:pt x="624" y="285"/>
                    </a:lnTo>
                    <a:lnTo>
                      <a:pt x="624" y="283"/>
                    </a:lnTo>
                    <a:lnTo>
                      <a:pt x="622" y="285"/>
                    </a:lnTo>
                    <a:lnTo>
                      <a:pt x="622" y="283"/>
                    </a:lnTo>
                    <a:lnTo>
                      <a:pt x="622" y="285"/>
                    </a:lnTo>
                    <a:lnTo>
                      <a:pt x="622" y="283"/>
                    </a:lnTo>
                    <a:lnTo>
                      <a:pt x="620" y="283"/>
                    </a:lnTo>
                    <a:lnTo>
                      <a:pt x="620" y="285"/>
                    </a:lnTo>
                    <a:lnTo>
                      <a:pt x="620" y="283"/>
                    </a:lnTo>
                    <a:lnTo>
                      <a:pt x="620" y="281"/>
                    </a:lnTo>
                    <a:lnTo>
                      <a:pt x="618" y="281"/>
                    </a:lnTo>
                    <a:lnTo>
                      <a:pt x="618" y="279"/>
                    </a:lnTo>
                    <a:lnTo>
                      <a:pt x="616" y="279"/>
                    </a:lnTo>
                    <a:lnTo>
                      <a:pt x="618" y="279"/>
                    </a:lnTo>
                    <a:lnTo>
                      <a:pt x="620" y="279"/>
                    </a:lnTo>
                    <a:lnTo>
                      <a:pt x="622" y="279"/>
                    </a:lnTo>
                    <a:lnTo>
                      <a:pt x="624" y="279"/>
                    </a:lnTo>
                    <a:lnTo>
                      <a:pt x="624" y="281"/>
                    </a:lnTo>
                    <a:lnTo>
                      <a:pt x="626" y="281"/>
                    </a:lnTo>
                    <a:lnTo>
                      <a:pt x="628" y="281"/>
                    </a:lnTo>
                    <a:lnTo>
                      <a:pt x="626" y="281"/>
                    </a:lnTo>
                    <a:lnTo>
                      <a:pt x="624" y="281"/>
                    </a:lnTo>
                    <a:lnTo>
                      <a:pt x="626" y="279"/>
                    </a:lnTo>
                    <a:lnTo>
                      <a:pt x="624" y="279"/>
                    </a:lnTo>
                    <a:lnTo>
                      <a:pt x="626" y="279"/>
                    </a:lnTo>
                    <a:lnTo>
                      <a:pt x="626" y="277"/>
                    </a:lnTo>
                    <a:lnTo>
                      <a:pt x="626" y="279"/>
                    </a:lnTo>
                    <a:lnTo>
                      <a:pt x="628" y="277"/>
                    </a:lnTo>
                    <a:lnTo>
                      <a:pt x="628" y="279"/>
                    </a:lnTo>
                    <a:lnTo>
                      <a:pt x="630" y="279"/>
                    </a:lnTo>
                    <a:lnTo>
                      <a:pt x="630" y="277"/>
                    </a:lnTo>
                    <a:lnTo>
                      <a:pt x="632" y="277"/>
                    </a:lnTo>
                    <a:lnTo>
                      <a:pt x="632" y="275"/>
                    </a:lnTo>
                    <a:lnTo>
                      <a:pt x="632" y="277"/>
                    </a:lnTo>
                    <a:lnTo>
                      <a:pt x="634" y="277"/>
                    </a:lnTo>
                    <a:lnTo>
                      <a:pt x="634" y="275"/>
                    </a:lnTo>
                    <a:lnTo>
                      <a:pt x="636" y="275"/>
                    </a:lnTo>
                    <a:lnTo>
                      <a:pt x="638" y="275"/>
                    </a:lnTo>
                    <a:lnTo>
                      <a:pt x="639" y="275"/>
                    </a:lnTo>
                    <a:lnTo>
                      <a:pt x="639" y="277"/>
                    </a:lnTo>
                    <a:lnTo>
                      <a:pt x="638" y="277"/>
                    </a:lnTo>
                    <a:lnTo>
                      <a:pt x="638" y="279"/>
                    </a:lnTo>
                    <a:lnTo>
                      <a:pt x="639" y="279"/>
                    </a:lnTo>
                    <a:lnTo>
                      <a:pt x="639" y="277"/>
                    </a:lnTo>
                    <a:lnTo>
                      <a:pt x="639" y="279"/>
                    </a:lnTo>
                    <a:lnTo>
                      <a:pt x="641" y="279"/>
                    </a:lnTo>
                    <a:lnTo>
                      <a:pt x="639" y="279"/>
                    </a:lnTo>
                    <a:lnTo>
                      <a:pt x="641" y="279"/>
                    </a:lnTo>
                    <a:lnTo>
                      <a:pt x="639" y="279"/>
                    </a:lnTo>
                    <a:lnTo>
                      <a:pt x="641" y="279"/>
                    </a:lnTo>
                    <a:lnTo>
                      <a:pt x="641" y="277"/>
                    </a:lnTo>
                    <a:lnTo>
                      <a:pt x="643" y="277"/>
                    </a:lnTo>
                    <a:lnTo>
                      <a:pt x="643" y="275"/>
                    </a:lnTo>
                    <a:lnTo>
                      <a:pt x="643" y="277"/>
                    </a:lnTo>
                    <a:lnTo>
                      <a:pt x="645" y="277"/>
                    </a:lnTo>
                    <a:lnTo>
                      <a:pt x="645" y="279"/>
                    </a:lnTo>
                    <a:lnTo>
                      <a:pt x="645" y="281"/>
                    </a:lnTo>
                    <a:lnTo>
                      <a:pt x="647" y="281"/>
                    </a:lnTo>
                    <a:lnTo>
                      <a:pt x="647" y="283"/>
                    </a:lnTo>
                    <a:lnTo>
                      <a:pt x="647" y="281"/>
                    </a:lnTo>
                    <a:lnTo>
                      <a:pt x="649" y="281"/>
                    </a:lnTo>
                    <a:lnTo>
                      <a:pt x="649" y="283"/>
                    </a:lnTo>
                    <a:lnTo>
                      <a:pt x="647" y="283"/>
                    </a:lnTo>
                    <a:lnTo>
                      <a:pt x="649" y="283"/>
                    </a:lnTo>
                    <a:lnTo>
                      <a:pt x="647" y="283"/>
                    </a:lnTo>
                    <a:lnTo>
                      <a:pt x="649" y="283"/>
                    </a:lnTo>
                    <a:lnTo>
                      <a:pt x="649" y="285"/>
                    </a:lnTo>
                    <a:lnTo>
                      <a:pt x="647" y="285"/>
                    </a:lnTo>
                    <a:lnTo>
                      <a:pt x="645" y="285"/>
                    </a:lnTo>
                    <a:lnTo>
                      <a:pt x="647" y="285"/>
                    </a:lnTo>
                    <a:lnTo>
                      <a:pt x="649" y="285"/>
                    </a:lnTo>
                    <a:lnTo>
                      <a:pt x="649" y="283"/>
                    </a:lnTo>
                    <a:lnTo>
                      <a:pt x="649" y="285"/>
                    </a:lnTo>
                    <a:lnTo>
                      <a:pt x="651" y="285"/>
                    </a:lnTo>
                    <a:lnTo>
                      <a:pt x="653" y="285"/>
                    </a:lnTo>
                    <a:lnTo>
                      <a:pt x="655" y="285"/>
                    </a:lnTo>
                    <a:lnTo>
                      <a:pt x="657" y="285"/>
                    </a:lnTo>
                    <a:lnTo>
                      <a:pt x="657" y="287"/>
                    </a:lnTo>
                    <a:lnTo>
                      <a:pt x="657" y="289"/>
                    </a:lnTo>
                    <a:lnTo>
                      <a:pt x="659" y="289"/>
                    </a:lnTo>
                    <a:lnTo>
                      <a:pt x="661" y="289"/>
                    </a:lnTo>
                    <a:lnTo>
                      <a:pt x="663" y="289"/>
                    </a:lnTo>
                    <a:lnTo>
                      <a:pt x="664" y="291"/>
                    </a:lnTo>
                    <a:lnTo>
                      <a:pt x="663" y="291"/>
                    </a:lnTo>
                    <a:lnTo>
                      <a:pt x="663" y="293"/>
                    </a:lnTo>
                    <a:lnTo>
                      <a:pt x="661" y="293"/>
                    </a:lnTo>
                    <a:lnTo>
                      <a:pt x="661" y="295"/>
                    </a:lnTo>
                    <a:lnTo>
                      <a:pt x="661" y="296"/>
                    </a:lnTo>
                    <a:lnTo>
                      <a:pt x="661" y="298"/>
                    </a:lnTo>
                    <a:lnTo>
                      <a:pt x="663" y="300"/>
                    </a:lnTo>
                    <a:lnTo>
                      <a:pt x="661" y="300"/>
                    </a:lnTo>
                    <a:lnTo>
                      <a:pt x="659" y="300"/>
                    </a:lnTo>
                    <a:lnTo>
                      <a:pt x="659" y="302"/>
                    </a:lnTo>
                    <a:lnTo>
                      <a:pt x="659" y="300"/>
                    </a:lnTo>
                    <a:lnTo>
                      <a:pt x="659" y="302"/>
                    </a:lnTo>
                    <a:lnTo>
                      <a:pt x="661" y="302"/>
                    </a:lnTo>
                    <a:lnTo>
                      <a:pt x="661" y="304"/>
                    </a:lnTo>
                    <a:lnTo>
                      <a:pt x="659" y="304"/>
                    </a:lnTo>
                    <a:lnTo>
                      <a:pt x="659" y="306"/>
                    </a:lnTo>
                    <a:lnTo>
                      <a:pt x="659" y="304"/>
                    </a:lnTo>
                    <a:lnTo>
                      <a:pt x="661" y="304"/>
                    </a:lnTo>
                    <a:lnTo>
                      <a:pt x="659" y="304"/>
                    </a:lnTo>
                    <a:lnTo>
                      <a:pt x="659" y="306"/>
                    </a:lnTo>
                    <a:lnTo>
                      <a:pt x="657" y="308"/>
                    </a:lnTo>
                    <a:lnTo>
                      <a:pt x="657" y="306"/>
                    </a:lnTo>
                    <a:lnTo>
                      <a:pt x="655" y="306"/>
                    </a:lnTo>
                    <a:lnTo>
                      <a:pt x="655" y="308"/>
                    </a:lnTo>
                    <a:lnTo>
                      <a:pt x="653" y="308"/>
                    </a:lnTo>
                    <a:lnTo>
                      <a:pt x="651" y="308"/>
                    </a:lnTo>
                    <a:lnTo>
                      <a:pt x="649" y="308"/>
                    </a:lnTo>
                    <a:lnTo>
                      <a:pt x="651" y="308"/>
                    </a:lnTo>
                    <a:lnTo>
                      <a:pt x="649" y="308"/>
                    </a:lnTo>
                    <a:lnTo>
                      <a:pt x="649" y="310"/>
                    </a:lnTo>
                    <a:lnTo>
                      <a:pt x="647" y="310"/>
                    </a:lnTo>
                    <a:lnTo>
                      <a:pt x="645" y="310"/>
                    </a:lnTo>
                    <a:lnTo>
                      <a:pt x="645" y="312"/>
                    </a:lnTo>
                    <a:lnTo>
                      <a:pt x="645" y="314"/>
                    </a:lnTo>
                    <a:lnTo>
                      <a:pt x="645" y="316"/>
                    </a:lnTo>
                    <a:lnTo>
                      <a:pt x="643" y="316"/>
                    </a:lnTo>
                    <a:lnTo>
                      <a:pt x="643" y="318"/>
                    </a:lnTo>
                    <a:lnTo>
                      <a:pt x="641" y="318"/>
                    </a:lnTo>
                    <a:lnTo>
                      <a:pt x="643" y="318"/>
                    </a:lnTo>
                    <a:lnTo>
                      <a:pt x="643" y="320"/>
                    </a:lnTo>
                    <a:lnTo>
                      <a:pt x="641" y="320"/>
                    </a:lnTo>
                    <a:lnTo>
                      <a:pt x="641" y="321"/>
                    </a:lnTo>
                    <a:lnTo>
                      <a:pt x="639" y="323"/>
                    </a:lnTo>
                    <a:lnTo>
                      <a:pt x="638" y="323"/>
                    </a:lnTo>
                    <a:lnTo>
                      <a:pt x="636" y="323"/>
                    </a:lnTo>
                    <a:lnTo>
                      <a:pt x="636" y="325"/>
                    </a:lnTo>
                    <a:lnTo>
                      <a:pt x="638" y="325"/>
                    </a:lnTo>
                    <a:lnTo>
                      <a:pt x="639" y="325"/>
                    </a:lnTo>
                    <a:lnTo>
                      <a:pt x="639" y="327"/>
                    </a:lnTo>
                    <a:lnTo>
                      <a:pt x="641" y="327"/>
                    </a:lnTo>
                    <a:lnTo>
                      <a:pt x="641" y="329"/>
                    </a:lnTo>
                    <a:lnTo>
                      <a:pt x="639" y="329"/>
                    </a:lnTo>
                    <a:lnTo>
                      <a:pt x="639" y="331"/>
                    </a:lnTo>
                    <a:lnTo>
                      <a:pt x="641" y="331"/>
                    </a:lnTo>
                    <a:lnTo>
                      <a:pt x="643" y="333"/>
                    </a:lnTo>
                    <a:lnTo>
                      <a:pt x="645" y="335"/>
                    </a:lnTo>
                    <a:lnTo>
                      <a:pt x="647" y="335"/>
                    </a:lnTo>
                    <a:lnTo>
                      <a:pt x="649" y="335"/>
                    </a:lnTo>
                    <a:lnTo>
                      <a:pt x="649" y="333"/>
                    </a:lnTo>
                    <a:lnTo>
                      <a:pt x="649" y="331"/>
                    </a:lnTo>
                    <a:lnTo>
                      <a:pt x="651" y="331"/>
                    </a:lnTo>
                    <a:lnTo>
                      <a:pt x="651" y="333"/>
                    </a:lnTo>
                    <a:lnTo>
                      <a:pt x="651" y="335"/>
                    </a:lnTo>
                    <a:lnTo>
                      <a:pt x="651" y="333"/>
                    </a:lnTo>
                    <a:lnTo>
                      <a:pt x="651" y="335"/>
                    </a:lnTo>
                    <a:lnTo>
                      <a:pt x="653" y="335"/>
                    </a:lnTo>
                    <a:lnTo>
                      <a:pt x="651" y="335"/>
                    </a:lnTo>
                    <a:lnTo>
                      <a:pt x="651" y="337"/>
                    </a:lnTo>
                    <a:lnTo>
                      <a:pt x="651" y="339"/>
                    </a:lnTo>
                    <a:lnTo>
                      <a:pt x="649" y="341"/>
                    </a:lnTo>
                    <a:lnTo>
                      <a:pt x="651" y="343"/>
                    </a:lnTo>
                    <a:lnTo>
                      <a:pt x="651" y="341"/>
                    </a:lnTo>
                    <a:lnTo>
                      <a:pt x="651" y="343"/>
                    </a:lnTo>
                    <a:lnTo>
                      <a:pt x="653" y="343"/>
                    </a:lnTo>
                    <a:lnTo>
                      <a:pt x="655" y="343"/>
                    </a:lnTo>
                    <a:lnTo>
                      <a:pt x="657" y="343"/>
                    </a:lnTo>
                    <a:lnTo>
                      <a:pt x="655" y="343"/>
                    </a:lnTo>
                    <a:lnTo>
                      <a:pt x="657" y="343"/>
                    </a:lnTo>
                    <a:lnTo>
                      <a:pt x="659" y="343"/>
                    </a:lnTo>
                    <a:lnTo>
                      <a:pt x="661" y="343"/>
                    </a:lnTo>
                    <a:lnTo>
                      <a:pt x="661" y="345"/>
                    </a:lnTo>
                    <a:lnTo>
                      <a:pt x="661" y="346"/>
                    </a:lnTo>
                    <a:lnTo>
                      <a:pt x="659" y="346"/>
                    </a:lnTo>
                    <a:lnTo>
                      <a:pt x="659" y="348"/>
                    </a:lnTo>
                    <a:lnTo>
                      <a:pt x="661" y="348"/>
                    </a:lnTo>
                    <a:lnTo>
                      <a:pt x="663" y="348"/>
                    </a:lnTo>
                    <a:lnTo>
                      <a:pt x="663" y="346"/>
                    </a:lnTo>
                    <a:lnTo>
                      <a:pt x="664" y="346"/>
                    </a:lnTo>
                    <a:lnTo>
                      <a:pt x="666" y="346"/>
                    </a:lnTo>
                    <a:lnTo>
                      <a:pt x="666" y="348"/>
                    </a:lnTo>
                    <a:lnTo>
                      <a:pt x="666" y="350"/>
                    </a:lnTo>
                    <a:lnTo>
                      <a:pt x="666" y="352"/>
                    </a:lnTo>
                    <a:lnTo>
                      <a:pt x="666" y="350"/>
                    </a:lnTo>
                    <a:lnTo>
                      <a:pt x="666" y="352"/>
                    </a:lnTo>
                    <a:lnTo>
                      <a:pt x="668" y="352"/>
                    </a:lnTo>
                    <a:lnTo>
                      <a:pt x="666" y="354"/>
                    </a:lnTo>
                    <a:lnTo>
                      <a:pt x="664" y="354"/>
                    </a:lnTo>
                    <a:lnTo>
                      <a:pt x="663" y="354"/>
                    </a:lnTo>
                    <a:lnTo>
                      <a:pt x="663" y="356"/>
                    </a:lnTo>
                    <a:lnTo>
                      <a:pt x="663" y="358"/>
                    </a:lnTo>
                    <a:lnTo>
                      <a:pt x="661" y="358"/>
                    </a:lnTo>
                    <a:lnTo>
                      <a:pt x="661" y="360"/>
                    </a:lnTo>
                    <a:lnTo>
                      <a:pt x="663" y="360"/>
                    </a:lnTo>
                    <a:lnTo>
                      <a:pt x="663" y="362"/>
                    </a:lnTo>
                    <a:lnTo>
                      <a:pt x="663" y="364"/>
                    </a:lnTo>
                    <a:lnTo>
                      <a:pt x="663" y="366"/>
                    </a:lnTo>
                    <a:lnTo>
                      <a:pt x="661" y="366"/>
                    </a:lnTo>
                    <a:lnTo>
                      <a:pt x="661" y="368"/>
                    </a:lnTo>
                    <a:lnTo>
                      <a:pt x="661" y="370"/>
                    </a:lnTo>
                    <a:lnTo>
                      <a:pt x="661" y="371"/>
                    </a:lnTo>
                    <a:lnTo>
                      <a:pt x="661" y="373"/>
                    </a:lnTo>
                    <a:lnTo>
                      <a:pt x="661" y="375"/>
                    </a:lnTo>
                    <a:lnTo>
                      <a:pt x="663" y="375"/>
                    </a:lnTo>
                    <a:lnTo>
                      <a:pt x="663" y="377"/>
                    </a:lnTo>
                    <a:lnTo>
                      <a:pt x="661" y="377"/>
                    </a:lnTo>
                    <a:lnTo>
                      <a:pt x="663" y="377"/>
                    </a:lnTo>
                    <a:lnTo>
                      <a:pt x="661" y="377"/>
                    </a:lnTo>
                    <a:lnTo>
                      <a:pt x="661" y="379"/>
                    </a:lnTo>
                    <a:lnTo>
                      <a:pt x="661" y="381"/>
                    </a:lnTo>
                    <a:lnTo>
                      <a:pt x="661" y="383"/>
                    </a:lnTo>
                    <a:lnTo>
                      <a:pt x="659" y="383"/>
                    </a:lnTo>
                    <a:lnTo>
                      <a:pt x="659" y="385"/>
                    </a:lnTo>
                    <a:lnTo>
                      <a:pt x="661" y="385"/>
                    </a:lnTo>
                    <a:lnTo>
                      <a:pt x="661" y="387"/>
                    </a:lnTo>
                    <a:lnTo>
                      <a:pt x="659" y="387"/>
                    </a:lnTo>
                    <a:lnTo>
                      <a:pt x="661" y="387"/>
                    </a:lnTo>
                    <a:lnTo>
                      <a:pt x="661" y="389"/>
                    </a:lnTo>
                    <a:lnTo>
                      <a:pt x="661" y="391"/>
                    </a:lnTo>
                    <a:lnTo>
                      <a:pt x="659" y="391"/>
                    </a:lnTo>
                    <a:lnTo>
                      <a:pt x="659" y="389"/>
                    </a:lnTo>
                    <a:lnTo>
                      <a:pt x="659" y="391"/>
                    </a:lnTo>
                    <a:lnTo>
                      <a:pt x="661" y="391"/>
                    </a:lnTo>
                    <a:lnTo>
                      <a:pt x="659" y="391"/>
                    </a:lnTo>
                    <a:lnTo>
                      <a:pt x="661" y="391"/>
                    </a:lnTo>
                    <a:lnTo>
                      <a:pt x="661" y="393"/>
                    </a:lnTo>
                    <a:lnTo>
                      <a:pt x="659" y="393"/>
                    </a:lnTo>
                    <a:lnTo>
                      <a:pt x="659" y="391"/>
                    </a:lnTo>
                    <a:lnTo>
                      <a:pt x="659" y="393"/>
                    </a:lnTo>
                    <a:lnTo>
                      <a:pt x="659" y="395"/>
                    </a:lnTo>
                    <a:lnTo>
                      <a:pt x="659" y="396"/>
                    </a:lnTo>
                    <a:lnTo>
                      <a:pt x="659" y="398"/>
                    </a:lnTo>
                    <a:lnTo>
                      <a:pt x="661" y="398"/>
                    </a:lnTo>
                    <a:lnTo>
                      <a:pt x="661" y="400"/>
                    </a:lnTo>
                    <a:lnTo>
                      <a:pt x="661" y="402"/>
                    </a:lnTo>
                    <a:lnTo>
                      <a:pt x="663" y="404"/>
                    </a:lnTo>
                    <a:lnTo>
                      <a:pt x="661" y="404"/>
                    </a:lnTo>
                    <a:lnTo>
                      <a:pt x="663" y="404"/>
                    </a:lnTo>
                    <a:lnTo>
                      <a:pt x="661" y="404"/>
                    </a:lnTo>
                    <a:lnTo>
                      <a:pt x="663" y="404"/>
                    </a:lnTo>
                    <a:lnTo>
                      <a:pt x="661" y="404"/>
                    </a:lnTo>
                    <a:lnTo>
                      <a:pt x="663" y="404"/>
                    </a:lnTo>
                    <a:lnTo>
                      <a:pt x="661" y="404"/>
                    </a:lnTo>
                    <a:lnTo>
                      <a:pt x="663" y="404"/>
                    </a:lnTo>
                    <a:lnTo>
                      <a:pt x="661" y="404"/>
                    </a:lnTo>
                    <a:lnTo>
                      <a:pt x="661" y="406"/>
                    </a:lnTo>
                    <a:lnTo>
                      <a:pt x="661" y="404"/>
                    </a:lnTo>
                    <a:lnTo>
                      <a:pt x="663" y="404"/>
                    </a:lnTo>
                    <a:lnTo>
                      <a:pt x="663" y="406"/>
                    </a:lnTo>
                    <a:lnTo>
                      <a:pt x="663" y="408"/>
                    </a:lnTo>
                    <a:lnTo>
                      <a:pt x="664" y="410"/>
                    </a:lnTo>
                    <a:lnTo>
                      <a:pt x="666" y="410"/>
                    </a:lnTo>
                    <a:lnTo>
                      <a:pt x="666" y="412"/>
                    </a:lnTo>
                    <a:lnTo>
                      <a:pt x="666" y="414"/>
                    </a:lnTo>
                    <a:lnTo>
                      <a:pt x="666" y="416"/>
                    </a:lnTo>
                    <a:lnTo>
                      <a:pt x="666" y="418"/>
                    </a:lnTo>
                    <a:lnTo>
                      <a:pt x="666" y="420"/>
                    </a:lnTo>
                    <a:lnTo>
                      <a:pt x="666" y="418"/>
                    </a:lnTo>
                    <a:lnTo>
                      <a:pt x="666" y="420"/>
                    </a:lnTo>
                    <a:lnTo>
                      <a:pt x="668" y="420"/>
                    </a:lnTo>
                    <a:lnTo>
                      <a:pt x="668" y="421"/>
                    </a:lnTo>
                    <a:lnTo>
                      <a:pt x="666" y="421"/>
                    </a:lnTo>
                    <a:lnTo>
                      <a:pt x="668" y="423"/>
                    </a:lnTo>
                    <a:lnTo>
                      <a:pt x="670" y="423"/>
                    </a:lnTo>
                    <a:lnTo>
                      <a:pt x="670" y="425"/>
                    </a:lnTo>
                    <a:lnTo>
                      <a:pt x="668" y="425"/>
                    </a:lnTo>
                    <a:lnTo>
                      <a:pt x="668" y="427"/>
                    </a:lnTo>
                    <a:lnTo>
                      <a:pt x="670" y="427"/>
                    </a:lnTo>
                    <a:lnTo>
                      <a:pt x="668" y="429"/>
                    </a:lnTo>
                    <a:lnTo>
                      <a:pt x="670" y="429"/>
                    </a:lnTo>
                    <a:lnTo>
                      <a:pt x="668" y="431"/>
                    </a:lnTo>
                    <a:lnTo>
                      <a:pt x="666" y="431"/>
                    </a:lnTo>
                    <a:lnTo>
                      <a:pt x="668" y="431"/>
                    </a:lnTo>
                    <a:lnTo>
                      <a:pt x="668" y="433"/>
                    </a:lnTo>
                    <a:lnTo>
                      <a:pt x="666" y="433"/>
                    </a:lnTo>
                    <a:lnTo>
                      <a:pt x="664" y="433"/>
                    </a:lnTo>
                    <a:lnTo>
                      <a:pt x="666" y="433"/>
                    </a:lnTo>
                    <a:lnTo>
                      <a:pt x="664" y="435"/>
                    </a:lnTo>
                    <a:lnTo>
                      <a:pt x="666" y="435"/>
                    </a:lnTo>
                    <a:lnTo>
                      <a:pt x="664" y="435"/>
                    </a:lnTo>
                    <a:lnTo>
                      <a:pt x="664" y="437"/>
                    </a:lnTo>
                    <a:lnTo>
                      <a:pt x="664" y="439"/>
                    </a:lnTo>
                    <a:lnTo>
                      <a:pt x="664" y="437"/>
                    </a:lnTo>
                    <a:lnTo>
                      <a:pt x="664" y="439"/>
                    </a:lnTo>
                    <a:lnTo>
                      <a:pt x="663" y="439"/>
                    </a:lnTo>
                    <a:lnTo>
                      <a:pt x="661" y="439"/>
                    </a:lnTo>
                    <a:lnTo>
                      <a:pt x="663" y="439"/>
                    </a:lnTo>
                    <a:lnTo>
                      <a:pt x="663" y="441"/>
                    </a:lnTo>
                    <a:lnTo>
                      <a:pt x="661" y="441"/>
                    </a:lnTo>
                    <a:lnTo>
                      <a:pt x="663" y="441"/>
                    </a:lnTo>
                    <a:lnTo>
                      <a:pt x="661" y="441"/>
                    </a:lnTo>
                    <a:lnTo>
                      <a:pt x="659" y="441"/>
                    </a:lnTo>
                    <a:lnTo>
                      <a:pt x="657" y="441"/>
                    </a:lnTo>
                    <a:lnTo>
                      <a:pt x="657" y="439"/>
                    </a:lnTo>
                    <a:lnTo>
                      <a:pt x="657" y="441"/>
                    </a:lnTo>
                    <a:lnTo>
                      <a:pt x="657" y="439"/>
                    </a:lnTo>
                    <a:lnTo>
                      <a:pt x="657" y="441"/>
                    </a:lnTo>
                    <a:lnTo>
                      <a:pt x="655" y="441"/>
                    </a:lnTo>
                    <a:lnTo>
                      <a:pt x="657" y="441"/>
                    </a:lnTo>
                    <a:lnTo>
                      <a:pt x="655" y="441"/>
                    </a:lnTo>
                    <a:lnTo>
                      <a:pt x="655" y="439"/>
                    </a:lnTo>
                    <a:lnTo>
                      <a:pt x="653" y="439"/>
                    </a:lnTo>
                    <a:lnTo>
                      <a:pt x="653" y="437"/>
                    </a:lnTo>
                    <a:lnTo>
                      <a:pt x="653" y="439"/>
                    </a:lnTo>
                    <a:lnTo>
                      <a:pt x="651" y="439"/>
                    </a:lnTo>
                    <a:lnTo>
                      <a:pt x="651" y="437"/>
                    </a:lnTo>
                    <a:lnTo>
                      <a:pt x="653" y="437"/>
                    </a:lnTo>
                    <a:lnTo>
                      <a:pt x="651" y="437"/>
                    </a:lnTo>
                    <a:lnTo>
                      <a:pt x="649" y="437"/>
                    </a:lnTo>
                    <a:lnTo>
                      <a:pt x="647" y="437"/>
                    </a:lnTo>
                    <a:lnTo>
                      <a:pt x="649" y="437"/>
                    </a:lnTo>
                    <a:lnTo>
                      <a:pt x="649" y="439"/>
                    </a:lnTo>
                    <a:lnTo>
                      <a:pt x="647" y="439"/>
                    </a:lnTo>
                    <a:lnTo>
                      <a:pt x="645" y="439"/>
                    </a:lnTo>
                    <a:lnTo>
                      <a:pt x="647" y="439"/>
                    </a:lnTo>
                    <a:lnTo>
                      <a:pt x="645" y="439"/>
                    </a:lnTo>
                    <a:lnTo>
                      <a:pt x="645" y="441"/>
                    </a:lnTo>
                    <a:lnTo>
                      <a:pt x="645" y="439"/>
                    </a:lnTo>
                    <a:lnTo>
                      <a:pt x="647" y="439"/>
                    </a:lnTo>
                    <a:lnTo>
                      <a:pt x="647" y="441"/>
                    </a:lnTo>
                    <a:lnTo>
                      <a:pt x="645" y="441"/>
                    </a:lnTo>
                    <a:lnTo>
                      <a:pt x="643" y="441"/>
                    </a:lnTo>
                    <a:lnTo>
                      <a:pt x="645" y="441"/>
                    </a:lnTo>
                    <a:lnTo>
                      <a:pt x="643" y="441"/>
                    </a:lnTo>
                    <a:lnTo>
                      <a:pt x="643" y="443"/>
                    </a:lnTo>
                    <a:lnTo>
                      <a:pt x="641" y="443"/>
                    </a:lnTo>
                    <a:lnTo>
                      <a:pt x="639" y="443"/>
                    </a:lnTo>
                    <a:lnTo>
                      <a:pt x="641" y="445"/>
                    </a:lnTo>
                    <a:lnTo>
                      <a:pt x="639" y="445"/>
                    </a:lnTo>
                    <a:lnTo>
                      <a:pt x="638" y="445"/>
                    </a:lnTo>
                    <a:lnTo>
                      <a:pt x="639" y="445"/>
                    </a:lnTo>
                    <a:lnTo>
                      <a:pt x="638" y="445"/>
                    </a:lnTo>
                    <a:lnTo>
                      <a:pt x="638" y="446"/>
                    </a:lnTo>
                    <a:lnTo>
                      <a:pt x="638" y="448"/>
                    </a:lnTo>
                    <a:lnTo>
                      <a:pt x="638" y="450"/>
                    </a:lnTo>
                    <a:lnTo>
                      <a:pt x="638" y="452"/>
                    </a:lnTo>
                    <a:lnTo>
                      <a:pt x="638" y="450"/>
                    </a:lnTo>
                    <a:lnTo>
                      <a:pt x="638" y="452"/>
                    </a:lnTo>
                    <a:lnTo>
                      <a:pt x="636" y="452"/>
                    </a:lnTo>
                    <a:lnTo>
                      <a:pt x="638" y="452"/>
                    </a:lnTo>
                    <a:lnTo>
                      <a:pt x="636" y="454"/>
                    </a:lnTo>
                    <a:lnTo>
                      <a:pt x="636" y="456"/>
                    </a:lnTo>
                    <a:lnTo>
                      <a:pt x="636" y="454"/>
                    </a:lnTo>
                    <a:lnTo>
                      <a:pt x="638" y="454"/>
                    </a:lnTo>
                    <a:lnTo>
                      <a:pt x="636" y="454"/>
                    </a:lnTo>
                    <a:lnTo>
                      <a:pt x="638" y="454"/>
                    </a:lnTo>
                    <a:lnTo>
                      <a:pt x="638" y="452"/>
                    </a:lnTo>
                    <a:lnTo>
                      <a:pt x="638" y="450"/>
                    </a:lnTo>
                    <a:lnTo>
                      <a:pt x="638" y="448"/>
                    </a:lnTo>
                    <a:lnTo>
                      <a:pt x="638" y="450"/>
                    </a:lnTo>
                    <a:lnTo>
                      <a:pt x="638" y="448"/>
                    </a:lnTo>
                    <a:lnTo>
                      <a:pt x="638" y="446"/>
                    </a:lnTo>
                    <a:lnTo>
                      <a:pt x="638" y="448"/>
                    </a:lnTo>
                    <a:lnTo>
                      <a:pt x="638" y="446"/>
                    </a:lnTo>
                    <a:lnTo>
                      <a:pt x="639" y="446"/>
                    </a:lnTo>
                    <a:lnTo>
                      <a:pt x="638" y="446"/>
                    </a:lnTo>
                    <a:lnTo>
                      <a:pt x="638" y="445"/>
                    </a:lnTo>
                    <a:lnTo>
                      <a:pt x="639" y="445"/>
                    </a:lnTo>
                    <a:lnTo>
                      <a:pt x="641" y="445"/>
                    </a:lnTo>
                    <a:lnTo>
                      <a:pt x="641" y="443"/>
                    </a:lnTo>
                    <a:lnTo>
                      <a:pt x="643" y="443"/>
                    </a:lnTo>
                    <a:lnTo>
                      <a:pt x="643" y="441"/>
                    </a:lnTo>
                    <a:lnTo>
                      <a:pt x="645" y="441"/>
                    </a:lnTo>
                    <a:lnTo>
                      <a:pt x="647" y="441"/>
                    </a:lnTo>
                    <a:lnTo>
                      <a:pt x="647" y="439"/>
                    </a:lnTo>
                    <a:lnTo>
                      <a:pt x="647" y="441"/>
                    </a:lnTo>
                    <a:lnTo>
                      <a:pt x="647" y="439"/>
                    </a:lnTo>
                    <a:lnTo>
                      <a:pt x="649" y="437"/>
                    </a:lnTo>
                    <a:lnTo>
                      <a:pt x="651" y="437"/>
                    </a:lnTo>
                    <a:lnTo>
                      <a:pt x="653" y="437"/>
                    </a:lnTo>
                    <a:lnTo>
                      <a:pt x="651" y="437"/>
                    </a:lnTo>
                    <a:lnTo>
                      <a:pt x="651" y="439"/>
                    </a:lnTo>
                    <a:lnTo>
                      <a:pt x="653" y="439"/>
                    </a:lnTo>
                    <a:lnTo>
                      <a:pt x="653" y="437"/>
                    </a:lnTo>
                    <a:lnTo>
                      <a:pt x="653" y="439"/>
                    </a:lnTo>
                    <a:lnTo>
                      <a:pt x="655" y="439"/>
                    </a:lnTo>
                    <a:lnTo>
                      <a:pt x="655" y="441"/>
                    </a:lnTo>
                    <a:lnTo>
                      <a:pt x="657" y="441"/>
                    </a:lnTo>
                    <a:lnTo>
                      <a:pt x="659" y="441"/>
                    </a:lnTo>
                    <a:lnTo>
                      <a:pt x="657" y="441"/>
                    </a:lnTo>
                    <a:lnTo>
                      <a:pt x="659" y="441"/>
                    </a:lnTo>
                    <a:lnTo>
                      <a:pt x="659" y="443"/>
                    </a:lnTo>
                    <a:lnTo>
                      <a:pt x="659" y="441"/>
                    </a:lnTo>
                    <a:lnTo>
                      <a:pt x="661" y="441"/>
                    </a:lnTo>
                    <a:lnTo>
                      <a:pt x="659" y="441"/>
                    </a:lnTo>
                    <a:lnTo>
                      <a:pt x="661" y="441"/>
                    </a:lnTo>
                    <a:lnTo>
                      <a:pt x="663" y="441"/>
                    </a:lnTo>
                    <a:lnTo>
                      <a:pt x="663" y="439"/>
                    </a:lnTo>
                    <a:lnTo>
                      <a:pt x="664" y="439"/>
                    </a:lnTo>
                    <a:lnTo>
                      <a:pt x="664" y="437"/>
                    </a:lnTo>
                    <a:lnTo>
                      <a:pt x="664" y="435"/>
                    </a:lnTo>
                    <a:lnTo>
                      <a:pt x="666" y="435"/>
                    </a:lnTo>
                    <a:lnTo>
                      <a:pt x="664" y="435"/>
                    </a:lnTo>
                    <a:lnTo>
                      <a:pt x="666" y="435"/>
                    </a:lnTo>
                    <a:lnTo>
                      <a:pt x="666" y="433"/>
                    </a:lnTo>
                    <a:lnTo>
                      <a:pt x="668" y="433"/>
                    </a:lnTo>
                    <a:lnTo>
                      <a:pt x="668" y="431"/>
                    </a:lnTo>
                    <a:lnTo>
                      <a:pt x="670" y="431"/>
                    </a:lnTo>
                    <a:lnTo>
                      <a:pt x="670" y="429"/>
                    </a:lnTo>
                    <a:lnTo>
                      <a:pt x="668" y="429"/>
                    </a:lnTo>
                    <a:lnTo>
                      <a:pt x="670" y="429"/>
                    </a:lnTo>
                    <a:lnTo>
                      <a:pt x="670" y="427"/>
                    </a:lnTo>
                    <a:lnTo>
                      <a:pt x="668" y="427"/>
                    </a:lnTo>
                    <a:lnTo>
                      <a:pt x="668" y="425"/>
                    </a:lnTo>
                    <a:lnTo>
                      <a:pt x="670" y="425"/>
                    </a:lnTo>
                    <a:lnTo>
                      <a:pt x="668" y="425"/>
                    </a:lnTo>
                    <a:lnTo>
                      <a:pt x="670" y="425"/>
                    </a:lnTo>
                    <a:lnTo>
                      <a:pt x="670" y="423"/>
                    </a:lnTo>
                    <a:lnTo>
                      <a:pt x="670" y="425"/>
                    </a:lnTo>
                    <a:lnTo>
                      <a:pt x="670" y="423"/>
                    </a:lnTo>
                    <a:lnTo>
                      <a:pt x="672" y="425"/>
                    </a:lnTo>
                    <a:lnTo>
                      <a:pt x="670" y="423"/>
                    </a:lnTo>
                    <a:lnTo>
                      <a:pt x="672" y="423"/>
                    </a:lnTo>
                    <a:lnTo>
                      <a:pt x="672" y="425"/>
                    </a:lnTo>
                    <a:lnTo>
                      <a:pt x="674" y="425"/>
                    </a:lnTo>
                    <a:lnTo>
                      <a:pt x="674" y="427"/>
                    </a:lnTo>
                    <a:lnTo>
                      <a:pt x="674" y="429"/>
                    </a:lnTo>
                    <a:lnTo>
                      <a:pt x="676" y="429"/>
                    </a:lnTo>
                    <a:lnTo>
                      <a:pt x="676" y="427"/>
                    </a:lnTo>
                    <a:lnTo>
                      <a:pt x="674" y="429"/>
                    </a:lnTo>
                    <a:lnTo>
                      <a:pt x="674" y="427"/>
                    </a:lnTo>
                    <a:lnTo>
                      <a:pt x="676" y="427"/>
                    </a:lnTo>
                    <a:lnTo>
                      <a:pt x="674" y="427"/>
                    </a:lnTo>
                    <a:lnTo>
                      <a:pt x="674" y="425"/>
                    </a:lnTo>
                    <a:lnTo>
                      <a:pt x="674" y="427"/>
                    </a:lnTo>
                    <a:lnTo>
                      <a:pt x="676" y="427"/>
                    </a:lnTo>
                    <a:lnTo>
                      <a:pt x="676" y="429"/>
                    </a:lnTo>
                    <a:lnTo>
                      <a:pt x="678" y="429"/>
                    </a:lnTo>
                    <a:lnTo>
                      <a:pt x="678" y="431"/>
                    </a:lnTo>
                    <a:lnTo>
                      <a:pt x="678" y="429"/>
                    </a:lnTo>
                    <a:lnTo>
                      <a:pt x="678" y="431"/>
                    </a:lnTo>
                    <a:lnTo>
                      <a:pt x="680" y="431"/>
                    </a:lnTo>
                    <a:lnTo>
                      <a:pt x="678" y="431"/>
                    </a:lnTo>
                    <a:lnTo>
                      <a:pt x="680" y="431"/>
                    </a:lnTo>
                    <a:lnTo>
                      <a:pt x="678" y="431"/>
                    </a:lnTo>
                    <a:lnTo>
                      <a:pt x="678" y="433"/>
                    </a:lnTo>
                    <a:lnTo>
                      <a:pt x="680" y="433"/>
                    </a:lnTo>
                    <a:lnTo>
                      <a:pt x="682" y="433"/>
                    </a:lnTo>
                    <a:lnTo>
                      <a:pt x="680" y="435"/>
                    </a:lnTo>
                    <a:lnTo>
                      <a:pt x="682" y="435"/>
                    </a:lnTo>
                    <a:lnTo>
                      <a:pt x="680" y="435"/>
                    </a:lnTo>
                    <a:lnTo>
                      <a:pt x="682" y="433"/>
                    </a:lnTo>
                    <a:lnTo>
                      <a:pt x="682" y="435"/>
                    </a:lnTo>
                    <a:lnTo>
                      <a:pt x="682" y="437"/>
                    </a:lnTo>
                    <a:lnTo>
                      <a:pt x="684" y="437"/>
                    </a:lnTo>
                    <a:lnTo>
                      <a:pt x="684" y="439"/>
                    </a:lnTo>
                    <a:lnTo>
                      <a:pt x="686" y="439"/>
                    </a:lnTo>
                    <a:lnTo>
                      <a:pt x="686" y="437"/>
                    </a:lnTo>
                    <a:lnTo>
                      <a:pt x="686" y="439"/>
                    </a:lnTo>
                    <a:lnTo>
                      <a:pt x="687" y="439"/>
                    </a:lnTo>
                    <a:lnTo>
                      <a:pt x="686" y="439"/>
                    </a:lnTo>
                    <a:lnTo>
                      <a:pt x="687" y="439"/>
                    </a:lnTo>
                    <a:lnTo>
                      <a:pt x="689" y="439"/>
                    </a:lnTo>
                    <a:lnTo>
                      <a:pt x="689" y="441"/>
                    </a:lnTo>
                    <a:lnTo>
                      <a:pt x="687" y="441"/>
                    </a:lnTo>
                    <a:lnTo>
                      <a:pt x="687" y="443"/>
                    </a:lnTo>
                    <a:lnTo>
                      <a:pt x="687" y="441"/>
                    </a:lnTo>
                    <a:lnTo>
                      <a:pt x="689" y="443"/>
                    </a:lnTo>
                    <a:lnTo>
                      <a:pt x="687" y="443"/>
                    </a:lnTo>
                    <a:lnTo>
                      <a:pt x="689" y="443"/>
                    </a:lnTo>
                    <a:lnTo>
                      <a:pt x="687" y="443"/>
                    </a:lnTo>
                    <a:lnTo>
                      <a:pt x="689" y="445"/>
                    </a:lnTo>
                    <a:lnTo>
                      <a:pt x="689" y="446"/>
                    </a:lnTo>
                    <a:lnTo>
                      <a:pt x="689" y="448"/>
                    </a:lnTo>
                    <a:lnTo>
                      <a:pt x="691" y="448"/>
                    </a:lnTo>
                    <a:lnTo>
                      <a:pt x="689" y="448"/>
                    </a:lnTo>
                    <a:lnTo>
                      <a:pt x="689" y="450"/>
                    </a:lnTo>
                    <a:lnTo>
                      <a:pt x="691" y="450"/>
                    </a:lnTo>
                    <a:lnTo>
                      <a:pt x="689" y="450"/>
                    </a:lnTo>
                    <a:lnTo>
                      <a:pt x="691" y="450"/>
                    </a:lnTo>
                    <a:lnTo>
                      <a:pt x="691" y="452"/>
                    </a:lnTo>
                    <a:lnTo>
                      <a:pt x="689" y="452"/>
                    </a:lnTo>
                    <a:lnTo>
                      <a:pt x="689" y="454"/>
                    </a:lnTo>
                    <a:lnTo>
                      <a:pt x="691" y="454"/>
                    </a:lnTo>
                    <a:lnTo>
                      <a:pt x="691" y="456"/>
                    </a:lnTo>
                    <a:lnTo>
                      <a:pt x="689" y="456"/>
                    </a:lnTo>
                    <a:lnTo>
                      <a:pt x="689" y="458"/>
                    </a:lnTo>
                    <a:lnTo>
                      <a:pt x="691" y="458"/>
                    </a:lnTo>
                    <a:lnTo>
                      <a:pt x="691" y="460"/>
                    </a:lnTo>
                    <a:lnTo>
                      <a:pt x="693" y="460"/>
                    </a:lnTo>
                    <a:lnTo>
                      <a:pt x="693" y="462"/>
                    </a:lnTo>
                    <a:lnTo>
                      <a:pt x="695" y="462"/>
                    </a:lnTo>
                    <a:lnTo>
                      <a:pt x="693" y="462"/>
                    </a:lnTo>
                    <a:lnTo>
                      <a:pt x="693" y="464"/>
                    </a:lnTo>
                    <a:lnTo>
                      <a:pt x="695" y="464"/>
                    </a:lnTo>
                    <a:lnTo>
                      <a:pt x="695" y="466"/>
                    </a:lnTo>
                    <a:lnTo>
                      <a:pt x="695" y="468"/>
                    </a:lnTo>
                    <a:lnTo>
                      <a:pt x="697" y="468"/>
                    </a:lnTo>
                    <a:lnTo>
                      <a:pt x="697" y="470"/>
                    </a:lnTo>
                    <a:lnTo>
                      <a:pt x="697" y="471"/>
                    </a:lnTo>
                    <a:lnTo>
                      <a:pt x="697" y="473"/>
                    </a:lnTo>
                    <a:lnTo>
                      <a:pt x="699" y="473"/>
                    </a:lnTo>
                    <a:lnTo>
                      <a:pt x="697" y="473"/>
                    </a:lnTo>
                    <a:lnTo>
                      <a:pt x="699" y="473"/>
                    </a:lnTo>
                    <a:lnTo>
                      <a:pt x="699" y="475"/>
                    </a:lnTo>
                    <a:lnTo>
                      <a:pt x="697" y="475"/>
                    </a:lnTo>
                    <a:lnTo>
                      <a:pt x="699" y="475"/>
                    </a:lnTo>
                    <a:lnTo>
                      <a:pt x="699" y="477"/>
                    </a:lnTo>
                    <a:lnTo>
                      <a:pt x="699" y="479"/>
                    </a:lnTo>
                    <a:lnTo>
                      <a:pt x="699" y="477"/>
                    </a:lnTo>
                    <a:lnTo>
                      <a:pt x="697" y="477"/>
                    </a:lnTo>
                    <a:lnTo>
                      <a:pt x="697" y="479"/>
                    </a:lnTo>
                    <a:lnTo>
                      <a:pt x="699" y="479"/>
                    </a:lnTo>
                    <a:lnTo>
                      <a:pt x="697" y="479"/>
                    </a:lnTo>
                    <a:lnTo>
                      <a:pt x="697" y="477"/>
                    </a:lnTo>
                    <a:lnTo>
                      <a:pt x="699" y="477"/>
                    </a:lnTo>
                    <a:lnTo>
                      <a:pt x="699" y="479"/>
                    </a:lnTo>
                    <a:lnTo>
                      <a:pt x="699" y="477"/>
                    </a:lnTo>
                    <a:lnTo>
                      <a:pt x="701" y="477"/>
                    </a:lnTo>
                    <a:lnTo>
                      <a:pt x="699" y="477"/>
                    </a:lnTo>
                    <a:lnTo>
                      <a:pt x="699" y="475"/>
                    </a:lnTo>
                    <a:lnTo>
                      <a:pt x="699" y="473"/>
                    </a:lnTo>
                    <a:lnTo>
                      <a:pt x="697" y="473"/>
                    </a:lnTo>
                    <a:lnTo>
                      <a:pt x="699" y="473"/>
                    </a:lnTo>
                    <a:lnTo>
                      <a:pt x="697" y="473"/>
                    </a:lnTo>
                    <a:lnTo>
                      <a:pt x="697" y="471"/>
                    </a:lnTo>
                    <a:lnTo>
                      <a:pt x="697" y="470"/>
                    </a:lnTo>
                    <a:lnTo>
                      <a:pt x="697" y="468"/>
                    </a:lnTo>
                    <a:lnTo>
                      <a:pt x="695" y="468"/>
                    </a:lnTo>
                    <a:lnTo>
                      <a:pt x="695" y="466"/>
                    </a:lnTo>
                    <a:lnTo>
                      <a:pt x="695" y="464"/>
                    </a:lnTo>
                    <a:lnTo>
                      <a:pt x="693" y="464"/>
                    </a:lnTo>
                    <a:lnTo>
                      <a:pt x="693" y="462"/>
                    </a:lnTo>
                    <a:lnTo>
                      <a:pt x="695" y="462"/>
                    </a:lnTo>
                    <a:lnTo>
                      <a:pt x="693" y="462"/>
                    </a:lnTo>
                    <a:lnTo>
                      <a:pt x="693" y="460"/>
                    </a:lnTo>
                    <a:lnTo>
                      <a:pt x="691" y="460"/>
                    </a:lnTo>
                    <a:lnTo>
                      <a:pt x="691" y="458"/>
                    </a:lnTo>
                    <a:lnTo>
                      <a:pt x="689" y="458"/>
                    </a:lnTo>
                    <a:lnTo>
                      <a:pt x="689" y="456"/>
                    </a:lnTo>
                    <a:lnTo>
                      <a:pt x="691" y="456"/>
                    </a:lnTo>
                    <a:lnTo>
                      <a:pt x="691" y="454"/>
                    </a:lnTo>
                    <a:lnTo>
                      <a:pt x="689" y="454"/>
                    </a:lnTo>
                    <a:lnTo>
                      <a:pt x="689" y="452"/>
                    </a:lnTo>
                    <a:lnTo>
                      <a:pt x="691" y="452"/>
                    </a:lnTo>
                    <a:lnTo>
                      <a:pt x="691" y="450"/>
                    </a:lnTo>
                    <a:lnTo>
                      <a:pt x="691" y="452"/>
                    </a:lnTo>
                    <a:lnTo>
                      <a:pt x="693" y="452"/>
                    </a:lnTo>
                    <a:lnTo>
                      <a:pt x="691" y="452"/>
                    </a:lnTo>
                    <a:lnTo>
                      <a:pt x="691" y="450"/>
                    </a:lnTo>
                    <a:lnTo>
                      <a:pt x="693" y="450"/>
                    </a:lnTo>
                    <a:lnTo>
                      <a:pt x="693" y="452"/>
                    </a:lnTo>
                    <a:lnTo>
                      <a:pt x="695" y="452"/>
                    </a:lnTo>
                    <a:lnTo>
                      <a:pt x="695" y="454"/>
                    </a:lnTo>
                    <a:lnTo>
                      <a:pt x="693" y="454"/>
                    </a:lnTo>
                    <a:lnTo>
                      <a:pt x="695" y="454"/>
                    </a:lnTo>
                    <a:lnTo>
                      <a:pt x="695" y="452"/>
                    </a:lnTo>
                    <a:lnTo>
                      <a:pt x="693" y="452"/>
                    </a:lnTo>
                    <a:lnTo>
                      <a:pt x="693" y="450"/>
                    </a:lnTo>
                    <a:lnTo>
                      <a:pt x="691" y="450"/>
                    </a:lnTo>
                    <a:lnTo>
                      <a:pt x="689" y="450"/>
                    </a:lnTo>
                    <a:lnTo>
                      <a:pt x="689" y="448"/>
                    </a:lnTo>
                    <a:lnTo>
                      <a:pt x="691" y="448"/>
                    </a:lnTo>
                    <a:lnTo>
                      <a:pt x="691" y="450"/>
                    </a:lnTo>
                    <a:lnTo>
                      <a:pt x="691" y="448"/>
                    </a:lnTo>
                    <a:lnTo>
                      <a:pt x="691" y="446"/>
                    </a:lnTo>
                    <a:lnTo>
                      <a:pt x="689" y="446"/>
                    </a:lnTo>
                    <a:lnTo>
                      <a:pt x="689" y="445"/>
                    </a:lnTo>
                    <a:lnTo>
                      <a:pt x="689" y="443"/>
                    </a:lnTo>
                    <a:lnTo>
                      <a:pt x="689" y="441"/>
                    </a:lnTo>
                    <a:lnTo>
                      <a:pt x="689" y="443"/>
                    </a:lnTo>
                    <a:lnTo>
                      <a:pt x="689" y="441"/>
                    </a:lnTo>
                    <a:lnTo>
                      <a:pt x="691" y="441"/>
                    </a:lnTo>
                    <a:lnTo>
                      <a:pt x="691" y="439"/>
                    </a:lnTo>
                    <a:lnTo>
                      <a:pt x="689" y="439"/>
                    </a:lnTo>
                    <a:lnTo>
                      <a:pt x="691" y="439"/>
                    </a:lnTo>
                    <a:lnTo>
                      <a:pt x="689" y="439"/>
                    </a:lnTo>
                    <a:lnTo>
                      <a:pt x="687" y="439"/>
                    </a:lnTo>
                    <a:lnTo>
                      <a:pt x="687" y="437"/>
                    </a:lnTo>
                    <a:lnTo>
                      <a:pt x="687" y="439"/>
                    </a:lnTo>
                    <a:lnTo>
                      <a:pt x="687" y="437"/>
                    </a:lnTo>
                    <a:lnTo>
                      <a:pt x="686" y="437"/>
                    </a:lnTo>
                    <a:lnTo>
                      <a:pt x="687" y="437"/>
                    </a:lnTo>
                    <a:lnTo>
                      <a:pt x="686" y="437"/>
                    </a:lnTo>
                    <a:lnTo>
                      <a:pt x="686" y="439"/>
                    </a:lnTo>
                    <a:lnTo>
                      <a:pt x="684" y="439"/>
                    </a:lnTo>
                    <a:lnTo>
                      <a:pt x="684" y="437"/>
                    </a:lnTo>
                    <a:lnTo>
                      <a:pt x="686" y="437"/>
                    </a:lnTo>
                    <a:lnTo>
                      <a:pt x="684" y="437"/>
                    </a:lnTo>
                    <a:lnTo>
                      <a:pt x="686" y="437"/>
                    </a:lnTo>
                    <a:lnTo>
                      <a:pt x="684" y="437"/>
                    </a:lnTo>
                    <a:lnTo>
                      <a:pt x="684" y="435"/>
                    </a:lnTo>
                    <a:lnTo>
                      <a:pt x="682" y="435"/>
                    </a:lnTo>
                    <a:lnTo>
                      <a:pt x="682" y="433"/>
                    </a:lnTo>
                    <a:lnTo>
                      <a:pt x="680" y="431"/>
                    </a:lnTo>
                    <a:lnTo>
                      <a:pt x="680" y="433"/>
                    </a:lnTo>
                    <a:lnTo>
                      <a:pt x="680" y="431"/>
                    </a:lnTo>
                    <a:lnTo>
                      <a:pt x="680" y="429"/>
                    </a:lnTo>
                    <a:lnTo>
                      <a:pt x="678" y="429"/>
                    </a:lnTo>
                    <a:lnTo>
                      <a:pt x="676" y="429"/>
                    </a:lnTo>
                    <a:lnTo>
                      <a:pt x="678" y="429"/>
                    </a:lnTo>
                    <a:lnTo>
                      <a:pt x="676" y="429"/>
                    </a:lnTo>
                    <a:lnTo>
                      <a:pt x="678" y="429"/>
                    </a:lnTo>
                    <a:lnTo>
                      <a:pt x="678" y="427"/>
                    </a:lnTo>
                    <a:lnTo>
                      <a:pt x="676" y="427"/>
                    </a:lnTo>
                    <a:lnTo>
                      <a:pt x="678" y="427"/>
                    </a:lnTo>
                    <a:lnTo>
                      <a:pt x="676" y="425"/>
                    </a:lnTo>
                    <a:lnTo>
                      <a:pt x="674" y="425"/>
                    </a:lnTo>
                    <a:lnTo>
                      <a:pt x="674" y="423"/>
                    </a:lnTo>
                    <a:lnTo>
                      <a:pt x="672" y="423"/>
                    </a:lnTo>
                    <a:lnTo>
                      <a:pt x="670" y="423"/>
                    </a:lnTo>
                    <a:lnTo>
                      <a:pt x="668" y="423"/>
                    </a:lnTo>
                    <a:lnTo>
                      <a:pt x="668" y="421"/>
                    </a:lnTo>
                    <a:lnTo>
                      <a:pt x="668" y="423"/>
                    </a:lnTo>
                    <a:lnTo>
                      <a:pt x="668" y="421"/>
                    </a:lnTo>
                    <a:lnTo>
                      <a:pt x="668" y="420"/>
                    </a:lnTo>
                    <a:lnTo>
                      <a:pt x="668" y="418"/>
                    </a:lnTo>
                    <a:lnTo>
                      <a:pt x="668" y="420"/>
                    </a:lnTo>
                    <a:lnTo>
                      <a:pt x="668" y="418"/>
                    </a:lnTo>
                    <a:lnTo>
                      <a:pt x="666" y="418"/>
                    </a:lnTo>
                    <a:lnTo>
                      <a:pt x="668" y="418"/>
                    </a:lnTo>
                    <a:lnTo>
                      <a:pt x="666" y="416"/>
                    </a:lnTo>
                    <a:lnTo>
                      <a:pt x="668" y="416"/>
                    </a:lnTo>
                    <a:lnTo>
                      <a:pt x="666" y="416"/>
                    </a:lnTo>
                    <a:lnTo>
                      <a:pt x="668" y="416"/>
                    </a:lnTo>
                    <a:lnTo>
                      <a:pt x="666" y="414"/>
                    </a:lnTo>
                    <a:lnTo>
                      <a:pt x="666" y="412"/>
                    </a:lnTo>
                    <a:lnTo>
                      <a:pt x="666" y="410"/>
                    </a:lnTo>
                    <a:lnTo>
                      <a:pt x="664" y="410"/>
                    </a:lnTo>
                    <a:lnTo>
                      <a:pt x="664" y="408"/>
                    </a:lnTo>
                    <a:lnTo>
                      <a:pt x="664" y="406"/>
                    </a:lnTo>
                    <a:lnTo>
                      <a:pt x="664" y="404"/>
                    </a:lnTo>
                    <a:lnTo>
                      <a:pt x="663" y="404"/>
                    </a:lnTo>
                    <a:lnTo>
                      <a:pt x="664" y="404"/>
                    </a:lnTo>
                    <a:lnTo>
                      <a:pt x="663" y="404"/>
                    </a:lnTo>
                    <a:lnTo>
                      <a:pt x="663" y="402"/>
                    </a:lnTo>
                    <a:lnTo>
                      <a:pt x="663" y="400"/>
                    </a:lnTo>
                    <a:lnTo>
                      <a:pt x="663" y="398"/>
                    </a:lnTo>
                    <a:lnTo>
                      <a:pt x="661" y="398"/>
                    </a:lnTo>
                    <a:lnTo>
                      <a:pt x="661" y="396"/>
                    </a:lnTo>
                    <a:lnTo>
                      <a:pt x="659" y="396"/>
                    </a:lnTo>
                    <a:lnTo>
                      <a:pt x="661" y="396"/>
                    </a:lnTo>
                    <a:lnTo>
                      <a:pt x="661" y="395"/>
                    </a:lnTo>
                    <a:lnTo>
                      <a:pt x="661" y="396"/>
                    </a:lnTo>
                    <a:lnTo>
                      <a:pt x="661" y="395"/>
                    </a:lnTo>
                    <a:lnTo>
                      <a:pt x="659" y="395"/>
                    </a:lnTo>
                    <a:lnTo>
                      <a:pt x="659" y="393"/>
                    </a:lnTo>
                    <a:lnTo>
                      <a:pt x="661" y="393"/>
                    </a:lnTo>
                    <a:lnTo>
                      <a:pt x="661" y="391"/>
                    </a:lnTo>
                    <a:lnTo>
                      <a:pt x="661" y="389"/>
                    </a:lnTo>
                    <a:lnTo>
                      <a:pt x="661" y="387"/>
                    </a:lnTo>
                    <a:lnTo>
                      <a:pt x="661" y="385"/>
                    </a:lnTo>
                    <a:lnTo>
                      <a:pt x="661" y="383"/>
                    </a:lnTo>
                    <a:lnTo>
                      <a:pt x="661" y="381"/>
                    </a:lnTo>
                    <a:lnTo>
                      <a:pt x="661" y="379"/>
                    </a:lnTo>
                    <a:lnTo>
                      <a:pt x="663" y="379"/>
                    </a:lnTo>
                    <a:lnTo>
                      <a:pt x="663" y="377"/>
                    </a:lnTo>
                    <a:lnTo>
                      <a:pt x="663" y="375"/>
                    </a:lnTo>
                    <a:lnTo>
                      <a:pt x="663" y="373"/>
                    </a:lnTo>
                    <a:lnTo>
                      <a:pt x="663" y="371"/>
                    </a:lnTo>
                    <a:lnTo>
                      <a:pt x="663" y="370"/>
                    </a:lnTo>
                    <a:lnTo>
                      <a:pt x="664" y="370"/>
                    </a:lnTo>
                    <a:lnTo>
                      <a:pt x="664" y="368"/>
                    </a:lnTo>
                    <a:lnTo>
                      <a:pt x="663" y="368"/>
                    </a:lnTo>
                    <a:lnTo>
                      <a:pt x="661" y="368"/>
                    </a:lnTo>
                    <a:lnTo>
                      <a:pt x="663" y="366"/>
                    </a:lnTo>
                    <a:lnTo>
                      <a:pt x="664" y="364"/>
                    </a:lnTo>
                    <a:lnTo>
                      <a:pt x="664" y="362"/>
                    </a:lnTo>
                    <a:lnTo>
                      <a:pt x="664" y="364"/>
                    </a:lnTo>
                    <a:lnTo>
                      <a:pt x="664" y="362"/>
                    </a:lnTo>
                    <a:lnTo>
                      <a:pt x="663" y="362"/>
                    </a:lnTo>
                    <a:lnTo>
                      <a:pt x="663" y="360"/>
                    </a:lnTo>
                    <a:lnTo>
                      <a:pt x="663" y="358"/>
                    </a:lnTo>
                    <a:lnTo>
                      <a:pt x="663" y="360"/>
                    </a:lnTo>
                    <a:lnTo>
                      <a:pt x="663" y="358"/>
                    </a:lnTo>
                    <a:lnTo>
                      <a:pt x="663" y="356"/>
                    </a:lnTo>
                    <a:lnTo>
                      <a:pt x="663" y="354"/>
                    </a:lnTo>
                    <a:lnTo>
                      <a:pt x="664" y="354"/>
                    </a:lnTo>
                    <a:lnTo>
                      <a:pt x="664" y="356"/>
                    </a:lnTo>
                    <a:lnTo>
                      <a:pt x="664" y="354"/>
                    </a:lnTo>
                    <a:lnTo>
                      <a:pt x="666" y="354"/>
                    </a:lnTo>
                    <a:lnTo>
                      <a:pt x="668" y="354"/>
                    </a:lnTo>
                    <a:lnTo>
                      <a:pt x="668" y="352"/>
                    </a:lnTo>
                    <a:lnTo>
                      <a:pt x="666" y="352"/>
                    </a:lnTo>
                    <a:lnTo>
                      <a:pt x="666" y="350"/>
                    </a:lnTo>
                    <a:lnTo>
                      <a:pt x="666" y="348"/>
                    </a:lnTo>
                    <a:lnTo>
                      <a:pt x="668" y="348"/>
                    </a:lnTo>
                    <a:lnTo>
                      <a:pt x="668" y="350"/>
                    </a:lnTo>
                    <a:lnTo>
                      <a:pt x="666" y="350"/>
                    </a:lnTo>
                    <a:lnTo>
                      <a:pt x="668" y="350"/>
                    </a:lnTo>
                    <a:lnTo>
                      <a:pt x="668" y="348"/>
                    </a:lnTo>
                    <a:lnTo>
                      <a:pt x="668" y="346"/>
                    </a:lnTo>
                    <a:lnTo>
                      <a:pt x="666" y="346"/>
                    </a:lnTo>
                    <a:lnTo>
                      <a:pt x="668" y="346"/>
                    </a:lnTo>
                    <a:lnTo>
                      <a:pt x="666" y="346"/>
                    </a:lnTo>
                    <a:lnTo>
                      <a:pt x="664" y="346"/>
                    </a:lnTo>
                    <a:lnTo>
                      <a:pt x="663" y="346"/>
                    </a:lnTo>
                    <a:lnTo>
                      <a:pt x="663" y="348"/>
                    </a:lnTo>
                    <a:lnTo>
                      <a:pt x="661" y="348"/>
                    </a:lnTo>
                    <a:lnTo>
                      <a:pt x="661" y="346"/>
                    </a:lnTo>
                    <a:lnTo>
                      <a:pt x="661" y="345"/>
                    </a:lnTo>
                    <a:lnTo>
                      <a:pt x="661" y="343"/>
                    </a:lnTo>
                    <a:lnTo>
                      <a:pt x="659" y="343"/>
                    </a:lnTo>
                    <a:lnTo>
                      <a:pt x="657" y="343"/>
                    </a:lnTo>
                    <a:lnTo>
                      <a:pt x="655" y="343"/>
                    </a:lnTo>
                    <a:lnTo>
                      <a:pt x="653" y="343"/>
                    </a:lnTo>
                    <a:lnTo>
                      <a:pt x="651" y="343"/>
                    </a:lnTo>
                    <a:lnTo>
                      <a:pt x="651" y="341"/>
                    </a:lnTo>
                    <a:lnTo>
                      <a:pt x="649" y="341"/>
                    </a:lnTo>
                    <a:lnTo>
                      <a:pt x="651" y="339"/>
                    </a:lnTo>
                    <a:lnTo>
                      <a:pt x="653" y="339"/>
                    </a:lnTo>
                    <a:lnTo>
                      <a:pt x="651" y="337"/>
                    </a:lnTo>
                    <a:lnTo>
                      <a:pt x="653" y="335"/>
                    </a:lnTo>
                    <a:lnTo>
                      <a:pt x="651" y="333"/>
                    </a:lnTo>
                    <a:lnTo>
                      <a:pt x="651" y="331"/>
                    </a:lnTo>
                    <a:lnTo>
                      <a:pt x="649" y="331"/>
                    </a:lnTo>
                    <a:lnTo>
                      <a:pt x="649" y="333"/>
                    </a:lnTo>
                    <a:lnTo>
                      <a:pt x="649" y="335"/>
                    </a:lnTo>
                    <a:lnTo>
                      <a:pt x="647" y="335"/>
                    </a:lnTo>
                    <a:lnTo>
                      <a:pt x="645" y="335"/>
                    </a:lnTo>
                    <a:lnTo>
                      <a:pt x="645" y="333"/>
                    </a:lnTo>
                    <a:lnTo>
                      <a:pt x="643" y="333"/>
                    </a:lnTo>
                    <a:lnTo>
                      <a:pt x="643" y="331"/>
                    </a:lnTo>
                    <a:lnTo>
                      <a:pt x="641" y="331"/>
                    </a:lnTo>
                    <a:lnTo>
                      <a:pt x="639" y="331"/>
                    </a:lnTo>
                    <a:lnTo>
                      <a:pt x="639" y="329"/>
                    </a:lnTo>
                    <a:lnTo>
                      <a:pt x="641" y="329"/>
                    </a:lnTo>
                    <a:lnTo>
                      <a:pt x="641" y="327"/>
                    </a:lnTo>
                    <a:lnTo>
                      <a:pt x="641" y="325"/>
                    </a:lnTo>
                    <a:lnTo>
                      <a:pt x="639" y="325"/>
                    </a:lnTo>
                    <a:lnTo>
                      <a:pt x="638" y="325"/>
                    </a:lnTo>
                    <a:lnTo>
                      <a:pt x="636" y="323"/>
                    </a:lnTo>
                    <a:lnTo>
                      <a:pt x="638" y="323"/>
                    </a:lnTo>
                    <a:lnTo>
                      <a:pt x="639" y="323"/>
                    </a:lnTo>
                    <a:lnTo>
                      <a:pt x="641" y="323"/>
                    </a:lnTo>
                    <a:lnTo>
                      <a:pt x="641" y="321"/>
                    </a:lnTo>
                    <a:lnTo>
                      <a:pt x="643" y="321"/>
                    </a:lnTo>
                    <a:lnTo>
                      <a:pt x="643" y="320"/>
                    </a:lnTo>
                    <a:lnTo>
                      <a:pt x="643" y="318"/>
                    </a:lnTo>
                    <a:lnTo>
                      <a:pt x="643" y="316"/>
                    </a:lnTo>
                    <a:lnTo>
                      <a:pt x="645" y="316"/>
                    </a:lnTo>
                    <a:lnTo>
                      <a:pt x="645" y="314"/>
                    </a:lnTo>
                    <a:lnTo>
                      <a:pt x="645" y="312"/>
                    </a:lnTo>
                    <a:lnTo>
                      <a:pt x="647" y="312"/>
                    </a:lnTo>
                    <a:lnTo>
                      <a:pt x="645" y="312"/>
                    </a:lnTo>
                    <a:lnTo>
                      <a:pt x="645" y="314"/>
                    </a:lnTo>
                    <a:lnTo>
                      <a:pt x="645" y="312"/>
                    </a:lnTo>
                    <a:lnTo>
                      <a:pt x="647" y="312"/>
                    </a:lnTo>
                    <a:lnTo>
                      <a:pt x="645" y="312"/>
                    </a:lnTo>
                    <a:lnTo>
                      <a:pt x="645" y="310"/>
                    </a:lnTo>
                    <a:lnTo>
                      <a:pt x="647" y="310"/>
                    </a:lnTo>
                    <a:lnTo>
                      <a:pt x="647" y="312"/>
                    </a:lnTo>
                    <a:lnTo>
                      <a:pt x="649" y="312"/>
                    </a:lnTo>
                    <a:lnTo>
                      <a:pt x="649" y="314"/>
                    </a:lnTo>
                    <a:lnTo>
                      <a:pt x="649" y="312"/>
                    </a:lnTo>
                    <a:lnTo>
                      <a:pt x="651" y="312"/>
                    </a:lnTo>
                    <a:lnTo>
                      <a:pt x="653" y="312"/>
                    </a:lnTo>
                    <a:lnTo>
                      <a:pt x="655" y="312"/>
                    </a:lnTo>
                    <a:lnTo>
                      <a:pt x="655" y="310"/>
                    </a:lnTo>
                    <a:lnTo>
                      <a:pt x="653" y="310"/>
                    </a:lnTo>
                    <a:lnTo>
                      <a:pt x="655" y="308"/>
                    </a:lnTo>
                    <a:lnTo>
                      <a:pt x="657" y="306"/>
                    </a:lnTo>
                    <a:lnTo>
                      <a:pt x="657" y="308"/>
                    </a:lnTo>
                    <a:lnTo>
                      <a:pt x="655" y="308"/>
                    </a:lnTo>
                    <a:lnTo>
                      <a:pt x="657" y="308"/>
                    </a:lnTo>
                    <a:lnTo>
                      <a:pt x="659" y="308"/>
                    </a:lnTo>
                    <a:lnTo>
                      <a:pt x="659" y="306"/>
                    </a:lnTo>
                    <a:lnTo>
                      <a:pt x="661" y="306"/>
                    </a:lnTo>
                    <a:lnTo>
                      <a:pt x="661" y="304"/>
                    </a:lnTo>
                    <a:lnTo>
                      <a:pt x="661" y="302"/>
                    </a:lnTo>
                    <a:lnTo>
                      <a:pt x="659" y="302"/>
                    </a:lnTo>
                    <a:lnTo>
                      <a:pt x="659" y="300"/>
                    </a:lnTo>
                    <a:lnTo>
                      <a:pt x="661" y="300"/>
                    </a:lnTo>
                    <a:lnTo>
                      <a:pt x="663" y="300"/>
                    </a:lnTo>
                    <a:lnTo>
                      <a:pt x="663" y="302"/>
                    </a:lnTo>
                    <a:lnTo>
                      <a:pt x="663" y="300"/>
                    </a:lnTo>
                    <a:lnTo>
                      <a:pt x="663" y="298"/>
                    </a:lnTo>
                    <a:lnTo>
                      <a:pt x="664" y="298"/>
                    </a:lnTo>
                    <a:lnTo>
                      <a:pt x="666" y="298"/>
                    </a:lnTo>
                    <a:lnTo>
                      <a:pt x="666" y="296"/>
                    </a:lnTo>
                    <a:lnTo>
                      <a:pt x="664" y="296"/>
                    </a:lnTo>
                    <a:lnTo>
                      <a:pt x="666" y="296"/>
                    </a:lnTo>
                    <a:lnTo>
                      <a:pt x="668" y="296"/>
                    </a:lnTo>
                    <a:lnTo>
                      <a:pt x="668" y="295"/>
                    </a:lnTo>
                    <a:lnTo>
                      <a:pt x="670" y="295"/>
                    </a:lnTo>
                    <a:lnTo>
                      <a:pt x="670" y="293"/>
                    </a:lnTo>
                    <a:lnTo>
                      <a:pt x="672" y="293"/>
                    </a:lnTo>
                    <a:lnTo>
                      <a:pt x="672" y="295"/>
                    </a:lnTo>
                    <a:lnTo>
                      <a:pt x="672" y="293"/>
                    </a:lnTo>
                    <a:lnTo>
                      <a:pt x="674" y="293"/>
                    </a:lnTo>
                    <a:lnTo>
                      <a:pt x="674" y="291"/>
                    </a:lnTo>
                    <a:lnTo>
                      <a:pt x="674" y="293"/>
                    </a:lnTo>
                    <a:lnTo>
                      <a:pt x="674" y="291"/>
                    </a:lnTo>
                    <a:lnTo>
                      <a:pt x="676" y="291"/>
                    </a:lnTo>
                    <a:lnTo>
                      <a:pt x="674" y="291"/>
                    </a:lnTo>
                    <a:lnTo>
                      <a:pt x="676" y="291"/>
                    </a:lnTo>
                    <a:lnTo>
                      <a:pt x="676" y="289"/>
                    </a:lnTo>
                    <a:lnTo>
                      <a:pt x="674" y="289"/>
                    </a:lnTo>
                    <a:lnTo>
                      <a:pt x="676" y="289"/>
                    </a:lnTo>
                    <a:lnTo>
                      <a:pt x="678" y="289"/>
                    </a:lnTo>
                    <a:lnTo>
                      <a:pt x="678" y="287"/>
                    </a:lnTo>
                    <a:lnTo>
                      <a:pt x="680" y="289"/>
                    </a:lnTo>
                    <a:lnTo>
                      <a:pt x="680" y="287"/>
                    </a:lnTo>
                    <a:lnTo>
                      <a:pt x="678" y="287"/>
                    </a:lnTo>
                    <a:lnTo>
                      <a:pt x="678" y="289"/>
                    </a:lnTo>
                    <a:lnTo>
                      <a:pt x="676" y="289"/>
                    </a:lnTo>
                    <a:lnTo>
                      <a:pt x="674" y="289"/>
                    </a:lnTo>
                    <a:lnTo>
                      <a:pt x="676" y="289"/>
                    </a:lnTo>
                    <a:lnTo>
                      <a:pt x="674" y="289"/>
                    </a:lnTo>
                    <a:lnTo>
                      <a:pt x="674" y="291"/>
                    </a:lnTo>
                    <a:lnTo>
                      <a:pt x="676" y="291"/>
                    </a:lnTo>
                    <a:lnTo>
                      <a:pt x="674" y="291"/>
                    </a:lnTo>
                    <a:lnTo>
                      <a:pt x="674" y="293"/>
                    </a:lnTo>
                    <a:lnTo>
                      <a:pt x="674" y="291"/>
                    </a:lnTo>
                    <a:lnTo>
                      <a:pt x="672" y="291"/>
                    </a:lnTo>
                    <a:lnTo>
                      <a:pt x="674" y="293"/>
                    </a:lnTo>
                    <a:lnTo>
                      <a:pt x="672" y="293"/>
                    </a:lnTo>
                    <a:lnTo>
                      <a:pt x="672" y="295"/>
                    </a:lnTo>
                    <a:lnTo>
                      <a:pt x="672" y="293"/>
                    </a:lnTo>
                    <a:lnTo>
                      <a:pt x="670" y="293"/>
                    </a:lnTo>
                    <a:lnTo>
                      <a:pt x="670" y="295"/>
                    </a:lnTo>
                    <a:lnTo>
                      <a:pt x="668" y="295"/>
                    </a:lnTo>
                    <a:lnTo>
                      <a:pt x="670" y="295"/>
                    </a:lnTo>
                    <a:lnTo>
                      <a:pt x="668" y="295"/>
                    </a:lnTo>
                    <a:lnTo>
                      <a:pt x="668" y="296"/>
                    </a:lnTo>
                    <a:lnTo>
                      <a:pt x="666" y="296"/>
                    </a:lnTo>
                    <a:lnTo>
                      <a:pt x="664" y="296"/>
                    </a:lnTo>
                    <a:lnTo>
                      <a:pt x="666" y="296"/>
                    </a:lnTo>
                    <a:lnTo>
                      <a:pt x="666" y="298"/>
                    </a:lnTo>
                    <a:lnTo>
                      <a:pt x="664" y="298"/>
                    </a:lnTo>
                    <a:lnTo>
                      <a:pt x="663" y="298"/>
                    </a:lnTo>
                    <a:lnTo>
                      <a:pt x="661" y="296"/>
                    </a:lnTo>
                    <a:lnTo>
                      <a:pt x="663" y="298"/>
                    </a:lnTo>
                    <a:lnTo>
                      <a:pt x="661" y="298"/>
                    </a:lnTo>
                    <a:lnTo>
                      <a:pt x="661" y="296"/>
                    </a:lnTo>
                    <a:lnTo>
                      <a:pt x="661" y="295"/>
                    </a:lnTo>
                    <a:lnTo>
                      <a:pt x="661" y="293"/>
                    </a:lnTo>
                    <a:lnTo>
                      <a:pt x="663" y="293"/>
                    </a:lnTo>
                    <a:lnTo>
                      <a:pt x="664" y="291"/>
                    </a:lnTo>
                    <a:lnTo>
                      <a:pt x="664" y="289"/>
                    </a:lnTo>
                    <a:lnTo>
                      <a:pt x="663" y="289"/>
                    </a:lnTo>
                    <a:lnTo>
                      <a:pt x="664" y="289"/>
                    </a:lnTo>
                    <a:lnTo>
                      <a:pt x="663" y="289"/>
                    </a:lnTo>
                    <a:lnTo>
                      <a:pt x="664" y="289"/>
                    </a:lnTo>
                    <a:lnTo>
                      <a:pt x="664" y="287"/>
                    </a:lnTo>
                    <a:lnTo>
                      <a:pt x="664" y="285"/>
                    </a:lnTo>
                    <a:lnTo>
                      <a:pt x="666" y="285"/>
                    </a:lnTo>
                    <a:lnTo>
                      <a:pt x="666" y="283"/>
                    </a:lnTo>
                    <a:lnTo>
                      <a:pt x="666" y="281"/>
                    </a:lnTo>
                    <a:lnTo>
                      <a:pt x="666" y="283"/>
                    </a:lnTo>
                    <a:lnTo>
                      <a:pt x="666" y="281"/>
                    </a:lnTo>
                    <a:lnTo>
                      <a:pt x="668" y="281"/>
                    </a:lnTo>
                    <a:lnTo>
                      <a:pt x="666" y="281"/>
                    </a:lnTo>
                    <a:lnTo>
                      <a:pt x="668" y="281"/>
                    </a:lnTo>
                    <a:lnTo>
                      <a:pt x="666" y="281"/>
                    </a:lnTo>
                    <a:lnTo>
                      <a:pt x="668" y="281"/>
                    </a:lnTo>
                    <a:lnTo>
                      <a:pt x="666" y="281"/>
                    </a:lnTo>
                    <a:lnTo>
                      <a:pt x="666" y="279"/>
                    </a:lnTo>
                    <a:lnTo>
                      <a:pt x="668" y="279"/>
                    </a:lnTo>
                    <a:lnTo>
                      <a:pt x="668" y="277"/>
                    </a:lnTo>
                    <a:lnTo>
                      <a:pt x="670" y="277"/>
                    </a:lnTo>
                    <a:lnTo>
                      <a:pt x="670" y="275"/>
                    </a:lnTo>
                    <a:lnTo>
                      <a:pt x="668" y="275"/>
                    </a:lnTo>
                    <a:lnTo>
                      <a:pt x="670" y="273"/>
                    </a:lnTo>
                    <a:lnTo>
                      <a:pt x="670" y="275"/>
                    </a:lnTo>
                    <a:lnTo>
                      <a:pt x="670" y="273"/>
                    </a:lnTo>
                    <a:lnTo>
                      <a:pt x="672" y="273"/>
                    </a:lnTo>
                    <a:lnTo>
                      <a:pt x="670" y="273"/>
                    </a:lnTo>
                    <a:lnTo>
                      <a:pt x="672" y="273"/>
                    </a:lnTo>
                    <a:lnTo>
                      <a:pt x="672" y="271"/>
                    </a:lnTo>
                    <a:lnTo>
                      <a:pt x="672" y="270"/>
                    </a:lnTo>
                    <a:lnTo>
                      <a:pt x="672" y="271"/>
                    </a:lnTo>
                    <a:lnTo>
                      <a:pt x="672" y="273"/>
                    </a:lnTo>
                    <a:lnTo>
                      <a:pt x="670" y="273"/>
                    </a:lnTo>
                    <a:lnTo>
                      <a:pt x="672" y="273"/>
                    </a:lnTo>
                    <a:lnTo>
                      <a:pt x="670" y="273"/>
                    </a:lnTo>
                    <a:lnTo>
                      <a:pt x="668" y="275"/>
                    </a:lnTo>
                    <a:lnTo>
                      <a:pt x="670" y="275"/>
                    </a:lnTo>
                    <a:lnTo>
                      <a:pt x="670" y="277"/>
                    </a:lnTo>
                    <a:lnTo>
                      <a:pt x="668" y="277"/>
                    </a:lnTo>
                    <a:lnTo>
                      <a:pt x="668" y="279"/>
                    </a:lnTo>
                    <a:lnTo>
                      <a:pt x="666" y="279"/>
                    </a:lnTo>
                    <a:lnTo>
                      <a:pt x="666" y="281"/>
                    </a:lnTo>
                    <a:lnTo>
                      <a:pt x="666" y="283"/>
                    </a:lnTo>
                    <a:lnTo>
                      <a:pt x="666" y="281"/>
                    </a:lnTo>
                    <a:lnTo>
                      <a:pt x="666" y="283"/>
                    </a:lnTo>
                    <a:lnTo>
                      <a:pt x="666" y="285"/>
                    </a:lnTo>
                    <a:lnTo>
                      <a:pt x="664" y="285"/>
                    </a:lnTo>
                    <a:lnTo>
                      <a:pt x="664" y="287"/>
                    </a:lnTo>
                    <a:lnTo>
                      <a:pt x="664" y="289"/>
                    </a:lnTo>
                    <a:lnTo>
                      <a:pt x="663" y="289"/>
                    </a:lnTo>
                    <a:lnTo>
                      <a:pt x="661" y="289"/>
                    </a:lnTo>
                    <a:lnTo>
                      <a:pt x="659" y="289"/>
                    </a:lnTo>
                    <a:lnTo>
                      <a:pt x="659" y="287"/>
                    </a:lnTo>
                    <a:lnTo>
                      <a:pt x="657" y="287"/>
                    </a:lnTo>
                    <a:lnTo>
                      <a:pt x="657" y="285"/>
                    </a:lnTo>
                    <a:lnTo>
                      <a:pt x="655" y="285"/>
                    </a:lnTo>
                    <a:lnTo>
                      <a:pt x="657" y="285"/>
                    </a:lnTo>
                    <a:lnTo>
                      <a:pt x="657" y="283"/>
                    </a:lnTo>
                    <a:lnTo>
                      <a:pt x="659" y="283"/>
                    </a:lnTo>
                    <a:lnTo>
                      <a:pt x="659" y="281"/>
                    </a:lnTo>
                    <a:lnTo>
                      <a:pt x="659" y="279"/>
                    </a:lnTo>
                    <a:lnTo>
                      <a:pt x="659" y="277"/>
                    </a:lnTo>
                    <a:lnTo>
                      <a:pt x="659" y="279"/>
                    </a:lnTo>
                    <a:lnTo>
                      <a:pt x="657" y="279"/>
                    </a:lnTo>
                    <a:lnTo>
                      <a:pt x="657" y="277"/>
                    </a:lnTo>
                    <a:lnTo>
                      <a:pt x="659" y="277"/>
                    </a:lnTo>
                    <a:lnTo>
                      <a:pt x="657" y="277"/>
                    </a:lnTo>
                    <a:lnTo>
                      <a:pt x="659" y="277"/>
                    </a:lnTo>
                    <a:lnTo>
                      <a:pt x="659" y="275"/>
                    </a:lnTo>
                    <a:lnTo>
                      <a:pt x="659" y="273"/>
                    </a:lnTo>
                    <a:lnTo>
                      <a:pt x="659" y="275"/>
                    </a:lnTo>
                    <a:lnTo>
                      <a:pt x="657" y="273"/>
                    </a:lnTo>
                    <a:lnTo>
                      <a:pt x="659" y="273"/>
                    </a:lnTo>
                    <a:lnTo>
                      <a:pt x="657" y="273"/>
                    </a:lnTo>
                    <a:lnTo>
                      <a:pt x="657" y="275"/>
                    </a:lnTo>
                    <a:lnTo>
                      <a:pt x="659" y="275"/>
                    </a:lnTo>
                    <a:lnTo>
                      <a:pt x="659" y="277"/>
                    </a:lnTo>
                    <a:lnTo>
                      <a:pt x="657" y="277"/>
                    </a:lnTo>
                    <a:lnTo>
                      <a:pt x="657" y="279"/>
                    </a:lnTo>
                    <a:lnTo>
                      <a:pt x="659" y="279"/>
                    </a:lnTo>
                    <a:lnTo>
                      <a:pt x="659" y="277"/>
                    </a:lnTo>
                    <a:lnTo>
                      <a:pt x="659" y="279"/>
                    </a:lnTo>
                    <a:lnTo>
                      <a:pt x="659" y="281"/>
                    </a:lnTo>
                    <a:lnTo>
                      <a:pt x="659" y="283"/>
                    </a:lnTo>
                    <a:lnTo>
                      <a:pt x="657" y="283"/>
                    </a:lnTo>
                    <a:lnTo>
                      <a:pt x="657" y="285"/>
                    </a:lnTo>
                    <a:lnTo>
                      <a:pt x="655" y="285"/>
                    </a:lnTo>
                    <a:lnTo>
                      <a:pt x="657" y="285"/>
                    </a:lnTo>
                    <a:lnTo>
                      <a:pt x="655" y="285"/>
                    </a:lnTo>
                    <a:lnTo>
                      <a:pt x="653" y="285"/>
                    </a:lnTo>
                    <a:lnTo>
                      <a:pt x="651" y="285"/>
                    </a:lnTo>
                    <a:lnTo>
                      <a:pt x="649" y="285"/>
                    </a:lnTo>
                    <a:lnTo>
                      <a:pt x="651" y="285"/>
                    </a:lnTo>
                    <a:lnTo>
                      <a:pt x="649" y="285"/>
                    </a:lnTo>
                    <a:lnTo>
                      <a:pt x="649" y="283"/>
                    </a:lnTo>
                    <a:lnTo>
                      <a:pt x="649" y="281"/>
                    </a:lnTo>
                    <a:lnTo>
                      <a:pt x="651" y="281"/>
                    </a:lnTo>
                    <a:lnTo>
                      <a:pt x="653" y="281"/>
                    </a:lnTo>
                    <a:lnTo>
                      <a:pt x="651" y="281"/>
                    </a:lnTo>
                    <a:lnTo>
                      <a:pt x="651" y="279"/>
                    </a:lnTo>
                    <a:lnTo>
                      <a:pt x="651" y="277"/>
                    </a:lnTo>
                    <a:lnTo>
                      <a:pt x="649" y="277"/>
                    </a:lnTo>
                    <a:lnTo>
                      <a:pt x="651" y="275"/>
                    </a:lnTo>
                    <a:lnTo>
                      <a:pt x="649" y="275"/>
                    </a:lnTo>
                    <a:lnTo>
                      <a:pt x="647" y="273"/>
                    </a:lnTo>
                    <a:lnTo>
                      <a:pt x="645" y="275"/>
                    </a:lnTo>
                    <a:lnTo>
                      <a:pt x="645" y="273"/>
                    </a:lnTo>
                    <a:lnTo>
                      <a:pt x="647" y="273"/>
                    </a:lnTo>
                    <a:lnTo>
                      <a:pt x="647" y="271"/>
                    </a:lnTo>
                    <a:lnTo>
                      <a:pt x="649" y="271"/>
                    </a:lnTo>
                    <a:lnTo>
                      <a:pt x="649" y="270"/>
                    </a:lnTo>
                    <a:lnTo>
                      <a:pt x="649" y="268"/>
                    </a:lnTo>
                    <a:lnTo>
                      <a:pt x="647" y="268"/>
                    </a:lnTo>
                    <a:lnTo>
                      <a:pt x="647" y="270"/>
                    </a:lnTo>
                    <a:lnTo>
                      <a:pt x="645" y="268"/>
                    </a:lnTo>
                    <a:lnTo>
                      <a:pt x="647" y="268"/>
                    </a:lnTo>
                    <a:lnTo>
                      <a:pt x="647" y="266"/>
                    </a:lnTo>
                    <a:lnTo>
                      <a:pt x="645" y="266"/>
                    </a:lnTo>
                    <a:lnTo>
                      <a:pt x="647" y="266"/>
                    </a:lnTo>
                    <a:lnTo>
                      <a:pt x="647" y="264"/>
                    </a:lnTo>
                    <a:lnTo>
                      <a:pt x="649" y="264"/>
                    </a:lnTo>
                    <a:lnTo>
                      <a:pt x="647" y="264"/>
                    </a:lnTo>
                    <a:lnTo>
                      <a:pt x="649" y="262"/>
                    </a:lnTo>
                    <a:lnTo>
                      <a:pt x="651" y="262"/>
                    </a:lnTo>
                    <a:lnTo>
                      <a:pt x="651" y="260"/>
                    </a:lnTo>
                    <a:lnTo>
                      <a:pt x="653" y="258"/>
                    </a:lnTo>
                    <a:lnTo>
                      <a:pt x="653" y="260"/>
                    </a:lnTo>
                    <a:lnTo>
                      <a:pt x="655" y="260"/>
                    </a:lnTo>
                    <a:lnTo>
                      <a:pt x="655" y="262"/>
                    </a:lnTo>
                    <a:lnTo>
                      <a:pt x="655" y="264"/>
                    </a:lnTo>
                    <a:lnTo>
                      <a:pt x="653" y="264"/>
                    </a:lnTo>
                    <a:lnTo>
                      <a:pt x="653" y="266"/>
                    </a:lnTo>
                    <a:lnTo>
                      <a:pt x="655" y="266"/>
                    </a:lnTo>
                    <a:lnTo>
                      <a:pt x="653" y="266"/>
                    </a:lnTo>
                    <a:lnTo>
                      <a:pt x="653" y="268"/>
                    </a:lnTo>
                    <a:lnTo>
                      <a:pt x="655" y="268"/>
                    </a:lnTo>
                    <a:lnTo>
                      <a:pt x="653" y="268"/>
                    </a:lnTo>
                    <a:lnTo>
                      <a:pt x="655" y="270"/>
                    </a:lnTo>
                    <a:lnTo>
                      <a:pt x="653" y="270"/>
                    </a:lnTo>
                    <a:lnTo>
                      <a:pt x="655" y="270"/>
                    </a:lnTo>
                    <a:lnTo>
                      <a:pt x="653" y="271"/>
                    </a:lnTo>
                    <a:lnTo>
                      <a:pt x="655" y="271"/>
                    </a:lnTo>
                    <a:lnTo>
                      <a:pt x="653" y="271"/>
                    </a:lnTo>
                    <a:lnTo>
                      <a:pt x="655" y="271"/>
                    </a:lnTo>
                    <a:lnTo>
                      <a:pt x="653" y="271"/>
                    </a:lnTo>
                    <a:lnTo>
                      <a:pt x="655" y="270"/>
                    </a:lnTo>
                    <a:lnTo>
                      <a:pt x="653" y="270"/>
                    </a:lnTo>
                    <a:lnTo>
                      <a:pt x="655" y="270"/>
                    </a:lnTo>
                    <a:lnTo>
                      <a:pt x="653" y="268"/>
                    </a:lnTo>
                    <a:lnTo>
                      <a:pt x="655" y="268"/>
                    </a:lnTo>
                    <a:lnTo>
                      <a:pt x="655" y="266"/>
                    </a:lnTo>
                    <a:lnTo>
                      <a:pt x="653" y="268"/>
                    </a:lnTo>
                    <a:lnTo>
                      <a:pt x="653" y="266"/>
                    </a:lnTo>
                    <a:lnTo>
                      <a:pt x="655" y="266"/>
                    </a:lnTo>
                    <a:lnTo>
                      <a:pt x="653" y="266"/>
                    </a:lnTo>
                    <a:lnTo>
                      <a:pt x="655" y="264"/>
                    </a:lnTo>
                    <a:lnTo>
                      <a:pt x="655" y="262"/>
                    </a:lnTo>
                    <a:lnTo>
                      <a:pt x="655" y="260"/>
                    </a:lnTo>
                    <a:lnTo>
                      <a:pt x="655" y="262"/>
                    </a:lnTo>
                    <a:lnTo>
                      <a:pt x="657" y="262"/>
                    </a:lnTo>
                    <a:lnTo>
                      <a:pt x="657" y="264"/>
                    </a:lnTo>
                    <a:lnTo>
                      <a:pt x="655" y="264"/>
                    </a:lnTo>
                    <a:lnTo>
                      <a:pt x="657" y="264"/>
                    </a:lnTo>
                    <a:lnTo>
                      <a:pt x="657" y="266"/>
                    </a:lnTo>
                    <a:lnTo>
                      <a:pt x="657" y="264"/>
                    </a:lnTo>
                    <a:lnTo>
                      <a:pt x="657" y="262"/>
                    </a:lnTo>
                    <a:lnTo>
                      <a:pt x="659" y="262"/>
                    </a:lnTo>
                    <a:lnTo>
                      <a:pt x="659" y="264"/>
                    </a:lnTo>
                    <a:lnTo>
                      <a:pt x="659" y="266"/>
                    </a:lnTo>
                    <a:lnTo>
                      <a:pt x="661" y="266"/>
                    </a:lnTo>
                    <a:lnTo>
                      <a:pt x="659" y="266"/>
                    </a:lnTo>
                    <a:lnTo>
                      <a:pt x="661" y="268"/>
                    </a:lnTo>
                    <a:lnTo>
                      <a:pt x="661" y="266"/>
                    </a:lnTo>
                    <a:lnTo>
                      <a:pt x="661" y="268"/>
                    </a:lnTo>
                    <a:lnTo>
                      <a:pt x="663" y="268"/>
                    </a:lnTo>
                    <a:lnTo>
                      <a:pt x="661" y="268"/>
                    </a:lnTo>
                    <a:lnTo>
                      <a:pt x="661" y="270"/>
                    </a:lnTo>
                    <a:lnTo>
                      <a:pt x="663" y="270"/>
                    </a:lnTo>
                    <a:lnTo>
                      <a:pt x="663" y="271"/>
                    </a:lnTo>
                    <a:lnTo>
                      <a:pt x="663" y="270"/>
                    </a:lnTo>
                    <a:lnTo>
                      <a:pt x="661" y="270"/>
                    </a:lnTo>
                    <a:lnTo>
                      <a:pt x="661" y="268"/>
                    </a:lnTo>
                    <a:lnTo>
                      <a:pt x="663" y="268"/>
                    </a:lnTo>
                    <a:lnTo>
                      <a:pt x="661" y="268"/>
                    </a:lnTo>
                    <a:lnTo>
                      <a:pt x="661" y="266"/>
                    </a:lnTo>
                    <a:lnTo>
                      <a:pt x="659" y="266"/>
                    </a:lnTo>
                    <a:lnTo>
                      <a:pt x="659" y="264"/>
                    </a:lnTo>
                    <a:lnTo>
                      <a:pt x="659" y="266"/>
                    </a:lnTo>
                    <a:lnTo>
                      <a:pt x="659" y="264"/>
                    </a:lnTo>
                    <a:lnTo>
                      <a:pt x="659" y="262"/>
                    </a:lnTo>
                    <a:lnTo>
                      <a:pt x="659" y="264"/>
                    </a:lnTo>
                    <a:lnTo>
                      <a:pt x="661" y="264"/>
                    </a:lnTo>
                    <a:lnTo>
                      <a:pt x="659" y="262"/>
                    </a:lnTo>
                    <a:lnTo>
                      <a:pt x="657" y="262"/>
                    </a:lnTo>
                    <a:lnTo>
                      <a:pt x="655" y="262"/>
                    </a:lnTo>
                    <a:lnTo>
                      <a:pt x="655" y="260"/>
                    </a:lnTo>
                    <a:lnTo>
                      <a:pt x="657" y="260"/>
                    </a:lnTo>
                    <a:lnTo>
                      <a:pt x="655" y="260"/>
                    </a:lnTo>
                    <a:lnTo>
                      <a:pt x="655" y="258"/>
                    </a:lnTo>
                    <a:lnTo>
                      <a:pt x="655" y="260"/>
                    </a:lnTo>
                    <a:lnTo>
                      <a:pt x="655" y="258"/>
                    </a:lnTo>
                    <a:lnTo>
                      <a:pt x="655" y="256"/>
                    </a:lnTo>
                    <a:lnTo>
                      <a:pt x="657" y="256"/>
                    </a:lnTo>
                    <a:lnTo>
                      <a:pt x="657" y="254"/>
                    </a:lnTo>
                    <a:lnTo>
                      <a:pt x="657" y="256"/>
                    </a:lnTo>
                    <a:lnTo>
                      <a:pt x="657" y="254"/>
                    </a:lnTo>
                    <a:lnTo>
                      <a:pt x="659" y="254"/>
                    </a:lnTo>
                    <a:lnTo>
                      <a:pt x="661" y="256"/>
                    </a:lnTo>
                    <a:lnTo>
                      <a:pt x="659" y="256"/>
                    </a:lnTo>
                    <a:lnTo>
                      <a:pt x="661" y="256"/>
                    </a:lnTo>
                    <a:lnTo>
                      <a:pt x="663" y="256"/>
                    </a:lnTo>
                    <a:lnTo>
                      <a:pt x="664" y="256"/>
                    </a:lnTo>
                    <a:lnTo>
                      <a:pt x="664" y="258"/>
                    </a:lnTo>
                    <a:lnTo>
                      <a:pt x="666" y="258"/>
                    </a:lnTo>
                    <a:lnTo>
                      <a:pt x="668" y="258"/>
                    </a:lnTo>
                    <a:lnTo>
                      <a:pt x="668" y="256"/>
                    </a:lnTo>
                    <a:lnTo>
                      <a:pt x="668" y="258"/>
                    </a:lnTo>
                    <a:lnTo>
                      <a:pt x="670" y="258"/>
                    </a:lnTo>
                    <a:lnTo>
                      <a:pt x="670" y="256"/>
                    </a:lnTo>
                    <a:lnTo>
                      <a:pt x="672" y="256"/>
                    </a:lnTo>
                    <a:lnTo>
                      <a:pt x="672" y="258"/>
                    </a:lnTo>
                    <a:lnTo>
                      <a:pt x="672" y="260"/>
                    </a:lnTo>
                    <a:lnTo>
                      <a:pt x="672" y="258"/>
                    </a:lnTo>
                    <a:lnTo>
                      <a:pt x="674" y="258"/>
                    </a:lnTo>
                    <a:lnTo>
                      <a:pt x="672" y="258"/>
                    </a:lnTo>
                    <a:lnTo>
                      <a:pt x="672" y="256"/>
                    </a:lnTo>
                    <a:lnTo>
                      <a:pt x="674" y="256"/>
                    </a:lnTo>
                    <a:lnTo>
                      <a:pt x="674" y="258"/>
                    </a:lnTo>
                    <a:lnTo>
                      <a:pt x="674" y="256"/>
                    </a:lnTo>
                    <a:lnTo>
                      <a:pt x="676" y="256"/>
                    </a:lnTo>
                    <a:lnTo>
                      <a:pt x="676" y="258"/>
                    </a:lnTo>
                    <a:lnTo>
                      <a:pt x="674" y="258"/>
                    </a:lnTo>
                    <a:lnTo>
                      <a:pt x="674" y="256"/>
                    </a:lnTo>
                    <a:lnTo>
                      <a:pt x="674" y="258"/>
                    </a:lnTo>
                    <a:lnTo>
                      <a:pt x="676" y="258"/>
                    </a:lnTo>
                    <a:lnTo>
                      <a:pt x="674" y="258"/>
                    </a:lnTo>
                    <a:lnTo>
                      <a:pt x="674" y="260"/>
                    </a:lnTo>
                    <a:lnTo>
                      <a:pt x="674" y="258"/>
                    </a:lnTo>
                    <a:lnTo>
                      <a:pt x="676" y="258"/>
                    </a:lnTo>
                    <a:lnTo>
                      <a:pt x="676" y="256"/>
                    </a:lnTo>
                    <a:lnTo>
                      <a:pt x="676" y="258"/>
                    </a:lnTo>
                    <a:lnTo>
                      <a:pt x="676" y="256"/>
                    </a:lnTo>
                    <a:lnTo>
                      <a:pt x="676" y="258"/>
                    </a:lnTo>
                    <a:lnTo>
                      <a:pt x="676" y="256"/>
                    </a:lnTo>
                    <a:lnTo>
                      <a:pt x="678" y="256"/>
                    </a:lnTo>
                    <a:lnTo>
                      <a:pt x="678" y="258"/>
                    </a:lnTo>
                    <a:lnTo>
                      <a:pt x="678" y="260"/>
                    </a:lnTo>
                    <a:lnTo>
                      <a:pt x="678" y="258"/>
                    </a:lnTo>
                    <a:lnTo>
                      <a:pt x="678" y="260"/>
                    </a:lnTo>
                    <a:lnTo>
                      <a:pt x="678" y="262"/>
                    </a:lnTo>
                    <a:lnTo>
                      <a:pt x="680" y="262"/>
                    </a:lnTo>
                    <a:lnTo>
                      <a:pt x="678" y="262"/>
                    </a:lnTo>
                    <a:lnTo>
                      <a:pt x="680" y="262"/>
                    </a:lnTo>
                    <a:lnTo>
                      <a:pt x="680" y="260"/>
                    </a:lnTo>
                    <a:lnTo>
                      <a:pt x="680" y="262"/>
                    </a:lnTo>
                    <a:lnTo>
                      <a:pt x="680" y="264"/>
                    </a:lnTo>
                    <a:lnTo>
                      <a:pt x="678" y="264"/>
                    </a:lnTo>
                    <a:lnTo>
                      <a:pt x="680" y="264"/>
                    </a:lnTo>
                    <a:lnTo>
                      <a:pt x="678" y="264"/>
                    </a:lnTo>
                    <a:lnTo>
                      <a:pt x="680" y="264"/>
                    </a:lnTo>
                    <a:lnTo>
                      <a:pt x="678" y="266"/>
                    </a:lnTo>
                    <a:lnTo>
                      <a:pt x="680" y="266"/>
                    </a:lnTo>
                    <a:lnTo>
                      <a:pt x="678" y="266"/>
                    </a:lnTo>
                    <a:lnTo>
                      <a:pt x="680" y="266"/>
                    </a:lnTo>
                    <a:lnTo>
                      <a:pt x="680" y="264"/>
                    </a:lnTo>
                    <a:lnTo>
                      <a:pt x="678" y="264"/>
                    </a:lnTo>
                    <a:lnTo>
                      <a:pt x="680" y="264"/>
                    </a:lnTo>
                    <a:lnTo>
                      <a:pt x="680" y="262"/>
                    </a:lnTo>
                    <a:lnTo>
                      <a:pt x="682" y="262"/>
                    </a:lnTo>
                    <a:lnTo>
                      <a:pt x="680" y="262"/>
                    </a:lnTo>
                    <a:lnTo>
                      <a:pt x="682" y="262"/>
                    </a:lnTo>
                    <a:lnTo>
                      <a:pt x="682" y="260"/>
                    </a:lnTo>
                    <a:lnTo>
                      <a:pt x="682" y="262"/>
                    </a:lnTo>
                    <a:lnTo>
                      <a:pt x="680" y="262"/>
                    </a:lnTo>
                    <a:lnTo>
                      <a:pt x="682" y="262"/>
                    </a:lnTo>
                    <a:lnTo>
                      <a:pt x="682" y="260"/>
                    </a:lnTo>
                    <a:lnTo>
                      <a:pt x="682" y="258"/>
                    </a:lnTo>
                    <a:lnTo>
                      <a:pt x="682" y="260"/>
                    </a:lnTo>
                    <a:lnTo>
                      <a:pt x="682" y="258"/>
                    </a:lnTo>
                    <a:lnTo>
                      <a:pt x="684" y="258"/>
                    </a:lnTo>
                    <a:lnTo>
                      <a:pt x="684" y="260"/>
                    </a:lnTo>
                    <a:lnTo>
                      <a:pt x="684" y="262"/>
                    </a:lnTo>
                    <a:lnTo>
                      <a:pt x="684" y="264"/>
                    </a:lnTo>
                    <a:lnTo>
                      <a:pt x="682" y="266"/>
                    </a:lnTo>
                    <a:lnTo>
                      <a:pt x="682" y="268"/>
                    </a:lnTo>
                    <a:lnTo>
                      <a:pt x="680" y="268"/>
                    </a:lnTo>
                    <a:lnTo>
                      <a:pt x="682" y="268"/>
                    </a:lnTo>
                    <a:lnTo>
                      <a:pt x="682" y="266"/>
                    </a:lnTo>
                    <a:lnTo>
                      <a:pt x="684" y="266"/>
                    </a:lnTo>
                    <a:lnTo>
                      <a:pt x="682" y="266"/>
                    </a:lnTo>
                    <a:lnTo>
                      <a:pt x="684" y="266"/>
                    </a:lnTo>
                    <a:lnTo>
                      <a:pt x="684" y="264"/>
                    </a:lnTo>
                    <a:lnTo>
                      <a:pt x="686" y="264"/>
                    </a:lnTo>
                    <a:lnTo>
                      <a:pt x="684" y="264"/>
                    </a:lnTo>
                    <a:lnTo>
                      <a:pt x="686" y="262"/>
                    </a:lnTo>
                    <a:lnTo>
                      <a:pt x="686" y="264"/>
                    </a:lnTo>
                    <a:lnTo>
                      <a:pt x="687" y="264"/>
                    </a:lnTo>
                    <a:lnTo>
                      <a:pt x="687" y="266"/>
                    </a:lnTo>
                    <a:lnTo>
                      <a:pt x="687" y="264"/>
                    </a:lnTo>
                    <a:lnTo>
                      <a:pt x="687" y="266"/>
                    </a:lnTo>
                    <a:lnTo>
                      <a:pt x="689" y="266"/>
                    </a:lnTo>
                    <a:lnTo>
                      <a:pt x="689" y="268"/>
                    </a:lnTo>
                    <a:lnTo>
                      <a:pt x="689" y="266"/>
                    </a:lnTo>
                    <a:lnTo>
                      <a:pt x="691" y="266"/>
                    </a:lnTo>
                    <a:lnTo>
                      <a:pt x="689" y="266"/>
                    </a:lnTo>
                    <a:lnTo>
                      <a:pt x="689" y="264"/>
                    </a:lnTo>
                    <a:lnTo>
                      <a:pt x="691" y="264"/>
                    </a:lnTo>
                    <a:lnTo>
                      <a:pt x="689" y="264"/>
                    </a:lnTo>
                    <a:lnTo>
                      <a:pt x="691" y="264"/>
                    </a:lnTo>
                    <a:lnTo>
                      <a:pt x="693" y="264"/>
                    </a:lnTo>
                    <a:lnTo>
                      <a:pt x="691" y="264"/>
                    </a:lnTo>
                    <a:lnTo>
                      <a:pt x="691" y="266"/>
                    </a:lnTo>
                    <a:lnTo>
                      <a:pt x="693" y="266"/>
                    </a:lnTo>
                    <a:lnTo>
                      <a:pt x="693" y="264"/>
                    </a:lnTo>
                    <a:lnTo>
                      <a:pt x="693" y="266"/>
                    </a:lnTo>
                    <a:lnTo>
                      <a:pt x="693" y="264"/>
                    </a:lnTo>
                    <a:lnTo>
                      <a:pt x="693" y="266"/>
                    </a:lnTo>
                    <a:lnTo>
                      <a:pt x="693" y="264"/>
                    </a:lnTo>
                    <a:lnTo>
                      <a:pt x="693" y="266"/>
                    </a:lnTo>
                    <a:lnTo>
                      <a:pt x="693" y="264"/>
                    </a:lnTo>
                    <a:lnTo>
                      <a:pt x="693" y="266"/>
                    </a:lnTo>
                    <a:lnTo>
                      <a:pt x="695" y="266"/>
                    </a:lnTo>
                    <a:lnTo>
                      <a:pt x="697" y="266"/>
                    </a:lnTo>
                    <a:lnTo>
                      <a:pt x="697" y="264"/>
                    </a:lnTo>
                    <a:lnTo>
                      <a:pt x="699" y="264"/>
                    </a:lnTo>
                    <a:lnTo>
                      <a:pt x="699" y="266"/>
                    </a:lnTo>
                    <a:lnTo>
                      <a:pt x="699" y="268"/>
                    </a:lnTo>
                    <a:lnTo>
                      <a:pt x="697" y="268"/>
                    </a:lnTo>
                    <a:lnTo>
                      <a:pt x="699" y="268"/>
                    </a:lnTo>
                    <a:lnTo>
                      <a:pt x="699" y="266"/>
                    </a:lnTo>
                    <a:lnTo>
                      <a:pt x="699" y="264"/>
                    </a:lnTo>
                    <a:lnTo>
                      <a:pt x="699" y="266"/>
                    </a:lnTo>
                    <a:lnTo>
                      <a:pt x="699" y="264"/>
                    </a:lnTo>
                    <a:lnTo>
                      <a:pt x="697" y="264"/>
                    </a:lnTo>
                    <a:lnTo>
                      <a:pt x="697" y="266"/>
                    </a:lnTo>
                    <a:lnTo>
                      <a:pt x="695" y="266"/>
                    </a:lnTo>
                    <a:lnTo>
                      <a:pt x="693" y="264"/>
                    </a:lnTo>
                    <a:lnTo>
                      <a:pt x="695" y="264"/>
                    </a:lnTo>
                    <a:lnTo>
                      <a:pt x="693" y="264"/>
                    </a:lnTo>
                    <a:lnTo>
                      <a:pt x="695" y="264"/>
                    </a:lnTo>
                    <a:lnTo>
                      <a:pt x="695" y="262"/>
                    </a:lnTo>
                    <a:lnTo>
                      <a:pt x="693" y="262"/>
                    </a:lnTo>
                    <a:lnTo>
                      <a:pt x="693" y="260"/>
                    </a:lnTo>
                    <a:lnTo>
                      <a:pt x="691" y="260"/>
                    </a:lnTo>
                    <a:lnTo>
                      <a:pt x="691" y="262"/>
                    </a:lnTo>
                    <a:lnTo>
                      <a:pt x="691" y="260"/>
                    </a:lnTo>
                    <a:lnTo>
                      <a:pt x="689" y="260"/>
                    </a:lnTo>
                    <a:lnTo>
                      <a:pt x="691" y="262"/>
                    </a:lnTo>
                    <a:lnTo>
                      <a:pt x="689" y="262"/>
                    </a:lnTo>
                    <a:lnTo>
                      <a:pt x="689" y="260"/>
                    </a:lnTo>
                    <a:lnTo>
                      <a:pt x="689" y="262"/>
                    </a:lnTo>
                    <a:lnTo>
                      <a:pt x="687" y="262"/>
                    </a:lnTo>
                    <a:lnTo>
                      <a:pt x="687" y="264"/>
                    </a:lnTo>
                    <a:lnTo>
                      <a:pt x="687" y="262"/>
                    </a:lnTo>
                    <a:lnTo>
                      <a:pt x="686" y="262"/>
                    </a:lnTo>
                    <a:lnTo>
                      <a:pt x="686" y="260"/>
                    </a:lnTo>
                    <a:lnTo>
                      <a:pt x="686" y="258"/>
                    </a:lnTo>
                    <a:lnTo>
                      <a:pt x="687" y="258"/>
                    </a:lnTo>
                    <a:lnTo>
                      <a:pt x="687" y="260"/>
                    </a:lnTo>
                    <a:lnTo>
                      <a:pt x="689" y="260"/>
                    </a:lnTo>
                    <a:lnTo>
                      <a:pt x="691" y="260"/>
                    </a:lnTo>
                    <a:lnTo>
                      <a:pt x="691" y="258"/>
                    </a:lnTo>
                    <a:lnTo>
                      <a:pt x="693" y="258"/>
                    </a:lnTo>
                    <a:lnTo>
                      <a:pt x="691" y="258"/>
                    </a:lnTo>
                    <a:lnTo>
                      <a:pt x="693" y="258"/>
                    </a:lnTo>
                    <a:lnTo>
                      <a:pt x="691" y="258"/>
                    </a:lnTo>
                    <a:lnTo>
                      <a:pt x="691" y="256"/>
                    </a:lnTo>
                    <a:lnTo>
                      <a:pt x="693" y="256"/>
                    </a:lnTo>
                    <a:lnTo>
                      <a:pt x="693" y="258"/>
                    </a:lnTo>
                    <a:lnTo>
                      <a:pt x="695" y="258"/>
                    </a:lnTo>
                    <a:lnTo>
                      <a:pt x="693" y="258"/>
                    </a:lnTo>
                    <a:lnTo>
                      <a:pt x="693" y="260"/>
                    </a:lnTo>
                    <a:lnTo>
                      <a:pt x="693" y="262"/>
                    </a:lnTo>
                    <a:lnTo>
                      <a:pt x="693" y="260"/>
                    </a:lnTo>
                    <a:lnTo>
                      <a:pt x="695" y="260"/>
                    </a:lnTo>
                    <a:lnTo>
                      <a:pt x="695" y="258"/>
                    </a:lnTo>
                    <a:lnTo>
                      <a:pt x="697" y="258"/>
                    </a:lnTo>
                    <a:lnTo>
                      <a:pt x="699" y="258"/>
                    </a:lnTo>
                    <a:lnTo>
                      <a:pt x="697" y="258"/>
                    </a:lnTo>
                    <a:lnTo>
                      <a:pt x="695" y="258"/>
                    </a:lnTo>
                    <a:lnTo>
                      <a:pt x="697" y="258"/>
                    </a:lnTo>
                    <a:lnTo>
                      <a:pt x="697" y="256"/>
                    </a:lnTo>
                    <a:lnTo>
                      <a:pt x="697" y="258"/>
                    </a:lnTo>
                    <a:lnTo>
                      <a:pt x="695" y="258"/>
                    </a:lnTo>
                    <a:lnTo>
                      <a:pt x="695" y="260"/>
                    </a:lnTo>
                    <a:lnTo>
                      <a:pt x="693" y="260"/>
                    </a:lnTo>
                    <a:lnTo>
                      <a:pt x="693" y="258"/>
                    </a:lnTo>
                    <a:lnTo>
                      <a:pt x="695" y="258"/>
                    </a:lnTo>
                    <a:lnTo>
                      <a:pt x="693" y="258"/>
                    </a:lnTo>
                    <a:lnTo>
                      <a:pt x="691" y="256"/>
                    </a:lnTo>
                    <a:lnTo>
                      <a:pt x="693" y="256"/>
                    </a:lnTo>
                    <a:lnTo>
                      <a:pt x="695" y="256"/>
                    </a:lnTo>
                    <a:lnTo>
                      <a:pt x="695" y="254"/>
                    </a:lnTo>
                    <a:lnTo>
                      <a:pt x="697" y="254"/>
                    </a:lnTo>
                    <a:lnTo>
                      <a:pt x="695" y="254"/>
                    </a:lnTo>
                    <a:lnTo>
                      <a:pt x="695" y="252"/>
                    </a:lnTo>
                    <a:lnTo>
                      <a:pt x="693" y="254"/>
                    </a:lnTo>
                    <a:lnTo>
                      <a:pt x="695" y="254"/>
                    </a:lnTo>
                    <a:lnTo>
                      <a:pt x="693" y="254"/>
                    </a:lnTo>
                    <a:lnTo>
                      <a:pt x="691" y="254"/>
                    </a:lnTo>
                    <a:lnTo>
                      <a:pt x="691" y="256"/>
                    </a:lnTo>
                    <a:lnTo>
                      <a:pt x="689" y="256"/>
                    </a:lnTo>
                    <a:lnTo>
                      <a:pt x="687" y="256"/>
                    </a:lnTo>
                    <a:lnTo>
                      <a:pt x="687" y="254"/>
                    </a:lnTo>
                    <a:lnTo>
                      <a:pt x="689" y="254"/>
                    </a:lnTo>
                    <a:lnTo>
                      <a:pt x="689" y="252"/>
                    </a:lnTo>
                    <a:lnTo>
                      <a:pt x="691" y="252"/>
                    </a:lnTo>
                    <a:lnTo>
                      <a:pt x="693" y="250"/>
                    </a:lnTo>
                    <a:lnTo>
                      <a:pt x="695" y="250"/>
                    </a:lnTo>
                    <a:lnTo>
                      <a:pt x="697" y="250"/>
                    </a:lnTo>
                    <a:lnTo>
                      <a:pt x="695" y="250"/>
                    </a:lnTo>
                    <a:lnTo>
                      <a:pt x="693" y="250"/>
                    </a:lnTo>
                    <a:lnTo>
                      <a:pt x="691" y="252"/>
                    </a:lnTo>
                    <a:lnTo>
                      <a:pt x="689" y="252"/>
                    </a:lnTo>
                    <a:lnTo>
                      <a:pt x="687" y="252"/>
                    </a:lnTo>
                    <a:lnTo>
                      <a:pt x="689" y="252"/>
                    </a:lnTo>
                    <a:lnTo>
                      <a:pt x="689" y="254"/>
                    </a:lnTo>
                    <a:lnTo>
                      <a:pt x="687" y="254"/>
                    </a:lnTo>
                    <a:lnTo>
                      <a:pt x="687" y="252"/>
                    </a:lnTo>
                    <a:lnTo>
                      <a:pt x="686" y="252"/>
                    </a:lnTo>
                    <a:lnTo>
                      <a:pt x="687" y="252"/>
                    </a:lnTo>
                    <a:lnTo>
                      <a:pt x="686" y="250"/>
                    </a:lnTo>
                    <a:lnTo>
                      <a:pt x="686" y="252"/>
                    </a:lnTo>
                    <a:lnTo>
                      <a:pt x="686" y="254"/>
                    </a:lnTo>
                    <a:lnTo>
                      <a:pt x="684" y="254"/>
                    </a:lnTo>
                    <a:lnTo>
                      <a:pt x="684" y="252"/>
                    </a:lnTo>
                    <a:lnTo>
                      <a:pt x="686" y="252"/>
                    </a:lnTo>
                    <a:lnTo>
                      <a:pt x="684" y="252"/>
                    </a:lnTo>
                    <a:lnTo>
                      <a:pt x="682" y="252"/>
                    </a:lnTo>
                    <a:lnTo>
                      <a:pt x="684" y="252"/>
                    </a:lnTo>
                    <a:lnTo>
                      <a:pt x="684" y="250"/>
                    </a:lnTo>
                    <a:lnTo>
                      <a:pt x="686" y="250"/>
                    </a:lnTo>
                    <a:lnTo>
                      <a:pt x="684" y="250"/>
                    </a:lnTo>
                    <a:lnTo>
                      <a:pt x="686" y="248"/>
                    </a:lnTo>
                    <a:lnTo>
                      <a:pt x="684" y="248"/>
                    </a:lnTo>
                    <a:lnTo>
                      <a:pt x="686" y="248"/>
                    </a:lnTo>
                    <a:lnTo>
                      <a:pt x="686" y="246"/>
                    </a:lnTo>
                    <a:lnTo>
                      <a:pt x="686" y="245"/>
                    </a:lnTo>
                    <a:lnTo>
                      <a:pt x="684" y="245"/>
                    </a:lnTo>
                    <a:lnTo>
                      <a:pt x="686" y="245"/>
                    </a:lnTo>
                    <a:lnTo>
                      <a:pt x="684" y="243"/>
                    </a:lnTo>
                    <a:lnTo>
                      <a:pt x="684" y="241"/>
                    </a:lnTo>
                    <a:lnTo>
                      <a:pt x="684" y="243"/>
                    </a:lnTo>
                    <a:lnTo>
                      <a:pt x="684" y="241"/>
                    </a:lnTo>
                    <a:lnTo>
                      <a:pt x="684" y="239"/>
                    </a:lnTo>
                    <a:lnTo>
                      <a:pt x="684" y="237"/>
                    </a:lnTo>
                    <a:lnTo>
                      <a:pt x="686" y="235"/>
                    </a:lnTo>
                    <a:lnTo>
                      <a:pt x="687" y="235"/>
                    </a:lnTo>
                    <a:lnTo>
                      <a:pt x="689" y="235"/>
                    </a:lnTo>
                    <a:lnTo>
                      <a:pt x="689" y="233"/>
                    </a:lnTo>
                    <a:lnTo>
                      <a:pt x="691" y="233"/>
                    </a:lnTo>
                    <a:lnTo>
                      <a:pt x="693" y="233"/>
                    </a:lnTo>
                    <a:lnTo>
                      <a:pt x="695" y="233"/>
                    </a:lnTo>
                    <a:lnTo>
                      <a:pt x="695" y="231"/>
                    </a:lnTo>
                    <a:lnTo>
                      <a:pt x="695" y="229"/>
                    </a:lnTo>
                    <a:lnTo>
                      <a:pt x="697" y="227"/>
                    </a:lnTo>
                    <a:lnTo>
                      <a:pt x="697" y="229"/>
                    </a:lnTo>
                    <a:lnTo>
                      <a:pt x="695" y="229"/>
                    </a:lnTo>
                    <a:lnTo>
                      <a:pt x="697" y="229"/>
                    </a:lnTo>
                    <a:lnTo>
                      <a:pt x="697" y="227"/>
                    </a:lnTo>
                    <a:lnTo>
                      <a:pt x="699" y="225"/>
                    </a:lnTo>
                    <a:lnTo>
                      <a:pt x="699" y="227"/>
                    </a:lnTo>
                    <a:lnTo>
                      <a:pt x="701" y="227"/>
                    </a:lnTo>
                    <a:lnTo>
                      <a:pt x="701" y="229"/>
                    </a:lnTo>
                    <a:lnTo>
                      <a:pt x="703" y="229"/>
                    </a:lnTo>
                    <a:lnTo>
                      <a:pt x="705" y="229"/>
                    </a:lnTo>
                    <a:lnTo>
                      <a:pt x="705" y="231"/>
                    </a:lnTo>
                    <a:lnTo>
                      <a:pt x="707" y="233"/>
                    </a:lnTo>
                    <a:lnTo>
                      <a:pt x="707" y="235"/>
                    </a:lnTo>
                    <a:lnTo>
                      <a:pt x="707" y="233"/>
                    </a:lnTo>
                    <a:lnTo>
                      <a:pt x="707" y="235"/>
                    </a:lnTo>
                    <a:lnTo>
                      <a:pt x="707" y="237"/>
                    </a:lnTo>
                    <a:lnTo>
                      <a:pt x="707" y="235"/>
                    </a:lnTo>
                    <a:lnTo>
                      <a:pt x="709" y="235"/>
                    </a:lnTo>
                    <a:lnTo>
                      <a:pt x="709" y="237"/>
                    </a:lnTo>
                    <a:lnTo>
                      <a:pt x="711" y="239"/>
                    </a:lnTo>
                    <a:lnTo>
                      <a:pt x="711" y="237"/>
                    </a:lnTo>
                    <a:lnTo>
                      <a:pt x="712" y="237"/>
                    </a:lnTo>
                    <a:lnTo>
                      <a:pt x="712" y="235"/>
                    </a:lnTo>
                    <a:lnTo>
                      <a:pt x="712" y="233"/>
                    </a:lnTo>
                    <a:lnTo>
                      <a:pt x="712" y="231"/>
                    </a:lnTo>
                    <a:lnTo>
                      <a:pt x="712" y="233"/>
                    </a:lnTo>
                    <a:lnTo>
                      <a:pt x="712" y="231"/>
                    </a:lnTo>
                    <a:lnTo>
                      <a:pt x="714" y="231"/>
                    </a:lnTo>
                    <a:lnTo>
                      <a:pt x="716" y="229"/>
                    </a:lnTo>
                    <a:lnTo>
                      <a:pt x="718" y="229"/>
                    </a:lnTo>
                    <a:lnTo>
                      <a:pt x="718" y="227"/>
                    </a:lnTo>
                    <a:lnTo>
                      <a:pt x="720" y="227"/>
                    </a:lnTo>
                    <a:lnTo>
                      <a:pt x="720" y="225"/>
                    </a:lnTo>
                    <a:lnTo>
                      <a:pt x="722" y="225"/>
                    </a:lnTo>
                    <a:lnTo>
                      <a:pt x="722" y="227"/>
                    </a:lnTo>
                    <a:lnTo>
                      <a:pt x="724" y="227"/>
                    </a:lnTo>
                    <a:lnTo>
                      <a:pt x="722" y="229"/>
                    </a:lnTo>
                    <a:lnTo>
                      <a:pt x="724" y="229"/>
                    </a:lnTo>
                    <a:lnTo>
                      <a:pt x="722" y="229"/>
                    </a:lnTo>
                    <a:lnTo>
                      <a:pt x="724" y="229"/>
                    </a:lnTo>
                    <a:lnTo>
                      <a:pt x="724" y="227"/>
                    </a:lnTo>
                    <a:lnTo>
                      <a:pt x="724" y="225"/>
                    </a:lnTo>
                    <a:lnTo>
                      <a:pt x="724" y="227"/>
                    </a:lnTo>
                    <a:lnTo>
                      <a:pt x="726" y="227"/>
                    </a:lnTo>
                    <a:lnTo>
                      <a:pt x="728" y="227"/>
                    </a:lnTo>
                    <a:lnTo>
                      <a:pt x="726" y="227"/>
                    </a:lnTo>
                    <a:lnTo>
                      <a:pt x="724" y="227"/>
                    </a:lnTo>
                    <a:lnTo>
                      <a:pt x="726" y="227"/>
                    </a:lnTo>
                    <a:lnTo>
                      <a:pt x="726" y="225"/>
                    </a:lnTo>
                    <a:lnTo>
                      <a:pt x="726" y="227"/>
                    </a:lnTo>
                    <a:lnTo>
                      <a:pt x="728" y="227"/>
                    </a:lnTo>
                    <a:lnTo>
                      <a:pt x="728" y="229"/>
                    </a:lnTo>
                    <a:lnTo>
                      <a:pt x="726" y="229"/>
                    </a:lnTo>
                    <a:lnTo>
                      <a:pt x="726" y="231"/>
                    </a:lnTo>
                    <a:lnTo>
                      <a:pt x="728" y="231"/>
                    </a:lnTo>
                    <a:lnTo>
                      <a:pt x="726" y="231"/>
                    </a:lnTo>
                    <a:lnTo>
                      <a:pt x="726" y="233"/>
                    </a:lnTo>
                    <a:lnTo>
                      <a:pt x="728" y="233"/>
                    </a:lnTo>
                    <a:lnTo>
                      <a:pt x="726" y="233"/>
                    </a:lnTo>
                    <a:lnTo>
                      <a:pt x="726" y="231"/>
                    </a:lnTo>
                    <a:lnTo>
                      <a:pt x="728" y="231"/>
                    </a:lnTo>
                    <a:lnTo>
                      <a:pt x="726" y="231"/>
                    </a:lnTo>
                    <a:lnTo>
                      <a:pt x="726" y="229"/>
                    </a:lnTo>
                    <a:lnTo>
                      <a:pt x="728" y="229"/>
                    </a:lnTo>
                    <a:lnTo>
                      <a:pt x="726" y="229"/>
                    </a:lnTo>
                    <a:lnTo>
                      <a:pt x="728" y="229"/>
                    </a:lnTo>
                    <a:lnTo>
                      <a:pt x="728" y="227"/>
                    </a:lnTo>
                    <a:lnTo>
                      <a:pt x="726" y="225"/>
                    </a:lnTo>
                    <a:lnTo>
                      <a:pt x="728" y="225"/>
                    </a:lnTo>
                    <a:lnTo>
                      <a:pt x="730" y="225"/>
                    </a:lnTo>
                    <a:lnTo>
                      <a:pt x="728" y="225"/>
                    </a:lnTo>
                    <a:lnTo>
                      <a:pt x="726" y="225"/>
                    </a:lnTo>
                    <a:lnTo>
                      <a:pt x="724" y="225"/>
                    </a:lnTo>
                    <a:lnTo>
                      <a:pt x="724" y="227"/>
                    </a:lnTo>
                    <a:lnTo>
                      <a:pt x="724" y="225"/>
                    </a:lnTo>
                    <a:lnTo>
                      <a:pt x="722" y="225"/>
                    </a:lnTo>
                    <a:lnTo>
                      <a:pt x="720" y="225"/>
                    </a:lnTo>
                    <a:lnTo>
                      <a:pt x="722" y="225"/>
                    </a:lnTo>
                    <a:lnTo>
                      <a:pt x="720" y="225"/>
                    </a:lnTo>
                    <a:lnTo>
                      <a:pt x="720" y="223"/>
                    </a:lnTo>
                    <a:lnTo>
                      <a:pt x="720" y="225"/>
                    </a:lnTo>
                    <a:lnTo>
                      <a:pt x="720" y="223"/>
                    </a:lnTo>
                    <a:lnTo>
                      <a:pt x="718" y="223"/>
                    </a:lnTo>
                    <a:lnTo>
                      <a:pt x="718" y="222"/>
                    </a:lnTo>
                    <a:lnTo>
                      <a:pt x="716" y="222"/>
                    </a:lnTo>
                    <a:lnTo>
                      <a:pt x="716" y="220"/>
                    </a:lnTo>
                    <a:lnTo>
                      <a:pt x="716" y="222"/>
                    </a:lnTo>
                    <a:lnTo>
                      <a:pt x="716" y="220"/>
                    </a:lnTo>
                    <a:lnTo>
                      <a:pt x="716" y="222"/>
                    </a:lnTo>
                    <a:lnTo>
                      <a:pt x="716" y="220"/>
                    </a:lnTo>
                    <a:lnTo>
                      <a:pt x="714" y="220"/>
                    </a:lnTo>
                    <a:lnTo>
                      <a:pt x="716" y="220"/>
                    </a:lnTo>
                    <a:lnTo>
                      <a:pt x="714" y="220"/>
                    </a:lnTo>
                    <a:lnTo>
                      <a:pt x="716" y="220"/>
                    </a:lnTo>
                    <a:lnTo>
                      <a:pt x="714" y="220"/>
                    </a:lnTo>
                    <a:lnTo>
                      <a:pt x="714" y="218"/>
                    </a:lnTo>
                    <a:lnTo>
                      <a:pt x="712" y="216"/>
                    </a:lnTo>
                    <a:lnTo>
                      <a:pt x="714" y="216"/>
                    </a:lnTo>
                    <a:lnTo>
                      <a:pt x="712" y="216"/>
                    </a:lnTo>
                    <a:lnTo>
                      <a:pt x="712" y="214"/>
                    </a:lnTo>
                    <a:lnTo>
                      <a:pt x="711" y="214"/>
                    </a:lnTo>
                    <a:lnTo>
                      <a:pt x="712" y="214"/>
                    </a:lnTo>
                    <a:lnTo>
                      <a:pt x="711" y="214"/>
                    </a:lnTo>
                    <a:lnTo>
                      <a:pt x="711" y="212"/>
                    </a:lnTo>
                    <a:lnTo>
                      <a:pt x="711" y="214"/>
                    </a:lnTo>
                    <a:lnTo>
                      <a:pt x="711" y="212"/>
                    </a:lnTo>
                    <a:lnTo>
                      <a:pt x="709" y="212"/>
                    </a:lnTo>
                    <a:lnTo>
                      <a:pt x="711" y="212"/>
                    </a:lnTo>
                    <a:lnTo>
                      <a:pt x="711" y="210"/>
                    </a:lnTo>
                    <a:lnTo>
                      <a:pt x="712" y="210"/>
                    </a:lnTo>
                    <a:lnTo>
                      <a:pt x="711" y="210"/>
                    </a:lnTo>
                    <a:lnTo>
                      <a:pt x="712" y="210"/>
                    </a:lnTo>
                    <a:lnTo>
                      <a:pt x="712" y="208"/>
                    </a:lnTo>
                    <a:lnTo>
                      <a:pt x="714" y="208"/>
                    </a:lnTo>
                    <a:lnTo>
                      <a:pt x="712" y="208"/>
                    </a:lnTo>
                    <a:lnTo>
                      <a:pt x="712" y="210"/>
                    </a:lnTo>
                    <a:lnTo>
                      <a:pt x="711" y="210"/>
                    </a:lnTo>
                    <a:lnTo>
                      <a:pt x="709" y="212"/>
                    </a:lnTo>
                    <a:lnTo>
                      <a:pt x="709" y="210"/>
                    </a:lnTo>
                    <a:lnTo>
                      <a:pt x="707" y="208"/>
                    </a:lnTo>
                    <a:lnTo>
                      <a:pt x="705" y="208"/>
                    </a:lnTo>
                    <a:lnTo>
                      <a:pt x="703" y="208"/>
                    </a:lnTo>
                    <a:lnTo>
                      <a:pt x="701" y="208"/>
                    </a:lnTo>
                    <a:lnTo>
                      <a:pt x="701" y="210"/>
                    </a:lnTo>
                    <a:lnTo>
                      <a:pt x="701" y="212"/>
                    </a:lnTo>
                    <a:lnTo>
                      <a:pt x="701" y="210"/>
                    </a:lnTo>
                    <a:lnTo>
                      <a:pt x="699" y="210"/>
                    </a:lnTo>
                    <a:lnTo>
                      <a:pt x="699" y="208"/>
                    </a:lnTo>
                    <a:lnTo>
                      <a:pt x="699" y="206"/>
                    </a:lnTo>
                    <a:lnTo>
                      <a:pt x="699" y="204"/>
                    </a:lnTo>
                    <a:lnTo>
                      <a:pt x="701" y="204"/>
                    </a:lnTo>
                    <a:lnTo>
                      <a:pt x="701" y="202"/>
                    </a:lnTo>
                    <a:lnTo>
                      <a:pt x="701" y="204"/>
                    </a:lnTo>
                    <a:lnTo>
                      <a:pt x="701" y="206"/>
                    </a:lnTo>
                    <a:lnTo>
                      <a:pt x="701" y="208"/>
                    </a:lnTo>
                    <a:lnTo>
                      <a:pt x="703" y="208"/>
                    </a:lnTo>
                    <a:lnTo>
                      <a:pt x="705" y="208"/>
                    </a:lnTo>
                    <a:lnTo>
                      <a:pt x="705" y="206"/>
                    </a:lnTo>
                    <a:lnTo>
                      <a:pt x="707" y="206"/>
                    </a:lnTo>
                    <a:lnTo>
                      <a:pt x="705" y="206"/>
                    </a:lnTo>
                    <a:lnTo>
                      <a:pt x="707" y="206"/>
                    </a:lnTo>
                    <a:lnTo>
                      <a:pt x="705" y="206"/>
                    </a:lnTo>
                    <a:lnTo>
                      <a:pt x="705" y="204"/>
                    </a:lnTo>
                    <a:lnTo>
                      <a:pt x="707" y="204"/>
                    </a:lnTo>
                    <a:lnTo>
                      <a:pt x="705" y="204"/>
                    </a:lnTo>
                    <a:lnTo>
                      <a:pt x="705" y="202"/>
                    </a:lnTo>
                    <a:lnTo>
                      <a:pt x="705" y="200"/>
                    </a:lnTo>
                    <a:lnTo>
                      <a:pt x="705" y="198"/>
                    </a:lnTo>
                    <a:lnTo>
                      <a:pt x="705" y="197"/>
                    </a:lnTo>
                    <a:lnTo>
                      <a:pt x="707" y="197"/>
                    </a:lnTo>
                    <a:lnTo>
                      <a:pt x="705" y="197"/>
                    </a:lnTo>
                    <a:lnTo>
                      <a:pt x="707" y="195"/>
                    </a:lnTo>
                    <a:lnTo>
                      <a:pt x="707" y="193"/>
                    </a:lnTo>
                    <a:lnTo>
                      <a:pt x="707" y="191"/>
                    </a:lnTo>
                    <a:lnTo>
                      <a:pt x="709" y="191"/>
                    </a:lnTo>
                    <a:lnTo>
                      <a:pt x="707" y="191"/>
                    </a:lnTo>
                    <a:lnTo>
                      <a:pt x="709" y="191"/>
                    </a:lnTo>
                    <a:lnTo>
                      <a:pt x="711" y="191"/>
                    </a:lnTo>
                    <a:lnTo>
                      <a:pt x="709" y="193"/>
                    </a:lnTo>
                    <a:lnTo>
                      <a:pt x="711" y="193"/>
                    </a:lnTo>
                    <a:lnTo>
                      <a:pt x="712" y="193"/>
                    </a:lnTo>
                    <a:lnTo>
                      <a:pt x="712" y="191"/>
                    </a:lnTo>
                    <a:lnTo>
                      <a:pt x="712" y="189"/>
                    </a:lnTo>
                    <a:lnTo>
                      <a:pt x="714" y="189"/>
                    </a:lnTo>
                    <a:lnTo>
                      <a:pt x="714" y="187"/>
                    </a:lnTo>
                    <a:lnTo>
                      <a:pt x="714" y="189"/>
                    </a:lnTo>
                    <a:lnTo>
                      <a:pt x="712" y="189"/>
                    </a:lnTo>
                    <a:lnTo>
                      <a:pt x="711" y="189"/>
                    </a:lnTo>
                    <a:lnTo>
                      <a:pt x="709" y="189"/>
                    </a:lnTo>
                    <a:lnTo>
                      <a:pt x="707" y="189"/>
                    </a:lnTo>
                    <a:lnTo>
                      <a:pt x="707" y="187"/>
                    </a:lnTo>
                    <a:lnTo>
                      <a:pt x="707" y="189"/>
                    </a:lnTo>
                    <a:lnTo>
                      <a:pt x="707" y="191"/>
                    </a:lnTo>
                    <a:lnTo>
                      <a:pt x="705" y="191"/>
                    </a:lnTo>
                    <a:lnTo>
                      <a:pt x="703" y="191"/>
                    </a:lnTo>
                    <a:lnTo>
                      <a:pt x="703" y="193"/>
                    </a:lnTo>
                    <a:lnTo>
                      <a:pt x="701" y="193"/>
                    </a:lnTo>
                    <a:lnTo>
                      <a:pt x="699" y="193"/>
                    </a:lnTo>
                    <a:lnTo>
                      <a:pt x="699" y="195"/>
                    </a:lnTo>
                    <a:lnTo>
                      <a:pt x="697" y="195"/>
                    </a:lnTo>
                    <a:lnTo>
                      <a:pt x="697" y="197"/>
                    </a:lnTo>
                    <a:lnTo>
                      <a:pt x="697" y="198"/>
                    </a:lnTo>
                    <a:lnTo>
                      <a:pt x="699" y="197"/>
                    </a:lnTo>
                    <a:lnTo>
                      <a:pt x="699" y="198"/>
                    </a:lnTo>
                    <a:lnTo>
                      <a:pt x="697" y="198"/>
                    </a:lnTo>
                    <a:lnTo>
                      <a:pt x="695" y="200"/>
                    </a:lnTo>
                    <a:lnTo>
                      <a:pt x="693" y="198"/>
                    </a:lnTo>
                    <a:lnTo>
                      <a:pt x="693" y="200"/>
                    </a:lnTo>
                    <a:lnTo>
                      <a:pt x="695" y="200"/>
                    </a:lnTo>
                    <a:lnTo>
                      <a:pt x="697" y="200"/>
                    </a:lnTo>
                    <a:lnTo>
                      <a:pt x="695" y="200"/>
                    </a:lnTo>
                    <a:lnTo>
                      <a:pt x="693" y="200"/>
                    </a:lnTo>
                    <a:lnTo>
                      <a:pt x="691" y="200"/>
                    </a:lnTo>
                    <a:lnTo>
                      <a:pt x="689" y="200"/>
                    </a:lnTo>
                    <a:lnTo>
                      <a:pt x="689" y="198"/>
                    </a:lnTo>
                    <a:lnTo>
                      <a:pt x="689" y="197"/>
                    </a:lnTo>
                    <a:lnTo>
                      <a:pt x="687" y="197"/>
                    </a:lnTo>
                    <a:lnTo>
                      <a:pt x="687" y="195"/>
                    </a:lnTo>
                    <a:lnTo>
                      <a:pt x="687" y="193"/>
                    </a:lnTo>
                    <a:lnTo>
                      <a:pt x="687" y="191"/>
                    </a:lnTo>
                    <a:lnTo>
                      <a:pt x="689" y="189"/>
                    </a:lnTo>
                    <a:lnTo>
                      <a:pt x="689" y="187"/>
                    </a:lnTo>
                    <a:lnTo>
                      <a:pt x="691" y="187"/>
                    </a:lnTo>
                    <a:lnTo>
                      <a:pt x="693" y="187"/>
                    </a:lnTo>
                    <a:lnTo>
                      <a:pt x="695" y="187"/>
                    </a:lnTo>
                    <a:lnTo>
                      <a:pt x="695" y="185"/>
                    </a:lnTo>
                    <a:lnTo>
                      <a:pt x="697" y="185"/>
                    </a:lnTo>
                    <a:lnTo>
                      <a:pt x="699" y="185"/>
                    </a:lnTo>
                    <a:lnTo>
                      <a:pt x="701" y="185"/>
                    </a:lnTo>
                    <a:lnTo>
                      <a:pt x="701" y="183"/>
                    </a:lnTo>
                    <a:lnTo>
                      <a:pt x="703" y="183"/>
                    </a:lnTo>
                    <a:lnTo>
                      <a:pt x="705" y="183"/>
                    </a:lnTo>
                    <a:lnTo>
                      <a:pt x="703" y="183"/>
                    </a:lnTo>
                    <a:lnTo>
                      <a:pt x="701" y="183"/>
                    </a:lnTo>
                    <a:lnTo>
                      <a:pt x="701" y="185"/>
                    </a:lnTo>
                    <a:lnTo>
                      <a:pt x="699" y="185"/>
                    </a:lnTo>
                    <a:lnTo>
                      <a:pt x="697" y="185"/>
                    </a:lnTo>
                    <a:lnTo>
                      <a:pt x="695" y="185"/>
                    </a:lnTo>
                    <a:lnTo>
                      <a:pt x="695" y="187"/>
                    </a:lnTo>
                    <a:lnTo>
                      <a:pt x="693" y="187"/>
                    </a:lnTo>
                    <a:lnTo>
                      <a:pt x="691" y="187"/>
                    </a:lnTo>
                    <a:lnTo>
                      <a:pt x="689" y="187"/>
                    </a:lnTo>
                    <a:lnTo>
                      <a:pt x="689" y="185"/>
                    </a:lnTo>
                    <a:lnTo>
                      <a:pt x="691" y="183"/>
                    </a:lnTo>
                    <a:lnTo>
                      <a:pt x="691" y="181"/>
                    </a:lnTo>
                    <a:lnTo>
                      <a:pt x="691" y="179"/>
                    </a:lnTo>
                    <a:lnTo>
                      <a:pt x="693" y="179"/>
                    </a:lnTo>
                    <a:lnTo>
                      <a:pt x="691" y="179"/>
                    </a:lnTo>
                    <a:lnTo>
                      <a:pt x="693" y="179"/>
                    </a:lnTo>
                    <a:lnTo>
                      <a:pt x="693" y="177"/>
                    </a:lnTo>
                    <a:lnTo>
                      <a:pt x="693" y="175"/>
                    </a:lnTo>
                    <a:lnTo>
                      <a:pt x="695" y="173"/>
                    </a:lnTo>
                    <a:lnTo>
                      <a:pt x="695" y="172"/>
                    </a:lnTo>
                    <a:lnTo>
                      <a:pt x="697" y="172"/>
                    </a:lnTo>
                    <a:lnTo>
                      <a:pt x="697" y="170"/>
                    </a:lnTo>
                    <a:lnTo>
                      <a:pt x="699" y="170"/>
                    </a:lnTo>
                    <a:lnTo>
                      <a:pt x="701" y="170"/>
                    </a:lnTo>
                    <a:lnTo>
                      <a:pt x="703" y="170"/>
                    </a:lnTo>
                    <a:lnTo>
                      <a:pt x="701" y="170"/>
                    </a:lnTo>
                    <a:lnTo>
                      <a:pt x="703" y="170"/>
                    </a:lnTo>
                    <a:lnTo>
                      <a:pt x="701" y="170"/>
                    </a:lnTo>
                    <a:lnTo>
                      <a:pt x="699" y="170"/>
                    </a:lnTo>
                    <a:lnTo>
                      <a:pt x="701" y="170"/>
                    </a:lnTo>
                    <a:lnTo>
                      <a:pt x="703" y="170"/>
                    </a:lnTo>
                    <a:lnTo>
                      <a:pt x="705" y="170"/>
                    </a:lnTo>
                    <a:lnTo>
                      <a:pt x="705" y="172"/>
                    </a:lnTo>
                    <a:lnTo>
                      <a:pt x="705" y="170"/>
                    </a:lnTo>
                    <a:lnTo>
                      <a:pt x="705" y="172"/>
                    </a:lnTo>
                    <a:lnTo>
                      <a:pt x="705" y="170"/>
                    </a:lnTo>
                    <a:lnTo>
                      <a:pt x="707" y="170"/>
                    </a:lnTo>
                    <a:lnTo>
                      <a:pt x="705" y="170"/>
                    </a:lnTo>
                    <a:lnTo>
                      <a:pt x="705" y="172"/>
                    </a:lnTo>
                    <a:lnTo>
                      <a:pt x="707" y="172"/>
                    </a:lnTo>
                    <a:lnTo>
                      <a:pt x="705" y="172"/>
                    </a:lnTo>
                    <a:lnTo>
                      <a:pt x="705" y="173"/>
                    </a:lnTo>
                    <a:lnTo>
                      <a:pt x="707" y="173"/>
                    </a:lnTo>
                    <a:lnTo>
                      <a:pt x="705" y="175"/>
                    </a:lnTo>
                    <a:lnTo>
                      <a:pt x="707" y="175"/>
                    </a:lnTo>
                    <a:lnTo>
                      <a:pt x="707" y="173"/>
                    </a:lnTo>
                    <a:lnTo>
                      <a:pt x="709" y="173"/>
                    </a:lnTo>
                    <a:lnTo>
                      <a:pt x="711" y="173"/>
                    </a:lnTo>
                    <a:lnTo>
                      <a:pt x="711" y="172"/>
                    </a:lnTo>
                    <a:lnTo>
                      <a:pt x="711" y="173"/>
                    </a:lnTo>
                    <a:lnTo>
                      <a:pt x="709" y="173"/>
                    </a:lnTo>
                    <a:lnTo>
                      <a:pt x="711" y="173"/>
                    </a:lnTo>
                    <a:lnTo>
                      <a:pt x="711" y="172"/>
                    </a:lnTo>
                    <a:lnTo>
                      <a:pt x="711" y="173"/>
                    </a:lnTo>
                    <a:lnTo>
                      <a:pt x="711" y="172"/>
                    </a:lnTo>
                    <a:lnTo>
                      <a:pt x="712" y="172"/>
                    </a:lnTo>
                    <a:lnTo>
                      <a:pt x="711" y="172"/>
                    </a:lnTo>
                    <a:lnTo>
                      <a:pt x="712" y="172"/>
                    </a:lnTo>
                    <a:lnTo>
                      <a:pt x="712" y="170"/>
                    </a:lnTo>
                    <a:lnTo>
                      <a:pt x="712" y="168"/>
                    </a:lnTo>
                    <a:lnTo>
                      <a:pt x="712" y="166"/>
                    </a:lnTo>
                    <a:lnTo>
                      <a:pt x="714" y="166"/>
                    </a:lnTo>
                    <a:lnTo>
                      <a:pt x="714" y="164"/>
                    </a:lnTo>
                    <a:lnTo>
                      <a:pt x="714" y="166"/>
                    </a:lnTo>
                    <a:lnTo>
                      <a:pt x="714" y="164"/>
                    </a:lnTo>
                    <a:lnTo>
                      <a:pt x="714" y="166"/>
                    </a:lnTo>
                    <a:lnTo>
                      <a:pt x="714" y="164"/>
                    </a:lnTo>
                    <a:lnTo>
                      <a:pt x="716" y="164"/>
                    </a:lnTo>
                    <a:lnTo>
                      <a:pt x="718" y="164"/>
                    </a:lnTo>
                    <a:lnTo>
                      <a:pt x="718" y="162"/>
                    </a:lnTo>
                    <a:lnTo>
                      <a:pt x="718" y="164"/>
                    </a:lnTo>
                    <a:lnTo>
                      <a:pt x="716" y="164"/>
                    </a:lnTo>
                    <a:lnTo>
                      <a:pt x="718" y="164"/>
                    </a:lnTo>
                    <a:lnTo>
                      <a:pt x="716" y="164"/>
                    </a:lnTo>
                    <a:lnTo>
                      <a:pt x="716" y="162"/>
                    </a:lnTo>
                    <a:lnTo>
                      <a:pt x="718" y="162"/>
                    </a:lnTo>
                    <a:lnTo>
                      <a:pt x="716" y="162"/>
                    </a:lnTo>
                    <a:lnTo>
                      <a:pt x="716" y="164"/>
                    </a:lnTo>
                    <a:lnTo>
                      <a:pt x="716" y="162"/>
                    </a:lnTo>
                    <a:lnTo>
                      <a:pt x="716" y="164"/>
                    </a:lnTo>
                    <a:lnTo>
                      <a:pt x="716" y="162"/>
                    </a:lnTo>
                    <a:lnTo>
                      <a:pt x="714" y="162"/>
                    </a:lnTo>
                    <a:lnTo>
                      <a:pt x="716" y="162"/>
                    </a:lnTo>
                    <a:lnTo>
                      <a:pt x="714" y="162"/>
                    </a:lnTo>
                    <a:lnTo>
                      <a:pt x="716" y="162"/>
                    </a:lnTo>
                    <a:lnTo>
                      <a:pt x="716" y="164"/>
                    </a:lnTo>
                    <a:lnTo>
                      <a:pt x="714" y="164"/>
                    </a:lnTo>
                    <a:lnTo>
                      <a:pt x="716" y="164"/>
                    </a:lnTo>
                    <a:lnTo>
                      <a:pt x="714" y="164"/>
                    </a:lnTo>
                    <a:lnTo>
                      <a:pt x="714" y="162"/>
                    </a:lnTo>
                    <a:lnTo>
                      <a:pt x="714" y="160"/>
                    </a:lnTo>
                    <a:lnTo>
                      <a:pt x="714" y="158"/>
                    </a:lnTo>
                    <a:lnTo>
                      <a:pt x="716" y="158"/>
                    </a:lnTo>
                    <a:lnTo>
                      <a:pt x="714" y="158"/>
                    </a:lnTo>
                    <a:lnTo>
                      <a:pt x="716" y="158"/>
                    </a:lnTo>
                    <a:lnTo>
                      <a:pt x="716" y="156"/>
                    </a:lnTo>
                    <a:lnTo>
                      <a:pt x="716" y="158"/>
                    </a:lnTo>
                    <a:lnTo>
                      <a:pt x="718" y="158"/>
                    </a:lnTo>
                    <a:lnTo>
                      <a:pt x="718" y="160"/>
                    </a:lnTo>
                    <a:lnTo>
                      <a:pt x="720" y="160"/>
                    </a:lnTo>
                    <a:lnTo>
                      <a:pt x="720" y="158"/>
                    </a:lnTo>
                    <a:lnTo>
                      <a:pt x="718" y="160"/>
                    </a:lnTo>
                    <a:lnTo>
                      <a:pt x="720" y="158"/>
                    </a:lnTo>
                    <a:lnTo>
                      <a:pt x="718" y="158"/>
                    </a:lnTo>
                    <a:lnTo>
                      <a:pt x="720" y="158"/>
                    </a:lnTo>
                    <a:lnTo>
                      <a:pt x="718" y="158"/>
                    </a:lnTo>
                    <a:lnTo>
                      <a:pt x="716" y="158"/>
                    </a:lnTo>
                    <a:lnTo>
                      <a:pt x="716" y="156"/>
                    </a:lnTo>
                    <a:lnTo>
                      <a:pt x="716" y="158"/>
                    </a:lnTo>
                    <a:lnTo>
                      <a:pt x="716" y="156"/>
                    </a:lnTo>
                    <a:lnTo>
                      <a:pt x="716" y="158"/>
                    </a:lnTo>
                    <a:lnTo>
                      <a:pt x="714" y="158"/>
                    </a:lnTo>
                    <a:lnTo>
                      <a:pt x="716" y="158"/>
                    </a:lnTo>
                    <a:lnTo>
                      <a:pt x="714" y="158"/>
                    </a:lnTo>
                    <a:lnTo>
                      <a:pt x="714" y="156"/>
                    </a:lnTo>
                    <a:lnTo>
                      <a:pt x="712" y="156"/>
                    </a:lnTo>
                    <a:lnTo>
                      <a:pt x="711" y="156"/>
                    </a:lnTo>
                    <a:lnTo>
                      <a:pt x="711" y="154"/>
                    </a:lnTo>
                    <a:lnTo>
                      <a:pt x="709" y="154"/>
                    </a:lnTo>
                    <a:lnTo>
                      <a:pt x="707" y="154"/>
                    </a:lnTo>
                    <a:lnTo>
                      <a:pt x="707" y="152"/>
                    </a:lnTo>
                    <a:lnTo>
                      <a:pt x="705" y="152"/>
                    </a:lnTo>
                    <a:lnTo>
                      <a:pt x="705" y="150"/>
                    </a:lnTo>
                    <a:lnTo>
                      <a:pt x="707" y="150"/>
                    </a:lnTo>
                    <a:lnTo>
                      <a:pt x="709" y="148"/>
                    </a:lnTo>
                    <a:lnTo>
                      <a:pt x="711" y="148"/>
                    </a:lnTo>
                    <a:lnTo>
                      <a:pt x="712" y="148"/>
                    </a:lnTo>
                    <a:lnTo>
                      <a:pt x="714" y="148"/>
                    </a:lnTo>
                    <a:lnTo>
                      <a:pt x="714" y="147"/>
                    </a:lnTo>
                    <a:lnTo>
                      <a:pt x="716" y="147"/>
                    </a:lnTo>
                    <a:lnTo>
                      <a:pt x="718" y="147"/>
                    </a:lnTo>
                    <a:lnTo>
                      <a:pt x="720" y="147"/>
                    </a:lnTo>
                    <a:lnTo>
                      <a:pt x="722" y="147"/>
                    </a:lnTo>
                    <a:lnTo>
                      <a:pt x="722" y="148"/>
                    </a:lnTo>
                    <a:lnTo>
                      <a:pt x="724" y="147"/>
                    </a:lnTo>
                    <a:lnTo>
                      <a:pt x="724" y="148"/>
                    </a:lnTo>
                    <a:lnTo>
                      <a:pt x="726" y="148"/>
                    </a:lnTo>
                    <a:lnTo>
                      <a:pt x="726" y="147"/>
                    </a:lnTo>
                    <a:lnTo>
                      <a:pt x="728" y="147"/>
                    </a:lnTo>
                    <a:lnTo>
                      <a:pt x="730" y="147"/>
                    </a:lnTo>
                    <a:lnTo>
                      <a:pt x="734" y="147"/>
                    </a:lnTo>
                    <a:lnTo>
                      <a:pt x="736" y="145"/>
                    </a:lnTo>
                    <a:lnTo>
                      <a:pt x="737" y="145"/>
                    </a:lnTo>
                    <a:lnTo>
                      <a:pt x="739" y="145"/>
                    </a:lnTo>
                    <a:lnTo>
                      <a:pt x="741" y="143"/>
                    </a:lnTo>
                    <a:lnTo>
                      <a:pt x="743" y="143"/>
                    </a:lnTo>
                    <a:lnTo>
                      <a:pt x="743" y="141"/>
                    </a:lnTo>
                    <a:lnTo>
                      <a:pt x="745" y="141"/>
                    </a:lnTo>
                    <a:lnTo>
                      <a:pt x="747" y="141"/>
                    </a:lnTo>
                    <a:lnTo>
                      <a:pt x="749" y="139"/>
                    </a:lnTo>
                    <a:lnTo>
                      <a:pt x="751" y="139"/>
                    </a:lnTo>
                    <a:lnTo>
                      <a:pt x="751" y="137"/>
                    </a:lnTo>
                    <a:lnTo>
                      <a:pt x="753" y="137"/>
                    </a:lnTo>
                    <a:lnTo>
                      <a:pt x="757" y="135"/>
                    </a:lnTo>
                    <a:lnTo>
                      <a:pt x="759" y="135"/>
                    </a:lnTo>
                    <a:lnTo>
                      <a:pt x="759" y="133"/>
                    </a:lnTo>
                    <a:lnTo>
                      <a:pt x="760" y="133"/>
                    </a:lnTo>
                    <a:lnTo>
                      <a:pt x="762" y="133"/>
                    </a:lnTo>
                    <a:lnTo>
                      <a:pt x="762" y="131"/>
                    </a:lnTo>
                    <a:lnTo>
                      <a:pt x="764" y="131"/>
                    </a:lnTo>
                    <a:lnTo>
                      <a:pt x="766" y="131"/>
                    </a:lnTo>
                    <a:lnTo>
                      <a:pt x="768" y="131"/>
                    </a:lnTo>
                    <a:lnTo>
                      <a:pt x="770" y="129"/>
                    </a:lnTo>
                    <a:lnTo>
                      <a:pt x="772" y="129"/>
                    </a:lnTo>
                    <a:lnTo>
                      <a:pt x="774" y="127"/>
                    </a:lnTo>
                    <a:lnTo>
                      <a:pt x="776" y="127"/>
                    </a:lnTo>
                    <a:lnTo>
                      <a:pt x="774" y="127"/>
                    </a:lnTo>
                    <a:lnTo>
                      <a:pt x="776" y="127"/>
                    </a:lnTo>
                    <a:lnTo>
                      <a:pt x="774" y="127"/>
                    </a:lnTo>
                    <a:lnTo>
                      <a:pt x="776" y="127"/>
                    </a:lnTo>
                    <a:lnTo>
                      <a:pt x="778" y="127"/>
                    </a:lnTo>
                    <a:lnTo>
                      <a:pt x="778" y="125"/>
                    </a:lnTo>
                    <a:lnTo>
                      <a:pt x="780" y="125"/>
                    </a:lnTo>
                    <a:lnTo>
                      <a:pt x="782" y="125"/>
                    </a:lnTo>
                    <a:lnTo>
                      <a:pt x="784" y="123"/>
                    </a:lnTo>
                    <a:lnTo>
                      <a:pt x="784" y="125"/>
                    </a:lnTo>
                    <a:lnTo>
                      <a:pt x="784" y="123"/>
                    </a:lnTo>
                    <a:lnTo>
                      <a:pt x="784" y="125"/>
                    </a:lnTo>
                    <a:lnTo>
                      <a:pt x="784" y="123"/>
                    </a:lnTo>
                    <a:lnTo>
                      <a:pt x="785" y="123"/>
                    </a:lnTo>
                    <a:lnTo>
                      <a:pt x="784" y="123"/>
                    </a:lnTo>
                    <a:lnTo>
                      <a:pt x="785" y="123"/>
                    </a:lnTo>
                    <a:lnTo>
                      <a:pt x="787" y="123"/>
                    </a:lnTo>
                    <a:lnTo>
                      <a:pt x="789" y="123"/>
                    </a:lnTo>
                    <a:lnTo>
                      <a:pt x="787" y="123"/>
                    </a:lnTo>
                    <a:lnTo>
                      <a:pt x="789" y="123"/>
                    </a:lnTo>
                    <a:lnTo>
                      <a:pt x="789" y="122"/>
                    </a:lnTo>
                    <a:lnTo>
                      <a:pt x="789" y="123"/>
                    </a:lnTo>
                    <a:lnTo>
                      <a:pt x="791" y="123"/>
                    </a:lnTo>
                    <a:lnTo>
                      <a:pt x="791" y="122"/>
                    </a:lnTo>
                    <a:lnTo>
                      <a:pt x="791" y="123"/>
                    </a:lnTo>
                    <a:lnTo>
                      <a:pt x="791" y="122"/>
                    </a:lnTo>
                    <a:lnTo>
                      <a:pt x="793" y="122"/>
                    </a:lnTo>
                    <a:lnTo>
                      <a:pt x="791" y="122"/>
                    </a:lnTo>
                    <a:lnTo>
                      <a:pt x="793" y="122"/>
                    </a:lnTo>
                    <a:lnTo>
                      <a:pt x="795" y="122"/>
                    </a:lnTo>
                    <a:lnTo>
                      <a:pt x="797" y="122"/>
                    </a:lnTo>
                    <a:lnTo>
                      <a:pt x="797" y="120"/>
                    </a:lnTo>
                    <a:lnTo>
                      <a:pt x="797" y="122"/>
                    </a:lnTo>
                    <a:lnTo>
                      <a:pt x="797" y="120"/>
                    </a:lnTo>
                    <a:lnTo>
                      <a:pt x="799" y="120"/>
                    </a:lnTo>
                    <a:lnTo>
                      <a:pt x="801" y="120"/>
                    </a:lnTo>
                    <a:lnTo>
                      <a:pt x="803" y="120"/>
                    </a:lnTo>
                    <a:lnTo>
                      <a:pt x="803" y="118"/>
                    </a:lnTo>
                    <a:lnTo>
                      <a:pt x="805" y="118"/>
                    </a:lnTo>
                    <a:lnTo>
                      <a:pt x="807" y="118"/>
                    </a:lnTo>
                    <a:lnTo>
                      <a:pt x="809" y="118"/>
                    </a:lnTo>
                    <a:lnTo>
                      <a:pt x="807" y="118"/>
                    </a:lnTo>
                    <a:lnTo>
                      <a:pt x="809" y="118"/>
                    </a:lnTo>
                    <a:lnTo>
                      <a:pt x="809" y="116"/>
                    </a:lnTo>
                    <a:lnTo>
                      <a:pt x="809" y="118"/>
                    </a:lnTo>
                    <a:lnTo>
                      <a:pt x="809" y="116"/>
                    </a:lnTo>
                    <a:lnTo>
                      <a:pt x="810" y="116"/>
                    </a:lnTo>
                    <a:lnTo>
                      <a:pt x="810" y="118"/>
                    </a:lnTo>
                    <a:lnTo>
                      <a:pt x="809" y="116"/>
                    </a:lnTo>
                    <a:lnTo>
                      <a:pt x="809" y="118"/>
                    </a:lnTo>
                    <a:lnTo>
                      <a:pt x="810" y="118"/>
                    </a:lnTo>
                    <a:lnTo>
                      <a:pt x="810" y="116"/>
                    </a:lnTo>
                    <a:lnTo>
                      <a:pt x="810" y="118"/>
                    </a:lnTo>
                    <a:lnTo>
                      <a:pt x="810" y="116"/>
                    </a:lnTo>
                    <a:lnTo>
                      <a:pt x="812" y="116"/>
                    </a:lnTo>
                    <a:lnTo>
                      <a:pt x="814" y="116"/>
                    </a:lnTo>
                    <a:lnTo>
                      <a:pt x="816" y="116"/>
                    </a:lnTo>
                    <a:lnTo>
                      <a:pt x="816" y="114"/>
                    </a:lnTo>
                    <a:lnTo>
                      <a:pt x="816" y="116"/>
                    </a:lnTo>
                    <a:lnTo>
                      <a:pt x="818" y="116"/>
                    </a:lnTo>
                    <a:lnTo>
                      <a:pt x="818" y="114"/>
                    </a:lnTo>
                    <a:lnTo>
                      <a:pt x="820" y="114"/>
                    </a:lnTo>
                    <a:lnTo>
                      <a:pt x="818" y="114"/>
                    </a:lnTo>
                    <a:lnTo>
                      <a:pt x="820" y="114"/>
                    </a:lnTo>
                    <a:lnTo>
                      <a:pt x="822" y="114"/>
                    </a:lnTo>
                    <a:lnTo>
                      <a:pt x="824" y="114"/>
                    </a:lnTo>
                    <a:lnTo>
                      <a:pt x="826" y="114"/>
                    </a:lnTo>
                    <a:lnTo>
                      <a:pt x="828" y="114"/>
                    </a:lnTo>
                    <a:lnTo>
                      <a:pt x="830" y="114"/>
                    </a:lnTo>
                    <a:lnTo>
                      <a:pt x="830" y="112"/>
                    </a:lnTo>
                    <a:lnTo>
                      <a:pt x="830" y="114"/>
                    </a:lnTo>
                    <a:lnTo>
                      <a:pt x="830" y="112"/>
                    </a:lnTo>
                    <a:lnTo>
                      <a:pt x="830" y="114"/>
                    </a:lnTo>
                    <a:lnTo>
                      <a:pt x="830" y="112"/>
                    </a:lnTo>
                    <a:lnTo>
                      <a:pt x="830" y="114"/>
                    </a:lnTo>
                    <a:lnTo>
                      <a:pt x="830" y="112"/>
                    </a:lnTo>
                    <a:lnTo>
                      <a:pt x="832" y="112"/>
                    </a:lnTo>
                    <a:lnTo>
                      <a:pt x="833" y="112"/>
                    </a:lnTo>
                    <a:lnTo>
                      <a:pt x="835" y="112"/>
                    </a:lnTo>
                    <a:lnTo>
                      <a:pt x="837" y="110"/>
                    </a:lnTo>
                    <a:lnTo>
                      <a:pt x="837" y="112"/>
                    </a:lnTo>
                    <a:lnTo>
                      <a:pt x="837" y="110"/>
                    </a:lnTo>
                    <a:lnTo>
                      <a:pt x="837" y="112"/>
                    </a:lnTo>
                    <a:lnTo>
                      <a:pt x="837" y="110"/>
                    </a:lnTo>
                    <a:lnTo>
                      <a:pt x="837" y="112"/>
                    </a:lnTo>
                    <a:lnTo>
                      <a:pt x="837" y="110"/>
                    </a:lnTo>
                    <a:lnTo>
                      <a:pt x="837" y="112"/>
                    </a:lnTo>
                    <a:lnTo>
                      <a:pt x="839" y="112"/>
                    </a:lnTo>
                    <a:lnTo>
                      <a:pt x="837" y="112"/>
                    </a:lnTo>
                    <a:lnTo>
                      <a:pt x="833" y="114"/>
                    </a:lnTo>
                    <a:lnTo>
                      <a:pt x="832" y="114"/>
                    </a:lnTo>
                    <a:lnTo>
                      <a:pt x="832" y="116"/>
                    </a:lnTo>
                    <a:lnTo>
                      <a:pt x="828" y="118"/>
                    </a:lnTo>
                    <a:lnTo>
                      <a:pt x="826" y="118"/>
                    </a:lnTo>
                    <a:lnTo>
                      <a:pt x="828" y="118"/>
                    </a:lnTo>
                    <a:lnTo>
                      <a:pt x="826" y="118"/>
                    </a:lnTo>
                    <a:lnTo>
                      <a:pt x="824" y="120"/>
                    </a:lnTo>
                    <a:lnTo>
                      <a:pt x="822" y="122"/>
                    </a:lnTo>
                    <a:lnTo>
                      <a:pt x="820" y="122"/>
                    </a:lnTo>
                    <a:lnTo>
                      <a:pt x="818" y="123"/>
                    </a:lnTo>
                    <a:lnTo>
                      <a:pt x="816" y="123"/>
                    </a:lnTo>
                    <a:lnTo>
                      <a:pt x="816" y="125"/>
                    </a:lnTo>
                    <a:lnTo>
                      <a:pt x="814" y="125"/>
                    </a:lnTo>
                    <a:lnTo>
                      <a:pt x="812" y="125"/>
                    </a:lnTo>
                    <a:lnTo>
                      <a:pt x="810" y="125"/>
                    </a:lnTo>
                    <a:lnTo>
                      <a:pt x="810" y="127"/>
                    </a:lnTo>
                    <a:lnTo>
                      <a:pt x="809" y="127"/>
                    </a:lnTo>
                    <a:lnTo>
                      <a:pt x="807" y="125"/>
                    </a:lnTo>
                    <a:lnTo>
                      <a:pt x="805" y="125"/>
                    </a:lnTo>
                    <a:lnTo>
                      <a:pt x="805" y="123"/>
                    </a:lnTo>
                    <a:lnTo>
                      <a:pt x="803" y="123"/>
                    </a:lnTo>
                    <a:lnTo>
                      <a:pt x="805" y="123"/>
                    </a:lnTo>
                    <a:lnTo>
                      <a:pt x="805" y="125"/>
                    </a:lnTo>
                    <a:lnTo>
                      <a:pt x="803" y="127"/>
                    </a:lnTo>
                    <a:lnTo>
                      <a:pt x="803" y="129"/>
                    </a:lnTo>
                    <a:lnTo>
                      <a:pt x="803" y="127"/>
                    </a:lnTo>
                    <a:lnTo>
                      <a:pt x="801" y="127"/>
                    </a:lnTo>
                    <a:lnTo>
                      <a:pt x="799" y="127"/>
                    </a:lnTo>
                    <a:lnTo>
                      <a:pt x="799" y="129"/>
                    </a:lnTo>
                    <a:lnTo>
                      <a:pt x="797" y="131"/>
                    </a:lnTo>
                    <a:lnTo>
                      <a:pt x="795" y="133"/>
                    </a:lnTo>
                    <a:lnTo>
                      <a:pt x="795" y="131"/>
                    </a:lnTo>
                    <a:lnTo>
                      <a:pt x="795" y="133"/>
                    </a:lnTo>
                    <a:lnTo>
                      <a:pt x="795" y="131"/>
                    </a:lnTo>
                    <a:lnTo>
                      <a:pt x="795" y="133"/>
                    </a:lnTo>
                    <a:lnTo>
                      <a:pt x="797" y="133"/>
                    </a:lnTo>
                    <a:lnTo>
                      <a:pt x="795" y="133"/>
                    </a:lnTo>
                    <a:lnTo>
                      <a:pt x="795" y="135"/>
                    </a:lnTo>
                    <a:lnTo>
                      <a:pt x="795" y="137"/>
                    </a:lnTo>
                    <a:lnTo>
                      <a:pt x="795" y="139"/>
                    </a:lnTo>
                    <a:lnTo>
                      <a:pt x="795" y="141"/>
                    </a:lnTo>
                    <a:lnTo>
                      <a:pt x="795" y="143"/>
                    </a:lnTo>
                    <a:lnTo>
                      <a:pt x="793" y="143"/>
                    </a:lnTo>
                    <a:lnTo>
                      <a:pt x="791" y="143"/>
                    </a:lnTo>
                    <a:lnTo>
                      <a:pt x="789" y="143"/>
                    </a:lnTo>
                    <a:lnTo>
                      <a:pt x="789" y="145"/>
                    </a:lnTo>
                    <a:lnTo>
                      <a:pt x="787" y="145"/>
                    </a:lnTo>
                    <a:lnTo>
                      <a:pt x="787" y="147"/>
                    </a:lnTo>
                    <a:lnTo>
                      <a:pt x="785" y="147"/>
                    </a:lnTo>
                    <a:lnTo>
                      <a:pt x="787" y="147"/>
                    </a:lnTo>
                    <a:lnTo>
                      <a:pt x="785" y="147"/>
                    </a:lnTo>
                    <a:lnTo>
                      <a:pt x="785" y="148"/>
                    </a:lnTo>
                    <a:lnTo>
                      <a:pt x="785" y="147"/>
                    </a:lnTo>
                    <a:lnTo>
                      <a:pt x="787" y="147"/>
                    </a:lnTo>
                    <a:lnTo>
                      <a:pt x="787" y="148"/>
                    </a:lnTo>
                    <a:lnTo>
                      <a:pt x="785" y="148"/>
                    </a:lnTo>
                    <a:lnTo>
                      <a:pt x="787" y="148"/>
                    </a:lnTo>
                    <a:lnTo>
                      <a:pt x="787" y="147"/>
                    </a:lnTo>
                    <a:lnTo>
                      <a:pt x="785" y="147"/>
                    </a:lnTo>
                    <a:lnTo>
                      <a:pt x="787" y="147"/>
                    </a:lnTo>
                    <a:lnTo>
                      <a:pt x="785" y="147"/>
                    </a:lnTo>
                    <a:lnTo>
                      <a:pt x="787" y="147"/>
                    </a:lnTo>
                    <a:lnTo>
                      <a:pt x="787" y="145"/>
                    </a:lnTo>
                    <a:lnTo>
                      <a:pt x="789" y="145"/>
                    </a:lnTo>
                    <a:lnTo>
                      <a:pt x="791" y="145"/>
                    </a:lnTo>
                    <a:lnTo>
                      <a:pt x="789" y="147"/>
                    </a:lnTo>
                    <a:lnTo>
                      <a:pt x="789" y="148"/>
                    </a:lnTo>
                    <a:lnTo>
                      <a:pt x="791" y="148"/>
                    </a:lnTo>
                    <a:lnTo>
                      <a:pt x="789" y="148"/>
                    </a:lnTo>
                    <a:lnTo>
                      <a:pt x="789" y="150"/>
                    </a:lnTo>
                    <a:lnTo>
                      <a:pt x="789" y="148"/>
                    </a:lnTo>
                    <a:lnTo>
                      <a:pt x="787" y="148"/>
                    </a:lnTo>
                    <a:lnTo>
                      <a:pt x="787" y="150"/>
                    </a:lnTo>
                    <a:lnTo>
                      <a:pt x="785" y="150"/>
                    </a:lnTo>
                    <a:lnTo>
                      <a:pt x="787" y="150"/>
                    </a:lnTo>
                    <a:lnTo>
                      <a:pt x="785" y="150"/>
                    </a:lnTo>
                    <a:lnTo>
                      <a:pt x="787" y="150"/>
                    </a:lnTo>
                    <a:lnTo>
                      <a:pt x="789" y="150"/>
                    </a:lnTo>
                    <a:lnTo>
                      <a:pt x="787" y="150"/>
                    </a:lnTo>
                    <a:lnTo>
                      <a:pt x="787" y="148"/>
                    </a:lnTo>
                    <a:lnTo>
                      <a:pt x="789" y="148"/>
                    </a:lnTo>
                    <a:lnTo>
                      <a:pt x="789" y="150"/>
                    </a:lnTo>
                    <a:lnTo>
                      <a:pt x="789" y="148"/>
                    </a:lnTo>
                    <a:lnTo>
                      <a:pt x="791" y="148"/>
                    </a:lnTo>
                    <a:lnTo>
                      <a:pt x="791" y="147"/>
                    </a:lnTo>
                    <a:lnTo>
                      <a:pt x="789" y="147"/>
                    </a:lnTo>
                    <a:lnTo>
                      <a:pt x="791" y="147"/>
                    </a:lnTo>
                    <a:lnTo>
                      <a:pt x="793" y="147"/>
                    </a:lnTo>
                    <a:lnTo>
                      <a:pt x="795" y="147"/>
                    </a:lnTo>
                    <a:lnTo>
                      <a:pt x="797" y="147"/>
                    </a:lnTo>
                    <a:lnTo>
                      <a:pt x="799" y="147"/>
                    </a:lnTo>
                    <a:lnTo>
                      <a:pt x="799" y="145"/>
                    </a:lnTo>
                    <a:lnTo>
                      <a:pt x="801" y="143"/>
                    </a:lnTo>
                    <a:lnTo>
                      <a:pt x="801" y="141"/>
                    </a:lnTo>
                    <a:lnTo>
                      <a:pt x="801" y="143"/>
                    </a:lnTo>
                    <a:lnTo>
                      <a:pt x="801" y="141"/>
                    </a:lnTo>
                    <a:lnTo>
                      <a:pt x="803" y="139"/>
                    </a:lnTo>
                    <a:lnTo>
                      <a:pt x="803" y="141"/>
                    </a:lnTo>
                    <a:lnTo>
                      <a:pt x="803" y="139"/>
                    </a:lnTo>
                    <a:lnTo>
                      <a:pt x="805" y="137"/>
                    </a:lnTo>
                    <a:lnTo>
                      <a:pt x="807" y="135"/>
                    </a:lnTo>
                    <a:lnTo>
                      <a:pt x="809" y="135"/>
                    </a:lnTo>
                    <a:lnTo>
                      <a:pt x="809" y="133"/>
                    </a:lnTo>
                    <a:lnTo>
                      <a:pt x="810" y="133"/>
                    </a:lnTo>
                    <a:lnTo>
                      <a:pt x="810" y="131"/>
                    </a:lnTo>
                    <a:lnTo>
                      <a:pt x="812" y="131"/>
                    </a:lnTo>
                    <a:lnTo>
                      <a:pt x="814" y="129"/>
                    </a:lnTo>
                    <a:lnTo>
                      <a:pt x="816" y="129"/>
                    </a:lnTo>
                    <a:lnTo>
                      <a:pt x="816" y="127"/>
                    </a:lnTo>
                    <a:lnTo>
                      <a:pt x="818" y="127"/>
                    </a:lnTo>
                    <a:lnTo>
                      <a:pt x="820" y="125"/>
                    </a:lnTo>
                    <a:lnTo>
                      <a:pt x="824" y="123"/>
                    </a:lnTo>
                    <a:lnTo>
                      <a:pt x="826" y="122"/>
                    </a:lnTo>
                    <a:lnTo>
                      <a:pt x="828" y="120"/>
                    </a:lnTo>
                    <a:lnTo>
                      <a:pt x="830" y="120"/>
                    </a:lnTo>
                    <a:lnTo>
                      <a:pt x="832" y="118"/>
                    </a:lnTo>
                    <a:lnTo>
                      <a:pt x="833" y="116"/>
                    </a:lnTo>
                    <a:lnTo>
                      <a:pt x="835" y="116"/>
                    </a:lnTo>
                    <a:lnTo>
                      <a:pt x="835" y="114"/>
                    </a:lnTo>
                    <a:lnTo>
                      <a:pt x="837" y="114"/>
                    </a:lnTo>
                    <a:lnTo>
                      <a:pt x="839" y="114"/>
                    </a:lnTo>
                    <a:lnTo>
                      <a:pt x="839" y="112"/>
                    </a:lnTo>
                    <a:lnTo>
                      <a:pt x="841" y="112"/>
                    </a:lnTo>
                    <a:lnTo>
                      <a:pt x="841" y="114"/>
                    </a:lnTo>
                    <a:lnTo>
                      <a:pt x="841" y="116"/>
                    </a:lnTo>
                    <a:lnTo>
                      <a:pt x="839" y="118"/>
                    </a:lnTo>
                    <a:lnTo>
                      <a:pt x="839" y="120"/>
                    </a:lnTo>
                    <a:lnTo>
                      <a:pt x="839" y="122"/>
                    </a:lnTo>
                    <a:lnTo>
                      <a:pt x="839" y="123"/>
                    </a:lnTo>
                    <a:lnTo>
                      <a:pt x="839" y="125"/>
                    </a:lnTo>
                    <a:lnTo>
                      <a:pt x="839" y="127"/>
                    </a:lnTo>
                    <a:lnTo>
                      <a:pt x="839" y="129"/>
                    </a:lnTo>
                    <a:lnTo>
                      <a:pt x="837" y="131"/>
                    </a:lnTo>
                    <a:lnTo>
                      <a:pt x="837" y="133"/>
                    </a:lnTo>
                    <a:lnTo>
                      <a:pt x="835" y="133"/>
                    </a:lnTo>
                    <a:lnTo>
                      <a:pt x="837" y="133"/>
                    </a:lnTo>
                    <a:lnTo>
                      <a:pt x="837" y="135"/>
                    </a:lnTo>
                    <a:lnTo>
                      <a:pt x="835" y="137"/>
                    </a:lnTo>
                    <a:lnTo>
                      <a:pt x="835" y="139"/>
                    </a:lnTo>
                    <a:lnTo>
                      <a:pt x="835" y="141"/>
                    </a:lnTo>
                    <a:lnTo>
                      <a:pt x="833" y="143"/>
                    </a:lnTo>
                    <a:lnTo>
                      <a:pt x="833" y="145"/>
                    </a:lnTo>
                    <a:lnTo>
                      <a:pt x="833" y="143"/>
                    </a:lnTo>
                    <a:lnTo>
                      <a:pt x="833" y="141"/>
                    </a:lnTo>
                    <a:lnTo>
                      <a:pt x="832" y="141"/>
                    </a:lnTo>
                    <a:lnTo>
                      <a:pt x="832" y="139"/>
                    </a:lnTo>
                    <a:lnTo>
                      <a:pt x="830" y="137"/>
                    </a:lnTo>
                    <a:lnTo>
                      <a:pt x="830" y="135"/>
                    </a:lnTo>
                    <a:lnTo>
                      <a:pt x="832" y="135"/>
                    </a:lnTo>
                    <a:lnTo>
                      <a:pt x="832" y="137"/>
                    </a:lnTo>
                    <a:lnTo>
                      <a:pt x="832" y="135"/>
                    </a:lnTo>
                    <a:lnTo>
                      <a:pt x="832" y="133"/>
                    </a:lnTo>
                    <a:lnTo>
                      <a:pt x="832" y="131"/>
                    </a:lnTo>
                    <a:lnTo>
                      <a:pt x="833" y="131"/>
                    </a:lnTo>
                    <a:lnTo>
                      <a:pt x="833" y="129"/>
                    </a:lnTo>
                    <a:lnTo>
                      <a:pt x="833" y="127"/>
                    </a:lnTo>
                    <a:lnTo>
                      <a:pt x="833" y="129"/>
                    </a:lnTo>
                    <a:lnTo>
                      <a:pt x="833" y="127"/>
                    </a:lnTo>
                    <a:lnTo>
                      <a:pt x="832" y="127"/>
                    </a:lnTo>
                    <a:lnTo>
                      <a:pt x="832" y="129"/>
                    </a:lnTo>
                    <a:lnTo>
                      <a:pt x="832" y="127"/>
                    </a:lnTo>
                    <a:lnTo>
                      <a:pt x="830" y="127"/>
                    </a:lnTo>
                    <a:lnTo>
                      <a:pt x="830" y="129"/>
                    </a:lnTo>
                    <a:lnTo>
                      <a:pt x="828" y="129"/>
                    </a:lnTo>
                    <a:lnTo>
                      <a:pt x="828" y="131"/>
                    </a:lnTo>
                    <a:lnTo>
                      <a:pt x="830" y="131"/>
                    </a:lnTo>
                    <a:lnTo>
                      <a:pt x="830" y="129"/>
                    </a:lnTo>
                    <a:lnTo>
                      <a:pt x="830" y="131"/>
                    </a:lnTo>
                    <a:lnTo>
                      <a:pt x="828" y="131"/>
                    </a:lnTo>
                    <a:lnTo>
                      <a:pt x="828" y="133"/>
                    </a:lnTo>
                    <a:lnTo>
                      <a:pt x="828" y="131"/>
                    </a:lnTo>
                    <a:lnTo>
                      <a:pt x="828" y="133"/>
                    </a:lnTo>
                    <a:lnTo>
                      <a:pt x="830" y="133"/>
                    </a:lnTo>
                    <a:lnTo>
                      <a:pt x="830" y="135"/>
                    </a:lnTo>
                    <a:lnTo>
                      <a:pt x="828" y="133"/>
                    </a:lnTo>
                    <a:lnTo>
                      <a:pt x="828" y="129"/>
                    </a:lnTo>
                    <a:lnTo>
                      <a:pt x="828" y="127"/>
                    </a:lnTo>
                    <a:lnTo>
                      <a:pt x="826" y="127"/>
                    </a:lnTo>
                    <a:lnTo>
                      <a:pt x="826" y="129"/>
                    </a:lnTo>
                    <a:lnTo>
                      <a:pt x="826" y="131"/>
                    </a:lnTo>
                    <a:lnTo>
                      <a:pt x="824" y="131"/>
                    </a:lnTo>
                    <a:lnTo>
                      <a:pt x="824" y="129"/>
                    </a:lnTo>
                    <a:lnTo>
                      <a:pt x="822" y="129"/>
                    </a:lnTo>
                    <a:lnTo>
                      <a:pt x="824" y="129"/>
                    </a:lnTo>
                    <a:lnTo>
                      <a:pt x="822" y="127"/>
                    </a:lnTo>
                    <a:lnTo>
                      <a:pt x="822" y="129"/>
                    </a:lnTo>
                    <a:lnTo>
                      <a:pt x="822" y="127"/>
                    </a:lnTo>
                    <a:lnTo>
                      <a:pt x="822" y="129"/>
                    </a:lnTo>
                    <a:lnTo>
                      <a:pt x="820" y="127"/>
                    </a:lnTo>
                    <a:lnTo>
                      <a:pt x="820" y="129"/>
                    </a:lnTo>
                    <a:lnTo>
                      <a:pt x="820" y="127"/>
                    </a:lnTo>
                    <a:lnTo>
                      <a:pt x="818" y="127"/>
                    </a:lnTo>
                    <a:lnTo>
                      <a:pt x="818" y="129"/>
                    </a:lnTo>
                    <a:lnTo>
                      <a:pt x="816" y="129"/>
                    </a:lnTo>
                    <a:lnTo>
                      <a:pt x="816" y="131"/>
                    </a:lnTo>
                    <a:lnTo>
                      <a:pt x="816" y="129"/>
                    </a:lnTo>
                    <a:lnTo>
                      <a:pt x="816" y="131"/>
                    </a:lnTo>
                    <a:lnTo>
                      <a:pt x="814" y="131"/>
                    </a:lnTo>
                    <a:lnTo>
                      <a:pt x="816" y="131"/>
                    </a:lnTo>
                    <a:lnTo>
                      <a:pt x="814" y="131"/>
                    </a:lnTo>
                    <a:lnTo>
                      <a:pt x="816" y="131"/>
                    </a:lnTo>
                    <a:lnTo>
                      <a:pt x="814" y="131"/>
                    </a:lnTo>
                    <a:lnTo>
                      <a:pt x="816" y="131"/>
                    </a:lnTo>
                    <a:lnTo>
                      <a:pt x="816" y="129"/>
                    </a:lnTo>
                    <a:lnTo>
                      <a:pt x="818" y="129"/>
                    </a:lnTo>
                    <a:lnTo>
                      <a:pt x="818" y="131"/>
                    </a:lnTo>
                    <a:lnTo>
                      <a:pt x="818" y="129"/>
                    </a:lnTo>
                    <a:lnTo>
                      <a:pt x="818" y="131"/>
                    </a:lnTo>
                    <a:lnTo>
                      <a:pt x="820" y="131"/>
                    </a:lnTo>
                    <a:lnTo>
                      <a:pt x="820" y="129"/>
                    </a:lnTo>
                    <a:lnTo>
                      <a:pt x="822" y="129"/>
                    </a:lnTo>
                    <a:lnTo>
                      <a:pt x="822" y="131"/>
                    </a:lnTo>
                    <a:lnTo>
                      <a:pt x="822" y="133"/>
                    </a:lnTo>
                    <a:lnTo>
                      <a:pt x="820" y="133"/>
                    </a:lnTo>
                    <a:lnTo>
                      <a:pt x="822" y="133"/>
                    </a:lnTo>
                    <a:lnTo>
                      <a:pt x="820" y="135"/>
                    </a:lnTo>
                    <a:lnTo>
                      <a:pt x="822" y="135"/>
                    </a:lnTo>
                    <a:lnTo>
                      <a:pt x="822" y="137"/>
                    </a:lnTo>
                    <a:lnTo>
                      <a:pt x="820" y="137"/>
                    </a:lnTo>
                    <a:lnTo>
                      <a:pt x="822" y="137"/>
                    </a:lnTo>
                    <a:lnTo>
                      <a:pt x="822" y="139"/>
                    </a:lnTo>
                    <a:lnTo>
                      <a:pt x="824" y="139"/>
                    </a:lnTo>
                    <a:lnTo>
                      <a:pt x="824" y="141"/>
                    </a:lnTo>
                    <a:lnTo>
                      <a:pt x="824" y="139"/>
                    </a:lnTo>
                    <a:lnTo>
                      <a:pt x="826" y="139"/>
                    </a:lnTo>
                    <a:lnTo>
                      <a:pt x="828" y="139"/>
                    </a:lnTo>
                    <a:lnTo>
                      <a:pt x="828" y="141"/>
                    </a:lnTo>
                    <a:lnTo>
                      <a:pt x="830" y="141"/>
                    </a:lnTo>
                    <a:lnTo>
                      <a:pt x="830" y="143"/>
                    </a:lnTo>
                    <a:lnTo>
                      <a:pt x="830" y="145"/>
                    </a:lnTo>
                    <a:lnTo>
                      <a:pt x="828" y="145"/>
                    </a:lnTo>
                    <a:lnTo>
                      <a:pt x="826" y="145"/>
                    </a:lnTo>
                    <a:lnTo>
                      <a:pt x="826" y="147"/>
                    </a:lnTo>
                    <a:lnTo>
                      <a:pt x="824" y="147"/>
                    </a:lnTo>
                    <a:lnTo>
                      <a:pt x="824" y="148"/>
                    </a:lnTo>
                    <a:lnTo>
                      <a:pt x="822" y="148"/>
                    </a:lnTo>
                    <a:lnTo>
                      <a:pt x="822" y="150"/>
                    </a:lnTo>
                    <a:lnTo>
                      <a:pt x="820" y="150"/>
                    </a:lnTo>
                    <a:lnTo>
                      <a:pt x="818" y="150"/>
                    </a:lnTo>
                    <a:lnTo>
                      <a:pt x="816" y="150"/>
                    </a:lnTo>
                    <a:lnTo>
                      <a:pt x="814" y="150"/>
                    </a:lnTo>
                    <a:lnTo>
                      <a:pt x="812" y="150"/>
                    </a:lnTo>
                    <a:lnTo>
                      <a:pt x="812" y="148"/>
                    </a:lnTo>
                    <a:lnTo>
                      <a:pt x="810" y="148"/>
                    </a:lnTo>
                    <a:lnTo>
                      <a:pt x="812" y="148"/>
                    </a:lnTo>
                    <a:lnTo>
                      <a:pt x="812" y="150"/>
                    </a:lnTo>
                    <a:lnTo>
                      <a:pt x="814" y="150"/>
                    </a:lnTo>
                    <a:lnTo>
                      <a:pt x="812" y="150"/>
                    </a:lnTo>
                    <a:lnTo>
                      <a:pt x="814" y="150"/>
                    </a:lnTo>
                    <a:lnTo>
                      <a:pt x="814" y="152"/>
                    </a:lnTo>
                    <a:lnTo>
                      <a:pt x="816" y="152"/>
                    </a:lnTo>
                    <a:lnTo>
                      <a:pt x="816" y="154"/>
                    </a:lnTo>
                    <a:lnTo>
                      <a:pt x="818" y="154"/>
                    </a:lnTo>
                    <a:lnTo>
                      <a:pt x="818" y="152"/>
                    </a:lnTo>
                    <a:lnTo>
                      <a:pt x="820" y="152"/>
                    </a:lnTo>
                    <a:lnTo>
                      <a:pt x="820" y="154"/>
                    </a:lnTo>
                    <a:lnTo>
                      <a:pt x="820" y="156"/>
                    </a:lnTo>
                    <a:lnTo>
                      <a:pt x="818" y="156"/>
                    </a:lnTo>
                    <a:lnTo>
                      <a:pt x="818" y="158"/>
                    </a:lnTo>
                    <a:lnTo>
                      <a:pt x="818" y="160"/>
                    </a:lnTo>
                    <a:lnTo>
                      <a:pt x="816" y="160"/>
                    </a:lnTo>
                    <a:lnTo>
                      <a:pt x="816" y="162"/>
                    </a:lnTo>
                    <a:lnTo>
                      <a:pt x="818" y="162"/>
                    </a:lnTo>
                    <a:lnTo>
                      <a:pt x="818" y="164"/>
                    </a:lnTo>
                    <a:lnTo>
                      <a:pt x="820" y="166"/>
                    </a:lnTo>
                    <a:lnTo>
                      <a:pt x="818" y="168"/>
                    </a:lnTo>
                    <a:lnTo>
                      <a:pt x="818" y="166"/>
                    </a:lnTo>
                    <a:lnTo>
                      <a:pt x="816" y="166"/>
                    </a:lnTo>
                    <a:lnTo>
                      <a:pt x="816" y="168"/>
                    </a:lnTo>
                    <a:lnTo>
                      <a:pt x="816" y="166"/>
                    </a:lnTo>
                    <a:lnTo>
                      <a:pt x="818" y="166"/>
                    </a:lnTo>
                    <a:lnTo>
                      <a:pt x="818" y="168"/>
                    </a:lnTo>
                    <a:lnTo>
                      <a:pt x="816" y="166"/>
                    </a:lnTo>
                    <a:lnTo>
                      <a:pt x="816" y="168"/>
                    </a:lnTo>
                    <a:lnTo>
                      <a:pt x="816" y="170"/>
                    </a:lnTo>
                    <a:lnTo>
                      <a:pt x="816" y="168"/>
                    </a:lnTo>
                    <a:lnTo>
                      <a:pt x="818" y="168"/>
                    </a:lnTo>
                    <a:lnTo>
                      <a:pt x="816" y="168"/>
                    </a:lnTo>
                    <a:lnTo>
                      <a:pt x="816" y="170"/>
                    </a:lnTo>
                    <a:lnTo>
                      <a:pt x="818" y="170"/>
                    </a:lnTo>
                    <a:lnTo>
                      <a:pt x="818" y="172"/>
                    </a:lnTo>
                    <a:lnTo>
                      <a:pt x="818" y="170"/>
                    </a:lnTo>
                    <a:lnTo>
                      <a:pt x="816" y="170"/>
                    </a:lnTo>
                    <a:lnTo>
                      <a:pt x="816" y="172"/>
                    </a:lnTo>
                    <a:lnTo>
                      <a:pt x="816" y="170"/>
                    </a:lnTo>
                    <a:lnTo>
                      <a:pt x="814" y="172"/>
                    </a:lnTo>
                    <a:lnTo>
                      <a:pt x="816" y="172"/>
                    </a:lnTo>
                    <a:lnTo>
                      <a:pt x="814" y="172"/>
                    </a:lnTo>
                    <a:lnTo>
                      <a:pt x="816" y="172"/>
                    </a:lnTo>
                    <a:lnTo>
                      <a:pt x="816" y="173"/>
                    </a:lnTo>
                    <a:lnTo>
                      <a:pt x="814" y="173"/>
                    </a:lnTo>
                    <a:lnTo>
                      <a:pt x="816" y="173"/>
                    </a:lnTo>
                    <a:lnTo>
                      <a:pt x="816" y="175"/>
                    </a:lnTo>
                    <a:lnTo>
                      <a:pt x="818" y="173"/>
                    </a:lnTo>
                    <a:lnTo>
                      <a:pt x="818" y="175"/>
                    </a:lnTo>
                    <a:lnTo>
                      <a:pt x="816" y="175"/>
                    </a:lnTo>
                    <a:lnTo>
                      <a:pt x="818" y="175"/>
                    </a:lnTo>
                    <a:lnTo>
                      <a:pt x="818" y="177"/>
                    </a:lnTo>
                    <a:lnTo>
                      <a:pt x="816" y="179"/>
                    </a:lnTo>
                    <a:lnTo>
                      <a:pt x="818" y="179"/>
                    </a:lnTo>
                    <a:lnTo>
                      <a:pt x="818" y="181"/>
                    </a:lnTo>
                    <a:lnTo>
                      <a:pt x="820" y="179"/>
                    </a:lnTo>
                    <a:lnTo>
                      <a:pt x="820" y="181"/>
                    </a:lnTo>
                    <a:lnTo>
                      <a:pt x="818" y="181"/>
                    </a:lnTo>
                    <a:lnTo>
                      <a:pt x="816" y="181"/>
                    </a:lnTo>
                    <a:lnTo>
                      <a:pt x="816" y="183"/>
                    </a:lnTo>
                    <a:lnTo>
                      <a:pt x="818" y="183"/>
                    </a:lnTo>
                    <a:lnTo>
                      <a:pt x="816" y="183"/>
                    </a:lnTo>
                    <a:lnTo>
                      <a:pt x="818" y="183"/>
                    </a:lnTo>
                    <a:lnTo>
                      <a:pt x="818" y="185"/>
                    </a:lnTo>
                    <a:lnTo>
                      <a:pt x="816" y="185"/>
                    </a:lnTo>
                    <a:lnTo>
                      <a:pt x="818" y="185"/>
                    </a:lnTo>
                    <a:lnTo>
                      <a:pt x="818" y="187"/>
                    </a:lnTo>
                    <a:lnTo>
                      <a:pt x="816" y="187"/>
                    </a:lnTo>
                    <a:lnTo>
                      <a:pt x="818" y="187"/>
                    </a:lnTo>
                    <a:lnTo>
                      <a:pt x="818" y="189"/>
                    </a:lnTo>
                    <a:lnTo>
                      <a:pt x="820" y="189"/>
                    </a:lnTo>
                    <a:lnTo>
                      <a:pt x="818" y="189"/>
                    </a:lnTo>
                    <a:lnTo>
                      <a:pt x="820" y="189"/>
                    </a:lnTo>
                    <a:lnTo>
                      <a:pt x="822" y="189"/>
                    </a:lnTo>
                    <a:lnTo>
                      <a:pt x="820" y="189"/>
                    </a:lnTo>
                    <a:lnTo>
                      <a:pt x="820" y="191"/>
                    </a:lnTo>
                    <a:lnTo>
                      <a:pt x="822" y="191"/>
                    </a:lnTo>
                    <a:lnTo>
                      <a:pt x="820" y="191"/>
                    </a:lnTo>
                    <a:lnTo>
                      <a:pt x="820" y="193"/>
                    </a:lnTo>
                    <a:lnTo>
                      <a:pt x="818" y="193"/>
                    </a:lnTo>
                    <a:lnTo>
                      <a:pt x="820" y="193"/>
                    </a:lnTo>
                    <a:lnTo>
                      <a:pt x="820" y="195"/>
                    </a:lnTo>
                    <a:lnTo>
                      <a:pt x="820" y="193"/>
                    </a:lnTo>
                    <a:lnTo>
                      <a:pt x="822" y="195"/>
                    </a:lnTo>
                    <a:lnTo>
                      <a:pt x="824" y="195"/>
                    </a:lnTo>
                    <a:lnTo>
                      <a:pt x="822" y="195"/>
                    </a:lnTo>
                    <a:lnTo>
                      <a:pt x="822" y="197"/>
                    </a:lnTo>
                    <a:lnTo>
                      <a:pt x="824" y="197"/>
                    </a:lnTo>
                    <a:lnTo>
                      <a:pt x="824" y="195"/>
                    </a:lnTo>
                    <a:lnTo>
                      <a:pt x="824" y="197"/>
                    </a:lnTo>
                    <a:lnTo>
                      <a:pt x="826" y="197"/>
                    </a:lnTo>
                    <a:lnTo>
                      <a:pt x="828" y="197"/>
                    </a:lnTo>
                    <a:lnTo>
                      <a:pt x="826" y="197"/>
                    </a:lnTo>
                    <a:lnTo>
                      <a:pt x="828" y="197"/>
                    </a:lnTo>
                    <a:lnTo>
                      <a:pt x="826" y="197"/>
                    </a:lnTo>
                    <a:lnTo>
                      <a:pt x="826" y="198"/>
                    </a:lnTo>
                    <a:lnTo>
                      <a:pt x="828" y="198"/>
                    </a:lnTo>
                    <a:lnTo>
                      <a:pt x="826" y="198"/>
                    </a:lnTo>
                    <a:lnTo>
                      <a:pt x="826" y="200"/>
                    </a:lnTo>
                    <a:lnTo>
                      <a:pt x="826" y="198"/>
                    </a:lnTo>
                    <a:lnTo>
                      <a:pt x="824" y="198"/>
                    </a:lnTo>
                    <a:lnTo>
                      <a:pt x="826" y="198"/>
                    </a:lnTo>
                    <a:lnTo>
                      <a:pt x="826" y="200"/>
                    </a:lnTo>
                    <a:lnTo>
                      <a:pt x="826" y="198"/>
                    </a:lnTo>
                    <a:lnTo>
                      <a:pt x="828" y="198"/>
                    </a:lnTo>
                    <a:lnTo>
                      <a:pt x="826" y="198"/>
                    </a:lnTo>
                    <a:lnTo>
                      <a:pt x="826" y="197"/>
                    </a:lnTo>
                    <a:lnTo>
                      <a:pt x="828" y="197"/>
                    </a:lnTo>
                    <a:lnTo>
                      <a:pt x="826" y="197"/>
                    </a:lnTo>
                    <a:lnTo>
                      <a:pt x="828" y="197"/>
                    </a:lnTo>
                    <a:lnTo>
                      <a:pt x="826" y="197"/>
                    </a:lnTo>
                    <a:lnTo>
                      <a:pt x="824" y="197"/>
                    </a:lnTo>
                    <a:lnTo>
                      <a:pt x="824" y="195"/>
                    </a:lnTo>
                    <a:lnTo>
                      <a:pt x="824" y="197"/>
                    </a:lnTo>
                    <a:lnTo>
                      <a:pt x="822" y="197"/>
                    </a:lnTo>
                    <a:lnTo>
                      <a:pt x="824" y="195"/>
                    </a:lnTo>
                    <a:lnTo>
                      <a:pt x="822" y="195"/>
                    </a:lnTo>
                    <a:lnTo>
                      <a:pt x="820" y="195"/>
                    </a:lnTo>
                    <a:lnTo>
                      <a:pt x="820" y="193"/>
                    </a:lnTo>
                    <a:lnTo>
                      <a:pt x="820" y="195"/>
                    </a:lnTo>
                    <a:lnTo>
                      <a:pt x="820" y="193"/>
                    </a:lnTo>
                    <a:lnTo>
                      <a:pt x="820" y="191"/>
                    </a:lnTo>
                    <a:lnTo>
                      <a:pt x="822" y="191"/>
                    </a:lnTo>
                    <a:lnTo>
                      <a:pt x="820" y="191"/>
                    </a:lnTo>
                    <a:lnTo>
                      <a:pt x="820" y="189"/>
                    </a:lnTo>
                    <a:lnTo>
                      <a:pt x="822" y="189"/>
                    </a:lnTo>
                    <a:lnTo>
                      <a:pt x="820" y="189"/>
                    </a:lnTo>
                    <a:lnTo>
                      <a:pt x="818" y="189"/>
                    </a:lnTo>
                    <a:lnTo>
                      <a:pt x="820" y="189"/>
                    </a:lnTo>
                    <a:lnTo>
                      <a:pt x="818" y="189"/>
                    </a:lnTo>
                    <a:lnTo>
                      <a:pt x="818" y="187"/>
                    </a:lnTo>
                    <a:lnTo>
                      <a:pt x="816" y="187"/>
                    </a:lnTo>
                    <a:lnTo>
                      <a:pt x="818" y="187"/>
                    </a:lnTo>
                    <a:lnTo>
                      <a:pt x="818" y="185"/>
                    </a:lnTo>
                    <a:lnTo>
                      <a:pt x="816" y="185"/>
                    </a:lnTo>
                    <a:lnTo>
                      <a:pt x="818" y="185"/>
                    </a:lnTo>
                    <a:lnTo>
                      <a:pt x="818" y="183"/>
                    </a:lnTo>
                    <a:lnTo>
                      <a:pt x="816" y="183"/>
                    </a:lnTo>
                    <a:lnTo>
                      <a:pt x="818" y="183"/>
                    </a:lnTo>
                    <a:lnTo>
                      <a:pt x="816" y="183"/>
                    </a:lnTo>
                    <a:lnTo>
                      <a:pt x="816" y="181"/>
                    </a:lnTo>
                    <a:lnTo>
                      <a:pt x="818" y="181"/>
                    </a:lnTo>
                    <a:lnTo>
                      <a:pt x="820" y="181"/>
                    </a:lnTo>
                    <a:lnTo>
                      <a:pt x="820" y="179"/>
                    </a:lnTo>
                    <a:lnTo>
                      <a:pt x="818" y="181"/>
                    </a:lnTo>
                    <a:lnTo>
                      <a:pt x="818" y="179"/>
                    </a:lnTo>
                    <a:lnTo>
                      <a:pt x="820" y="179"/>
                    </a:lnTo>
                    <a:lnTo>
                      <a:pt x="818" y="179"/>
                    </a:lnTo>
                    <a:lnTo>
                      <a:pt x="816" y="179"/>
                    </a:lnTo>
                    <a:lnTo>
                      <a:pt x="818" y="179"/>
                    </a:lnTo>
                    <a:lnTo>
                      <a:pt x="818" y="177"/>
                    </a:lnTo>
                    <a:lnTo>
                      <a:pt x="818" y="175"/>
                    </a:lnTo>
                    <a:lnTo>
                      <a:pt x="816" y="175"/>
                    </a:lnTo>
                    <a:lnTo>
                      <a:pt x="818" y="175"/>
                    </a:lnTo>
                    <a:lnTo>
                      <a:pt x="818" y="173"/>
                    </a:lnTo>
                    <a:lnTo>
                      <a:pt x="816" y="173"/>
                    </a:lnTo>
                    <a:lnTo>
                      <a:pt x="816" y="175"/>
                    </a:lnTo>
                    <a:lnTo>
                      <a:pt x="816" y="173"/>
                    </a:lnTo>
                    <a:lnTo>
                      <a:pt x="814" y="173"/>
                    </a:lnTo>
                    <a:lnTo>
                      <a:pt x="816" y="173"/>
                    </a:lnTo>
                    <a:lnTo>
                      <a:pt x="816" y="172"/>
                    </a:lnTo>
                    <a:lnTo>
                      <a:pt x="814" y="172"/>
                    </a:lnTo>
                    <a:lnTo>
                      <a:pt x="816" y="172"/>
                    </a:lnTo>
                    <a:lnTo>
                      <a:pt x="816" y="170"/>
                    </a:lnTo>
                    <a:lnTo>
                      <a:pt x="816" y="172"/>
                    </a:lnTo>
                    <a:lnTo>
                      <a:pt x="818" y="170"/>
                    </a:lnTo>
                    <a:lnTo>
                      <a:pt x="818" y="172"/>
                    </a:lnTo>
                    <a:lnTo>
                      <a:pt x="818" y="170"/>
                    </a:lnTo>
                    <a:lnTo>
                      <a:pt x="816" y="170"/>
                    </a:lnTo>
                    <a:lnTo>
                      <a:pt x="816" y="168"/>
                    </a:lnTo>
                    <a:lnTo>
                      <a:pt x="818" y="168"/>
                    </a:lnTo>
                    <a:lnTo>
                      <a:pt x="820" y="168"/>
                    </a:lnTo>
                    <a:lnTo>
                      <a:pt x="820" y="166"/>
                    </a:lnTo>
                    <a:lnTo>
                      <a:pt x="820" y="164"/>
                    </a:lnTo>
                    <a:lnTo>
                      <a:pt x="820" y="162"/>
                    </a:lnTo>
                    <a:lnTo>
                      <a:pt x="820" y="164"/>
                    </a:lnTo>
                    <a:lnTo>
                      <a:pt x="822" y="164"/>
                    </a:lnTo>
                    <a:lnTo>
                      <a:pt x="822" y="166"/>
                    </a:lnTo>
                    <a:lnTo>
                      <a:pt x="822" y="164"/>
                    </a:lnTo>
                    <a:lnTo>
                      <a:pt x="822" y="162"/>
                    </a:lnTo>
                    <a:lnTo>
                      <a:pt x="824" y="162"/>
                    </a:lnTo>
                    <a:lnTo>
                      <a:pt x="826" y="162"/>
                    </a:lnTo>
                    <a:lnTo>
                      <a:pt x="826" y="160"/>
                    </a:lnTo>
                    <a:lnTo>
                      <a:pt x="828" y="162"/>
                    </a:lnTo>
                    <a:lnTo>
                      <a:pt x="830" y="162"/>
                    </a:lnTo>
                    <a:lnTo>
                      <a:pt x="830" y="164"/>
                    </a:lnTo>
                    <a:lnTo>
                      <a:pt x="830" y="166"/>
                    </a:lnTo>
                    <a:lnTo>
                      <a:pt x="830" y="168"/>
                    </a:lnTo>
                    <a:lnTo>
                      <a:pt x="830" y="170"/>
                    </a:lnTo>
                    <a:lnTo>
                      <a:pt x="830" y="172"/>
                    </a:lnTo>
                    <a:lnTo>
                      <a:pt x="832" y="172"/>
                    </a:lnTo>
                    <a:lnTo>
                      <a:pt x="830" y="172"/>
                    </a:lnTo>
                    <a:lnTo>
                      <a:pt x="830" y="173"/>
                    </a:lnTo>
                    <a:lnTo>
                      <a:pt x="832" y="173"/>
                    </a:lnTo>
                    <a:lnTo>
                      <a:pt x="833" y="173"/>
                    </a:lnTo>
                    <a:lnTo>
                      <a:pt x="833" y="175"/>
                    </a:lnTo>
                    <a:lnTo>
                      <a:pt x="832" y="175"/>
                    </a:lnTo>
                    <a:lnTo>
                      <a:pt x="833" y="175"/>
                    </a:lnTo>
                    <a:lnTo>
                      <a:pt x="835" y="175"/>
                    </a:lnTo>
                    <a:lnTo>
                      <a:pt x="833" y="175"/>
                    </a:lnTo>
                    <a:lnTo>
                      <a:pt x="832" y="175"/>
                    </a:lnTo>
                    <a:lnTo>
                      <a:pt x="833" y="175"/>
                    </a:lnTo>
                    <a:lnTo>
                      <a:pt x="833" y="173"/>
                    </a:lnTo>
                    <a:lnTo>
                      <a:pt x="832" y="173"/>
                    </a:lnTo>
                    <a:lnTo>
                      <a:pt x="830" y="173"/>
                    </a:lnTo>
                    <a:lnTo>
                      <a:pt x="830" y="172"/>
                    </a:lnTo>
                    <a:lnTo>
                      <a:pt x="832" y="172"/>
                    </a:lnTo>
                    <a:lnTo>
                      <a:pt x="830" y="172"/>
                    </a:lnTo>
                    <a:lnTo>
                      <a:pt x="830" y="170"/>
                    </a:lnTo>
                    <a:lnTo>
                      <a:pt x="830" y="168"/>
                    </a:lnTo>
                    <a:lnTo>
                      <a:pt x="830" y="166"/>
                    </a:lnTo>
                    <a:lnTo>
                      <a:pt x="830" y="164"/>
                    </a:lnTo>
                    <a:lnTo>
                      <a:pt x="830" y="162"/>
                    </a:lnTo>
                    <a:lnTo>
                      <a:pt x="828" y="162"/>
                    </a:lnTo>
                    <a:lnTo>
                      <a:pt x="828" y="160"/>
                    </a:lnTo>
                    <a:lnTo>
                      <a:pt x="830" y="160"/>
                    </a:lnTo>
                    <a:lnTo>
                      <a:pt x="830" y="158"/>
                    </a:lnTo>
                    <a:lnTo>
                      <a:pt x="830" y="156"/>
                    </a:lnTo>
                    <a:lnTo>
                      <a:pt x="832" y="156"/>
                    </a:lnTo>
                    <a:lnTo>
                      <a:pt x="832" y="154"/>
                    </a:lnTo>
                    <a:lnTo>
                      <a:pt x="833" y="154"/>
                    </a:lnTo>
                    <a:lnTo>
                      <a:pt x="835" y="154"/>
                    </a:lnTo>
                    <a:lnTo>
                      <a:pt x="835" y="152"/>
                    </a:lnTo>
                    <a:lnTo>
                      <a:pt x="835" y="150"/>
                    </a:lnTo>
                    <a:lnTo>
                      <a:pt x="837" y="150"/>
                    </a:lnTo>
                    <a:lnTo>
                      <a:pt x="837" y="148"/>
                    </a:lnTo>
                    <a:lnTo>
                      <a:pt x="839" y="147"/>
                    </a:lnTo>
                    <a:lnTo>
                      <a:pt x="839" y="145"/>
                    </a:lnTo>
                    <a:lnTo>
                      <a:pt x="839" y="143"/>
                    </a:lnTo>
                    <a:lnTo>
                      <a:pt x="839" y="141"/>
                    </a:lnTo>
                    <a:lnTo>
                      <a:pt x="841" y="141"/>
                    </a:lnTo>
                    <a:lnTo>
                      <a:pt x="841" y="139"/>
                    </a:lnTo>
                    <a:lnTo>
                      <a:pt x="841" y="141"/>
                    </a:lnTo>
                    <a:lnTo>
                      <a:pt x="841" y="139"/>
                    </a:lnTo>
                    <a:lnTo>
                      <a:pt x="841" y="141"/>
                    </a:lnTo>
                    <a:lnTo>
                      <a:pt x="839" y="141"/>
                    </a:lnTo>
                    <a:lnTo>
                      <a:pt x="839" y="139"/>
                    </a:lnTo>
                    <a:lnTo>
                      <a:pt x="841" y="137"/>
                    </a:lnTo>
                    <a:lnTo>
                      <a:pt x="841" y="139"/>
                    </a:lnTo>
                    <a:lnTo>
                      <a:pt x="841" y="137"/>
                    </a:lnTo>
                    <a:lnTo>
                      <a:pt x="843" y="137"/>
                    </a:lnTo>
                    <a:lnTo>
                      <a:pt x="841" y="137"/>
                    </a:lnTo>
                    <a:lnTo>
                      <a:pt x="843" y="137"/>
                    </a:lnTo>
                    <a:lnTo>
                      <a:pt x="841" y="137"/>
                    </a:lnTo>
                    <a:lnTo>
                      <a:pt x="839" y="137"/>
                    </a:lnTo>
                    <a:lnTo>
                      <a:pt x="841" y="135"/>
                    </a:lnTo>
                    <a:lnTo>
                      <a:pt x="841" y="133"/>
                    </a:lnTo>
                    <a:lnTo>
                      <a:pt x="841" y="131"/>
                    </a:lnTo>
                    <a:lnTo>
                      <a:pt x="841" y="127"/>
                    </a:lnTo>
                    <a:lnTo>
                      <a:pt x="841" y="125"/>
                    </a:lnTo>
                    <a:lnTo>
                      <a:pt x="843" y="125"/>
                    </a:lnTo>
                    <a:lnTo>
                      <a:pt x="843" y="123"/>
                    </a:lnTo>
                    <a:lnTo>
                      <a:pt x="843" y="122"/>
                    </a:lnTo>
                    <a:lnTo>
                      <a:pt x="841" y="122"/>
                    </a:lnTo>
                    <a:lnTo>
                      <a:pt x="841" y="120"/>
                    </a:lnTo>
                    <a:lnTo>
                      <a:pt x="843" y="118"/>
                    </a:lnTo>
                    <a:lnTo>
                      <a:pt x="843" y="116"/>
                    </a:lnTo>
                    <a:lnTo>
                      <a:pt x="843" y="114"/>
                    </a:lnTo>
                    <a:lnTo>
                      <a:pt x="845" y="114"/>
                    </a:lnTo>
                    <a:lnTo>
                      <a:pt x="845" y="112"/>
                    </a:lnTo>
                    <a:lnTo>
                      <a:pt x="845" y="110"/>
                    </a:lnTo>
                    <a:lnTo>
                      <a:pt x="847" y="108"/>
                    </a:lnTo>
                    <a:lnTo>
                      <a:pt x="849" y="106"/>
                    </a:lnTo>
                    <a:lnTo>
                      <a:pt x="851" y="106"/>
                    </a:lnTo>
                    <a:lnTo>
                      <a:pt x="851" y="104"/>
                    </a:lnTo>
                    <a:lnTo>
                      <a:pt x="853" y="104"/>
                    </a:lnTo>
                    <a:lnTo>
                      <a:pt x="855" y="102"/>
                    </a:lnTo>
                    <a:lnTo>
                      <a:pt x="857" y="102"/>
                    </a:lnTo>
                    <a:lnTo>
                      <a:pt x="858" y="102"/>
                    </a:lnTo>
                    <a:lnTo>
                      <a:pt x="858" y="100"/>
                    </a:lnTo>
                    <a:lnTo>
                      <a:pt x="860" y="100"/>
                    </a:lnTo>
                    <a:lnTo>
                      <a:pt x="862" y="98"/>
                    </a:lnTo>
                    <a:lnTo>
                      <a:pt x="864" y="97"/>
                    </a:lnTo>
                    <a:lnTo>
                      <a:pt x="866" y="97"/>
                    </a:lnTo>
                    <a:lnTo>
                      <a:pt x="868" y="95"/>
                    </a:lnTo>
                    <a:lnTo>
                      <a:pt x="870" y="95"/>
                    </a:lnTo>
                    <a:lnTo>
                      <a:pt x="872" y="95"/>
                    </a:lnTo>
                    <a:lnTo>
                      <a:pt x="874" y="95"/>
                    </a:lnTo>
                    <a:lnTo>
                      <a:pt x="876" y="93"/>
                    </a:lnTo>
                    <a:lnTo>
                      <a:pt x="878" y="93"/>
                    </a:lnTo>
                    <a:lnTo>
                      <a:pt x="880" y="93"/>
                    </a:lnTo>
                    <a:lnTo>
                      <a:pt x="882" y="93"/>
                    </a:lnTo>
                    <a:lnTo>
                      <a:pt x="882" y="91"/>
                    </a:lnTo>
                    <a:lnTo>
                      <a:pt x="882" y="93"/>
                    </a:lnTo>
                    <a:lnTo>
                      <a:pt x="882" y="91"/>
                    </a:lnTo>
                    <a:lnTo>
                      <a:pt x="883" y="91"/>
                    </a:lnTo>
                    <a:lnTo>
                      <a:pt x="885" y="91"/>
                    </a:lnTo>
                    <a:lnTo>
                      <a:pt x="887" y="91"/>
                    </a:lnTo>
                    <a:lnTo>
                      <a:pt x="889" y="91"/>
                    </a:lnTo>
                    <a:lnTo>
                      <a:pt x="889" y="89"/>
                    </a:lnTo>
                    <a:lnTo>
                      <a:pt x="891" y="89"/>
                    </a:lnTo>
                    <a:lnTo>
                      <a:pt x="893" y="89"/>
                    </a:lnTo>
                    <a:lnTo>
                      <a:pt x="895" y="89"/>
                    </a:lnTo>
                    <a:lnTo>
                      <a:pt x="897" y="89"/>
                    </a:lnTo>
                    <a:lnTo>
                      <a:pt x="895" y="89"/>
                    </a:lnTo>
                    <a:lnTo>
                      <a:pt x="897" y="89"/>
                    </a:lnTo>
                    <a:lnTo>
                      <a:pt x="899" y="89"/>
                    </a:lnTo>
                    <a:lnTo>
                      <a:pt x="903" y="91"/>
                    </a:lnTo>
                    <a:lnTo>
                      <a:pt x="905" y="91"/>
                    </a:lnTo>
                    <a:lnTo>
                      <a:pt x="906" y="91"/>
                    </a:lnTo>
                    <a:lnTo>
                      <a:pt x="908" y="91"/>
                    </a:lnTo>
                    <a:lnTo>
                      <a:pt x="908" y="93"/>
                    </a:lnTo>
                    <a:lnTo>
                      <a:pt x="910" y="93"/>
                    </a:lnTo>
                    <a:lnTo>
                      <a:pt x="912" y="93"/>
                    </a:lnTo>
                    <a:lnTo>
                      <a:pt x="912" y="95"/>
                    </a:lnTo>
                    <a:lnTo>
                      <a:pt x="912" y="93"/>
                    </a:lnTo>
                    <a:lnTo>
                      <a:pt x="912" y="95"/>
                    </a:lnTo>
                    <a:lnTo>
                      <a:pt x="914" y="95"/>
                    </a:lnTo>
                    <a:lnTo>
                      <a:pt x="914" y="97"/>
                    </a:lnTo>
                    <a:lnTo>
                      <a:pt x="914" y="98"/>
                    </a:lnTo>
                    <a:lnTo>
                      <a:pt x="914" y="100"/>
                    </a:lnTo>
                    <a:lnTo>
                      <a:pt x="912" y="100"/>
                    </a:lnTo>
                    <a:lnTo>
                      <a:pt x="912" y="102"/>
                    </a:lnTo>
                    <a:lnTo>
                      <a:pt x="910" y="104"/>
                    </a:lnTo>
                    <a:lnTo>
                      <a:pt x="910" y="106"/>
                    </a:lnTo>
                    <a:lnTo>
                      <a:pt x="908" y="106"/>
                    </a:lnTo>
                    <a:lnTo>
                      <a:pt x="906" y="104"/>
                    </a:lnTo>
                    <a:lnTo>
                      <a:pt x="906" y="106"/>
                    </a:lnTo>
                    <a:lnTo>
                      <a:pt x="906" y="104"/>
                    </a:lnTo>
                    <a:lnTo>
                      <a:pt x="905" y="104"/>
                    </a:lnTo>
                    <a:lnTo>
                      <a:pt x="903" y="102"/>
                    </a:lnTo>
                    <a:lnTo>
                      <a:pt x="901" y="102"/>
                    </a:lnTo>
                    <a:lnTo>
                      <a:pt x="901" y="104"/>
                    </a:lnTo>
                    <a:lnTo>
                      <a:pt x="901" y="106"/>
                    </a:lnTo>
                    <a:lnTo>
                      <a:pt x="899" y="106"/>
                    </a:lnTo>
                    <a:lnTo>
                      <a:pt x="899" y="108"/>
                    </a:lnTo>
                    <a:lnTo>
                      <a:pt x="899" y="110"/>
                    </a:lnTo>
                    <a:lnTo>
                      <a:pt x="899" y="112"/>
                    </a:lnTo>
                    <a:lnTo>
                      <a:pt x="897" y="112"/>
                    </a:lnTo>
                    <a:lnTo>
                      <a:pt x="897" y="114"/>
                    </a:lnTo>
                    <a:lnTo>
                      <a:pt x="895" y="114"/>
                    </a:lnTo>
                    <a:lnTo>
                      <a:pt x="893" y="114"/>
                    </a:lnTo>
                    <a:lnTo>
                      <a:pt x="891" y="112"/>
                    </a:lnTo>
                    <a:lnTo>
                      <a:pt x="889" y="112"/>
                    </a:lnTo>
                    <a:lnTo>
                      <a:pt x="889" y="114"/>
                    </a:lnTo>
                    <a:lnTo>
                      <a:pt x="889" y="116"/>
                    </a:lnTo>
                    <a:lnTo>
                      <a:pt x="891" y="116"/>
                    </a:lnTo>
                    <a:lnTo>
                      <a:pt x="891" y="118"/>
                    </a:lnTo>
                    <a:lnTo>
                      <a:pt x="893" y="118"/>
                    </a:lnTo>
                    <a:lnTo>
                      <a:pt x="893" y="120"/>
                    </a:lnTo>
                    <a:lnTo>
                      <a:pt x="891" y="120"/>
                    </a:lnTo>
                    <a:lnTo>
                      <a:pt x="893" y="120"/>
                    </a:lnTo>
                    <a:lnTo>
                      <a:pt x="893" y="118"/>
                    </a:lnTo>
                    <a:lnTo>
                      <a:pt x="891" y="118"/>
                    </a:lnTo>
                    <a:lnTo>
                      <a:pt x="891" y="116"/>
                    </a:lnTo>
                    <a:lnTo>
                      <a:pt x="889" y="114"/>
                    </a:lnTo>
                    <a:lnTo>
                      <a:pt x="889" y="112"/>
                    </a:lnTo>
                    <a:lnTo>
                      <a:pt x="891" y="112"/>
                    </a:lnTo>
                    <a:lnTo>
                      <a:pt x="891" y="114"/>
                    </a:lnTo>
                    <a:lnTo>
                      <a:pt x="893" y="114"/>
                    </a:lnTo>
                    <a:lnTo>
                      <a:pt x="895" y="114"/>
                    </a:lnTo>
                    <a:lnTo>
                      <a:pt x="897" y="114"/>
                    </a:lnTo>
                    <a:lnTo>
                      <a:pt x="897" y="116"/>
                    </a:lnTo>
                    <a:lnTo>
                      <a:pt x="899" y="118"/>
                    </a:lnTo>
                    <a:lnTo>
                      <a:pt x="897" y="118"/>
                    </a:lnTo>
                    <a:lnTo>
                      <a:pt x="895" y="118"/>
                    </a:lnTo>
                    <a:lnTo>
                      <a:pt x="895" y="120"/>
                    </a:lnTo>
                    <a:lnTo>
                      <a:pt x="895" y="122"/>
                    </a:lnTo>
                    <a:lnTo>
                      <a:pt x="895" y="123"/>
                    </a:lnTo>
                    <a:lnTo>
                      <a:pt x="897" y="125"/>
                    </a:lnTo>
                    <a:lnTo>
                      <a:pt x="895" y="125"/>
                    </a:lnTo>
                    <a:lnTo>
                      <a:pt x="895" y="127"/>
                    </a:lnTo>
                    <a:lnTo>
                      <a:pt x="895" y="129"/>
                    </a:lnTo>
                    <a:lnTo>
                      <a:pt x="897" y="129"/>
                    </a:lnTo>
                    <a:lnTo>
                      <a:pt x="897" y="131"/>
                    </a:lnTo>
                    <a:lnTo>
                      <a:pt x="897" y="133"/>
                    </a:lnTo>
                    <a:lnTo>
                      <a:pt x="899" y="133"/>
                    </a:lnTo>
                    <a:lnTo>
                      <a:pt x="899" y="135"/>
                    </a:lnTo>
                    <a:lnTo>
                      <a:pt x="897" y="135"/>
                    </a:lnTo>
                    <a:lnTo>
                      <a:pt x="895" y="135"/>
                    </a:lnTo>
                    <a:lnTo>
                      <a:pt x="895" y="133"/>
                    </a:lnTo>
                    <a:lnTo>
                      <a:pt x="897" y="133"/>
                    </a:lnTo>
                    <a:lnTo>
                      <a:pt x="895" y="133"/>
                    </a:lnTo>
                    <a:lnTo>
                      <a:pt x="895" y="135"/>
                    </a:lnTo>
                    <a:lnTo>
                      <a:pt x="897" y="135"/>
                    </a:lnTo>
                    <a:lnTo>
                      <a:pt x="899" y="135"/>
                    </a:lnTo>
                    <a:lnTo>
                      <a:pt x="899" y="133"/>
                    </a:lnTo>
                    <a:lnTo>
                      <a:pt x="897" y="131"/>
                    </a:lnTo>
                    <a:lnTo>
                      <a:pt x="897" y="129"/>
                    </a:lnTo>
                    <a:lnTo>
                      <a:pt x="895" y="129"/>
                    </a:lnTo>
                    <a:lnTo>
                      <a:pt x="895" y="127"/>
                    </a:lnTo>
                    <a:lnTo>
                      <a:pt x="895" y="125"/>
                    </a:lnTo>
                    <a:lnTo>
                      <a:pt x="897" y="125"/>
                    </a:lnTo>
                    <a:lnTo>
                      <a:pt x="897" y="123"/>
                    </a:lnTo>
                    <a:lnTo>
                      <a:pt x="895" y="122"/>
                    </a:lnTo>
                    <a:lnTo>
                      <a:pt x="895" y="120"/>
                    </a:lnTo>
                    <a:lnTo>
                      <a:pt x="897" y="120"/>
                    </a:lnTo>
                    <a:lnTo>
                      <a:pt x="897" y="118"/>
                    </a:lnTo>
                    <a:lnTo>
                      <a:pt x="897" y="120"/>
                    </a:lnTo>
                    <a:lnTo>
                      <a:pt x="899" y="120"/>
                    </a:lnTo>
                    <a:lnTo>
                      <a:pt x="899" y="118"/>
                    </a:lnTo>
                    <a:lnTo>
                      <a:pt x="899" y="120"/>
                    </a:lnTo>
                    <a:lnTo>
                      <a:pt x="901" y="120"/>
                    </a:lnTo>
                    <a:lnTo>
                      <a:pt x="903" y="120"/>
                    </a:lnTo>
                    <a:lnTo>
                      <a:pt x="905" y="122"/>
                    </a:lnTo>
                    <a:lnTo>
                      <a:pt x="905" y="123"/>
                    </a:lnTo>
                    <a:lnTo>
                      <a:pt x="906" y="123"/>
                    </a:lnTo>
                    <a:lnTo>
                      <a:pt x="908" y="123"/>
                    </a:lnTo>
                    <a:lnTo>
                      <a:pt x="906" y="125"/>
                    </a:lnTo>
                    <a:lnTo>
                      <a:pt x="908" y="125"/>
                    </a:lnTo>
                    <a:lnTo>
                      <a:pt x="908" y="127"/>
                    </a:lnTo>
                    <a:lnTo>
                      <a:pt x="910" y="127"/>
                    </a:lnTo>
                    <a:lnTo>
                      <a:pt x="912" y="129"/>
                    </a:lnTo>
                    <a:lnTo>
                      <a:pt x="910" y="127"/>
                    </a:lnTo>
                    <a:lnTo>
                      <a:pt x="908" y="125"/>
                    </a:lnTo>
                    <a:lnTo>
                      <a:pt x="906" y="125"/>
                    </a:lnTo>
                    <a:lnTo>
                      <a:pt x="908" y="123"/>
                    </a:lnTo>
                    <a:lnTo>
                      <a:pt x="906" y="123"/>
                    </a:lnTo>
                    <a:lnTo>
                      <a:pt x="905" y="123"/>
                    </a:lnTo>
                    <a:lnTo>
                      <a:pt x="905" y="122"/>
                    </a:lnTo>
                    <a:lnTo>
                      <a:pt x="903" y="120"/>
                    </a:lnTo>
                    <a:lnTo>
                      <a:pt x="901" y="120"/>
                    </a:lnTo>
                    <a:lnTo>
                      <a:pt x="899" y="118"/>
                    </a:lnTo>
                    <a:lnTo>
                      <a:pt x="899" y="120"/>
                    </a:lnTo>
                    <a:lnTo>
                      <a:pt x="899" y="118"/>
                    </a:lnTo>
                    <a:lnTo>
                      <a:pt x="901" y="118"/>
                    </a:lnTo>
                    <a:lnTo>
                      <a:pt x="901" y="116"/>
                    </a:lnTo>
                    <a:lnTo>
                      <a:pt x="903" y="116"/>
                    </a:lnTo>
                    <a:lnTo>
                      <a:pt x="905" y="114"/>
                    </a:lnTo>
                    <a:lnTo>
                      <a:pt x="906" y="114"/>
                    </a:lnTo>
                    <a:lnTo>
                      <a:pt x="908" y="114"/>
                    </a:lnTo>
                    <a:lnTo>
                      <a:pt x="910" y="114"/>
                    </a:lnTo>
                    <a:lnTo>
                      <a:pt x="910" y="112"/>
                    </a:lnTo>
                    <a:lnTo>
                      <a:pt x="912" y="112"/>
                    </a:lnTo>
                    <a:lnTo>
                      <a:pt x="912" y="110"/>
                    </a:lnTo>
                    <a:lnTo>
                      <a:pt x="914" y="110"/>
                    </a:lnTo>
                    <a:lnTo>
                      <a:pt x="914" y="112"/>
                    </a:lnTo>
                    <a:lnTo>
                      <a:pt x="916" y="112"/>
                    </a:lnTo>
                    <a:lnTo>
                      <a:pt x="918" y="112"/>
                    </a:lnTo>
                    <a:lnTo>
                      <a:pt x="918" y="114"/>
                    </a:lnTo>
                    <a:lnTo>
                      <a:pt x="920" y="114"/>
                    </a:lnTo>
                    <a:lnTo>
                      <a:pt x="920" y="116"/>
                    </a:lnTo>
                    <a:lnTo>
                      <a:pt x="922" y="118"/>
                    </a:lnTo>
                    <a:lnTo>
                      <a:pt x="920" y="120"/>
                    </a:lnTo>
                    <a:lnTo>
                      <a:pt x="920" y="122"/>
                    </a:lnTo>
                    <a:lnTo>
                      <a:pt x="920" y="123"/>
                    </a:lnTo>
                    <a:lnTo>
                      <a:pt x="918" y="123"/>
                    </a:lnTo>
                    <a:lnTo>
                      <a:pt x="918" y="125"/>
                    </a:lnTo>
                    <a:lnTo>
                      <a:pt x="918" y="127"/>
                    </a:lnTo>
                    <a:lnTo>
                      <a:pt x="916" y="127"/>
                    </a:lnTo>
                    <a:lnTo>
                      <a:pt x="916" y="129"/>
                    </a:lnTo>
                    <a:lnTo>
                      <a:pt x="918" y="129"/>
                    </a:lnTo>
                    <a:lnTo>
                      <a:pt x="916" y="129"/>
                    </a:lnTo>
                    <a:lnTo>
                      <a:pt x="918" y="129"/>
                    </a:lnTo>
                    <a:lnTo>
                      <a:pt x="920" y="129"/>
                    </a:lnTo>
                    <a:lnTo>
                      <a:pt x="918" y="129"/>
                    </a:lnTo>
                    <a:lnTo>
                      <a:pt x="920" y="129"/>
                    </a:lnTo>
                    <a:lnTo>
                      <a:pt x="920" y="131"/>
                    </a:lnTo>
                    <a:lnTo>
                      <a:pt x="920" y="133"/>
                    </a:lnTo>
                    <a:lnTo>
                      <a:pt x="920" y="131"/>
                    </a:lnTo>
                    <a:lnTo>
                      <a:pt x="920" y="133"/>
                    </a:lnTo>
                    <a:lnTo>
                      <a:pt x="922" y="135"/>
                    </a:lnTo>
                    <a:lnTo>
                      <a:pt x="920" y="137"/>
                    </a:lnTo>
                    <a:lnTo>
                      <a:pt x="920" y="139"/>
                    </a:lnTo>
                    <a:lnTo>
                      <a:pt x="920" y="137"/>
                    </a:lnTo>
                    <a:lnTo>
                      <a:pt x="920" y="139"/>
                    </a:lnTo>
                    <a:lnTo>
                      <a:pt x="922" y="139"/>
                    </a:lnTo>
                    <a:lnTo>
                      <a:pt x="920" y="141"/>
                    </a:lnTo>
                    <a:lnTo>
                      <a:pt x="920" y="143"/>
                    </a:lnTo>
                    <a:lnTo>
                      <a:pt x="920" y="141"/>
                    </a:lnTo>
                    <a:lnTo>
                      <a:pt x="922" y="143"/>
                    </a:lnTo>
                    <a:lnTo>
                      <a:pt x="920" y="145"/>
                    </a:lnTo>
                    <a:lnTo>
                      <a:pt x="920" y="147"/>
                    </a:lnTo>
                    <a:lnTo>
                      <a:pt x="920" y="148"/>
                    </a:lnTo>
                    <a:lnTo>
                      <a:pt x="918" y="148"/>
                    </a:lnTo>
                    <a:lnTo>
                      <a:pt x="920" y="148"/>
                    </a:lnTo>
                    <a:lnTo>
                      <a:pt x="920" y="150"/>
                    </a:lnTo>
                    <a:lnTo>
                      <a:pt x="920" y="148"/>
                    </a:lnTo>
                    <a:lnTo>
                      <a:pt x="920" y="150"/>
                    </a:lnTo>
                    <a:lnTo>
                      <a:pt x="918" y="152"/>
                    </a:lnTo>
                    <a:lnTo>
                      <a:pt x="916" y="152"/>
                    </a:lnTo>
                    <a:lnTo>
                      <a:pt x="916" y="154"/>
                    </a:lnTo>
                    <a:lnTo>
                      <a:pt x="918" y="154"/>
                    </a:lnTo>
                    <a:lnTo>
                      <a:pt x="918" y="152"/>
                    </a:lnTo>
                    <a:lnTo>
                      <a:pt x="918" y="154"/>
                    </a:lnTo>
                    <a:lnTo>
                      <a:pt x="916" y="154"/>
                    </a:lnTo>
                    <a:lnTo>
                      <a:pt x="916" y="156"/>
                    </a:lnTo>
                    <a:lnTo>
                      <a:pt x="918" y="156"/>
                    </a:lnTo>
                    <a:lnTo>
                      <a:pt x="916" y="156"/>
                    </a:lnTo>
                    <a:lnTo>
                      <a:pt x="916" y="158"/>
                    </a:lnTo>
                    <a:lnTo>
                      <a:pt x="914" y="158"/>
                    </a:lnTo>
                    <a:lnTo>
                      <a:pt x="912" y="158"/>
                    </a:lnTo>
                    <a:lnTo>
                      <a:pt x="912" y="160"/>
                    </a:lnTo>
                    <a:lnTo>
                      <a:pt x="914" y="160"/>
                    </a:lnTo>
                    <a:lnTo>
                      <a:pt x="912" y="160"/>
                    </a:lnTo>
                    <a:lnTo>
                      <a:pt x="912" y="162"/>
                    </a:lnTo>
                    <a:lnTo>
                      <a:pt x="912" y="164"/>
                    </a:lnTo>
                    <a:lnTo>
                      <a:pt x="912" y="162"/>
                    </a:lnTo>
                    <a:lnTo>
                      <a:pt x="912" y="164"/>
                    </a:lnTo>
                    <a:lnTo>
                      <a:pt x="914" y="164"/>
                    </a:lnTo>
                    <a:lnTo>
                      <a:pt x="912" y="164"/>
                    </a:lnTo>
                    <a:lnTo>
                      <a:pt x="914" y="164"/>
                    </a:lnTo>
                    <a:lnTo>
                      <a:pt x="914" y="166"/>
                    </a:lnTo>
                    <a:lnTo>
                      <a:pt x="912" y="166"/>
                    </a:lnTo>
                    <a:lnTo>
                      <a:pt x="912" y="164"/>
                    </a:lnTo>
                    <a:lnTo>
                      <a:pt x="912" y="166"/>
                    </a:lnTo>
                    <a:lnTo>
                      <a:pt x="910" y="166"/>
                    </a:lnTo>
                    <a:lnTo>
                      <a:pt x="912" y="166"/>
                    </a:lnTo>
                    <a:lnTo>
                      <a:pt x="912" y="164"/>
                    </a:lnTo>
                    <a:lnTo>
                      <a:pt x="912" y="166"/>
                    </a:lnTo>
                    <a:lnTo>
                      <a:pt x="910" y="166"/>
                    </a:lnTo>
                    <a:lnTo>
                      <a:pt x="912" y="166"/>
                    </a:lnTo>
                    <a:lnTo>
                      <a:pt x="910" y="168"/>
                    </a:lnTo>
                    <a:lnTo>
                      <a:pt x="910" y="170"/>
                    </a:lnTo>
                    <a:lnTo>
                      <a:pt x="908" y="170"/>
                    </a:lnTo>
                    <a:lnTo>
                      <a:pt x="910" y="170"/>
                    </a:lnTo>
                    <a:lnTo>
                      <a:pt x="910" y="172"/>
                    </a:lnTo>
                    <a:lnTo>
                      <a:pt x="910" y="173"/>
                    </a:lnTo>
                    <a:lnTo>
                      <a:pt x="908" y="173"/>
                    </a:lnTo>
                    <a:lnTo>
                      <a:pt x="908" y="172"/>
                    </a:lnTo>
                    <a:lnTo>
                      <a:pt x="908" y="173"/>
                    </a:lnTo>
                    <a:lnTo>
                      <a:pt x="908" y="175"/>
                    </a:lnTo>
                    <a:lnTo>
                      <a:pt x="906" y="175"/>
                    </a:lnTo>
                    <a:lnTo>
                      <a:pt x="905" y="175"/>
                    </a:lnTo>
                    <a:lnTo>
                      <a:pt x="905" y="177"/>
                    </a:lnTo>
                    <a:lnTo>
                      <a:pt x="903" y="177"/>
                    </a:lnTo>
                    <a:lnTo>
                      <a:pt x="903" y="175"/>
                    </a:lnTo>
                    <a:lnTo>
                      <a:pt x="901" y="175"/>
                    </a:lnTo>
                    <a:lnTo>
                      <a:pt x="901" y="177"/>
                    </a:lnTo>
                    <a:lnTo>
                      <a:pt x="901" y="175"/>
                    </a:lnTo>
                    <a:lnTo>
                      <a:pt x="901" y="177"/>
                    </a:lnTo>
                    <a:lnTo>
                      <a:pt x="901" y="175"/>
                    </a:lnTo>
                    <a:lnTo>
                      <a:pt x="901" y="177"/>
                    </a:lnTo>
                    <a:lnTo>
                      <a:pt x="899" y="175"/>
                    </a:lnTo>
                    <a:lnTo>
                      <a:pt x="899" y="177"/>
                    </a:lnTo>
                    <a:lnTo>
                      <a:pt x="899" y="175"/>
                    </a:lnTo>
                    <a:lnTo>
                      <a:pt x="899" y="177"/>
                    </a:lnTo>
                    <a:lnTo>
                      <a:pt x="897" y="177"/>
                    </a:lnTo>
                    <a:lnTo>
                      <a:pt x="899" y="177"/>
                    </a:lnTo>
                    <a:lnTo>
                      <a:pt x="897" y="177"/>
                    </a:lnTo>
                    <a:lnTo>
                      <a:pt x="897" y="175"/>
                    </a:lnTo>
                    <a:lnTo>
                      <a:pt x="899" y="175"/>
                    </a:lnTo>
                    <a:lnTo>
                      <a:pt x="897" y="175"/>
                    </a:lnTo>
                    <a:lnTo>
                      <a:pt x="899" y="175"/>
                    </a:lnTo>
                    <a:lnTo>
                      <a:pt x="897" y="175"/>
                    </a:lnTo>
                    <a:lnTo>
                      <a:pt x="897" y="177"/>
                    </a:lnTo>
                    <a:lnTo>
                      <a:pt x="897" y="175"/>
                    </a:lnTo>
                    <a:lnTo>
                      <a:pt x="897" y="177"/>
                    </a:lnTo>
                    <a:lnTo>
                      <a:pt x="895" y="177"/>
                    </a:lnTo>
                    <a:lnTo>
                      <a:pt x="895" y="175"/>
                    </a:lnTo>
                    <a:lnTo>
                      <a:pt x="895" y="177"/>
                    </a:lnTo>
                    <a:lnTo>
                      <a:pt x="893" y="177"/>
                    </a:lnTo>
                    <a:lnTo>
                      <a:pt x="895" y="177"/>
                    </a:lnTo>
                    <a:lnTo>
                      <a:pt x="895" y="175"/>
                    </a:lnTo>
                    <a:lnTo>
                      <a:pt x="895" y="177"/>
                    </a:lnTo>
                    <a:lnTo>
                      <a:pt x="897" y="177"/>
                    </a:lnTo>
                    <a:lnTo>
                      <a:pt x="899" y="177"/>
                    </a:lnTo>
                    <a:lnTo>
                      <a:pt x="899" y="175"/>
                    </a:lnTo>
                    <a:lnTo>
                      <a:pt x="899" y="177"/>
                    </a:lnTo>
                    <a:lnTo>
                      <a:pt x="899" y="175"/>
                    </a:lnTo>
                    <a:lnTo>
                      <a:pt x="901" y="177"/>
                    </a:lnTo>
                    <a:lnTo>
                      <a:pt x="901" y="175"/>
                    </a:lnTo>
                    <a:lnTo>
                      <a:pt x="901" y="177"/>
                    </a:lnTo>
                    <a:lnTo>
                      <a:pt x="901" y="175"/>
                    </a:lnTo>
                    <a:lnTo>
                      <a:pt x="901" y="177"/>
                    </a:lnTo>
                    <a:lnTo>
                      <a:pt x="901" y="175"/>
                    </a:lnTo>
                    <a:lnTo>
                      <a:pt x="903" y="175"/>
                    </a:lnTo>
                    <a:lnTo>
                      <a:pt x="903" y="177"/>
                    </a:lnTo>
                    <a:lnTo>
                      <a:pt x="905" y="177"/>
                    </a:lnTo>
                    <a:lnTo>
                      <a:pt x="905" y="175"/>
                    </a:lnTo>
                    <a:lnTo>
                      <a:pt x="905" y="177"/>
                    </a:lnTo>
                    <a:lnTo>
                      <a:pt x="906" y="175"/>
                    </a:lnTo>
                    <a:lnTo>
                      <a:pt x="908" y="175"/>
                    </a:lnTo>
                    <a:lnTo>
                      <a:pt x="910" y="175"/>
                    </a:lnTo>
                    <a:lnTo>
                      <a:pt x="908" y="175"/>
                    </a:lnTo>
                    <a:lnTo>
                      <a:pt x="910" y="175"/>
                    </a:lnTo>
                    <a:lnTo>
                      <a:pt x="910" y="177"/>
                    </a:lnTo>
                    <a:lnTo>
                      <a:pt x="912" y="179"/>
                    </a:lnTo>
                    <a:lnTo>
                      <a:pt x="910" y="179"/>
                    </a:lnTo>
                    <a:lnTo>
                      <a:pt x="908" y="179"/>
                    </a:lnTo>
                    <a:lnTo>
                      <a:pt x="908" y="181"/>
                    </a:lnTo>
                    <a:lnTo>
                      <a:pt x="906" y="183"/>
                    </a:lnTo>
                    <a:lnTo>
                      <a:pt x="905" y="183"/>
                    </a:lnTo>
                    <a:lnTo>
                      <a:pt x="906" y="183"/>
                    </a:lnTo>
                    <a:lnTo>
                      <a:pt x="906" y="185"/>
                    </a:lnTo>
                    <a:lnTo>
                      <a:pt x="908" y="185"/>
                    </a:lnTo>
                    <a:lnTo>
                      <a:pt x="906" y="185"/>
                    </a:lnTo>
                    <a:lnTo>
                      <a:pt x="905" y="185"/>
                    </a:lnTo>
                    <a:lnTo>
                      <a:pt x="905" y="187"/>
                    </a:lnTo>
                    <a:lnTo>
                      <a:pt x="905" y="189"/>
                    </a:lnTo>
                    <a:lnTo>
                      <a:pt x="903" y="189"/>
                    </a:lnTo>
                    <a:lnTo>
                      <a:pt x="901" y="189"/>
                    </a:lnTo>
                    <a:lnTo>
                      <a:pt x="903" y="189"/>
                    </a:lnTo>
                    <a:lnTo>
                      <a:pt x="901" y="191"/>
                    </a:lnTo>
                    <a:lnTo>
                      <a:pt x="901" y="189"/>
                    </a:lnTo>
                    <a:lnTo>
                      <a:pt x="901" y="191"/>
                    </a:lnTo>
                    <a:lnTo>
                      <a:pt x="899" y="191"/>
                    </a:lnTo>
                    <a:lnTo>
                      <a:pt x="901" y="193"/>
                    </a:lnTo>
                    <a:lnTo>
                      <a:pt x="899" y="193"/>
                    </a:lnTo>
                    <a:lnTo>
                      <a:pt x="901" y="193"/>
                    </a:lnTo>
                    <a:lnTo>
                      <a:pt x="899" y="193"/>
                    </a:lnTo>
                    <a:lnTo>
                      <a:pt x="899" y="195"/>
                    </a:lnTo>
                    <a:lnTo>
                      <a:pt x="899" y="193"/>
                    </a:lnTo>
                    <a:lnTo>
                      <a:pt x="901" y="193"/>
                    </a:lnTo>
                    <a:lnTo>
                      <a:pt x="899" y="193"/>
                    </a:lnTo>
                    <a:lnTo>
                      <a:pt x="901" y="193"/>
                    </a:lnTo>
                    <a:lnTo>
                      <a:pt x="899" y="191"/>
                    </a:lnTo>
                    <a:lnTo>
                      <a:pt x="901" y="191"/>
                    </a:lnTo>
                    <a:lnTo>
                      <a:pt x="903" y="191"/>
                    </a:lnTo>
                    <a:lnTo>
                      <a:pt x="905" y="191"/>
                    </a:lnTo>
                    <a:lnTo>
                      <a:pt x="905" y="193"/>
                    </a:lnTo>
                    <a:lnTo>
                      <a:pt x="903" y="193"/>
                    </a:lnTo>
                    <a:lnTo>
                      <a:pt x="901" y="193"/>
                    </a:lnTo>
                    <a:lnTo>
                      <a:pt x="903" y="195"/>
                    </a:lnTo>
                    <a:lnTo>
                      <a:pt x="901" y="195"/>
                    </a:lnTo>
                    <a:lnTo>
                      <a:pt x="899" y="197"/>
                    </a:lnTo>
                    <a:lnTo>
                      <a:pt x="901" y="197"/>
                    </a:lnTo>
                    <a:lnTo>
                      <a:pt x="899" y="197"/>
                    </a:lnTo>
                    <a:lnTo>
                      <a:pt x="899" y="198"/>
                    </a:lnTo>
                    <a:lnTo>
                      <a:pt x="901" y="198"/>
                    </a:lnTo>
                    <a:lnTo>
                      <a:pt x="899" y="198"/>
                    </a:lnTo>
                    <a:lnTo>
                      <a:pt x="899" y="200"/>
                    </a:lnTo>
                    <a:lnTo>
                      <a:pt x="897" y="200"/>
                    </a:lnTo>
                    <a:lnTo>
                      <a:pt x="895" y="200"/>
                    </a:lnTo>
                    <a:lnTo>
                      <a:pt x="895" y="202"/>
                    </a:lnTo>
                    <a:lnTo>
                      <a:pt x="895" y="204"/>
                    </a:lnTo>
                    <a:lnTo>
                      <a:pt x="895" y="206"/>
                    </a:lnTo>
                    <a:lnTo>
                      <a:pt x="895" y="208"/>
                    </a:lnTo>
                    <a:lnTo>
                      <a:pt x="895" y="206"/>
                    </a:lnTo>
                    <a:lnTo>
                      <a:pt x="897" y="206"/>
                    </a:lnTo>
                    <a:lnTo>
                      <a:pt x="897" y="208"/>
                    </a:lnTo>
                    <a:lnTo>
                      <a:pt x="895" y="208"/>
                    </a:lnTo>
                    <a:lnTo>
                      <a:pt x="895" y="210"/>
                    </a:lnTo>
                    <a:lnTo>
                      <a:pt x="895" y="212"/>
                    </a:lnTo>
                    <a:lnTo>
                      <a:pt x="895" y="214"/>
                    </a:lnTo>
                    <a:lnTo>
                      <a:pt x="895" y="216"/>
                    </a:lnTo>
                    <a:lnTo>
                      <a:pt x="895" y="214"/>
                    </a:lnTo>
                    <a:lnTo>
                      <a:pt x="895" y="216"/>
                    </a:lnTo>
                    <a:lnTo>
                      <a:pt x="895" y="214"/>
                    </a:lnTo>
                    <a:lnTo>
                      <a:pt x="897" y="214"/>
                    </a:lnTo>
                    <a:lnTo>
                      <a:pt x="895" y="214"/>
                    </a:lnTo>
                    <a:lnTo>
                      <a:pt x="897" y="214"/>
                    </a:lnTo>
                    <a:lnTo>
                      <a:pt x="897" y="216"/>
                    </a:lnTo>
                    <a:lnTo>
                      <a:pt x="895" y="216"/>
                    </a:lnTo>
                    <a:lnTo>
                      <a:pt x="897" y="216"/>
                    </a:lnTo>
                    <a:lnTo>
                      <a:pt x="895" y="216"/>
                    </a:lnTo>
                    <a:lnTo>
                      <a:pt x="897" y="216"/>
                    </a:lnTo>
                    <a:lnTo>
                      <a:pt x="895" y="216"/>
                    </a:lnTo>
                    <a:lnTo>
                      <a:pt x="895" y="218"/>
                    </a:lnTo>
                    <a:lnTo>
                      <a:pt x="895" y="216"/>
                    </a:lnTo>
                    <a:lnTo>
                      <a:pt x="895" y="218"/>
                    </a:lnTo>
                    <a:lnTo>
                      <a:pt x="897" y="218"/>
                    </a:lnTo>
                    <a:lnTo>
                      <a:pt x="895" y="218"/>
                    </a:lnTo>
                    <a:lnTo>
                      <a:pt x="895" y="220"/>
                    </a:lnTo>
                    <a:lnTo>
                      <a:pt x="895" y="218"/>
                    </a:lnTo>
                    <a:lnTo>
                      <a:pt x="897" y="218"/>
                    </a:lnTo>
                    <a:lnTo>
                      <a:pt x="895" y="218"/>
                    </a:lnTo>
                    <a:lnTo>
                      <a:pt x="895" y="216"/>
                    </a:lnTo>
                    <a:lnTo>
                      <a:pt x="895" y="218"/>
                    </a:lnTo>
                    <a:lnTo>
                      <a:pt x="895" y="216"/>
                    </a:lnTo>
                    <a:lnTo>
                      <a:pt x="897" y="216"/>
                    </a:lnTo>
                    <a:lnTo>
                      <a:pt x="895" y="216"/>
                    </a:lnTo>
                    <a:lnTo>
                      <a:pt x="897" y="216"/>
                    </a:lnTo>
                    <a:lnTo>
                      <a:pt x="897" y="214"/>
                    </a:lnTo>
                    <a:lnTo>
                      <a:pt x="895" y="214"/>
                    </a:lnTo>
                    <a:lnTo>
                      <a:pt x="897" y="214"/>
                    </a:lnTo>
                    <a:lnTo>
                      <a:pt x="895" y="214"/>
                    </a:lnTo>
                    <a:lnTo>
                      <a:pt x="895" y="212"/>
                    </a:lnTo>
                    <a:lnTo>
                      <a:pt x="895" y="210"/>
                    </a:lnTo>
                    <a:lnTo>
                      <a:pt x="895" y="208"/>
                    </a:lnTo>
                    <a:lnTo>
                      <a:pt x="897" y="208"/>
                    </a:lnTo>
                    <a:lnTo>
                      <a:pt x="897" y="206"/>
                    </a:lnTo>
                    <a:lnTo>
                      <a:pt x="895" y="206"/>
                    </a:lnTo>
                    <a:lnTo>
                      <a:pt x="895" y="204"/>
                    </a:lnTo>
                    <a:lnTo>
                      <a:pt x="895" y="206"/>
                    </a:lnTo>
                    <a:lnTo>
                      <a:pt x="895" y="204"/>
                    </a:lnTo>
                    <a:lnTo>
                      <a:pt x="895" y="202"/>
                    </a:lnTo>
                    <a:lnTo>
                      <a:pt x="895" y="200"/>
                    </a:lnTo>
                    <a:lnTo>
                      <a:pt x="897" y="200"/>
                    </a:lnTo>
                    <a:lnTo>
                      <a:pt x="899" y="200"/>
                    </a:lnTo>
                    <a:lnTo>
                      <a:pt x="901" y="200"/>
                    </a:lnTo>
                    <a:lnTo>
                      <a:pt x="901" y="198"/>
                    </a:lnTo>
                    <a:lnTo>
                      <a:pt x="901" y="200"/>
                    </a:lnTo>
                    <a:lnTo>
                      <a:pt x="901" y="198"/>
                    </a:lnTo>
                    <a:lnTo>
                      <a:pt x="901" y="200"/>
                    </a:lnTo>
                    <a:lnTo>
                      <a:pt x="903" y="200"/>
                    </a:lnTo>
                    <a:lnTo>
                      <a:pt x="903" y="202"/>
                    </a:lnTo>
                    <a:lnTo>
                      <a:pt x="903" y="200"/>
                    </a:lnTo>
                    <a:lnTo>
                      <a:pt x="905" y="200"/>
                    </a:lnTo>
                    <a:lnTo>
                      <a:pt x="903" y="200"/>
                    </a:lnTo>
                    <a:lnTo>
                      <a:pt x="901" y="200"/>
                    </a:lnTo>
                    <a:lnTo>
                      <a:pt x="901" y="198"/>
                    </a:lnTo>
                    <a:lnTo>
                      <a:pt x="901" y="200"/>
                    </a:lnTo>
                    <a:lnTo>
                      <a:pt x="901" y="198"/>
                    </a:lnTo>
                    <a:lnTo>
                      <a:pt x="899" y="198"/>
                    </a:lnTo>
                    <a:lnTo>
                      <a:pt x="901" y="198"/>
                    </a:lnTo>
                    <a:lnTo>
                      <a:pt x="899" y="198"/>
                    </a:lnTo>
                    <a:lnTo>
                      <a:pt x="899" y="197"/>
                    </a:lnTo>
                    <a:lnTo>
                      <a:pt x="901" y="197"/>
                    </a:lnTo>
                    <a:lnTo>
                      <a:pt x="901" y="195"/>
                    </a:lnTo>
                    <a:lnTo>
                      <a:pt x="903" y="195"/>
                    </a:lnTo>
                    <a:lnTo>
                      <a:pt x="903" y="197"/>
                    </a:lnTo>
                    <a:lnTo>
                      <a:pt x="903" y="198"/>
                    </a:lnTo>
                    <a:lnTo>
                      <a:pt x="905" y="198"/>
                    </a:lnTo>
                    <a:lnTo>
                      <a:pt x="905" y="200"/>
                    </a:lnTo>
                    <a:lnTo>
                      <a:pt x="905" y="202"/>
                    </a:lnTo>
                    <a:lnTo>
                      <a:pt x="906" y="202"/>
                    </a:lnTo>
                    <a:lnTo>
                      <a:pt x="906" y="204"/>
                    </a:lnTo>
                    <a:lnTo>
                      <a:pt x="908" y="204"/>
                    </a:lnTo>
                    <a:lnTo>
                      <a:pt x="908" y="206"/>
                    </a:lnTo>
                    <a:lnTo>
                      <a:pt x="908" y="208"/>
                    </a:lnTo>
                    <a:lnTo>
                      <a:pt x="906" y="208"/>
                    </a:lnTo>
                    <a:lnTo>
                      <a:pt x="906" y="210"/>
                    </a:lnTo>
                    <a:lnTo>
                      <a:pt x="908" y="210"/>
                    </a:lnTo>
                    <a:lnTo>
                      <a:pt x="910" y="210"/>
                    </a:lnTo>
                    <a:lnTo>
                      <a:pt x="912" y="210"/>
                    </a:lnTo>
                    <a:lnTo>
                      <a:pt x="912" y="212"/>
                    </a:lnTo>
                    <a:lnTo>
                      <a:pt x="912" y="214"/>
                    </a:lnTo>
                    <a:lnTo>
                      <a:pt x="910" y="214"/>
                    </a:lnTo>
                    <a:lnTo>
                      <a:pt x="908" y="214"/>
                    </a:lnTo>
                    <a:lnTo>
                      <a:pt x="908" y="216"/>
                    </a:lnTo>
                    <a:lnTo>
                      <a:pt x="910" y="216"/>
                    </a:lnTo>
                    <a:lnTo>
                      <a:pt x="912" y="214"/>
                    </a:lnTo>
                    <a:lnTo>
                      <a:pt x="912" y="216"/>
                    </a:lnTo>
                    <a:lnTo>
                      <a:pt x="912" y="218"/>
                    </a:lnTo>
                    <a:lnTo>
                      <a:pt x="914" y="218"/>
                    </a:lnTo>
                    <a:lnTo>
                      <a:pt x="916" y="216"/>
                    </a:lnTo>
                    <a:lnTo>
                      <a:pt x="918" y="216"/>
                    </a:lnTo>
                    <a:lnTo>
                      <a:pt x="918" y="218"/>
                    </a:lnTo>
                    <a:lnTo>
                      <a:pt x="920" y="218"/>
                    </a:lnTo>
                    <a:lnTo>
                      <a:pt x="920" y="220"/>
                    </a:lnTo>
                    <a:lnTo>
                      <a:pt x="920" y="222"/>
                    </a:lnTo>
                    <a:lnTo>
                      <a:pt x="922" y="223"/>
                    </a:lnTo>
                    <a:lnTo>
                      <a:pt x="922" y="225"/>
                    </a:lnTo>
                    <a:lnTo>
                      <a:pt x="922" y="227"/>
                    </a:lnTo>
                    <a:lnTo>
                      <a:pt x="924" y="229"/>
                    </a:lnTo>
                    <a:lnTo>
                      <a:pt x="924" y="231"/>
                    </a:lnTo>
                    <a:lnTo>
                      <a:pt x="926" y="231"/>
                    </a:lnTo>
                    <a:lnTo>
                      <a:pt x="926" y="233"/>
                    </a:lnTo>
                    <a:lnTo>
                      <a:pt x="926" y="235"/>
                    </a:lnTo>
                    <a:lnTo>
                      <a:pt x="926" y="237"/>
                    </a:lnTo>
                    <a:lnTo>
                      <a:pt x="928" y="237"/>
                    </a:lnTo>
                    <a:lnTo>
                      <a:pt x="928" y="239"/>
                    </a:lnTo>
                    <a:lnTo>
                      <a:pt x="930" y="241"/>
                    </a:lnTo>
                    <a:lnTo>
                      <a:pt x="931" y="239"/>
                    </a:lnTo>
                    <a:lnTo>
                      <a:pt x="931" y="237"/>
                    </a:lnTo>
                    <a:lnTo>
                      <a:pt x="931" y="239"/>
                    </a:lnTo>
                    <a:lnTo>
                      <a:pt x="931" y="241"/>
                    </a:lnTo>
                    <a:lnTo>
                      <a:pt x="933" y="241"/>
                    </a:lnTo>
                    <a:lnTo>
                      <a:pt x="935" y="241"/>
                    </a:lnTo>
                    <a:lnTo>
                      <a:pt x="935" y="243"/>
                    </a:lnTo>
                    <a:lnTo>
                      <a:pt x="935" y="241"/>
                    </a:lnTo>
                    <a:lnTo>
                      <a:pt x="935" y="243"/>
                    </a:lnTo>
                    <a:lnTo>
                      <a:pt x="935" y="245"/>
                    </a:lnTo>
                    <a:lnTo>
                      <a:pt x="937" y="245"/>
                    </a:lnTo>
                    <a:lnTo>
                      <a:pt x="939" y="245"/>
                    </a:lnTo>
                    <a:lnTo>
                      <a:pt x="939" y="246"/>
                    </a:lnTo>
                    <a:lnTo>
                      <a:pt x="937" y="246"/>
                    </a:lnTo>
                    <a:lnTo>
                      <a:pt x="937" y="248"/>
                    </a:lnTo>
                    <a:lnTo>
                      <a:pt x="935" y="248"/>
                    </a:lnTo>
                    <a:lnTo>
                      <a:pt x="935" y="250"/>
                    </a:lnTo>
                    <a:lnTo>
                      <a:pt x="935" y="252"/>
                    </a:lnTo>
                    <a:lnTo>
                      <a:pt x="935" y="254"/>
                    </a:lnTo>
                    <a:lnTo>
                      <a:pt x="933" y="252"/>
                    </a:lnTo>
                    <a:lnTo>
                      <a:pt x="935" y="252"/>
                    </a:lnTo>
                    <a:lnTo>
                      <a:pt x="933" y="252"/>
                    </a:lnTo>
                    <a:lnTo>
                      <a:pt x="935" y="254"/>
                    </a:lnTo>
                    <a:lnTo>
                      <a:pt x="935" y="256"/>
                    </a:lnTo>
                    <a:lnTo>
                      <a:pt x="937" y="256"/>
                    </a:lnTo>
                    <a:lnTo>
                      <a:pt x="937" y="258"/>
                    </a:lnTo>
                    <a:lnTo>
                      <a:pt x="937" y="260"/>
                    </a:lnTo>
                    <a:lnTo>
                      <a:pt x="937" y="262"/>
                    </a:lnTo>
                    <a:lnTo>
                      <a:pt x="939" y="262"/>
                    </a:lnTo>
                    <a:lnTo>
                      <a:pt x="939" y="264"/>
                    </a:lnTo>
                    <a:lnTo>
                      <a:pt x="939" y="262"/>
                    </a:lnTo>
                    <a:lnTo>
                      <a:pt x="941" y="262"/>
                    </a:lnTo>
                    <a:lnTo>
                      <a:pt x="939" y="262"/>
                    </a:lnTo>
                    <a:lnTo>
                      <a:pt x="939" y="264"/>
                    </a:lnTo>
                    <a:lnTo>
                      <a:pt x="939" y="262"/>
                    </a:lnTo>
                    <a:lnTo>
                      <a:pt x="937" y="262"/>
                    </a:lnTo>
                    <a:lnTo>
                      <a:pt x="937" y="260"/>
                    </a:lnTo>
                    <a:lnTo>
                      <a:pt x="937" y="258"/>
                    </a:lnTo>
                    <a:lnTo>
                      <a:pt x="937" y="256"/>
                    </a:lnTo>
                    <a:lnTo>
                      <a:pt x="939" y="256"/>
                    </a:lnTo>
                    <a:lnTo>
                      <a:pt x="941" y="256"/>
                    </a:lnTo>
                    <a:lnTo>
                      <a:pt x="941" y="258"/>
                    </a:lnTo>
                    <a:lnTo>
                      <a:pt x="941" y="256"/>
                    </a:lnTo>
                    <a:lnTo>
                      <a:pt x="939" y="256"/>
                    </a:lnTo>
                    <a:lnTo>
                      <a:pt x="941" y="258"/>
                    </a:lnTo>
                    <a:lnTo>
                      <a:pt x="941" y="260"/>
                    </a:lnTo>
                    <a:lnTo>
                      <a:pt x="943" y="260"/>
                    </a:lnTo>
                    <a:lnTo>
                      <a:pt x="945" y="260"/>
                    </a:lnTo>
                    <a:lnTo>
                      <a:pt x="943" y="260"/>
                    </a:lnTo>
                    <a:lnTo>
                      <a:pt x="943" y="262"/>
                    </a:lnTo>
                    <a:lnTo>
                      <a:pt x="941" y="262"/>
                    </a:lnTo>
                    <a:lnTo>
                      <a:pt x="943" y="262"/>
                    </a:lnTo>
                    <a:lnTo>
                      <a:pt x="943" y="264"/>
                    </a:lnTo>
                    <a:lnTo>
                      <a:pt x="945" y="264"/>
                    </a:lnTo>
                    <a:lnTo>
                      <a:pt x="945" y="266"/>
                    </a:lnTo>
                    <a:lnTo>
                      <a:pt x="945" y="268"/>
                    </a:lnTo>
                    <a:lnTo>
                      <a:pt x="945" y="270"/>
                    </a:lnTo>
                    <a:lnTo>
                      <a:pt x="947" y="270"/>
                    </a:lnTo>
                    <a:lnTo>
                      <a:pt x="945" y="270"/>
                    </a:lnTo>
                    <a:lnTo>
                      <a:pt x="947" y="270"/>
                    </a:lnTo>
                    <a:lnTo>
                      <a:pt x="947" y="271"/>
                    </a:lnTo>
                    <a:lnTo>
                      <a:pt x="949" y="271"/>
                    </a:lnTo>
                    <a:lnTo>
                      <a:pt x="951" y="271"/>
                    </a:lnTo>
                    <a:lnTo>
                      <a:pt x="953" y="271"/>
                    </a:lnTo>
                    <a:lnTo>
                      <a:pt x="953" y="273"/>
                    </a:lnTo>
                    <a:lnTo>
                      <a:pt x="953" y="275"/>
                    </a:lnTo>
                    <a:lnTo>
                      <a:pt x="951" y="275"/>
                    </a:lnTo>
                    <a:lnTo>
                      <a:pt x="949" y="273"/>
                    </a:lnTo>
                    <a:lnTo>
                      <a:pt x="947" y="273"/>
                    </a:lnTo>
                    <a:lnTo>
                      <a:pt x="947" y="275"/>
                    </a:lnTo>
                    <a:lnTo>
                      <a:pt x="947" y="277"/>
                    </a:lnTo>
                    <a:lnTo>
                      <a:pt x="949" y="277"/>
                    </a:lnTo>
                    <a:lnTo>
                      <a:pt x="951" y="277"/>
                    </a:lnTo>
                    <a:lnTo>
                      <a:pt x="951" y="279"/>
                    </a:lnTo>
                    <a:lnTo>
                      <a:pt x="949" y="281"/>
                    </a:lnTo>
                    <a:lnTo>
                      <a:pt x="947" y="281"/>
                    </a:lnTo>
                    <a:lnTo>
                      <a:pt x="945" y="281"/>
                    </a:lnTo>
                    <a:lnTo>
                      <a:pt x="947" y="281"/>
                    </a:lnTo>
                    <a:lnTo>
                      <a:pt x="947" y="283"/>
                    </a:lnTo>
                    <a:lnTo>
                      <a:pt x="945" y="285"/>
                    </a:lnTo>
                    <a:lnTo>
                      <a:pt x="945" y="287"/>
                    </a:lnTo>
                    <a:lnTo>
                      <a:pt x="947" y="287"/>
                    </a:lnTo>
                    <a:lnTo>
                      <a:pt x="945" y="287"/>
                    </a:lnTo>
                    <a:lnTo>
                      <a:pt x="947" y="287"/>
                    </a:lnTo>
                    <a:lnTo>
                      <a:pt x="947" y="289"/>
                    </a:lnTo>
                    <a:lnTo>
                      <a:pt x="947" y="291"/>
                    </a:lnTo>
                    <a:lnTo>
                      <a:pt x="947" y="293"/>
                    </a:lnTo>
                    <a:lnTo>
                      <a:pt x="949" y="293"/>
                    </a:lnTo>
                    <a:lnTo>
                      <a:pt x="951" y="293"/>
                    </a:lnTo>
                    <a:lnTo>
                      <a:pt x="951" y="295"/>
                    </a:lnTo>
                    <a:lnTo>
                      <a:pt x="951" y="296"/>
                    </a:lnTo>
                    <a:lnTo>
                      <a:pt x="953" y="298"/>
                    </a:lnTo>
                    <a:lnTo>
                      <a:pt x="951" y="298"/>
                    </a:lnTo>
                    <a:lnTo>
                      <a:pt x="949" y="298"/>
                    </a:lnTo>
                    <a:lnTo>
                      <a:pt x="947" y="298"/>
                    </a:lnTo>
                    <a:lnTo>
                      <a:pt x="947" y="300"/>
                    </a:lnTo>
                    <a:lnTo>
                      <a:pt x="945" y="300"/>
                    </a:lnTo>
                    <a:lnTo>
                      <a:pt x="945" y="298"/>
                    </a:lnTo>
                    <a:lnTo>
                      <a:pt x="945" y="300"/>
                    </a:lnTo>
                    <a:lnTo>
                      <a:pt x="943" y="300"/>
                    </a:lnTo>
                    <a:lnTo>
                      <a:pt x="943" y="302"/>
                    </a:lnTo>
                    <a:lnTo>
                      <a:pt x="943" y="304"/>
                    </a:lnTo>
                    <a:lnTo>
                      <a:pt x="941" y="304"/>
                    </a:lnTo>
                    <a:lnTo>
                      <a:pt x="939" y="304"/>
                    </a:lnTo>
                    <a:lnTo>
                      <a:pt x="937" y="304"/>
                    </a:lnTo>
                    <a:lnTo>
                      <a:pt x="935" y="304"/>
                    </a:lnTo>
                    <a:lnTo>
                      <a:pt x="933" y="304"/>
                    </a:lnTo>
                    <a:lnTo>
                      <a:pt x="933" y="306"/>
                    </a:lnTo>
                    <a:lnTo>
                      <a:pt x="933" y="308"/>
                    </a:lnTo>
                    <a:lnTo>
                      <a:pt x="931" y="310"/>
                    </a:lnTo>
                    <a:lnTo>
                      <a:pt x="930" y="312"/>
                    </a:lnTo>
                    <a:lnTo>
                      <a:pt x="930" y="314"/>
                    </a:lnTo>
                    <a:lnTo>
                      <a:pt x="931" y="314"/>
                    </a:lnTo>
                    <a:lnTo>
                      <a:pt x="931" y="316"/>
                    </a:lnTo>
                    <a:lnTo>
                      <a:pt x="931" y="318"/>
                    </a:lnTo>
                    <a:lnTo>
                      <a:pt x="930" y="318"/>
                    </a:lnTo>
                    <a:lnTo>
                      <a:pt x="930" y="320"/>
                    </a:lnTo>
                    <a:lnTo>
                      <a:pt x="930" y="321"/>
                    </a:lnTo>
                    <a:lnTo>
                      <a:pt x="928" y="321"/>
                    </a:lnTo>
                    <a:lnTo>
                      <a:pt x="930" y="321"/>
                    </a:lnTo>
                    <a:lnTo>
                      <a:pt x="930" y="320"/>
                    </a:lnTo>
                    <a:lnTo>
                      <a:pt x="928" y="320"/>
                    </a:lnTo>
                    <a:lnTo>
                      <a:pt x="926" y="320"/>
                    </a:lnTo>
                    <a:lnTo>
                      <a:pt x="926" y="318"/>
                    </a:lnTo>
                    <a:lnTo>
                      <a:pt x="924" y="318"/>
                    </a:lnTo>
                    <a:lnTo>
                      <a:pt x="926" y="318"/>
                    </a:lnTo>
                    <a:lnTo>
                      <a:pt x="926" y="320"/>
                    </a:lnTo>
                    <a:lnTo>
                      <a:pt x="924" y="320"/>
                    </a:lnTo>
                    <a:lnTo>
                      <a:pt x="924" y="318"/>
                    </a:lnTo>
                    <a:lnTo>
                      <a:pt x="924" y="320"/>
                    </a:lnTo>
                    <a:lnTo>
                      <a:pt x="922" y="320"/>
                    </a:lnTo>
                    <a:lnTo>
                      <a:pt x="922" y="318"/>
                    </a:lnTo>
                    <a:lnTo>
                      <a:pt x="922" y="320"/>
                    </a:lnTo>
                    <a:lnTo>
                      <a:pt x="922" y="318"/>
                    </a:lnTo>
                    <a:lnTo>
                      <a:pt x="920" y="318"/>
                    </a:lnTo>
                    <a:lnTo>
                      <a:pt x="920" y="320"/>
                    </a:lnTo>
                    <a:lnTo>
                      <a:pt x="920" y="318"/>
                    </a:lnTo>
                    <a:lnTo>
                      <a:pt x="918" y="318"/>
                    </a:lnTo>
                    <a:lnTo>
                      <a:pt x="918" y="320"/>
                    </a:lnTo>
                    <a:lnTo>
                      <a:pt x="918" y="318"/>
                    </a:lnTo>
                    <a:lnTo>
                      <a:pt x="918" y="316"/>
                    </a:lnTo>
                    <a:lnTo>
                      <a:pt x="916" y="318"/>
                    </a:lnTo>
                    <a:lnTo>
                      <a:pt x="916" y="320"/>
                    </a:lnTo>
                    <a:lnTo>
                      <a:pt x="916" y="318"/>
                    </a:lnTo>
                    <a:lnTo>
                      <a:pt x="914" y="318"/>
                    </a:lnTo>
                    <a:lnTo>
                      <a:pt x="914" y="316"/>
                    </a:lnTo>
                    <a:lnTo>
                      <a:pt x="914" y="318"/>
                    </a:lnTo>
                    <a:lnTo>
                      <a:pt x="914" y="316"/>
                    </a:lnTo>
                    <a:lnTo>
                      <a:pt x="912" y="318"/>
                    </a:lnTo>
                    <a:lnTo>
                      <a:pt x="912" y="316"/>
                    </a:lnTo>
                    <a:lnTo>
                      <a:pt x="910" y="316"/>
                    </a:lnTo>
                    <a:lnTo>
                      <a:pt x="910" y="318"/>
                    </a:lnTo>
                    <a:lnTo>
                      <a:pt x="908" y="316"/>
                    </a:lnTo>
                    <a:lnTo>
                      <a:pt x="908" y="318"/>
                    </a:lnTo>
                    <a:lnTo>
                      <a:pt x="906" y="318"/>
                    </a:lnTo>
                    <a:lnTo>
                      <a:pt x="905" y="318"/>
                    </a:lnTo>
                    <a:lnTo>
                      <a:pt x="905" y="316"/>
                    </a:lnTo>
                    <a:lnTo>
                      <a:pt x="905" y="318"/>
                    </a:lnTo>
                    <a:lnTo>
                      <a:pt x="905" y="320"/>
                    </a:lnTo>
                    <a:lnTo>
                      <a:pt x="903" y="320"/>
                    </a:lnTo>
                    <a:lnTo>
                      <a:pt x="905" y="320"/>
                    </a:lnTo>
                    <a:lnTo>
                      <a:pt x="905" y="321"/>
                    </a:lnTo>
                    <a:lnTo>
                      <a:pt x="903" y="321"/>
                    </a:lnTo>
                    <a:lnTo>
                      <a:pt x="905" y="321"/>
                    </a:lnTo>
                    <a:lnTo>
                      <a:pt x="905" y="323"/>
                    </a:lnTo>
                    <a:lnTo>
                      <a:pt x="903" y="323"/>
                    </a:lnTo>
                    <a:lnTo>
                      <a:pt x="905" y="323"/>
                    </a:lnTo>
                    <a:lnTo>
                      <a:pt x="905" y="325"/>
                    </a:lnTo>
                    <a:lnTo>
                      <a:pt x="903" y="325"/>
                    </a:lnTo>
                    <a:lnTo>
                      <a:pt x="901" y="325"/>
                    </a:lnTo>
                    <a:lnTo>
                      <a:pt x="901" y="327"/>
                    </a:lnTo>
                    <a:lnTo>
                      <a:pt x="899" y="327"/>
                    </a:lnTo>
                    <a:lnTo>
                      <a:pt x="899" y="329"/>
                    </a:lnTo>
                    <a:lnTo>
                      <a:pt x="897" y="329"/>
                    </a:lnTo>
                    <a:lnTo>
                      <a:pt x="897" y="331"/>
                    </a:lnTo>
                    <a:lnTo>
                      <a:pt x="899" y="331"/>
                    </a:lnTo>
                    <a:lnTo>
                      <a:pt x="899" y="333"/>
                    </a:lnTo>
                    <a:lnTo>
                      <a:pt x="899" y="335"/>
                    </a:lnTo>
                    <a:lnTo>
                      <a:pt x="897" y="335"/>
                    </a:lnTo>
                    <a:lnTo>
                      <a:pt x="897" y="333"/>
                    </a:lnTo>
                    <a:lnTo>
                      <a:pt x="897" y="331"/>
                    </a:lnTo>
                    <a:lnTo>
                      <a:pt x="897" y="333"/>
                    </a:lnTo>
                    <a:lnTo>
                      <a:pt x="895" y="331"/>
                    </a:lnTo>
                    <a:lnTo>
                      <a:pt x="893" y="331"/>
                    </a:lnTo>
                    <a:lnTo>
                      <a:pt x="895" y="331"/>
                    </a:lnTo>
                    <a:lnTo>
                      <a:pt x="895" y="333"/>
                    </a:lnTo>
                    <a:lnTo>
                      <a:pt x="893" y="333"/>
                    </a:lnTo>
                    <a:lnTo>
                      <a:pt x="893" y="335"/>
                    </a:lnTo>
                    <a:lnTo>
                      <a:pt x="895" y="335"/>
                    </a:lnTo>
                    <a:lnTo>
                      <a:pt x="893" y="335"/>
                    </a:lnTo>
                    <a:lnTo>
                      <a:pt x="895" y="335"/>
                    </a:lnTo>
                    <a:lnTo>
                      <a:pt x="893" y="337"/>
                    </a:lnTo>
                    <a:lnTo>
                      <a:pt x="893" y="335"/>
                    </a:lnTo>
                    <a:lnTo>
                      <a:pt x="893" y="333"/>
                    </a:lnTo>
                    <a:lnTo>
                      <a:pt x="891" y="333"/>
                    </a:lnTo>
                    <a:lnTo>
                      <a:pt x="891" y="335"/>
                    </a:lnTo>
                    <a:lnTo>
                      <a:pt x="889" y="335"/>
                    </a:lnTo>
                    <a:lnTo>
                      <a:pt x="889" y="337"/>
                    </a:lnTo>
                    <a:lnTo>
                      <a:pt x="889" y="335"/>
                    </a:lnTo>
                    <a:lnTo>
                      <a:pt x="887" y="335"/>
                    </a:lnTo>
                    <a:lnTo>
                      <a:pt x="885" y="335"/>
                    </a:lnTo>
                    <a:lnTo>
                      <a:pt x="887" y="335"/>
                    </a:lnTo>
                    <a:lnTo>
                      <a:pt x="885" y="337"/>
                    </a:lnTo>
                    <a:lnTo>
                      <a:pt x="887" y="337"/>
                    </a:lnTo>
                    <a:lnTo>
                      <a:pt x="885" y="337"/>
                    </a:lnTo>
                    <a:lnTo>
                      <a:pt x="885" y="339"/>
                    </a:lnTo>
                    <a:lnTo>
                      <a:pt x="885" y="337"/>
                    </a:lnTo>
                    <a:lnTo>
                      <a:pt x="887" y="337"/>
                    </a:lnTo>
                    <a:lnTo>
                      <a:pt x="887" y="339"/>
                    </a:lnTo>
                    <a:lnTo>
                      <a:pt x="885" y="339"/>
                    </a:lnTo>
                    <a:lnTo>
                      <a:pt x="887" y="339"/>
                    </a:lnTo>
                    <a:lnTo>
                      <a:pt x="887" y="341"/>
                    </a:lnTo>
                    <a:lnTo>
                      <a:pt x="885" y="341"/>
                    </a:lnTo>
                    <a:lnTo>
                      <a:pt x="887" y="339"/>
                    </a:lnTo>
                    <a:lnTo>
                      <a:pt x="885" y="339"/>
                    </a:lnTo>
                    <a:lnTo>
                      <a:pt x="885" y="341"/>
                    </a:lnTo>
                    <a:lnTo>
                      <a:pt x="885" y="339"/>
                    </a:lnTo>
                    <a:lnTo>
                      <a:pt x="885" y="341"/>
                    </a:lnTo>
                    <a:lnTo>
                      <a:pt x="885" y="343"/>
                    </a:lnTo>
                    <a:lnTo>
                      <a:pt x="883" y="343"/>
                    </a:lnTo>
                    <a:lnTo>
                      <a:pt x="882" y="343"/>
                    </a:lnTo>
                    <a:lnTo>
                      <a:pt x="883" y="343"/>
                    </a:lnTo>
                    <a:lnTo>
                      <a:pt x="882" y="345"/>
                    </a:lnTo>
                    <a:lnTo>
                      <a:pt x="882" y="343"/>
                    </a:lnTo>
                    <a:lnTo>
                      <a:pt x="882" y="345"/>
                    </a:lnTo>
                    <a:lnTo>
                      <a:pt x="880" y="345"/>
                    </a:lnTo>
                    <a:lnTo>
                      <a:pt x="878" y="345"/>
                    </a:lnTo>
                    <a:lnTo>
                      <a:pt x="876" y="346"/>
                    </a:lnTo>
                    <a:lnTo>
                      <a:pt x="878" y="346"/>
                    </a:lnTo>
                    <a:lnTo>
                      <a:pt x="878" y="348"/>
                    </a:lnTo>
                    <a:lnTo>
                      <a:pt x="876" y="348"/>
                    </a:lnTo>
                    <a:lnTo>
                      <a:pt x="874" y="348"/>
                    </a:lnTo>
                    <a:lnTo>
                      <a:pt x="874" y="350"/>
                    </a:lnTo>
                    <a:lnTo>
                      <a:pt x="874" y="348"/>
                    </a:lnTo>
                    <a:lnTo>
                      <a:pt x="872" y="348"/>
                    </a:lnTo>
                    <a:lnTo>
                      <a:pt x="872" y="350"/>
                    </a:lnTo>
                    <a:lnTo>
                      <a:pt x="870" y="352"/>
                    </a:lnTo>
                    <a:lnTo>
                      <a:pt x="870" y="350"/>
                    </a:lnTo>
                    <a:lnTo>
                      <a:pt x="870" y="352"/>
                    </a:lnTo>
                    <a:lnTo>
                      <a:pt x="868" y="352"/>
                    </a:lnTo>
                    <a:lnTo>
                      <a:pt x="870" y="352"/>
                    </a:lnTo>
                    <a:lnTo>
                      <a:pt x="868" y="352"/>
                    </a:lnTo>
                    <a:lnTo>
                      <a:pt x="868" y="350"/>
                    </a:lnTo>
                    <a:lnTo>
                      <a:pt x="868" y="352"/>
                    </a:lnTo>
                    <a:lnTo>
                      <a:pt x="866" y="352"/>
                    </a:lnTo>
                    <a:lnTo>
                      <a:pt x="868" y="350"/>
                    </a:lnTo>
                    <a:lnTo>
                      <a:pt x="866" y="350"/>
                    </a:lnTo>
                    <a:lnTo>
                      <a:pt x="864" y="350"/>
                    </a:lnTo>
                    <a:lnTo>
                      <a:pt x="864" y="352"/>
                    </a:lnTo>
                    <a:lnTo>
                      <a:pt x="864" y="350"/>
                    </a:lnTo>
                    <a:lnTo>
                      <a:pt x="864" y="352"/>
                    </a:lnTo>
                    <a:lnTo>
                      <a:pt x="864" y="350"/>
                    </a:lnTo>
                    <a:lnTo>
                      <a:pt x="864" y="352"/>
                    </a:lnTo>
                    <a:lnTo>
                      <a:pt x="862" y="352"/>
                    </a:lnTo>
                    <a:lnTo>
                      <a:pt x="864" y="352"/>
                    </a:lnTo>
                    <a:lnTo>
                      <a:pt x="864" y="350"/>
                    </a:lnTo>
                    <a:lnTo>
                      <a:pt x="866" y="350"/>
                    </a:lnTo>
                    <a:lnTo>
                      <a:pt x="868" y="350"/>
                    </a:lnTo>
                    <a:lnTo>
                      <a:pt x="866" y="350"/>
                    </a:lnTo>
                    <a:lnTo>
                      <a:pt x="868" y="350"/>
                    </a:lnTo>
                    <a:lnTo>
                      <a:pt x="866" y="350"/>
                    </a:lnTo>
                    <a:lnTo>
                      <a:pt x="866" y="352"/>
                    </a:lnTo>
                    <a:lnTo>
                      <a:pt x="868" y="352"/>
                    </a:lnTo>
                    <a:lnTo>
                      <a:pt x="868" y="350"/>
                    </a:lnTo>
                    <a:lnTo>
                      <a:pt x="868" y="352"/>
                    </a:lnTo>
                    <a:lnTo>
                      <a:pt x="870" y="352"/>
                    </a:lnTo>
                    <a:lnTo>
                      <a:pt x="870" y="350"/>
                    </a:lnTo>
                    <a:lnTo>
                      <a:pt x="870" y="352"/>
                    </a:lnTo>
                    <a:lnTo>
                      <a:pt x="872" y="350"/>
                    </a:lnTo>
                    <a:lnTo>
                      <a:pt x="872" y="348"/>
                    </a:lnTo>
                    <a:lnTo>
                      <a:pt x="874" y="348"/>
                    </a:lnTo>
                    <a:lnTo>
                      <a:pt x="874" y="350"/>
                    </a:lnTo>
                    <a:lnTo>
                      <a:pt x="874" y="348"/>
                    </a:lnTo>
                    <a:lnTo>
                      <a:pt x="876" y="348"/>
                    </a:lnTo>
                    <a:lnTo>
                      <a:pt x="878" y="348"/>
                    </a:lnTo>
                    <a:lnTo>
                      <a:pt x="878" y="346"/>
                    </a:lnTo>
                    <a:lnTo>
                      <a:pt x="876" y="346"/>
                    </a:lnTo>
                    <a:lnTo>
                      <a:pt x="878" y="346"/>
                    </a:lnTo>
                    <a:lnTo>
                      <a:pt x="878" y="345"/>
                    </a:lnTo>
                    <a:lnTo>
                      <a:pt x="880" y="345"/>
                    </a:lnTo>
                    <a:lnTo>
                      <a:pt x="882" y="345"/>
                    </a:lnTo>
                    <a:lnTo>
                      <a:pt x="882" y="343"/>
                    </a:lnTo>
                    <a:lnTo>
                      <a:pt x="882" y="345"/>
                    </a:lnTo>
                    <a:lnTo>
                      <a:pt x="883" y="343"/>
                    </a:lnTo>
                    <a:lnTo>
                      <a:pt x="885" y="343"/>
                    </a:lnTo>
                    <a:lnTo>
                      <a:pt x="885" y="341"/>
                    </a:lnTo>
                    <a:lnTo>
                      <a:pt x="885" y="339"/>
                    </a:lnTo>
                    <a:lnTo>
                      <a:pt x="885" y="341"/>
                    </a:lnTo>
                    <a:lnTo>
                      <a:pt x="885" y="339"/>
                    </a:lnTo>
                    <a:lnTo>
                      <a:pt x="887" y="339"/>
                    </a:lnTo>
                    <a:lnTo>
                      <a:pt x="885" y="341"/>
                    </a:lnTo>
                    <a:lnTo>
                      <a:pt x="887" y="341"/>
                    </a:lnTo>
                    <a:lnTo>
                      <a:pt x="887" y="339"/>
                    </a:lnTo>
                    <a:lnTo>
                      <a:pt x="885" y="339"/>
                    </a:lnTo>
                    <a:lnTo>
                      <a:pt x="887" y="339"/>
                    </a:lnTo>
                    <a:lnTo>
                      <a:pt x="887" y="337"/>
                    </a:lnTo>
                    <a:lnTo>
                      <a:pt x="885" y="337"/>
                    </a:lnTo>
                    <a:lnTo>
                      <a:pt x="885" y="339"/>
                    </a:lnTo>
                    <a:lnTo>
                      <a:pt x="885" y="337"/>
                    </a:lnTo>
                    <a:lnTo>
                      <a:pt x="887" y="337"/>
                    </a:lnTo>
                    <a:lnTo>
                      <a:pt x="885" y="337"/>
                    </a:lnTo>
                    <a:lnTo>
                      <a:pt x="887" y="335"/>
                    </a:lnTo>
                    <a:lnTo>
                      <a:pt x="889" y="335"/>
                    </a:lnTo>
                    <a:lnTo>
                      <a:pt x="889" y="337"/>
                    </a:lnTo>
                    <a:lnTo>
                      <a:pt x="889" y="335"/>
                    </a:lnTo>
                    <a:lnTo>
                      <a:pt x="891" y="335"/>
                    </a:lnTo>
                    <a:lnTo>
                      <a:pt x="891" y="333"/>
                    </a:lnTo>
                    <a:lnTo>
                      <a:pt x="893" y="333"/>
                    </a:lnTo>
                    <a:lnTo>
                      <a:pt x="893" y="335"/>
                    </a:lnTo>
                    <a:lnTo>
                      <a:pt x="893" y="337"/>
                    </a:lnTo>
                    <a:lnTo>
                      <a:pt x="895" y="337"/>
                    </a:lnTo>
                    <a:lnTo>
                      <a:pt x="895" y="335"/>
                    </a:lnTo>
                    <a:lnTo>
                      <a:pt x="893" y="335"/>
                    </a:lnTo>
                    <a:lnTo>
                      <a:pt x="893" y="333"/>
                    </a:lnTo>
                    <a:lnTo>
                      <a:pt x="895" y="333"/>
                    </a:lnTo>
                    <a:lnTo>
                      <a:pt x="895" y="331"/>
                    </a:lnTo>
                    <a:lnTo>
                      <a:pt x="893" y="331"/>
                    </a:lnTo>
                    <a:lnTo>
                      <a:pt x="895" y="331"/>
                    </a:lnTo>
                    <a:lnTo>
                      <a:pt x="895" y="333"/>
                    </a:lnTo>
                    <a:lnTo>
                      <a:pt x="897" y="333"/>
                    </a:lnTo>
                    <a:lnTo>
                      <a:pt x="897" y="331"/>
                    </a:lnTo>
                    <a:lnTo>
                      <a:pt x="897" y="333"/>
                    </a:lnTo>
                    <a:lnTo>
                      <a:pt x="897" y="335"/>
                    </a:lnTo>
                    <a:lnTo>
                      <a:pt x="899" y="335"/>
                    </a:lnTo>
                    <a:lnTo>
                      <a:pt x="899" y="333"/>
                    </a:lnTo>
                    <a:lnTo>
                      <a:pt x="899" y="331"/>
                    </a:lnTo>
                    <a:lnTo>
                      <a:pt x="897" y="331"/>
                    </a:lnTo>
                    <a:lnTo>
                      <a:pt x="897" y="329"/>
                    </a:lnTo>
                    <a:lnTo>
                      <a:pt x="899" y="329"/>
                    </a:lnTo>
                    <a:lnTo>
                      <a:pt x="899" y="327"/>
                    </a:lnTo>
                    <a:lnTo>
                      <a:pt x="901" y="327"/>
                    </a:lnTo>
                    <a:lnTo>
                      <a:pt x="901" y="329"/>
                    </a:lnTo>
                    <a:lnTo>
                      <a:pt x="901" y="327"/>
                    </a:lnTo>
                    <a:lnTo>
                      <a:pt x="903" y="327"/>
                    </a:lnTo>
                    <a:lnTo>
                      <a:pt x="903" y="329"/>
                    </a:lnTo>
                    <a:lnTo>
                      <a:pt x="901" y="329"/>
                    </a:lnTo>
                    <a:lnTo>
                      <a:pt x="901" y="327"/>
                    </a:lnTo>
                    <a:lnTo>
                      <a:pt x="901" y="329"/>
                    </a:lnTo>
                    <a:lnTo>
                      <a:pt x="903" y="329"/>
                    </a:lnTo>
                    <a:lnTo>
                      <a:pt x="903" y="327"/>
                    </a:lnTo>
                    <a:lnTo>
                      <a:pt x="901" y="327"/>
                    </a:lnTo>
                    <a:lnTo>
                      <a:pt x="901" y="325"/>
                    </a:lnTo>
                    <a:lnTo>
                      <a:pt x="903" y="325"/>
                    </a:lnTo>
                    <a:lnTo>
                      <a:pt x="905" y="325"/>
                    </a:lnTo>
                    <a:lnTo>
                      <a:pt x="905" y="323"/>
                    </a:lnTo>
                    <a:lnTo>
                      <a:pt x="903" y="323"/>
                    </a:lnTo>
                    <a:lnTo>
                      <a:pt x="905" y="323"/>
                    </a:lnTo>
                    <a:lnTo>
                      <a:pt x="905" y="321"/>
                    </a:lnTo>
                    <a:lnTo>
                      <a:pt x="903" y="321"/>
                    </a:lnTo>
                    <a:lnTo>
                      <a:pt x="905" y="321"/>
                    </a:lnTo>
                    <a:lnTo>
                      <a:pt x="905" y="320"/>
                    </a:lnTo>
                    <a:lnTo>
                      <a:pt x="903" y="320"/>
                    </a:lnTo>
                    <a:lnTo>
                      <a:pt x="905" y="320"/>
                    </a:lnTo>
                    <a:lnTo>
                      <a:pt x="905" y="318"/>
                    </a:lnTo>
                    <a:lnTo>
                      <a:pt x="905" y="316"/>
                    </a:lnTo>
                    <a:lnTo>
                      <a:pt x="905" y="318"/>
                    </a:lnTo>
                    <a:lnTo>
                      <a:pt x="906" y="318"/>
                    </a:lnTo>
                    <a:lnTo>
                      <a:pt x="908" y="318"/>
                    </a:lnTo>
                    <a:lnTo>
                      <a:pt x="908" y="316"/>
                    </a:lnTo>
                    <a:lnTo>
                      <a:pt x="908" y="318"/>
                    </a:lnTo>
                    <a:lnTo>
                      <a:pt x="910" y="318"/>
                    </a:lnTo>
                    <a:lnTo>
                      <a:pt x="910" y="316"/>
                    </a:lnTo>
                    <a:lnTo>
                      <a:pt x="912" y="316"/>
                    </a:lnTo>
                    <a:lnTo>
                      <a:pt x="912" y="318"/>
                    </a:lnTo>
                    <a:lnTo>
                      <a:pt x="914" y="318"/>
                    </a:lnTo>
                    <a:lnTo>
                      <a:pt x="914" y="316"/>
                    </a:lnTo>
                    <a:lnTo>
                      <a:pt x="914" y="318"/>
                    </a:lnTo>
                    <a:lnTo>
                      <a:pt x="916" y="318"/>
                    </a:lnTo>
                    <a:lnTo>
                      <a:pt x="916" y="320"/>
                    </a:lnTo>
                    <a:lnTo>
                      <a:pt x="916" y="318"/>
                    </a:lnTo>
                    <a:lnTo>
                      <a:pt x="918" y="318"/>
                    </a:lnTo>
                    <a:lnTo>
                      <a:pt x="918" y="316"/>
                    </a:lnTo>
                    <a:lnTo>
                      <a:pt x="918" y="318"/>
                    </a:lnTo>
                    <a:lnTo>
                      <a:pt x="918" y="320"/>
                    </a:lnTo>
                    <a:lnTo>
                      <a:pt x="918" y="318"/>
                    </a:lnTo>
                    <a:lnTo>
                      <a:pt x="920" y="318"/>
                    </a:lnTo>
                    <a:lnTo>
                      <a:pt x="920" y="320"/>
                    </a:lnTo>
                    <a:lnTo>
                      <a:pt x="922" y="318"/>
                    </a:lnTo>
                    <a:lnTo>
                      <a:pt x="922" y="320"/>
                    </a:lnTo>
                    <a:lnTo>
                      <a:pt x="922" y="318"/>
                    </a:lnTo>
                    <a:lnTo>
                      <a:pt x="922" y="320"/>
                    </a:lnTo>
                    <a:lnTo>
                      <a:pt x="924" y="320"/>
                    </a:lnTo>
                    <a:lnTo>
                      <a:pt x="926" y="320"/>
                    </a:lnTo>
                    <a:lnTo>
                      <a:pt x="926" y="318"/>
                    </a:lnTo>
                    <a:lnTo>
                      <a:pt x="926" y="320"/>
                    </a:lnTo>
                    <a:lnTo>
                      <a:pt x="928" y="320"/>
                    </a:lnTo>
                    <a:lnTo>
                      <a:pt x="930" y="320"/>
                    </a:lnTo>
                    <a:lnTo>
                      <a:pt x="930" y="321"/>
                    </a:lnTo>
                    <a:lnTo>
                      <a:pt x="928" y="321"/>
                    </a:lnTo>
                    <a:lnTo>
                      <a:pt x="930" y="321"/>
                    </a:lnTo>
                    <a:lnTo>
                      <a:pt x="930" y="320"/>
                    </a:lnTo>
                    <a:lnTo>
                      <a:pt x="931" y="320"/>
                    </a:lnTo>
                    <a:lnTo>
                      <a:pt x="931" y="321"/>
                    </a:lnTo>
                    <a:lnTo>
                      <a:pt x="933" y="321"/>
                    </a:lnTo>
                    <a:lnTo>
                      <a:pt x="933" y="320"/>
                    </a:lnTo>
                    <a:lnTo>
                      <a:pt x="935" y="320"/>
                    </a:lnTo>
                    <a:lnTo>
                      <a:pt x="937" y="321"/>
                    </a:lnTo>
                    <a:lnTo>
                      <a:pt x="937" y="323"/>
                    </a:lnTo>
                    <a:lnTo>
                      <a:pt x="935" y="323"/>
                    </a:lnTo>
                    <a:lnTo>
                      <a:pt x="933" y="323"/>
                    </a:lnTo>
                    <a:lnTo>
                      <a:pt x="935" y="323"/>
                    </a:lnTo>
                    <a:lnTo>
                      <a:pt x="933" y="323"/>
                    </a:lnTo>
                    <a:lnTo>
                      <a:pt x="931" y="323"/>
                    </a:lnTo>
                    <a:lnTo>
                      <a:pt x="931" y="325"/>
                    </a:lnTo>
                    <a:lnTo>
                      <a:pt x="931" y="327"/>
                    </a:lnTo>
                    <a:lnTo>
                      <a:pt x="933" y="325"/>
                    </a:lnTo>
                    <a:lnTo>
                      <a:pt x="935" y="325"/>
                    </a:lnTo>
                    <a:lnTo>
                      <a:pt x="933" y="325"/>
                    </a:lnTo>
                    <a:lnTo>
                      <a:pt x="935" y="325"/>
                    </a:lnTo>
                    <a:lnTo>
                      <a:pt x="935" y="327"/>
                    </a:lnTo>
                    <a:lnTo>
                      <a:pt x="933" y="327"/>
                    </a:lnTo>
                    <a:lnTo>
                      <a:pt x="931" y="327"/>
                    </a:lnTo>
                    <a:lnTo>
                      <a:pt x="930" y="329"/>
                    </a:lnTo>
                    <a:lnTo>
                      <a:pt x="930" y="331"/>
                    </a:lnTo>
                    <a:lnTo>
                      <a:pt x="931" y="331"/>
                    </a:lnTo>
                    <a:lnTo>
                      <a:pt x="933" y="331"/>
                    </a:lnTo>
                    <a:lnTo>
                      <a:pt x="933" y="333"/>
                    </a:lnTo>
                    <a:lnTo>
                      <a:pt x="931" y="333"/>
                    </a:lnTo>
                    <a:lnTo>
                      <a:pt x="930" y="335"/>
                    </a:lnTo>
                    <a:lnTo>
                      <a:pt x="928" y="335"/>
                    </a:lnTo>
                    <a:lnTo>
                      <a:pt x="926" y="335"/>
                    </a:lnTo>
                    <a:lnTo>
                      <a:pt x="926" y="337"/>
                    </a:lnTo>
                    <a:lnTo>
                      <a:pt x="926" y="339"/>
                    </a:lnTo>
                    <a:lnTo>
                      <a:pt x="928" y="339"/>
                    </a:lnTo>
                    <a:lnTo>
                      <a:pt x="928" y="341"/>
                    </a:lnTo>
                    <a:lnTo>
                      <a:pt x="926" y="341"/>
                    </a:lnTo>
                    <a:lnTo>
                      <a:pt x="926" y="343"/>
                    </a:lnTo>
                    <a:lnTo>
                      <a:pt x="926" y="345"/>
                    </a:lnTo>
                    <a:lnTo>
                      <a:pt x="924" y="346"/>
                    </a:lnTo>
                    <a:lnTo>
                      <a:pt x="924" y="348"/>
                    </a:lnTo>
                    <a:lnTo>
                      <a:pt x="926" y="348"/>
                    </a:lnTo>
                    <a:lnTo>
                      <a:pt x="926" y="346"/>
                    </a:lnTo>
                    <a:lnTo>
                      <a:pt x="928" y="346"/>
                    </a:lnTo>
                    <a:lnTo>
                      <a:pt x="928" y="348"/>
                    </a:lnTo>
                    <a:lnTo>
                      <a:pt x="928" y="346"/>
                    </a:lnTo>
                    <a:lnTo>
                      <a:pt x="930" y="348"/>
                    </a:lnTo>
                    <a:lnTo>
                      <a:pt x="930" y="350"/>
                    </a:lnTo>
                    <a:lnTo>
                      <a:pt x="928" y="350"/>
                    </a:lnTo>
                    <a:lnTo>
                      <a:pt x="926" y="350"/>
                    </a:lnTo>
                    <a:lnTo>
                      <a:pt x="924" y="350"/>
                    </a:lnTo>
                    <a:lnTo>
                      <a:pt x="924" y="352"/>
                    </a:lnTo>
                    <a:lnTo>
                      <a:pt x="926" y="352"/>
                    </a:lnTo>
                    <a:lnTo>
                      <a:pt x="928" y="352"/>
                    </a:lnTo>
                    <a:lnTo>
                      <a:pt x="928" y="354"/>
                    </a:lnTo>
                    <a:lnTo>
                      <a:pt x="928" y="352"/>
                    </a:lnTo>
                    <a:lnTo>
                      <a:pt x="930" y="352"/>
                    </a:lnTo>
                    <a:lnTo>
                      <a:pt x="930" y="354"/>
                    </a:lnTo>
                    <a:lnTo>
                      <a:pt x="928" y="354"/>
                    </a:lnTo>
                    <a:lnTo>
                      <a:pt x="930" y="354"/>
                    </a:lnTo>
                    <a:lnTo>
                      <a:pt x="930" y="356"/>
                    </a:lnTo>
                    <a:lnTo>
                      <a:pt x="930" y="358"/>
                    </a:lnTo>
                    <a:lnTo>
                      <a:pt x="928" y="358"/>
                    </a:lnTo>
                    <a:lnTo>
                      <a:pt x="928" y="360"/>
                    </a:lnTo>
                    <a:lnTo>
                      <a:pt x="926" y="360"/>
                    </a:lnTo>
                    <a:lnTo>
                      <a:pt x="928" y="358"/>
                    </a:lnTo>
                    <a:lnTo>
                      <a:pt x="926" y="358"/>
                    </a:lnTo>
                    <a:lnTo>
                      <a:pt x="924" y="358"/>
                    </a:lnTo>
                    <a:lnTo>
                      <a:pt x="924" y="360"/>
                    </a:lnTo>
                    <a:lnTo>
                      <a:pt x="924" y="362"/>
                    </a:lnTo>
                    <a:lnTo>
                      <a:pt x="922" y="362"/>
                    </a:lnTo>
                    <a:lnTo>
                      <a:pt x="922" y="360"/>
                    </a:lnTo>
                    <a:lnTo>
                      <a:pt x="922" y="362"/>
                    </a:lnTo>
                    <a:lnTo>
                      <a:pt x="922" y="360"/>
                    </a:lnTo>
                    <a:lnTo>
                      <a:pt x="922" y="358"/>
                    </a:lnTo>
                    <a:lnTo>
                      <a:pt x="922" y="360"/>
                    </a:lnTo>
                    <a:lnTo>
                      <a:pt x="922" y="358"/>
                    </a:lnTo>
                    <a:lnTo>
                      <a:pt x="920" y="358"/>
                    </a:lnTo>
                    <a:lnTo>
                      <a:pt x="920" y="360"/>
                    </a:lnTo>
                    <a:lnTo>
                      <a:pt x="918" y="360"/>
                    </a:lnTo>
                    <a:lnTo>
                      <a:pt x="918" y="358"/>
                    </a:lnTo>
                    <a:lnTo>
                      <a:pt x="916" y="358"/>
                    </a:lnTo>
                    <a:lnTo>
                      <a:pt x="916" y="360"/>
                    </a:lnTo>
                    <a:lnTo>
                      <a:pt x="916" y="358"/>
                    </a:lnTo>
                    <a:lnTo>
                      <a:pt x="914" y="360"/>
                    </a:lnTo>
                    <a:lnTo>
                      <a:pt x="914" y="358"/>
                    </a:lnTo>
                    <a:lnTo>
                      <a:pt x="916" y="358"/>
                    </a:lnTo>
                    <a:lnTo>
                      <a:pt x="914" y="358"/>
                    </a:lnTo>
                    <a:lnTo>
                      <a:pt x="916" y="358"/>
                    </a:lnTo>
                    <a:lnTo>
                      <a:pt x="916" y="356"/>
                    </a:lnTo>
                    <a:lnTo>
                      <a:pt x="914" y="358"/>
                    </a:lnTo>
                    <a:lnTo>
                      <a:pt x="914" y="360"/>
                    </a:lnTo>
                    <a:lnTo>
                      <a:pt x="912" y="360"/>
                    </a:lnTo>
                    <a:lnTo>
                      <a:pt x="910" y="360"/>
                    </a:lnTo>
                    <a:lnTo>
                      <a:pt x="912" y="362"/>
                    </a:lnTo>
                    <a:lnTo>
                      <a:pt x="910" y="362"/>
                    </a:lnTo>
                    <a:lnTo>
                      <a:pt x="910" y="364"/>
                    </a:lnTo>
                    <a:lnTo>
                      <a:pt x="910" y="366"/>
                    </a:lnTo>
                    <a:lnTo>
                      <a:pt x="908" y="366"/>
                    </a:lnTo>
                    <a:lnTo>
                      <a:pt x="908" y="364"/>
                    </a:lnTo>
                    <a:lnTo>
                      <a:pt x="910" y="364"/>
                    </a:lnTo>
                    <a:lnTo>
                      <a:pt x="908" y="364"/>
                    </a:lnTo>
                    <a:lnTo>
                      <a:pt x="906" y="366"/>
                    </a:lnTo>
                    <a:lnTo>
                      <a:pt x="905" y="366"/>
                    </a:lnTo>
                    <a:lnTo>
                      <a:pt x="903" y="366"/>
                    </a:lnTo>
                    <a:lnTo>
                      <a:pt x="903" y="368"/>
                    </a:lnTo>
                    <a:lnTo>
                      <a:pt x="901" y="368"/>
                    </a:lnTo>
                    <a:lnTo>
                      <a:pt x="901" y="370"/>
                    </a:lnTo>
                    <a:lnTo>
                      <a:pt x="899" y="370"/>
                    </a:lnTo>
                    <a:lnTo>
                      <a:pt x="899" y="368"/>
                    </a:lnTo>
                    <a:lnTo>
                      <a:pt x="899" y="370"/>
                    </a:lnTo>
                    <a:lnTo>
                      <a:pt x="897" y="368"/>
                    </a:lnTo>
                    <a:lnTo>
                      <a:pt x="897" y="370"/>
                    </a:lnTo>
                    <a:lnTo>
                      <a:pt x="895" y="370"/>
                    </a:lnTo>
                    <a:lnTo>
                      <a:pt x="895" y="371"/>
                    </a:lnTo>
                    <a:lnTo>
                      <a:pt x="895" y="370"/>
                    </a:lnTo>
                    <a:lnTo>
                      <a:pt x="893" y="370"/>
                    </a:lnTo>
                    <a:lnTo>
                      <a:pt x="891" y="370"/>
                    </a:lnTo>
                    <a:lnTo>
                      <a:pt x="891" y="371"/>
                    </a:lnTo>
                    <a:lnTo>
                      <a:pt x="891" y="370"/>
                    </a:lnTo>
                    <a:lnTo>
                      <a:pt x="889" y="370"/>
                    </a:lnTo>
                    <a:lnTo>
                      <a:pt x="887" y="370"/>
                    </a:lnTo>
                    <a:lnTo>
                      <a:pt x="887" y="371"/>
                    </a:lnTo>
                    <a:lnTo>
                      <a:pt x="887" y="370"/>
                    </a:lnTo>
                    <a:lnTo>
                      <a:pt x="887" y="371"/>
                    </a:lnTo>
                    <a:lnTo>
                      <a:pt x="887" y="373"/>
                    </a:lnTo>
                    <a:lnTo>
                      <a:pt x="885" y="373"/>
                    </a:lnTo>
                    <a:lnTo>
                      <a:pt x="887" y="373"/>
                    </a:lnTo>
                    <a:lnTo>
                      <a:pt x="885" y="373"/>
                    </a:lnTo>
                    <a:lnTo>
                      <a:pt x="883" y="373"/>
                    </a:lnTo>
                    <a:lnTo>
                      <a:pt x="883" y="371"/>
                    </a:lnTo>
                    <a:lnTo>
                      <a:pt x="882" y="371"/>
                    </a:lnTo>
                    <a:lnTo>
                      <a:pt x="883" y="371"/>
                    </a:lnTo>
                    <a:lnTo>
                      <a:pt x="883" y="373"/>
                    </a:lnTo>
                    <a:lnTo>
                      <a:pt x="882" y="373"/>
                    </a:lnTo>
                    <a:lnTo>
                      <a:pt x="880" y="373"/>
                    </a:lnTo>
                    <a:lnTo>
                      <a:pt x="880" y="375"/>
                    </a:lnTo>
                    <a:lnTo>
                      <a:pt x="880" y="373"/>
                    </a:lnTo>
                    <a:lnTo>
                      <a:pt x="882" y="373"/>
                    </a:lnTo>
                    <a:lnTo>
                      <a:pt x="883" y="373"/>
                    </a:lnTo>
                    <a:lnTo>
                      <a:pt x="883" y="371"/>
                    </a:lnTo>
                    <a:lnTo>
                      <a:pt x="883" y="373"/>
                    </a:lnTo>
                    <a:lnTo>
                      <a:pt x="885" y="373"/>
                    </a:lnTo>
                    <a:lnTo>
                      <a:pt x="887" y="373"/>
                    </a:lnTo>
                    <a:lnTo>
                      <a:pt x="887" y="371"/>
                    </a:lnTo>
                    <a:lnTo>
                      <a:pt x="887" y="370"/>
                    </a:lnTo>
                    <a:lnTo>
                      <a:pt x="889" y="370"/>
                    </a:lnTo>
                    <a:lnTo>
                      <a:pt x="891" y="370"/>
                    </a:lnTo>
                    <a:lnTo>
                      <a:pt x="889" y="371"/>
                    </a:lnTo>
                    <a:lnTo>
                      <a:pt x="891" y="371"/>
                    </a:lnTo>
                    <a:lnTo>
                      <a:pt x="891" y="370"/>
                    </a:lnTo>
                    <a:lnTo>
                      <a:pt x="893" y="370"/>
                    </a:lnTo>
                    <a:lnTo>
                      <a:pt x="895" y="371"/>
                    </a:lnTo>
                    <a:lnTo>
                      <a:pt x="895" y="370"/>
                    </a:lnTo>
                    <a:lnTo>
                      <a:pt x="897" y="370"/>
                    </a:lnTo>
                    <a:lnTo>
                      <a:pt x="897" y="368"/>
                    </a:lnTo>
                    <a:lnTo>
                      <a:pt x="897" y="370"/>
                    </a:lnTo>
                    <a:lnTo>
                      <a:pt x="899" y="370"/>
                    </a:lnTo>
                    <a:lnTo>
                      <a:pt x="899" y="368"/>
                    </a:lnTo>
                    <a:lnTo>
                      <a:pt x="899" y="370"/>
                    </a:lnTo>
                    <a:lnTo>
                      <a:pt x="901" y="370"/>
                    </a:lnTo>
                    <a:lnTo>
                      <a:pt x="901" y="368"/>
                    </a:lnTo>
                    <a:lnTo>
                      <a:pt x="903" y="368"/>
                    </a:lnTo>
                    <a:lnTo>
                      <a:pt x="903" y="366"/>
                    </a:lnTo>
                    <a:lnTo>
                      <a:pt x="905" y="366"/>
                    </a:lnTo>
                    <a:lnTo>
                      <a:pt x="906" y="366"/>
                    </a:lnTo>
                    <a:lnTo>
                      <a:pt x="908" y="366"/>
                    </a:lnTo>
                    <a:lnTo>
                      <a:pt x="908" y="364"/>
                    </a:lnTo>
                    <a:lnTo>
                      <a:pt x="908" y="366"/>
                    </a:lnTo>
                    <a:lnTo>
                      <a:pt x="908" y="364"/>
                    </a:lnTo>
                    <a:lnTo>
                      <a:pt x="908" y="366"/>
                    </a:lnTo>
                    <a:lnTo>
                      <a:pt x="910" y="366"/>
                    </a:lnTo>
                    <a:lnTo>
                      <a:pt x="910" y="364"/>
                    </a:lnTo>
                    <a:lnTo>
                      <a:pt x="910" y="362"/>
                    </a:lnTo>
                    <a:lnTo>
                      <a:pt x="910" y="364"/>
                    </a:lnTo>
                    <a:lnTo>
                      <a:pt x="910" y="362"/>
                    </a:lnTo>
                    <a:lnTo>
                      <a:pt x="912" y="364"/>
                    </a:lnTo>
                    <a:lnTo>
                      <a:pt x="912" y="362"/>
                    </a:lnTo>
                    <a:lnTo>
                      <a:pt x="912" y="360"/>
                    </a:lnTo>
                    <a:lnTo>
                      <a:pt x="910" y="360"/>
                    </a:lnTo>
                    <a:lnTo>
                      <a:pt x="912" y="360"/>
                    </a:lnTo>
                    <a:lnTo>
                      <a:pt x="912" y="362"/>
                    </a:lnTo>
                    <a:lnTo>
                      <a:pt x="912" y="360"/>
                    </a:lnTo>
                    <a:lnTo>
                      <a:pt x="914" y="360"/>
                    </a:lnTo>
                    <a:lnTo>
                      <a:pt x="914" y="358"/>
                    </a:lnTo>
                    <a:lnTo>
                      <a:pt x="916" y="358"/>
                    </a:lnTo>
                    <a:lnTo>
                      <a:pt x="914" y="358"/>
                    </a:lnTo>
                    <a:lnTo>
                      <a:pt x="914" y="360"/>
                    </a:lnTo>
                    <a:lnTo>
                      <a:pt x="916" y="358"/>
                    </a:lnTo>
                    <a:lnTo>
                      <a:pt x="916" y="360"/>
                    </a:lnTo>
                    <a:lnTo>
                      <a:pt x="916" y="358"/>
                    </a:lnTo>
                    <a:lnTo>
                      <a:pt x="918" y="360"/>
                    </a:lnTo>
                    <a:lnTo>
                      <a:pt x="920" y="360"/>
                    </a:lnTo>
                    <a:lnTo>
                      <a:pt x="920" y="358"/>
                    </a:lnTo>
                    <a:lnTo>
                      <a:pt x="922" y="358"/>
                    </a:lnTo>
                    <a:lnTo>
                      <a:pt x="922" y="360"/>
                    </a:lnTo>
                    <a:lnTo>
                      <a:pt x="920" y="360"/>
                    </a:lnTo>
                    <a:lnTo>
                      <a:pt x="920" y="362"/>
                    </a:lnTo>
                    <a:lnTo>
                      <a:pt x="922" y="362"/>
                    </a:lnTo>
                    <a:lnTo>
                      <a:pt x="922" y="360"/>
                    </a:lnTo>
                    <a:lnTo>
                      <a:pt x="922" y="362"/>
                    </a:lnTo>
                    <a:lnTo>
                      <a:pt x="924" y="362"/>
                    </a:lnTo>
                    <a:lnTo>
                      <a:pt x="924" y="360"/>
                    </a:lnTo>
                    <a:lnTo>
                      <a:pt x="926" y="360"/>
                    </a:lnTo>
                    <a:lnTo>
                      <a:pt x="924" y="360"/>
                    </a:lnTo>
                    <a:lnTo>
                      <a:pt x="926" y="360"/>
                    </a:lnTo>
                    <a:lnTo>
                      <a:pt x="924" y="360"/>
                    </a:lnTo>
                    <a:lnTo>
                      <a:pt x="924" y="358"/>
                    </a:lnTo>
                    <a:lnTo>
                      <a:pt x="926" y="358"/>
                    </a:lnTo>
                    <a:lnTo>
                      <a:pt x="926" y="360"/>
                    </a:lnTo>
                    <a:lnTo>
                      <a:pt x="926" y="362"/>
                    </a:lnTo>
                    <a:lnTo>
                      <a:pt x="924" y="362"/>
                    </a:lnTo>
                    <a:lnTo>
                      <a:pt x="924" y="364"/>
                    </a:lnTo>
                    <a:lnTo>
                      <a:pt x="924" y="366"/>
                    </a:lnTo>
                    <a:lnTo>
                      <a:pt x="922" y="366"/>
                    </a:lnTo>
                    <a:lnTo>
                      <a:pt x="920" y="366"/>
                    </a:lnTo>
                    <a:lnTo>
                      <a:pt x="918" y="368"/>
                    </a:lnTo>
                    <a:lnTo>
                      <a:pt x="920" y="368"/>
                    </a:lnTo>
                    <a:lnTo>
                      <a:pt x="918" y="368"/>
                    </a:lnTo>
                    <a:lnTo>
                      <a:pt x="920" y="370"/>
                    </a:lnTo>
                    <a:lnTo>
                      <a:pt x="920" y="368"/>
                    </a:lnTo>
                    <a:lnTo>
                      <a:pt x="922" y="368"/>
                    </a:lnTo>
                    <a:lnTo>
                      <a:pt x="922" y="370"/>
                    </a:lnTo>
                    <a:lnTo>
                      <a:pt x="920" y="370"/>
                    </a:lnTo>
                    <a:lnTo>
                      <a:pt x="922" y="370"/>
                    </a:lnTo>
                    <a:lnTo>
                      <a:pt x="922" y="371"/>
                    </a:lnTo>
                    <a:lnTo>
                      <a:pt x="924" y="371"/>
                    </a:lnTo>
                    <a:lnTo>
                      <a:pt x="924" y="370"/>
                    </a:lnTo>
                    <a:lnTo>
                      <a:pt x="926" y="370"/>
                    </a:lnTo>
                    <a:lnTo>
                      <a:pt x="928" y="370"/>
                    </a:lnTo>
                    <a:lnTo>
                      <a:pt x="928" y="371"/>
                    </a:lnTo>
                    <a:lnTo>
                      <a:pt x="930" y="371"/>
                    </a:lnTo>
                    <a:lnTo>
                      <a:pt x="930" y="373"/>
                    </a:lnTo>
                    <a:lnTo>
                      <a:pt x="928" y="373"/>
                    </a:lnTo>
                    <a:lnTo>
                      <a:pt x="928" y="375"/>
                    </a:lnTo>
                    <a:lnTo>
                      <a:pt x="926" y="375"/>
                    </a:lnTo>
                    <a:lnTo>
                      <a:pt x="926" y="377"/>
                    </a:lnTo>
                    <a:lnTo>
                      <a:pt x="924" y="377"/>
                    </a:lnTo>
                    <a:lnTo>
                      <a:pt x="924" y="375"/>
                    </a:lnTo>
                    <a:lnTo>
                      <a:pt x="922" y="375"/>
                    </a:lnTo>
                    <a:lnTo>
                      <a:pt x="924" y="375"/>
                    </a:lnTo>
                    <a:lnTo>
                      <a:pt x="922" y="375"/>
                    </a:lnTo>
                    <a:lnTo>
                      <a:pt x="924" y="375"/>
                    </a:lnTo>
                    <a:lnTo>
                      <a:pt x="924" y="377"/>
                    </a:lnTo>
                    <a:lnTo>
                      <a:pt x="922" y="377"/>
                    </a:lnTo>
                    <a:lnTo>
                      <a:pt x="922" y="375"/>
                    </a:lnTo>
                    <a:lnTo>
                      <a:pt x="922" y="377"/>
                    </a:lnTo>
                    <a:lnTo>
                      <a:pt x="922" y="375"/>
                    </a:lnTo>
                    <a:lnTo>
                      <a:pt x="922" y="377"/>
                    </a:lnTo>
                    <a:lnTo>
                      <a:pt x="920" y="377"/>
                    </a:lnTo>
                    <a:lnTo>
                      <a:pt x="920" y="379"/>
                    </a:lnTo>
                    <a:lnTo>
                      <a:pt x="918" y="379"/>
                    </a:lnTo>
                    <a:lnTo>
                      <a:pt x="918" y="381"/>
                    </a:lnTo>
                    <a:lnTo>
                      <a:pt x="918" y="379"/>
                    </a:lnTo>
                    <a:lnTo>
                      <a:pt x="918" y="381"/>
                    </a:lnTo>
                    <a:lnTo>
                      <a:pt x="918" y="379"/>
                    </a:lnTo>
                    <a:lnTo>
                      <a:pt x="918" y="381"/>
                    </a:lnTo>
                    <a:lnTo>
                      <a:pt x="916" y="381"/>
                    </a:lnTo>
                    <a:lnTo>
                      <a:pt x="914" y="381"/>
                    </a:lnTo>
                    <a:lnTo>
                      <a:pt x="916" y="381"/>
                    </a:lnTo>
                    <a:lnTo>
                      <a:pt x="914" y="383"/>
                    </a:lnTo>
                    <a:lnTo>
                      <a:pt x="916" y="383"/>
                    </a:lnTo>
                    <a:lnTo>
                      <a:pt x="914" y="383"/>
                    </a:lnTo>
                    <a:lnTo>
                      <a:pt x="912" y="383"/>
                    </a:lnTo>
                    <a:lnTo>
                      <a:pt x="912" y="385"/>
                    </a:lnTo>
                    <a:lnTo>
                      <a:pt x="914" y="385"/>
                    </a:lnTo>
                    <a:lnTo>
                      <a:pt x="912" y="385"/>
                    </a:lnTo>
                    <a:lnTo>
                      <a:pt x="910" y="385"/>
                    </a:lnTo>
                    <a:lnTo>
                      <a:pt x="910" y="387"/>
                    </a:lnTo>
                    <a:lnTo>
                      <a:pt x="908" y="387"/>
                    </a:lnTo>
                    <a:lnTo>
                      <a:pt x="908" y="385"/>
                    </a:lnTo>
                    <a:lnTo>
                      <a:pt x="906" y="385"/>
                    </a:lnTo>
                    <a:lnTo>
                      <a:pt x="908" y="387"/>
                    </a:lnTo>
                    <a:lnTo>
                      <a:pt x="906" y="387"/>
                    </a:lnTo>
                    <a:lnTo>
                      <a:pt x="905" y="387"/>
                    </a:lnTo>
                    <a:lnTo>
                      <a:pt x="906" y="387"/>
                    </a:lnTo>
                    <a:lnTo>
                      <a:pt x="905" y="387"/>
                    </a:lnTo>
                    <a:lnTo>
                      <a:pt x="906" y="387"/>
                    </a:lnTo>
                    <a:lnTo>
                      <a:pt x="905" y="387"/>
                    </a:lnTo>
                    <a:lnTo>
                      <a:pt x="903" y="387"/>
                    </a:lnTo>
                    <a:lnTo>
                      <a:pt x="901" y="389"/>
                    </a:lnTo>
                    <a:lnTo>
                      <a:pt x="901" y="391"/>
                    </a:lnTo>
                    <a:lnTo>
                      <a:pt x="899" y="391"/>
                    </a:lnTo>
                    <a:lnTo>
                      <a:pt x="901" y="391"/>
                    </a:lnTo>
                    <a:lnTo>
                      <a:pt x="899" y="391"/>
                    </a:lnTo>
                    <a:lnTo>
                      <a:pt x="899" y="393"/>
                    </a:lnTo>
                    <a:lnTo>
                      <a:pt x="897" y="393"/>
                    </a:lnTo>
                    <a:lnTo>
                      <a:pt x="897" y="395"/>
                    </a:lnTo>
                    <a:lnTo>
                      <a:pt x="895" y="395"/>
                    </a:lnTo>
                    <a:lnTo>
                      <a:pt x="895" y="396"/>
                    </a:lnTo>
                    <a:lnTo>
                      <a:pt x="895" y="398"/>
                    </a:lnTo>
                    <a:lnTo>
                      <a:pt x="893" y="398"/>
                    </a:lnTo>
                    <a:lnTo>
                      <a:pt x="895" y="398"/>
                    </a:lnTo>
                    <a:lnTo>
                      <a:pt x="893" y="398"/>
                    </a:lnTo>
                    <a:lnTo>
                      <a:pt x="895" y="400"/>
                    </a:lnTo>
                    <a:lnTo>
                      <a:pt x="893" y="400"/>
                    </a:lnTo>
                    <a:lnTo>
                      <a:pt x="893" y="402"/>
                    </a:lnTo>
                    <a:lnTo>
                      <a:pt x="891" y="402"/>
                    </a:lnTo>
                    <a:lnTo>
                      <a:pt x="891" y="404"/>
                    </a:lnTo>
                    <a:lnTo>
                      <a:pt x="891" y="406"/>
                    </a:lnTo>
                    <a:lnTo>
                      <a:pt x="891" y="408"/>
                    </a:lnTo>
                    <a:lnTo>
                      <a:pt x="889" y="408"/>
                    </a:lnTo>
                    <a:lnTo>
                      <a:pt x="887" y="408"/>
                    </a:lnTo>
                    <a:lnTo>
                      <a:pt x="885" y="410"/>
                    </a:lnTo>
                    <a:lnTo>
                      <a:pt x="887" y="410"/>
                    </a:lnTo>
                    <a:lnTo>
                      <a:pt x="889" y="410"/>
                    </a:lnTo>
                    <a:lnTo>
                      <a:pt x="889" y="412"/>
                    </a:lnTo>
                    <a:lnTo>
                      <a:pt x="891" y="412"/>
                    </a:lnTo>
                    <a:lnTo>
                      <a:pt x="891" y="414"/>
                    </a:lnTo>
                    <a:lnTo>
                      <a:pt x="889" y="414"/>
                    </a:lnTo>
                    <a:lnTo>
                      <a:pt x="887" y="414"/>
                    </a:lnTo>
                    <a:lnTo>
                      <a:pt x="887" y="416"/>
                    </a:lnTo>
                    <a:lnTo>
                      <a:pt x="889" y="416"/>
                    </a:lnTo>
                    <a:lnTo>
                      <a:pt x="889" y="418"/>
                    </a:lnTo>
                    <a:lnTo>
                      <a:pt x="887" y="416"/>
                    </a:lnTo>
                    <a:lnTo>
                      <a:pt x="889" y="418"/>
                    </a:lnTo>
                    <a:lnTo>
                      <a:pt x="889" y="416"/>
                    </a:lnTo>
                    <a:lnTo>
                      <a:pt x="891" y="416"/>
                    </a:lnTo>
                    <a:lnTo>
                      <a:pt x="891" y="414"/>
                    </a:lnTo>
                    <a:lnTo>
                      <a:pt x="891" y="416"/>
                    </a:lnTo>
                    <a:lnTo>
                      <a:pt x="891" y="418"/>
                    </a:lnTo>
                    <a:lnTo>
                      <a:pt x="891" y="420"/>
                    </a:lnTo>
                    <a:lnTo>
                      <a:pt x="891" y="418"/>
                    </a:lnTo>
                    <a:lnTo>
                      <a:pt x="893" y="420"/>
                    </a:lnTo>
                    <a:lnTo>
                      <a:pt x="891" y="420"/>
                    </a:lnTo>
                    <a:lnTo>
                      <a:pt x="891" y="421"/>
                    </a:lnTo>
                    <a:lnTo>
                      <a:pt x="893" y="421"/>
                    </a:lnTo>
                    <a:lnTo>
                      <a:pt x="893" y="423"/>
                    </a:lnTo>
                    <a:lnTo>
                      <a:pt x="895" y="423"/>
                    </a:lnTo>
                    <a:lnTo>
                      <a:pt x="895" y="425"/>
                    </a:lnTo>
                    <a:lnTo>
                      <a:pt x="895" y="423"/>
                    </a:lnTo>
                    <a:lnTo>
                      <a:pt x="897" y="423"/>
                    </a:lnTo>
                    <a:lnTo>
                      <a:pt x="895" y="423"/>
                    </a:lnTo>
                    <a:lnTo>
                      <a:pt x="897" y="423"/>
                    </a:lnTo>
                    <a:lnTo>
                      <a:pt x="897" y="425"/>
                    </a:lnTo>
                    <a:lnTo>
                      <a:pt x="895" y="425"/>
                    </a:lnTo>
                    <a:lnTo>
                      <a:pt x="897" y="425"/>
                    </a:lnTo>
                    <a:lnTo>
                      <a:pt x="897" y="427"/>
                    </a:lnTo>
                    <a:lnTo>
                      <a:pt x="897" y="429"/>
                    </a:lnTo>
                    <a:lnTo>
                      <a:pt x="899" y="429"/>
                    </a:lnTo>
                    <a:lnTo>
                      <a:pt x="899" y="431"/>
                    </a:lnTo>
                    <a:lnTo>
                      <a:pt x="901" y="433"/>
                    </a:lnTo>
                    <a:lnTo>
                      <a:pt x="903" y="433"/>
                    </a:lnTo>
                    <a:lnTo>
                      <a:pt x="903" y="435"/>
                    </a:lnTo>
                    <a:lnTo>
                      <a:pt x="903" y="437"/>
                    </a:lnTo>
                    <a:lnTo>
                      <a:pt x="905" y="437"/>
                    </a:lnTo>
                    <a:lnTo>
                      <a:pt x="903" y="437"/>
                    </a:lnTo>
                    <a:lnTo>
                      <a:pt x="905" y="437"/>
                    </a:lnTo>
                    <a:lnTo>
                      <a:pt x="903" y="437"/>
                    </a:lnTo>
                    <a:lnTo>
                      <a:pt x="903" y="435"/>
                    </a:lnTo>
                    <a:lnTo>
                      <a:pt x="905" y="435"/>
                    </a:lnTo>
                    <a:lnTo>
                      <a:pt x="905" y="437"/>
                    </a:lnTo>
                    <a:lnTo>
                      <a:pt x="906" y="437"/>
                    </a:lnTo>
                    <a:lnTo>
                      <a:pt x="905" y="437"/>
                    </a:lnTo>
                    <a:lnTo>
                      <a:pt x="906" y="437"/>
                    </a:lnTo>
                    <a:lnTo>
                      <a:pt x="906" y="439"/>
                    </a:lnTo>
                    <a:lnTo>
                      <a:pt x="906" y="441"/>
                    </a:lnTo>
                    <a:lnTo>
                      <a:pt x="908" y="441"/>
                    </a:lnTo>
                    <a:lnTo>
                      <a:pt x="906" y="441"/>
                    </a:lnTo>
                    <a:lnTo>
                      <a:pt x="908" y="441"/>
                    </a:lnTo>
                    <a:lnTo>
                      <a:pt x="908" y="443"/>
                    </a:lnTo>
                    <a:lnTo>
                      <a:pt x="908" y="441"/>
                    </a:lnTo>
                    <a:lnTo>
                      <a:pt x="908" y="443"/>
                    </a:lnTo>
                    <a:lnTo>
                      <a:pt x="910" y="443"/>
                    </a:lnTo>
                    <a:lnTo>
                      <a:pt x="910" y="445"/>
                    </a:lnTo>
                    <a:lnTo>
                      <a:pt x="912" y="445"/>
                    </a:lnTo>
                    <a:lnTo>
                      <a:pt x="912" y="446"/>
                    </a:lnTo>
                    <a:lnTo>
                      <a:pt x="912" y="445"/>
                    </a:lnTo>
                    <a:lnTo>
                      <a:pt x="912" y="446"/>
                    </a:lnTo>
                    <a:lnTo>
                      <a:pt x="914" y="446"/>
                    </a:lnTo>
                    <a:lnTo>
                      <a:pt x="912" y="446"/>
                    </a:lnTo>
                    <a:lnTo>
                      <a:pt x="914" y="446"/>
                    </a:lnTo>
                    <a:lnTo>
                      <a:pt x="914" y="448"/>
                    </a:lnTo>
                    <a:lnTo>
                      <a:pt x="916" y="448"/>
                    </a:lnTo>
                    <a:lnTo>
                      <a:pt x="916" y="450"/>
                    </a:lnTo>
                    <a:lnTo>
                      <a:pt x="918" y="450"/>
                    </a:lnTo>
                    <a:lnTo>
                      <a:pt x="920" y="450"/>
                    </a:lnTo>
                    <a:lnTo>
                      <a:pt x="922" y="450"/>
                    </a:lnTo>
                    <a:lnTo>
                      <a:pt x="922" y="452"/>
                    </a:lnTo>
                    <a:lnTo>
                      <a:pt x="924" y="452"/>
                    </a:lnTo>
                    <a:lnTo>
                      <a:pt x="924" y="454"/>
                    </a:lnTo>
                    <a:lnTo>
                      <a:pt x="922" y="452"/>
                    </a:lnTo>
                    <a:lnTo>
                      <a:pt x="922" y="454"/>
                    </a:lnTo>
                    <a:lnTo>
                      <a:pt x="922" y="452"/>
                    </a:lnTo>
                    <a:lnTo>
                      <a:pt x="924" y="454"/>
                    </a:lnTo>
                    <a:lnTo>
                      <a:pt x="924" y="452"/>
                    </a:lnTo>
                    <a:lnTo>
                      <a:pt x="924" y="454"/>
                    </a:lnTo>
                    <a:lnTo>
                      <a:pt x="926" y="454"/>
                    </a:lnTo>
                    <a:lnTo>
                      <a:pt x="926" y="456"/>
                    </a:lnTo>
                    <a:lnTo>
                      <a:pt x="926" y="454"/>
                    </a:lnTo>
                    <a:lnTo>
                      <a:pt x="926" y="456"/>
                    </a:lnTo>
                    <a:lnTo>
                      <a:pt x="928" y="456"/>
                    </a:lnTo>
                    <a:lnTo>
                      <a:pt x="926" y="456"/>
                    </a:lnTo>
                    <a:lnTo>
                      <a:pt x="928" y="456"/>
                    </a:lnTo>
                    <a:lnTo>
                      <a:pt x="928" y="454"/>
                    </a:lnTo>
                    <a:lnTo>
                      <a:pt x="928" y="456"/>
                    </a:lnTo>
                    <a:lnTo>
                      <a:pt x="930" y="456"/>
                    </a:lnTo>
                    <a:lnTo>
                      <a:pt x="930" y="458"/>
                    </a:lnTo>
                    <a:lnTo>
                      <a:pt x="928" y="458"/>
                    </a:lnTo>
                    <a:lnTo>
                      <a:pt x="930" y="458"/>
                    </a:lnTo>
                    <a:lnTo>
                      <a:pt x="928" y="458"/>
                    </a:lnTo>
                    <a:lnTo>
                      <a:pt x="930" y="458"/>
                    </a:lnTo>
                    <a:lnTo>
                      <a:pt x="930" y="460"/>
                    </a:lnTo>
                    <a:lnTo>
                      <a:pt x="931" y="460"/>
                    </a:lnTo>
                    <a:lnTo>
                      <a:pt x="933" y="460"/>
                    </a:lnTo>
                    <a:lnTo>
                      <a:pt x="933" y="462"/>
                    </a:lnTo>
                    <a:lnTo>
                      <a:pt x="933" y="464"/>
                    </a:lnTo>
                    <a:lnTo>
                      <a:pt x="935" y="464"/>
                    </a:lnTo>
                    <a:lnTo>
                      <a:pt x="935" y="466"/>
                    </a:lnTo>
                    <a:lnTo>
                      <a:pt x="937" y="466"/>
                    </a:lnTo>
                    <a:lnTo>
                      <a:pt x="937" y="468"/>
                    </a:lnTo>
                    <a:lnTo>
                      <a:pt x="937" y="470"/>
                    </a:lnTo>
                    <a:lnTo>
                      <a:pt x="939" y="470"/>
                    </a:lnTo>
                    <a:lnTo>
                      <a:pt x="939" y="471"/>
                    </a:lnTo>
                    <a:lnTo>
                      <a:pt x="937" y="471"/>
                    </a:lnTo>
                    <a:lnTo>
                      <a:pt x="937" y="473"/>
                    </a:lnTo>
                    <a:lnTo>
                      <a:pt x="939" y="473"/>
                    </a:lnTo>
                    <a:lnTo>
                      <a:pt x="939" y="475"/>
                    </a:lnTo>
                    <a:lnTo>
                      <a:pt x="939" y="477"/>
                    </a:lnTo>
                    <a:lnTo>
                      <a:pt x="941" y="477"/>
                    </a:lnTo>
                    <a:lnTo>
                      <a:pt x="941" y="479"/>
                    </a:lnTo>
                    <a:lnTo>
                      <a:pt x="941" y="481"/>
                    </a:lnTo>
                    <a:lnTo>
                      <a:pt x="943" y="481"/>
                    </a:lnTo>
                    <a:lnTo>
                      <a:pt x="943" y="483"/>
                    </a:lnTo>
                    <a:lnTo>
                      <a:pt x="941" y="483"/>
                    </a:lnTo>
                    <a:lnTo>
                      <a:pt x="941" y="485"/>
                    </a:lnTo>
                    <a:lnTo>
                      <a:pt x="943" y="485"/>
                    </a:lnTo>
                    <a:lnTo>
                      <a:pt x="941" y="485"/>
                    </a:lnTo>
                    <a:lnTo>
                      <a:pt x="941" y="487"/>
                    </a:lnTo>
                    <a:lnTo>
                      <a:pt x="943" y="487"/>
                    </a:lnTo>
                    <a:lnTo>
                      <a:pt x="943" y="489"/>
                    </a:lnTo>
                    <a:lnTo>
                      <a:pt x="941" y="489"/>
                    </a:lnTo>
                    <a:lnTo>
                      <a:pt x="941" y="491"/>
                    </a:lnTo>
                    <a:lnTo>
                      <a:pt x="943" y="491"/>
                    </a:lnTo>
                    <a:lnTo>
                      <a:pt x="943" y="493"/>
                    </a:lnTo>
                    <a:lnTo>
                      <a:pt x="941" y="493"/>
                    </a:lnTo>
                    <a:lnTo>
                      <a:pt x="941" y="494"/>
                    </a:lnTo>
                    <a:lnTo>
                      <a:pt x="941" y="496"/>
                    </a:lnTo>
                    <a:lnTo>
                      <a:pt x="941" y="498"/>
                    </a:lnTo>
                    <a:lnTo>
                      <a:pt x="939" y="498"/>
                    </a:lnTo>
                    <a:lnTo>
                      <a:pt x="941" y="498"/>
                    </a:lnTo>
                    <a:lnTo>
                      <a:pt x="939" y="500"/>
                    </a:lnTo>
                    <a:lnTo>
                      <a:pt x="941" y="502"/>
                    </a:lnTo>
                    <a:lnTo>
                      <a:pt x="939" y="502"/>
                    </a:lnTo>
                    <a:lnTo>
                      <a:pt x="939" y="504"/>
                    </a:lnTo>
                    <a:lnTo>
                      <a:pt x="939" y="506"/>
                    </a:lnTo>
                    <a:lnTo>
                      <a:pt x="941" y="506"/>
                    </a:lnTo>
                    <a:lnTo>
                      <a:pt x="941" y="508"/>
                    </a:lnTo>
                    <a:lnTo>
                      <a:pt x="941" y="510"/>
                    </a:lnTo>
                    <a:lnTo>
                      <a:pt x="941" y="512"/>
                    </a:lnTo>
                    <a:lnTo>
                      <a:pt x="943" y="512"/>
                    </a:lnTo>
                    <a:lnTo>
                      <a:pt x="943" y="514"/>
                    </a:lnTo>
                    <a:lnTo>
                      <a:pt x="941" y="514"/>
                    </a:lnTo>
                    <a:lnTo>
                      <a:pt x="943" y="514"/>
                    </a:lnTo>
                    <a:lnTo>
                      <a:pt x="943" y="516"/>
                    </a:lnTo>
                    <a:lnTo>
                      <a:pt x="945" y="516"/>
                    </a:lnTo>
                    <a:lnTo>
                      <a:pt x="945" y="518"/>
                    </a:lnTo>
                    <a:lnTo>
                      <a:pt x="947" y="519"/>
                    </a:lnTo>
                    <a:lnTo>
                      <a:pt x="949" y="518"/>
                    </a:lnTo>
                    <a:lnTo>
                      <a:pt x="949" y="519"/>
                    </a:lnTo>
                    <a:lnTo>
                      <a:pt x="951" y="519"/>
                    </a:lnTo>
                    <a:lnTo>
                      <a:pt x="953" y="519"/>
                    </a:lnTo>
                    <a:lnTo>
                      <a:pt x="953" y="518"/>
                    </a:lnTo>
                    <a:lnTo>
                      <a:pt x="955" y="518"/>
                    </a:lnTo>
                    <a:lnTo>
                      <a:pt x="956" y="518"/>
                    </a:lnTo>
                    <a:lnTo>
                      <a:pt x="958" y="518"/>
                    </a:lnTo>
                    <a:lnTo>
                      <a:pt x="960" y="518"/>
                    </a:lnTo>
                    <a:lnTo>
                      <a:pt x="960" y="516"/>
                    </a:lnTo>
                    <a:lnTo>
                      <a:pt x="962" y="516"/>
                    </a:lnTo>
                    <a:lnTo>
                      <a:pt x="962" y="514"/>
                    </a:lnTo>
                    <a:lnTo>
                      <a:pt x="964" y="516"/>
                    </a:lnTo>
                    <a:lnTo>
                      <a:pt x="964" y="518"/>
                    </a:lnTo>
                    <a:lnTo>
                      <a:pt x="962" y="519"/>
                    </a:lnTo>
                    <a:lnTo>
                      <a:pt x="962" y="521"/>
                    </a:lnTo>
                    <a:lnTo>
                      <a:pt x="964" y="521"/>
                    </a:lnTo>
                    <a:lnTo>
                      <a:pt x="964" y="523"/>
                    </a:lnTo>
                    <a:lnTo>
                      <a:pt x="966" y="523"/>
                    </a:lnTo>
                    <a:lnTo>
                      <a:pt x="966" y="525"/>
                    </a:lnTo>
                    <a:lnTo>
                      <a:pt x="966" y="527"/>
                    </a:lnTo>
                    <a:lnTo>
                      <a:pt x="966" y="529"/>
                    </a:lnTo>
                    <a:lnTo>
                      <a:pt x="968" y="529"/>
                    </a:lnTo>
                    <a:lnTo>
                      <a:pt x="966" y="529"/>
                    </a:lnTo>
                    <a:lnTo>
                      <a:pt x="968" y="529"/>
                    </a:lnTo>
                    <a:lnTo>
                      <a:pt x="968" y="531"/>
                    </a:lnTo>
                    <a:lnTo>
                      <a:pt x="966" y="531"/>
                    </a:lnTo>
                    <a:lnTo>
                      <a:pt x="966" y="529"/>
                    </a:lnTo>
                    <a:lnTo>
                      <a:pt x="966" y="531"/>
                    </a:lnTo>
                    <a:lnTo>
                      <a:pt x="966" y="533"/>
                    </a:lnTo>
                    <a:lnTo>
                      <a:pt x="968" y="533"/>
                    </a:lnTo>
                    <a:lnTo>
                      <a:pt x="968" y="535"/>
                    </a:lnTo>
                    <a:lnTo>
                      <a:pt x="968" y="533"/>
                    </a:lnTo>
                    <a:lnTo>
                      <a:pt x="970" y="533"/>
                    </a:lnTo>
                    <a:lnTo>
                      <a:pt x="970" y="535"/>
                    </a:lnTo>
                    <a:lnTo>
                      <a:pt x="972" y="535"/>
                    </a:lnTo>
                    <a:lnTo>
                      <a:pt x="974" y="535"/>
                    </a:lnTo>
                    <a:lnTo>
                      <a:pt x="974" y="537"/>
                    </a:lnTo>
                    <a:lnTo>
                      <a:pt x="976" y="537"/>
                    </a:lnTo>
                    <a:lnTo>
                      <a:pt x="976" y="539"/>
                    </a:lnTo>
                    <a:lnTo>
                      <a:pt x="978" y="539"/>
                    </a:lnTo>
                    <a:lnTo>
                      <a:pt x="978" y="541"/>
                    </a:lnTo>
                    <a:lnTo>
                      <a:pt x="976" y="541"/>
                    </a:lnTo>
                    <a:lnTo>
                      <a:pt x="978" y="541"/>
                    </a:lnTo>
                    <a:lnTo>
                      <a:pt x="979" y="541"/>
                    </a:lnTo>
                    <a:lnTo>
                      <a:pt x="979" y="543"/>
                    </a:lnTo>
                    <a:lnTo>
                      <a:pt x="981" y="544"/>
                    </a:lnTo>
                    <a:lnTo>
                      <a:pt x="981" y="543"/>
                    </a:lnTo>
                    <a:lnTo>
                      <a:pt x="983" y="543"/>
                    </a:lnTo>
                    <a:lnTo>
                      <a:pt x="983" y="544"/>
                    </a:lnTo>
                    <a:lnTo>
                      <a:pt x="981" y="544"/>
                    </a:lnTo>
                    <a:lnTo>
                      <a:pt x="981" y="546"/>
                    </a:lnTo>
                    <a:lnTo>
                      <a:pt x="981" y="548"/>
                    </a:lnTo>
                    <a:lnTo>
                      <a:pt x="983" y="548"/>
                    </a:lnTo>
                    <a:lnTo>
                      <a:pt x="983" y="550"/>
                    </a:lnTo>
                    <a:lnTo>
                      <a:pt x="985" y="550"/>
                    </a:lnTo>
                    <a:lnTo>
                      <a:pt x="985" y="552"/>
                    </a:lnTo>
                    <a:lnTo>
                      <a:pt x="983" y="552"/>
                    </a:lnTo>
                    <a:lnTo>
                      <a:pt x="983" y="554"/>
                    </a:lnTo>
                    <a:lnTo>
                      <a:pt x="985" y="554"/>
                    </a:lnTo>
                    <a:lnTo>
                      <a:pt x="985" y="556"/>
                    </a:lnTo>
                    <a:lnTo>
                      <a:pt x="985" y="558"/>
                    </a:lnTo>
                    <a:lnTo>
                      <a:pt x="985" y="560"/>
                    </a:lnTo>
                    <a:lnTo>
                      <a:pt x="983" y="560"/>
                    </a:lnTo>
                    <a:lnTo>
                      <a:pt x="983" y="562"/>
                    </a:lnTo>
                    <a:lnTo>
                      <a:pt x="983" y="564"/>
                    </a:lnTo>
                    <a:lnTo>
                      <a:pt x="981" y="564"/>
                    </a:lnTo>
                    <a:lnTo>
                      <a:pt x="981" y="566"/>
                    </a:lnTo>
                    <a:lnTo>
                      <a:pt x="981" y="564"/>
                    </a:lnTo>
                    <a:lnTo>
                      <a:pt x="979" y="566"/>
                    </a:lnTo>
                    <a:lnTo>
                      <a:pt x="981" y="566"/>
                    </a:lnTo>
                    <a:lnTo>
                      <a:pt x="979" y="566"/>
                    </a:lnTo>
                    <a:lnTo>
                      <a:pt x="979" y="568"/>
                    </a:lnTo>
                    <a:lnTo>
                      <a:pt x="979" y="569"/>
                    </a:lnTo>
                    <a:lnTo>
                      <a:pt x="979" y="568"/>
                    </a:lnTo>
                    <a:lnTo>
                      <a:pt x="979" y="569"/>
                    </a:lnTo>
                    <a:lnTo>
                      <a:pt x="978" y="569"/>
                    </a:lnTo>
                    <a:lnTo>
                      <a:pt x="978" y="571"/>
                    </a:lnTo>
                    <a:lnTo>
                      <a:pt x="979" y="571"/>
                    </a:lnTo>
                    <a:lnTo>
                      <a:pt x="979" y="573"/>
                    </a:lnTo>
                    <a:lnTo>
                      <a:pt x="979" y="575"/>
                    </a:lnTo>
                    <a:lnTo>
                      <a:pt x="981" y="575"/>
                    </a:lnTo>
                    <a:lnTo>
                      <a:pt x="979" y="575"/>
                    </a:lnTo>
                    <a:lnTo>
                      <a:pt x="981" y="575"/>
                    </a:lnTo>
                    <a:lnTo>
                      <a:pt x="981" y="577"/>
                    </a:lnTo>
                    <a:lnTo>
                      <a:pt x="981" y="579"/>
                    </a:lnTo>
                    <a:lnTo>
                      <a:pt x="981" y="577"/>
                    </a:lnTo>
                    <a:lnTo>
                      <a:pt x="983" y="579"/>
                    </a:lnTo>
                    <a:lnTo>
                      <a:pt x="981" y="579"/>
                    </a:lnTo>
                    <a:lnTo>
                      <a:pt x="983" y="579"/>
                    </a:lnTo>
                    <a:lnTo>
                      <a:pt x="983" y="577"/>
                    </a:lnTo>
                    <a:lnTo>
                      <a:pt x="981" y="577"/>
                    </a:lnTo>
                    <a:lnTo>
                      <a:pt x="981" y="575"/>
                    </a:lnTo>
                    <a:lnTo>
                      <a:pt x="979" y="575"/>
                    </a:lnTo>
                    <a:lnTo>
                      <a:pt x="981" y="575"/>
                    </a:lnTo>
                    <a:lnTo>
                      <a:pt x="979" y="573"/>
                    </a:lnTo>
                    <a:lnTo>
                      <a:pt x="979" y="575"/>
                    </a:lnTo>
                    <a:lnTo>
                      <a:pt x="979" y="573"/>
                    </a:lnTo>
                    <a:lnTo>
                      <a:pt x="979" y="571"/>
                    </a:lnTo>
                    <a:lnTo>
                      <a:pt x="979" y="573"/>
                    </a:lnTo>
                    <a:lnTo>
                      <a:pt x="979" y="571"/>
                    </a:lnTo>
                    <a:lnTo>
                      <a:pt x="978" y="571"/>
                    </a:lnTo>
                    <a:lnTo>
                      <a:pt x="978" y="569"/>
                    </a:lnTo>
                    <a:lnTo>
                      <a:pt x="979" y="569"/>
                    </a:lnTo>
                    <a:lnTo>
                      <a:pt x="979" y="571"/>
                    </a:lnTo>
                    <a:lnTo>
                      <a:pt x="979" y="569"/>
                    </a:lnTo>
                    <a:lnTo>
                      <a:pt x="979" y="571"/>
                    </a:lnTo>
                    <a:lnTo>
                      <a:pt x="979" y="569"/>
                    </a:lnTo>
                    <a:lnTo>
                      <a:pt x="979" y="568"/>
                    </a:lnTo>
                    <a:lnTo>
                      <a:pt x="981" y="566"/>
                    </a:lnTo>
                    <a:lnTo>
                      <a:pt x="981" y="564"/>
                    </a:lnTo>
                    <a:lnTo>
                      <a:pt x="983" y="564"/>
                    </a:lnTo>
                    <a:lnTo>
                      <a:pt x="983" y="562"/>
                    </a:lnTo>
                    <a:lnTo>
                      <a:pt x="983" y="560"/>
                    </a:lnTo>
                    <a:lnTo>
                      <a:pt x="985" y="560"/>
                    </a:lnTo>
                    <a:lnTo>
                      <a:pt x="985" y="558"/>
                    </a:lnTo>
                    <a:lnTo>
                      <a:pt x="987" y="558"/>
                    </a:lnTo>
                    <a:lnTo>
                      <a:pt x="989" y="558"/>
                    </a:lnTo>
                    <a:lnTo>
                      <a:pt x="991" y="558"/>
                    </a:lnTo>
                    <a:lnTo>
                      <a:pt x="993" y="558"/>
                    </a:lnTo>
                    <a:lnTo>
                      <a:pt x="991" y="558"/>
                    </a:lnTo>
                    <a:lnTo>
                      <a:pt x="993" y="556"/>
                    </a:lnTo>
                    <a:lnTo>
                      <a:pt x="993" y="558"/>
                    </a:lnTo>
                    <a:lnTo>
                      <a:pt x="993" y="556"/>
                    </a:lnTo>
                    <a:lnTo>
                      <a:pt x="995" y="556"/>
                    </a:lnTo>
                    <a:lnTo>
                      <a:pt x="997" y="556"/>
                    </a:lnTo>
                    <a:lnTo>
                      <a:pt x="999" y="556"/>
                    </a:lnTo>
                    <a:lnTo>
                      <a:pt x="1001" y="556"/>
                    </a:lnTo>
                    <a:lnTo>
                      <a:pt x="1003" y="556"/>
                    </a:lnTo>
                    <a:lnTo>
                      <a:pt x="1004" y="556"/>
                    </a:lnTo>
                    <a:lnTo>
                      <a:pt x="1004" y="558"/>
                    </a:lnTo>
                    <a:lnTo>
                      <a:pt x="1006" y="556"/>
                    </a:lnTo>
                    <a:lnTo>
                      <a:pt x="1006" y="558"/>
                    </a:lnTo>
                    <a:lnTo>
                      <a:pt x="1006" y="556"/>
                    </a:lnTo>
                    <a:lnTo>
                      <a:pt x="1008" y="556"/>
                    </a:lnTo>
                    <a:lnTo>
                      <a:pt x="1006" y="556"/>
                    </a:lnTo>
                    <a:lnTo>
                      <a:pt x="1008" y="556"/>
                    </a:lnTo>
                    <a:lnTo>
                      <a:pt x="1006" y="556"/>
                    </a:lnTo>
                    <a:lnTo>
                      <a:pt x="1006" y="558"/>
                    </a:lnTo>
                    <a:lnTo>
                      <a:pt x="1006" y="556"/>
                    </a:lnTo>
                    <a:lnTo>
                      <a:pt x="1004" y="558"/>
                    </a:lnTo>
                    <a:lnTo>
                      <a:pt x="1004" y="556"/>
                    </a:lnTo>
                    <a:lnTo>
                      <a:pt x="1003" y="556"/>
                    </a:lnTo>
                    <a:lnTo>
                      <a:pt x="1001" y="556"/>
                    </a:lnTo>
                    <a:lnTo>
                      <a:pt x="999" y="556"/>
                    </a:lnTo>
                    <a:lnTo>
                      <a:pt x="997" y="556"/>
                    </a:lnTo>
                    <a:lnTo>
                      <a:pt x="995" y="556"/>
                    </a:lnTo>
                    <a:lnTo>
                      <a:pt x="993" y="556"/>
                    </a:lnTo>
                    <a:lnTo>
                      <a:pt x="993" y="558"/>
                    </a:lnTo>
                    <a:lnTo>
                      <a:pt x="991" y="558"/>
                    </a:lnTo>
                    <a:lnTo>
                      <a:pt x="989" y="558"/>
                    </a:lnTo>
                    <a:lnTo>
                      <a:pt x="987" y="558"/>
                    </a:lnTo>
                    <a:lnTo>
                      <a:pt x="985" y="558"/>
                    </a:lnTo>
                    <a:lnTo>
                      <a:pt x="985" y="556"/>
                    </a:lnTo>
                    <a:lnTo>
                      <a:pt x="985" y="554"/>
                    </a:lnTo>
                    <a:lnTo>
                      <a:pt x="983" y="554"/>
                    </a:lnTo>
                    <a:lnTo>
                      <a:pt x="983" y="552"/>
                    </a:lnTo>
                    <a:lnTo>
                      <a:pt x="985" y="552"/>
                    </a:lnTo>
                    <a:lnTo>
                      <a:pt x="985" y="550"/>
                    </a:lnTo>
                    <a:lnTo>
                      <a:pt x="983" y="550"/>
                    </a:lnTo>
                    <a:lnTo>
                      <a:pt x="983" y="548"/>
                    </a:lnTo>
                    <a:lnTo>
                      <a:pt x="981" y="548"/>
                    </a:lnTo>
                    <a:lnTo>
                      <a:pt x="981" y="546"/>
                    </a:lnTo>
                    <a:lnTo>
                      <a:pt x="981" y="544"/>
                    </a:lnTo>
                    <a:lnTo>
                      <a:pt x="983" y="544"/>
                    </a:lnTo>
                    <a:lnTo>
                      <a:pt x="981" y="544"/>
                    </a:lnTo>
                    <a:lnTo>
                      <a:pt x="983" y="544"/>
                    </a:lnTo>
                    <a:lnTo>
                      <a:pt x="983" y="543"/>
                    </a:lnTo>
                    <a:lnTo>
                      <a:pt x="981" y="543"/>
                    </a:lnTo>
                    <a:lnTo>
                      <a:pt x="981" y="544"/>
                    </a:lnTo>
                    <a:lnTo>
                      <a:pt x="981" y="543"/>
                    </a:lnTo>
                    <a:lnTo>
                      <a:pt x="979" y="543"/>
                    </a:lnTo>
                    <a:lnTo>
                      <a:pt x="979" y="541"/>
                    </a:lnTo>
                    <a:lnTo>
                      <a:pt x="978" y="541"/>
                    </a:lnTo>
                    <a:lnTo>
                      <a:pt x="976" y="541"/>
                    </a:lnTo>
                    <a:lnTo>
                      <a:pt x="978" y="541"/>
                    </a:lnTo>
                    <a:lnTo>
                      <a:pt x="978" y="539"/>
                    </a:lnTo>
                    <a:lnTo>
                      <a:pt x="976" y="539"/>
                    </a:lnTo>
                    <a:lnTo>
                      <a:pt x="976" y="537"/>
                    </a:lnTo>
                    <a:lnTo>
                      <a:pt x="974" y="537"/>
                    </a:lnTo>
                    <a:lnTo>
                      <a:pt x="974" y="535"/>
                    </a:lnTo>
                    <a:lnTo>
                      <a:pt x="972" y="535"/>
                    </a:lnTo>
                    <a:lnTo>
                      <a:pt x="970" y="535"/>
                    </a:lnTo>
                    <a:lnTo>
                      <a:pt x="970" y="533"/>
                    </a:lnTo>
                    <a:lnTo>
                      <a:pt x="968" y="533"/>
                    </a:lnTo>
                    <a:lnTo>
                      <a:pt x="968" y="535"/>
                    </a:lnTo>
                    <a:lnTo>
                      <a:pt x="968" y="533"/>
                    </a:lnTo>
                    <a:lnTo>
                      <a:pt x="966" y="533"/>
                    </a:lnTo>
                    <a:lnTo>
                      <a:pt x="966" y="531"/>
                    </a:lnTo>
                    <a:lnTo>
                      <a:pt x="968" y="531"/>
                    </a:lnTo>
                    <a:lnTo>
                      <a:pt x="968" y="529"/>
                    </a:lnTo>
                    <a:lnTo>
                      <a:pt x="966" y="529"/>
                    </a:lnTo>
                    <a:lnTo>
                      <a:pt x="966" y="527"/>
                    </a:lnTo>
                    <a:lnTo>
                      <a:pt x="966" y="525"/>
                    </a:lnTo>
                    <a:lnTo>
                      <a:pt x="966" y="527"/>
                    </a:lnTo>
                    <a:lnTo>
                      <a:pt x="966" y="525"/>
                    </a:lnTo>
                    <a:lnTo>
                      <a:pt x="966" y="527"/>
                    </a:lnTo>
                    <a:lnTo>
                      <a:pt x="966" y="525"/>
                    </a:lnTo>
                    <a:lnTo>
                      <a:pt x="966" y="523"/>
                    </a:lnTo>
                    <a:lnTo>
                      <a:pt x="964" y="523"/>
                    </a:lnTo>
                    <a:lnTo>
                      <a:pt x="964" y="521"/>
                    </a:lnTo>
                    <a:lnTo>
                      <a:pt x="962" y="521"/>
                    </a:lnTo>
                    <a:lnTo>
                      <a:pt x="962" y="519"/>
                    </a:lnTo>
                    <a:lnTo>
                      <a:pt x="964" y="518"/>
                    </a:lnTo>
                    <a:lnTo>
                      <a:pt x="964" y="516"/>
                    </a:lnTo>
                    <a:lnTo>
                      <a:pt x="964" y="514"/>
                    </a:lnTo>
                    <a:lnTo>
                      <a:pt x="962" y="514"/>
                    </a:lnTo>
                    <a:lnTo>
                      <a:pt x="962" y="516"/>
                    </a:lnTo>
                    <a:lnTo>
                      <a:pt x="960" y="516"/>
                    </a:lnTo>
                    <a:lnTo>
                      <a:pt x="960" y="514"/>
                    </a:lnTo>
                    <a:lnTo>
                      <a:pt x="960" y="516"/>
                    </a:lnTo>
                    <a:lnTo>
                      <a:pt x="958" y="518"/>
                    </a:lnTo>
                    <a:lnTo>
                      <a:pt x="958" y="516"/>
                    </a:lnTo>
                    <a:lnTo>
                      <a:pt x="958" y="518"/>
                    </a:lnTo>
                    <a:lnTo>
                      <a:pt x="956" y="518"/>
                    </a:lnTo>
                    <a:lnTo>
                      <a:pt x="955" y="518"/>
                    </a:lnTo>
                    <a:lnTo>
                      <a:pt x="953" y="518"/>
                    </a:lnTo>
                    <a:lnTo>
                      <a:pt x="953" y="519"/>
                    </a:lnTo>
                    <a:lnTo>
                      <a:pt x="951" y="519"/>
                    </a:lnTo>
                    <a:lnTo>
                      <a:pt x="951" y="518"/>
                    </a:lnTo>
                    <a:lnTo>
                      <a:pt x="949" y="518"/>
                    </a:lnTo>
                    <a:lnTo>
                      <a:pt x="947" y="519"/>
                    </a:lnTo>
                    <a:lnTo>
                      <a:pt x="945" y="518"/>
                    </a:lnTo>
                    <a:lnTo>
                      <a:pt x="945" y="516"/>
                    </a:lnTo>
                    <a:lnTo>
                      <a:pt x="943" y="516"/>
                    </a:lnTo>
                    <a:lnTo>
                      <a:pt x="943" y="514"/>
                    </a:lnTo>
                    <a:lnTo>
                      <a:pt x="941" y="514"/>
                    </a:lnTo>
                    <a:lnTo>
                      <a:pt x="943" y="514"/>
                    </a:lnTo>
                    <a:lnTo>
                      <a:pt x="943" y="512"/>
                    </a:lnTo>
                    <a:lnTo>
                      <a:pt x="941" y="512"/>
                    </a:lnTo>
                    <a:lnTo>
                      <a:pt x="941" y="510"/>
                    </a:lnTo>
                    <a:lnTo>
                      <a:pt x="941" y="508"/>
                    </a:lnTo>
                    <a:lnTo>
                      <a:pt x="941" y="506"/>
                    </a:lnTo>
                    <a:lnTo>
                      <a:pt x="939" y="506"/>
                    </a:lnTo>
                    <a:lnTo>
                      <a:pt x="939" y="504"/>
                    </a:lnTo>
                    <a:lnTo>
                      <a:pt x="939" y="502"/>
                    </a:lnTo>
                    <a:lnTo>
                      <a:pt x="941" y="502"/>
                    </a:lnTo>
                    <a:lnTo>
                      <a:pt x="941" y="500"/>
                    </a:lnTo>
                    <a:lnTo>
                      <a:pt x="939" y="500"/>
                    </a:lnTo>
                    <a:lnTo>
                      <a:pt x="941" y="498"/>
                    </a:lnTo>
                    <a:lnTo>
                      <a:pt x="939" y="498"/>
                    </a:lnTo>
                    <a:lnTo>
                      <a:pt x="941" y="498"/>
                    </a:lnTo>
                    <a:lnTo>
                      <a:pt x="941" y="496"/>
                    </a:lnTo>
                    <a:lnTo>
                      <a:pt x="941" y="494"/>
                    </a:lnTo>
                    <a:lnTo>
                      <a:pt x="941" y="493"/>
                    </a:lnTo>
                    <a:lnTo>
                      <a:pt x="943" y="493"/>
                    </a:lnTo>
                    <a:lnTo>
                      <a:pt x="943" y="491"/>
                    </a:lnTo>
                    <a:lnTo>
                      <a:pt x="943" y="489"/>
                    </a:lnTo>
                    <a:lnTo>
                      <a:pt x="943" y="487"/>
                    </a:lnTo>
                    <a:lnTo>
                      <a:pt x="941" y="487"/>
                    </a:lnTo>
                    <a:lnTo>
                      <a:pt x="943" y="485"/>
                    </a:lnTo>
                    <a:lnTo>
                      <a:pt x="941" y="485"/>
                    </a:lnTo>
                    <a:lnTo>
                      <a:pt x="941" y="483"/>
                    </a:lnTo>
                    <a:lnTo>
                      <a:pt x="943" y="483"/>
                    </a:lnTo>
                    <a:lnTo>
                      <a:pt x="943" y="481"/>
                    </a:lnTo>
                    <a:lnTo>
                      <a:pt x="941" y="479"/>
                    </a:lnTo>
                    <a:lnTo>
                      <a:pt x="941" y="477"/>
                    </a:lnTo>
                    <a:lnTo>
                      <a:pt x="941" y="475"/>
                    </a:lnTo>
                    <a:lnTo>
                      <a:pt x="939" y="475"/>
                    </a:lnTo>
                    <a:lnTo>
                      <a:pt x="939" y="473"/>
                    </a:lnTo>
                    <a:lnTo>
                      <a:pt x="939" y="471"/>
                    </a:lnTo>
                    <a:lnTo>
                      <a:pt x="939" y="470"/>
                    </a:lnTo>
                    <a:lnTo>
                      <a:pt x="937" y="470"/>
                    </a:lnTo>
                    <a:lnTo>
                      <a:pt x="937" y="468"/>
                    </a:lnTo>
                    <a:lnTo>
                      <a:pt x="939" y="468"/>
                    </a:lnTo>
                    <a:lnTo>
                      <a:pt x="939" y="470"/>
                    </a:lnTo>
                    <a:lnTo>
                      <a:pt x="939" y="468"/>
                    </a:lnTo>
                    <a:lnTo>
                      <a:pt x="937" y="468"/>
                    </a:lnTo>
                    <a:lnTo>
                      <a:pt x="937" y="466"/>
                    </a:lnTo>
                    <a:lnTo>
                      <a:pt x="935" y="466"/>
                    </a:lnTo>
                    <a:lnTo>
                      <a:pt x="935" y="464"/>
                    </a:lnTo>
                    <a:lnTo>
                      <a:pt x="935" y="466"/>
                    </a:lnTo>
                    <a:lnTo>
                      <a:pt x="935" y="464"/>
                    </a:lnTo>
                    <a:lnTo>
                      <a:pt x="937" y="464"/>
                    </a:lnTo>
                    <a:lnTo>
                      <a:pt x="935" y="464"/>
                    </a:lnTo>
                    <a:lnTo>
                      <a:pt x="937" y="464"/>
                    </a:lnTo>
                    <a:lnTo>
                      <a:pt x="935" y="464"/>
                    </a:lnTo>
                    <a:lnTo>
                      <a:pt x="933" y="464"/>
                    </a:lnTo>
                    <a:lnTo>
                      <a:pt x="933" y="462"/>
                    </a:lnTo>
                    <a:lnTo>
                      <a:pt x="933" y="460"/>
                    </a:lnTo>
                    <a:lnTo>
                      <a:pt x="933" y="462"/>
                    </a:lnTo>
                    <a:lnTo>
                      <a:pt x="935" y="462"/>
                    </a:lnTo>
                    <a:lnTo>
                      <a:pt x="933" y="460"/>
                    </a:lnTo>
                    <a:lnTo>
                      <a:pt x="931" y="460"/>
                    </a:lnTo>
                    <a:lnTo>
                      <a:pt x="930" y="460"/>
                    </a:lnTo>
                    <a:lnTo>
                      <a:pt x="930" y="458"/>
                    </a:lnTo>
                    <a:lnTo>
                      <a:pt x="930" y="456"/>
                    </a:lnTo>
                    <a:lnTo>
                      <a:pt x="930" y="458"/>
                    </a:lnTo>
                    <a:lnTo>
                      <a:pt x="931" y="458"/>
                    </a:lnTo>
                    <a:lnTo>
                      <a:pt x="931" y="456"/>
                    </a:lnTo>
                    <a:lnTo>
                      <a:pt x="931" y="458"/>
                    </a:lnTo>
                    <a:lnTo>
                      <a:pt x="933" y="458"/>
                    </a:lnTo>
                    <a:lnTo>
                      <a:pt x="933" y="460"/>
                    </a:lnTo>
                    <a:lnTo>
                      <a:pt x="935" y="460"/>
                    </a:lnTo>
                    <a:lnTo>
                      <a:pt x="937" y="460"/>
                    </a:lnTo>
                    <a:lnTo>
                      <a:pt x="937" y="462"/>
                    </a:lnTo>
                    <a:lnTo>
                      <a:pt x="937" y="460"/>
                    </a:lnTo>
                    <a:lnTo>
                      <a:pt x="937" y="462"/>
                    </a:lnTo>
                    <a:lnTo>
                      <a:pt x="939" y="462"/>
                    </a:lnTo>
                    <a:lnTo>
                      <a:pt x="937" y="462"/>
                    </a:lnTo>
                    <a:lnTo>
                      <a:pt x="937" y="460"/>
                    </a:lnTo>
                    <a:lnTo>
                      <a:pt x="937" y="462"/>
                    </a:lnTo>
                    <a:lnTo>
                      <a:pt x="937" y="460"/>
                    </a:lnTo>
                    <a:lnTo>
                      <a:pt x="935" y="460"/>
                    </a:lnTo>
                    <a:lnTo>
                      <a:pt x="933" y="460"/>
                    </a:lnTo>
                    <a:lnTo>
                      <a:pt x="933" y="458"/>
                    </a:lnTo>
                    <a:lnTo>
                      <a:pt x="931" y="458"/>
                    </a:lnTo>
                    <a:lnTo>
                      <a:pt x="933" y="458"/>
                    </a:lnTo>
                    <a:lnTo>
                      <a:pt x="931" y="458"/>
                    </a:lnTo>
                    <a:lnTo>
                      <a:pt x="931" y="456"/>
                    </a:lnTo>
                    <a:lnTo>
                      <a:pt x="931" y="458"/>
                    </a:lnTo>
                    <a:lnTo>
                      <a:pt x="930" y="458"/>
                    </a:lnTo>
                    <a:lnTo>
                      <a:pt x="930" y="456"/>
                    </a:lnTo>
                    <a:lnTo>
                      <a:pt x="928" y="456"/>
                    </a:lnTo>
                    <a:lnTo>
                      <a:pt x="930" y="456"/>
                    </a:lnTo>
                    <a:lnTo>
                      <a:pt x="928" y="456"/>
                    </a:lnTo>
                    <a:lnTo>
                      <a:pt x="928" y="454"/>
                    </a:lnTo>
                    <a:lnTo>
                      <a:pt x="928" y="456"/>
                    </a:lnTo>
                    <a:lnTo>
                      <a:pt x="928" y="454"/>
                    </a:lnTo>
                    <a:lnTo>
                      <a:pt x="926" y="454"/>
                    </a:lnTo>
                    <a:lnTo>
                      <a:pt x="924" y="454"/>
                    </a:lnTo>
                    <a:lnTo>
                      <a:pt x="924" y="452"/>
                    </a:lnTo>
                    <a:lnTo>
                      <a:pt x="926" y="452"/>
                    </a:lnTo>
                    <a:lnTo>
                      <a:pt x="924" y="452"/>
                    </a:lnTo>
                    <a:lnTo>
                      <a:pt x="922" y="450"/>
                    </a:lnTo>
                    <a:lnTo>
                      <a:pt x="920" y="450"/>
                    </a:lnTo>
                    <a:lnTo>
                      <a:pt x="922" y="450"/>
                    </a:lnTo>
                    <a:lnTo>
                      <a:pt x="920" y="450"/>
                    </a:lnTo>
                    <a:lnTo>
                      <a:pt x="918" y="450"/>
                    </a:lnTo>
                    <a:lnTo>
                      <a:pt x="916" y="450"/>
                    </a:lnTo>
                    <a:lnTo>
                      <a:pt x="916" y="448"/>
                    </a:lnTo>
                    <a:lnTo>
                      <a:pt x="914" y="448"/>
                    </a:lnTo>
                    <a:lnTo>
                      <a:pt x="914" y="446"/>
                    </a:lnTo>
                    <a:lnTo>
                      <a:pt x="914" y="448"/>
                    </a:lnTo>
                    <a:lnTo>
                      <a:pt x="914" y="446"/>
                    </a:lnTo>
                    <a:lnTo>
                      <a:pt x="912" y="446"/>
                    </a:lnTo>
                    <a:lnTo>
                      <a:pt x="914" y="446"/>
                    </a:lnTo>
                    <a:lnTo>
                      <a:pt x="912" y="446"/>
                    </a:lnTo>
                    <a:lnTo>
                      <a:pt x="912" y="445"/>
                    </a:lnTo>
                    <a:lnTo>
                      <a:pt x="910" y="445"/>
                    </a:lnTo>
                    <a:lnTo>
                      <a:pt x="910" y="443"/>
                    </a:lnTo>
                    <a:lnTo>
                      <a:pt x="910" y="441"/>
                    </a:lnTo>
                    <a:lnTo>
                      <a:pt x="908" y="441"/>
                    </a:lnTo>
                    <a:lnTo>
                      <a:pt x="908" y="439"/>
                    </a:lnTo>
                    <a:lnTo>
                      <a:pt x="906" y="439"/>
                    </a:lnTo>
                    <a:lnTo>
                      <a:pt x="908" y="439"/>
                    </a:lnTo>
                    <a:lnTo>
                      <a:pt x="906" y="439"/>
                    </a:lnTo>
                    <a:lnTo>
                      <a:pt x="908" y="439"/>
                    </a:lnTo>
                    <a:lnTo>
                      <a:pt x="906" y="439"/>
                    </a:lnTo>
                    <a:lnTo>
                      <a:pt x="906" y="437"/>
                    </a:lnTo>
                    <a:lnTo>
                      <a:pt x="905" y="437"/>
                    </a:lnTo>
                    <a:lnTo>
                      <a:pt x="905" y="435"/>
                    </a:lnTo>
                    <a:lnTo>
                      <a:pt x="903" y="435"/>
                    </a:lnTo>
                    <a:lnTo>
                      <a:pt x="905" y="435"/>
                    </a:lnTo>
                    <a:lnTo>
                      <a:pt x="903" y="435"/>
                    </a:lnTo>
                    <a:lnTo>
                      <a:pt x="903" y="433"/>
                    </a:lnTo>
                    <a:lnTo>
                      <a:pt x="903" y="435"/>
                    </a:lnTo>
                    <a:lnTo>
                      <a:pt x="903" y="433"/>
                    </a:lnTo>
                    <a:lnTo>
                      <a:pt x="903" y="435"/>
                    </a:lnTo>
                    <a:lnTo>
                      <a:pt x="905" y="435"/>
                    </a:lnTo>
                    <a:lnTo>
                      <a:pt x="903" y="435"/>
                    </a:lnTo>
                    <a:lnTo>
                      <a:pt x="905" y="435"/>
                    </a:lnTo>
                    <a:lnTo>
                      <a:pt x="903" y="435"/>
                    </a:lnTo>
                    <a:lnTo>
                      <a:pt x="903" y="433"/>
                    </a:lnTo>
                    <a:lnTo>
                      <a:pt x="901" y="431"/>
                    </a:lnTo>
                    <a:lnTo>
                      <a:pt x="901" y="433"/>
                    </a:lnTo>
                    <a:lnTo>
                      <a:pt x="901" y="431"/>
                    </a:lnTo>
                    <a:lnTo>
                      <a:pt x="899" y="431"/>
                    </a:lnTo>
                    <a:lnTo>
                      <a:pt x="901" y="431"/>
                    </a:lnTo>
                    <a:lnTo>
                      <a:pt x="899" y="431"/>
                    </a:lnTo>
                    <a:lnTo>
                      <a:pt x="899" y="429"/>
                    </a:lnTo>
                    <a:lnTo>
                      <a:pt x="899" y="431"/>
                    </a:lnTo>
                    <a:lnTo>
                      <a:pt x="901" y="431"/>
                    </a:lnTo>
                    <a:lnTo>
                      <a:pt x="899" y="431"/>
                    </a:lnTo>
                    <a:lnTo>
                      <a:pt x="899" y="429"/>
                    </a:lnTo>
                    <a:lnTo>
                      <a:pt x="897" y="427"/>
                    </a:lnTo>
                    <a:lnTo>
                      <a:pt x="899" y="427"/>
                    </a:lnTo>
                    <a:lnTo>
                      <a:pt x="899" y="429"/>
                    </a:lnTo>
                    <a:lnTo>
                      <a:pt x="899" y="427"/>
                    </a:lnTo>
                    <a:lnTo>
                      <a:pt x="897" y="427"/>
                    </a:lnTo>
                    <a:lnTo>
                      <a:pt x="897" y="425"/>
                    </a:lnTo>
                    <a:lnTo>
                      <a:pt x="897" y="423"/>
                    </a:lnTo>
                    <a:lnTo>
                      <a:pt x="895" y="423"/>
                    </a:lnTo>
                    <a:lnTo>
                      <a:pt x="893" y="423"/>
                    </a:lnTo>
                    <a:lnTo>
                      <a:pt x="893" y="421"/>
                    </a:lnTo>
                    <a:lnTo>
                      <a:pt x="893" y="420"/>
                    </a:lnTo>
                    <a:lnTo>
                      <a:pt x="893" y="418"/>
                    </a:lnTo>
                    <a:lnTo>
                      <a:pt x="893" y="420"/>
                    </a:lnTo>
                    <a:lnTo>
                      <a:pt x="893" y="418"/>
                    </a:lnTo>
                    <a:lnTo>
                      <a:pt x="893" y="420"/>
                    </a:lnTo>
                    <a:lnTo>
                      <a:pt x="893" y="421"/>
                    </a:lnTo>
                    <a:lnTo>
                      <a:pt x="893" y="420"/>
                    </a:lnTo>
                    <a:lnTo>
                      <a:pt x="893" y="421"/>
                    </a:lnTo>
                    <a:lnTo>
                      <a:pt x="893" y="420"/>
                    </a:lnTo>
                    <a:lnTo>
                      <a:pt x="891" y="420"/>
                    </a:lnTo>
                    <a:lnTo>
                      <a:pt x="893" y="420"/>
                    </a:lnTo>
                    <a:lnTo>
                      <a:pt x="891" y="418"/>
                    </a:lnTo>
                    <a:lnTo>
                      <a:pt x="893" y="418"/>
                    </a:lnTo>
                    <a:lnTo>
                      <a:pt x="893" y="420"/>
                    </a:lnTo>
                    <a:lnTo>
                      <a:pt x="893" y="418"/>
                    </a:lnTo>
                    <a:lnTo>
                      <a:pt x="891" y="418"/>
                    </a:lnTo>
                    <a:lnTo>
                      <a:pt x="891" y="416"/>
                    </a:lnTo>
                    <a:lnTo>
                      <a:pt x="893" y="416"/>
                    </a:lnTo>
                    <a:lnTo>
                      <a:pt x="891" y="416"/>
                    </a:lnTo>
                    <a:lnTo>
                      <a:pt x="891" y="414"/>
                    </a:lnTo>
                    <a:lnTo>
                      <a:pt x="889" y="416"/>
                    </a:lnTo>
                    <a:lnTo>
                      <a:pt x="889" y="418"/>
                    </a:lnTo>
                    <a:lnTo>
                      <a:pt x="889" y="416"/>
                    </a:lnTo>
                    <a:lnTo>
                      <a:pt x="887" y="416"/>
                    </a:lnTo>
                    <a:lnTo>
                      <a:pt x="887" y="414"/>
                    </a:lnTo>
                    <a:lnTo>
                      <a:pt x="889" y="414"/>
                    </a:lnTo>
                    <a:lnTo>
                      <a:pt x="891" y="414"/>
                    </a:lnTo>
                    <a:lnTo>
                      <a:pt x="891" y="412"/>
                    </a:lnTo>
                    <a:lnTo>
                      <a:pt x="889" y="412"/>
                    </a:lnTo>
                    <a:lnTo>
                      <a:pt x="889" y="410"/>
                    </a:lnTo>
                    <a:lnTo>
                      <a:pt x="887" y="410"/>
                    </a:lnTo>
                    <a:lnTo>
                      <a:pt x="887" y="408"/>
                    </a:lnTo>
                    <a:lnTo>
                      <a:pt x="889" y="408"/>
                    </a:lnTo>
                    <a:lnTo>
                      <a:pt x="891" y="408"/>
                    </a:lnTo>
                    <a:lnTo>
                      <a:pt x="891" y="406"/>
                    </a:lnTo>
                    <a:lnTo>
                      <a:pt x="891" y="404"/>
                    </a:lnTo>
                    <a:lnTo>
                      <a:pt x="891" y="402"/>
                    </a:lnTo>
                    <a:lnTo>
                      <a:pt x="893" y="402"/>
                    </a:lnTo>
                    <a:lnTo>
                      <a:pt x="893" y="400"/>
                    </a:lnTo>
                    <a:lnTo>
                      <a:pt x="895" y="400"/>
                    </a:lnTo>
                    <a:lnTo>
                      <a:pt x="895" y="398"/>
                    </a:lnTo>
                    <a:lnTo>
                      <a:pt x="895" y="400"/>
                    </a:lnTo>
                    <a:lnTo>
                      <a:pt x="895" y="398"/>
                    </a:lnTo>
                    <a:lnTo>
                      <a:pt x="895" y="396"/>
                    </a:lnTo>
                    <a:lnTo>
                      <a:pt x="895" y="395"/>
                    </a:lnTo>
                    <a:lnTo>
                      <a:pt x="897" y="395"/>
                    </a:lnTo>
                    <a:lnTo>
                      <a:pt x="899" y="393"/>
                    </a:lnTo>
                    <a:lnTo>
                      <a:pt x="899" y="391"/>
                    </a:lnTo>
                    <a:lnTo>
                      <a:pt x="899" y="393"/>
                    </a:lnTo>
                    <a:lnTo>
                      <a:pt x="899" y="391"/>
                    </a:lnTo>
                    <a:lnTo>
                      <a:pt x="901" y="391"/>
                    </a:lnTo>
                    <a:lnTo>
                      <a:pt x="901" y="389"/>
                    </a:lnTo>
                    <a:lnTo>
                      <a:pt x="903" y="389"/>
                    </a:lnTo>
                    <a:lnTo>
                      <a:pt x="903" y="387"/>
                    </a:lnTo>
                    <a:lnTo>
                      <a:pt x="905" y="387"/>
                    </a:lnTo>
                    <a:lnTo>
                      <a:pt x="906" y="387"/>
                    </a:lnTo>
                    <a:lnTo>
                      <a:pt x="905" y="387"/>
                    </a:lnTo>
                    <a:lnTo>
                      <a:pt x="906" y="387"/>
                    </a:lnTo>
                    <a:lnTo>
                      <a:pt x="908" y="387"/>
                    </a:lnTo>
                    <a:lnTo>
                      <a:pt x="910" y="387"/>
                    </a:lnTo>
                    <a:lnTo>
                      <a:pt x="908" y="387"/>
                    </a:lnTo>
                    <a:lnTo>
                      <a:pt x="910" y="387"/>
                    </a:lnTo>
                    <a:lnTo>
                      <a:pt x="912" y="387"/>
                    </a:lnTo>
                    <a:lnTo>
                      <a:pt x="912" y="385"/>
                    </a:lnTo>
                    <a:lnTo>
                      <a:pt x="914" y="385"/>
                    </a:lnTo>
                    <a:lnTo>
                      <a:pt x="914" y="383"/>
                    </a:lnTo>
                    <a:lnTo>
                      <a:pt x="916" y="383"/>
                    </a:lnTo>
                    <a:lnTo>
                      <a:pt x="914" y="383"/>
                    </a:lnTo>
                    <a:lnTo>
                      <a:pt x="916" y="383"/>
                    </a:lnTo>
                    <a:lnTo>
                      <a:pt x="916" y="385"/>
                    </a:lnTo>
                    <a:lnTo>
                      <a:pt x="916" y="383"/>
                    </a:lnTo>
                    <a:lnTo>
                      <a:pt x="916" y="381"/>
                    </a:lnTo>
                    <a:lnTo>
                      <a:pt x="918" y="381"/>
                    </a:lnTo>
                    <a:lnTo>
                      <a:pt x="916" y="381"/>
                    </a:lnTo>
                    <a:lnTo>
                      <a:pt x="918" y="381"/>
                    </a:lnTo>
                    <a:lnTo>
                      <a:pt x="920" y="381"/>
                    </a:lnTo>
                    <a:lnTo>
                      <a:pt x="920" y="379"/>
                    </a:lnTo>
                    <a:lnTo>
                      <a:pt x="922" y="379"/>
                    </a:lnTo>
                    <a:lnTo>
                      <a:pt x="922" y="377"/>
                    </a:lnTo>
                    <a:lnTo>
                      <a:pt x="924" y="377"/>
                    </a:lnTo>
                    <a:lnTo>
                      <a:pt x="924" y="379"/>
                    </a:lnTo>
                    <a:lnTo>
                      <a:pt x="922" y="379"/>
                    </a:lnTo>
                    <a:lnTo>
                      <a:pt x="924" y="379"/>
                    </a:lnTo>
                    <a:lnTo>
                      <a:pt x="924" y="377"/>
                    </a:lnTo>
                    <a:lnTo>
                      <a:pt x="926" y="377"/>
                    </a:lnTo>
                    <a:lnTo>
                      <a:pt x="926" y="375"/>
                    </a:lnTo>
                    <a:lnTo>
                      <a:pt x="928" y="375"/>
                    </a:lnTo>
                    <a:lnTo>
                      <a:pt x="926" y="375"/>
                    </a:lnTo>
                    <a:lnTo>
                      <a:pt x="928" y="375"/>
                    </a:lnTo>
                    <a:lnTo>
                      <a:pt x="928" y="373"/>
                    </a:lnTo>
                    <a:lnTo>
                      <a:pt x="928" y="375"/>
                    </a:lnTo>
                    <a:lnTo>
                      <a:pt x="926" y="375"/>
                    </a:lnTo>
                    <a:lnTo>
                      <a:pt x="928" y="375"/>
                    </a:lnTo>
                    <a:lnTo>
                      <a:pt x="926" y="375"/>
                    </a:lnTo>
                    <a:lnTo>
                      <a:pt x="928" y="377"/>
                    </a:lnTo>
                    <a:lnTo>
                      <a:pt x="926" y="377"/>
                    </a:lnTo>
                    <a:lnTo>
                      <a:pt x="926" y="375"/>
                    </a:lnTo>
                    <a:lnTo>
                      <a:pt x="926" y="377"/>
                    </a:lnTo>
                    <a:lnTo>
                      <a:pt x="928" y="375"/>
                    </a:lnTo>
                    <a:lnTo>
                      <a:pt x="930" y="375"/>
                    </a:lnTo>
                    <a:lnTo>
                      <a:pt x="928" y="375"/>
                    </a:lnTo>
                    <a:lnTo>
                      <a:pt x="930" y="373"/>
                    </a:lnTo>
                    <a:lnTo>
                      <a:pt x="930" y="371"/>
                    </a:lnTo>
                    <a:lnTo>
                      <a:pt x="928" y="371"/>
                    </a:lnTo>
                    <a:lnTo>
                      <a:pt x="928" y="370"/>
                    </a:lnTo>
                    <a:lnTo>
                      <a:pt x="926" y="370"/>
                    </a:lnTo>
                    <a:lnTo>
                      <a:pt x="924" y="370"/>
                    </a:lnTo>
                    <a:lnTo>
                      <a:pt x="922" y="371"/>
                    </a:lnTo>
                    <a:lnTo>
                      <a:pt x="922" y="370"/>
                    </a:lnTo>
                    <a:lnTo>
                      <a:pt x="922" y="368"/>
                    </a:lnTo>
                    <a:lnTo>
                      <a:pt x="920" y="368"/>
                    </a:lnTo>
                    <a:lnTo>
                      <a:pt x="920" y="366"/>
                    </a:lnTo>
                    <a:lnTo>
                      <a:pt x="922" y="368"/>
                    </a:lnTo>
                    <a:lnTo>
                      <a:pt x="922" y="366"/>
                    </a:lnTo>
                    <a:lnTo>
                      <a:pt x="924" y="366"/>
                    </a:lnTo>
                    <a:lnTo>
                      <a:pt x="924" y="364"/>
                    </a:lnTo>
                    <a:lnTo>
                      <a:pt x="926" y="364"/>
                    </a:lnTo>
                    <a:lnTo>
                      <a:pt x="924" y="364"/>
                    </a:lnTo>
                    <a:lnTo>
                      <a:pt x="926" y="362"/>
                    </a:lnTo>
                    <a:lnTo>
                      <a:pt x="926" y="364"/>
                    </a:lnTo>
                    <a:lnTo>
                      <a:pt x="926" y="362"/>
                    </a:lnTo>
                    <a:lnTo>
                      <a:pt x="926" y="360"/>
                    </a:lnTo>
                    <a:lnTo>
                      <a:pt x="928" y="360"/>
                    </a:lnTo>
                    <a:lnTo>
                      <a:pt x="928" y="362"/>
                    </a:lnTo>
                    <a:lnTo>
                      <a:pt x="928" y="360"/>
                    </a:lnTo>
                    <a:lnTo>
                      <a:pt x="930" y="360"/>
                    </a:lnTo>
                    <a:lnTo>
                      <a:pt x="930" y="358"/>
                    </a:lnTo>
                    <a:lnTo>
                      <a:pt x="930" y="356"/>
                    </a:lnTo>
                    <a:lnTo>
                      <a:pt x="930" y="354"/>
                    </a:lnTo>
                    <a:lnTo>
                      <a:pt x="930" y="352"/>
                    </a:lnTo>
                    <a:lnTo>
                      <a:pt x="928" y="352"/>
                    </a:lnTo>
                    <a:lnTo>
                      <a:pt x="926" y="352"/>
                    </a:lnTo>
                    <a:lnTo>
                      <a:pt x="924" y="352"/>
                    </a:lnTo>
                    <a:lnTo>
                      <a:pt x="924" y="350"/>
                    </a:lnTo>
                    <a:lnTo>
                      <a:pt x="926" y="350"/>
                    </a:lnTo>
                    <a:lnTo>
                      <a:pt x="928" y="350"/>
                    </a:lnTo>
                    <a:lnTo>
                      <a:pt x="930" y="350"/>
                    </a:lnTo>
                    <a:lnTo>
                      <a:pt x="930" y="348"/>
                    </a:lnTo>
                    <a:lnTo>
                      <a:pt x="928" y="346"/>
                    </a:lnTo>
                    <a:lnTo>
                      <a:pt x="930" y="346"/>
                    </a:lnTo>
                    <a:lnTo>
                      <a:pt x="931" y="346"/>
                    </a:lnTo>
                    <a:lnTo>
                      <a:pt x="931" y="345"/>
                    </a:lnTo>
                    <a:lnTo>
                      <a:pt x="930" y="345"/>
                    </a:lnTo>
                    <a:lnTo>
                      <a:pt x="928" y="345"/>
                    </a:lnTo>
                    <a:lnTo>
                      <a:pt x="926" y="345"/>
                    </a:lnTo>
                    <a:lnTo>
                      <a:pt x="926" y="343"/>
                    </a:lnTo>
                    <a:lnTo>
                      <a:pt x="928" y="343"/>
                    </a:lnTo>
                    <a:lnTo>
                      <a:pt x="928" y="341"/>
                    </a:lnTo>
                    <a:lnTo>
                      <a:pt x="930" y="341"/>
                    </a:lnTo>
                    <a:lnTo>
                      <a:pt x="930" y="339"/>
                    </a:lnTo>
                    <a:lnTo>
                      <a:pt x="928" y="339"/>
                    </a:lnTo>
                    <a:lnTo>
                      <a:pt x="926" y="339"/>
                    </a:lnTo>
                    <a:lnTo>
                      <a:pt x="926" y="337"/>
                    </a:lnTo>
                    <a:lnTo>
                      <a:pt x="926" y="335"/>
                    </a:lnTo>
                    <a:lnTo>
                      <a:pt x="928" y="335"/>
                    </a:lnTo>
                    <a:lnTo>
                      <a:pt x="930" y="335"/>
                    </a:lnTo>
                    <a:lnTo>
                      <a:pt x="931" y="335"/>
                    </a:lnTo>
                    <a:lnTo>
                      <a:pt x="931" y="333"/>
                    </a:lnTo>
                    <a:lnTo>
                      <a:pt x="933" y="333"/>
                    </a:lnTo>
                    <a:lnTo>
                      <a:pt x="935" y="333"/>
                    </a:lnTo>
                    <a:lnTo>
                      <a:pt x="933" y="331"/>
                    </a:lnTo>
                    <a:lnTo>
                      <a:pt x="930" y="331"/>
                    </a:lnTo>
                    <a:lnTo>
                      <a:pt x="930" y="329"/>
                    </a:lnTo>
                    <a:lnTo>
                      <a:pt x="931" y="329"/>
                    </a:lnTo>
                    <a:lnTo>
                      <a:pt x="933" y="329"/>
                    </a:lnTo>
                    <a:lnTo>
                      <a:pt x="935" y="329"/>
                    </a:lnTo>
                    <a:lnTo>
                      <a:pt x="935" y="327"/>
                    </a:lnTo>
                    <a:lnTo>
                      <a:pt x="935" y="325"/>
                    </a:lnTo>
                    <a:lnTo>
                      <a:pt x="933" y="325"/>
                    </a:lnTo>
                    <a:lnTo>
                      <a:pt x="931" y="325"/>
                    </a:lnTo>
                    <a:lnTo>
                      <a:pt x="933" y="323"/>
                    </a:lnTo>
                    <a:lnTo>
                      <a:pt x="935" y="323"/>
                    </a:lnTo>
                    <a:lnTo>
                      <a:pt x="937" y="323"/>
                    </a:lnTo>
                    <a:lnTo>
                      <a:pt x="935" y="323"/>
                    </a:lnTo>
                    <a:lnTo>
                      <a:pt x="937" y="323"/>
                    </a:lnTo>
                    <a:lnTo>
                      <a:pt x="939" y="323"/>
                    </a:lnTo>
                    <a:lnTo>
                      <a:pt x="941" y="323"/>
                    </a:lnTo>
                    <a:lnTo>
                      <a:pt x="939" y="323"/>
                    </a:lnTo>
                    <a:lnTo>
                      <a:pt x="937" y="321"/>
                    </a:lnTo>
                    <a:lnTo>
                      <a:pt x="937" y="320"/>
                    </a:lnTo>
                    <a:lnTo>
                      <a:pt x="935" y="320"/>
                    </a:lnTo>
                    <a:lnTo>
                      <a:pt x="937" y="320"/>
                    </a:lnTo>
                    <a:lnTo>
                      <a:pt x="937" y="321"/>
                    </a:lnTo>
                    <a:lnTo>
                      <a:pt x="937" y="320"/>
                    </a:lnTo>
                    <a:lnTo>
                      <a:pt x="939" y="320"/>
                    </a:lnTo>
                    <a:lnTo>
                      <a:pt x="941" y="320"/>
                    </a:lnTo>
                    <a:lnTo>
                      <a:pt x="939" y="320"/>
                    </a:lnTo>
                    <a:lnTo>
                      <a:pt x="941" y="320"/>
                    </a:lnTo>
                    <a:lnTo>
                      <a:pt x="941" y="318"/>
                    </a:lnTo>
                    <a:lnTo>
                      <a:pt x="941" y="320"/>
                    </a:lnTo>
                    <a:lnTo>
                      <a:pt x="941" y="318"/>
                    </a:lnTo>
                    <a:lnTo>
                      <a:pt x="941" y="316"/>
                    </a:lnTo>
                    <a:lnTo>
                      <a:pt x="941" y="318"/>
                    </a:lnTo>
                    <a:lnTo>
                      <a:pt x="941" y="316"/>
                    </a:lnTo>
                    <a:lnTo>
                      <a:pt x="941" y="318"/>
                    </a:lnTo>
                    <a:lnTo>
                      <a:pt x="941" y="316"/>
                    </a:lnTo>
                    <a:lnTo>
                      <a:pt x="943" y="316"/>
                    </a:lnTo>
                    <a:lnTo>
                      <a:pt x="943" y="318"/>
                    </a:lnTo>
                    <a:lnTo>
                      <a:pt x="943" y="316"/>
                    </a:lnTo>
                    <a:lnTo>
                      <a:pt x="943" y="318"/>
                    </a:lnTo>
                    <a:lnTo>
                      <a:pt x="943" y="316"/>
                    </a:lnTo>
                    <a:lnTo>
                      <a:pt x="941" y="316"/>
                    </a:lnTo>
                    <a:lnTo>
                      <a:pt x="941" y="318"/>
                    </a:lnTo>
                    <a:lnTo>
                      <a:pt x="941" y="316"/>
                    </a:lnTo>
                    <a:lnTo>
                      <a:pt x="941" y="318"/>
                    </a:lnTo>
                    <a:lnTo>
                      <a:pt x="941" y="316"/>
                    </a:lnTo>
                    <a:lnTo>
                      <a:pt x="941" y="318"/>
                    </a:lnTo>
                    <a:lnTo>
                      <a:pt x="941" y="320"/>
                    </a:lnTo>
                    <a:lnTo>
                      <a:pt x="941" y="318"/>
                    </a:lnTo>
                    <a:lnTo>
                      <a:pt x="941" y="320"/>
                    </a:lnTo>
                    <a:lnTo>
                      <a:pt x="939" y="320"/>
                    </a:lnTo>
                    <a:lnTo>
                      <a:pt x="941" y="320"/>
                    </a:lnTo>
                    <a:lnTo>
                      <a:pt x="939" y="320"/>
                    </a:lnTo>
                    <a:lnTo>
                      <a:pt x="937" y="320"/>
                    </a:lnTo>
                    <a:lnTo>
                      <a:pt x="937" y="321"/>
                    </a:lnTo>
                    <a:lnTo>
                      <a:pt x="937" y="320"/>
                    </a:lnTo>
                    <a:lnTo>
                      <a:pt x="935" y="320"/>
                    </a:lnTo>
                    <a:lnTo>
                      <a:pt x="933" y="320"/>
                    </a:lnTo>
                    <a:lnTo>
                      <a:pt x="931" y="320"/>
                    </a:lnTo>
                    <a:lnTo>
                      <a:pt x="931" y="318"/>
                    </a:lnTo>
                    <a:lnTo>
                      <a:pt x="931" y="316"/>
                    </a:lnTo>
                    <a:lnTo>
                      <a:pt x="931" y="314"/>
                    </a:lnTo>
                    <a:lnTo>
                      <a:pt x="931" y="312"/>
                    </a:lnTo>
                    <a:lnTo>
                      <a:pt x="931" y="310"/>
                    </a:lnTo>
                    <a:lnTo>
                      <a:pt x="933" y="310"/>
                    </a:lnTo>
                    <a:lnTo>
                      <a:pt x="933" y="308"/>
                    </a:lnTo>
                    <a:lnTo>
                      <a:pt x="933" y="310"/>
                    </a:lnTo>
                    <a:lnTo>
                      <a:pt x="935" y="308"/>
                    </a:lnTo>
                    <a:lnTo>
                      <a:pt x="933" y="308"/>
                    </a:lnTo>
                    <a:lnTo>
                      <a:pt x="933" y="306"/>
                    </a:lnTo>
                    <a:lnTo>
                      <a:pt x="935" y="306"/>
                    </a:lnTo>
                    <a:lnTo>
                      <a:pt x="937" y="306"/>
                    </a:lnTo>
                    <a:lnTo>
                      <a:pt x="937" y="304"/>
                    </a:lnTo>
                    <a:lnTo>
                      <a:pt x="939" y="304"/>
                    </a:lnTo>
                    <a:lnTo>
                      <a:pt x="941" y="304"/>
                    </a:lnTo>
                    <a:lnTo>
                      <a:pt x="943" y="304"/>
                    </a:lnTo>
                    <a:lnTo>
                      <a:pt x="943" y="302"/>
                    </a:lnTo>
                    <a:lnTo>
                      <a:pt x="945" y="302"/>
                    </a:lnTo>
                    <a:lnTo>
                      <a:pt x="945" y="300"/>
                    </a:lnTo>
                    <a:lnTo>
                      <a:pt x="947" y="300"/>
                    </a:lnTo>
                    <a:lnTo>
                      <a:pt x="949" y="300"/>
                    </a:lnTo>
                    <a:lnTo>
                      <a:pt x="951" y="300"/>
                    </a:lnTo>
                    <a:lnTo>
                      <a:pt x="951" y="298"/>
                    </a:lnTo>
                    <a:lnTo>
                      <a:pt x="951" y="300"/>
                    </a:lnTo>
                    <a:lnTo>
                      <a:pt x="951" y="298"/>
                    </a:lnTo>
                    <a:lnTo>
                      <a:pt x="953" y="298"/>
                    </a:lnTo>
                    <a:lnTo>
                      <a:pt x="953" y="296"/>
                    </a:lnTo>
                    <a:lnTo>
                      <a:pt x="951" y="296"/>
                    </a:lnTo>
                    <a:lnTo>
                      <a:pt x="951" y="295"/>
                    </a:lnTo>
                    <a:lnTo>
                      <a:pt x="951" y="296"/>
                    </a:lnTo>
                    <a:lnTo>
                      <a:pt x="951" y="295"/>
                    </a:lnTo>
                    <a:lnTo>
                      <a:pt x="951" y="293"/>
                    </a:lnTo>
                    <a:lnTo>
                      <a:pt x="951" y="295"/>
                    </a:lnTo>
                    <a:lnTo>
                      <a:pt x="953" y="295"/>
                    </a:lnTo>
                    <a:lnTo>
                      <a:pt x="951" y="293"/>
                    </a:lnTo>
                    <a:lnTo>
                      <a:pt x="949" y="293"/>
                    </a:lnTo>
                    <a:lnTo>
                      <a:pt x="947" y="293"/>
                    </a:lnTo>
                    <a:lnTo>
                      <a:pt x="947" y="291"/>
                    </a:lnTo>
                    <a:lnTo>
                      <a:pt x="947" y="289"/>
                    </a:lnTo>
                    <a:lnTo>
                      <a:pt x="949" y="289"/>
                    </a:lnTo>
                    <a:lnTo>
                      <a:pt x="949" y="287"/>
                    </a:lnTo>
                    <a:lnTo>
                      <a:pt x="947" y="287"/>
                    </a:lnTo>
                    <a:lnTo>
                      <a:pt x="947" y="285"/>
                    </a:lnTo>
                    <a:lnTo>
                      <a:pt x="945" y="285"/>
                    </a:lnTo>
                    <a:lnTo>
                      <a:pt x="947" y="283"/>
                    </a:lnTo>
                    <a:lnTo>
                      <a:pt x="947" y="281"/>
                    </a:lnTo>
                    <a:lnTo>
                      <a:pt x="949" y="281"/>
                    </a:lnTo>
                    <a:lnTo>
                      <a:pt x="951" y="281"/>
                    </a:lnTo>
                    <a:lnTo>
                      <a:pt x="951" y="279"/>
                    </a:lnTo>
                    <a:lnTo>
                      <a:pt x="951" y="277"/>
                    </a:lnTo>
                    <a:lnTo>
                      <a:pt x="949" y="277"/>
                    </a:lnTo>
                    <a:lnTo>
                      <a:pt x="947" y="275"/>
                    </a:lnTo>
                    <a:lnTo>
                      <a:pt x="947" y="273"/>
                    </a:lnTo>
                    <a:lnTo>
                      <a:pt x="949" y="273"/>
                    </a:lnTo>
                    <a:lnTo>
                      <a:pt x="951" y="273"/>
                    </a:lnTo>
                    <a:lnTo>
                      <a:pt x="951" y="275"/>
                    </a:lnTo>
                    <a:lnTo>
                      <a:pt x="949" y="273"/>
                    </a:lnTo>
                    <a:lnTo>
                      <a:pt x="951" y="275"/>
                    </a:lnTo>
                    <a:lnTo>
                      <a:pt x="953" y="275"/>
                    </a:lnTo>
                    <a:lnTo>
                      <a:pt x="953" y="273"/>
                    </a:lnTo>
                    <a:lnTo>
                      <a:pt x="953" y="271"/>
                    </a:lnTo>
                    <a:lnTo>
                      <a:pt x="951" y="271"/>
                    </a:lnTo>
                    <a:lnTo>
                      <a:pt x="949" y="271"/>
                    </a:lnTo>
                    <a:lnTo>
                      <a:pt x="949" y="270"/>
                    </a:lnTo>
                    <a:lnTo>
                      <a:pt x="947" y="270"/>
                    </a:lnTo>
                    <a:lnTo>
                      <a:pt x="945" y="268"/>
                    </a:lnTo>
                    <a:lnTo>
                      <a:pt x="945" y="266"/>
                    </a:lnTo>
                    <a:lnTo>
                      <a:pt x="947" y="266"/>
                    </a:lnTo>
                    <a:lnTo>
                      <a:pt x="947" y="264"/>
                    </a:lnTo>
                    <a:lnTo>
                      <a:pt x="945" y="264"/>
                    </a:lnTo>
                    <a:lnTo>
                      <a:pt x="943" y="264"/>
                    </a:lnTo>
                    <a:lnTo>
                      <a:pt x="943" y="262"/>
                    </a:lnTo>
                    <a:lnTo>
                      <a:pt x="945" y="260"/>
                    </a:lnTo>
                    <a:lnTo>
                      <a:pt x="945" y="262"/>
                    </a:lnTo>
                    <a:lnTo>
                      <a:pt x="945" y="260"/>
                    </a:lnTo>
                    <a:lnTo>
                      <a:pt x="945" y="262"/>
                    </a:lnTo>
                    <a:lnTo>
                      <a:pt x="947" y="262"/>
                    </a:lnTo>
                    <a:lnTo>
                      <a:pt x="945" y="262"/>
                    </a:lnTo>
                    <a:lnTo>
                      <a:pt x="945" y="260"/>
                    </a:lnTo>
                    <a:lnTo>
                      <a:pt x="945" y="258"/>
                    </a:lnTo>
                    <a:lnTo>
                      <a:pt x="943" y="258"/>
                    </a:lnTo>
                    <a:lnTo>
                      <a:pt x="943" y="256"/>
                    </a:lnTo>
                    <a:lnTo>
                      <a:pt x="943" y="258"/>
                    </a:lnTo>
                    <a:lnTo>
                      <a:pt x="941" y="258"/>
                    </a:lnTo>
                    <a:lnTo>
                      <a:pt x="941" y="256"/>
                    </a:lnTo>
                    <a:lnTo>
                      <a:pt x="939" y="256"/>
                    </a:lnTo>
                    <a:lnTo>
                      <a:pt x="937" y="256"/>
                    </a:lnTo>
                    <a:lnTo>
                      <a:pt x="939" y="256"/>
                    </a:lnTo>
                    <a:lnTo>
                      <a:pt x="937" y="256"/>
                    </a:lnTo>
                    <a:lnTo>
                      <a:pt x="937" y="254"/>
                    </a:lnTo>
                    <a:lnTo>
                      <a:pt x="935" y="254"/>
                    </a:lnTo>
                    <a:lnTo>
                      <a:pt x="935" y="252"/>
                    </a:lnTo>
                    <a:lnTo>
                      <a:pt x="935" y="250"/>
                    </a:lnTo>
                    <a:lnTo>
                      <a:pt x="937" y="250"/>
                    </a:lnTo>
                    <a:lnTo>
                      <a:pt x="937" y="248"/>
                    </a:lnTo>
                    <a:lnTo>
                      <a:pt x="939" y="248"/>
                    </a:lnTo>
                    <a:lnTo>
                      <a:pt x="939" y="246"/>
                    </a:lnTo>
                    <a:lnTo>
                      <a:pt x="941" y="246"/>
                    </a:lnTo>
                    <a:lnTo>
                      <a:pt x="939" y="246"/>
                    </a:lnTo>
                    <a:lnTo>
                      <a:pt x="939" y="245"/>
                    </a:lnTo>
                    <a:lnTo>
                      <a:pt x="937" y="245"/>
                    </a:lnTo>
                    <a:lnTo>
                      <a:pt x="935" y="245"/>
                    </a:lnTo>
                    <a:lnTo>
                      <a:pt x="935" y="243"/>
                    </a:lnTo>
                    <a:lnTo>
                      <a:pt x="935" y="245"/>
                    </a:lnTo>
                    <a:lnTo>
                      <a:pt x="935" y="243"/>
                    </a:lnTo>
                    <a:lnTo>
                      <a:pt x="937" y="243"/>
                    </a:lnTo>
                    <a:lnTo>
                      <a:pt x="935" y="241"/>
                    </a:lnTo>
                    <a:lnTo>
                      <a:pt x="933" y="241"/>
                    </a:lnTo>
                    <a:lnTo>
                      <a:pt x="933" y="239"/>
                    </a:lnTo>
                    <a:lnTo>
                      <a:pt x="933" y="237"/>
                    </a:lnTo>
                    <a:lnTo>
                      <a:pt x="935" y="237"/>
                    </a:lnTo>
                    <a:lnTo>
                      <a:pt x="933" y="237"/>
                    </a:lnTo>
                    <a:lnTo>
                      <a:pt x="935" y="237"/>
                    </a:lnTo>
                    <a:lnTo>
                      <a:pt x="935" y="239"/>
                    </a:lnTo>
                    <a:lnTo>
                      <a:pt x="937" y="239"/>
                    </a:lnTo>
                    <a:lnTo>
                      <a:pt x="937" y="237"/>
                    </a:lnTo>
                    <a:lnTo>
                      <a:pt x="939" y="237"/>
                    </a:lnTo>
                    <a:lnTo>
                      <a:pt x="937" y="237"/>
                    </a:lnTo>
                    <a:lnTo>
                      <a:pt x="939" y="237"/>
                    </a:lnTo>
                    <a:lnTo>
                      <a:pt x="939" y="235"/>
                    </a:lnTo>
                    <a:lnTo>
                      <a:pt x="939" y="233"/>
                    </a:lnTo>
                    <a:lnTo>
                      <a:pt x="939" y="235"/>
                    </a:lnTo>
                    <a:lnTo>
                      <a:pt x="939" y="237"/>
                    </a:lnTo>
                    <a:lnTo>
                      <a:pt x="937" y="237"/>
                    </a:lnTo>
                    <a:lnTo>
                      <a:pt x="939" y="237"/>
                    </a:lnTo>
                    <a:lnTo>
                      <a:pt x="937" y="237"/>
                    </a:lnTo>
                    <a:lnTo>
                      <a:pt x="939" y="237"/>
                    </a:lnTo>
                    <a:lnTo>
                      <a:pt x="937" y="237"/>
                    </a:lnTo>
                    <a:lnTo>
                      <a:pt x="935" y="237"/>
                    </a:lnTo>
                    <a:lnTo>
                      <a:pt x="935" y="235"/>
                    </a:lnTo>
                    <a:lnTo>
                      <a:pt x="935" y="237"/>
                    </a:lnTo>
                    <a:lnTo>
                      <a:pt x="933" y="237"/>
                    </a:lnTo>
                    <a:lnTo>
                      <a:pt x="933" y="235"/>
                    </a:lnTo>
                    <a:lnTo>
                      <a:pt x="933" y="237"/>
                    </a:lnTo>
                    <a:lnTo>
                      <a:pt x="931" y="237"/>
                    </a:lnTo>
                    <a:lnTo>
                      <a:pt x="930" y="239"/>
                    </a:lnTo>
                    <a:lnTo>
                      <a:pt x="931" y="239"/>
                    </a:lnTo>
                    <a:lnTo>
                      <a:pt x="930" y="239"/>
                    </a:lnTo>
                    <a:lnTo>
                      <a:pt x="928" y="239"/>
                    </a:lnTo>
                    <a:lnTo>
                      <a:pt x="930" y="239"/>
                    </a:lnTo>
                    <a:lnTo>
                      <a:pt x="928" y="239"/>
                    </a:lnTo>
                    <a:lnTo>
                      <a:pt x="928" y="237"/>
                    </a:lnTo>
                    <a:lnTo>
                      <a:pt x="926" y="237"/>
                    </a:lnTo>
                    <a:lnTo>
                      <a:pt x="926" y="235"/>
                    </a:lnTo>
                    <a:lnTo>
                      <a:pt x="926" y="233"/>
                    </a:lnTo>
                    <a:lnTo>
                      <a:pt x="928" y="233"/>
                    </a:lnTo>
                    <a:lnTo>
                      <a:pt x="926" y="233"/>
                    </a:lnTo>
                    <a:lnTo>
                      <a:pt x="926" y="231"/>
                    </a:lnTo>
                    <a:lnTo>
                      <a:pt x="924" y="231"/>
                    </a:lnTo>
                    <a:lnTo>
                      <a:pt x="924" y="229"/>
                    </a:lnTo>
                    <a:lnTo>
                      <a:pt x="924" y="231"/>
                    </a:lnTo>
                    <a:lnTo>
                      <a:pt x="924" y="229"/>
                    </a:lnTo>
                    <a:lnTo>
                      <a:pt x="924" y="227"/>
                    </a:lnTo>
                    <a:lnTo>
                      <a:pt x="924" y="229"/>
                    </a:lnTo>
                    <a:lnTo>
                      <a:pt x="924" y="227"/>
                    </a:lnTo>
                    <a:lnTo>
                      <a:pt x="922" y="227"/>
                    </a:lnTo>
                    <a:lnTo>
                      <a:pt x="922" y="225"/>
                    </a:lnTo>
                    <a:lnTo>
                      <a:pt x="922" y="223"/>
                    </a:lnTo>
                    <a:lnTo>
                      <a:pt x="920" y="222"/>
                    </a:lnTo>
                    <a:lnTo>
                      <a:pt x="920" y="220"/>
                    </a:lnTo>
                    <a:lnTo>
                      <a:pt x="920" y="218"/>
                    </a:lnTo>
                    <a:lnTo>
                      <a:pt x="920" y="216"/>
                    </a:lnTo>
                    <a:lnTo>
                      <a:pt x="918" y="216"/>
                    </a:lnTo>
                    <a:lnTo>
                      <a:pt x="916" y="216"/>
                    </a:lnTo>
                    <a:lnTo>
                      <a:pt x="916" y="218"/>
                    </a:lnTo>
                    <a:lnTo>
                      <a:pt x="914" y="218"/>
                    </a:lnTo>
                    <a:lnTo>
                      <a:pt x="912" y="216"/>
                    </a:lnTo>
                    <a:lnTo>
                      <a:pt x="914" y="216"/>
                    </a:lnTo>
                    <a:lnTo>
                      <a:pt x="912" y="216"/>
                    </a:lnTo>
                    <a:lnTo>
                      <a:pt x="914" y="216"/>
                    </a:lnTo>
                    <a:lnTo>
                      <a:pt x="912" y="216"/>
                    </a:lnTo>
                    <a:lnTo>
                      <a:pt x="912" y="214"/>
                    </a:lnTo>
                    <a:lnTo>
                      <a:pt x="912" y="212"/>
                    </a:lnTo>
                    <a:lnTo>
                      <a:pt x="914" y="212"/>
                    </a:lnTo>
                    <a:lnTo>
                      <a:pt x="912" y="212"/>
                    </a:lnTo>
                    <a:lnTo>
                      <a:pt x="912" y="210"/>
                    </a:lnTo>
                    <a:lnTo>
                      <a:pt x="910" y="208"/>
                    </a:lnTo>
                    <a:lnTo>
                      <a:pt x="912" y="208"/>
                    </a:lnTo>
                    <a:lnTo>
                      <a:pt x="910" y="208"/>
                    </a:lnTo>
                    <a:lnTo>
                      <a:pt x="912" y="208"/>
                    </a:lnTo>
                    <a:lnTo>
                      <a:pt x="910" y="208"/>
                    </a:lnTo>
                    <a:lnTo>
                      <a:pt x="908" y="208"/>
                    </a:lnTo>
                    <a:lnTo>
                      <a:pt x="908" y="210"/>
                    </a:lnTo>
                    <a:lnTo>
                      <a:pt x="906" y="210"/>
                    </a:lnTo>
                    <a:lnTo>
                      <a:pt x="906" y="208"/>
                    </a:lnTo>
                    <a:lnTo>
                      <a:pt x="908" y="208"/>
                    </a:lnTo>
                    <a:lnTo>
                      <a:pt x="908" y="206"/>
                    </a:lnTo>
                    <a:lnTo>
                      <a:pt x="910" y="206"/>
                    </a:lnTo>
                    <a:lnTo>
                      <a:pt x="908" y="206"/>
                    </a:lnTo>
                    <a:lnTo>
                      <a:pt x="910" y="206"/>
                    </a:lnTo>
                    <a:lnTo>
                      <a:pt x="910" y="204"/>
                    </a:lnTo>
                    <a:lnTo>
                      <a:pt x="908" y="204"/>
                    </a:lnTo>
                    <a:lnTo>
                      <a:pt x="908" y="202"/>
                    </a:lnTo>
                    <a:lnTo>
                      <a:pt x="906" y="202"/>
                    </a:lnTo>
                    <a:lnTo>
                      <a:pt x="906" y="200"/>
                    </a:lnTo>
                    <a:lnTo>
                      <a:pt x="908" y="200"/>
                    </a:lnTo>
                    <a:lnTo>
                      <a:pt x="910" y="200"/>
                    </a:lnTo>
                    <a:lnTo>
                      <a:pt x="908" y="200"/>
                    </a:lnTo>
                    <a:lnTo>
                      <a:pt x="908" y="198"/>
                    </a:lnTo>
                    <a:lnTo>
                      <a:pt x="906" y="198"/>
                    </a:lnTo>
                    <a:lnTo>
                      <a:pt x="906" y="197"/>
                    </a:lnTo>
                    <a:lnTo>
                      <a:pt x="906" y="195"/>
                    </a:lnTo>
                    <a:lnTo>
                      <a:pt x="906" y="193"/>
                    </a:lnTo>
                    <a:lnTo>
                      <a:pt x="908" y="193"/>
                    </a:lnTo>
                    <a:lnTo>
                      <a:pt x="908" y="191"/>
                    </a:lnTo>
                    <a:lnTo>
                      <a:pt x="906" y="191"/>
                    </a:lnTo>
                    <a:lnTo>
                      <a:pt x="906" y="189"/>
                    </a:lnTo>
                    <a:lnTo>
                      <a:pt x="908" y="189"/>
                    </a:lnTo>
                    <a:lnTo>
                      <a:pt x="910" y="187"/>
                    </a:lnTo>
                    <a:lnTo>
                      <a:pt x="910" y="185"/>
                    </a:lnTo>
                    <a:lnTo>
                      <a:pt x="908" y="185"/>
                    </a:lnTo>
                    <a:lnTo>
                      <a:pt x="906" y="183"/>
                    </a:lnTo>
                    <a:lnTo>
                      <a:pt x="908" y="183"/>
                    </a:lnTo>
                    <a:lnTo>
                      <a:pt x="906" y="183"/>
                    </a:lnTo>
                    <a:lnTo>
                      <a:pt x="908" y="183"/>
                    </a:lnTo>
                    <a:lnTo>
                      <a:pt x="908" y="181"/>
                    </a:lnTo>
                    <a:lnTo>
                      <a:pt x="910" y="181"/>
                    </a:lnTo>
                    <a:lnTo>
                      <a:pt x="910" y="179"/>
                    </a:lnTo>
                    <a:lnTo>
                      <a:pt x="910" y="181"/>
                    </a:lnTo>
                    <a:lnTo>
                      <a:pt x="912" y="181"/>
                    </a:lnTo>
                    <a:lnTo>
                      <a:pt x="910" y="181"/>
                    </a:lnTo>
                    <a:lnTo>
                      <a:pt x="910" y="183"/>
                    </a:lnTo>
                    <a:lnTo>
                      <a:pt x="912" y="183"/>
                    </a:lnTo>
                    <a:lnTo>
                      <a:pt x="910" y="183"/>
                    </a:lnTo>
                    <a:lnTo>
                      <a:pt x="912" y="183"/>
                    </a:lnTo>
                    <a:lnTo>
                      <a:pt x="912" y="185"/>
                    </a:lnTo>
                    <a:lnTo>
                      <a:pt x="910" y="185"/>
                    </a:lnTo>
                    <a:lnTo>
                      <a:pt x="912" y="185"/>
                    </a:lnTo>
                    <a:lnTo>
                      <a:pt x="910" y="185"/>
                    </a:lnTo>
                    <a:lnTo>
                      <a:pt x="912" y="185"/>
                    </a:lnTo>
                    <a:lnTo>
                      <a:pt x="912" y="183"/>
                    </a:lnTo>
                    <a:lnTo>
                      <a:pt x="910" y="183"/>
                    </a:lnTo>
                    <a:lnTo>
                      <a:pt x="912" y="181"/>
                    </a:lnTo>
                    <a:lnTo>
                      <a:pt x="910" y="181"/>
                    </a:lnTo>
                    <a:lnTo>
                      <a:pt x="912" y="181"/>
                    </a:lnTo>
                    <a:lnTo>
                      <a:pt x="910" y="181"/>
                    </a:lnTo>
                    <a:lnTo>
                      <a:pt x="910" y="179"/>
                    </a:lnTo>
                    <a:lnTo>
                      <a:pt x="912" y="179"/>
                    </a:lnTo>
                    <a:lnTo>
                      <a:pt x="914" y="179"/>
                    </a:lnTo>
                    <a:lnTo>
                      <a:pt x="916" y="179"/>
                    </a:lnTo>
                    <a:lnTo>
                      <a:pt x="916" y="177"/>
                    </a:lnTo>
                    <a:lnTo>
                      <a:pt x="916" y="175"/>
                    </a:lnTo>
                    <a:lnTo>
                      <a:pt x="918" y="175"/>
                    </a:lnTo>
                    <a:lnTo>
                      <a:pt x="920" y="173"/>
                    </a:lnTo>
                    <a:lnTo>
                      <a:pt x="922" y="172"/>
                    </a:lnTo>
                    <a:lnTo>
                      <a:pt x="924" y="172"/>
                    </a:lnTo>
                    <a:lnTo>
                      <a:pt x="924" y="170"/>
                    </a:lnTo>
                    <a:lnTo>
                      <a:pt x="922" y="168"/>
                    </a:lnTo>
                    <a:lnTo>
                      <a:pt x="922" y="166"/>
                    </a:lnTo>
                    <a:lnTo>
                      <a:pt x="920" y="166"/>
                    </a:lnTo>
                    <a:lnTo>
                      <a:pt x="920" y="164"/>
                    </a:lnTo>
                    <a:lnTo>
                      <a:pt x="920" y="162"/>
                    </a:lnTo>
                    <a:lnTo>
                      <a:pt x="922" y="160"/>
                    </a:lnTo>
                    <a:lnTo>
                      <a:pt x="924" y="160"/>
                    </a:lnTo>
                    <a:lnTo>
                      <a:pt x="926" y="160"/>
                    </a:lnTo>
                    <a:lnTo>
                      <a:pt x="926" y="158"/>
                    </a:lnTo>
                    <a:lnTo>
                      <a:pt x="926" y="156"/>
                    </a:lnTo>
                    <a:lnTo>
                      <a:pt x="926" y="154"/>
                    </a:lnTo>
                    <a:lnTo>
                      <a:pt x="928" y="154"/>
                    </a:lnTo>
                    <a:lnTo>
                      <a:pt x="928" y="152"/>
                    </a:lnTo>
                    <a:lnTo>
                      <a:pt x="930" y="152"/>
                    </a:lnTo>
                    <a:lnTo>
                      <a:pt x="931" y="152"/>
                    </a:lnTo>
                    <a:lnTo>
                      <a:pt x="931" y="150"/>
                    </a:lnTo>
                    <a:lnTo>
                      <a:pt x="933" y="150"/>
                    </a:lnTo>
                    <a:lnTo>
                      <a:pt x="933" y="148"/>
                    </a:lnTo>
                    <a:lnTo>
                      <a:pt x="931" y="147"/>
                    </a:lnTo>
                    <a:lnTo>
                      <a:pt x="933" y="147"/>
                    </a:lnTo>
                    <a:lnTo>
                      <a:pt x="935" y="147"/>
                    </a:lnTo>
                    <a:lnTo>
                      <a:pt x="933" y="147"/>
                    </a:lnTo>
                    <a:lnTo>
                      <a:pt x="935" y="147"/>
                    </a:lnTo>
                    <a:lnTo>
                      <a:pt x="937" y="145"/>
                    </a:lnTo>
                    <a:lnTo>
                      <a:pt x="939" y="145"/>
                    </a:lnTo>
                    <a:lnTo>
                      <a:pt x="941" y="145"/>
                    </a:lnTo>
                    <a:lnTo>
                      <a:pt x="939" y="145"/>
                    </a:lnTo>
                    <a:lnTo>
                      <a:pt x="941" y="145"/>
                    </a:lnTo>
                    <a:lnTo>
                      <a:pt x="939" y="145"/>
                    </a:lnTo>
                    <a:lnTo>
                      <a:pt x="941" y="145"/>
                    </a:lnTo>
                    <a:lnTo>
                      <a:pt x="939" y="143"/>
                    </a:lnTo>
                    <a:lnTo>
                      <a:pt x="941" y="143"/>
                    </a:lnTo>
                    <a:lnTo>
                      <a:pt x="941" y="141"/>
                    </a:lnTo>
                    <a:lnTo>
                      <a:pt x="943" y="143"/>
                    </a:lnTo>
                    <a:lnTo>
                      <a:pt x="943" y="141"/>
                    </a:lnTo>
                    <a:lnTo>
                      <a:pt x="945" y="141"/>
                    </a:lnTo>
                    <a:lnTo>
                      <a:pt x="945" y="143"/>
                    </a:lnTo>
                    <a:lnTo>
                      <a:pt x="945" y="141"/>
                    </a:lnTo>
                    <a:lnTo>
                      <a:pt x="945" y="139"/>
                    </a:lnTo>
                    <a:lnTo>
                      <a:pt x="947" y="139"/>
                    </a:lnTo>
                    <a:lnTo>
                      <a:pt x="947" y="137"/>
                    </a:lnTo>
                    <a:lnTo>
                      <a:pt x="949" y="137"/>
                    </a:lnTo>
                    <a:lnTo>
                      <a:pt x="951" y="137"/>
                    </a:lnTo>
                    <a:lnTo>
                      <a:pt x="951" y="135"/>
                    </a:lnTo>
                    <a:lnTo>
                      <a:pt x="953" y="135"/>
                    </a:lnTo>
                    <a:lnTo>
                      <a:pt x="953" y="133"/>
                    </a:lnTo>
                    <a:lnTo>
                      <a:pt x="955" y="133"/>
                    </a:lnTo>
                    <a:lnTo>
                      <a:pt x="956" y="131"/>
                    </a:lnTo>
                    <a:lnTo>
                      <a:pt x="956" y="133"/>
                    </a:lnTo>
                    <a:lnTo>
                      <a:pt x="956" y="131"/>
                    </a:lnTo>
                    <a:lnTo>
                      <a:pt x="955" y="133"/>
                    </a:lnTo>
                    <a:lnTo>
                      <a:pt x="953" y="133"/>
                    </a:lnTo>
                    <a:lnTo>
                      <a:pt x="953" y="135"/>
                    </a:lnTo>
                    <a:lnTo>
                      <a:pt x="951" y="135"/>
                    </a:lnTo>
                    <a:lnTo>
                      <a:pt x="949" y="137"/>
                    </a:lnTo>
                    <a:lnTo>
                      <a:pt x="947" y="137"/>
                    </a:lnTo>
                    <a:lnTo>
                      <a:pt x="947" y="139"/>
                    </a:lnTo>
                    <a:lnTo>
                      <a:pt x="945" y="139"/>
                    </a:lnTo>
                    <a:lnTo>
                      <a:pt x="945" y="141"/>
                    </a:lnTo>
                    <a:lnTo>
                      <a:pt x="943" y="141"/>
                    </a:lnTo>
                    <a:lnTo>
                      <a:pt x="943" y="139"/>
                    </a:lnTo>
                    <a:lnTo>
                      <a:pt x="943" y="137"/>
                    </a:lnTo>
                    <a:lnTo>
                      <a:pt x="943" y="135"/>
                    </a:lnTo>
                    <a:lnTo>
                      <a:pt x="945" y="133"/>
                    </a:lnTo>
                    <a:lnTo>
                      <a:pt x="945" y="135"/>
                    </a:lnTo>
                    <a:lnTo>
                      <a:pt x="947" y="133"/>
                    </a:lnTo>
                    <a:lnTo>
                      <a:pt x="945" y="133"/>
                    </a:lnTo>
                    <a:lnTo>
                      <a:pt x="947" y="133"/>
                    </a:lnTo>
                    <a:lnTo>
                      <a:pt x="947" y="131"/>
                    </a:lnTo>
                    <a:lnTo>
                      <a:pt x="945" y="131"/>
                    </a:lnTo>
                    <a:lnTo>
                      <a:pt x="947" y="131"/>
                    </a:lnTo>
                    <a:lnTo>
                      <a:pt x="949" y="129"/>
                    </a:lnTo>
                    <a:lnTo>
                      <a:pt x="947" y="129"/>
                    </a:lnTo>
                    <a:lnTo>
                      <a:pt x="945" y="129"/>
                    </a:lnTo>
                    <a:lnTo>
                      <a:pt x="945" y="127"/>
                    </a:lnTo>
                    <a:lnTo>
                      <a:pt x="945" y="125"/>
                    </a:lnTo>
                    <a:lnTo>
                      <a:pt x="945" y="123"/>
                    </a:lnTo>
                    <a:lnTo>
                      <a:pt x="943" y="123"/>
                    </a:lnTo>
                    <a:lnTo>
                      <a:pt x="943" y="122"/>
                    </a:lnTo>
                    <a:lnTo>
                      <a:pt x="941" y="120"/>
                    </a:lnTo>
                    <a:lnTo>
                      <a:pt x="943" y="120"/>
                    </a:lnTo>
                    <a:lnTo>
                      <a:pt x="943" y="118"/>
                    </a:lnTo>
                    <a:lnTo>
                      <a:pt x="943" y="116"/>
                    </a:lnTo>
                    <a:lnTo>
                      <a:pt x="943" y="118"/>
                    </a:lnTo>
                    <a:lnTo>
                      <a:pt x="941" y="118"/>
                    </a:lnTo>
                    <a:lnTo>
                      <a:pt x="941" y="116"/>
                    </a:lnTo>
                    <a:lnTo>
                      <a:pt x="943" y="116"/>
                    </a:lnTo>
                    <a:lnTo>
                      <a:pt x="943" y="114"/>
                    </a:lnTo>
                    <a:lnTo>
                      <a:pt x="943" y="112"/>
                    </a:lnTo>
                    <a:lnTo>
                      <a:pt x="943" y="110"/>
                    </a:lnTo>
                    <a:lnTo>
                      <a:pt x="945" y="110"/>
                    </a:lnTo>
                    <a:lnTo>
                      <a:pt x="945" y="108"/>
                    </a:lnTo>
                    <a:lnTo>
                      <a:pt x="947" y="108"/>
                    </a:lnTo>
                    <a:lnTo>
                      <a:pt x="947" y="106"/>
                    </a:lnTo>
                    <a:lnTo>
                      <a:pt x="949" y="106"/>
                    </a:lnTo>
                    <a:lnTo>
                      <a:pt x="951" y="106"/>
                    </a:lnTo>
                    <a:lnTo>
                      <a:pt x="953" y="106"/>
                    </a:lnTo>
                    <a:lnTo>
                      <a:pt x="955" y="106"/>
                    </a:lnTo>
                    <a:lnTo>
                      <a:pt x="955" y="104"/>
                    </a:lnTo>
                    <a:lnTo>
                      <a:pt x="956" y="104"/>
                    </a:lnTo>
                    <a:lnTo>
                      <a:pt x="958" y="104"/>
                    </a:lnTo>
                    <a:lnTo>
                      <a:pt x="960" y="104"/>
                    </a:lnTo>
                    <a:lnTo>
                      <a:pt x="958" y="104"/>
                    </a:lnTo>
                    <a:lnTo>
                      <a:pt x="960" y="104"/>
                    </a:lnTo>
                    <a:lnTo>
                      <a:pt x="962" y="104"/>
                    </a:lnTo>
                    <a:lnTo>
                      <a:pt x="962" y="106"/>
                    </a:lnTo>
                    <a:lnTo>
                      <a:pt x="964" y="106"/>
                    </a:lnTo>
                    <a:lnTo>
                      <a:pt x="962" y="106"/>
                    </a:lnTo>
                    <a:lnTo>
                      <a:pt x="962" y="104"/>
                    </a:lnTo>
                    <a:lnTo>
                      <a:pt x="964" y="104"/>
                    </a:lnTo>
                    <a:lnTo>
                      <a:pt x="964" y="106"/>
                    </a:lnTo>
                    <a:lnTo>
                      <a:pt x="964" y="104"/>
                    </a:lnTo>
                    <a:lnTo>
                      <a:pt x="962" y="104"/>
                    </a:lnTo>
                    <a:lnTo>
                      <a:pt x="964" y="104"/>
                    </a:lnTo>
                    <a:lnTo>
                      <a:pt x="962" y="104"/>
                    </a:lnTo>
                    <a:lnTo>
                      <a:pt x="964" y="104"/>
                    </a:lnTo>
                    <a:lnTo>
                      <a:pt x="966" y="104"/>
                    </a:lnTo>
                    <a:lnTo>
                      <a:pt x="966" y="106"/>
                    </a:lnTo>
                    <a:lnTo>
                      <a:pt x="964" y="106"/>
                    </a:lnTo>
                    <a:lnTo>
                      <a:pt x="966" y="106"/>
                    </a:lnTo>
                    <a:lnTo>
                      <a:pt x="968" y="106"/>
                    </a:lnTo>
                    <a:lnTo>
                      <a:pt x="970" y="106"/>
                    </a:lnTo>
                    <a:lnTo>
                      <a:pt x="970" y="108"/>
                    </a:lnTo>
                    <a:lnTo>
                      <a:pt x="968" y="108"/>
                    </a:lnTo>
                    <a:lnTo>
                      <a:pt x="966" y="106"/>
                    </a:lnTo>
                    <a:lnTo>
                      <a:pt x="964" y="106"/>
                    </a:lnTo>
                    <a:lnTo>
                      <a:pt x="966" y="106"/>
                    </a:lnTo>
                    <a:lnTo>
                      <a:pt x="964" y="106"/>
                    </a:lnTo>
                    <a:lnTo>
                      <a:pt x="966" y="106"/>
                    </a:lnTo>
                    <a:lnTo>
                      <a:pt x="966" y="108"/>
                    </a:lnTo>
                    <a:lnTo>
                      <a:pt x="968" y="108"/>
                    </a:lnTo>
                    <a:lnTo>
                      <a:pt x="970" y="108"/>
                    </a:lnTo>
                    <a:lnTo>
                      <a:pt x="972" y="108"/>
                    </a:lnTo>
                    <a:lnTo>
                      <a:pt x="972" y="110"/>
                    </a:lnTo>
                    <a:lnTo>
                      <a:pt x="974" y="110"/>
                    </a:lnTo>
                    <a:lnTo>
                      <a:pt x="974" y="112"/>
                    </a:lnTo>
                    <a:lnTo>
                      <a:pt x="972" y="112"/>
                    </a:lnTo>
                    <a:lnTo>
                      <a:pt x="970" y="112"/>
                    </a:lnTo>
                    <a:lnTo>
                      <a:pt x="970" y="114"/>
                    </a:lnTo>
                    <a:lnTo>
                      <a:pt x="968" y="116"/>
                    </a:lnTo>
                    <a:lnTo>
                      <a:pt x="966" y="116"/>
                    </a:lnTo>
                    <a:lnTo>
                      <a:pt x="964" y="116"/>
                    </a:lnTo>
                    <a:lnTo>
                      <a:pt x="966" y="116"/>
                    </a:lnTo>
                    <a:lnTo>
                      <a:pt x="964" y="116"/>
                    </a:lnTo>
                    <a:lnTo>
                      <a:pt x="962" y="116"/>
                    </a:lnTo>
                    <a:lnTo>
                      <a:pt x="964" y="116"/>
                    </a:lnTo>
                    <a:lnTo>
                      <a:pt x="962" y="118"/>
                    </a:lnTo>
                    <a:lnTo>
                      <a:pt x="964" y="116"/>
                    </a:lnTo>
                    <a:lnTo>
                      <a:pt x="966" y="116"/>
                    </a:lnTo>
                    <a:lnTo>
                      <a:pt x="968" y="116"/>
                    </a:lnTo>
                    <a:lnTo>
                      <a:pt x="970" y="116"/>
                    </a:lnTo>
                    <a:lnTo>
                      <a:pt x="968" y="116"/>
                    </a:lnTo>
                    <a:lnTo>
                      <a:pt x="970" y="116"/>
                    </a:lnTo>
                    <a:lnTo>
                      <a:pt x="970" y="114"/>
                    </a:lnTo>
                    <a:lnTo>
                      <a:pt x="972" y="112"/>
                    </a:lnTo>
                    <a:lnTo>
                      <a:pt x="974" y="112"/>
                    </a:lnTo>
                    <a:lnTo>
                      <a:pt x="974" y="110"/>
                    </a:lnTo>
                    <a:lnTo>
                      <a:pt x="976" y="110"/>
                    </a:lnTo>
                    <a:lnTo>
                      <a:pt x="976" y="112"/>
                    </a:lnTo>
                    <a:lnTo>
                      <a:pt x="978" y="112"/>
                    </a:lnTo>
                    <a:lnTo>
                      <a:pt x="979" y="112"/>
                    </a:lnTo>
                    <a:lnTo>
                      <a:pt x="979" y="114"/>
                    </a:lnTo>
                    <a:lnTo>
                      <a:pt x="978" y="114"/>
                    </a:lnTo>
                    <a:lnTo>
                      <a:pt x="979" y="114"/>
                    </a:lnTo>
                    <a:lnTo>
                      <a:pt x="978" y="114"/>
                    </a:lnTo>
                    <a:lnTo>
                      <a:pt x="979" y="114"/>
                    </a:lnTo>
                    <a:lnTo>
                      <a:pt x="978" y="114"/>
                    </a:lnTo>
                    <a:lnTo>
                      <a:pt x="978" y="116"/>
                    </a:lnTo>
                    <a:lnTo>
                      <a:pt x="976" y="116"/>
                    </a:lnTo>
                    <a:lnTo>
                      <a:pt x="974" y="116"/>
                    </a:lnTo>
                    <a:lnTo>
                      <a:pt x="974" y="118"/>
                    </a:lnTo>
                    <a:lnTo>
                      <a:pt x="972" y="118"/>
                    </a:lnTo>
                    <a:lnTo>
                      <a:pt x="970" y="118"/>
                    </a:lnTo>
                    <a:lnTo>
                      <a:pt x="970" y="120"/>
                    </a:lnTo>
                    <a:lnTo>
                      <a:pt x="970" y="118"/>
                    </a:lnTo>
                    <a:lnTo>
                      <a:pt x="970" y="120"/>
                    </a:lnTo>
                    <a:lnTo>
                      <a:pt x="968" y="120"/>
                    </a:lnTo>
                    <a:lnTo>
                      <a:pt x="968" y="122"/>
                    </a:lnTo>
                    <a:lnTo>
                      <a:pt x="966" y="122"/>
                    </a:lnTo>
                    <a:lnTo>
                      <a:pt x="966" y="123"/>
                    </a:lnTo>
                    <a:lnTo>
                      <a:pt x="964" y="123"/>
                    </a:lnTo>
                    <a:lnTo>
                      <a:pt x="962" y="125"/>
                    </a:lnTo>
                    <a:lnTo>
                      <a:pt x="960" y="125"/>
                    </a:lnTo>
                    <a:lnTo>
                      <a:pt x="960" y="127"/>
                    </a:lnTo>
                    <a:lnTo>
                      <a:pt x="960" y="129"/>
                    </a:lnTo>
                    <a:lnTo>
                      <a:pt x="958" y="131"/>
                    </a:lnTo>
                    <a:lnTo>
                      <a:pt x="956" y="131"/>
                    </a:lnTo>
                    <a:lnTo>
                      <a:pt x="958" y="131"/>
                    </a:lnTo>
                    <a:lnTo>
                      <a:pt x="960" y="131"/>
                    </a:lnTo>
                    <a:lnTo>
                      <a:pt x="960" y="129"/>
                    </a:lnTo>
                    <a:lnTo>
                      <a:pt x="960" y="131"/>
                    </a:lnTo>
                    <a:lnTo>
                      <a:pt x="962" y="131"/>
                    </a:lnTo>
                    <a:lnTo>
                      <a:pt x="962" y="133"/>
                    </a:lnTo>
                    <a:lnTo>
                      <a:pt x="964" y="133"/>
                    </a:lnTo>
                    <a:lnTo>
                      <a:pt x="964" y="135"/>
                    </a:lnTo>
                    <a:lnTo>
                      <a:pt x="966" y="135"/>
                    </a:lnTo>
                    <a:lnTo>
                      <a:pt x="964" y="135"/>
                    </a:lnTo>
                    <a:lnTo>
                      <a:pt x="964" y="133"/>
                    </a:lnTo>
                    <a:lnTo>
                      <a:pt x="962" y="133"/>
                    </a:lnTo>
                    <a:lnTo>
                      <a:pt x="962" y="131"/>
                    </a:lnTo>
                    <a:lnTo>
                      <a:pt x="960" y="131"/>
                    </a:lnTo>
                    <a:lnTo>
                      <a:pt x="960" y="129"/>
                    </a:lnTo>
                    <a:lnTo>
                      <a:pt x="960" y="127"/>
                    </a:lnTo>
                    <a:lnTo>
                      <a:pt x="962" y="127"/>
                    </a:lnTo>
                    <a:lnTo>
                      <a:pt x="962" y="125"/>
                    </a:lnTo>
                    <a:lnTo>
                      <a:pt x="964" y="123"/>
                    </a:lnTo>
                    <a:lnTo>
                      <a:pt x="964" y="125"/>
                    </a:lnTo>
                    <a:lnTo>
                      <a:pt x="964" y="123"/>
                    </a:lnTo>
                    <a:lnTo>
                      <a:pt x="966" y="123"/>
                    </a:lnTo>
                    <a:lnTo>
                      <a:pt x="966" y="122"/>
                    </a:lnTo>
                    <a:lnTo>
                      <a:pt x="968" y="122"/>
                    </a:lnTo>
                    <a:lnTo>
                      <a:pt x="970" y="122"/>
                    </a:lnTo>
                    <a:lnTo>
                      <a:pt x="970" y="120"/>
                    </a:lnTo>
                    <a:lnTo>
                      <a:pt x="972" y="120"/>
                    </a:lnTo>
                    <a:lnTo>
                      <a:pt x="974" y="120"/>
                    </a:lnTo>
                    <a:lnTo>
                      <a:pt x="976" y="118"/>
                    </a:lnTo>
                    <a:lnTo>
                      <a:pt x="978" y="118"/>
                    </a:lnTo>
                    <a:lnTo>
                      <a:pt x="978" y="116"/>
                    </a:lnTo>
                    <a:lnTo>
                      <a:pt x="979" y="116"/>
                    </a:lnTo>
                    <a:lnTo>
                      <a:pt x="981" y="116"/>
                    </a:lnTo>
                    <a:lnTo>
                      <a:pt x="981" y="118"/>
                    </a:lnTo>
                    <a:lnTo>
                      <a:pt x="983" y="118"/>
                    </a:lnTo>
                    <a:lnTo>
                      <a:pt x="985" y="118"/>
                    </a:lnTo>
                    <a:lnTo>
                      <a:pt x="985" y="116"/>
                    </a:lnTo>
                    <a:lnTo>
                      <a:pt x="985" y="118"/>
                    </a:lnTo>
                    <a:lnTo>
                      <a:pt x="985" y="116"/>
                    </a:lnTo>
                    <a:lnTo>
                      <a:pt x="987" y="116"/>
                    </a:lnTo>
                    <a:lnTo>
                      <a:pt x="989" y="116"/>
                    </a:lnTo>
                    <a:lnTo>
                      <a:pt x="989" y="118"/>
                    </a:lnTo>
                    <a:lnTo>
                      <a:pt x="989" y="116"/>
                    </a:lnTo>
                    <a:lnTo>
                      <a:pt x="991" y="116"/>
                    </a:lnTo>
                    <a:lnTo>
                      <a:pt x="993" y="116"/>
                    </a:lnTo>
                    <a:lnTo>
                      <a:pt x="993" y="118"/>
                    </a:lnTo>
                    <a:lnTo>
                      <a:pt x="995" y="118"/>
                    </a:lnTo>
                    <a:lnTo>
                      <a:pt x="995" y="120"/>
                    </a:lnTo>
                    <a:lnTo>
                      <a:pt x="993" y="120"/>
                    </a:lnTo>
                    <a:lnTo>
                      <a:pt x="995" y="120"/>
                    </a:lnTo>
                    <a:lnTo>
                      <a:pt x="997" y="120"/>
                    </a:lnTo>
                    <a:lnTo>
                      <a:pt x="995" y="120"/>
                    </a:lnTo>
                    <a:lnTo>
                      <a:pt x="995" y="122"/>
                    </a:lnTo>
                    <a:lnTo>
                      <a:pt x="997" y="122"/>
                    </a:lnTo>
                    <a:lnTo>
                      <a:pt x="995" y="122"/>
                    </a:lnTo>
                    <a:lnTo>
                      <a:pt x="995" y="123"/>
                    </a:lnTo>
                    <a:lnTo>
                      <a:pt x="995" y="122"/>
                    </a:lnTo>
                    <a:lnTo>
                      <a:pt x="997" y="122"/>
                    </a:lnTo>
                    <a:lnTo>
                      <a:pt x="995" y="123"/>
                    </a:lnTo>
                    <a:lnTo>
                      <a:pt x="997" y="123"/>
                    </a:lnTo>
                    <a:lnTo>
                      <a:pt x="999" y="123"/>
                    </a:lnTo>
                    <a:lnTo>
                      <a:pt x="997" y="122"/>
                    </a:lnTo>
                    <a:lnTo>
                      <a:pt x="997" y="123"/>
                    </a:lnTo>
                    <a:lnTo>
                      <a:pt x="995" y="123"/>
                    </a:lnTo>
                    <a:lnTo>
                      <a:pt x="997" y="122"/>
                    </a:lnTo>
                    <a:lnTo>
                      <a:pt x="995" y="122"/>
                    </a:lnTo>
                    <a:lnTo>
                      <a:pt x="997" y="122"/>
                    </a:lnTo>
                    <a:lnTo>
                      <a:pt x="995" y="122"/>
                    </a:lnTo>
                    <a:lnTo>
                      <a:pt x="995" y="120"/>
                    </a:lnTo>
                    <a:lnTo>
                      <a:pt x="997" y="120"/>
                    </a:lnTo>
                    <a:lnTo>
                      <a:pt x="995" y="120"/>
                    </a:lnTo>
                    <a:lnTo>
                      <a:pt x="993" y="120"/>
                    </a:lnTo>
                    <a:lnTo>
                      <a:pt x="995" y="120"/>
                    </a:lnTo>
                    <a:lnTo>
                      <a:pt x="995" y="118"/>
                    </a:lnTo>
                    <a:lnTo>
                      <a:pt x="995" y="116"/>
                    </a:lnTo>
                    <a:lnTo>
                      <a:pt x="993" y="116"/>
                    </a:lnTo>
                    <a:lnTo>
                      <a:pt x="993" y="114"/>
                    </a:lnTo>
                    <a:lnTo>
                      <a:pt x="995" y="114"/>
                    </a:lnTo>
                    <a:lnTo>
                      <a:pt x="997" y="114"/>
                    </a:lnTo>
                    <a:lnTo>
                      <a:pt x="997" y="112"/>
                    </a:lnTo>
                    <a:lnTo>
                      <a:pt x="999" y="112"/>
                    </a:lnTo>
                    <a:lnTo>
                      <a:pt x="999" y="110"/>
                    </a:lnTo>
                    <a:lnTo>
                      <a:pt x="1001" y="110"/>
                    </a:lnTo>
                    <a:lnTo>
                      <a:pt x="999" y="110"/>
                    </a:lnTo>
                    <a:lnTo>
                      <a:pt x="1001" y="110"/>
                    </a:lnTo>
                    <a:lnTo>
                      <a:pt x="1001" y="108"/>
                    </a:lnTo>
                    <a:lnTo>
                      <a:pt x="1001" y="110"/>
                    </a:lnTo>
                    <a:lnTo>
                      <a:pt x="1003" y="108"/>
                    </a:lnTo>
                    <a:lnTo>
                      <a:pt x="1004" y="108"/>
                    </a:lnTo>
                    <a:lnTo>
                      <a:pt x="1004" y="106"/>
                    </a:lnTo>
                    <a:lnTo>
                      <a:pt x="1004" y="108"/>
                    </a:lnTo>
                    <a:lnTo>
                      <a:pt x="1006" y="108"/>
                    </a:lnTo>
                    <a:lnTo>
                      <a:pt x="1008" y="108"/>
                    </a:lnTo>
                    <a:lnTo>
                      <a:pt x="1008" y="110"/>
                    </a:lnTo>
                    <a:lnTo>
                      <a:pt x="1006" y="110"/>
                    </a:lnTo>
                    <a:lnTo>
                      <a:pt x="1008" y="110"/>
                    </a:lnTo>
                    <a:lnTo>
                      <a:pt x="1006" y="110"/>
                    </a:lnTo>
                    <a:lnTo>
                      <a:pt x="1008" y="110"/>
                    </a:lnTo>
                    <a:lnTo>
                      <a:pt x="1008" y="108"/>
                    </a:lnTo>
                    <a:lnTo>
                      <a:pt x="1006" y="108"/>
                    </a:lnTo>
                    <a:lnTo>
                      <a:pt x="1008" y="108"/>
                    </a:lnTo>
                    <a:lnTo>
                      <a:pt x="1006" y="108"/>
                    </a:lnTo>
                    <a:lnTo>
                      <a:pt x="1004" y="108"/>
                    </a:lnTo>
                    <a:lnTo>
                      <a:pt x="1004" y="106"/>
                    </a:lnTo>
                    <a:lnTo>
                      <a:pt x="1006" y="106"/>
                    </a:lnTo>
                    <a:lnTo>
                      <a:pt x="1006" y="104"/>
                    </a:lnTo>
                    <a:lnTo>
                      <a:pt x="1006" y="106"/>
                    </a:lnTo>
                    <a:lnTo>
                      <a:pt x="1008" y="106"/>
                    </a:lnTo>
                    <a:lnTo>
                      <a:pt x="1008" y="108"/>
                    </a:lnTo>
                    <a:lnTo>
                      <a:pt x="1008" y="106"/>
                    </a:lnTo>
                    <a:lnTo>
                      <a:pt x="1006" y="106"/>
                    </a:lnTo>
                    <a:lnTo>
                      <a:pt x="1006" y="104"/>
                    </a:lnTo>
                    <a:lnTo>
                      <a:pt x="1008" y="102"/>
                    </a:lnTo>
                    <a:lnTo>
                      <a:pt x="1010" y="100"/>
                    </a:lnTo>
                    <a:lnTo>
                      <a:pt x="1012" y="98"/>
                    </a:lnTo>
                    <a:lnTo>
                      <a:pt x="1014" y="98"/>
                    </a:lnTo>
                    <a:lnTo>
                      <a:pt x="1014" y="100"/>
                    </a:lnTo>
                    <a:lnTo>
                      <a:pt x="1016" y="100"/>
                    </a:lnTo>
                    <a:lnTo>
                      <a:pt x="1016" y="102"/>
                    </a:lnTo>
                    <a:lnTo>
                      <a:pt x="1018" y="102"/>
                    </a:lnTo>
                    <a:lnTo>
                      <a:pt x="1018" y="104"/>
                    </a:lnTo>
                    <a:lnTo>
                      <a:pt x="1016" y="104"/>
                    </a:lnTo>
                    <a:lnTo>
                      <a:pt x="1016" y="106"/>
                    </a:lnTo>
                    <a:lnTo>
                      <a:pt x="1016" y="104"/>
                    </a:lnTo>
                    <a:lnTo>
                      <a:pt x="1018" y="106"/>
                    </a:lnTo>
                    <a:lnTo>
                      <a:pt x="1018" y="104"/>
                    </a:lnTo>
                    <a:lnTo>
                      <a:pt x="1020" y="104"/>
                    </a:lnTo>
                    <a:lnTo>
                      <a:pt x="1022" y="104"/>
                    </a:lnTo>
                    <a:lnTo>
                      <a:pt x="1022" y="106"/>
                    </a:lnTo>
                    <a:lnTo>
                      <a:pt x="1022" y="104"/>
                    </a:lnTo>
                    <a:lnTo>
                      <a:pt x="1024" y="104"/>
                    </a:lnTo>
                    <a:lnTo>
                      <a:pt x="1024" y="106"/>
                    </a:lnTo>
                    <a:lnTo>
                      <a:pt x="1026" y="106"/>
                    </a:lnTo>
                    <a:lnTo>
                      <a:pt x="1024" y="106"/>
                    </a:lnTo>
                    <a:lnTo>
                      <a:pt x="1024" y="104"/>
                    </a:lnTo>
                    <a:lnTo>
                      <a:pt x="1022" y="104"/>
                    </a:lnTo>
                    <a:lnTo>
                      <a:pt x="1022" y="106"/>
                    </a:lnTo>
                    <a:lnTo>
                      <a:pt x="1022" y="104"/>
                    </a:lnTo>
                    <a:lnTo>
                      <a:pt x="1020" y="104"/>
                    </a:lnTo>
                    <a:lnTo>
                      <a:pt x="1018" y="104"/>
                    </a:lnTo>
                    <a:lnTo>
                      <a:pt x="1018" y="106"/>
                    </a:lnTo>
                    <a:lnTo>
                      <a:pt x="1016" y="104"/>
                    </a:lnTo>
                    <a:lnTo>
                      <a:pt x="1016" y="106"/>
                    </a:lnTo>
                    <a:lnTo>
                      <a:pt x="1016" y="104"/>
                    </a:lnTo>
                    <a:lnTo>
                      <a:pt x="1018" y="104"/>
                    </a:lnTo>
                    <a:lnTo>
                      <a:pt x="1018" y="102"/>
                    </a:lnTo>
                    <a:lnTo>
                      <a:pt x="1016" y="102"/>
                    </a:lnTo>
                    <a:lnTo>
                      <a:pt x="1016" y="100"/>
                    </a:lnTo>
                    <a:lnTo>
                      <a:pt x="1014" y="100"/>
                    </a:lnTo>
                    <a:lnTo>
                      <a:pt x="1014" y="98"/>
                    </a:lnTo>
                    <a:lnTo>
                      <a:pt x="1014" y="97"/>
                    </a:lnTo>
                    <a:lnTo>
                      <a:pt x="1016" y="97"/>
                    </a:lnTo>
                    <a:lnTo>
                      <a:pt x="1018" y="97"/>
                    </a:lnTo>
                    <a:lnTo>
                      <a:pt x="1016" y="97"/>
                    </a:lnTo>
                    <a:lnTo>
                      <a:pt x="1014" y="97"/>
                    </a:lnTo>
                    <a:lnTo>
                      <a:pt x="1016" y="97"/>
                    </a:lnTo>
                    <a:lnTo>
                      <a:pt x="1016" y="95"/>
                    </a:lnTo>
                    <a:lnTo>
                      <a:pt x="1016" y="93"/>
                    </a:lnTo>
                    <a:lnTo>
                      <a:pt x="1018" y="93"/>
                    </a:lnTo>
                    <a:lnTo>
                      <a:pt x="1020" y="91"/>
                    </a:lnTo>
                    <a:lnTo>
                      <a:pt x="1020" y="89"/>
                    </a:lnTo>
                    <a:lnTo>
                      <a:pt x="1022" y="89"/>
                    </a:lnTo>
                    <a:lnTo>
                      <a:pt x="1022" y="87"/>
                    </a:lnTo>
                    <a:lnTo>
                      <a:pt x="1024" y="87"/>
                    </a:lnTo>
                    <a:lnTo>
                      <a:pt x="1024" y="85"/>
                    </a:lnTo>
                    <a:lnTo>
                      <a:pt x="1024" y="83"/>
                    </a:lnTo>
                    <a:lnTo>
                      <a:pt x="1026" y="83"/>
                    </a:lnTo>
                    <a:lnTo>
                      <a:pt x="1024" y="83"/>
                    </a:lnTo>
                    <a:lnTo>
                      <a:pt x="1026" y="83"/>
                    </a:lnTo>
                    <a:lnTo>
                      <a:pt x="1026" y="81"/>
                    </a:lnTo>
                    <a:lnTo>
                      <a:pt x="1028" y="81"/>
                    </a:lnTo>
                    <a:lnTo>
                      <a:pt x="1028" y="79"/>
                    </a:lnTo>
                    <a:lnTo>
                      <a:pt x="1029" y="79"/>
                    </a:lnTo>
                    <a:lnTo>
                      <a:pt x="1029" y="77"/>
                    </a:lnTo>
                    <a:lnTo>
                      <a:pt x="1031" y="77"/>
                    </a:lnTo>
                    <a:lnTo>
                      <a:pt x="1031" y="75"/>
                    </a:lnTo>
                    <a:lnTo>
                      <a:pt x="1033" y="75"/>
                    </a:lnTo>
                    <a:lnTo>
                      <a:pt x="1033" y="73"/>
                    </a:lnTo>
                    <a:lnTo>
                      <a:pt x="1035" y="72"/>
                    </a:lnTo>
                    <a:lnTo>
                      <a:pt x="1037" y="72"/>
                    </a:lnTo>
                    <a:lnTo>
                      <a:pt x="1037" y="70"/>
                    </a:lnTo>
                    <a:lnTo>
                      <a:pt x="1039" y="70"/>
                    </a:lnTo>
                    <a:lnTo>
                      <a:pt x="1041" y="68"/>
                    </a:lnTo>
                    <a:lnTo>
                      <a:pt x="1043" y="66"/>
                    </a:lnTo>
                    <a:lnTo>
                      <a:pt x="1045" y="66"/>
                    </a:lnTo>
                    <a:lnTo>
                      <a:pt x="1045" y="64"/>
                    </a:lnTo>
                    <a:lnTo>
                      <a:pt x="1045" y="62"/>
                    </a:lnTo>
                    <a:lnTo>
                      <a:pt x="1047" y="60"/>
                    </a:lnTo>
                    <a:lnTo>
                      <a:pt x="1049" y="58"/>
                    </a:lnTo>
                    <a:lnTo>
                      <a:pt x="1051" y="58"/>
                    </a:lnTo>
                    <a:lnTo>
                      <a:pt x="1051" y="56"/>
                    </a:lnTo>
                    <a:lnTo>
                      <a:pt x="1053" y="56"/>
                    </a:lnTo>
                    <a:lnTo>
                      <a:pt x="1054" y="54"/>
                    </a:lnTo>
                    <a:lnTo>
                      <a:pt x="1056" y="54"/>
                    </a:lnTo>
                    <a:lnTo>
                      <a:pt x="1056" y="52"/>
                    </a:lnTo>
                    <a:lnTo>
                      <a:pt x="1058" y="52"/>
                    </a:lnTo>
                    <a:lnTo>
                      <a:pt x="1060" y="52"/>
                    </a:lnTo>
                    <a:lnTo>
                      <a:pt x="1060" y="50"/>
                    </a:lnTo>
                    <a:lnTo>
                      <a:pt x="1062" y="50"/>
                    </a:lnTo>
                    <a:lnTo>
                      <a:pt x="1062" y="52"/>
                    </a:lnTo>
                    <a:lnTo>
                      <a:pt x="1064" y="52"/>
                    </a:lnTo>
                    <a:lnTo>
                      <a:pt x="1064" y="54"/>
                    </a:lnTo>
                    <a:lnTo>
                      <a:pt x="1064" y="52"/>
                    </a:lnTo>
                    <a:lnTo>
                      <a:pt x="1062" y="52"/>
                    </a:lnTo>
                    <a:lnTo>
                      <a:pt x="1064" y="52"/>
                    </a:lnTo>
                    <a:lnTo>
                      <a:pt x="1064" y="54"/>
                    </a:lnTo>
                    <a:lnTo>
                      <a:pt x="1066" y="54"/>
                    </a:lnTo>
                    <a:lnTo>
                      <a:pt x="1064" y="54"/>
                    </a:lnTo>
                    <a:lnTo>
                      <a:pt x="1066" y="54"/>
                    </a:lnTo>
                    <a:lnTo>
                      <a:pt x="1066" y="56"/>
                    </a:lnTo>
                    <a:lnTo>
                      <a:pt x="1066" y="54"/>
                    </a:lnTo>
                    <a:lnTo>
                      <a:pt x="1068" y="54"/>
                    </a:lnTo>
                    <a:lnTo>
                      <a:pt x="1068" y="56"/>
                    </a:lnTo>
                    <a:lnTo>
                      <a:pt x="1068" y="58"/>
                    </a:lnTo>
                    <a:lnTo>
                      <a:pt x="1070" y="58"/>
                    </a:lnTo>
                    <a:lnTo>
                      <a:pt x="1072" y="58"/>
                    </a:lnTo>
                    <a:lnTo>
                      <a:pt x="1072" y="60"/>
                    </a:lnTo>
                    <a:lnTo>
                      <a:pt x="1072" y="58"/>
                    </a:lnTo>
                    <a:lnTo>
                      <a:pt x="1072" y="60"/>
                    </a:lnTo>
                    <a:lnTo>
                      <a:pt x="1072" y="62"/>
                    </a:lnTo>
                    <a:lnTo>
                      <a:pt x="1074" y="62"/>
                    </a:lnTo>
                    <a:lnTo>
                      <a:pt x="1076" y="62"/>
                    </a:lnTo>
                    <a:lnTo>
                      <a:pt x="1076" y="64"/>
                    </a:lnTo>
                    <a:lnTo>
                      <a:pt x="1076" y="62"/>
                    </a:lnTo>
                    <a:lnTo>
                      <a:pt x="1074" y="62"/>
                    </a:lnTo>
                    <a:lnTo>
                      <a:pt x="1072" y="62"/>
                    </a:lnTo>
                    <a:lnTo>
                      <a:pt x="1072" y="60"/>
                    </a:lnTo>
                    <a:lnTo>
                      <a:pt x="1074" y="60"/>
                    </a:lnTo>
                    <a:lnTo>
                      <a:pt x="1072" y="58"/>
                    </a:lnTo>
                    <a:lnTo>
                      <a:pt x="1072" y="60"/>
                    </a:lnTo>
                    <a:lnTo>
                      <a:pt x="1072" y="58"/>
                    </a:lnTo>
                    <a:lnTo>
                      <a:pt x="1070" y="58"/>
                    </a:lnTo>
                    <a:lnTo>
                      <a:pt x="1068" y="58"/>
                    </a:lnTo>
                    <a:lnTo>
                      <a:pt x="1070" y="58"/>
                    </a:lnTo>
                    <a:lnTo>
                      <a:pt x="1068" y="58"/>
                    </a:lnTo>
                    <a:lnTo>
                      <a:pt x="1068" y="56"/>
                    </a:lnTo>
                    <a:lnTo>
                      <a:pt x="1068" y="54"/>
                    </a:lnTo>
                    <a:lnTo>
                      <a:pt x="1066" y="54"/>
                    </a:lnTo>
                    <a:lnTo>
                      <a:pt x="1064" y="54"/>
                    </a:lnTo>
                    <a:lnTo>
                      <a:pt x="1064" y="52"/>
                    </a:lnTo>
                    <a:lnTo>
                      <a:pt x="1066" y="52"/>
                    </a:lnTo>
                    <a:lnTo>
                      <a:pt x="1064" y="52"/>
                    </a:lnTo>
                    <a:lnTo>
                      <a:pt x="1062" y="52"/>
                    </a:lnTo>
                    <a:lnTo>
                      <a:pt x="1062" y="50"/>
                    </a:lnTo>
                    <a:lnTo>
                      <a:pt x="1062" y="48"/>
                    </a:lnTo>
                    <a:lnTo>
                      <a:pt x="1064" y="48"/>
                    </a:lnTo>
                    <a:lnTo>
                      <a:pt x="1064" y="47"/>
                    </a:lnTo>
                    <a:lnTo>
                      <a:pt x="1066" y="47"/>
                    </a:lnTo>
                    <a:lnTo>
                      <a:pt x="1068" y="47"/>
                    </a:lnTo>
                    <a:lnTo>
                      <a:pt x="1068" y="45"/>
                    </a:lnTo>
                    <a:lnTo>
                      <a:pt x="1068" y="47"/>
                    </a:lnTo>
                    <a:lnTo>
                      <a:pt x="1068" y="45"/>
                    </a:lnTo>
                    <a:lnTo>
                      <a:pt x="1068" y="47"/>
                    </a:lnTo>
                    <a:lnTo>
                      <a:pt x="1068" y="45"/>
                    </a:lnTo>
                    <a:lnTo>
                      <a:pt x="1068" y="47"/>
                    </a:lnTo>
                    <a:lnTo>
                      <a:pt x="1068" y="45"/>
                    </a:lnTo>
                    <a:lnTo>
                      <a:pt x="1070" y="45"/>
                    </a:lnTo>
                    <a:lnTo>
                      <a:pt x="1070" y="43"/>
                    </a:lnTo>
                    <a:lnTo>
                      <a:pt x="1072" y="43"/>
                    </a:lnTo>
                    <a:lnTo>
                      <a:pt x="1074" y="43"/>
                    </a:lnTo>
                    <a:lnTo>
                      <a:pt x="1072" y="43"/>
                    </a:lnTo>
                    <a:lnTo>
                      <a:pt x="1074" y="43"/>
                    </a:lnTo>
                    <a:lnTo>
                      <a:pt x="1074" y="41"/>
                    </a:lnTo>
                    <a:lnTo>
                      <a:pt x="1074" y="43"/>
                    </a:lnTo>
                    <a:lnTo>
                      <a:pt x="1074" y="41"/>
                    </a:lnTo>
                    <a:lnTo>
                      <a:pt x="1074" y="43"/>
                    </a:lnTo>
                    <a:lnTo>
                      <a:pt x="1074" y="41"/>
                    </a:lnTo>
                    <a:lnTo>
                      <a:pt x="1076" y="41"/>
                    </a:lnTo>
                    <a:lnTo>
                      <a:pt x="1076" y="43"/>
                    </a:lnTo>
                    <a:lnTo>
                      <a:pt x="1076" y="41"/>
                    </a:lnTo>
                    <a:lnTo>
                      <a:pt x="1077" y="41"/>
                    </a:lnTo>
                    <a:lnTo>
                      <a:pt x="1077" y="39"/>
                    </a:lnTo>
                    <a:lnTo>
                      <a:pt x="1077" y="41"/>
                    </a:lnTo>
                    <a:lnTo>
                      <a:pt x="1077" y="39"/>
                    </a:lnTo>
                    <a:lnTo>
                      <a:pt x="1079" y="39"/>
                    </a:lnTo>
                    <a:lnTo>
                      <a:pt x="1079" y="41"/>
                    </a:lnTo>
                    <a:lnTo>
                      <a:pt x="1077" y="41"/>
                    </a:lnTo>
                    <a:lnTo>
                      <a:pt x="1079" y="41"/>
                    </a:lnTo>
                    <a:lnTo>
                      <a:pt x="1077" y="41"/>
                    </a:lnTo>
                    <a:lnTo>
                      <a:pt x="1079" y="41"/>
                    </a:lnTo>
                    <a:lnTo>
                      <a:pt x="1079" y="39"/>
                    </a:lnTo>
                    <a:lnTo>
                      <a:pt x="1081" y="39"/>
                    </a:lnTo>
                    <a:lnTo>
                      <a:pt x="1081" y="37"/>
                    </a:lnTo>
                    <a:lnTo>
                      <a:pt x="1081" y="39"/>
                    </a:lnTo>
                    <a:lnTo>
                      <a:pt x="1081" y="37"/>
                    </a:lnTo>
                    <a:lnTo>
                      <a:pt x="1081" y="39"/>
                    </a:lnTo>
                    <a:lnTo>
                      <a:pt x="1081" y="37"/>
                    </a:lnTo>
                    <a:lnTo>
                      <a:pt x="1081" y="39"/>
                    </a:lnTo>
                    <a:lnTo>
                      <a:pt x="1081" y="37"/>
                    </a:lnTo>
                    <a:lnTo>
                      <a:pt x="1083" y="37"/>
                    </a:lnTo>
                    <a:lnTo>
                      <a:pt x="1085" y="37"/>
                    </a:lnTo>
                    <a:lnTo>
                      <a:pt x="1083" y="37"/>
                    </a:lnTo>
                    <a:lnTo>
                      <a:pt x="1085" y="37"/>
                    </a:lnTo>
                    <a:lnTo>
                      <a:pt x="1085" y="35"/>
                    </a:lnTo>
                    <a:lnTo>
                      <a:pt x="1087" y="35"/>
                    </a:lnTo>
                    <a:lnTo>
                      <a:pt x="1089" y="35"/>
                    </a:lnTo>
                    <a:lnTo>
                      <a:pt x="1089" y="33"/>
                    </a:lnTo>
                    <a:lnTo>
                      <a:pt x="1091" y="33"/>
                    </a:lnTo>
                    <a:lnTo>
                      <a:pt x="1089" y="33"/>
                    </a:lnTo>
                    <a:lnTo>
                      <a:pt x="1089" y="35"/>
                    </a:lnTo>
                    <a:lnTo>
                      <a:pt x="1091" y="33"/>
                    </a:lnTo>
                    <a:lnTo>
                      <a:pt x="1093" y="33"/>
                    </a:lnTo>
                    <a:lnTo>
                      <a:pt x="1095" y="31"/>
                    </a:lnTo>
                    <a:lnTo>
                      <a:pt x="1097" y="31"/>
                    </a:lnTo>
                    <a:lnTo>
                      <a:pt x="1099" y="31"/>
                    </a:lnTo>
                    <a:lnTo>
                      <a:pt x="1101" y="29"/>
                    </a:lnTo>
                    <a:lnTo>
                      <a:pt x="1099" y="29"/>
                    </a:lnTo>
                    <a:lnTo>
                      <a:pt x="1101" y="29"/>
                    </a:lnTo>
                    <a:lnTo>
                      <a:pt x="1102" y="29"/>
                    </a:lnTo>
                    <a:lnTo>
                      <a:pt x="1102" y="31"/>
                    </a:lnTo>
                    <a:lnTo>
                      <a:pt x="1102" y="29"/>
                    </a:lnTo>
                    <a:lnTo>
                      <a:pt x="1102" y="31"/>
                    </a:lnTo>
                    <a:lnTo>
                      <a:pt x="1102" y="33"/>
                    </a:lnTo>
                    <a:lnTo>
                      <a:pt x="1102" y="35"/>
                    </a:lnTo>
                    <a:lnTo>
                      <a:pt x="1101" y="37"/>
                    </a:lnTo>
                    <a:lnTo>
                      <a:pt x="1099" y="39"/>
                    </a:lnTo>
                    <a:lnTo>
                      <a:pt x="1099" y="41"/>
                    </a:lnTo>
                    <a:lnTo>
                      <a:pt x="1101" y="41"/>
                    </a:lnTo>
                    <a:lnTo>
                      <a:pt x="1101" y="43"/>
                    </a:lnTo>
                    <a:lnTo>
                      <a:pt x="1101" y="41"/>
                    </a:lnTo>
                    <a:lnTo>
                      <a:pt x="1101" y="43"/>
                    </a:lnTo>
                    <a:lnTo>
                      <a:pt x="1101" y="41"/>
                    </a:lnTo>
                    <a:lnTo>
                      <a:pt x="1101" y="43"/>
                    </a:lnTo>
                    <a:lnTo>
                      <a:pt x="1102" y="43"/>
                    </a:lnTo>
                    <a:lnTo>
                      <a:pt x="1102" y="41"/>
                    </a:lnTo>
                    <a:lnTo>
                      <a:pt x="1102" y="43"/>
                    </a:lnTo>
                    <a:lnTo>
                      <a:pt x="1102" y="45"/>
                    </a:lnTo>
                    <a:lnTo>
                      <a:pt x="1104" y="45"/>
                    </a:lnTo>
                    <a:lnTo>
                      <a:pt x="1104" y="47"/>
                    </a:lnTo>
                    <a:lnTo>
                      <a:pt x="1104" y="45"/>
                    </a:lnTo>
                    <a:lnTo>
                      <a:pt x="1102" y="45"/>
                    </a:lnTo>
                    <a:lnTo>
                      <a:pt x="1102" y="47"/>
                    </a:lnTo>
                    <a:lnTo>
                      <a:pt x="1102" y="45"/>
                    </a:lnTo>
                    <a:lnTo>
                      <a:pt x="1104" y="47"/>
                    </a:lnTo>
                    <a:lnTo>
                      <a:pt x="1102" y="47"/>
                    </a:lnTo>
                    <a:lnTo>
                      <a:pt x="1104" y="47"/>
                    </a:lnTo>
                    <a:lnTo>
                      <a:pt x="1102" y="47"/>
                    </a:lnTo>
                    <a:lnTo>
                      <a:pt x="1104" y="47"/>
                    </a:lnTo>
                    <a:lnTo>
                      <a:pt x="1106" y="47"/>
                    </a:lnTo>
                    <a:lnTo>
                      <a:pt x="1104" y="47"/>
                    </a:lnTo>
                    <a:lnTo>
                      <a:pt x="1104" y="48"/>
                    </a:lnTo>
                    <a:lnTo>
                      <a:pt x="1106" y="48"/>
                    </a:lnTo>
                    <a:lnTo>
                      <a:pt x="1104" y="48"/>
                    </a:lnTo>
                    <a:lnTo>
                      <a:pt x="1104" y="50"/>
                    </a:lnTo>
                    <a:lnTo>
                      <a:pt x="1106" y="52"/>
                    </a:lnTo>
                    <a:lnTo>
                      <a:pt x="1108" y="52"/>
                    </a:lnTo>
                    <a:lnTo>
                      <a:pt x="1106" y="52"/>
                    </a:lnTo>
                    <a:lnTo>
                      <a:pt x="1106" y="54"/>
                    </a:lnTo>
                    <a:lnTo>
                      <a:pt x="1108" y="54"/>
                    </a:lnTo>
                    <a:lnTo>
                      <a:pt x="1108" y="56"/>
                    </a:lnTo>
                    <a:lnTo>
                      <a:pt x="1108" y="54"/>
                    </a:lnTo>
                    <a:lnTo>
                      <a:pt x="1106" y="54"/>
                    </a:lnTo>
                    <a:lnTo>
                      <a:pt x="1106" y="52"/>
                    </a:lnTo>
                    <a:lnTo>
                      <a:pt x="1108" y="52"/>
                    </a:lnTo>
                    <a:lnTo>
                      <a:pt x="1106" y="52"/>
                    </a:lnTo>
                    <a:lnTo>
                      <a:pt x="1106" y="50"/>
                    </a:lnTo>
                    <a:lnTo>
                      <a:pt x="1104" y="50"/>
                    </a:lnTo>
                    <a:lnTo>
                      <a:pt x="1106" y="50"/>
                    </a:lnTo>
                    <a:lnTo>
                      <a:pt x="1104" y="48"/>
                    </a:lnTo>
                    <a:lnTo>
                      <a:pt x="1106" y="48"/>
                    </a:lnTo>
                    <a:lnTo>
                      <a:pt x="1104" y="48"/>
                    </a:lnTo>
                    <a:lnTo>
                      <a:pt x="1104" y="47"/>
                    </a:lnTo>
                    <a:lnTo>
                      <a:pt x="1106" y="47"/>
                    </a:lnTo>
                    <a:lnTo>
                      <a:pt x="1104" y="47"/>
                    </a:lnTo>
                    <a:lnTo>
                      <a:pt x="1106" y="47"/>
                    </a:lnTo>
                    <a:lnTo>
                      <a:pt x="1104" y="47"/>
                    </a:lnTo>
                    <a:lnTo>
                      <a:pt x="1104" y="45"/>
                    </a:lnTo>
                    <a:lnTo>
                      <a:pt x="1102" y="45"/>
                    </a:lnTo>
                    <a:lnTo>
                      <a:pt x="1102" y="43"/>
                    </a:lnTo>
                    <a:lnTo>
                      <a:pt x="1102" y="41"/>
                    </a:lnTo>
                    <a:lnTo>
                      <a:pt x="1101" y="41"/>
                    </a:lnTo>
                    <a:lnTo>
                      <a:pt x="1099" y="41"/>
                    </a:lnTo>
                    <a:lnTo>
                      <a:pt x="1099" y="39"/>
                    </a:lnTo>
                    <a:lnTo>
                      <a:pt x="1101" y="37"/>
                    </a:lnTo>
                    <a:lnTo>
                      <a:pt x="1102" y="37"/>
                    </a:lnTo>
                    <a:lnTo>
                      <a:pt x="1102" y="35"/>
                    </a:lnTo>
                    <a:lnTo>
                      <a:pt x="1102" y="33"/>
                    </a:lnTo>
                    <a:lnTo>
                      <a:pt x="1102" y="31"/>
                    </a:lnTo>
                    <a:lnTo>
                      <a:pt x="1102" y="29"/>
                    </a:lnTo>
                    <a:lnTo>
                      <a:pt x="1104" y="29"/>
                    </a:lnTo>
                    <a:lnTo>
                      <a:pt x="1104" y="27"/>
                    </a:lnTo>
                    <a:lnTo>
                      <a:pt x="1104" y="29"/>
                    </a:lnTo>
                    <a:lnTo>
                      <a:pt x="1106" y="29"/>
                    </a:lnTo>
                    <a:lnTo>
                      <a:pt x="1106" y="27"/>
                    </a:lnTo>
                    <a:lnTo>
                      <a:pt x="1108" y="27"/>
                    </a:lnTo>
                    <a:lnTo>
                      <a:pt x="1110" y="27"/>
                    </a:lnTo>
                    <a:lnTo>
                      <a:pt x="1112" y="27"/>
                    </a:lnTo>
                    <a:lnTo>
                      <a:pt x="1114" y="27"/>
                    </a:lnTo>
                    <a:lnTo>
                      <a:pt x="1114" y="25"/>
                    </a:lnTo>
                    <a:lnTo>
                      <a:pt x="1116" y="25"/>
                    </a:lnTo>
                    <a:lnTo>
                      <a:pt x="1118" y="25"/>
                    </a:lnTo>
                    <a:lnTo>
                      <a:pt x="1120" y="25"/>
                    </a:lnTo>
                    <a:lnTo>
                      <a:pt x="1124" y="25"/>
                    </a:lnTo>
                    <a:lnTo>
                      <a:pt x="1126" y="25"/>
                    </a:lnTo>
                    <a:lnTo>
                      <a:pt x="1127" y="25"/>
                    </a:lnTo>
                    <a:lnTo>
                      <a:pt x="1129" y="25"/>
                    </a:lnTo>
                    <a:lnTo>
                      <a:pt x="1131" y="25"/>
                    </a:lnTo>
                    <a:lnTo>
                      <a:pt x="1133" y="25"/>
                    </a:lnTo>
                    <a:lnTo>
                      <a:pt x="1133" y="27"/>
                    </a:lnTo>
                    <a:lnTo>
                      <a:pt x="1135" y="27"/>
                    </a:lnTo>
                    <a:lnTo>
                      <a:pt x="1137" y="27"/>
                    </a:lnTo>
                    <a:lnTo>
                      <a:pt x="1139" y="27"/>
                    </a:lnTo>
                    <a:lnTo>
                      <a:pt x="1141" y="29"/>
                    </a:lnTo>
                    <a:lnTo>
                      <a:pt x="1143" y="29"/>
                    </a:lnTo>
                    <a:lnTo>
                      <a:pt x="1143" y="31"/>
                    </a:lnTo>
                    <a:lnTo>
                      <a:pt x="1145" y="31"/>
                    </a:lnTo>
                    <a:lnTo>
                      <a:pt x="1147" y="31"/>
                    </a:lnTo>
                    <a:lnTo>
                      <a:pt x="1147" y="33"/>
                    </a:lnTo>
                    <a:lnTo>
                      <a:pt x="1149" y="33"/>
                    </a:lnTo>
                    <a:lnTo>
                      <a:pt x="1150" y="35"/>
                    </a:lnTo>
                    <a:lnTo>
                      <a:pt x="1152" y="35"/>
                    </a:lnTo>
                    <a:lnTo>
                      <a:pt x="1152" y="37"/>
                    </a:lnTo>
                    <a:lnTo>
                      <a:pt x="1154" y="37"/>
                    </a:lnTo>
                    <a:lnTo>
                      <a:pt x="1154" y="39"/>
                    </a:lnTo>
                    <a:lnTo>
                      <a:pt x="1156" y="41"/>
                    </a:lnTo>
                    <a:lnTo>
                      <a:pt x="1156" y="43"/>
                    </a:lnTo>
                    <a:lnTo>
                      <a:pt x="1156" y="45"/>
                    </a:lnTo>
                    <a:lnTo>
                      <a:pt x="1156" y="47"/>
                    </a:lnTo>
                    <a:lnTo>
                      <a:pt x="1156" y="48"/>
                    </a:lnTo>
                    <a:lnTo>
                      <a:pt x="1154" y="48"/>
                    </a:lnTo>
                    <a:lnTo>
                      <a:pt x="1154" y="47"/>
                    </a:lnTo>
                    <a:lnTo>
                      <a:pt x="1154" y="48"/>
                    </a:lnTo>
                    <a:lnTo>
                      <a:pt x="1152" y="48"/>
                    </a:lnTo>
                    <a:lnTo>
                      <a:pt x="1152" y="50"/>
                    </a:lnTo>
                    <a:lnTo>
                      <a:pt x="1152" y="52"/>
                    </a:lnTo>
                    <a:lnTo>
                      <a:pt x="1150" y="52"/>
                    </a:lnTo>
                    <a:lnTo>
                      <a:pt x="1150" y="54"/>
                    </a:lnTo>
                    <a:lnTo>
                      <a:pt x="1149" y="54"/>
                    </a:lnTo>
                    <a:lnTo>
                      <a:pt x="1150" y="56"/>
                    </a:lnTo>
                    <a:lnTo>
                      <a:pt x="1149" y="56"/>
                    </a:lnTo>
                    <a:lnTo>
                      <a:pt x="1149" y="58"/>
                    </a:lnTo>
                    <a:lnTo>
                      <a:pt x="1149" y="60"/>
                    </a:lnTo>
                    <a:lnTo>
                      <a:pt x="1149" y="62"/>
                    </a:lnTo>
                    <a:lnTo>
                      <a:pt x="1147" y="62"/>
                    </a:lnTo>
                    <a:lnTo>
                      <a:pt x="1149" y="62"/>
                    </a:lnTo>
                    <a:lnTo>
                      <a:pt x="1147" y="62"/>
                    </a:lnTo>
                    <a:lnTo>
                      <a:pt x="1147" y="64"/>
                    </a:lnTo>
                    <a:lnTo>
                      <a:pt x="1149" y="64"/>
                    </a:lnTo>
                    <a:lnTo>
                      <a:pt x="1147" y="64"/>
                    </a:lnTo>
                    <a:lnTo>
                      <a:pt x="1145" y="64"/>
                    </a:lnTo>
                    <a:lnTo>
                      <a:pt x="1147" y="66"/>
                    </a:lnTo>
                    <a:lnTo>
                      <a:pt x="1147" y="64"/>
                    </a:lnTo>
                    <a:lnTo>
                      <a:pt x="1147" y="66"/>
                    </a:lnTo>
                    <a:lnTo>
                      <a:pt x="1149" y="66"/>
                    </a:lnTo>
                    <a:lnTo>
                      <a:pt x="1149" y="64"/>
                    </a:lnTo>
                    <a:lnTo>
                      <a:pt x="1149" y="66"/>
                    </a:lnTo>
                    <a:lnTo>
                      <a:pt x="1149" y="64"/>
                    </a:lnTo>
                    <a:lnTo>
                      <a:pt x="1149" y="62"/>
                    </a:lnTo>
                    <a:lnTo>
                      <a:pt x="1149" y="60"/>
                    </a:lnTo>
                    <a:lnTo>
                      <a:pt x="1150" y="60"/>
                    </a:lnTo>
                    <a:lnTo>
                      <a:pt x="1149" y="60"/>
                    </a:lnTo>
                    <a:lnTo>
                      <a:pt x="1149" y="58"/>
                    </a:lnTo>
                    <a:lnTo>
                      <a:pt x="1150" y="58"/>
                    </a:lnTo>
                    <a:lnTo>
                      <a:pt x="1149" y="58"/>
                    </a:lnTo>
                    <a:lnTo>
                      <a:pt x="1149" y="56"/>
                    </a:lnTo>
                    <a:lnTo>
                      <a:pt x="1150" y="56"/>
                    </a:lnTo>
                    <a:lnTo>
                      <a:pt x="1150" y="54"/>
                    </a:lnTo>
                    <a:lnTo>
                      <a:pt x="1150" y="52"/>
                    </a:lnTo>
                    <a:lnTo>
                      <a:pt x="1150" y="54"/>
                    </a:lnTo>
                    <a:lnTo>
                      <a:pt x="1150" y="52"/>
                    </a:lnTo>
                    <a:lnTo>
                      <a:pt x="1152" y="52"/>
                    </a:lnTo>
                    <a:lnTo>
                      <a:pt x="1152" y="50"/>
                    </a:lnTo>
                    <a:lnTo>
                      <a:pt x="1154" y="50"/>
                    </a:lnTo>
                    <a:lnTo>
                      <a:pt x="1152" y="50"/>
                    </a:lnTo>
                    <a:lnTo>
                      <a:pt x="1154" y="50"/>
                    </a:lnTo>
                    <a:lnTo>
                      <a:pt x="1156" y="48"/>
                    </a:lnTo>
                    <a:lnTo>
                      <a:pt x="1158" y="48"/>
                    </a:lnTo>
                    <a:lnTo>
                      <a:pt x="1158" y="50"/>
                    </a:lnTo>
                    <a:lnTo>
                      <a:pt x="1158" y="52"/>
                    </a:lnTo>
                    <a:lnTo>
                      <a:pt x="1158" y="50"/>
                    </a:lnTo>
                    <a:lnTo>
                      <a:pt x="1158" y="52"/>
                    </a:lnTo>
                    <a:lnTo>
                      <a:pt x="1160" y="52"/>
                    </a:lnTo>
                    <a:lnTo>
                      <a:pt x="1158" y="52"/>
                    </a:lnTo>
                    <a:lnTo>
                      <a:pt x="1160" y="54"/>
                    </a:lnTo>
                    <a:lnTo>
                      <a:pt x="1160" y="56"/>
                    </a:lnTo>
                    <a:lnTo>
                      <a:pt x="1160" y="58"/>
                    </a:lnTo>
                    <a:lnTo>
                      <a:pt x="1160" y="60"/>
                    </a:lnTo>
                    <a:lnTo>
                      <a:pt x="1160" y="62"/>
                    </a:lnTo>
                    <a:lnTo>
                      <a:pt x="1162" y="62"/>
                    </a:lnTo>
                    <a:lnTo>
                      <a:pt x="1164" y="62"/>
                    </a:lnTo>
                    <a:lnTo>
                      <a:pt x="1162" y="62"/>
                    </a:lnTo>
                    <a:lnTo>
                      <a:pt x="1164" y="62"/>
                    </a:lnTo>
                    <a:lnTo>
                      <a:pt x="1164" y="64"/>
                    </a:lnTo>
                    <a:lnTo>
                      <a:pt x="1162" y="62"/>
                    </a:lnTo>
                    <a:lnTo>
                      <a:pt x="1162" y="64"/>
                    </a:lnTo>
                    <a:lnTo>
                      <a:pt x="1164" y="64"/>
                    </a:lnTo>
                    <a:lnTo>
                      <a:pt x="1164" y="62"/>
                    </a:lnTo>
                    <a:lnTo>
                      <a:pt x="1164" y="64"/>
                    </a:lnTo>
                    <a:lnTo>
                      <a:pt x="1166" y="64"/>
                    </a:lnTo>
                    <a:lnTo>
                      <a:pt x="1164" y="64"/>
                    </a:lnTo>
                    <a:lnTo>
                      <a:pt x="1162" y="64"/>
                    </a:lnTo>
                    <a:lnTo>
                      <a:pt x="1164" y="64"/>
                    </a:lnTo>
                    <a:lnTo>
                      <a:pt x="1162" y="64"/>
                    </a:lnTo>
                    <a:lnTo>
                      <a:pt x="1160" y="64"/>
                    </a:lnTo>
                    <a:lnTo>
                      <a:pt x="1162" y="64"/>
                    </a:lnTo>
                    <a:lnTo>
                      <a:pt x="1164" y="64"/>
                    </a:lnTo>
                    <a:lnTo>
                      <a:pt x="1162" y="64"/>
                    </a:lnTo>
                    <a:lnTo>
                      <a:pt x="1164" y="64"/>
                    </a:lnTo>
                    <a:lnTo>
                      <a:pt x="1166" y="64"/>
                    </a:lnTo>
                    <a:lnTo>
                      <a:pt x="1166" y="66"/>
                    </a:lnTo>
                    <a:lnTo>
                      <a:pt x="1166" y="68"/>
                    </a:lnTo>
                    <a:lnTo>
                      <a:pt x="1168" y="68"/>
                    </a:lnTo>
                    <a:lnTo>
                      <a:pt x="1168" y="70"/>
                    </a:lnTo>
                    <a:lnTo>
                      <a:pt x="1168" y="72"/>
                    </a:lnTo>
                    <a:lnTo>
                      <a:pt x="1168" y="73"/>
                    </a:lnTo>
                    <a:lnTo>
                      <a:pt x="1166" y="73"/>
                    </a:lnTo>
                    <a:lnTo>
                      <a:pt x="1164" y="73"/>
                    </a:lnTo>
                    <a:lnTo>
                      <a:pt x="1164" y="75"/>
                    </a:lnTo>
                    <a:lnTo>
                      <a:pt x="1166" y="75"/>
                    </a:lnTo>
                    <a:lnTo>
                      <a:pt x="1166" y="77"/>
                    </a:lnTo>
                    <a:lnTo>
                      <a:pt x="1166" y="79"/>
                    </a:lnTo>
                    <a:lnTo>
                      <a:pt x="1164" y="79"/>
                    </a:lnTo>
                    <a:lnTo>
                      <a:pt x="1164" y="81"/>
                    </a:lnTo>
                    <a:lnTo>
                      <a:pt x="1162" y="81"/>
                    </a:lnTo>
                    <a:lnTo>
                      <a:pt x="1164" y="81"/>
                    </a:lnTo>
                    <a:lnTo>
                      <a:pt x="1164" y="83"/>
                    </a:lnTo>
                    <a:lnTo>
                      <a:pt x="1162" y="83"/>
                    </a:lnTo>
                    <a:lnTo>
                      <a:pt x="1164" y="83"/>
                    </a:lnTo>
                    <a:lnTo>
                      <a:pt x="1162" y="83"/>
                    </a:lnTo>
                    <a:lnTo>
                      <a:pt x="1162" y="85"/>
                    </a:lnTo>
                    <a:lnTo>
                      <a:pt x="1164" y="85"/>
                    </a:lnTo>
                    <a:lnTo>
                      <a:pt x="1162" y="85"/>
                    </a:lnTo>
                    <a:lnTo>
                      <a:pt x="1164" y="85"/>
                    </a:lnTo>
                    <a:lnTo>
                      <a:pt x="1164" y="83"/>
                    </a:lnTo>
                    <a:lnTo>
                      <a:pt x="1164" y="85"/>
                    </a:lnTo>
                    <a:lnTo>
                      <a:pt x="1162" y="83"/>
                    </a:lnTo>
                    <a:lnTo>
                      <a:pt x="1164" y="83"/>
                    </a:lnTo>
                    <a:lnTo>
                      <a:pt x="1164" y="81"/>
                    </a:lnTo>
                    <a:lnTo>
                      <a:pt x="1164" y="79"/>
                    </a:lnTo>
                    <a:lnTo>
                      <a:pt x="1166" y="79"/>
                    </a:lnTo>
                    <a:lnTo>
                      <a:pt x="1166" y="77"/>
                    </a:lnTo>
                    <a:lnTo>
                      <a:pt x="1166" y="75"/>
                    </a:lnTo>
                    <a:lnTo>
                      <a:pt x="1164" y="75"/>
                    </a:lnTo>
                    <a:lnTo>
                      <a:pt x="1164" y="73"/>
                    </a:lnTo>
                    <a:lnTo>
                      <a:pt x="1166" y="73"/>
                    </a:lnTo>
                    <a:lnTo>
                      <a:pt x="1168" y="73"/>
                    </a:lnTo>
                    <a:lnTo>
                      <a:pt x="1168" y="72"/>
                    </a:lnTo>
                    <a:lnTo>
                      <a:pt x="1168" y="70"/>
                    </a:lnTo>
                    <a:lnTo>
                      <a:pt x="1168" y="68"/>
                    </a:lnTo>
                    <a:lnTo>
                      <a:pt x="1166" y="68"/>
                    </a:lnTo>
                    <a:lnTo>
                      <a:pt x="1166" y="66"/>
                    </a:lnTo>
                    <a:lnTo>
                      <a:pt x="1168" y="66"/>
                    </a:lnTo>
                    <a:lnTo>
                      <a:pt x="1166" y="64"/>
                    </a:lnTo>
                    <a:lnTo>
                      <a:pt x="1168" y="64"/>
                    </a:lnTo>
                    <a:lnTo>
                      <a:pt x="1170" y="64"/>
                    </a:lnTo>
                    <a:lnTo>
                      <a:pt x="1170" y="62"/>
                    </a:lnTo>
                    <a:lnTo>
                      <a:pt x="1172" y="62"/>
                    </a:lnTo>
                    <a:lnTo>
                      <a:pt x="1172" y="64"/>
                    </a:lnTo>
                    <a:lnTo>
                      <a:pt x="1174" y="64"/>
                    </a:lnTo>
                    <a:lnTo>
                      <a:pt x="1175" y="64"/>
                    </a:lnTo>
                    <a:lnTo>
                      <a:pt x="1174" y="64"/>
                    </a:lnTo>
                    <a:lnTo>
                      <a:pt x="1172" y="64"/>
                    </a:lnTo>
                    <a:lnTo>
                      <a:pt x="1174" y="62"/>
                    </a:lnTo>
                    <a:lnTo>
                      <a:pt x="1174" y="64"/>
                    </a:lnTo>
                    <a:lnTo>
                      <a:pt x="1174" y="62"/>
                    </a:lnTo>
                    <a:lnTo>
                      <a:pt x="1174" y="64"/>
                    </a:lnTo>
                    <a:lnTo>
                      <a:pt x="1175" y="64"/>
                    </a:lnTo>
                    <a:lnTo>
                      <a:pt x="1175" y="62"/>
                    </a:lnTo>
                    <a:lnTo>
                      <a:pt x="1175" y="64"/>
                    </a:lnTo>
                    <a:lnTo>
                      <a:pt x="1175" y="62"/>
                    </a:lnTo>
                    <a:lnTo>
                      <a:pt x="1177" y="64"/>
                    </a:lnTo>
                    <a:lnTo>
                      <a:pt x="1177" y="62"/>
                    </a:lnTo>
                    <a:lnTo>
                      <a:pt x="1177" y="64"/>
                    </a:lnTo>
                    <a:lnTo>
                      <a:pt x="1177" y="62"/>
                    </a:lnTo>
                    <a:lnTo>
                      <a:pt x="1175" y="62"/>
                    </a:lnTo>
                    <a:lnTo>
                      <a:pt x="1177" y="60"/>
                    </a:lnTo>
                    <a:lnTo>
                      <a:pt x="1177" y="62"/>
                    </a:lnTo>
                    <a:lnTo>
                      <a:pt x="1179" y="62"/>
                    </a:lnTo>
                    <a:lnTo>
                      <a:pt x="1177" y="62"/>
                    </a:lnTo>
                    <a:lnTo>
                      <a:pt x="1177" y="60"/>
                    </a:lnTo>
                    <a:lnTo>
                      <a:pt x="1177" y="62"/>
                    </a:lnTo>
                    <a:lnTo>
                      <a:pt x="1179" y="60"/>
                    </a:lnTo>
                    <a:lnTo>
                      <a:pt x="1181" y="60"/>
                    </a:lnTo>
                    <a:lnTo>
                      <a:pt x="1181" y="62"/>
                    </a:lnTo>
                    <a:lnTo>
                      <a:pt x="1181" y="64"/>
                    </a:lnTo>
                    <a:lnTo>
                      <a:pt x="1183" y="64"/>
                    </a:lnTo>
                    <a:lnTo>
                      <a:pt x="1185" y="66"/>
                    </a:lnTo>
                    <a:lnTo>
                      <a:pt x="1187" y="66"/>
                    </a:lnTo>
                    <a:lnTo>
                      <a:pt x="1189" y="66"/>
                    </a:lnTo>
                    <a:lnTo>
                      <a:pt x="1191" y="66"/>
                    </a:lnTo>
                    <a:lnTo>
                      <a:pt x="1189" y="68"/>
                    </a:lnTo>
                    <a:lnTo>
                      <a:pt x="1191" y="68"/>
                    </a:lnTo>
                    <a:lnTo>
                      <a:pt x="1193" y="70"/>
                    </a:lnTo>
                    <a:lnTo>
                      <a:pt x="1195" y="70"/>
                    </a:lnTo>
                    <a:lnTo>
                      <a:pt x="1197" y="72"/>
                    </a:lnTo>
                    <a:lnTo>
                      <a:pt x="1197" y="70"/>
                    </a:lnTo>
                    <a:lnTo>
                      <a:pt x="1199" y="72"/>
                    </a:lnTo>
                    <a:lnTo>
                      <a:pt x="1197" y="70"/>
                    </a:lnTo>
                    <a:lnTo>
                      <a:pt x="1199" y="70"/>
                    </a:lnTo>
                    <a:lnTo>
                      <a:pt x="1199" y="72"/>
                    </a:lnTo>
                    <a:lnTo>
                      <a:pt x="1200" y="72"/>
                    </a:lnTo>
                    <a:lnTo>
                      <a:pt x="1202" y="72"/>
                    </a:lnTo>
                    <a:lnTo>
                      <a:pt x="1200" y="72"/>
                    </a:lnTo>
                    <a:lnTo>
                      <a:pt x="1202" y="72"/>
                    </a:lnTo>
                    <a:lnTo>
                      <a:pt x="1204" y="72"/>
                    </a:lnTo>
                    <a:lnTo>
                      <a:pt x="1206" y="72"/>
                    </a:lnTo>
                    <a:lnTo>
                      <a:pt x="1208" y="72"/>
                    </a:lnTo>
                    <a:lnTo>
                      <a:pt x="1206" y="72"/>
                    </a:lnTo>
                    <a:lnTo>
                      <a:pt x="1204" y="72"/>
                    </a:lnTo>
                    <a:lnTo>
                      <a:pt x="1202" y="72"/>
                    </a:lnTo>
                    <a:lnTo>
                      <a:pt x="1200" y="72"/>
                    </a:lnTo>
                    <a:lnTo>
                      <a:pt x="1199" y="72"/>
                    </a:lnTo>
                    <a:lnTo>
                      <a:pt x="1199" y="70"/>
                    </a:lnTo>
                    <a:lnTo>
                      <a:pt x="1197" y="70"/>
                    </a:lnTo>
                    <a:lnTo>
                      <a:pt x="1195" y="70"/>
                    </a:lnTo>
                    <a:lnTo>
                      <a:pt x="1193" y="70"/>
                    </a:lnTo>
                    <a:lnTo>
                      <a:pt x="1193" y="68"/>
                    </a:lnTo>
                    <a:lnTo>
                      <a:pt x="1191" y="68"/>
                    </a:lnTo>
                    <a:lnTo>
                      <a:pt x="1191" y="66"/>
                    </a:lnTo>
                    <a:lnTo>
                      <a:pt x="1189" y="66"/>
                    </a:lnTo>
                    <a:lnTo>
                      <a:pt x="1189" y="64"/>
                    </a:lnTo>
                    <a:lnTo>
                      <a:pt x="1187" y="64"/>
                    </a:lnTo>
                    <a:lnTo>
                      <a:pt x="1185" y="64"/>
                    </a:lnTo>
                    <a:lnTo>
                      <a:pt x="1183" y="64"/>
                    </a:lnTo>
                    <a:lnTo>
                      <a:pt x="1183" y="62"/>
                    </a:lnTo>
                    <a:lnTo>
                      <a:pt x="1181" y="62"/>
                    </a:lnTo>
                    <a:lnTo>
                      <a:pt x="1181" y="60"/>
                    </a:lnTo>
                    <a:lnTo>
                      <a:pt x="1183" y="60"/>
                    </a:lnTo>
                    <a:lnTo>
                      <a:pt x="1183" y="62"/>
                    </a:lnTo>
                    <a:lnTo>
                      <a:pt x="1185" y="62"/>
                    </a:lnTo>
                    <a:lnTo>
                      <a:pt x="1187" y="62"/>
                    </a:lnTo>
                    <a:lnTo>
                      <a:pt x="1189" y="62"/>
                    </a:lnTo>
                    <a:lnTo>
                      <a:pt x="1189" y="64"/>
                    </a:lnTo>
                    <a:lnTo>
                      <a:pt x="1191" y="62"/>
                    </a:lnTo>
                    <a:lnTo>
                      <a:pt x="1191" y="64"/>
                    </a:lnTo>
                    <a:lnTo>
                      <a:pt x="1193" y="64"/>
                    </a:lnTo>
                    <a:lnTo>
                      <a:pt x="1195" y="64"/>
                    </a:lnTo>
                    <a:lnTo>
                      <a:pt x="1197" y="64"/>
                    </a:lnTo>
                    <a:lnTo>
                      <a:pt x="1195" y="64"/>
                    </a:lnTo>
                    <a:lnTo>
                      <a:pt x="1193" y="64"/>
                    </a:lnTo>
                    <a:lnTo>
                      <a:pt x="1191" y="64"/>
                    </a:lnTo>
                    <a:lnTo>
                      <a:pt x="1191" y="62"/>
                    </a:lnTo>
                    <a:lnTo>
                      <a:pt x="1189" y="64"/>
                    </a:lnTo>
                    <a:lnTo>
                      <a:pt x="1189" y="62"/>
                    </a:lnTo>
                    <a:lnTo>
                      <a:pt x="1187" y="62"/>
                    </a:lnTo>
                    <a:lnTo>
                      <a:pt x="1189" y="62"/>
                    </a:lnTo>
                    <a:lnTo>
                      <a:pt x="1191" y="62"/>
                    </a:lnTo>
                    <a:lnTo>
                      <a:pt x="1189" y="62"/>
                    </a:lnTo>
                    <a:lnTo>
                      <a:pt x="1187" y="62"/>
                    </a:lnTo>
                    <a:lnTo>
                      <a:pt x="1187" y="60"/>
                    </a:lnTo>
                    <a:lnTo>
                      <a:pt x="1187" y="62"/>
                    </a:lnTo>
                    <a:lnTo>
                      <a:pt x="1185" y="62"/>
                    </a:lnTo>
                    <a:lnTo>
                      <a:pt x="1183" y="62"/>
                    </a:lnTo>
                    <a:lnTo>
                      <a:pt x="1183" y="60"/>
                    </a:lnTo>
                    <a:lnTo>
                      <a:pt x="1183" y="62"/>
                    </a:lnTo>
                    <a:lnTo>
                      <a:pt x="1183" y="60"/>
                    </a:lnTo>
                    <a:lnTo>
                      <a:pt x="1181" y="60"/>
                    </a:lnTo>
                    <a:lnTo>
                      <a:pt x="1183" y="60"/>
                    </a:lnTo>
                    <a:lnTo>
                      <a:pt x="1185" y="58"/>
                    </a:lnTo>
                    <a:lnTo>
                      <a:pt x="1183" y="58"/>
                    </a:lnTo>
                    <a:lnTo>
                      <a:pt x="1185" y="58"/>
                    </a:lnTo>
                    <a:lnTo>
                      <a:pt x="1187" y="56"/>
                    </a:lnTo>
                    <a:lnTo>
                      <a:pt x="1187" y="58"/>
                    </a:lnTo>
                    <a:lnTo>
                      <a:pt x="1185" y="58"/>
                    </a:lnTo>
                    <a:lnTo>
                      <a:pt x="1187" y="58"/>
                    </a:lnTo>
                    <a:lnTo>
                      <a:pt x="1185" y="58"/>
                    </a:lnTo>
                    <a:lnTo>
                      <a:pt x="1187" y="58"/>
                    </a:lnTo>
                    <a:lnTo>
                      <a:pt x="1185" y="58"/>
                    </a:lnTo>
                    <a:lnTo>
                      <a:pt x="1187" y="58"/>
                    </a:lnTo>
                    <a:lnTo>
                      <a:pt x="1187" y="56"/>
                    </a:lnTo>
                    <a:lnTo>
                      <a:pt x="1189" y="56"/>
                    </a:lnTo>
                    <a:lnTo>
                      <a:pt x="1189" y="58"/>
                    </a:lnTo>
                    <a:lnTo>
                      <a:pt x="1189" y="56"/>
                    </a:lnTo>
                    <a:lnTo>
                      <a:pt x="1191" y="56"/>
                    </a:lnTo>
                    <a:lnTo>
                      <a:pt x="1193" y="56"/>
                    </a:lnTo>
                    <a:lnTo>
                      <a:pt x="1193" y="58"/>
                    </a:lnTo>
                    <a:lnTo>
                      <a:pt x="1191" y="58"/>
                    </a:lnTo>
                    <a:lnTo>
                      <a:pt x="1191" y="60"/>
                    </a:lnTo>
                    <a:lnTo>
                      <a:pt x="1191" y="62"/>
                    </a:lnTo>
                    <a:lnTo>
                      <a:pt x="1191" y="60"/>
                    </a:lnTo>
                    <a:lnTo>
                      <a:pt x="1191" y="62"/>
                    </a:lnTo>
                    <a:lnTo>
                      <a:pt x="1191" y="60"/>
                    </a:lnTo>
                    <a:lnTo>
                      <a:pt x="1193" y="60"/>
                    </a:lnTo>
                    <a:lnTo>
                      <a:pt x="1195" y="60"/>
                    </a:lnTo>
                    <a:lnTo>
                      <a:pt x="1197" y="60"/>
                    </a:lnTo>
                    <a:lnTo>
                      <a:pt x="1195" y="60"/>
                    </a:lnTo>
                    <a:lnTo>
                      <a:pt x="1193" y="60"/>
                    </a:lnTo>
                    <a:lnTo>
                      <a:pt x="1195" y="60"/>
                    </a:lnTo>
                    <a:lnTo>
                      <a:pt x="1197" y="60"/>
                    </a:lnTo>
                    <a:lnTo>
                      <a:pt x="1195" y="60"/>
                    </a:lnTo>
                    <a:lnTo>
                      <a:pt x="1193" y="60"/>
                    </a:lnTo>
                    <a:lnTo>
                      <a:pt x="1191" y="60"/>
                    </a:lnTo>
                    <a:lnTo>
                      <a:pt x="1193" y="58"/>
                    </a:lnTo>
                    <a:lnTo>
                      <a:pt x="1193" y="56"/>
                    </a:lnTo>
                    <a:lnTo>
                      <a:pt x="1193" y="58"/>
                    </a:lnTo>
                    <a:lnTo>
                      <a:pt x="1193" y="56"/>
                    </a:lnTo>
                    <a:lnTo>
                      <a:pt x="1193" y="54"/>
                    </a:lnTo>
                    <a:lnTo>
                      <a:pt x="1193" y="56"/>
                    </a:lnTo>
                    <a:lnTo>
                      <a:pt x="1195" y="56"/>
                    </a:lnTo>
                    <a:lnTo>
                      <a:pt x="1197" y="56"/>
                    </a:lnTo>
                    <a:lnTo>
                      <a:pt x="1199" y="58"/>
                    </a:lnTo>
                    <a:lnTo>
                      <a:pt x="1199" y="60"/>
                    </a:lnTo>
                    <a:lnTo>
                      <a:pt x="1199" y="62"/>
                    </a:lnTo>
                    <a:lnTo>
                      <a:pt x="1200" y="62"/>
                    </a:lnTo>
                    <a:lnTo>
                      <a:pt x="1202" y="62"/>
                    </a:lnTo>
                    <a:lnTo>
                      <a:pt x="1202" y="64"/>
                    </a:lnTo>
                    <a:lnTo>
                      <a:pt x="1204" y="66"/>
                    </a:lnTo>
                    <a:lnTo>
                      <a:pt x="1206" y="66"/>
                    </a:lnTo>
                    <a:lnTo>
                      <a:pt x="1206" y="68"/>
                    </a:lnTo>
                    <a:lnTo>
                      <a:pt x="1206" y="66"/>
                    </a:lnTo>
                    <a:lnTo>
                      <a:pt x="1206" y="68"/>
                    </a:lnTo>
                    <a:lnTo>
                      <a:pt x="1208" y="68"/>
                    </a:lnTo>
                    <a:lnTo>
                      <a:pt x="1208" y="70"/>
                    </a:lnTo>
                    <a:lnTo>
                      <a:pt x="1208" y="68"/>
                    </a:lnTo>
                    <a:lnTo>
                      <a:pt x="1208" y="70"/>
                    </a:lnTo>
                    <a:lnTo>
                      <a:pt x="1208" y="72"/>
                    </a:lnTo>
                    <a:lnTo>
                      <a:pt x="1210" y="72"/>
                    </a:lnTo>
                    <a:lnTo>
                      <a:pt x="1212" y="73"/>
                    </a:lnTo>
                    <a:lnTo>
                      <a:pt x="1214" y="73"/>
                    </a:lnTo>
                    <a:lnTo>
                      <a:pt x="1214" y="75"/>
                    </a:lnTo>
                    <a:lnTo>
                      <a:pt x="1212" y="75"/>
                    </a:lnTo>
                    <a:lnTo>
                      <a:pt x="1214" y="75"/>
                    </a:lnTo>
                    <a:lnTo>
                      <a:pt x="1214" y="77"/>
                    </a:lnTo>
                    <a:lnTo>
                      <a:pt x="1214" y="79"/>
                    </a:lnTo>
                    <a:lnTo>
                      <a:pt x="1216" y="79"/>
                    </a:lnTo>
                    <a:lnTo>
                      <a:pt x="1218" y="79"/>
                    </a:lnTo>
                    <a:lnTo>
                      <a:pt x="1218" y="77"/>
                    </a:lnTo>
                    <a:lnTo>
                      <a:pt x="1220" y="79"/>
                    </a:lnTo>
                    <a:lnTo>
                      <a:pt x="1222" y="77"/>
                    </a:lnTo>
                    <a:lnTo>
                      <a:pt x="1223" y="79"/>
                    </a:lnTo>
                    <a:lnTo>
                      <a:pt x="1223" y="77"/>
                    </a:lnTo>
                    <a:lnTo>
                      <a:pt x="1225" y="77"/>
                    </a:lnTo>
                    <a:lnTo>
                      <a:pt x="1225" y="79"/>
                    </a:lnTo>
                    <a:lnTo>
                      <a:pt x="1227" y="79"/>
                    </a:lnTo>
                    <a:lnTo>
                      <a:pt x="1227" y="81"/>
                    </a:lnTo>
                    <a:lnTo>
                      <a:pt x="1229" y="85"/>
                    </a:lnTo>
                    <a:lnTo>
                      <a:pt x="1229" y="87"/>
                    </a:lnTo>
                    <a:lnTo>
                      <a:pt x="1229" y="89"/>
                    </a:lnTo>
                    <a:lnTo>
                      <a:pt x="1229" y="87"/>
                    </a:lnTo>
                    <a:lnTo>
                      <a:pt x="1229" y="89"/>
                    </a:lnTo>
                    <a:lnTo>
                      <a:pt x="1231" y="89"/>
                    </a:lnTo>
                    <a:lnTo>
                      <a:pt x="1231" y="91"/>
                    </a:lnTo>
                    <a:lnTo>
                      <a:pt x="1233" y="91"/>
                    </a:lnTo>
                    <a:lnTo>
                      <a:pt x="1233" y="93"/>
                    </a:lnTo>
                    <a:lnTo>
                      <a:pt x="1233" y="95"/>
                    </a:lnTo>
                    <a:lnTo>
                      <a:pt x="1235" y="95"/>
                    </a:lnTo>
                    <a:lnTo>
                      <a:pt x="1233" y="95"/>
                    </a:lnTo>
                    <a:lnTo>
                      <a:pt x="1233" y="97"/>
                    </a:lnTo>
                    <a:lnTo>
                      <a:pt x="1231" y="97"/>
                    </a:lnTo>
                    <a:lnTo>
                      <a:pt x="1229" y="97"/>
                    </a:lnTo>
                    <a:lnTo>
                      <a:pt x="1229" y="98"/>
                    </a:lnTo>
                    <a:lnTo>
                      <a:pt x="1231" y="98"/>
                    </a:lnTo>
                    <a:lnTo>
                      <a:pt x="1229" y="98"/>
                    </a:lnTo>
                    <a:lnTo>
                      <a:pt x="1227" y="100"/>
                    </a:lnTo>
                    <a:lnTo>
                      <a:pt x="1227" y="102"/>
                    </a:lnTo>
                    <a:lnTo>
                      <a:pt x="1227" y="104"/>
                    </a:lnTo>
                    <a:lnTo>
                      <a:pt x="1225" y="104"/>
                    </a:lnTo>
                    <a:lnTo>
                      <a:pt x="1223" y="104"/>
                    </a:lnTo>
                    <a:lnTo>
                      <a:pt x="1223" y="106"/>
                    </a:lnTo>
                    <a:lnTo>
                      <a:pt x="1223" y="104"/>
                    </a:lnTo>
                    <a:lnTo>
                      <a:pt x="1222" y="104"/>
                    </a:lnTo>
                    <a:lnTo>
                      <a:pt x="1222" y="106"/>
                    </a:lnTo>
                    <a:lnTo>
                      <a:pt x="1220" y="106"/>
                    </a:lnTo>
                    <a:lnTo>
                      <a:pt x="1220" y="108"/>
                    </a:lnTo>
                    <a:lnTo>
                      <a:pt x="1218" y="106"/>
                    </a:lnTo>
                    <a:lnTo>
                      <a:pt x="1218" y="108"/>
                    </a:lnTo>
                    <a:lnTo>
                      <a:pt x="1216" y="108"/>
                    </a:lnTo>
                    <a:lnTo>
                      <a:pt x="1218" y="108"/>
                    </a:lnTo>
                    <a:lnTo>
                      <a:pt x="1216" y="110"/>
                    </a:lnTo>
                    <a:lnTo>
                      <a:pt x="1216" y="108"/>
                    </a:lnTo>
                    <a:lnTo>
                      <a:pt x="1214" y="108"/>
                    </a:lnTo>
                    <a:lnTo>
                      <a:pt x="1214" y="110"/>
                    </a:lnTo>
                    <a:lnTo>
                      <a:pt x="1216" y="110"/>
                    </a:lnTo>
                    <a:lnTo>
                      <a:pt x="1214" y="110"/>
                    </a:lnTo>
                    <a:lnTo>
                      <a:pt x="1212" y="112"/>
                    </a:lnTo>
                    <a:lnTo>
                      <a:pt x="1214" y="112"/>
                    </a:lnTo>
                    <a:lnTo>
                      <a:pt x="1214" y="114"/>
                    </a:lnTo>
                    <a:lnTo>
                      <a:pt x="1212" y="114"/>
                    </a:lnTo>
                    <a:lnTo>
                      <a:pt x="1210" y="114"/>
                    </a:lnTo>
                    <a:lnTo>
                      <a:pt x="1212" y="114"/>
                    </a:lnTo>
                    <a:lnTo>
                      <a:pt x="1210" y="116"/>
                    </a:lnTo>
                    <a:lnTo>
                      <a:pt x="1210" y="114"/>
                    </a:lnTo>
                    <a:lnTo>
                      <a:pt x="1210" y="116"/>
                    </a:lnTo>
                    <a:lnTo>
                      <a:pt x="1208" y="116"/>
                    </a:lnTo>
                    <a:lnTo>
                      <a:pt x="1208" y="114"/>
                    </a:lnTo>
                    <a:lnTo>
                      <a:pt x="1208" y="116"/>
                    </a:lnTo>
                    <a:lnTo>
                      <a:pt x="1206" y="116"/>
                    </a:lnTo>
                    <a:lnTo>
                      <a:pt x="1206" y="114"/>
                    </a:lnTo>
                    <a:lnTo>
                      <a:pt x="1206" y="112"/>
                    </a:lnTo>
                    <a:lnTo>
                      <a:pt x="1206" y="114"/>
                    </a:lnTo>
                    <a:lnTo>
                      <a:pt x="1204" y="114"/>
                    </a:lnTo>
                    <a:lnTo>
                      <a:pt x="1206" y="114"/>
                    </a:lnTo>
                    <a:lnTo>
                      <a:pt x="1204" y="114"/>
                    </a:lnTo>
                    <a:lnTo>
                      <a:pt x="1204" y="112"/>
                    </a:lnTo>
                    <a:lnTo>
                      <a:pt x="1202" y="112"/>
                    </a:lnTo>
                    <a:lnTo>
                      <a:pt x="1204" y="114"/>
                    </a:lnTo>
                    <a:lnTo>
                      <a:pt x="1202" y="114"/>
                    </a:lnTo>
                    <a:lnTo>
                      <a:pt x="1202" y="112"/>
                    </a:lnTo>
                    <a:lnTo>
                      <a:pt x="1202" y="114"/>
                    </a:lnTo>
                    <a:lnTo>
                      <a:pt x="1200" y="114"/>
                    </a:lnTo>
                    <a:lnTo>
                      <a:pt x="1199" y="112"/>
                    </a:lnTo>
                    <a:lnTo>
                      <a:pt x="1197" y="112"/>
                    </a:lnTo>
                    <a:lnTo>
                      <a:pt x="1197" y="114"/>
                    </a:lnTo>
                    <a:lnTo>
                      <a:pt x="1197" y="116"/>
                    </a:lnTo>
                    <a:lnTo>
                      <a:pt x="1195" y="116"/>
                    </a:lnTo>
                    <a:lnTo>
                      <a:pt x="1193" y="116"/>
                    </a:lnTo>
                    <a:lnTo>
                      <a:pt x="1193" y="118"/>
                    </a:lnTo>
                    <a:lnTo>
                      <a:pt x="1191" y="116"/>
                    </a:lnTo>
                    <a:lnTo>
                      <a:pt x="1191" y="118"/>
                    </a:lnTo>
                    <a:lnTo>
                      <a:pt x="1189" y="118"/>
                    </a:lnTo>
                    <a:lnTo>
                      <a:pt x="1189" y="120"/>
                    </a:lnTo>
                    <a:lnTo>
                      <a:pt x="1189" y="118"/>
                    </a:lnTo>
                    <a:lnTo>
                      <a:pt x="1189" y="120"/>
                    </a:lnTo>
                    <a:lnTo>
                      <a:pt x="1187" y="120"/>
                    </a:lnTo>
                    <a:lnTo>
                      <a:pt x="1189" y="120"/>
                    </a:lnTo>
                    <a:lnTo>
                      <a:pt x="1189" y="122"/>
                    </a:lnTo>
                    <a:lnTo>
                      <a:pt x="1187" y="122"/>
                    </a:lnTo>
                    <a:lnTo>
                      <a:pt x="1185" y="122"/>
                    </a:lnTo>
                    <a:lnTo>
                      <a:pt x="1183" y="122"/>
                    </a:lnTo>
                    <a:lnTo>
                      <a:pt x="1183" y="120"/>
                    </a:lnTo>
                    <a:lnTo>
                      <a:pt x="1181" y="120"/>
                    </a:lnTo>
                    <a:lnTo>
                      <a:pt x="1179" y="120"/>
                    </a:lnTo>
                    <a:lnTo>
                      <a:pt x="1181" y="122"/>
                    </a:lnTo>
                    <a:lnTo>
                      <a:pt x="1181" y="123"/>
                    </a:lnTo>
                    <a:lnTo>
                      <a:pt x="1179" y="123"/>
                    </a:lnTo>
                    <a:lnTo>
                      <a:pt x="1181" y="123"/>
                    </a:lnTo>
                    <a:lnTo>
                      <a:pt x="1181" y="122"/>
                    </a:lnTo>
                    <a:lnTo>
                      <a:pt x="1179" y="120"/>
                    </a:lnTo>
                    <a:lnTo>
                      <a:pt x="1181" y="120"/>
                    </a:lnTo>
                    <a:lnTo>
                      <a:pt x="1183" y="120"/>
                    </a:lnTo>
                    <a:lnTo>
                      <a:pt x="1183" y="122"/>
                    </a:lnTo>
                    <a:lnTo>
                      <a:pt x="1185" y="122"/>
                    </a:lnTo>
                    <a:lnTo>
                      <a:pt x="1187" y="122"/>
                    </a:lnTo>
                    <a:lnTo>
                      <a:pt x="1187" y="123"/>
                    </a:lnTo>
                    <a:lnTo>
                      <a:pt x="1185" y="123"/>
                    </a:lnTo>
                    <a:lnTo>
                      <a:pt x="1185" y="125"/>
                    </a:lnTo>
                    <a:lnTo>
                      <a:pt x="1187" y="125"/>
                    </a:lnTo>
                    <a:lnTo>
                      <a:pt x="1185" y="127"/>
                    </a:lnTo>
                    <a:lnTo>
                      <a:pt x="1185" y="129"/>
                    </a:lnTo>
                    <a:lnTo>
                      <a:pt x="1183" y="129"/>
                    </a:lnTo>
                    <a:lnTo>
                      <a:pt x="1181" y="129"/>
                    </a:lnTo>
                    <a:lnTo>
                      <a:pt x="1179" y="127"/>
                    </a:lnTo>
                    <a:lnTo>
                      <a:pt x="1177" y="127"/>
                    </a:lnTo>
                    <a:lnTo>
                      <a:pt x="1177" y="129"/>
                    </a:lnTo>
                    <a:lnTo>
                      <a:pt x="1175" y="129"/>
                    </a:lnTo>
                    <a:lnTo>
                      <a:pt x="1175" y="131"/>
                    </a:lnTo>
                    <a:lnTo>
                      <a:pt x="1174" y="131"/>
                    </a:lnTo>
                    <a:lnTo>
                      <a:pt x="1175" y="131"/>
                    </a:lnTo>
                    <a:lnTo>
                      <a:pt x="1175" y="129"/>
                    </a:lnTo>
                    <a:lnTo>
                      <a:pt x="1174" y="129"/>
                    </a:lnTo>
                    <a:lnTo>
                      <a:pt x="1174" y="127"/>
                    </a:lnTo>
                    <a:lnTo>
                      <a:pt x="1175" y="127"/>
                    </a:lnTo>
                    <a:lnTo>
                      <a:pt x="1175" y="125"/>
                    </a:lnTo>
                    <a:lnTo>
                      <a:pt x="1174" y="125"/>
                    </a:lnTo>
                    <a:lnTo>
                      <a:pt x="1175" y="125"/>
                    </a:lnTo>
                    <a:lnTo>
                      <a:pt x="1175" y="123"/>
                    </a:lnTo>
                    <a:lnTo>
                      <a:pt x="1177" y="123"/>
                    </a:lnTo>
                    <a:lnTo>
                      <a:pt x="1177" y="125"/>
                    </a:lnTo>
                    <a:lnTo>
                      <a:pt x="1177" y="123"/>
                    </a:lnTo>
                    <a:lnTo>
                      <a:pt x="1179" y="123"/>
                    </a:lnTo>
                    <a:lnTo>
                      <a:pt x="1177" y="123"/>
                    </a:lnTo>
                    <a:lnTo>
                      <a:pt x="1175" y="123"/>
                    </a:lnTo>
                    <a:lnTo>
                      <a:pt x="1174" y="125"/>
                    </a:lnTo>
                    <a:lnTo>
                      <a:pt x="1175" y="125"/>
                    </a:lnTo>
                    <a:lnTo>
                      <a:pt x="1175" y="127"/>
                    </a:lnTo>
                    <a:lnTo>
                      <a:pt x="1174" y="127"/>
                    </a:lnTo>
                    <a:lnTo>
                      <a:pt x="1174" y="129"/>
                    </a:lnTo>
                    <a:lnTo>
                      <a:pt x="1172" y="129"/>
                    </a:lnTo>
                    <a:lnTo>
                      <a:pt x="1170" y="129"/>
                    </a:lnTo>
                    <a:lnTo>
                      <a:pt x="1168" y="129"/>
                    </a:lnTo>
                    <a:lnTo>
                      <a:pt x="1168" y="131"/>
                    </a:lnTo>
                    <a:lnTo>
                      <a:pt x="1170" y="131"/>
                    </a:lnTo>
                    <a:lnTo>
                      <a:pt x="1168" y="131"/>
                    </a:lnTo>
                    <a:lnTo>
                      <a:pt x="1168" y="129"/>
                    </a:lnTo>
                    <a:lnTo>
                      <a:pt x="1170" y="129"/>
                    </a:lnTo>
                    <a:lnTo>
                      <a:pt x="1172" y="129"/>
                    </a:lnTo>
                    <a:lnTo>
                      <a:pt x="1174" y="129"/>
                    </a:lnTo>
                    <a:lnTo>
                      <a:pt x="1174" y="127"/>
                    </a:lnTo>
                    <a:lnTo>
                      <a:pt x="1174" y="129"/>
                    </a:lnTo>
                    <a:lnTo>
                      <a:pt x="1175" y="129"/>
                    </a:lnTo>
                    <a:lnTo>
                      <a:pt x="1175" y="131"/>
                    </a:lnTo>
                    <a:lnTo>
                      <a:pt x="1175" y="129"/>
                    </a:lnTo>
                    <a:lnTo>
                      <a:pt x="1175" y="131"/>
                    </a:lnTo>
                    <a:lnTo>
                      <a:pt x="1174" y="131"/>
                    </a:lnTo>
                    <a:lnTo>
                      <a:pt x="1175" y="131"/>
                    </a:lnTo>
                    <a:lnTo>
                      <a:pt x="1175" y="133"/>
                    </a:lnTo>
                    <a:lnTo>
                      <a:pt x="1177" y="135"/>
                    </a:lnTo>
                    <a:lnTo>
                      <a:pt x="1177" y="137"/>
                    </a:lnTo>
                    <a:lnTo>
                      <a:pt x="1177" y="139"/>
                    </a:lnTo>
                    <a:lnTo>
                      <a:pt x="1175" y="139"/>
                    </a:lnTo>
                    <a:lnTo>
                      <a:pt x="1175" y="141"/>
                    </a:lnTo>
                    <a:lnTo>
                      <a:pt x="1175" y="143"/>
                    </a:lnTo>
                    <a:lnTo>
                      <a:pt x="1174" y="143"/>
                    </a:lnTo>
                    <a:lnTo>
                      <a:pt x="1172" y="143"/>
                    </a:lnTo>
                    <a:lnTo>
                      <a:pt x="1170" y="143"/>
                    </a:lnTo>
                    <a:lnTo>
                      <a:pt x="1172" y="143"/>
                    </a:lnTo>
                    <a:lnTo>
                      <a:pt x="1170" y="143"/>
                    </a:lnTo>
                    <a:lnTo>
                      <a:pt x="1168" y="143"/>
                    </a:lnTo>
                    <a:lnTo>
                      <a:pt x="1170" y="145"/>
                    </a:lnTo>
                    <a:lnTo>
                      <a:pt x="1168" y="145"/>
                    </a:lnTo>
                    <a:lnTo>
                      <a:pt x="1168" y="143"/>
                    </a:lnTo>
                    <a:lnTo>
                      <a:pt x="1166" y="143"/>
                    </a:lnTo>
                    <a:lnTo>
                      <a:pt x="1168" y="143"/>
                    </a:lnTo>
                    <a:lnTo>
                      <a:pt x="1170" y="143"/>
                    </a:lnTo>
                    <a:lnTo>
                      <a:pt x="1170" y="141"/>
                    </a:lnTo>
                    <a:lnTo>
                      <a:pt x="1168" y="141"/>
                    </a:lnTo>
                    <a:lnTo>
                      <a:pt x="1166" y="141"/>
                    </a:lnTo>
                    <a:lnTo>
                      <a:pt x="1166" y="139"/>
                    </a:lnTo>
                    <a:lnTo>
                      <a:pt x="1168" y="139"/>
                    </a:lnTo>
                    <a:lnTo>
                      <a:pt x="1166" y="139"/>
                    </a:lnTo>
                    <a:lnTo>
                      <a:pt x="1166" y="137"/>
                    </a:lnTo>
                    <a:lnTo>
                      <a:pt x="1168" y="137"/>
                    </a:lnTo>
                    <a:lnTo>
                      <a:pt x="1166" y="137"/>
                    </a:lnTo>
                    <a:lnTo>
                      <a:pt x="1166" y="139"/>
                    </a:lnTo>
                    <a:lnTo>
                      <a:pt x="1166" y="137"/>
                    </a:lnTo>
                    <a:lnTo>
                      <a:pt x="1166" y="139"/>
                    </a:lnTo>
                    <a:lnTo>
                      <a:pt x="1168" y="139"/>
                    </a:lnTo>
                    <a:lnTo>
                      <a:pt x="1166" y="139"/>
                    </a:lnTo>
                    <a:lnTo>
                      <a:pt x="1166" y="141"/>
                    </a:lnTo>
                    <a:lnTo>
                      <a:pt x="1168" y="141"/>
                    </a:lnTo>
                    <a:lnTo>
                      <a:pt x="1170" y="141"/>
                    </a:lnTo>
                    <a:lnTo>
                      <a:pt x="1170" y="143"/>
                    </a:lnTo>
                    <a:lnTo>
                      <a:pt x="1168" y="143"/>
                    </a:lnTo>
                    <a:lnTo>
                      <a:pt x="1166" y="143"/>
                    </a:lnTo>
                    <a:lnTo>
                      <a:pt x="1168" y="143"/>
                    </a:lnTo>
                    <a:lnTo>
                      <a:pt x="1168" y="145"/>
                    </a:lnTo>
                    <a:lnTo>
                      <a:pt x="1170" y="145"/>
                    </a:lnTo>
                    <a:lnTo>
                      <a:pt x="1168" y="143"/>
                    </a:lnTo>
                    <a:lnTo>
                      <a:pt x="1170" y="143"/>
                    </a:lnTo>
                    <a:lnTo>
                      <a:pt x="1172" y="143"/>
                    </a:lnTo>
                    <a:lnTo>
                      <a:pt x="1170" y="143"/>
                    </a:lnTo>
                    <a:lnTo>
                      <a:pt x="1172" y="143"/>
                    </a:lnTo>
                    <a:lnTo>
                      <a:pt x="1170" y="143"/>
                    </a:lnTo>
                    <a:lnTo>
                      <a:pt x="1170" y="145"/>
                    </a:lnTo>
                    <a:lnTo>
                      <a:pt x="1170" y="147"/>
                    </a:lnTo>
                    <a:lnTo>
                      <a:pt x="1170" y="145"/>
                    </a:lnTo>
                    <a:lnTo>
                      <a:pt x="1170" y="147"/>
                    </a:lnTo>
                    <a:lnTo>
                      <a:pt x="1172" y="147"/>
                    </a:lnTo>
                    <a:lnTo>
                      <a:pt x="1174" y="147"/>
                    </a:lnTo>
                    <a:lnTo>
                      <a:pt x="1174" y="148"/>
                    </a:lnTo>
                    <a:lnTo>
                      <a:pt x="1175" y="148"/>
                    </a:lnTo>
                    <a:lnTo>
                      <a:pt x="1175" y="150"/>
                    </a:lnTo>
                    <a:lnTo>
                      <a:pt x="1175" y="148"/>
                    </a:lnTo>
                    <a:lnTo>
                      <a:pt x="1175" y="150"/>
                    </a:lnTo>
                    <a:lnTo>
                      <a:pt x="1175" y="148"/>
                    </a:lnTo>
                    <a:lnTo>
                      <a:pt x="1177" y="148"/>
                    </a:lnTo>
                    <a:lnTo>
                      <a:pt x="1177" y="150"/>
                    </a:lnTo>
                    <a:lnTo>
                      <a:pt x="1179" y="150"/>
                    </a:lnTo>
                    <a:lnTo>
                      <a:pt x="1179" y="152"/>
                    </a:lnTo>
                    <a:lnTo>
                      <a:pt x="1179" y="154"/>
                    </a:lnTo>
                    <a:lnTo>
                      <a:pt x="1179" y="156"/>
                    </a:lnTo>
                    <a:lnTo>
                      <a:pt x="1179" y="158"/>
                    </a:lnTo>
                    <a:lnTo>
                      <a:pt x="1177" y="160"/>
                    </a:lnTo>
                    <a:lnTo>
                      <a:pt x="1177" y="162"/>
                    </a:lnTo>
                    <a:lnTo>
                      <a:pt x="1177" y="164"/>
                    </a:lnTo>
                    <a:lnTo>
                      <a:pt x="1177" y="166"/>
                    </a:lnTo>
                    <a:lnTo>
                      <a:pt x="1175" y="166"/>
                    </a:lnTo>
                    <a:lnTo>
                      <a:pt x="1177" y="166"/>
                    </a:lnTo>
                    <a:lnTo>
                      <a:pt x="1175" y="168"/>
                    </a:lnTo>
                    <a:lnTo>
                      <a:pt x="1175" y="166"/>
                    </a:lnTo>
                    <a:lnTo>
                      <a:pt x="1175" y="168"/>
                    </a:lnTo>
                    <a:lnTo>
                      <a:pt x="1174" y="168"/>
                    </a:lnTo>
                    <a:lnTo>
                      <a:pt x="1175" y="168"/>
                    </a:lnTo>
                    <a:lnTo>
                      <a:pt x="1175" y="166"/>
                    </a:lnTo>
                    <a:lnTo>
                      <a:pt x="1175" y="168"/>
                    </a:lnTo>
                    <a:lnTo>
                      <a:pt x="1177" y="168"/>
                    </a:lnTo>
                    <a:lnTo>
                      <a:pt x="1177" y="166"/>
                    </a:lnTo>
                    <a:lnTo>
                      <a:pt x="1179" y="168"/>
                    </a:lnTo>
                    <a:lnTo>
                      <a:pt x="1179" y="170"/>
                    </a:lnTo>
                    <a:lnTo>
                      <a:pt x="1177" y="170"/>
                    </a:lnTo>
                    <a:lnTo>
                      <a:pt x="1179" y="170"/>
                    </a:lnTo>
                    <a:lnTo>
                      <a:pt x="1177" y="170"/>
                    </a:lnTo>
                    <a:lnTo>
                      <a:pt x="1179" y="170"/>
                    </a:lnTo>
                    <a:lnTo>
                      <a:pt x="1179" y="168"/>
                    </a:lnTo>
                    <a:lnTo>
                      <a:pt x="1181" y="168"/>
                    </a:lnTo>
                    <a:lnTo>
                      <a:pt x="1181" y="170"/>
                    </a:lnTo>
                    <a:lnTo>
                      <a:pt x="1183" y="170"/>
                    </a:lnTo>
                    <a:lnTo>
                      <a:pt x="1181" y="170"/>
                    </a:lnTo>
                    <a:lnTo>
                      <a:pt x="1181" y="172"/>
                    </a:lnTo>
                    <a:lnTo>
                      <a:pt x="1183" y="172"/>
                    </a:lnTo>
                    <a:lnTo>
                      <a:pt x="1183" y="173"/>
                    </a:lnTo>
                    <a:lnTo>
                      <a:pt x="1185" y="173"/>
                    </a:lnTo>
                    <a:lnTo>
                      <a:pt x="1185" y="175"/>
                    </a:lnTo>
                    <a:lnTo>
                      <a:pt x="1183" y="175"/>
                    </a:lnTo>
                    <a:lnTo>
                      <a:pt x="1183" y="177"/>
                    </a:lnTo>
                    <a:lnTo>
                      <a:pt x="1183" y="179"/>
                    </a:lnTo>
                    <a:lnTo>
                      <a:pt x="1183" y="181"/>
                    </a:lnTo>
                    <a:lnTo>
                      <a:pt x="1181" y="181"/>
                    </a:lnTo>
                    <a:lnTo>
                      <a:pt x="1179" y="183"/>
                    </a:lnTo>
                    <a:lnTo>
                      <a:pt x="1179" y="181"/>
                    </a:lnTo>
                    <a:lnTo>
                      <a:pt x="1179" y="183"/>
                    </a:lnTo>
                    <a:lnTo>
                      <a:pt x="1177" y="183"/>
                    </a:lnTo>
                    <a:lnTo>
                      <a:pt x="1177" y="185"/>
                    </a:lnTo>
                    <a:lnTo>
                      <a:pt x="1175" y="185"/>
                    </a:lnTo>
                    <a:lnTo>
                      <a:pt x="1174" y="185"/>
                    </a:lnTo>
                    <a:lnTo>
                      <a:pt x="1174" y="183"/>
                    </a:lnTo>
                    <a:lnTo>
                      <a:pt x="1172" y="183"/>
                    </a:lnTo>
                    <a:lnTo>
                      <a:pt x="1174" y="183"/>
                    </a:lnTo>
                    <a:lnTo>
                      <a:pt x="1174" y="181"/>
                    </a:lnTo>
                    <a:lnTo>
                      <a:pt x="1172" y="183"/>
                    </a:lnTo>
                    <a:lnTo>
                      <a:pt x="1172" y="181"/>
                    </a:lnTo>
                    <a:lnTo>
                      <a:pt x="1174" y="181"/>
                    </a:lnTo>
                    <a:lnTo>
                      <a:pt x="1172" y="181"/>
                    </a:lnTo>
                    <a:lnTo>
                      <a:pt x="1174" y="181"/>
                    </a:lnTo>
                    <a:lnTo>
                      <a:pt x="1174" y="179"/>
                    </a:lnTo>
                    <a:lnTo>
                      <a:pt x="1174" y="181"/>
                    </a:lnTo>
                    <a:lnTo>
                      <a:pt x="1174" y="179"/>
                    </a:lnTo>
                    <a:lnTo>
                      <a:pt x="1174" y="177"/>
                    </a:lnTo>
                    <a:lnTo>
                      <a:pt x="1172" y="177"/>
                    </a:lnTo>
                    <a:lnTo>
                      <a:pt x="1172" y="179"/>
                    </a:lnTo>
                    <a:lnTo>
                      <a:pt x="1172" y="177"/>
                    </a:lnTo>
                    <a:lnTo>
                      <a:pt x="1174" y="177"/>
                    </a:lnTo>
                    <a:lnTo>
                      <a:pt x="1172" y="177"/>
                    </a:lnTo>
                    <a:lnTo>
                      <a:pt x="1172" y="179"/>
                    </a:lnTo>
                    <a:lnTo>
                      <a:pt x="1172" y="177"/>
                    </a:lnTo>
                    <a:lnTo>
                      <a:pt x="1174" y="177"/>
                    </a:lnTo>
                    <a:lnTo>
                      <a:pt x="1172" y="179"/>
                    </a:lnTo>
                    <a:lnTo>
                      <a:pt x="1174" y="179"/>
                    </a:lnTo>
                    <a:lnTo>
                      <a:pt x="1174" y="181"/>
                    </a:lnTo>
                    <a:lnTo>
                      <a:pt x="1172" y="181"/>
                    </a:lnTo>
                    <a:lnTo>
                      <a:pt x="1174" y="181"/>
                    </a:lnTo>
                    <a:lnTo>
                      <a:pt x="1172" y="181"/>
                    </a:lnTo>
                    <a:lnTo>
                      <a:pt x="1172" y="183"/>
                    </a:lnTo>
                    <a:lnTo>
                      <a:pt x="1174" y="183"/>
                    </a:lnTo>
                    <a:lnTo>
                      <a:pt x="1174" y="181"/>
                    </a:lnTo>
                    <a:lnTo>
                      <a:pt x="1174" y="183"/>
                    </a:lnTo>
                    <a:lnTo>
                      <a:pt x="1172" y="183"/>
                    </a:lnTo>
                    <a:lnTo>
                      <a:pt x="1174" y="183"/>
                    </a:lnTo>
                    <a:lnTo>
                      <a:pt x="1174" y="185"/>
                    </a:lnTo>
                    <a:lnTo>
                      <a:pt x="1174" y="187"/>
                    </a:lnTo>
                    <a:lnTo>
                      <a:pt x="1174" y="189"/>
                    </a:lnTo>
                    <a:lnTo>
                      <a:pt x="1174" y="191"/>
                    </a:lnTo>
                    <a:lnTo>
                      <a:pt x="1172" y="191"/>
                    </a:lnTo>
                    <a:lnTo>
                      <a:pt x="1175" y="189"/>
                    </a:lnTo>
                    <a:lnTo>
                      <a:pt x="1177" y="187"/>
                    </a:lnTo>
                    <a:lnTo>
                      <a:pt x="1177" y="185"/>
                    </a:lnTo>
                    <a:lnTo>
                      <a:pt x="1179" y="185"/>
                    </a:lnTo>
                    <a:lnTo>
                      <a:pt x="1179" y="183"/>
                    </a:lnTo>
                    <a:lnTo>
                      <a:pt x="1181" y="183"/>
                    </a:lnTo>
                    <a:lnTo>
                      <a:pt x="1183" y="181"/>
                    </a:lnTo>
                    <a:lnTo>
                      <a:pt x="1185" y="181"/>
                    </a:lnTo>
                    <a:lnTo>
                      <a:pt x="1183" y="181"/>
                    </a:lnTo>
                    <a:lnTo>
                      <a:pt x="1185" y="181"/>
                    </a:lnTo>
                    <a:lnTo>
                      <a:pt x="1183" y="183"/>
                    </a:lnTo>
                    <a:lnTo>
                      <a:pt x="1185" y="183"/>
                    </a:lnTo>
                    <a:lnTo>
                      <a:pt x="1185" y="181"/>
                    </a:lnTo>
                    <a:lnTo>
                      <a:pt x="1185" y="183"/>
                    </a:lnTo>
                    <a:lnTo>
                      <a:pt x="1185" y="181"/>
                    </a:lnTo>
                    <a:lnTo>
                      <a:pt x="1185" y="183"/>
                    </a:lnTo>
                    <a:lnTo>
                      <a:pt x="1185" y="181"/>
                    </a:lnTo>
                    <a:lnTo>
                      <a:pt x="1183" y="181"/>
                    </a:lnTo>
                    <a:lnTo>
                      <a:pt x="1185" y="181"/>
                    </a:lnTo>
                    <a:lnTo>
                      <a:pt x="1183" y="181"/>
                    </a:lnTo>
                    <a:lnTo>
                      <a:pt x="1185" y="181"/>
                    </a:lnTo>
                    <a:lnTo>
                      <a:pt x="1183" y="181"/>
                    </a:lnTo>
                    <a:lnTo>
                      <a:pt x="1183" y="179"/>
                    </a:lnTo>
                    <a:lnTo>
                      <a:pt x="1185" y="177"/>
                    </a:lnTo>
                    <a:lnTo>
                      <a:pt x="1185" y="175"/>
                    </a:lnTo>
                    <a:lnTo>
                      <a:pt x="1185" y="173"/>
                    </a:lnTo>
                    <a:lnTo>
                      <a:pt x="1185" y="172"/>
                    </a:lnTo>
                    <a:lnTo>
                      <a:pt x="1185" y="173"/>
                    </a:lnTo>
                    <a:lnTo>
                      <a:pt x="1185" y="172"/>
                    </a:lnTo>
                    <a:lnTo>
                      <a:pt x="1183" y="172"/>
                    </a:lnTo>
                    <a:lnTo>
                      <a:pt x="1183" y="170"/>
                    </a:lnTo>
                    <a:lnTo>
                      <a:pt x="1181" y="168"/>
                    </a:lnTo>
                    <a:lnTo>
                      <a:pt x="1179" y="166"/>
                    </a:lnTo>
                    <a:lnTo>
                      <a:pt x="1181" y="166"/>
                    </a:lnTo>
                    <a:lnTo>
                      <a:pt x="1179" y="166"/>
                    </a:lnTo>
                    <a:lnTo>
                      <a:pt x="1179" y="164"/>
                    </a:lnTo>
                    <a:lnTo>
                      <a:pt x="1179" y="162"/>
                    </a:lnTo>
                    <a:lnTo>
                      <a:pt x="1179" y="160"/>
                    </a:lnTo>
                    <a:lnTo>
                      <a:pt x="1181" y="160"/>
                    </a:lnTo>
                    <a:lnTo>
                      <a:pt x="1181" y="158"/>
                    </a:lnTo>
                    <a:lnTo>
                      <a:pt x="1181" y="156"/>
                    </a:lnTo>
                    <a:lnTo>
                      <a:pt x="1179" y="156"/>
                    </a:lnTo>
                    <a:lnTo>
                      <a:pt x="1179" y="154"/>
                    </a:lnTo>
                    <a:lnTo>
                      <a:pt x="1181" y="154"/>
                    </a:lnTo>
                    <a:lnTo>
                      <a:pt x="1179" y="152"/>
                    </a:lnTo>
                    <a:lnTo>
                      <a:pt x="1179" y="150"/>
                    </a:lnTo>
                    <a:lnTo>
                      <a:pt x="1177" y="148"/>
                    </a:lnTo>
                    <a:lnTo>
                      <a:pt x="1175" y="148"/>
                    </a:lnTo>
                    <a:lnTo>
                      <a:pt x="1175" y="147"/>
                    </a:lnTo>
                    <a:lnTo>
                      <a:pt x="1174" y="147"/>
                    </a:lnTo>
                    <a:lnTo>
                      <a:pt x="1174" y="145"/>
                    </a:lnTo>
                    <a:lnTo>
                      <a:pt x="1175" y="143"/>
                    </a:lnTo>
                    <a:lnTo>
                      <a:pt x="1177" y="141"/>
                    </a:lnTo>
                    <a:lnTo>
                      <a:pt x="1177" y="139"/>
                    </a:lnTo>
                    <a:lnTo>
                      <a:pt x="1177" y="137"/>
                    </a:lnTo>
                    <a:lnTo>
                      <a:pt x="1179" y="135"/>
                    </a:lnTo>
                    <a:lnTo>
                      <a:pt x="1177" y="135"/>
                    </a:lnTo>
                    <a:lnTo>
                      <a:pt x="1177" y="133"/>
                    </a:lnTo>
                    <a:lnTo>
                      <a:pt x="1177" y="131"/>
                    </a:lnTo>
                    <a:lnTo>
                      <a:pt x="1177" y="129"/>
                    </a:lnTo>
                    <a:lnTo>
                      <a:pt x="1179" y="129"/>
                    </a:lnTo>
                    <a:lnTo>
                      <a:pt x="1177" y="129"/>
                    </a:lnTo>
                    <a:lnTo>
                      <a:pt x="1179" y="129"/>
                    </a:lnTo>
                    <a:lnTo>
                      <a:pt x="1181" y="129"/>
                    </a:lnTo>
                    <a:lnTo>
                      <a:pt x="1181" y="131"/>
                    </a:lnTo>
                    <a:lnTo>
                      <a:pt x="1183" y="131"/>
                    </a:lnTo>
                    <a:lnTo>
                      <a:pt x="1181" y="131"/>
                    </a:lnTo>
                    <a:lnTo>
                      <a:pt x="1183" y="131"/>
                    </a:lnTo>
                    <a:lnTo>
                      <a:pt x="1181" y="131"/>
                    </a:lnTo>
                    <a:lnTo>
                      <a:pt x="1181" y="133"/>
                    </a:lnTo>
                    <a:lnTo>
                      <a:pt x="1183" y="133"/>
                    </a:lnTo>
                    <a:lnTo>
                      <a:pt x="1181" y="133"/>
                    </a:lnTo>
                    <a:lnTo>
                      <a:pt x="1183" y="133"/>
                    </a:lnTo>
                    <a:lnTo>
                      <a:pt x="1183" y="135"/>
                    </a:lnTo>
                    <a:lnTo>
                      <a:pt x="1185" y="135"/>
                    </a:lnTo>
                    <a:lnTo>
                      <a:pt x="1187" y="135"/>
                    </a:lnTo>
                    <a:lnTo>
                      <a:pt x="1185" y="135"/>
                    </a:lnTo>
                    <a:lnTo>
                      <a:pt x="1187" y="135"/>
                    </a:lnTo>
                    <a:lnTo>
                      <a:pt x="1187" y="137"/>
                    </a:lnTo>
                    <a:lnTo>
                      <a:pt x="1187" y="139"/>
                    </a:lnTo>
                    <a:lnTo>
                      <a:pt x="1189" y="139"/>
                    </a:lnTo>
                    <a:lnTo>
                      <a:pt x="1191" y="139"/>
                    </a:lnTo>
                    <a:lnTo>
                      <a:pt x="1191" y="141"/>
                    </a:lnTo>
                    <a:lnTo>
                      <a:pt x="1191" y="143"/>
                    </a:lnTo>
                    <a:lnTo>
                      <a:pt x="1191" y="145"/>
                    </a:lnTo>
                    <a:lnTo>
                      <a:pt x="1191" y="143"/>
                    </a:lnTo>
                    <a:lnTo>
                      <a:pt x="1191" y="145"/>
                    </a:lnTo>
                    <a:lnTo>
                      <a:pt x="1193" y="145"/>
                    </a:lnTo>
                    <a:lnTo>
                      <a:pt x="1195" y="145"/>
                    </a:lnTo>
                    <a:lnTo>
                      <a:pt x="1195" y="147"/>
                    </a:lnTo>
                    <a:lnTo>
                      <a:pt x="1195" y="145"/>
                    </a:lnTo>
                    <a:lnTo>
                      <a:pt x="1195" y="147"/>
                    </a:lnTo>
                    <a:lnTo>
                      <a:pt x="1197" y="147"/>
                    </a:lnTo>
                    <a:lnTo>
                      <a:pt x="1195" y="147"/>
                    </a:lnTo>
                    <a:lnTo>
                      <a:pt x="1197" y="147"/>
                    </a:lnTo>
                    <a:lnTo>
                      <a:pt x="1195" y="147"/>
                    </a:lnTo>
                    <a:lnTo>
                      <a:pt x="1197" y="147"/>
                    </a:lnTo>
                    <a:lnTo>
                      <a:pt x="1197" y="148"/>
                    </a:lnTo>
                    <a:lnTo>
                      <a:pt x="1195" y="148"/>
                    </a:lnTo>
                    <a:lnTo>
                      <a:pt x="1197" y="148"/>
                    </a:lnTo>
                    <a:lnTo>
                      <a:pt x="1197" y="150"/>
                    </a:lnTo>
                    <a:lnTo>
                      <a:pt x="1197" y="148"/>
                    </a:lnTo>
                    <a:lnTo>
                      <a:pt x="1197" y="150"/>
                    </a:lnTo>
                    <a:lnTo>
                      <a:pt x="1197" y="152"/>
                    </a:lnTo>
                    <a:lnTo>
                      <a:pt x="1199" y="152"/>
                    </a:lnTo>
                    <a:lnTo>
                      <a:pt x="1197" y="152"/>
                    </a:lnTo>
                    <a:lnTo>
                      <a:pt x="1197" y="150"/>
                    </a:lnTo>
                    <a:lnTo>
                      <a:pt x="1197" y="152"/>
                    </a:lnTo>
                    <a:lnTo>
                      <a:pt x="1199" y="152"/>
                    </a:lnTo>
                    <a:lnTo>
                      <a:pt x="1197" y="152"/>
                    </a:lnTo>
                    <a:lnTo>
                      <a:pt x="1199" y="152"/>
                    </a:lnTo>
                    <a:lnTo>
                      <a:pt x="1199" y="154"/>
                    </a:lnTo>
                    <a:lnTo>
                      <a:pt x="1199" y="156"/>
                    </a:lnTo>
                    <a:lnTo>
                      <a:pt x="1200" y="156"/>
                    </a:lnTo>
                    <a:lnTo>
                      <a:pt x="1200" y="158"/>
                    </a:lnTo>
                    <a:lnTo>
                      <a:pt x="1200" y="160"/>
                    </a:lnTo>
                    <a:lnTo>
                      <a:pt x="1200" y="162"/>
                    </a:lnTo>
                    <a:lnTo>
                      <a:pt x="1200" y="164"/>
                    </a:lnTo>
                    <a:lnTo>
                      <a:pt x="1199" y="168"/>
                    </a:lnTo>
                    <a:lnTo>
                      <a:pt x="1200" y="170"/>
                    </a:lnTo>
                    <a:lnTo>
                      <a:pt x="1200" y="172"/>
                    </a:lnTo>
                    <a:lnTo>
                      <a:pt x="1200" y="173"/>
                    </a:lnTo>
                    <a:lnTo>
                      <a:pt x="1202" y="175"/>
                    </a:lnTo>
                    <a:lnTo>
                      <a:pt x="1200" y="175"/>
                    </a:lnTo>
                    <a:lnTo>
                      <a:pt x="1200" y="177"/>
                    </a:lnTo>
                    <a:lnTo>
                      <a:pt x="1200" y="179"/>
                    </a:lnTo>
                    <a:lnTo>
                      <a:pt x="1202" y="181"/>
                    </a:lnTo>
                    <a:lnTo>
                      <a:pt x="1204" y="181"/>
                    </a:lnTo>
                    <a:lnTo>
                      <a:pt x="1206" y="181"/>
                    </a:lnTo>
                    <a:lnTo>
                      <a:pt x="1206" y="179"/>
                    </a:lnTo>
                    <a:lnTo>
                      <a:pt x="1208" y="181"/>
                    </a:lnTo>
                    <a:lnTo>
                      <a:pt x="1210" y="181"/>
                    </a:lnTo>
                    <a:lnTo>
                      <a:pt x="1212" y="183"/>
                    </a:lnTo>
                    <a:lnTo>
                      <a:pt x="1210" y="185"/>
                    </a:lnTo>
                    <a:lnTo>
                      <a:pt x="1208" y="187"/>
                    </a:lnTo>
                    <a:lnTo>
                      <a:pt x="1206" y="187"/>
                    </a:lnTo>
                    <a:lnTo>
                      <a:pt x="1206" y="189"/>
                    </a:lnTo>
                    <a:lnTo>
                      <a:pt x="1204" y="189"/>
                    </a:lnTo>
                    <a:lnTo>
                      <a:pt x="1204" y="191"/>
                    </a:lnTo>
                    <a:lnTo>
                      <a:pt x="1202" y="193"/>
                    </a:lnTo>
                    <a:lnTo>
                      <a:pt x="1204" y="193"/>
                    </a:lnTo>
                    <a:lnTo>
                      <a:pt x="1204" y="195"/>
                    </a:lnTo>
                    <a:lnTo>
                      <a:pt x="1204" y="197"/>
                    </a:lnTo>
                    <a:lnTo>
                      <a:pt x="1204" y="198"/>
                    </a:lnTo>
                    <a:lnTo>
                      <a:pt x="1206" y="200"/>
                    </a:lnTo>
                    <a:lnTo>
                      <a:pt x="1206" y="202"/>
                    </a:lnTo>
                    <a:lnTo>
                      <a:pt x="1208" y="202"/>
                    </a:lnTo>
                    <a:lnTo>
                      <a:pt x="1210" y="202"/>
                    </a:lnTo>
                    <a:lnTo>
                      <a:pt x="1210" y="204"/>
                    </a:lnTo>
                    <a:lnTo>
                      <a:pt x="1212" y="204"/>
                    </a:lnTo>
                    <a:lnTo>
                      <a:pt x="1214" y="204"/>
                    </a:lnTo>
                    <a:lnTo>
                      <a:pt x="1214" y="206"/>
                    </a:lnTo>
                    <a:lnTo>
                      <a:pt x="1216" y="208"/>
                    </a:lnTo>
                    <a:lnTo>
                      <a:pt x="1214" y="210"/>
                    </a:lnTo>
                    <a:lnTo>
                      <a:pt x="1216" y="210"/>
                    </a:lnTo>
                    <a:lnTo>
                      <a:pt x="1216" y="212"/>
                    </a:lnTo>
                    <a:lnTo>
                      <a:pt x="1218" y="212"/>
                    </a:lnTo>
                    <a:lnTo>
                      <a:pt x="1220" y="212"/>
                    </a:lnTo>
                    <a:lnTo>
                      <a:pt x="1222" y="212"/>
                    </a:lnTo>
                    <a:lnTo>
                      <a:pt x="1223" y="212"/>
                    </a:lnTo>
                    <a:lnTo>
                      <a:pt x="1225" y="212"/>
                    </a:lnTo>
                    <a:lnTo>
                      <a:pt x="1227" y="212"/>
                    </a:lnTo>
                    <a:lnTo>
                      <a:pt x="1229" y="212"/>
                    </a:lnTo>
                    <a:lnTo>
                      <a:pt x="1231" y="212"/>
                    </a:lnTo>
                    <a:lnTo>
                      <a:pt x="1233" y="212"/>
                    </a:lnTo>
                    <a:lnTo>
                      <a:pt x="1235" y="212"/>
                    </a:lnTo>
                    <a:lnTo>
                      <a:pt x="1237" y="212"/>
                    </a:lnTo>
                    <a:lnTo>
                      <a:pt x="1239" y="212"/>
                    </a:lnTo>
                    <a:lnTo>
                      <a:pt x="1241" y="212"/>
                    </a:lnTo>
                    <a:lnTo>
                      <a:pt x="1243" y="212"/>
                    </a:lnTo>
                    <a:lnTo>
                      <a:pt x="1243" y="210"/>
                    </a:lnTo>
                    <a:lnTo>
                      <a:pt x="1245" y="210"/>
                    </a:lnTo>
                    <a:lnTo>
                      <a:pt x="1247" y="212"/>
                    </a:lnTo>
                    <a:lnTo>
                      <a:pt x="1248" y="212"/>
                    </a:lnTo>
                    <a:lnTo>
                      <a:pt x="1250" y="214"/>
                    </a:lnTo>
                    <a:lnTo>
                      <a:pt x="1250" y="216"/>
                    </a:lnTo>
                    <a:lnTo>
                      <a:pt x="1250" y="218"/>
                    </a:lnTo>
                    <a:lnTo>
                      <a:pt x="1252" y="218"/>
                    </a:lnTo>
                    <a:lnTo>
                      <a:pt x="1254" y="216"/>
                    </a:lnTo>
                    <a:lnTo>
                      <a:pt x="1254" y="218"/>
                    </a:lnTo>
                    <a:lnTo>
                      <a:pt x="1256" y="220"/>
                    </a:lnTo>
                    <a:lnTo>
                      <a:pt x="1258" y="220"/>
                    </a:lnTo>
                    <a:lnTo>
                      <a:pt x="1260" y="220"/>
                    </a:lnTo>
                    <a:lnTo>
                      <a:pt x="1260" y="222"/>
                    </a:lnTo>
                    <a:lnTo>
                      <a:pt x="1258" y="222"/>
                    </a:lnTo>
                    <a:lnTo>
                      <a:pt x="1258" y="223"/>
                    </a:lnTo>
                    <a:lnTo>
                      <a:pt x="1258" y="225"/>
                    </a:lnTo>
                    <a:lnTo>
                      <a:pt x="1256" y="227"/>
                    </a:lnTo>
                    <a:lnTo>
                      <a:pt x="1258" y="227"/>
                    </a:lnTo>
                    <a:lnTo>
                      <a:pt x="1260" y="231"/>
                    </a:lnTo>
                    <a:lnTo>
                      <a:pt x="1260" y="233"/>
                    </a:lnTo>
                    <a:lnTo>
                      <a:pt x="1260" y="235"/>
                    </a:lnTo>
                    <a:lnTo>
                      <a:pt x="1260" y="237"/>
                    </a:lnTo>
                    <a:lnTo>
                      <a:pt x="1260" y="239"/>
                    </a:lnTo>
                    <a:lnTo>
                      <a:pt x="1260" y="241"/>
                    </a:lnTo>
                    <a:lnTo>
                      <a:pt x="1262" y="243"/>
                    </a:lnTo>
                    <a:lnTo>
                      <a:pt x="1262" y="245"/>
                    </a:lnTo>
                    <a:lnTo>
                      <a:pt x="1260" y="245"/>
                    </a:lnTo>
                    <a:lnTo>
                      <a:pt x="1262" y="246"/>
                    </a:lnTo>
                    <a:lnTo>
                      <a:pt x="1264" y="246"/>
                    </a:lnTo>
                    <a:lnTo>
                      <a:pt x="1268" y="248"/>
                    </a:lnTo>
                    <a:lnTo>
                      <a:pt x="1268" y="250"/>
                    </a:lnTo>
                    <a:lnTo>
                      <a:pt x="1268" y="252"/>
                    </a:lnTo>
                    <a:lnTo>
                      <a:pt x="1268" y="254"/>
                    </a:lnTo>
                    <a:lnTo>
                      <a:pt x="1270" y="254"/>
                    </a:lnTo>
                    <a:lnTo>
                      <a:pt x="1270" y="256"/>
                    </a:lnTo>
                    <a:lnTo>
                      <a:pt x="1268" y="256"/>
                    </a:lnTo>
                    <a:lnTo>
                      <a:pt x="1270" y="256"/>
                    </a:lnTo>
                    <a:lnTo>
                      <a:pt x="1272" y="256"/>
                    </a:lnTo>
                    <a:lnTo>
                      <a:pt x="1272" y="258"/>
                    </a:lnTo>
                    <a:lnTo>
                      <a:pt x="1273" y="258"/>
                    </a:lnTo>
                    <a:lnTo>
                      <a:pt x="1273" y="260"/>
                    </a:lnTo>
                    <a:lnTo>
                      <a:pt x="1275" y="260"/>
                    </a:lnTo>
                    <a:lnTo>
                      <a:pt x="1275" y="262"/>
                    </a:lnTo>
                    <a:lnTo>
                      <a:pt x="1273" y="262"/>
                    </a:lnTo>
                    <a:lnTo>
                      <a:pt x="1272" y="262"/>
                    </a:lnTo>
                    <a:lnTo>
                      <a:pt x="1272" y="264"/>
                    </a:lnTo>
                    <a:lnTo>
                      <a:pt x="1270" y="264"/>
                    </a:lnTo>
                    <a:lnTo>
                      <a:pt x="1268" y="264"/>
                    </a:lnTo>
                    <a:lnTo>
                      <a:pt x="1266" y="264"/>
                    </a:lnTo>
                    <a:lnTo>
                      <a:pt x="1266" y="266"/>
                    </a:lnTo>
                    <a:lnTo>
                      <a:pt x="1266" y="268"/>
                    </a:lnTo>
                    <a:lnTo>
                      <a:pt x="1264" y="268"/>
                    </a:lnTo>
                    <a:lnTo>
                      <a:pt x="1264" y="270"/>
                    </a:lnTo>
                    <a:lnTo>
                      <a:pt x="1260" y="271"/>
                    </a:lnTo>
                    <a:lnTo>
                      <a:pt x="1258" y="273"/>
                    </a:lnTo>
                    <a:lnTo>
                      <a:pt x="1260" y="273"/>
                    </a:lnTo>
                    <a:lnTo>
                      <a:pt x="1258" y="273"/>
                    </a:lnTo>
                    <a:lnTo>
                      <a:pt x="1260" y="275"/>
                    </a:lnTo>
                    <a:lnTo>
                      <a:pt x="1260" y="277"/>
                    </a:lnTo>
                    <a:lnTo>
                      <a:pt x="1260" y="279"/>
                    </a:lnTo>
                    <a:lnTo>
                      <a:pt x="1258" y="279"/>
                    </a:lnTo>
                    <a:lnTo>
                      <a:pt x="1258" y="281"/>
                    </a:lnTo>
                    <a:lnTo>
                      <a:pt x="1256" y="281"/>
                    </a:lnTo>
                    <a:lnTo>
                      <a:pt x="1256" y="283"/>
                    </a:lnTo>
                    <a:lnTo>
                      <a:pt x="1258" y="285"/>
                    </a:lnTo>
                    <a:lnTo>
                      <a:pt x="1260" y="285"/>
                    </a:lnTo>
                    <a:lnTo>
                      <a:pt x="1260" y="287"/>
                    </a:lnTo>
                    <a:lnTo>
                      <a:pt x="1258" y="289"/>
                    </a:lnTo>
                    <a:lnTo>
                      <a:pt x="1256" y="289"/>
                    </a:lnTo>
                    <a:lnTo>
                      <a:pt x="1256" y="291"/>
                    </a:lnTo>
                    <a:lnTo>
                      <a:pt x="1254" y="291"/>
                    </a:lnTo>
                    <a:lnTo>
                      <a:pt x="1252" y="291"/>
                    </a:lnTo>
                    <a:lnTo>
                      <a:pt x="1250" y="291"/>
                    </a:lnTo>
                    <a:lnTo>
                      <a:pt x="1248" y="291"/>
                    </a:lnTo>
                    <a:lnTo>
                      <a:pt x="1248" y="289"/>
                    </a:lnTo>
                    <a:lnTo>
                      <a:pt x="1247" y="289"/>
                    </a:lnTo>
                    <a:lnTo>
                      <a:pt x="1245" y="287"/>
                    </a:lnTo>
                    <a:lnTo>
                      <a:pt x="1243" y="287"/>
                    </a:lnTo>
                    <a:lnTo>
                      <a:pt x="1241" y="287"/>
                    </a:lnTo>
                    <a:lnTo>
                      <a:pt x="1239" y="287"/>
                    </a:lnTo>
                    <a:lnTo>
                      <a:pt x="1237" y="285"/>
                    </a:lnTo>
                    <a:lnTo>
                      <a:pt x="1235" y="285"/>
                    </a:lnTo>
                    <a:lnTo>
                      <a:pt x="1233" y="285"/>
                    </a:lnTo>
                    <a:lnTo>
                      <a:pt x="1235" y="287"/>
                    </a:lnTo>
                    <a:lnTo>
                      <a:pt x="1233" y="289"/>
                    </a:lnTo>
                    <a:lnTo>
                      <a:pt x="1233" y="291"/>
                    </a:lnTo>
                    <a:lnTo>
                      <a:pt x="1233" y="293"/>
                    </a:lnTo>
                    <a:lnTo>
                      <a:pt x="1233" y="295"/>
                    </a:lnTo>
                    <a:lnTo>
                      <a:pt x="1233" y="296"/>
                    </a:lnTo>
                    <a:lnTo>
                      <a:pt x="1231" y="296"/>
                    </a:lnTo>
                    <a:lnTo>
                      <a:pt x="1229" y="296"/>
                    </a:lnTo>
                    <a:lnTo>
                      <a:pt x="1227" y="298"/>
                    </a:lnTo>
                    <a:lnTo>
                      <a:pt x="1225" y="298"/>
                    </a:lnTo>
                    <a:lnTo>
                      <a:pt x="1225" y="300"/>
                    </a:lnTo>
                    <a:lnTo>
                      <a:pt x="1223" y="300"/>
                    </a:lnTo>
                    <a:lnTo>
                      <a:pt x="1222" y="300"/>
                    </a:lnTo>
                    <a:lnTo>
                      <a:pt x="1220" y="300"/>
                    </a:lnTo>
                    <a:lnTo>
                      <a:pt x="1220" y="298"/>
                    </a:lnTo>
                    <a:lnTo>
                      <a:pt x="1220" y="300"/>
                    </a:lnTo>
                    <a:lnTo>
                      <a:pt x="1218" y="298"/>
                    </a:lnTo>
                    <a:lnTo>
                      <a:pt x="1216" y="298"/>
                    </a:lnTo>
                    <a:lnTo>
                      <a:pt x="1214" y="300"/>
                    </a:lnTo>
                    <a:lnTo>
                      <a:pt x="1214" y="304"/>
                    </a:lnTo>
                    <a:lnTo>
                      <a:pt x="1212" y="304"/>
                    </a:lnTo>
                    <a:lnTo>
                      <a:pt x="1210" y="304"/>
                    </a:lnTo>
                    <a:lnTo>
                      <a:pt x="1210" y="306"/>
                    </a:lnTo>
                    <a:lnTo>
                      <a:pt x="1208" y="306"/>
                    </a:lnTo>
                    <a:lnTo>
                      <a:pt x="1206" y="306"/>
                    </a:lnTo>
                    <a:lnTo>
                      <a:pt x="1204" y="306"/>
                    </a:lnTo>
                    <a:lnTo>
                      <a:pt x="1202" y="306"/>
                    </a:lnTo>
                    <a:lnTo>
                      <a:pt x="1202" y="308"/>
                    </a:lnTo>
                    <a:lnTo>
                      <a:pt x="1202" y="310"/>
                    </a:lnTo>
                    <a:lnTo>
                      <a:pt x="1200" y="308"/>
                    </a:lnTo>
                    <a:lnTo>
                      <a:pt x="1200" y="310"/>
                    </a:lnTo>
                    <a:lnTo>
                      <a:pt x="1200" y="312"/>
                    </a:lnTo>
                    <a:lnTo>
                      <a:pt x="1202" y="312"/>
                    </a:lnTo>
                    <a:lnTo>
                      <a:pt x="1200" y="312"/>
                    </a:lnTo>
                    <a:lnTo>
                      <a:pt x="1200" y="314"/>
                    </a:lnTo>
                    <a:lnTo>
                      <a:pt x="1199" y="316"/>
                    </a:lnTo>
                    <a:lnTo>
                      <a:pt x="1199" y="314"/>
                    </a:lnTo>
                    <a:lnTo>
                      <a:pt x="1197" y="314"/>
                    </a:lnTo>
                    <a:lnTo>
                      <a:pt x="1195" y="312"/>
                    </a:lnTo>
                    <a:lnTo>
                      <a:pt x="1195" y="314"/>
                    </a:lnTo>
                    <a:lnTo>
                      <a:pt x="1193" y="314"/>
                    </a:lnTo>
                    <a:lnTo>
                      <a:pt x="1191" y="316"/>
                    </a:lnTo>
                    <a:lnTo>
                      <a:pt x="1189" y="316"/>
                    </a:lnTo>
                    <a:lnTo>
                      <a:pt x="1189" y="314"/>
                    </a:lnTo>
                    <a:lnTo>
                      <a:pt x="1187" y="314"/>
                    </a:lnTo>
                    <a:lnTo>
                      <a:pt x="1187" y="316"/>
                    </a:lnTo>
                    <a:lnTo>
                      <a:pt x="1187" y="318"/>
                    </a:lnTo>
                    <a:lnTo>
                      <a:pt x="1185" y="318"/>
                    </a:lnTo>
                    <a:lnTo>
                      <a:pt x="1185" y="320"/>
                    </a:lnTo>
                    <a:lnTo>
                      <a:pt x="1187" y="321"/>
                    </a:lnTo>
                    <a:lnTo>
                      <a:pt x="1187" y="323"/>
                    </a:lnTo>
                    <a:lnTo>
                      <a:pt x="1187" y="325"/>
                    </a:lnTo>
                    <a:lnTo>
                      <a:pt x="1187" y="327"/>
                    </a:lnTo>
                    <a:lnTo>
                      <a:pt x="1187" y="329"/>
                    </a:lnTo>
                    <a:lnTo>
                      <a:pt x="1189" y="327"/>
                    </a:lnTo>
                    <a:lnTo>
                      <a:pt x="1191" y="327"/>
                    </a:lnTo>
                    <a:lnTo>
                      <a:pt x="1193" y="327"/>
                    </a:lnTo>
                    <a:lnTo>
                      <a:pt x="1193" y="329"/>
                    </a:lnTo>
                    <a:lnTo>
                      <a:pt x="1195" y="331"/>
                    </a:lnTo>
                    <a:lnTo>
                      <a:pt x="1195" y="333"/>
                    </a:lnTo>
                    <a:lnTo>
                      <a:pt x="1195" y="335"/>
                    </a:lnTo>
                    <a:lnTo>
                      <a:pt x="1195" y="337"/>
                    </a:lnTo>
                    <a:lnTo>
                      <a:pt x="1195" y="339"/>
                    </a:lnTo>
                    <a:lnTo>
                      <a:pt x="1197" y="339"/>
                    </a:lnTo>
                    <a:lnTo>
                      <a:pt x="1197" y="341"/>
                    </a:lnTo>
                    <a:lnTo>
                      <a:pt x="1195" y="341"/>
                    </a:lnTo>
                    <a:lnTo>
                      <a:pt x="1195" y="343"/>
                    </a:lnTo>
                    <a:lnTo>
                      <a:pt x="1193" y="345"/>
                    </a:lnTo>
                    <a:lnTo>
                      <a:pt x="1193" y="343"/>
                    </a:lnTo>
                    <a:lnTo>
                      <a:pt x="1191" y="341"/>
                    </a:lnTo>
                    <a:lnTo>
                      <a:pt x="1189" y="341"/>
                    </a:lnTo>
                    <a:lnTo>
                      <a:pt x="1187" y="341"/>
                    </a:lnTo>
                    <a:lnTo>
                      <a:pt x="1187" y="343"/>
                    </a:lnTo>
                    <a:lnTo>
                      <a:pt x="1185" y="343"/>
                    </a:lnTo>
                    <a:lnTo>
                      <a:pt x="1185" y="345"/>
                    </a:lnTo>
                    <a:lnTo>
                      <a:pt x="1181" y="345"/>
                    </a:lnTo>
                    <a:lnTo>
                      <a:pt x="1181" y="346"/>
                    </a:lnTo>
                    <a:lnTo>
                      <a:pt x="1181" y="348"/>
                    </a:lnTo>
                    <a:lnTo>
                      <a:pt x="1179" y="350"/>
                    </a:lnTo>
                    <a:lnTo>
                      <a:pt x="1179" y="352"/>
                    </a:lnTo>
                    <a:lnTo>
                      <a:pt x="1179" y="354"/>
                    </a:lnTo>
                    <a:lnTo>
                      <a:pt x="1181" y="354"/>
                    </a:lnTo>
                    <a:lnTo>
                      <a:pt x="1181" y="356"/>
                    </a:lnTo>
                    <a:lnTo>
                      <a:pt x="1183" y="356"/>
                    </a:lnTo>
                    <a:lnTo>
                      <a:pt x="1183" y="358"/>
                    </a:lnTo>
                    <a:lnTo>
                      <a:pt x="1183" y="360"/>
                    </a:lnTo>
                    <a:lnTo>
                      <a:pt x="1185" y="360"/>
                    </a:lnTo>
                    <a:lnTo>
                      <a:pt x="1185" y="362"/>
                    </a:lnTo>
                    <a:lnTo>
                      <a:pt x="1187" y="364"/>
                    </a:lnTo>
                    <a:lnTo>
                      <a:pt x="1187" y="366"/>
                    </a:lnTo>
                    <a:lnTo>
                      <a:pt x="1189" y="368"/>
                    </a:lnTo>
                    <a:lnTo>
                      <a:pt x="1189" y="370"/>
                    </a:lnTo>
                    <a:lnTo>
                      <a:pt x="1191" y="370"/>
                    </a:lnTo>
                    <a:lnTo>
                      <a:pt x="1193" y="370"/>
                    </a:lnTo>
                    <a:lnTo>
                      <a:pt x="1195" y="371"/>
                    </a:lnTo>
                    <a:lnTo>
                      <a:pt x="1195" y="373"/>
                    </a:lnTo>
                    <a:lnTo>
                      <a:pt x="1195" y="375"/>
                    </a:lnTo>
                    <a:lnTo>
                      <a:pt x="1193" y="377"/>
                    </a:lnTo>
                    <a:lnTo>
                      <a:pt x="1191" y="383"/>
                    </a:lnTo>
                    <a:lnTo>
                      <a:pt x="1191" y="385"/>
                    </a:lnTo>
                    <a:lnTo>
                      <a:pt x="1189" y="387"/>
                    </a:lnTo>
                    <a:lnTo>
                      <a:pt x="1187" y="389"/>
                    </a:lnTo>
                    <a:lnTo>
                      <a:pt x="1185" y="391"/>
                    </a:lnTo>
                    <a:lnTo>
                      <a:pt x="1185" y="393"/>
                    </a:lnTo>
                    <a:lnTo>
                      <a:pt x="1183" y="393"/>
                    </a:lnTo>
                    <a:lnTo>
                      <a:pt x="1183" y="395"/>
                    </a:lnTo>
                    <a:lnTo>
                      <a:pt x="1183" y="396"/>
                    </a:lnTo>
                    <a:lnTo>
                      <a:pt x="1183" y="398"/>
                    </a:lnTo>
                    <a:lnTo>
                      <a:pt x="1185" y="400"/>
                    </a:lnTo>
                    <a:lnTo>
                      <a:pt x="1185" y="402"/>
                    </a:lnTo>
                    <a:lnTo>
                      <a:pt x="1187" y="402"/>
                    </a:lnTo>
                    <a:lnTo>
                      <a:pt x="1187" y="404"/>
                    </a:lnTo>
                    <a:lnTo>
                      <a:pt x="1187" y="406"/>
                    </a:lnTo>
                    <a:lnTo>
                      <a:pt x="1187" y="408"/>
                    </a:lnTo>
                    <a:lnTo>
                      <a:pt x="1187" y="410"/>
                    </a:lnTo>
                    <a:lnTo>
                      <a:pt x="1189" y="414"/>
                    </a:lnTo>
                    <a:lnTo>
                      <a:pt x="1191" y="414"/>
                    </a:lnTo>
                    <a:lnTo>
                      <a:pt x="1193" y="416"/>
                    </a:lnTo>
                    <a:lnTo>
                      <a:pt x="1193" y="418"/>
                    </a:lnTo>
                    <a:lnTo>
                      <a:pt x="1195" y="418"/>
                    </a:lnTo>
                    <a:lnTo>
                      <a:pt x="1197" y="416"/>
                    </a:lnTo>
                    <a:lnTo>
                      <a:pt x="1199" y="416"/>
                    </a:lnTo>
                    <a:lnTo>
                      <a:pt x="1200" y="418"/>
                    </a:lnTo>
                    <a:lnTo>
                      <a:pt x="1202" y="420"/>
                    </a:lnTo>
                    <a:lnTo>
                      <a:pt x="1204" y="420"/>
                    </a:lnTo>
                    <a:lnTo>
                      <a:pt x="1204" y="421"/>
                    </a:lnTo>
                    <a:lnTo>
                      <a:pt x="1204" y="423"/>
                    </a:lnTo>
                    <a:lnTo>
                      <a:pt x="1202" y="423"/>
                    </a:lnTo>
                    <a:lnTo>
                      <a:pt x="1204" y="425"/>
                    </a:lnTo>
                    <a:lnTo>
                      <a:pt x="1202" y="425"/>
                    </a:lnTo>
                    <a:lnTo>
                      <a:pt x="1202" y="427"/>
                    </a:lnTo>
                    <a:lnTo>
                      <a:pt x="1202" y="429"/>
                    </a:lnTo>
                    <a:lnTo>
                      <a:pt x="1202" y="431"/>
                    </a:lnTo>
                    <a:lnTo>
                      <a:pt x="1200" y="431"/>
                    </a:lnTo>
                    <a:lnTo>
                      <a:pt x="1200" y="433"/>
                    </a:lnTo>
                    <a:lnTo>
                      <a:pt x="1199" y="435"/>
                    </a:lnTo>
                    <a:lnTo>
                      <a:pt x="1199" y="437"/>
                    </a:lnTo>
                    <a:lnTo>
                      <a:pt x="1200" y="437"/>
                    </a:lnTo>
                    <a:lnTo>
                      <a:pt x="1202" y="439"/>
                    </a:lnTo>
                    <a:lnTo>
                      <a:pt x="1204" y="439"/>
                    </a:lnTo>
                    <a:lnTo>
                      <a:pt x="1206" y="439"/>
                    </a:lnTo>
                    <a:lnTo>
                      <a:pt x="1204" y="441"/>
                    </a:lnTo>
                    <a:lnTo>
                      <a:pt x="1206" y="441"/>
                    </a:lnTo>
                    <a:lnTo>
                      <a:pt x="1204" y="443"/>
                    </a:lnTo>
                    <a:lnTo>
                      <a:pt x="1202" y="445"/>
                    </a:lnTo>
                    <a:lnTo>
                      <a:pt x="1202" y="446"/>
                    </a:lnTo>
                    <a:lnTo>
                      <a:pt x="1200" y="448"/>
                    </a:lnTo>
                    <a:lnTo>
                      <a:pt x="1199" y="446"/>
                    </a:lnTo>
                    <a:lnTo>
                      <a:pt x="1197" y="446"/>
                    </a:lnTo>
                    <a:lnTo>
                      <a:pt x="1197" y="445"/>
                    </a:lnTo>
                    <a:lnTo>
                      <a:pt x="1195" y="443"/>
                    </a:lnTo>
                    <a:lnTo>
                      <a:pt x="1193" y="443"/>
                    </a:lnTo>
                    <a:lnTo>
                      <a:pt x="1193" y="445"/>
                    </a:lnTo>
                    <a:lnTo>
                      <a:pt x="1191" y="443"/>
                    </a:lnTo>
                    <a:lnTo>
                      <a:pt x="1191" y="445"/>
                    </a:lnTo>
                    <a:lnTo>
                      <a:pt x="1189" y="446"/>
                    </a:lnTo>
                    <a:lnTo>
                      <a:pt x="1185" y="452"/>
                    </a:lnTo>
                    <a:lnTo>
                      <a:pt x="1183" y="452"/>
                    </a:lnTo>
                    <a:lnTo>
                      <a:pt x="1183" y="456"/>
                    </a:lnTo>
                    <a:lnTo>
                      <a:pt x="1183" y="458"/>
                    </a:lnTo>
                    <a:lnTo>
                      <a:pt x="1185" y="460"/>
                    </a:lnTo>
                    <a:lnTo>
                      <a:pt x="1183" y="460"/>
                    </a:lnTo>
                    <a:lnTo>
                      <a:pt x="1181" y="458"/>
                    </a:lnTo>
                    <a:lnTo>
                      <a:pt x="1181" y="460"/>
                    </a:lnTo>
                    <a:lnTo>
                      <a:pt x="1179" y="460"/>
                    </a:lnTo>
                    <a:lnTo>
                      <a:pt x="1177" y="462"/>
                    </a:lnTo>
                    <a:lnTo>
                      <a:pt x="1175" y="464"/>
                    </a:lnTo>
                    <a:lnTo>
                      <a:pt x="1175" y="466"/>
                    </a:lnTo>
                    <a:lnTo>
                      <a:pt x="1172" y="468"/>
                    </a:lnTo>
                    <a:lnTo>
                      <a:pt x="1170" y="470"/>
                    </a:lnTo>
                    <a:lnTo>
                      <a:pt x="1168" y="470"/>
                    </a:lnTo>
                    <a:lnTo>
                      <a:pt x="1166" y="471"/>
                    </a:lnTo>
                    <a:lnTo>
                      <a:pt x="1168" y="471"/>
                    </a:lnTo>
                    <a:lnTo>
                      <a:pt x="1170" y="475"/>
                    </a:lnTo>
                    <a:lnTo>
                      <a:pt x="1170" y="477"/>
                    </a:lnTo>
                    <a:lnTo>
                      <a:pt x="1172" y="479"/>
                    </a:lnTo>
                    <a:lnTo>
                      <a:pt x="1172" y="481"/>
                    </a:lnTo>
                    <a:lnTo>
                      <a:pt x="1168" y="481"/>
                    </a:lnTo>
                    <a:lnTo>
                      <a:pt x="1164" y="481"/>
                    </a:lnTo>
                    <a:lnTo>
                      <a:pt x="1162" y="483"/>
                    </a:lnTo>
                    <a:lnTo>
                      <a:pt x="1160" y="483"/>
                    </a:lnTo>
                    <a:lnTo>
                      <a:pt x="1158" y="481"/>
                    </a:lnTo>
                    <a:lnTo>
                      <a:pt x="1156" y="481"/>
                    </a:lnTo>
                    <a:lnTo>
                      <a:pt x="1156" y="483"/>
                    </a:lnTo>
                    <a:lnTo>
                      <a:pt x="1156" y="481"/>
                    </a:lnTo>
                    <a:lnTo>
                      <a:pt x="1154" y="481"/>
                    </a:lnTo>
                    <a:lnTo>
                      <a:pt x="1152" y="479"/>
                    </a:lnTo>
                    <a:lnTo>
                      <a:pt x="1152" y="477"/>
                    </a:lnTo>
                    <a:lnTo>
                      <a:pt x="1150" y="475"/>
                    </a:lnTo>
                    <a:lnTo>
                      <a:pt x="1150" y="473"/>
                    </a:lnTo>
                    <a:lnTo>
                      <a:pt x="1150" y="471"/>
                    </a:lnTo>
                    <a:lnTo>
                      <a:pt x="1149" y="471"/>
                    </a:lnTo>
                    <a:lnTo>
                      <a:pt x="1147" y="471"/>
                    </a:lnTo>
                    <a:lnTo>
                      <a:pt x="1145" y="470"/>
                    </a:lnTo>
                    <a:lnTo>
                      <a:pt x="1143" y="470"/>
                    </a:lnTo>
                    <a:lnTo>
                      <a:pt x="1141" y="470"/>
                    </a:lnTo>
                    <a:lnTo>
                      <a:pt x="1141" y="471"/>
                    </a:lnTo>
                    <a:lnTo>
                      <a:pt x="1139" y="471"/>
                    </a:lnTo>
                    <a:lnTo>
                      <a:pt x="1139" y="473"/>
                    </a:lnTo>
                    <a:lnTo>
                      <a:pt x="1139" y="475"/>
                    </a:lnTo>
                    <a:lnTo>
                      <a:pt x="1139" y="477"/>
                    </a:lnTo>
                    <a:lnTo>
                      <a:pt x="1137" y="479"/>
                    </a:lnTo>
                    <a:lnTo>
                      <a:pt x="1137" y="481"/>
                    </a:lnTo>
                    <a:lnTo>
                      <a:pt x="1139" y="481"/>
                    </a:lnTo>
                    <a:lnTo>
                      <a:pt x="1137" y="481"/>
                    </a:lnTo>
                    <a:lnTo>
                      <a:pt x="1137" y="483"/>
                    </a:lnTo>
                    <a:lnTo>
                      <a:pt x="1137" y="485"/>
                    </a:lnTo>
                    <a:lnTo>
                      <a:pt x="1135" y="485"/>
                    </a:lnTo>
                    <a:lnTo>
                      <a:pt x="1133" y="485"/>
                    </a:lnTo>
                    <a:lnTo>
                      <a:pt x="1135" y="487"/>
                    </a:lnTo>
                    <a:lnTo>
                      <a:pt x="1135" y="489"/>
                    </a:lnTo>
                    <a:lnTo>
                      <a:pt x="1133" y="489"/>
                    </a:lnTo>
                    <a:lnTo>
                      <a:pt x="1131" y="489"/>
                    </a:lnTo>
                    <a:lnTo>
                      <a:pt x="1131" y="487"/>
                    </a:lnTo>
                    <a:lnTo>
                      <a:pt x="1129" y="487"/>
                    </a:lnTo>
                    <a:lnTo>
                      <a:pt x="1129" y="489"/>
                    </a:lnTo>
                    <a:lnTo>
                      <a:pt x="1127" y="489"/>
                    </a:lnTo>
                    <a:lnTo>
                      <a:pt x="1126" y="489"/>
                    </a:lnTo>
                    <a:lnTo>
                      <a:pt x="1126" y="491"/>
                    </a:lnTo>
                    <a:lnTo>
                      <a:pt x="1124" y="491"/>
                    </a:lnTo>
                    <a:lnTo>
                      <a:pt x="1124" y="493"/>
                    </a:lnTo>
                    <a:lnTo>
                      <a:pt x="1122" y="493"/>
                    </a:lnTo>
                    <a:lnTo>
                      <a:pt x="1120" y="494"/>
                    </a:lnTo>
                    <a:lnTo>
                      <a:pt x="1118" y="494"/>
                    </a:lnTo>
                    <a:lnTo>
                      <a:pt x="1116" y="494"/>
                    </a:lnTo>
                    <a:lnTo>
                      <a:pt x="1114" y="494"/>
                    </a:lnTo>
                    <a:lnTo>
                      <a:pt x="1112" y="493"/>
                    </a:lnTo>
                    <a:lnTo>
                      <a:pt x="1110" y="493"/>
                    </a:lnTo>
                    <a:lnTo>
                      <a:pt x="1108" y="493"/>
                    </a:lnTo>
                    <a:lnTo>
                      <a:pt x="1106" y="493"/>
                    </a:lnTo>
                    <a:lnTo>
                      <a:pt x="1106" y="494"/>
                    </a:lnTo>
                    <a:lnTo>
                      <a:pt x="1106" y="496"/>
                    </a:lnTo>
                    <a:lnTo>
                      <a:pt x="1106" y="500"/>
                    </a:lnTo>
                    <a:lnTo>
                      <a:pt x="1106" y="502"/>
                    </a:lnTo>
                    <a:lnTo>
                      <a:pt x="1104" y="502"/>
                    </a:lnTo>
                    <a:lnTo>
                      <a:pt x="1104" y="504"/>
                    </a:lnTo>
                    <a:lnTo>
                      <a:pt x="1106" y="504"/>
                    </a:lnTo>
                    <a:lnTo>
                      <a:pt x="1106" y="506"/>
                    </a:lnTo>
                    <a:lnTo>
                      <a:pt x="1106" y="504"/>
                    </a:lnTo>
                    <a:lnTo>
                      <a:pt x="1108" y="506"/>
                    </a:lnTo>
                    <a:lnTo>
                      <a:pt x="1110" y="506"/>
                    </a:lnTo>
                    <a:lnTo>
                      <a:pt x="1112" y="506"/>
                    </a:lnTo>
                    <a:lnTo>
                      <a:pt x="1112" y="508"/>
                    </a:lnTo>
                    <a:lnTo>
                      <a:pt x="1114" y="510"/>
                    </a:lnTo>
                    <a:lnTo>
                      <a:pt x="1116" y="510"/>
                    </a:lnTo>
                    <a:lnTo>
                      <a:pt x="1116" y="512"/>
                    </a:lnTo>
                    <a:lnTo>
                      <a:pt x="1116" y="514"/>
                    </a:lnTo>
                    <a:lnTo>
                      <a:pt x="1118" y="514"/>
                    </a:lnTo>
                    <a:lnTo>
                      <a:pt x="1118" y="516"/>
                    </a:lnTo>
                    <a:lnTo>
                      <a:pt x="1116" y="516"/>
                    </a:lnTo>
                    <a:lnTo>
                      <a:pt x="1118" y="516"/>
                    </a:lnTo>
                    <a:lnTo>
                      <a:pt x="1118" y="518"/>
                    </a:lnTo>
                    <a:lnTo>
                      <a:pt x="1118" y="519"/>
                    </a:lnTo>
                    <a:lnTo>
                      <a:pt x="1118" y="521"/>
                    </a:lnTo>
                    <a:lnTo>
                      <a:pt x="1120" y="523"/>
                    </a:lnTo>
                    <a:lnTo>
                      <a:pt x="1120" y="525"/>
                    </a:lnTo>
                    <a:lnTo>
                      <a:pt x="1118" y="525"/>
                    </a:lnTo>
                    <a:lnTo>
                      <a:pt x="1118" y="527"/>
                    </a:lnTo>
                    <a:lnTo>
                      <a:pt x="1120" y="527"/>
                    </a:lnTo>
                    <a:lnTo>
                      <a:pt x="1118" y="529"/>
                    </a:lnTo>
                    <a:lnTo>
                      <a:pt x="1120" y="531"/>
                    </a:lnTo>
                    <a:lnTo>
                      <a:pt x="1118" y="531"/>
                    </a:lnTo>
                    <a:lnTo>
                      <a:pt x="1116" y="531"/>
                    </a:lnTo>
                    <a:lnTo>
                      <a:pt x="1116" y="529"/>
                    </a:lnTo>
                    <a:lnTo>
                      <a:pt x="1114" y="531"/>
                    </a:lnTo>
                    <a:lnTo>
                      <a:pt x="1114" y="533"/>
                    </a:lnTo>
                    <a:lnTo>
                      <a:pt x="1112" y="533"/>
                    </a:lnTo>
                    <a:lnTo>
                      <a:pt x="1112" y="531"/>
                    </a:lnTo>
                    <a:lnTo>
                      <a:pt x="1112" y="529"/>
                    </a:lnTo>
                    <a:lnTo>
                      <a:pt x="1110" y="529"/>
                    </a:lnTo>
                    <a:lnTo>
                      <a:pt x="1110" y="531"/>
                    </a:lnTo>
                    <a:lnTo>
                      <a:pt x="1108" y="531"/>
                    </a:lnTo>
                    <a:lnTo>
                      <a:pt x="1108" y="529"/>
                    </a:lnTo>
                    <a:lnTo>
                      <a:pt x="1106" y="529"/>
                    </a:lnTo>
                    <a:lnTo>
                      <a:pt x="1108" y="529"/>
                    </a:lnTo>
                    <a:lnTo>
                      <a:pt x="1106" y="529"/>
                    </a:lnTo>
                    <a:lnTo>
                      <a:pt x="1106" y="527"/>
                    </a:lnTo>
                    <a:lnTo>
                      <a:pt x="1106" y="525"/>
                    </a:lnTo>
                    <a:lnTo>
                      <a:pt x="1106" y="523"/>
                    </a:lnTo>
                    <a:lnTo>
                      <a:pt x="1104" y="523"/>
                    </a:lnTo>
                    <a:lnTo>
                      <a:pt x="1102" y="523"/>
                    </a:lnTo>
                    <a:lnTo>
                      <a:pt x="1102" y="521"/>
                    </a:lnTo>
                    <a:lnTo>
                      <a:pt x="1102" y="523"/>
                    </a:lnTo>
                    <a:lnTo>
                      <a:pt x="1101" y="523"/>
                    </a:lnTo>
                    <a:lnTo>
                      <a:pt x="1101" y="525"/>
                    </a:lnTo>
                    <a:lnTo>
                      <a:pt x="1101" y="527"/>
                    </a:lnTo>
                    <a:lnTo>
                      <a:pt x="1099" y="527"/>
                    </a:lnTo>
                    <a:lnTo>
                      <a:pt x="1097" y="529"/>
                    </a:lnTo>
                    <a:lnTo>
                      <a:pt x="1097" y="531"/>
                    </a:lnTo>
                    <a:lnTo>
                      <a:pt x="1099" y="531"/>
                    </a:lnTo>
                    <a:lnTo>
                      <a:pt x="1099" y="533"/>
                    </a:lnTo>
                    <a:lnTo>
                      <a:pt x="1099" y="535"/>
                    </a:lnTo>
                    <a:lnTo>
                      <a:pt x="1099" y="537"/>
                    </a:lnTo>
                    <a:lnTo>
                      <a:pt x="1097" y="535"/>
                    </a:lnTo>
                    <a:lnTo>
                      <a:pt x="1095" y="535"/>
                    </a:lnTo>
                    <a:lnTo>
                      <a:pt x="1093" y="535"/>
                    </a:lnTo>
                    <a:lnTo>
                      <a:pt x="1093" y="533"/>
                    </a:lnTo>
                    <a:lnTo>
                      <a:pt x="1091" y="533"/>
                    </a:lnTo>
                    <a:lnTo>
                      <a:pt x="1091" y="535"/>
                    </a:lnTo>
                    <a:lnTo>
                      <a:pt x="1091" y="533"/>
                    </a:lnTo>
                    <a:lnTo>
                      <a:pt x="1089" y="533"/>
                    </a:lnTo>
                    <a:lnTo>
                      <a:pt x="1087" y="535"/>
                    </a:lnTo>
                    <a:lnTo>
                      <a:pt x="1085" y="535"/>
                    </a:lnTo>
                    <a:lnTo>
                      <a:pt x="1083" y="535"/>
                    </a:lnTo>
                    <a:lnTo>
                      <a:pt x="1083" y="537"/>
                    </a:lnTo>
                    <a:lnTo>
                      <a:pt x="1081" y="537"/>
                    </a:lnTo>
                    <a:lnTo>
                      <a:pt x="1079" y="537"/>
                    </a:lnTo>
                    <a:lnTo>
                      <a:pt x="1077" y="537"/>
                    </a:lnTo>
                    <a:lnTo>
                      <a:pt x="1076" y="537"/>
                    </a:lnTo>
                    <a:lnTo>
                      <a:pt x="1074" y="537"/>
                    </a:lnTo>
                    <a:lnTo>
                      <a:pt x="1074" y="539"/>
                    </a:lnTo>
                    <a:lnTo>
                      <a:pt x="1072" y="539"/>
                    </a:lnTo>
                    <a:lnTo>
                      <a:pt x="1074" y="539"/>
                    </a:lnTo>
                    <a:lnTo>
                      <a:pt x="1072" y="539"/>
                    </a:lnTo>
                    <a:lnTo>
                      <a:pt x="1072" y="541"/>
                    </a:lnTo>
                    <a:lnTo>
                      <a:pt x="1074" y="541"/>
                    </a:lnTo>
                    <a:lnTo>
                      <a:pt x="1074" y="543"/>
                    </a:lnTo>
                    <a:lnTo>
                      <a:pt x="1074" y="544"/>
                    </a:lnTo>
                    <a:lnTo>
                      <a:pt x="1074" y="546"/>
                    </a:lnTo>
                    <a:lnTo>
                      <a:pt x="1076" y="546"/>
                    </a:lnTo>
                    <a:lnTo>
                      <a:pt x="1076" y="548"/>
                    </a:lnTo>
                    <a:lnTo>
                      <a:pt x="1076" y="550"/>
                    </a:lnTo>
                    <a:lnTo>
                      <a:pt x="1074" y="550"/>
                    </a:lnTo>
                    <a:lnTo>
                      <a:pt x="1074" y="552"/>
                    </a:lnTo>
                    <a:lnTo>
                      <a:pt x="1076" y="552"/>
                    </a:lnTo>
                    <a:lnTo>
                      <a:pt x="1076" y="554"/>
                    </a:lnTo>
                    <a:lnTo>
                      <a:pt x="1076" y="556"/>
                    </a:lnTo>
                    <a:lnTo>
                      <a:pt x="1076" y="558"/>
                    </a:lnTo>
                    <a:lnTo>
                      <a:pt x="1074" y="558"/>
                    </a:lnTo>
                    <a:lnTo>
                      <a:pt x="1074" y="560"/>
                    </a:lnTo>
                    <a:lnTo>
                      <a:pt x="1072" y="560"/>
                    </a:lnTo>
                    <a:lnTo>
                      <a:pt x="1072" y="562"/>
                    </a:lnTo>
                    <a:lnTo>
                      <a:pt x="1070" y="562"/>
                    </a:lnTo>
                    <a:lnTo>
                      <a:pt x="1070" y="564"/>
                    </a:lnTo>
                    <a:lnTo>
                      <a:pt x="1068" y="564"/>
                    </a:lnTo>
                    <a:lnTo>
                      <a:pt x="1070" y="564"/>
                    </a:lnTo>
                    <a:lnTo>
                      <a:pt x="1068" y="564"/>
                    </a:lnTo>
                    <a:lnTo>
                      <a:pt x="1068" y="566"/>
                    </a:lnTo>
                    <a:lnTo>
                      <a:pt x="1068" y="568"/>
                    </a:lnTo>
                    <a:lnTo>
                      <a:pt x="1066" y="568"/>
                    </a:lnTo>
                    <a:lnTo>
                      <a:pt x="1066" y="569"/>
                    </a:lnTo>
                    <a:lnTo>
                      <a:pt x="1064" y="569"/>
                    </a:lnTo>
                    <a:lnTo>
                      <a:pt x="1064" y="571"/>
                    </a:lnTo>
                    <a:lnTo>
                      <a:pt x="1066" y="571"/>
                    </a:lnTo>
                    <a:lnTo>
                      <a:pt x="1068" y="571"/>
                    </a:lnTo>
                    <a:lnTo>
                      <a:pt x="1068" y="573"/>
                    </a:lnTo>
                    <a:lnTo>
                      <a:pt x="1070" y="573"/>
                    </a:lnTo>
                    <a:lnTo>
                      <a:pt x="1070" y="575"/>
                    </a:lnTo>
                    <a:lnTo>
                      <a:pt x="1070" y="577"/>
                    </a:lnTo>
                    <a:lnTo>
                      <a:pt x="1072" y="575"/>
                    </a:lnTo>
                    <a:lnTo>
                      <a:pt x="1072" y="577"/>
                    </a:lnTo>
                    <a:lnTo>
                      <a:pt x="1072" y="579"/>
                    </a:lnTo>
                    <a:lnTo>
                      <a:pt x="1072" y="581"/>
                    </a:lnTo>
                    <a:lnTo>
                      <a:pt x="1072" y="583"/>
                    </a:lnTo>
                    <a:lnTo>
                      <a:pt x="1072" y="585"/>
                    </a:lnTo>
                    <a:lnTo>
                      <a:pt x="1072" y="587"/>
                    </a:lnTo>
                    <a:lnTo>
                      <a:pt x="1072" y="589"/>
                    </a:lnTo>
                    <a:lnTo>
                      <a:pt x="1074" y="591"/>
                    </a:lnTo>
                    <a:lnTo>
                      <a:pt x="1074" y="593"/>
                    </a:lnTo>
                    <a:lnTo>
                      <a:pt x="1074" y="594"/>
                    </a:lnTo>
                    <a:lnTo>
                      <a:pt x="1076" y="594"/>
                    </a:lnTo>
                    <a:lnTo>
                      <a:pt x="1076" y="596"/>
                    </a:lnTo>
                    <a:lnTo>
                      <a:pt x="1076" y="598"/>
                    </a:lnTo>
                    <a:lnTo>
                      <a:pt x="1076" y="600"/>
                    </a:lnTo>
                    <a:lnTo>
                      <a:pt x="1076" y="598"/>
                    </a:lnTo>
                    <a:lnTo>
                      <a:pt x="1076" y="600"/>
                    </a:lnTo>
                    <a:lnTo>
                      <a:pt x="1076" y="602"/>
                    </a:lnTo>
                    <a:lnTo>
                      <a:pt x="1077" y="602"/>
                    </a:lnTo>
                    <a:lnTo>
                      <a:pt x="1076" y="602"/>
                    </a:lnTo>
                    <a:lnTo>
                      <a:pt x="1076" y="604"/>
                    </a:lnTo>
                    <a:lnTo>
                      <a:pt x="1076" y="606"/>
                    </a:lnTo>
                    <a:lnTo>
                      <a:pt x="1076" y="608"/>
                    </a:lnTo>
                    <a:lnTo>
                      <a:pt x="1077" y="610"/>
                    </a:lnTo>
                    <a:lnTo>
                      <a:pt x="1077" y="612"/>
                    </a:lnTo>
                    <a:lnTo>
                      <a:pt x="1077" y="614"/>
                    </a:lnTo>
                    <a:lnTo>
                      <a:pt x="1079" y="614"/>
                    </a:lnTo>
                    <a:lnTo>
                      <a:pt x="1081" y="616"/>
                    </a:lnTo>
                    <a:lnTo>
                      <a:pt x="1083" y="618"/>
                    </a:lnTo>
                    <a:lnTo>
                      <a:pt x="1081" y="619"/>
                    </a:lnTo>
                    <a:lnTo>
                      <a:pt x="1083" y="619"/>
                    </a:lnTo>
                    <a:lnTo>
                      <a:pt x="1085" y="619"/>
                    </a:lnTo>
                    <a:lnTo>
                      <a:pt x="1085" y="621"/>
                    </a:lnTo>
                    <a:lnTo>
                      <a:pt x="1087" y="621"/>
                    </a:lnTo>
                    <a:lnTo>
                      <a:pt x="1087" y="623"/>
                    </a:lnTo>
                    <a:lnTo>
                      <a:pt x="1089" y="623"/>
                    </a:lnTo>
                    <a:lnTo>
                      <a:pt x="1091" y="623"/>
                    </a:lnTo>
                    <a:lnTo>
                      <a:pt x="1091" y="625"/>
                    </a:lnTo>
                    <a:lnTo>
                      <a:pt x="1091" y="627"/>
                    </a:lnTo>
                    <a:lnTo>
                      <a:pt x="1091" y="629"/>
                    </a:lnTo>
                    <a:lnTo>
                      <a:pt x="1093" y="631"/>
                    </a:lnTo>
                    <a:lnTo>
                      <a:pt x="1093" y="633"/>
                    </a:lnTo>
                    <a:lnTo>
                      <a:pt x="1093" y="635"/>
                    </a:lnTo>
                    <a:lnTo>
                      <a:pt x="1095" y="635"/>
                    </a:lnTo>
                    <a:lnTo>
                      <a:pt x="1097" y="635"/>
                    </a:lnTo>
                    <a:lnTo>
                      <a:pt x="1097" y="637"/>
                    </a:lnTo>
                    <a:lnTo>
                      <a:pt x="1099" y="639"/>
                    </a:lnTo>
                    <a:lnTo>
                      <a:pt x="1099" y="641"/>
                    </a:lnTo>
                    <a:lnTo>
                      <a:pt x="1101" y="643"/>
                    </a:lnTo>
                    <a:lnTo>
                      <a:pt x="1102" y="643"/>
                    </a:lnTo>
                    <a:lnTo>
                      <a:pt x="1102" y="644"/>
                    </a:lnTo>
                    <a:lnTo>
                      <a:pt x="1102" y="646"/>
                    </a:lnTo>
                    <a:lnTo>
                      <a:pt x="1102" y="648"/>
                    </a:lnTo>
                    <a:lnTo>
                      <a:pt x="1101" y="648"/>
                    </a:lnTo>
                    <a:lnTo>
                      <a:pt x="1099" y="648"/>
                    </a:lnTo>
                    <a:lnTo>
                      <a:pt x="1099" y="646"/>
                    </a:lnTo>
                    <a:lnTo>
                      <a:pt x="1099" y="648"/>
                    </a:lnTo>
                    <a:lnTo>
                      <a:pt x="1099" y="650"/>
                    </a:lnTo>
                    <a:lnTo>
                      <a:pt x="1099" y="652"/>
                    </a:lnTo>
                    <a:lnTo>
                      <a:pt x="1097" y="652"/>
                    </a:lnTo>
                    <a:lnTo>
                      <a:pt x="1099" y="654"/>
                    </a:lnTo>
                    <a:lnTo>
                      <a:pt x="1099" y="656"/>
                    </a:lnTo>
                    <a:lnTo>
                      <a:pt x="1101" y="658"/>
                    </a:lnTo>
                    <a:lnTo>
                      <a:pt x="1101" y="660"/>
                    </a:lnTo>
                    <a:lnTo>
                      <a:pt x="1102" y="660"/>
                    </a:lnTo>
                    <a:lnTo>
                      <a:pt x="1102" y="662"/>
                    </a:lnTo>
                    <a:lnTo>
                      <a:pt x="1104" y="662"/>
                    </a:lnTo>
                    <a:lnTo>
                      <a:pt x="1102" y="662"/>
                    </a:lnTo>
                    <a:lnTo>
                      <a:pt x="1104" y="662"/>
                    </a:lnTo>
                    <a:lnTo>
                      <a:pt x="1104" y="664"/>
                    </a:lnTo>
                    <a:lnTo>
                      <a:pt x="1102" y="664"/>
                    </a:lnTo>
                    <a:lnTo>
                      <a:pt x="1104" y="666"/>
                    </a:lnTo>
                    <a:lnTo>
                      <a:pt x="1102" y="666"/>
                    </a:lnTo>
                    <a:lnTo>
                      <a:pt x="1102" y="668"/>
                    </a:lnTo>
                    <a:lnTo>
                      <a:pt x="1101" y="668"/>
                    </a:lnTo>
                    <a:lnTo>
                      <a:pt x="1101" y="669"/>
                    </a:lnTo>
                    <a:lnTo>
                      <a:pt x="1102" y="669"/>
                    </a:lnTo>
                    <a:lnTo>
                      <a:pt x="1102" y="671"/>
                    </a:lnTo>
                    <a:lnTo>
                      <a:pt x="1102" y="673"/>
                    </a:lnTo>
                    <a:lnTo>
                      <a:pt x="1101" y="673"/>
                    </a:lnTo>
                    <a:lnTo>
                      <a:pt x="1101" y="675"/>
                    </a:lnTo>
                    <a:lnTo>
                      <a:pt x="1101" y="677"/>
                    </a:lnTo>
                    <a:lnTo>
                      <a:pt x="1099" y="679"/>
                    </a:lnTo>
                    <a:lnTo>
                      <a:pt x="1099" y="681"/>
                    </a:lnTo>
                    <a:lnTo>
                      <a:pt x="1101" y="683"/>
                    </a:lnTo>
                    <a:lnTo>
                      <a:pt x="1101" y="685"/>
                    </a:lnTo>
                    <a:lnTo>
                      <a:pt x="1099" y="687"/>
                    </a:lnTo>
                    <a:lnTo>
                      <a:pt x="1099" y="689"/>
                    </a:lnTo>
                    <a:lnTo>
                      <a:pt x="1101" y="691"/>
                    </a:lnTo>
                    <a:lnTo>
                      <a:pt x="1101" y="693"/>
                    </a:lnTo>
                    <a:lnTo>
                      <a:pt x="1102" y="693"/>
                    </a:lnTo>
                    <a:lnTo>
                      <a:pt x="1101" y="693"/>
                    </a:lnTo>
                    <a:lnTo>
                      <a:pt x="1101" y="694"/>
                    </a:lnTo>
                    <a:lnTo>
                      <a:pt x="1102" y="696"/>
                    </a:lnTo>
                    <a:lnTo>
                      <a:pt x="1101" y="696"/>
                    </a:lnTo>
                    <a:lnTo>
                      <a:pt x="1102" y="696"/>
                    </a:lnTo>
                    <a:lnTo>
                      <a:pt x="1101" y="696"/>
                    </a:lnTo>
                    <a:lnTo>
                      <a:pt x="1101" y="698"/>
                    </a:lnTo>
                    <a:lnTo>
                      <a:pt x="1101" y="700"/>
                    </a:lnTo>
                    <a:lnTo>
                      <a:pt x="1099" y="698"/>
                    </a:lnTo>
                    <a:lnTo>
                      <a:pt x="1099" y="700"/>
                    </a:lnTo>
                    <a:lnTo>
                      <a:pt x="1099" y="702"/>
                    </a:lnTo>
                    <a:lnTo>
                      <a:pt x="1099" y="704"/>
                    </a:lnTo>
                    <a:lnTo>
                      <a:pt x="1097" y="704"/>
                    </a:lnTo>
                    <a:lnTo>
                      <a:pt x="1097" y="706"/>
                    </a:lnTo>
                    <a:lnTo>
                      <a:pt x="1099" y="708"/>
                    </a:lnTo>
                    <a:lnTo>
                      <a:pt x="1097" y="708"/>
                    </a:lnTo>
                    <a:lnTo>
                      <a:pt x="1095" y="708"/>
                    </a:lnTo>
                    <a:lnTo>
                      <a:pt x="1095" y="710"/>
                    </a:lnTo>
                    <a:lnTo>
                      <a:pt x="1093" y="710"/>
                    </a:lnTo>
                    <a:lnTo>
                      <a:pt x="1091" y="710"/>
                    </a:lnTo>
                    <a:lnTo>
                      <a:pt x="1089" y="710"/>
                    </a:lnTo>
                    <a:lnTo>
                      <a:pt x="1087" y="708"/>
                    </a:lnTo>
                    <a:lnTo>
                      <a:pt x="1089" y="708"/>
                    </a:lnTo>
                    <a:lnTo>
                      <a:pt x="1089" y="706"/>
                    </a:lnTo>
                    <a:lnTo>
                      <a:pt x="1087" y="706"/>
                    </a:lnTo>
                    <a:lnTo>
                      <a:pt x="1087" y="704"/>
                    </a:lnTo>
                    <a:lnTo>
                      <a:pt x="1087" y="702"/>
                    </a:lnTo>
                    <a:lnTo>
                      <a:pt x="1085" y="702"/>
                    </a:lnTo>
                    <a:lnTo>
                      <a:pt x="1085" y="700"/>
                    </a:lnTo>
                    <a:lnTo>
                      <a:pt x="1083" y="700"/>
                    </a:lnTo>
                    <a:lnTo>
                      <a:pt x="1083" y="698"/>
                    </a:lnTo>
                    <a:lnTo>
                      <a:pt x="1081" y="696"/>
                    </a:lnTo>
                    <a:lnTo>
                      <a:pt x="1081" y="698"/>
                    </a:lnTo>
                    <a:lnTo>
                      <a:pt x="1079" y="700"/>
                    </a:lnTo>
                    <a:lnTo>
                      <a:pt x="1079" y="702"/>
                    </a:lnTo>
                    <a:lnTo>
                      <a:pt x="1079" y="704"/>
                    </a:lnTo>
                    <a:lnTo>
                      <a:pt x="1079" y="706"/>
                    </a:lnTo>
                    <a:lnTo>
                      <a:pt x="1079" y="708"/>
                    </a:lnTo>
                    <a:lnTo>
                      <a:pt x="1077" y="708"/>
                    </a:lnTo>
                    <a:lnTo>
                      <a:pt x="1077" y="706"/>
                    </a:lnTo>
                    <a:lnTo>
                      <a:pt x="1076" y="704"/>
                    </a:lnTo>
                    <a:lnTo>
                      <a:pt x="1074" y="704"/>
                    </a:lnTo>
                    <a:lnTo>
                      <a:pt x="1074" y="702"/>
                    </a:lnTo>
                    <a:lnTo>
                      <a:pt x="1074" y="700"/>
                    </a:lnTo>
                    <a:lnTo>
                      <a:pt x="1072" y="700"/>
                    </a:lnTo>
                    <a:lnTo>
                      <a:pt x="1072" y="698"/>
                    </a:lnTo>
                    <a:lnTo>
                      <a:pt x="1072" y="700"/>
                    </a:lnTo>
                    <a:lnTo>
                      <a:pt x="1072" y="698"/>
                    </a:lnTo>
                    <a:lnTo>
                      <a:pt x="1070" y="698"/>
                    </a:lnTo>
                    <a:lnTo>
                      <a:pt x="1070" y="700"/>
                    </a:lnTo>
                    <a:lnTo>
                      <a:pt x="1068" y="700"/>
                    </a:lnTo>
                    <a:lnTo>
                      <a:pt x="1068" y="702"/>
                    </a:lnTo>
                    <a:lnTo>
                      <a:pt x="1066" y="702"/>
                    </a:lnTo>
                    <a:lnTo>
                      <a:pt x="1064" y="702"/>
                    </a:lnTo>
                    <a:lnTo>
                      <a:pt x="1062" y="702"/>
                    </a:lnTo>
                    <a:lnTo>
                      <a:pt x="1062" y="700"/>
                    </a:lnTo>
                    <a:lnTo>
                      <a:pt x="1060" y="700"/>
                    </a:lnTo>
                    <a:lnTo>
                      <a:pt x="1058" y="700"/>
                    </a:lnTo>
                    <a:lnTo>
                      <a:pt x="1058" y="702"/>
                    </a:lnTo>
                    <a:lnTo>
                      <a:pt x="1058" y="704"/>
                    </a:lnTo>
                    <a:lnTo>
                      <a:pt x="1060" y="704"/>
                    </a:lnTo>
                    <a:lnTo>
                      <a:pt x="1060" y="706"/>
                    </a:lnTo>
                    <a:lnTo>
                      <a:pt x="1060" y="708"/>
                    </a:lnTo>
                    <a:lnTo>
                      <a:pt x="1060" y="710"/>
                    </a:lnTo>
                    <a:lnTo>
                      <a:pt x="1058" y="710"/>
                    </a:lnTo>
                    <a:lnTo>
                      <a:pt x="1060" y="712"/>
                    </a:lnTo>
                    <a:lnTo>
                      <a:pt x="1060" y="714"/>
                    </a:lnTo>
                    <a:lnTo>
                      <a:pt x="1060" y="716"/>
                    </a:lnTo>
                    <a:lnTo>
                      <a:pt x="1058" y="716"/>
                    </a:lnTo>
                    <a:lnTo>
                      <a:pt x="1056" y="716"/>
                    </a:lnTo>
                    <a:lnTo>
                      <a:pt x="1056" y="714"/>
                    </a:lnTo>
                    <a:lnTo>
                      <a:pt x="1054" y="716"/>
                    </a:lnTo>
                    <a:lnTo>
                      <a:pt x="1054" y="714"/>
                    </a:lnTo>
                    <a:lnTo>
                      <a:pt x="1053" y="714"/>
                    </a:lnTo>
                    <a:lnTo>
                      <a:pt x="1053" y="716"/>
                    </a:lnTo>
                    <a:lnTo>
                      <a:pt x="1051" y="716"/>
                    </a:lnTo>
                    <a:lnTo>
                      <a:pt x="1051" y="718"/>
                    </a:lnTo>
                    <a:lnTo>
                      <a:pt x="1049" y="719"/>
                    </a:lnTo>
                    <a:lnTo>
                      <a:pt x="1049" y="721"/>
                    </a:lnTo>
                    <a:lnTo>
                      <a:pt x="1049" y="723"/>
                    </a:lnTo>
                    <a:lnTo>
                      <a:pt x="1047" y="723"/>
                    </a:lnTo>
                    <a:lnTo>
                      <a:pt x="1045" y="723"/>
                    </a:lnTo>
                    <a:lnTo>
                      <a:pt x="1045" y="721"/>
                    </a:lnTo>
                    <a:lnTo>
                      <a:pt x="1047" y="721"/>
                    </a:lnTo>
                    <a:lnTo>
                      <a:pt x="1045" y="719"/>
                    </a:lnTo>
                    <a:lnTo>
                      <a:pt x="1043" y="719"/>
                    </a:lnTo>
                    <a:lnTo>
                      <a:pt x="1041" y="721"/>
                    </a:lnTo>
                    <a:lnTo>
                      <a:pt x="1039" y="719"/>
                    </a:lnTo>
                    <a:lnTo>
                      <a:pt x="1039" y="718"/>
                    </a:lnTo>
                    <a:lnTo>
                      <a:pt x="1037" y="718"/>
                    </a:lnTo>
                    <a:lnTo>
                      <a:pt x="1035" y="718"/>
                    </a:lnTo>
                    <a:lnTo>
                      <a:pt x="1035" y="716"/>
                    </a:lnTo>
                    <a:lnTo>
                      <a:pt x="1033" y="716"/>
                    </a:lnTo>
                    <a:lnTo>
                      <a:pt x="1033" y="718"/>
                    </a:lnTo>
                    <a:lnTo>
                      <a:pt x="1033" y="719"/>
                    </a:lnTo>
                    <a:lnTo>
                      <a:pt x="1031" y="719"/>
                    </a:lnTo>
                    <a:lnTo>
                      <a:pt x="1031" y="721"/>
                    </a:lnTo>
                    <a:lnTo>
                      <a:pt x="1029" y="721"/>
                    </a:lnTo>
                    <a:lnTo>
                      <a:pt x="1029" y="723"/>
                    </a:lnTo>
                    <a:lnTo>
                      <a:pt x="1028" y="723"/>
                    </a:lnTo>
                    <a:lnTo>
                      <a:pt x="1028" y="721"/>
                    </a:lnTo>
                    <a:lnTo>
                      <a:pt x="1026" y="721"/>
                    </a:lnTo>
                    <a:lnTo>
                      <a:pt x="1028" y="721"/>
                    </a:lnTo>
                    <a:lnTo>
                      <a:pt x="1026" y="719"/>
                    </a:lnTo>
                    <a:lnTo>
                      <a:pt x="1024" y="721"/>
                    </a:lnTo>
                    <a:lnTo>
                      <a:pt x="1022" y="721"/>
                    </a:lnTo>
                    <a:lnTo>
                      <a:pt x="1022" y="719"/>
                    </a:lnTo>
                    <a:lnTo>
                      <a:pt x="1022" y="721"/>
                    </a:lnTo>
                    <a:lnTo>
                      <a:pt x="1020" y="721"/>
                    </a:lnTo>
                    <a:lnTo>
                      <a:pt x="1020" y="719"/>
                    </a:lnTo>
                    <a:lnTo>
                      <a:pt x="1018" y="719"/>
                    </a:lnTo>
                    <a:lnTo>
                      <a:pt x="1016" y="719"/>
                    </a:lnTo>
                    <a:lnTo>
                      <a:pt x="1016" y="718"/>
                    </a:lnTo>
                    <a:lnTo>
                      <a:pt x="1014" y="716"/>
                    </a:lnTo>
                    <a:lnTo>
                      <a:pt x="1014" y="714"/>
                    </a:lnTo>
                    <a:lnTo>
                      <a:pt x="1012" y="714"/>
                    </a:lnTo>
                    <a:lnTo>
                      <a:pt x="1010" y="712"/>
                    </a:lnTo>
                    <a:lnTo>
                      <a:pt x="1010" y="714"/>
                    </a:lnTo>
                    <a:lnTo>
                      <a:pt x="1008" y="712"/>
                    </a:lnTo>
                    <a:lnTo>
                      <a:pt x="1006" y="712"/>
                    </a:lnTo>
                    <a:lnTo>
                      <a:pt x="1006" y="710"/>
                    </a:lnTo>
                    <a:lnTo>
                      <a:pt x="1004" y="710"/>
                    </a:lnTo>
                    <a:lnTo>
                      <a:pt x="1003" y="708"/>
                    </a:lnTo>
                    <a:lnTo>
                      <a:pt x="1001" y="710"/>
                    </a:lnTo>
                    <a:lnTo>
                      <a:pt x="999" y="710"/>
                    </a:lnTo>
                    <a:lnTo>
                      <a:pt x="997" y="710"/>
                    </a:lnTo>
                    <a:lnTo>
                      <a:pt x="995" y="708"/>
                    </a:lnTo>
                    <a:lnTo>
                      <a:pt x="995" y="706"/>
                    </a:lnTo>
                    <a:lnTo>
                      <a:pt x="993" y="706"/>
                    </a:lnTo>
                    <a:lnTo>
                      <a:pt x="993" y="708"/>
                    </a:lnTo>
                    <a:lnTo>
                      <a:pt x="991" y="708"/>
                    </a:lnTo>
                    <a:lnTo>
                      <a:pt x="989" y="708"/>
                    </a:lnTo>
                    <a:lnTo>
                      <a:pt x="989" y="706"/>
                    </a:lnTo>
                    <a:lnTo>
                      <a:pt x="987" y="706"/>
                    </a:lnTo>
                    <a:lnTo>
                      <a:pt x="987" y="708"/>
                    </a:lnTo>
                    <a:lnTo>
                      <a:pt x="985" y="708"/>
                    </a:lnTo>
                    <a:lnTo>
                      <a:pt x="985" y="710"/>
                    </a:lnTo>
                    <a:lnTo>
                      <a:pt x="985" y="712"/>
                    </a:lnTo>
                    <a:lnTo>
                      <a:pt x="987" y="712"/>
                    </a:lnTo>
                    <a:lnTo>
                      <a:pt x="985" y="714"/>
                    </a:lnTo>
                    <a:lnTo>
                      <a:pt x="987" y="714"/>
                    </a:lnTo>
                    <a:lnTo>
                      <a:pt x="985" y="716"/>
                    </a:lnTo>
                    <a:lnTo>
                      <a:pt x="985" y="718"/>
                    </a:lnTo>
                    <a:lnTo>
                      <a:pt x="981" y="718"/>
                    </a:lnTo>
                    <a:lnTo>
                      <a:pt x="981" y="719"/>
                    </a:lnTo>
                    <a:lnTo>
                      <a:pt x="979" y="719"/>
                    </a:lnTo>
                    <a:lnTo>
                      <a:pt x="981" y="719"/>
                    </a:lnTo>
                    <a:lnTo>
                      <a:pt x="981" y="721"/>
                    </a:lnTo>
                    <a:lnTo>
                      <a:pt x="979" y="721"/>
                    </a:lnTo>
                    <a:lnTo>
                      <a:pt x="979" y="723"/>
                    </a:lnTo>
                    <a:lnTo>
                      <a:pt x="979" y="725"/>
                    </a:lnTo>
                    <a:lnTo>
                      <a:pt x="981" y="727"/>
                    </a:lnTo>
                    <a:lnTo>
                      <a:pt x="981" y="729"/>
                    </a:lnTo>
                    <a:lnTo>
                      <a:pt x="981" y="731"/>
                    </a:lnTo>
                    <a:lnTo>
                      <a:pt x="983" y="731"/>
                    </a:lnTo>
                    <a:lnTo>
                      <a:pt x="983" y="733"/>
                    </a:lnTo>
                    <a:lnTo>
                      <a:pt x="985" y="733"/>
                    </a:lnTo>
                    <a:lnTo>
                      <a:pt x="985" y="735"/>
                    </a:lnTo>
                    <a:lnTo>
                      <a:pt x="985" y="737"/>
                    </a:lnTo>
                    <a:lnTo>
                      <a:pt x="985" y="739"/>
                    </a:lnTo>
                    <a:lnTo>
                      <a:pt x="985" y="741"/>
                    </a:lnTo>
                    <a:lnTo>
                      <a:pt x="987" y="741"/>
                    </a:lnTo>
                    <a:lnTo>
                      <a:pt x="987" y="742"/>
                    </a:lnTo>
                    <a:lnTo>
                      <a:pt x="987" y="744"/>
                    </a:lnTo>
                    <a:lnTo>
                      <a:pt x="985" y="744"/>
                    </a:lnTo>
                    <a:lnTo>
                      <a:pt x="985" y="746"/>
                    </a:lnTo>
                    <a:lnTo>
                      <a:pt x="985" y="748"/>
                    </a:lnTo>
                    <a:lnTo>
                      <a:pt x="983" y="748"/>
                    </a:lnTo>
                    <a:lnTo>
                      <a:pt x="981" y="750"/>
                    </a:lnTo>
                    <a:lnTo>
                      <a:pt x="981" y="752"/>
                    </a:lnTo>
                    <a:lnTo>
                      <a:pt x="981" y="754"/>
                    </a:lnTo>
                    <a:lnTo>
                      <a:pt x="983" y="754"/>
                    </a:lnTo>
                    <a:lnTo>
                      <a:pt x="983" y="756"/>
                    </a:lnTo>
                    <a:lnTo>
                      <a:pt x="985" y="756"/>
                    </a:lnTo>
                    <a:lnTo>
                      <a:pt x="985" y="758"/>
                    </a:lnTo>
                    <a:lnTo>
                      <a:pt x="985" y="760"/>
                    </a:lnTo>
                    <a:lnTo>
                      <a:pt x="985" y="762"/>
                    </a:lnTo>
                    <a:lnTo>
                      <a:pt x="985" y="764"/>
                    </a:lnTo>
                    <a:lnTo>
                      <a:pt x="985" y="766"/>
                    </a:lnTo>
                    <a:lnTo>
                      <a:pt x="985" y="767"/>
                    </a:lnTo>
                    <a:lnTo>
                      <a:pt x="983" y="769"/>
                    </a:lnTo>
                    <a:lnTo>
                      <a:pt x="985" y="769"/>
                    </a:lnTo>
                    <a:lnTo>
                      <a:pt x="985" y="771"/>
                    </a:lnTo>
                    <a:lnTo>
                      <a:pt x="985" y="773"/>
                    </a:lnTo>
                    <a:lnTo>
                      <a:pt x="983" y="771"/>
                    </a:lnTo>
                    <a:lnTo>
                      <a:pt x="983" y="773"/>
                    </a:lnTo>
                    <a:lnTo>
                      <a:pt x="983" y="775"/>
                    </a:lnTo>
                    <a:lnTo>
                      <a:pt x="983" y="777"/>
                    </a:lnTo>
                    <a:lnTo>
                      <a:pt x="985" y="779"/>
                    </a:lnTo>
                    <a:lnTo>
                      <a:pt x="985" y="781"/>
                    </a:lnTo>
                    <a:lnTo>
                      <a:pt x="985" y="783"/>
                    </a:lnTo>
                    <a:lnTo>
                      <a:pt x="985" y="785"/>
                    </a:lnTo>
                    <a:lnTo>
                      <a:pt x="983" y="785"/>
                    </a:lnTo>
                    <a:lnTo>
                      <a:pt x="983" y="787"/>
                    </a:lnTo>
                    <a:lnTo>
                      <a:pt x="981" y="785"/>
                    </a:lnTo>
                    <a:lnTo>
                      <a:pt x="979" y="787"/>
                    </a:lnTo>
                    <a:lnTo>
                      <a:pt x="979" y="789"/>
                    </a:lnTo>
                    <a:lnTo>
                      <a:pt x="979" y="791"/>
                    </a:lnTo>
                    <a:lnTo>
                      <a:pt x="978" y="792"/>
                    </a:lnTo>
                    <a:lnTo>
                      <a:pt x="974" y="792"/>
                    </a:lnTo>
                    <a:lnTo>
                      <a:pt x="974" y="794"/>
                    </a:lnTo>
                    <a:lnTo>
                      <a:pt x="972" y="794"/>
                    </a:lnTo>
                    <a:lnTo>
                      <a:pt x="974" y="794"/>
                    </a:lnTo>
                    <a:lnTo>
                      <a:pt x="976" y="796"/>
                    </a:lnTo>
                    <a:lnTo>
                      <a:pt x="976" y="798"/>
                    </a:lnTo>
                    <a:lnTo>
                      <a:pt x="976" y="800"/>
                    </a:lnTo>
                    <a:lnTo>
                      <a:pt x="974" y="800"/>
                    </a:lnTo>
                    <a:lnTo>
                      <a:pt x="974" y="802"/>
                    </a:lnTo>
                    <a:lnTo>
                      <a:pt x="972" y="802"/>
                    </a:lnTo>
                    <a:lnTo>
                      <a:pt x="970" y="802"/>
                    </a:lnTo>
                    <a:lnTo>
                      <a:pt x="970" y="804"/>
                    </a:lnTo>
                    <a:lnTo>
                      <a:pt x="968" y="804"/>
                    </a:lnTo>
                    <a:lnTo>
                      <a:pt x="966" y="804"/>
                    </a:lnTo>
                    <a:lnTo>
                      <a:pt x="966" y="806"/>
                    </a:lnTo>
                    <a:lnTo>
                      <a:pt x="966" y="808"/>
                    </a:lnTo>
                    <a:lnTo>
                      <a:pt x="968" y="810"/>
                    </a:lnTo>
                    <a:lnTo>
                      <a:pt x="968" y="812"/>
                    </a:lnTo>
                    <a:lnTo>
                      <a:pt x="970" y="812"/>
                    </a:lnTo>
                    <a:lnTo>
                      <a:pt x="970" y="814"/>
                    </a:lnTo>
                    <a:lnTo>
                      <a:pt x="968" y="814"/>
                    </a:lnTo>
                    <a:lnTo>
                      <a:pt x="968" y="816"/>
                    </a:lnTo>
                    <a:lnTo>
                      <a:pt x="968" y="817"/>
                    </a:lnTo>
                    <a:lnTo>
                      <a:pt x="966" y="817"/>
                    </a:lnTo>
                    <a:lnTo>
                      <a:pt x="966" y="819"/>
                    </a:lnTo>
                    <a:lnTo>
                      <a:pt x="966" y="821"/>
                    </a:lnTo>
                    <a:lnTo>
                      <a:pt x="964" y="821"/>
                    </a:lnTo>
                    <a:lnTo>
                      <a:pt x="962" y="821"/>
                    </a:lnTo>
                    <a:lnTo>
                      <a:pt x="964" y="823"/>
                    </a:lnTo>
                    <a:lnTo>
                      <a:pt x="964" y="825"/>
                    </a:lnTo>
                    <a:lnTo>
                      <a:pt x="966" y="825"/>
                    </a:lnTo>
                    <a:lnTo>
                      <a:pt x="966" y="827"/>
                    </a:lnTo>
                    <a:lnTo>
                      <a:pt x="966" y="829"/>
                    </a:lnTo>
                    <a:lnTo>
                      <a:pt x="966" y="831"/>
                    </a:lnTo>
                    <a:lnTo>
                      <a:pt x="966" y="833"/>
                    </a:lnTo>
                    <a:lnTo>
                      <a:pt x="966" y="835"/>
                    </a:lnTo>
                    <a:lnTo>
                      <a:pt x="966" y="837"/>
                    </a:lnTo>
                    <a:lnTo>
                      <a:pt x="966" y="839"/>
                    </a:lnTo>
                    <a:lnTo>
                      <a:pt x="968" y="841"/>
                    </a:lnTo>
                    <a:lnTo>
                      <a:pt x="970" y="841"/>
                    </a:lnTo>
                    <a:lnTo>
                      <a:pt x="970" y="842"/>
                    </a:lnTo>
                    <a:lnTo>
                      <a:pt x="972" y="842"/>
                    </a:lnTo>
                    <a:lnTo>
                      <a:pt x="974" y="844"/>
                    </a:lnTo>
                    <a:lnTo>
                      <a:pt x="976" y="844"/>
                    </a:lnTo>
                    <a:lnTo>
                      <a:pt x="978" y="844"/>
                    </a:lnTo>
                    <a:lnTo>
                      <a:pt x="978" y="846"/>
                    </a:lnTo>
                    <a:lnTo>
                      <a:pt x="978" y="848"/>
                    </a:lnTo>
                    <a:lnTo>
                      <a:pt x="978" y="850"/>
                    </a:lnTo>
                    <a:lnTo>
                      <a:pt x="978" y="852"/>
                    </a:lnTo>
                    <a:lnTo>
                      <a:pt x="978" y="854"/>
                    </a:lnTo>
                    <a:lnTo>
                      <a:pt x="979" y="854"/>
                    </a:lnTo>
                    <a:lnTo>
                      <a:pt x="979" y="858"/>
                    </a:lnTo>
                    <a:lnTo>
                      <a:pt x="979" y="860"/>
                    </a:lnTo>
                    <a:lnTo>
                      <a:pt x="979" y="862"/>
                    </a:lnTo>
                    <a:lnTo>
                      <a:pt x="981" y="862"/>
                    </a:lnTo>
                    <a:lnTo>
                      <a:pt x="981" y="864"/>
                    </a:lnTo>
                    <a:lnTo>
                      <a:pt x="983" y="866"/>
                    </a:lnTo>
                    <a:lnTo>
                      <a:pt x="983" y="867"/>
                    </a:lnTo>
                    <a:lnTo>
                      <a:pt x="985" y="869"/>
                    </a:lnTo>
                    <a:lnTo>
                      <a:pt x="983" y="871"/>
                    </a:lnTo>
                    <a:lnTo>
                      <a:pt x="983" y="873"/>
                    </a:lnTo>
                    <a:lnTo>
                      <a:pt x="983" y="875"/>
                    </a:lnTo>
                    <a:lnTo>
                      <a:pt x="983" y="877"/>
                    </a:lnTo>
                    <a:lnTo>
                      <a:pt x="985" y="879"/>
                    </a:lnTo>
                    <a:lnTo>
                      <a:pt x="987" y="879"/>
                    </a:lnTo>
                    <a:lnTo>
                      <a:pt x="987" y="881"/>
                    </a:lnTo>
                    <a:lnTo>
                      <a:pt x="987" y="883"/>
                    </a:lnTo>
                    <a:lnTo>
                      <a:pt x="989" y="883"/>
                    </a:lnTo>
                    <a:lnTo>
                      <a:pt x="989" y="885"/>
                    </a:lnTo>
                    <a:lnTo>
                      <a:pt x="991" y="885"/>
                    </a:lnTo>
                    <a:lnTo>
                      <a:pt x="991" y="889"/>
                    </a:lnTo>
                    <a:lnTo>
                      <a:pt x="993" y="891"/>
                    </a:lnTo>
                    <a:lnTo>
                      <a:pt x="993" y="892"/>
                    </a:lnTo>
                    <a:lnTo>
                      <a:pt x="995" y="892"/>
                    </a:lnTo>
                    <a:lnTo>
                      <a:pt x="995" y="894"/>
                    </a:lnTo>
                    <a:lnTo>
                      <a:pt x="993" y="896"/>
                    </a:lnTo>
                    <a:lnTo>
                      <a:pt x="995" y="898"/>
                    </a:lnTo>
                    <a:lnTo>
                      <a:pt x="995" y="900"/>
                    </a:lnTo>
                    <a:lnTo>
                      <a:pt x="995" y="902"/>
                    </a:lnTo>
                    <a:lnTo>
                      <a:pt x="997" y="902"/>
                    </a:lnTo>
                    <a:lnTo>
                      <a:pt x="999" y="906"/>
                    </a:lnTo>
                    <a:lnTo>
                      <a:pt x="1001" y="906"/>
                    </a:lnTo>
                    <a:lnTo>
                      <a:pt x="1001" y="908"/>
                    </a:lnTo>
                    <a:lnTo>
                      <a:pt x="1001" y="910"/>
                    </a:lnTo>
                    <a:lnTo>
                      <a:pt x="999" y="910"/>
                    </a:lnTo>
                    <a:lnTo>
                      <a:pt x="997" y="910"/>
                    </a:lnTo>
                    <a:lnTo>
                      <a:pt x="997" y="912"/>
                    </a:lnTo>
                    <a:lnTo>
                      <a:pt x="995" y="912"/>
                    </a:lnTo>
                    <a:lnTo>
                      <a:pt x="995" y="910"/>
                    </a:lnTo>
                    <a:lnTo>
                      <a:pt x="995" y="908"/>
                    </a:lnTo>
                    <a:lnTo>
                      <a:pt x="995" y="906"/>
                    </a:lnTo>
                    <a:lnTo>
                      <a:pt x="993" y="906"/>
                    </a:lnTo>
                    <a:lnTo>
                      <a:pt x="993" y="904"/>
                    </a:lnTo>
                    <a:lnTo>
                      <a:pt x="991" y="904"/>
                    </a:lnTo>
                    <a:lnTo>
                      <a:pt x="991" y="906"/>
                    </a:lnTo>
                    <a:lnTo>
                      <a:pt x="991" y="908"/>
                    </a:lnTo>
                    <a:lnTo>
                      <a:pt x="989" y="908"/>
                    </a:lnTo>
                    <a:lnTo>
                      <a:pt x="989" y="910"/>
                    </a:lnTo>
                    <a:lnTo>
                      <a:pt x="987" y="910"/>
                    </a:lnTo>
                    <a:lnTo>
                      <a:pt x="985" y="912"/>
                    </a:lnTo>
                    <a:lnTo>
                      <a:pt x="983" y="912"/>
                    </a:lnTo>
                    <a:lnTo>
                      <a:pt x="981" y="914"/>
                    </a:lnTo>
                    <a:lnTo>
                      <a:pt x="981" y="916"/>
                    </a:lnTo>
                    <a:lnTo>
                      <a:pt x="981" y="917"/>
                    </a:lnTo>
                    <a:lnTo>
                      <a:pt x="981" y="919"/>
                    </a:lnTo>
                    <a:lnTo>
                      <a:pt x="981" y="921"/>
                    </a:lnTo>
                    <a:lnTo>
                      <a:pt x="979" y="921"/>
                    </a:lnTo>
                    <a:lnTo>
                      <a:pt x="981" y="921"/>
                    </a:lnTo>
                    <a:lnTo>
                      <a:pt x="981" y="923"/>
                    </a:lnTo>
                    <a:lnTo>
                      <a:pt x="983" y="925"/>
                    </a:lnTo>
                    <a:lnTo>
                      <a:pt x="983" y="927"/>
                    </a:lnTo>
                    <a:lnTo>
                      <a:pt x="983" y="929"/>
                    </a:lnTo>
                    <a:lnTo>
                      <a:pt x="981" y="929"/>
                    </a:lnTo>
                    <a:lnTo>
                      <a:pt x="979" y="929"/>
                    </a:lnTo>
                    <a:lnTo>
                      <a:pt x="979" y="931"/>
                    </a:lnTo>
                    <a:lnTo>
                      <a:pt x="979" y="933"/>
                    </a:lnTo>
                    <a:lnTo>
                      <a:pt x="979" y="935"/>
                    </a:lnTo>
                    <a:lnTo>
                      <a:pt x="978" y="937"/>
                    </a:lnTo>
                    <a:lnTo>
                      <a:pt x="979" y="937"/>
                    </a:lnTo>
                    <a:lnTo>
                      <a:pt x="978" y="937"/>
                    </a:lnTo>
                    <a:lnTo>
                      <a:pt x="978" y="939"/>
                    </a:lnTo>
                    <a:lnTo>
                      <a:pt x="978" y="937"/>
                    </a:lnTo>
                    <a:lnTo>
                      <a:pt x="976" y="937"/>
                    </a:lnTo>
                    <a:lnTo>
                      <a:pt x="976" y="939"/>
                    </a:lnTo>
                    <a:lnTo>
                      <a:pt x="976" y="941"/>
                    </a:lnTo>
                    <a:lnTo>
                      <a:pt x="974" y="941"/>
                    </a:lnTo>
                    <a:lnTo>
                      <a:pt x="972" y="942"/>
                    </a:lnTo>
                    <a:lnTo>
                      <a:pt x="972" y="944"/>
                    </a:lnTo>
                    <a:lnTo>
                      <a:pt x="970" y="944"/>
                    </a:lnTo>
                    <a:lnTo>
                      <a:pt x="970" y="946"/>
                    </a:lnTo>
                    <a:lnTo>
                      <a:pt x="970" y="948"/>
                    </a:lnTo>
                    <a:lnTo>
                      <a:pt x="968" y="948"/>
                    </a:lnTo>
                    <a:lnTo>
                      <a:pt x="968" y="950"/>
                    </a:lnTo>
                    <a:lnTo>
                      <a:pt x="966" y="950"/>
                    </a:lnTo>
                    <a:lnTo>
                      <a:pt x="966" y="948"/>
                    </a:lnTo>
                    <a:lnTo>
                      <a:pt x="964" y="948"/>
                    </a:lnTo>
                    <a:lnTo>
                      <a:pt x="964" y="950"/>
                    </a:lnTo>
                    <a:lnTo>
                      <a:pt x="962" y="950"/>
                    </a:lnTo>
                    <a:lnTo>
                      <a:pt x="960" y="950"/>
                    </a:lnTo>
                    <a:lnTo>
                      <a:pt x="958" y="950"/>
                    </a:lnTo>
                    <a:lnTo>
                      <a:pt x="956" y="950"/>
                    </a:lnTo>
                    <a:lnTo>
                      <a:pt x="955" y="948"/>
                    </a:lnTo>
                    <a:lnTo>
                      <a:pt x="955" y="950"/>
                    </a:lnTo>
                    <a:lnTo>
                      <a:pt x="953" y="950"/>
                    </a:lnTo>
                    <a:lnTo>
                      <a:pt x="953" y="952"/>
                    </a:lnTo>
                    <a:lnTo>
                      <a:pt x="951" y="950"/>
                    </a:lnTo>
                    <a:lnTo>
                      <a:pt x="951" y="952"/>
                    </a:lnTo>
                    <a:lnTo>
                      <a:pt x="949" y="952"/>
                    </a:lnTo>
                    <a:lnTo>
                      <a:pt x="947" y="950"/>
                    </a:lnTo>
                    <a:lnTo>
                      <a:pt x="945" y="950"/>
                    </a:lnTo>
                    <a:lnTo>
                      <a:pt x="945" y="952"/>
                    </a:lnTo>
                    <a:lnTo>
                      <a:pt x="943" y="952"/>
                    </a:lnTo>
                    <a:lnTo>
                      <a:pt x="943" y="950"/>
                    </a:lnTo>
                    <a:lnTo>
                      <a:pt x="941" y="950"/>
                    </a:lnTo>
                    <a:lnTo>
                      <a:pt x="941" y="948"/>
                    </a:lnTo>
                    <a:lnTo>
                      <a:pt x="939" y="948"/>
                    </a:lnTo>
                    <a:lnTo>
                      <a:pt x="937" y="950"/>
                    </a:lnTo>
                    <a:lnTo>
                      <a:pt x="937" y="952"/>
                    </a:lnTo>
                    <a:lnTo>
                      <a:pt x="935" y="952"/>
                    </a:lnTo>
                    <a:lnTo>
                      <a:pt x="933" y="954"/>
                    </a:lnTo>
                    <a:lnTo>
                      <a:pt x="933" y="956"/>
                    </a:lnTo>
                    <a:lnTo>
                      <a:pt x="933" y="958"/>
                    </a:lnTo>
                    <a:lnTo>
                      <a:pt x="931" y="958"/>
                    </a:lnTo>
                    <a:lnTo>
                      <a:pt x="931" y="960"/>
                    </a:lnTo>
                    <a:lnTo>
                      <a:pt x="931" y="962"/>
                    </a:lnTo>
                    <a:lnTo>
                      <a:pt x="931" y="964"/>
                    </a:lnTo>
                    <a:lnTo>
                      <a:pt x="931" y="966"/>
                    </a:lnTo>
                    <a:lnTo>
                      <a:pt x="930" y="966"/>
                    </a:lnTo>
                    <a:lnTo>
                      <a:pt x="931" y="967"/>
                    </a:lnTo>
                    <a:lnTo>
                      <a:pt x="931" y="969"/>
                    </a:lnTo>
                    <a:lnTo>
                      <a:pt x="931" y="971"/>
                    </a:lnTo>
                    <a:lnTo>
                      <a:pt x="931" y="973"/>
                    </a:lnTo>
                    <a:lnTo>
                      <a:pt x="931" y="975"/>
                    </a:lnTo>
                    <a:lnTo>
                      <a:pt x="933" y="975"/>
                    </a:lnTo>
                    <a:lnTo>
                      <a:pt x="931" y="977"/>
                    </a:lnTo>
                    <a:lnTo>
                      <a:pt x="931" y="979"/>
                    </a:lnTo>
                    <a:lnTo>
                      <a:pt x="933" y="979"/>
                    </a:lnTo>
                    <a:lnTo>
                      <a:pt x="931" y="979"/>
                    </a:lnTo>
                    <a:lnTo>
                      <a:pt x="931" y="981"/>
                    </a:lnTo>
                    <a:lnTo>
                      <a:pt x="931" y="983"/>
                    </a:lnTo>
                    <a:lnTo>
                      <a:pt x="930" y="983"/>
                    </a:lnTo>
                    <a:lnTo>
                      <a:pt x="928" y="981"/>
                    </a:lnTo>
                    <a:lnTo>
                      <a:pt x="926" y="983"/>
                    </a:lnTo>
                    <a:lnTo>
                      <a:pt x="926" y="981"/>
                    </a:lnTo>
                    <a:lnTo>
                      <a:pt x="924" y="981"/>
                    </a:lnTo>
                    <a:lnTo>
                      <a:pt x="924" y="983"/>
                    </a:lnTo>
                    <a:lnTo>
                      <a:pt x="922" y="985"/>
                    </a:lnTo>
                    <a:lnTo>
                      <a:pt x="920" y="985"/>
                    </a:lnTo>
                    <a:lnTo>
                      <a:pt x="918" y="985"/>
                    </a:lnTo>
                    <a:lnTo>
                      <a:pt x="918" y="983"/>
                    </a:lnTo>
                    <a:lnTo>
                      <a:pt x="916" y="983"/>
                    </a:lnTo>
                    <a:lnTo>
                      <a:pt x="916" y="981"/>
                    </a:lnTo>
                    <a:lnTo>
                      <a:pt x="916" y="983"/>
                    </a:lnTo>
                    <a:lnTo>
                      <a:pt x="914" y="983"/>
                    </a:lnTo>
                    <a:lnTo>
                      <a:pt x="912" y="983"/>
                    </a:lnTo>
                    <a:lnTo>
                      <a:pt x="912" y="985"/>
                    </a:lnTo>
                    <a:lnTo>
                      <a:pt x="912" y="987"/>
                    </a:lnTo>
                    <a:lnTo>
                      <a:pt x="912" y="989"/>
                    </a:lnTo>
                    <a:lnTo>
                      <a:pt x="910" y="989"/>
                    </a:lnTo>
                    <a:lnTo>
                      <a:pt x="908" y="987"/>
                    </a:lnTo>
                    <a:lnTo>
                      <a:pt x="908" y="989"/>
                    </a:lnTo>
                    <a:lnTo>
                      <a:pt x="906" y="987"/>
                    </a:lnTo>
                    <a:lnTo>
                      <a:pt x="905" y="987"/>
                    </a:lnTo>
                    <a:lnTo>
                      <a:pt x="903" y="987"/>
                    </a:lnTo>
                    <a:lnTo>
                      <a:pt x="901" y="987"/>
                    </a:lnTo>
                    <a:lnTo>
                      <a:pt x="899" y="987"/>
                    </a:lnTo>
                    <a:lnTo>
                      <a:pt x="897" y="987"/>
                    </a:lnTo>
                    <a:lnTo>
                      <a:pt x="895" y="987"/>
                    </a:lnTo>
                    <a:lnTo>
                      <a:pt x="893" y="989"/>
                    </a:lnTo>
                    <a:lnTo>
                      <a:pt x="891" y="989"/>
                    </a:lnTo>
                    <a:lnTo>
                      <a:pt x="889" y="990"/>
                    </a:lnTo>
                    <a:lnTo>
                      <a:pt x="889" y="992"/>
                    </a:lnTo>
                    <a:lnTo>
                      <a:pt x="887" y="992"/>
                    </a:lnTo>
                    <a:lnTo>
                      <a:pt x="885" y="992"/>
                    </a:lnTo>
                    <a:lnTo>
                      <a:pt x="883" y="992"/>
                    </a:lnTo>
                    <a:lnTo>
                      <a:pt x="882" y="990"/>
                    </a:lnTo>
                    <a:lnTo>
                      <a:pt x="880" y="990"/>
                    </a:lnTo>
                    <a:lnTo>
                      <a:pt x="878" y="990"/>
                    </a:lnTo>
                    <a:lnTo>
                      <a:pt x="878" y="992"/>
                    </a:lnTo>
                    <a:lnTo>
                      <a:pt x="876" y="994"/>
                    </a:lnTo>
                    <a:lnTo>
                      <a:pt x="878" y="994"/>
                    </a:lnTo>
                    <a:lnTo>
                      <a:pt x="878" y="996"/>
                    </a:lnTo>
                    <a:lnTo>
                      <a:pt x="876" y="996"/>
                    </a:lnTo>
                    <a:lnTo>
                      <a:pt x="876" y="998"/>
                    </a:lnTo>
                    <a:lnTo>
                      <a:pt x="874" y="998"/>
                    </a:lnTo>
                    <a:lnTo>
                      <a:pt x="872" y="998"/>
                    </a:lnTo>
                    <a:lnTo>
                      <a:pt x="872" y="996"/>
                    </a:lnTo>
                    <a:lnTo>
                      <a:pt x="872" y="998"/>
                    </a:lnTo>
                    <a:lnTo>
                      <a:pt x="872" y="1000"/>
                    </a:lnTo>
                    <a:lnTo>
                      <a:pt x="870" y="1000"/>
                    </a:lnTo>
                    <a:lnTo>
                      <a:pt x="870" y="1002"/>
                    </a:lnTo>
                    <a:lnTo>
                      <a:pt x="868" y="1002"/>
                    </a:lnTo>
                    <a:lnTo>
                      <a:pt x="870" y="1004"/>
                    </a:lnTo>
                    <a:lnTo>
                      <a:pt x="868" y="1004"/>
                    </a:lnTo>
                    <a:lnTo>
                      <a:pt x="868" y="1006"/>
                    </a:lnTo>
                    <a:lnTo>
                      <a:pt x="868" y="1008"/>
                    </a:lnTo>
                    <a:lnTo>
                      <a:pt x="868" y="1010"/>
                    </a:lnTo>
                    <a:lnTo>
                      <a:pt x="866" y="1010"/>
                    </a:lnTo>
                    <a:lnTo>
                      <a:pt x="864" y="1010"/>
                    </a:lnTo>
                    <a:lnTo>
                      <a:pt x="864" y="1012"/>
                    </a:lnTo>
                    <a:lnTo>
                      <a:pt x="866" y="1012"/>
                    </a:lnTo>
                    <a:lnTo>
                      <a:pt x="866" y="1014"/>
                    </a:lnTo>
                    <a:lnTo>
                      <a:pt x="866" y="1015"/>
                    </a:lnTo>
                    <a:lnTo>
                      <a:pt x="864" y="1015"/>
                    </a:lnTo>
                    <a:lnTo>
                      <a:pt x="864" y="1017"/>
                    </a:lnTo>
                    <a:lnTo>
                      <a:pt x="866" y="1017"/>
                    </a:lnTo>
                    <a:lnTo>
                      <a:pt x="868" y="1017"/>
                    </a:lnTo>
                    <a:lnTo>
                      <a:pt x="868" y="1019"/>
                    </a:lnTo>
                    <a:lnTo>
                      <a:pt x="868" y="1023"/>
                    </a:lnTo>
                    <a:lnTo>
                      <a:pt x="870" y="1025"/>
                    </a:lnTo>
                    <a:lnTo>
                      <a:pt x="868" y="1025"/>
                    </a:lnTo>
                    <a:lnTo>
                      <a:pt x="866" y="1025"/>
                    </a:lnTo>
                    <a:lnTo>
                      <a:pt x="864" y="1025"/>
                    </a:lnTo>
                    <a:lnTo>
                      <a:pt x="864" y="1027"/>
                    </a:lnTo>
                    <a:lnTo>
                      <a:pt x="862" y="1029"/>
                    </a:lnTo>
                    <a:lnTo>
                      <a:pt x="864" y="1029"/>
                    </a:lnTo>
                    <a:lnTo>
                      <a:pt x="864" y="1031"/>
                    </a:lnTo>
                    <a:lnTo>
                      <a:pt x="864" y="1033"/>
                    </a:lnTo>
                    <a:lnTo>
                      <a:pt x="864" y="1035"/>
                    </a:lnTo>
                    <a:lnTo>
                      <a:pt x="866" y="1037"/>
                    </a:lnTo>
                    <a:lnTo>
                      <a:pt x="866" y="1039"/>
                    </a:lnTo>
                    <a:lnTo>
                      <a:pt x="866" y="1040"/>
                    </a:lnTo>
                    <a:lnTo>
                      <a:pt x="868" y="1040"/>
                    </a:lnTo>
                    <a:lnTo>
                      <a:pt x="868" y="1042"/>
                    </a:lnTo>
                    <a:lnTo>
                      <a:pt x="868" y="1044"/>
                    </a:lnTo>
                    <a:lnTo>
                      <a:pt x="866" y="1044"/>
                    </a:lnTo>
                    <a:lnTo>
                      <a:pt x="866" y="1046"/>
                    </a:lnTo>
                    <a:lnTo>
                      <a:pt x="866" y="1048"/>
                    </a:lnTo>
                    <a:lnTo>
                      <a:pt x="866" y="1050"/>
                    </a:lnTo>
                    <a:lnTo>
                      <a:pt x="868" y="1050"/>
                    </a:lnTo>
                    <a:lnTo>
                      <a:pt x="868" y="1052"/>
                    </a:lnTo>
                    <a:lnTo>
                      <a:pt x="866" y="1052"/>
                    </a:lnTo>
                    <a:lnTo>
                      <a:pt x="866" y="1054"/>
                    </a:lnTo>
                    <a:lnTo>
                      <a:pt x="864" y="1052"/>
                    </a:lnTo>
                    <a:lnTo>
                      <a:pt x="864" y="1054"/>
                    </a:lnTo>
                    <a:lnTo>
                      <a:pt x="860" y="1054"/>
                    </a:lnTo>
                    <a:lnTo>
                      <a:pt x="860" y="1056"/>
                    </a:lnTo>
                    <a:lnTo>
                      <a:pt x="862" y="1056"/>
                    </a:lnTo>
                    <a:lnTo>
                      <a:pt x="862" y="1058"/>
                    </a:lnTo>
                    <a:lnTo>
                      <a:pt x="864" y="1060"/>
                    </a:lnTo>
                    <a:lnTo>
                      <a:pt x="864" y="1062"/>
                    </a:lnTo>
                    <a:lnTo>
                      <a:pt x="866" y="1064"/>
                    </a:lnTo>
                    <a:lnTo>
                      <a:pt x="866" y="1065"/>
                    </a:lnTo>
                    <a:lnTo>
                      <a:pt x="868" y="1067"/>
                    </a:lnTo>
                    <a:lnTo>
                      <a:pt x="868" y="1069"/>
                    </a:lnTo>
                    <a:lnTo>
                      <a:pt x="868" y="1071"/>
                    </a:lnTo>
                    <a:lnTo>
                      <a:pt x="866" y="1069"/>
                    </a:lnTo>
                    <a:lnTo>
                      <a:pt x="866" y="1071"/>
                    </a:lnTo>
                    <a:lnTo>
                      <a:pt x="864" y="1071"/>
                    </a:lnTo>
                    <a:lnTo>
                      <a:pt x="864" y="1073"/>
                    </a:lnTo>
                    <a:lnTo>
                      <a:pt x="864" y="1075"/>
                    </a:lnTo>
                    <a:lnTo>
                      <a:pt x="864" y="1077"/>
                    </a:lnTo>
                    <a:lnTo>
                      <a:pt x="866" y="1077"/>
                    </a:lnTo>
                    <a:lnTo>
                      <a:pt x="864" y="1077"/>
                    </a:lnTo>
                    <a:lnTo>
                      <a:pt x="864" y="1079"/>
                    </a:lnTo>
                    <a:lnTo>
                      <a:pt x="866" y="1079"/>
                    </a:lnTo>
                    <a:lnTo>
                      <a:pt x="870" y="1081"/>
                    </a:lnTo>
                    <a:lnTo>
                      <a:pt x="872" y="1083"/>
                    </a:lnTo>
                    <a:lnTo>
                      <a:pt x="870" y="1083"/>
                    </a:lnTo>
                    <a:lnTo>
                      <a:pt x="870" y="1085"/>
                    </a:lnTo>
                    <a:lnTo>
                      <a:pt x="868" y="1085"/>
                    </a:lnTo>
                    <a:lnTo>
                      <a:pt x="868" y="1087"/>
                    </a:lnTo>
                    <a:lnTo>
                      <a:pt x="866" y="1085"/>
                    </a:lnTo>
                    <a:lnTo>
                      <a:pt x="864" y="1083"/>
                    </a:lnTo>
                    <a:lnTo>
                      <a:pt x="862" y="1083"/>
                    </a:lnTo>
                    <a:lnTo>
                      <a:pt x="860" y="1081"/>
                    </a:lnTo>
                    <a:lnTo>
                      <a:pt x="858" y="1081"/>
                    </a:lnTo>
                    <a:lnTo>
                      <a:pt x="858" y="1083"/>
                    </a:lnTo>
                    <a:lnTo>
                      <a:pt x="858" y="1081"/>
                    </a:lnTo>
                    <a:lnTo>
                      <a:pt x="857" y="1081"/>
                    </a:lnTo>
                    <a:lnTo>
                      <a:pt x="855" y="1079"/>
                    </a:lnTo>
                    <a:lnTo>
                      <a:pt x="855" y="1081"/>
                    </a:lnTo>
                    <a:lnTo>
                      <a:pt x="853" y="1081"/>
                    </a:lnTo>
                    <a:lnTo>
                      <a:pt x="851" y="1081"/>
                    </a:lnTo>
                    <a:lnTo>
                      <a:pt x="849" y="1083"/>
                    </a:lnTo>
                    <a:lnTo>
                      <a:pt x="849" y="1085"/>
                    </a:lnTo>
                    <a:lnTo>
                      <a:pt x="851" y="1085"/>
                    </a:lnTo>
                    <a:lnTo>
                      <a:pt x="853" y="1087"/>
                    </a:lnTo>
                    <a:lnTo>
                      <a:pt x="855" y="1089"/>
                    </a:lnTo>
                    <a:lnTo>
                      <a:pt x="857" y="1089"/>
                    </a:lnTo>
                    <a:lnTo>
                      <a:pt x="857" y="1090"/>
                    </a:lnTo>
                    <a:lnTo>
                      <a:pt x="855" y="1090"/>
                    </a:lnTo>
                    <a:lnTo>
                      <a:pt x="857" y="1092"/>
                    </a:lnTo>
                    <a:lnTo>
                      <a:pt x="858" y="1092"/>
                    </a:lnTo>
                    <a:lnTo>
                      <a:pt x="860" y="1094"/>
                    </a:lnTo>
                    <a:lnTo>
                      <a:pt x="860" y="1096"/>
                    </a:lnTo>
                    <a:lnTo>
                      <a:pt x="864" y="1096"/>
                    </a:lnTo>
                    <a:lnTo>
                      <a:pt x="864" y="1094"/>
                    </a:lnTo>
                    <a:lnTo>
                      <a:pt x="864" y="1096"/>
                    </a:lnTo>
                    <a:lnTo>
                      <a:pt x="864" y="1098"/>
                    </a:lnTo>
                    <a:lnTo>
                      <a:pt x="864" y="1100"/>
                    </a:lnTo>
                    <a:lnTo>
                      <a:pt x="866" y="1100"/>
                    </a:lnTo>
                    <a:lnTo>
                      <a:pt x="868" y="1100"/>
                    </a:lnTo>
                    <a:lnTo>
                      <a:pt x="870" y="1100"/>
                    </a:lnTo>
                    <a:lnTo>
                      <a:pt x="870" y="1102"/>
                    </a:lnTo>
                    <a:lnTo>
                      <a:pt x="872" y="1102"/>
                    </a:lnTo>
                    <a:lnTo>
                      <a:pt x="876" y="1104"/>
                    </a:lnTo>
                    <a:lnTo>
                      <a:pt x="878" y="1106"/>
                    </a:lnTo>
                    <a:lnTo>
                      <a:pt x="878" y="1108"/>
                    </a:lnTo>
                    <a:lnTo>
                      <a:pt x="880" y="1108"/>
                    </a:lnTo>
                    <a:lnTo>
                      <a:pt x="878" y="1110"/>
                    </a:lnTo>
                    <a:lnTo>
                      <a:pt x="878" y="1112"/>
                    </a:lnTo>
                    <a:lnTo>
                      <a:pt x="878" y="1114"/>
                    </a:lnTo>
                    <a:lnTo>
                      <a:pt x="876" y="1114"/>
                    </a:lnTo>
                    <a:lnTo>
                      <a:pt x="874" y="1114"/>
                    </a:lnTo>
                    <a:lnTo>
                      <a:pt x="874" y="1115"/>
                    </a:lnTo>
                    <a:lnTo>
                      <a:pt x="872" y="1117"/>
                    </a:lnTo>
                    <a:lnTo>
                      <a:pt x="872" y="1119"/>
                    </a:lnTo>
                    <a:lnTo>
                      <a:pt x="874" y="1121"/>
                    </a:lnTo>
                    <a:lnTo>
                      <a:pt x="874" y="1123"/>
                    </a:lnTo>
                    <a:lnTo>
                      <a:pt x="872" y="1125"/>
                    </a:lnTo>
                    <a:lnTo>
                      <a:pt x="872" y="1127"/>
                    </a:lnTo>
                    <a:lnTo>
                      <a:pt x="872" y="1129"/>
                    </a:lnTo>
                    <a:lnTo>
                      <a:pt x="872" y="1131"/>
                    </a:lnTo>
                    <a:lnTo>
                      <a:pt x="872" y="1133"/>
                    </a:lnTo>
                    <a:lnTo>
                      <a:pt x="874" y="1135"/>
                    </a:lnTo>
                    <a:lnTo>
                      <a:pt x="876" y="1137"/>
                    </a:lnTo>
                    <a:lnTo>
                      <a:pt x="874" y="1137"/>
                    </a:lnTo>
                    <a:lnTo>
                      <a:pt x="874" y="1139"/>
                    </a:lnTo>
                    <a:lnTo>
                      <a:pt x="874" y="1140"/>
                    </a:lnTo>
                    <a:lnTo>
                      <a:pt x="872" y="1140"/>
                    </a:lnTo>
                    <a:lnTo>
                      <a:pt x="870" y="1140"/>
                    </a:lnTo>
                    <a:lnTo>
                      <a:pt x="870" y="1142"/>
                    </a:lnTo>
                    <a:lnTo>
                      <a:pt x="868" y="1142"/>
                    </a:lnTo>
                    <a:lnTo>
                      <a:pt x="866" y="1142"/>
                    </a:lnTo>
                    <a:lnTo>
                      <a:pt x="866" y="1140"/>
                    </a:lnTo>
                    <a:lnTo>
                      <a:pt x="864" y="1140"/>
                    </a:lnTo>
                    <a:lnTo>
                      <a:pt x="864" y="1142"/>
                    </a:lnTo>
                    <a:lnTo>
                      <a:pt x="864" y="1144"/>
                    </a:lnTo>
                    <a:lnTo>
                      <a:pt x="862" y="1144"/>
                    </a:lnTo>
                    <a:lnTo>
                      <a:pt x="862" y="1146"/>
                    </a:lnTo>
                    <a:lnTo>
                      <a:pt x="860" y="1146"/>
                    </a:lnTo>
                    <a:lnTo>
                      <a:pt x="862" y="1146"/>
                    </a:lnTo>
                    <a:lnTo>
                      <a:pt x="862" y="1148"/>
                    </a:lnTo>
                    <a:lnTo>
                      <a:pt x="864" y="1148"/>
                    </a:lnTo>
                    <a:lnTo>
                      <a:pt x="866" y="1150"/>
                    </a:lnTo>
                    <a:lnTo>
                      <a:pt x="864" y="1150"/>
                    </a:lnTo>
                    <a:lnTo>
                      <a:pt x="866" y="1150"/>
                    </a:lnTo>
                    <a:lnTo>
                      <a:pt x="866" y="1148"/>
                    </a:lnTo>
                    <a:lnTo>
                      <a:pt x="868" y="1148"/>
                    </a:lnTo>
                    <a:lnTo>
                      <a:pt x="870" y="1148"/>
                    </a:lnTo>
                    <a:lnTo>
                      <a:pt x="870" y="1150"/>
                    </a:lnTo>
                    <a:lnTo>
                      <a:pt x="872" y="1150"/>
                    </a:lnTo>
                    <a:lnTo>
                      <a:pt x="874" y="1150"/>
                    </a:lnTo>
                    <a:lnTo>
                      <a:pt x="874" y="1152"/>
                    </a:lnTo>
                    <a:lnTo>
                      <a:pt x="876" y="1152"/>
                    </a:lnTo>
                    <a:lnTo>
                      <a:pt x="876" y="1150"/>
                    </a:lnTo>
                    <a:lnTo>
                      <a:pt x="876" y="1152"/>
                    </a:lnTo>
                    <a:lnTo>
                      <a:pt x="878" y="1152"/>
                    </a:lnTo>
                    <a:lnTo>
                      <a:pt x="876" y="1152"/>
                    </a:lnTo>
                    <a:lnTo>
                      <a:pt x="876" y="1154"/>
                    </a:lnTo>
                    <a:lnTo>
                      <a:pt x="878" y="1154"/>
                    </a:lnTo>
                    <a:lnTo>
                      <a:pt x="878" y="1156"/>
                    </a:lnTo>
                    <a:lnTo>
                      <a:pt x="880" y="1156"/>
                    </a:lnTo>
                    <a:lnTo>
                      <a:pt x="882" y="1158"/>
                    </a:lnTo>
                    <a:lnTo>
                      <a:pt x="883" y="1158"/>
                    </a:lnTo>
                    <a:lnTo>
                      <a:pt x="883" y="1160"/>
                    </a:lnTo>
                    <a:lnTo>
                      <a:pt x="885" y="1160"/>
                    </a:lnTo>
                    <a:lnTo>
                      <a:pt x="885" y="1162"/>
                    </a:lnTo>
                    <a:lnTo>
                      <a:pt x="887" y="1162"/>
                    </a:lnTo>
                    <a:lnTo>
                      <a:pt x="887" y="1164"/>
                    </a:lnTo>
                    <a:lnTo>
                      <a:pt x="887" y="1162"/>
                    </a:lnTo>
                    <a:lnTo>
                      <a:pt x="887" y="1164"/>
                    </a:lnTo>
                    <a:lnTo>
                      <a:pt x="889" y="1164"/>
                    </a:lnTo>
                    <a:lnTo>
                      <a:pt x="891" y="1164"/>
                    </a:lnTo>
                    <a:lnTo>
                      <a:pt x="891" y="1165"/>
                    </a:lnTo>
                    <a:lnTo>
                      <a:pt x="893" y="1165"/>
                    </a:lnTo>
                    <a:lnTo>
                      <a:pt x="893" y="1167"/>
                    </a:lnTo>
                    <a:lnTo>
                      <a:pt x="893" y="1169"/>
                    </a:lnTo>
                    <a:lnTo>
                      <a:pt x="895" y="1169"/>
                    </a:lnTo>
                    <a:lnTo>
                      <a:pt x="895" y="1171"/>
                    </a:lnTo>
                    <a:lnTo>
                      <a:pt x="893" y="1171"/>
                    </a:lnTo>
                    <a:lnTo>
                      <a:pt x="895" y="1171"/>
                    </a:lnTo>
                    <a:lnTo>
                      <a:pt x="895" y="1173"/>
                    </a:lnTo>
                    <a:lnTo>
                      <a:pt x="893" y="1173"/>
                    </a:lnTo>
                    <a:lnTo>
                      <a:pt x="895" y="1173"/>
                    </a:lnTo>
                    <a:lnTo>
                      <a:pt x="893" y="1173"/>
                    </a:lnTo>
                    <a:lnTo>
                      <a:pt x="893" y="1175"/>
                    </a:lnTo>
                    <a:lnTo>
                      <a:pt x="893" y="1177"/>
                    </a:lnTo>
                    <a:lnTo>
                      <a:pt x="893" y="1179"/>
                    </a:lnTo>
                    <a:lnTo>
                      <a:pt x="893" y="1181"/>
                    </a:lnTo>
                    <a:lnTo>
                      <a:pt x="895" y="1179"/>
                    </a:lnTo>
                    <a:lnTo>
                      <a:pt x="895" y="1181"/>
                    </a:lnTo>
                    <a:lnTo>
                      <a:pt x="895" y="1183"/>
                    </a:lnTo>
                    <a:lnTo>
                      <a:pt x="895" y="1185"/>
                    </a:lnTo>
                    <a:lnTo>
                      <a:pt x="897" y="1185"/>
                    </a:lnTo>
                    <a:lnTo>
                      <a:pt x="897" y="1187"/>
                    </a:lnTo>
                    <a:lnTo>
                      <a:pt x="899" y="1187"/>
                    </a:lnTo>
                    <a:lnTo>
                      <a:pt x="899" y="1189"/>
                    </a:lnTo>
                    <a:lnTo>
                      <a:pt x="897" y="1189"/>
                    </a:lnTo>
                    <a:lnTo>
                      <a:pt x="897" y="1190"/>
                    </a:lnTo>
                    <a:lnTo>
                      <a:pt x="895" y="1190"/>
                    </a:lnTo>
                    <a:lnTo>
                      <a:pt x="895" y="1189"/>
                    </a:lnTo>
                    <a:lnTo>
                      <a:pt x="895" y="1187"/>
                    </a:lnTo>
                    <a:lnTo>
                      <a:pt x="893" y="1187"/>
                    </a:lnTo>
                    <a:lnTo>
                      <a:pt x="893" y="1185"/>
                    </a:lnTo>
                    <a:lnTo>
                      <a:pt x="891" y="1185"/>
                    </a:lnTo>
                    <a:lnTo>
                      <a:pt x="891" y="1187"/>
                    </a:lnTo>
                    <a:lnTo>
                      <a:pt x="891" y="1185"/>
                    </a:lnTo>
                    <a:lnTo>
                      <a:pt x="889" y="1185"/>
                    </a:lnTo>
                    <a:lnTo>
                      <a:pt x="889" y="1187"/>
                    </a:lnTo>
                    <a:lnTo>
                      <a:pt x="889" y="1189"/>
                    </a:lnTo>
                    <a:lnTo>
                      <a:pt x="889" y="1190"/>
                    </a:lnTo>
                    <a:lnTo>
                      <a:pt x="889" y="1192"/>
                    </a:lnTo>
                    <a:lnTo>
                      <a:pt x="891" y="1192"/>
                    </a:lnTo>
                    <a:lnTo>
                      <a:pt x="891" y="1194"/>
                    </a:lnTo>
                    <a:lnTo>
                      <a:pt x="889" y="1194"/>
                    </a:lnTo>
                    <a:lnTo>
                      <a:pt x="889" y="1192"/>
                    </a:lnTo>
                    <a:lnTo>
                      <a:pt x="889" y="1194"/>
                    </a:lnTo>
                    <a:lnTo>
                      <a:pt x="889" y="1192"/>
                    </a:lnTo>
                    <a:lnTo>
                      <a:pt x="887" y="1192"/>
                    </a:lnTo>
                    <a:lnTo>
                      <a:pt x="887" y="1190"/>
                    </a:lnTo>
                    <a:lnTo>
                      <a:pt x="885" y="1190"/>
                    </a:lnTo>
                    <a:lnTo>
                      <a:pt x="883" y="1190"/>
                    </a:lnTo>
                    <a:lnTo>
                      <a:pt x="883" y="1192"/>
                    </a:lnTo>
                    <a:lnTo>
                      <a:pt x="882" y="1192"/>
                    </a:lnTo>
                    <a:lnTo>
                      <a:pt x="883" y="1192"/>
                    </a:lnTo>
                    <a:lnTo>
                      <a:pt x="883" y="1194"/>
                    </a:lnTo>
                    <a:lnTo>
                      <a:pt x="882" y="1194"/>
                    </a:lnTo>
                    <a:lnTo>
                      <a:pt x="883" y="1194"/>
                    </a:lnTo>
                    <a:lnTo>
                      <a:pt x="882" y="1194"/>
                    </a:lnTo>
                    <a:lnTo>
                      <a:pt x="882" y="1196"/>
                    </a:lnTo>
                    <a:lnTo>
                      <a:pt x="882" y="1194"/>
                    </a:lnTo>
                    <a:lnTo>
                      <a:pt x="883" y="1194"/>
                    </a:lnTo>
                    <a:lnTo>
                      <a:pt x="883" y="1196"/>
                    </a:lnTo>
                    <a:lnTo>
                      <a:pt x="882" y="1196"/>
                    </a:lnTo>
                    <a:lnTo>
                      <a:pt x="883" y="1196"/>
                    </a:lnTo>
                    <a:lnTo>
                      <a:pt x="882" y="1196"/>
                    </a:lnTo>
                    <a:lnTo>
                      <a:pt x="883" y="1198"/>
                    </a:lnTo>
                    <a:lnTo>
                      <a:pt x="882" y="1198"/>
                    </a:lnTo>
                    <a:lnTo>
                      <a:pt x="883" y="1198"/>
                    </a:lnTo>
                    <a:lnTo>
                      <a:pt x="882" y="1198"/>
                    </a:lnTo>
                    <a:lnTo>
                      <a:pt x="882" y="1200"/>
                    </a:lnTo>
                    <a:lnTo>
                      <a:pt x="882" y="1202"/>
                    </a:lnTo>
                    <a:lnTo>
                      <a:pt x="883" y="1202"/>
                    </a:lnTo>
                    <a:lnTo>
                      <a:pt x="883" y="1204"/>
                    </a:lnTo>
                    <a:lnTo>
                      <a:pt x="883" y="1206"/>
                    </a:lnTo>
                    <a:lnTo>
                      <a:pt x="885" y="1204"/>
                    </a:lnTo>
                    <a:lnTo>
                      <a:pt x="885" y="1206"/>
                    </a:lnTo>
                    <a:lnTo>
                      <a:pt x="885" y="1208"/>
                    </a:lnTo>
                    <a:lnTo>
                      <a:pt x="885" y="1210"/>
                    </a:lnTo>
                    <a:lnTo>
                      <a:pt x="885" y="1212"/>
                    </a:lnTo>
                    <a:lnTo>
                      <a:pt x="885" y="1214"/>
                    </a:lnTo>
                    <a:lnTo>
                      <a:pt x="885" y="1215"/>
                    </a:lnTo>
                    <a:lnTo>
                      <a:pt x="883" y="1215"/>
                    </a:lnTo>
                    <a:lnTo>
                      <a:pt x="883" y="1217"/>
                    </a:lnTo>
                    <a:lnTo>
                      <a:pt x="883" y="1219"/>
                    </a:lnTo>
                    <a:lnTo>
                      <a:pt x="885" y="1219"/>
                    </a:lnTo>
                    <a:lnTo>
                      <a:pt x="885" y="1221"/>
                    </a:lnTo>
                    <a:lnTo>
                      <a:pt x="885" y="1223"/>
                    </a:lnTo>
                    <a:lnTo>
                      <a:pt x="885" y="1225"/>
                    </a:lnTo>
                    <a:lnTo>
                      <a:pt x="885" y="1227"/>
                    </a:lnTo>
                    <a:lnTo>
                      <a:pt x="885" y="1229"/>
                    </a:lnTo>
                    <a:lnTo>
                      <a:pt x="887" y="1229"/>
                    </a:lnTo>
                    <a:lnTo>
                      <a:pt x="887" y="1231"/>
                    </a:lnTo>
                    <a:lnTo>
                      <a:pt x="889" y="1231"/>
                    </a:lnTo>
                    <a:lnTo>
                      <a:pt x="889" y="1233"/>
                    </a:lnTo>
                    <a:lnTo>
                      <a:pt x="887" y="1235"/>
                    </a:lnTo>
                    <a:lnTo>
                      <a:pt x="887" y="1237"/>
                    </a:lnTo>
                    <a:lnTo>
                      <a:pt x="889" y="1238"/>
                    </a:lnTo>
                    <a:lnTo>
                      <a:pt x="891" y="1240"/>
                    </a:lnTo>
                    <a:lnTo>
                      <a:pt x="893" y="1240"/>
                    </a:lnTo>
                    <a:lnTo>
                      <a:pt x="893" y="1242"/>
                    </a:lnTo>
                    <a:lnTo>
                      <a:pt x="893" y="1244"/>
                    </a:lnTo>
                    <a:lnTo>
                      <a:pt x="895" y="1246"/>
                    </a:lnTo>
                    <a:lnTo>
                      <a:pt x="893" y="1246"/>
                    </a:lnTo>
                    <a:lnTo>
                      <a:pt x="891" y="1246"/>
                    </a:lnTo>
                    <a:lnTo>
                      <a:pt x="889" y="1246"/>
                    </a:lnTo>
                    <a:lnTo>
                      <a:pt x="887" y="1246"/>
                    </a:lnTo>
                    <a:lnTo>
                      <a:pt x="885" y="1246"/>
                    </a:lnTo>
                    <a:lnTo>
                      <a:pt x="885" y="1248"/>
                    </a:lnTo>
                    <a:lnTo>
                      <a:pt x="883" y="1248"/>
                    </a:lnTo>
                    <a:lnTo>
                      <a:pt x="883" y="1246"/>
                    </a:lnTo>
                    <a:lnTo>
                      <a:pt x="882" y="1246"/>
                    </a:lnTo>
                    <a:lnTo>
                      <a:pt x="882" y="1248"/>
                    </a:lnTo>
                    <a:lnTo>
                      <a:pt x="882" y="1250"/>
                    </a:lnTo>
                    <a:lnTo>
                      <a:pt x="880" y="1250"/>
                    </a:lnTo>
                    <a:lnTo>
                      <a:pt x="880" y="1252"/>
                    </a:lnTo>
                    <a:lnTo>
                      <a:pt x="878" y="1250"/>
                    </a:lnTo>
                    <a:lnTo>
                      <a:pt x="878" y="1252"/>
                    </a:lnTo>
                    <a:lnTo>
                      <a:pt x="878" y="1250"/>
                    </a:lnTo>
                    <a:lnTo>
                      <a:pt x="876" y="1250"/>
                    </a:lnTo>
                    <a:lnTo>
                      <a:pt x="876" y="1252"/>
                    </a:lnTo>
                    <a:lnTo>
                      <a:pt x="876" y="1250"/>
                    </a:lnTo>
                    <a:lnTo>
                      <a:pt x="876" y="1252"/>
                    </a:lnTo>
                    <a:lnTo>
                      <a:pt x="874" y="1252"/>
                    </a:lnTo>
                    <a:lnTo>
                      <a:pt x="872" y="1252"/>
                    </a:lnTo>
                    <a:lnTo>
                      <a:pt x="872" y="1254"/>
                    </a:lnTo>
                    <a:lnTo>
                      <a:pt x="870" y="1254"/>
                    </a:lnTo>
                    <a:lnTo>
                      <a:pt x="870" y="1256"/>
                    </a:lnTo>
                    <a:lnTo>
                      <a:pt x="868" y="1256"/>
                    </a:lnTo>
                    <a:lnTo>
                      <a:pt x="866" y="1258"/>
                    </a:lnTo>
                    <a:lnTo>
                      <a:pt x="864" y="1258"/>
                    </a:lnTo>
                    <a:lnTo>
                      <a:pt x="864" y="1256"/>
                    </a:lnTo>
                    <a:lnTo>
                      <a:pt x="862" y="1256"/>
                    </a:lnTo>
                    <a:lnTo>
                      <a:pt x="862" y="1254"/>
                    </a:lnTo>
                    <a:lnTo>
                      <a:pt x="860" y="1254"/>
                    </a:lnTo>
                    <a:lnTo>
                      <a:pt x="860" y="1256"/>
                    </a:lnTo>
                    <a:lnTo>
                      <a:pt x="860" y="1258"/>
                    </a:lnTo>
                    <a:lnTo>
                      <a:pt x="858" y="1258"/>
                    </a:lnTo>
                    <a:lnTo>
                      <a:pt x="857" y="1256"/>
                    </a:lnTo>
                    <a:lnTo>
                      <a:pt x="855" y="1256"/>
                    </a:lnTo>
                    <a:lnTo>
                      <a:pt x="855" y="1258"/>
                    </a:lnTo>
                    <a:lnTo>
                      <a:pt x="853" y="1258"/>
                    </a:lnTo>
                    <a:lnTo>
                      <a:pt x="851" y="1258"/>
                    </a:lnTo>
                    <a:lnTo>
                      <a:pt x="851" y="1260"/>
                    </a:lnTo>
                    <a:lnTo>
                      <a:pt x="849" y="1260"/>
                    </a:lnTo>
                    <a:lnTo>
                      <a:pt x="847" y="1260"/>
                    </a:lnTo>
                    <a:lnTo>
                      <a:pt x="847" y="1262"/>
                    </a:lnTo>
                    <a:lnTo>
                      <a:pt x="847" y="1263"/>
                    </a:lnTo>
                    <a:lnTo>
                      <a:pt x="845" y="1263"/>
                    </a:lnTo>
                    <a:lnTo>
                      <a:pt x="845" y="1265"/>
                    </a:lnTo>
                    <a:lnTo>
                      <a:pt x="843" y="1263"/>
                    </a:lnTo>
                    <a:lnTo>
                      <a:pt x="843" y="1265"/>
                    </a:lnTo>
                    <a:lnTo>
                      <a:pt x="841" y="1265"/>
                    </a:lnTo>
                    <a:lnTo>
                      <a:pt x="841" y="1263"/>
                    </a:lnTo>
                    <a:lnTo>
                      <a:pt x="841" y="1265"/>
                    </a:lnTo>
                    <a:lnTo>
                      <a:pt x="839" y="1267"/>
                    </a:lnTo>
                    <a:lnTo>
                      <a:pt x="837" y="1267"/>
                    </a:lnTo>
                    <a:lnTo>
                      <a:pt x="837" y="1269"/>
                    </a:lnTo>
                    <a:lnTo>
                      <a:pt x="835" y="1269"/>
                    </a:lnTo>
                    <a:lnTo>
                      <a:pt x="835" y="1271"/>
                    </a:lnTo>
                    <a:lnTo>
                      <a:pt x="837" y="1271"/>
                    </a:lnTo>
                    <a:lnTo>
                      <a:pt x="837" y="1273"/>
                    </a:lnTo>
                    <a:lnTo>
                      <a:pt x="839" y="1273"/>
                    </a:lnTo>
                    <a:lnTo>
                      <a:pt x="839" y="1275"/>
                    </a:lnTo>
                    <a:lnTo>
                      <a:pt x="839" y="1277"/>
                    </a:lnTo>
                    <a:lnTo>
                      <a:pt x="841" y="1277"/>
                    </a:lnTo>
                    <a:lnTo>
                      <a:pt x="841" y="1279"/>
                    </a:lnTo>
                    <a:lnTo>
                      <a:pt x="841" y="1281"/>
                    </a:lnTo>
                    <a:lnTo>
                      <a:pt x="839" y="1283"/>
                    </a:lnTo>
                    <a:lnTo>
                      <a:pt x="837" y="1283"/>
                    </a:lnTo>
                    <a:lnTo>
                      <a:pt x="835" y="1283"/>
                    </a:lnTo>
                    <a:lnTo>
                      <a:pt x="833" y="1285"/>
                    </a:lnTo>
                    <a:lnTo>
                      <a:pt x="833" y="1283"/>
                    </a:lnTo>
                    <a:lnTo>
                      <a:pt x="833" y="1285"/>
                    </a:lnTo>
                    <a:lnTo>
                      <a:pt x="832" y="1285"/>
                    </a:lnTo>
                    <a:lnTo>
                      <a:pt x="830" y="1285"/>
                    </a:lnTo>
                    <a:lnTo>
                      <a:pt x="828" y="1285"/>
                    </a:lnTo>
                    <a:lnTo>
                      <a:pt x="828" y="1283"/>
                    </a:lnTo>
                    <a:lnTo>
                      <a:pt x="826" y="1283"/>
                    </a:lnTo>
                    <a:lnTo>
                      <a:pt x="824" y="1283"/>
                    </a:lnTo>
                    <a:lnTo>
                      <a:pt x="824" y="1285"/>
                    </a:lnTo>
                    <a:lnTo>
                      <a:pt x="822" y="1283"/>
                    </a:lnTo>
                    <a:lnTo>
                      <a:pt x="820" y="1283"/>
                    </a:lnTo>
                    <a:lnTo>
                      <a:pt x="818" y="1281"/>
                    </a:lnTo>
                    <a:lnTo>
                      <a:pt x="816" y="1281"/>
                    </a:lnTo>
                    <a:lnTo>
                      <a:pt x="814" y="1281"/>
                    </a:lnTo>
                    <a:lnTo>
                      <a:pt x="814" y="1279"/>
                    </a:lnTo>
                    <a:lnTo>
                      <a:pt x="812" y="1279"/>
                    </a:lnTo>
                    <a:lnTo>
                      <a:pt x="812" y="1277"/>
                    </a:lnTo>
                    <a:lnTo>
                      <a:pt x="812" y="1279"/>
                    </a:lnTo>
                    <a:lnTo>
                      <a:pt x="810" y="1279"/>
                    </a:lnTo>
                    <a:lnTo>
                      <a:pt x="809" y="1279"/>
                    </a:lnTo>
                    <a:lnTo>
                      <a:pt x="807" y="1279"/>
                    </a:lnTo>
                    <a:lnTo>
                      <a:pt x="807" y="1281"/>
                    </a:lnTo>
                    <a:lnTo>
                      <a:pt x="805" y="1281"/>
                    </a:lnTo>
                    <a:lnTo>
                      <a:pt x="803" y="1281"/>
                    </a:lnTo>
                    <a:lnTo>
                      <a:pt x="803" y="1283"/>
                    </a:lnTo>
                    <a:lnTo>
                      <a:pt x="801" y="1285"/>
                    </a:lnTo>
                    <a:lnTo>
                      <a:pt x="799" y="1285"/>
                    </a:lnTo>
                    <a:lnTo>
                      <a:pt x="797" y="1285"/>
                    </a:lnTo>
                    <a:lnTo>
                      <a:pt x="797" y="1283"/>
                    </a:lnTo>
                    <a:lnTo>
                      <a:pt x="795" y="1283"/>
                    </a:lnTo>
                    <a:lnTo>
                      <a:pt x="793" y="1281"/>
                    </a:lnTo>
                    <a:lnTo>
                      <a:pt x="793" y="1283"/>
                    </a:lnTo>
                    <a:lnTo>
                      <a:pt x="791" y="1283"/>
                    </a:lnTo>
                    <a:lnTo>
                      <a:pt x="791" y="1285"/>
                    </a:lnTo>
                    <a:lnTo>
                      <a:pt x="791" y="1287"/>
                    </a:lnTo>
                    <a:lnTo>
                      <a:pt x="789" y="1288"/>
                    </a:lnTo>
                    <a:lnTo>
                      <a:pt x="791" y="1290"/>
                    </a:lnTo>
                    <a:lnTo>
                      <a:pt x="793" y="1290"/>
                    </a:lnTo>
                    <a:lnTo>
                      <a:pt x="793" y="1292"/>
                    </a:lnTo>
                    <a:lnTo>
                      <a:pt x="791" y="1292"/>
                    </a:lnTo>
                    <a:lnTo>
                      <a:pt x="789" y="1292"/>
                    </a:lnTo>
                    <a:lnTo>
                      <a:pt x="789" y="1294"/>
                    </a:lnTo>
                    <a:lnTo>
                      <a:pt x="787" y="1294"/>
                    </a:lnTo>
                    <a:lnTo>
                      <a:pt x="785" y="1292"/>
                    </a:lnTo>
                    <a:lnTo>
                      <a:pt x="784" y="1292"/>
                    </a:lnTo>
                    <a:lnTo>
                      <a:pt x="784" y="1290"/>
                    </a:lnTo>
                    <a:lnTo>
                      <a:pt x="782" y="1290"/>
                    </a:lnTo>
                    <a:lnTo>
                      <a:pt x="782" y="1288"/>
                    </a:lnTo>
                    <a:lnTo>
                      <a:pt x="780" y="1290"/>
                    </a:lnTo>
                    <a:lnTo>
                      <a:pt x="778" y="1288"/>
                    </a:lnTo>
                    <a:lnTo>
                      <a:pt x="776" y="1288"/>
                    </a:lnTo>
                    <a:lnTo>
                      <a:pt x="776" y="1290"/>
                    </a:lnTo>
                    <a:lnTo>
                      <a:pt x="774" y="1290"/>
                    </a:lnTo>
                    <a:lnTo>
                      <a:pt x="772" y="1290"/>
                    </a:lnTo>
                    <a:lnTo>
                      <a:pt x="770" y="1290"/>
                    </a:lnTo>
                    <a:lnTo>
                      <a:pt x="770" y="1292"/>
                    </a:lnTo>
                    <a:lnTo>
                      <a:pt x="768" y="1292"/>
                    </a:lnTo>
                    <a:lnTo>
                      <a:pt x="770" y="1294"/>
                    </a:lnTo>
                    <a:lnTo>
                      <a:pt x="770" y="1296"/>
                    </a:lnTo>
                    <a:lnTo>
                      <a:pt x="768" y="1298"/>
                    </a:lnTo>
                    <a:lnTo>
                      <a:pt x="766" y="1298"/>
                    </a:lnTo>
                    <a:lnTo>
                      <a:pt x="766" y="1300"/>
                    </a:lnTo>
                    <a:lnTo>
                      <a:pt x="764" y="1300"/>
                    </a:lnTo>
                    <a:lnTo>
                      <a:pt x="762" y="1298"/>
                    </a:lnTo>
                    <a:lnTo>
                      <a:pt x="762" y="1296"/>
                    </a:lnTo>
                    <a:lnTo>
                      <a:pt x="760" y="1298"/>
                    </a:lnTo>
                    <a:lnTo>
                      <a:pt x="759" y="1300"/>
                    </a:lnTo>
                    <a:lnTo>
                      <a:pt x="759" y="1302"/>
                    </a:lnTo>
                    <a:lnTo>
                      <a:pt x="759" y="1304"/>
                    </a:lnTo>
                    <a:lnTo>
                      <a:pt x="759" y="1306"/>
                    </a:lnTo>
                    <a:lnTo>
                      <a:pt x="757" y="1306"/>
                    </a:lnTo>
                    <a:lnTo>
                      <a:pt x="755" y="1306"/>
                    </a:lnTo>
                    <a:lnTo>
                      <a:pt x="755" y="1304"/>
                    </a:lnTo>
                    <a:lnTo>
                      <a:pt x="753" y="1304"/>
                    </a:lnTo>
                    <a:lnTo>
                      <a:pt x="753" y="1306"/>
                    </a:lnTo>
                    <a:lnTo>
                      <a:pt x="751" y="1304"/>
                    </a:lnTo>
                    <a:lnTo>
                      <a:pt x="751" y="1306"/>
                    </a:lnTo>
                    <a:lnTo>
                      <a:pt x="749" y="1306"/>
                    </a:lnTo>
                    <a:lnTo>
                      <a:pt x="747" y="1306"/>
                    </a:lnTo>
                    <a:lnTo>
                      <a:pt x="747" y="1308"/>
                    </a:lnTo>
                    <a:lnTo>
                      <a:pt x="745" y="1308"/>
                    </a:lnTo>
                    <a:lnTo>
                      <a:pt x="743" y="1306"/>
                    </a:lnTo>
                    <a:lnTo>
                      <a:pt x="743" y="1304"/>
                    </a:lnTo>
                    <a:lnTo>
                      <a:pt x="745" y="1304"/>
                    </a:lnTo>
                    <a:lnTo>
                      <a:pt x="745" y="1302"/>
                    </a:lnTo>
                    <a:lnTo>
                      <a:pt x="743" y="1302"/>
                    </a:lnTo>
                    <a:lnTo>
                      <a:pt x="741" y="1302"/>
                    </a:lnTo>
                    <a:lnTo>
                      <a:pt x="741" y="1300"/>
                    </a:lnTo>
                    <a:lnTo>
                      <a:pt x="743" y="1300"/>
                    </a:lnTo>
                    <a:lnTo>
                      <a:pt x="741" y="1300"/>
                    </a:lnTo>
                    <a:lnTo>
                      <a:pt x="739" y="1300"/>
                    </a:lnTo>
                    <a:lnTo>
                      <a:pt x="739" y="1298"/>
                    </a:lnTo>
                    <a:lnTo>
                      <a:pt x="737" y="1298"/>
                    </a:lnTo>
                    <a:lnTo>
                      <a:pt x="736" y="1296"/>
                    </a:lnTo>
                    <a:lnTo>
                      <a:pt x="732" y="1296"/>
                    </a:lnTo>
                    <a:lnTo>
                      <a:pt x="732" y="1298"/>
                    </a:lnTo>
                    <a:lnTo>
                      <a:pt x="730" y="1298"/>
                    </a:lnTo>
                    <a:lnTo>
                      <a:pt x="728" y="1298"/>
                    </a:lnTo>
                    <a:lnTo>
                      <a:pt x="728" y="1300"/>
                    </a:lnTo>
                    <a:lnTo>
                      <a:pt x="726" y="1300"/>
                    </a:lnTo>
                    <a:lnTo>
                      <a:pt x="726" y="1302"/>
                    </a:lnTo>
                    <a:lnTo>
                      <a:pt x="726" y="1304"/>
                    </a:lnTo>
                    <a:lnTo>
                      <a:pt x="724" y="1304"/>
                    </a:lnTo>
                    <a:lnTo>
                      <a:pt x="722" y="1302"/>
                    </a:lnTo>
                    <a:lnTo>
                      <a:pt x="722" y="1300"/>
                    </a:lnTo>
                    <a:lnTo>
                      <a:pt x="720" y="1300"/>
                    </a:lnTo>
                    <a:lnTo>
                      <a:pt x="720" y="1298"/>
                    </a:lnTo>
                    <a:lnTo>
                      <a:pt x="718" y="1296"/>
                    </a:lnTo>
                    <a:lnTo>
                      <a:pt x="716" y="1296"/>
                    </a:lnTo>
                    <a:lnTo>
                      <a:pt x="714" y="1296"/>
                    </a:lnTo>
                    <a:lnTo>
                      <a:pt x="712" y="1296"/>
                    </a:lnTo>
                    <a:lnTo>
                      <a:pt x="711" y="1296"/>
                    </a:lnTo>
                    <a:lnTo>
                      <a:pt x="709" y="1298"/>
                    </a:lnTo>
                    <a:lnTo>
                      <a:pt x="707" y="1300"/>
                    </a:lnTo>
                    <a:lnTo>
                      <a:pt x="705" y="1300"/>
                    </a:lnTo>
                    <a:lnTo>
                      <a:pt x="705" y="1302"/>
                    </a:lnTo>
                    <a:lnTo>
                      <a:pt x="703" y="1304"/>
                    </a:lnTo>
                    <a:lnTo>
                      <a:pt x="701" y="1302"/>
                    </a:lnTo>
                    <a:lnTo>
                      <a:pt x="699" y="1302"/>
                    </a:lnTo>
                    <a:lnTo>
                      <a:pt x="697" y="1302"/>
                    </a:lnTo>
                    <a:lnTo>
                      <a:pt x="695" y="1300"/>
                    </a:lnTo>
                    <a:lnTo>
                      <a:pt x="691" y="1300"/>
                    </a:lnTo>
                    <a:lnTo>
                      <a:pt x="691" y="1302"/>
                    </a:lnTo>
                    <a:lnTo>
                      <a:pt x="691" y="1304"/>
                    </a:lnTo>
                    <a:lnTo>
                      <a:pt x="689" y="1304"/>
                    </a:lnTo>
                    <a:lnTo>
                      <a:pt x="687" y="1304"/>
                    </a:lnTo>
                    <a:lnTo>
                      <a:pt x="686" y="1304"/>
                    </a:lnTo>
                    <a:lnTo>
                      <a:pt x="686" y="1302"/>
                    </a:lnTo>
                    <a:lnTo>
                      <a:pt x="686" y="1300"/>
                    </a:lnTo>
                    <a:lnTo>
                      <a:pt x="684" y="1300"/>
                    </a:lnTo>
                    <a:lnTo>
                      <a:pt x="684" y="1298"/>
                    </a:lnTo>
                    <a:lnTo>
                      <a:pt x="684" y="1294"/>
                    </a:lnTo>
                    <a:lnTo>
                      <a:pt x="682" y="1294"/>
                    </a:lnTo>
                    <a:lnTo>
                      <a:pt x="680" y="1294"/>
                    </a:lnTo>
                    <a:lnTo>
                      <a:pt x="678" y="1294"/>
                    </a:lnTo>
                    <a:lnTo>
                      <a:pt x="676" y="1294"/>
                    </a:lnTo>
                    <a:lnTo>
                      <a:pt x="676" y="1292"/>
                    </a:lnTo>
                    <a:lnTo>
                      <a:pt x="674" y="1290"/>
                    </a:lnTo>
                    <a:lnTo>
                      <a:pt x="674" y="1288"/>
                    </a:lnTo>
                    <a:lnTo>
                      <a:pt x="672" y="1288"/>
                    </a:lnTo>
                    <a:lnTo>
                      <a:pt x="672" y="1287"/>
                    </a:lnTo>
                    <a:lnTo>
                      <a:pt x="670" y="1287"/>
                    </a:lnTo>
                    <a:lnTo>
                      <a:pt x="670" y="1285"/>
                    </a:lnTo>
                    <a:lnTo>
                      <a:pt x="668" y="1287"/>
                    </a:lnTo>
                    <a:lnTo>
                      <a:pt x="668" y="1285"/>
                    </a:lnTo>
                    <a:lnTo>
                      <a:pt x="666" y="1285"/>
                    </a:lnTo>
                    <a:lnTo>
                      <a:pt x="666" y="1283"/>
                    </a:lnTo>
                    <a:lnTo>
                      <a:pt x="664" y="1283"/>
                    </a:lnTo>
                    <a:lnTo>
                      <a:pt x="664" y="1281"/>
                    </a:lnTo>
                    <a:lnTo>
                      <a:pt x="663" y="1281"/>
                    </a:lnTo>
                    <a:lnTo>
                      <a:pt x="663" y="1279"/>
                    </a:lnTo>
                    <a:lnTo>
                      <a:pt x="661" y="1279"/>
                    </a:lnTo>
                    <a:lnTo>
                      <a:pt x="661" y="1277"/>
                    </a:lnTo>
                    <a:lnTo>
                      <a:pt x="659" y="1277"/>
                    </a:lnTo>
                    <a:lnTo>
                      <a:pt x="657" y="1277"/>
                    </a:lnTo>
                    <a:lnTo>
                      <a:pt x="655" y="1277"/>
                    </a:lnTo>
                    <a:lnTo>
                      <a:pt x="655" y="1279"/>
                    </a:lnTo>
                    <a:lnTo>
                      <a:pt x="653" y="1279"/>
                    </a:lnTo>
                    <a:lnTo>
                      <a:pt x="651" y="1279"/>
                    </a:lnTo>
                    <a:lnTo>
                      <a:pt x="649" y="1279"/>
                    </a:lnTo>
                    <a:lnTo>
                      <a:pt x="647" y="1279"/>
                    </a:lnTo>
                    <a:lnTo>
                      <a:pt x="645" y="1279"/>
                    </a:lnTo>
                    <a:lnTo>
                      <a:pt x="643" y="1281"/>
                    </a:lnTo>
                    <a:lnTo>
                      <a:pt x="641" y="1281"/>
                    </a:lnTo>
                    <a:lnTo>
                      <a:pt x="639" y="1281"/>
                    </a:lnTo>
                    <a:lnTo>
                      <a:pt x="638" y="1281"/>
                    </a:lnTo>
                    <a:lnTo>
                      <a:pt x="636" y="1281"/>
                    </a:lnTo>
                    <a:lnTo>
                      <a:pt x="634" y="1281"/>
                    </a:lnTo>
                    <a:lnTo>
                      <a:pt x="634" y="1279"/>
                    </a:lnTo>
                    <a:lnTo>
                      <a:pt x="632" y="1279"/>
                    </a:lnTo>
                    <a:lnTo>
                      <a:pt x="630" y="1279"/>
                    </a:lnTo>
                    <a:lnTo>
                      <a:pt x="630" y="1277"/>
                    </a:lnTo>
                    <a:lnTo>
                      <a:pt x="628" y="1277"/>
                    </a:lnTo>
                    <a:lnTo>
                      <a:pt x="626" y="1275"/>
                    </a:lnTo>
                    <a:lnTo>
                      <a:pt x="626" y="1273"/>
                    </a:lnTo>
                    <a:lnTo>
                      <a:pt x="624" y="1273"/>
                    </a:lnTo>
                    <a:lnTo>
                      <a:pt x="624" y="1275"/>
                    </a:lnTo>
                    <a:lnTo>
                      <a:pt x="622" y="1275"/>
                    </a:lnTo>
                    <a:lnTo>
                      <a:pt x="622" y="1277"/>
                    </a:lnTo>
                    <a:lnTo>
                      <a:pt x="624" y="1277"/>
                    </a:lnTo>
                    <a:lnTo>
                      <a:pt x="622" y="1277"/>
                    </a:lnTo>
                    <a:lnTo>
                      <a:pt x="622" y="1279"/>
                    </a:lnTo>
                    <a:lnTo>
                      <a:pt x="624" y="1279"/>
                    </a:lnTo>
                    <a:lnTo>
                      <a:pt x="624" y="1281"/>
                    </a:lnTo>
                    <a:lnTo>
                      <a:pt x="622" y="1281"/>
                    </a:lnTo>
                    <a:lnTo>
                      <a:pt x="620" y="1281"/>
                    </a:lnTo>
                    <a:lnTo>
                      <a:pt x="620" y="1283"/>
                    </a:lnTo>
                    <a:lnTo>
                      <a:pt x="618" y="1283"/>
                    </a:lnTo>
                    <a:lnTo>
                      <a:pt x="616" y="1283"/>
                    </a:lnTo>
                    <a:lnTo>
                      <a:pt x="616" y="1281"/>
                    </a:lnTo>
                    <a:lnTo>
                      <a:pt x="614" y="1281"/>
                    </a:lnTo>
                    <a:lnTo>
                      <a:pt x="614" y="1279"/>
                    </a:lnTo>
                    <a:lnTo>
                      <a:pt x="613" y="1279"/>
                    </a:lnTo>
                    <a:lnTo>
                      <a:pt x="611" y="1277"/>
                    </a:lnTo>
                    <a:lnTo>
                      <a:pt x="609" y="1275"/>
                    </a:lnTo>
                    <a:lnTo>
                      <a:pt x="607" y="1275"/>
                    </a:lnTo>
                    <a:lnTo>
                      <a:pt x="605" y="1275"/>
                    </a:lnTo>
                    <a:lnTo>
                      <a:pt x="603" y="1273"/>
                    </a:lnTo>
                    <a:lnTo>
                      <a:pt x="601" y="1273"/>
                    </a:lnTo>
                    <a:lnTo>
                      <a:pt x="601" y="1271"/>
                    </a:lnTo>
                    <a:lnTo>
                      <a:pt x="599" y="1269"/>
                    </a:lnTo>
                    <a:lnTo>
                      <a:pt x="597" y="1269"/>
                    </a:lnTo>
                    <a:lnTo>
                      <a:pt x="595" y="1271"/>
                    </a:lnTo>
                    <a:lnTo>
                      <a:pt x="593" y="1271"/>
                    </a:lnTo>
                    <a:lnTo>
                      <a:pt x="591" y="1273"/>
                    </a:lnTo>
                    <a:lnTo>
                      <a:pt x="589" y="1273"/>
                    </a:lnTo>
                    <a:lnTo>
                      <a:pt x="584" y="1273"/>
                    </a:lnTo>
                    <a:lnTo>
                      <a:pt x="584" y="1275"/>
                    </a:lnTo>
                    <a:lnTo>
                      <a:pt x="582" y="1275"/>
                    </a:lnTo>
                    <a:lnTo>
                      <a:pt x="582" y="1273"/>
                    </a:lnTo>
                    <a:lnTo>
                      <a:pt x="582" y="1271"/>
                    </a:lnTo>
                    <a:lnTo>
                      <a:pt x="580" y="1269"/>
                    </a:lnTo>
                    <a:lnTo>
                      <a:pt x="580" y="1267"/>
                    </a:lnTo>
                    <a:lnTo>
                      <a:pt x="578" y="1269"/>
                    </a:lnTo>
                    <a:lnTo>
                      <a:pt x="576" y="1267"/>
                    </a:lnTo>
                    <a:lnTo>
                      <a:pt x="576" y="1265"/>
                    </a:lnTo>
                    <a:lnTo>
                      <a:pt x="576" y="1263"/>
                    </a:lnTo>
                    <a:lnTo>
                      <a:pt x="574" y="1262"/>
                    </a:lnTo>
                    <a:lnTo>
                      <a:pt x="572" y="1262"/>
                    </a:lnTo>
                    <a:lnTo>
                      <a:pt x="570" y="1262"/>
                    </a:lnTo>
                    <a:lnTo>
                      <a:pt x="568" y="1262"/>
                    </a:lnTo>
                    <a:lnTo>
                      <a:pt x="566" y="1262"/>
                    </a:lnTo>
                    <a:lnTo>
                      <a:pt x="565" y="1262"/>
                    </a:lnTo>
                    <a:lnTo>
                      <a:pt x="563" y="1262"/>
                    </a:lnTo>
                    <a:lnTo>
                      <a:pt x="563" y="1263"/>
                    </a:lnTo>
                    <a:lnTo>
                      <a:pt x="561" y="1263"/>
                    </a:lnTo>
                    <a:lnTo>
                      <a:pt x="561" y="1262"/>
                    </a:lnTo>
                    <a:lnTo>
                      <a:pt x="559" y="1262"/>
                    </a:lnTo>
                    <a:lnTo>
                      <a:pt x="559" y="1260"/>
                    </a:lnTo>
                    <a:lnTo>
                      <a:pt x="557" y="1262"/>
                    </a:lnTo>
                    <a:lnTo>
                      <a:pt x="555" y="1260"/>
                    </a:lnTo>
                    <a:lnTo>
                      <a:pt x="555" y="1262"/>
                    </a:lnTo>
                    <a:lnTo>
                      <a:pt x="553" y="1262"/>
                    </a:lnTo>
                    <a:lnTo>
                      <a:pt x="551" y="1262"/>
                    </a:lnTo>
                    <a:lnTo>
                      <a:pt x="553" y="1263"/>
                    </a:lnTo>
                    <a:lnTo>
                      <a:pt x="551" y="1263"/>
                    </a:lnTo>
                    <a:lnTo>
                      <a:pt x="549" y="1263"/>
                    </a:lnTo>
                    <a:lnTo>
                      <a:pt x="547" y="1263"/>
                    </a:lnTo>
                    <a:lnTo>
                      <a:pt x="547" y="1265"/>
                    </a:lnTo>
                    <a:lnTo>
                      <a:pt x="545" y="1265"/>
                    </a:lnTo>
                    <a:lnTo>
                      <a:pt x="543" y="1263"/>
                    </a:lnTo>
                    <a:lnTo>
                      <a:pt x="543" y="1265"/>
                    </a:lnTo>
                    <a:lnTo>
                      <a:pt x="541" y="1265"/>
                    </a:lnTo>
                    <a:lnTo>
                      <a:pt x="540" y="1267"/>
                    </a:lnTo>
                    <a:lnTo>
                      <a:pt x="538" y="1267"/>
                    </a:lnTo>
                    <a:lnTo>
                      <a:pt x="536" y="1267"/>
                    </a:lnTo>
                    <a:lnTo>
                      <a:pt x="536" y="1269"/>
                    </a:lnTo>
                    <a:lnTo>
                      <a:pt x="536" y="1271"/>
                    </a:lnTo>
                    <a:lnTo>
                      <a:pt x="534" y="1271"/>
                    </a:lnTo>
                    <a:lnTo>
                      <a:pt x="534" y="1273"/>
                    </a:lnTo>
                    <a:lnTo>
                      <a:pt x="532" y="1273"/>
                    </a:lnTo>
                    <a:lnTo>
                      <a:pt x="532" y="1275"/>
                    </a:lnTo>
                    <a:lnTo>
                      <a:pt x="530" y="1277"/>
                    </a:lnTo>
                    <a:lnTo>
                      <a:pt x="528" y="1277"/>
                    </a:lnTo>
                    <a:lnTo>
                      <a:pt x="528" y="1279"/>
                    </a:lnTo>
                    <a:lnTo>
                      <a:pt x="528" y="1277"/>
                    </a:lnTo>
                    <a:lnTo>
                      <a:pt x="526" y="1279"/>
                    </a:lnTo>
                    <a:lnTo>
                      <a:pt x="524" y="1279"/>
                    </a:lnTo>
                    <a:lnTo>
                      <a:pt x="522" y="1279"/>
                    </a:lnTo>
                    <a:lnTo>
                      <a:pt x="522" y="1277"/>
                    </a:lnTo>
                    <a:lnTo>
                      <a:pt x="522" y="1275"/>
                    </a:lnTo>
                    <a:lnTo>
                      <a:pt x="520" y="1275"/>
                    </a:lnTo>
                    <a:lnTo>
                      <a:pt x="518" y="1275"/>
                    </a:lnTo>
                    <a:lnTo>
                      <a:pt x="516" y="1275"/>
                    </a:lnTo>
                    <a:lnTo>
                      <a:pt x="516" y="1273"/>
                    </a:lnTo>
                    <a:lnTo>
                      <a:pt x="515" y="1273"/>
                    </a:lnTo>
                    <a:lnTo>
                      <a:pt x="515" y="1271"/>
                    </a:lnTo>
                    <a:lnTo>
                      <a:pt x="513" y="1271"/>
                    </a:lnTo>
                    <a:lnTo>
                      <a:pt x="513" y="1269"/>
                    </a:lnTo>
                    <a:lnTo>
                      <a:pt x="513" y="1267"/>
                    </a:lnTo>
                    <a:lnTo>
                      <a:pt x="513" y="1265"/>
                    </a:lnTo>
                    <a:lnTo>
                      <a:pt x="515" y="1265"/>
                    </a:lnTo>
                    <a:lnTo>
                      <a:pt x="515" y="1263"/>
                    </a:lnTo>
                    <a:lnTo>
                      <a:pt x="513" y="1262"/>
                    </a:lnTo>
                    <a:lnTo>
                      <a:pt x="513" y="1260"/>
                    </a:lnTo>
                    <a:lnTo>
                      <a:pt x="511" y="1260"/>
                    </a:lnTo>
                    <a:lnTo>
                      <a:pt x="511" y="1258"/>
                    </a:lnTo>
                    <a:lnTo>
                      <a:pt x="511" y="1256"/>
                    </a:lnTo>
                    <a:lnTo>
                      <a:pt x="509" y="1256"/>
                    </a:lnTo>
                    <a:lnTo>
                      <a:pt x="509" y="1254"/>
                    </a:lnTo>
                    <a:lnTo>
                      <a:pt x="507" y="1252"/>
                    </a:lnTo>
                    <a:lnTo>
                      <a:pt x="505" y="1250"/>
                    </a:lnTo>
                    <a:lnTo>
                      <a:pt x="505" y="1252"/>
                    </a:lnTo>
                    <a:lnTo>
                      <a:pt x="503" y="1250"/>
                    </a:lnTo>
                    <a:lnTo>
                      <a:pt x="503" y="1248"/>
                    </a:lnTo>
                    <a:lnTo>
                      <a:pt x="501" y="1248"/>
                    </a:lnTo>
                    <a:lnTo>
                      <a:pt x="501" y="1246"/>
                    </a:lnTo>
                    <a:lnTo>
                      <a:pt x="501" y="1244"/>
                    </a:lnTo>
                    <a:lnTo>
                      <a:pt x="501" y="1242"/>
                    </a:lnTo>
                    <a:lnTo>
                      <a:pt x="501" y="1240"/>
                    </a:lnTo>
                    <a:lnTo>
                      <a:pt x="503" y="1240"/>
                    </a:lnTo>
                    <a:lnTo>
                      <a:pt x="503" y="1238"/>
                    </a:lnTo>
                    <a:lnTo>
                      <a:pt x="503" y="1237"/>
                    </a:lnTo>
                    <a:lnTo>
                      <a:pt x="501" y="1237"/>
                    </a:lnTo>
                    <a:lnTo>
                      <a:pt x="499" y="1237"/>
                    </a:lnTo>
                    <a:lnTo>
                      <a:pt x="499" y="1235"/>
                    </a:lnTo>
                    <a:lnTo>
                      <a:pt x="497" y="1237"/>
                    </a:lnTo>
                    <a:lnTo>
                      <a:pt x="495" y="1237"/>
                    </a:lnTo>
                    <a:lnTo>
                      <a:pt x="495" y="1238"/>
                    </a:lnTo>
                    <a:lnTo>
                      <a:pt x="495" y="1242"/>
                    </a:lnTo>
                    <a:lnTo>
                      <a:pt x="495" y="1244"/>
                    </a:lnTo>
                    <a:lnTo>
                      <a:pt x="493" y="1244"/>
                    </a:lnTo>
                    <a:lnTo>
                      <a:pt x="492" y="1242"/>
                    </a:lnTo>
                    <a:lnTo>
                      <a:pt x="492" y="1240"/>
                    </a:lnTo>
                    <a:lnTo>
                      <a:pt x="492" y="1238"/>
                    </a:lnTo>
                    <a:lnTo>
                      <a:pt x="492" y="1237"/>
                    </a:lnTo>
                    <a:lnTo>
                      <a:pt x="490" y="1237"/>
                    </a:lnTo>
                    <a:lnTo>
                      <a:pt x="490" y="1235"/>
                    </a:lnTo>
                    <a:lnTo>
                      <a:pt x="492" y="1235"/>
                    </a:lnTo>
                    <a:lnTo>
                      <a:pt x="490" y="1233"/>
                    </a:lnTo>
                    <a:lnTo>
                      <a:pt x="490" y="1231"/>
                    </a:lnTo>
                    <a:lnTo>
                      <a:pt x="488" y="1231"/>
                    </a:lnTo>
                    <a:lnTo>
                      <a:pt x="486" y="1231"/>
                    </a:lnTo>
                    <a:lnTo>
                      <a:pt x="486" y="1229"/>
                    </a:lnTo>
                    <a:lnTo>
                      <a:pt x="486" y="1227"/>
                    </a:lnTo>
                    <a:lnTo>
                      <a:pt x="486" y="1225"/>
                    </a:lnTo>
                    <a:lnTo>
                      <a:pt x="486" y="1223"/>
                    </a:lnTo>
                    <a:lnTo>
                      <a:pt x="484" y="1221"/>
                    </a:lnTo>
                    <a:lnTo>
                      <a:pt x="486" y="1221"/>
                    </a:lnTo>
                    <a:lnTo>
                      <a:pt x="484" y="1219"/>
                    </a:lnTo>
                    <a:lnTo>
                      <a:pt x="484" y="1217"/>
                    </a:lnTo>
                    <a:lnTo>
                      <a:pt x="484" y="1215"/>
                    </a:lnTo>
                    <a:lnTo>
                      <a:pt x="484" y="1214"/>
                    </a:lnTo>
                    <a:lnTo>
                      <a:pt x="484" y="1212"/>
                    </a:lnTo>
                    <a:lnTo>
                      <a:pt x="484" y="1210"/>
                    </a:lnTo>
                    <a:lnTo>
                      <a:pt x="486" y="1210"/>
                    </a:lnTo>
                    <a:lnTo>
                      <a:pt x="484" y="1206"/>
                    </a:lnTo>
                    <a:lnTo>
                      <a:pt x="482" y="1204"/>
                    </a:lnTo>
                    <a:lnTo>
                      <a:pt x="484" y="1202"/>
                    </a:lnTo>
                    <a:lnTo>
                      <a:pt x="482" y="1202"/>
                    </a:lnTo>
                    <a:lnTo>
                      <a:pt x="480" y="1200"/>
                    </a:lnTo>
                    <a:lnTo>
                      <a:pt x="480" y="1198"/>
                    </a:lnTo>
                    <a:lnTo>
                      <a:pt x="480" y="1196"/>
                    </a:lnTo>
                    <a:lnTo>
                      <a:pt x="480" y="1194"/>
                    </a:lnTo>
                    <a:lnTo>
                      <a:pt x="480" y="1192"/>
                    </a:lnTo>
                    <a:lnTo>
                      <a:pt x="478" y="1192"/>
                    </a:lnTo>
                    <a:lnTo>
                      <a:pt x="478" y="1190"/>
                    </a:lnTo>
                    <a:lnTo>
                      <a:pt x="476" y="1190"/>
                    </a:lnTo>
                    <a:lnTo>
                      <a:pt x="476" y="1189"/>
                    </a:lnTo>
                    <a:lnTo>
                      <a:pt x="476" y="1187"/>
                    </a:lnTo>
                    <a:lnTo>
                      <a:pt x="476" y="1185"/>
                    </a:lnTo>
                    <a:lnTo>
                      <a:pt x="476" y="1183"/>
                    </a:lnTo>
                    <a:lnTo>
                      <a:pt x="476" y="1181"/>
                    </a:lnTo>
                    <a:lnTo>
                      <a:pt x="476" y="1179"/>
                    </a:lnTo>
                    <a:lnTo>
                      <a:pt x="474" y="1179"/>
                    </a:lnTo>
                    <a:lnTo>
                      <a:pt x="472" y="1179"/>
                    </a:lnTo>
                    <a:lnTo>
                      <a:pt x="470" y="1177"/>
                    </a:lnTo>
                    <a:lnTo>
                      <a:pt x="468" y="1177"/>
                    </a:lnTo>
                    <a:lnTo>
                      <a:pt x="467" y="1177"/>
                    </a:lnTo>
                    <a:lnTo>
                      <a:pt x="467" y="1175"/>
                    </a:lnTo>
                    <a:lnTo>
                      <a:pt x="465" y="1175"/>
                    </a:lnTo>
                    <a:lnTo>
                      <a:pt x="465" y="1177"/>
                    </a:lnTo>
                    <a:lnTo>
                      <a:pt x="465" y="1175"/>
                    </a:lnTo>
                    <a:lnTo>
                      <a:pt x="463" y="1175"/>
                    </a:lnTo>
                    <a:lnTo>
                      <a:pt x="463" y="1173"/>
                    </a:lnTo>
                    <a:lnTo>
                      <a:pt x="465" y="1173"/>
                    </a:lnTo>
                    <a:lnTo>
                      <a:pt x="465" y="1171"/>
                    </a:lnTo>
                    <a:lnTo>
                      <a:pt x="465" y="1169"/>
                    </a:lnTo>
                    <a:lnTo>
                      <a:pt x="465" y="1167"/>
                    </a:lnTo>
                    <a:lnTo>
                      <a:pt x="465" y="1165"/>
                    </a:lnTo>
                    <a:lnTo>
                      <a:pt x="463" y="1165"/>
                    </a:lnTo>
                    <a:lnTo>
                      <a:pt x="463" y="1164"/>
                    </a:lnTo>
                    <a:lnTo>
                      <a:pt x="463" y="1162"/>
                    </a:lnTo>
                    <a:lnTo>
                      <a:pt x="463" y="1160"/>
                    </a:lnTo>
                    <a:lnTo>
                      <a:pt x="461" y="1160"/>
                    </a:lnTo>
                    <a:lnTo>
                      <a:pt x="461" y="1158"/>
                    </a:lnTo>
                    <a:lnTo>
                      <a:pt x="459" y="1158"/>
                    </a:lnTo>
                    <a:lnTo>
                      <a:pt x="459" y="1156"/>
                    </a:lnTo>
                    <a:lnTo>
                      <a:pt x="457" y="1156"/>
                    </a:lnTo>
                    <a:lnTo>
                      <a:pt x="457" y="1154"/>
                    </a:lnTo>
                    <a:lnTo>
                      <a:pt x="457" y="1156"/>
                    </a:lnTo>
                    <a:lnTo>
                      <a:pt x="457" y="1154"/>
                    </a:lnTo>
                    <a:lnTo>
                      <a:pt x="459" y="1154"/>
                    </a:lnTo>
                    <a:lnTo>
                      <a:pt x="459" y="1152"/>
                    </a:lnTo>
                    <a:lnTo>
                      <a:pt x="459" y="1154"/>
                    </a:lnTo>
                    <a:lnTo>
                      <a:pt x="461" y="1154"/>
                    </a:lnTo>
                    <a:lnTo>
                      <a:pt x="461" y="1152"/>
                    </a:lnTo>
                    <a:lnTo>
                      <a:pt x="461" y="1150"/>
                    </a:lnTo>
                    <a:lnTo>
                      <a:pt x="459" y="1150"/>
                    </a:lnTo>
                    <a:lnTo>
                      <a:pt x="459" y="1148"/>
                    </a:lnTo>
                    <a:lnTo>
                      <a:pt x="457" y="1146"/>
                    </a:lnTo>
                    <a:lnTo>
                      <a:pt x="455" y="1146"/>
                    </a:lnTo>
                    <a:lnTo>
                      <a:pt x="455" y="1148"/>
                    </a:lnTo>
                    <a:lnTo>
                      <a:pt x="453" y="1148"/>
                    </a:lnTo>
                    <a:lnTo>
                      <a:pt x="453" y="1146"/>
                    </a:lnTo>
                    <a:lnTo>
                      <a:pt x="455" y="1146"/>
                    </a:lnTo>
                    <a:lnTo>
                      <a:pt x="453" y="1144"/>
                    </a:lnTo>
                    <a:lnTo>
                      <a:pt x="453" y="1142"/>
                    </a:lnTo>
                    <a:lnTo>
                      <a:pt x="453" y="1140"/>
                    </a:lnTo>
                    <a:lnTo>
                      <a:pt x="451" y="1140"/>
                    </a:lnTo>
                    <a:lnTo>
                      <a:pt x="451" y="1139"/>
                    </a:lnTo>
                    <a:lnTo>
                      <a:pt x="451" y="1137"/>
                    </a:lnTo>
                    <a:lnTo>
                      <a:pt x="451" y="1135"/>
                    </a:lnTo>
                    <a:lnTo>
                      <a:pt x="453" y="1135"/>
                    </a:lnTo>
                    <a:lnTo>
                      <a:pt x="453" y="1133"/>
                    </a:lnTo>
                    <a:lnTo>
                      <a:pt x="453" y="1131"/>
                    </a:lnTo>
                    <a:lnTo>
                      <a:pt x="453" y="1129"/>
                    </a:lnTo>
                    <a:lnTo>
                      <a:pt x="451" y="1129"/>
                    </a:lnTo>
                    <a:lnTo>
                      <a:pt x="451" y="1127"/>
                    </a:lnTo>
                    <a:lnTo>
                      <a:pt x="449" y="1125"/>
                    </a:lnTo>
                    <a:lnTo>
                      <a:pt x="451" y="1123"/>
                    </a:lnTo>
                    <a:lnTo>
                      <a:pt x="449" y="1123"/>
                    </a:lnTo>
                    <a:lnTo>
                      <a:pt x="447" y="1123"/>
                    </a:lnTo>
                    <a:lnTo>
                      <a:pt x="445" y="1121"/>
                    </a:lnTo>
                    <a:lnTo>
                      <a:pt x="445" y="1123"/>
                    </a:lnTo>
                    <a:lnTo>
                      <a:pt x="443" y="1121"/>
                    </a:lnTo>
                    <a:lnTo>
                      <a:pt x="442" y="1121"/>
                    </a:lnTo>
                    <a:lnTo>
                      <a:pt x="442" y="1119"/>
                    </a:lnTo>
                    <a:lnTo>
                      <a:pt x="442" y="1121"/>
                    </a:lnTo>
                    <a:lnTo>
                      <a:pt x="442" y="1119"/>
                    </a:lnTo>
                    <a:lnTo>
                      <a:pt x="442" y="1121"/>
                    </a:lnTo>
                    <a:lnTo>
                      <a:pt x="442" y="1119"/>
                    </a:lnTo>
                    <a:lnTo>
                      <a:pt x="440" y="1121"/>
                    </a:lnTo>
                    <a:lnTo>
                      <a:pt x="440" y="1119"/>
                    </a:lnTo>
                    <a:lnTo>
                      <a:pt x="438" y="1119"/>
                    </a:lnTo>
                    <a:lnTo>
                      <a:pt x="436" y="1119"/>
                    </a:lnTo>
                    <a:lnTo>
                      <a:pt x="436" y="1117"/>
                    </a:lnTo>
                    <a:lnTo>
                      <a:pt x="436" y="1115"/>
                    </a:lnTo>
                    <a:lnTo>
                      <a:pt x="436" y="1114"/>
                    </a:lnTo>
                    <a:lnTo>
                      <a:pt x="434" y="1114"/>
                    </a:lnTo>
                    <a:lnTo>
                      <a:pt x="434" y="1112"/>
                    </a:lnTo>
                    <a:lnTo>
                      <a:pt x="432" y="1114"/>
                    </a:lnTo>
                    <a:lnTo>
                      <a:pt x="432" y="1112"/>
                    </a:lnTo>
                    <a:lnTo>
                      <a:pt x="430" y="1114"/>
                    </a:lnTo>
                    <a:lnTo>
                      <a:pt x="428" y="1114"/>
                    </a:lnTo>
                    <a:lnTo>
                      <a:pt x="426" y="1114"/>
                    </a:lnTo>
                    <a:lnTo>
                      <a:pt x="426" y="1115"/>
                    </a:lnTo>
                    <a:lnTo>
                      <a:pt x="426" y="1114"/>
                    </a:lnTo>
                    <a:lnTo>
                      <a:pt x="424" y="1115"/>
                    </a:lnTo>
                    <a:lnTo>
                      <a:pt x="426" y="1117"/>
                    </a:lnTo>
                    <a:lnTo>
                      <a:pt x="426" y="1119"/>
                    </a:lnTo>
                    <a:lnTo>
                      <a:pt x="424" y="1119"/>
                    </a:lnTo>
                    <a:lnTo>
                      <a:pt x="424" y="1121"/>
                    </a:lnTo>
                    <a:lnTo>
                      <a:pt x="424" y="1123"/>
                    </a:lnTo>
                    <a:lnTo>
                      <a:pt x="426" y="1123"/>
                    </a:lnTo>
                    <a:lnTo>
                      <a:pt x="424" y="1125"/>
                    </a:lnTo>
                    <a:lnTo>
                      <a:pt x="424" y="1127"/>
                    </a:lnTo>
                    <a:lnTo>
                      <a:pt x="422" y="1127"/>
                    </a:lnTo>
                    <a:lnTo>
                      <a:pt x="420" y="1125"/>
                    </a:lnTo>
                    <a:lnTo>
                      <a:pt x="419" y="1121"/>
                    </a:lnTo>
                    <a:lnTo>
                      <a:pt x="417" y="1121"/>
                    </a:lnTo>
                    <a:lnTo>
                      <a:pt x="415" y="1123"/>
                    </a:lnTo>
                    <a:lnTo>
                      <a:pt x="415" y="1125"/>
                    </a:lnTo>
                    <a:lnTo>
                      <a:pt x="415" y="1127"/>
                    </a:lnTo>
                    <a:lnTo>
                      <a:pt x="413" y="1127"/>
                    </a:lnTo>
                    <a:lnTo>
                      <a:pt x="411" y="1127"/>
                    </a:lnTo>
                    <a:lnTo>
                      <a:pt x="409" y="1125"/>
                    </a:lnTo>
                    <a:lnTo>
                      <a:pt x="409" y="1127"/>
                    </a:lnTo>
                    <a:lnTo>
                      <a:pt x="407" y="1127"/>
                    </a:lnTo>
                    <a:lnTo>
                      <a:pt x="405" y="1127"/>
                    </a:lnTo>
                    <a:lnTo>
                      <a:pt x="403" y="1127"/>
                    </a:lnTo>
                    <a:lnTo>
                      <a:pt x="401" y="1125"/>
                    </a:lnTo>
                    <a:lnTo>
                      <a:pt x="399" y="1123"/>
                    </a:lnTo>
                    <a:lnTo>
                      <a:pt x="399" y="1121"/>
                    </a:lnTo>
                    <a:lnTo>
                      <a:pt x="399" y="1119"/>
                    </a:lnTo>
                    <a:lnTo>
                      <a:pt x="399" y="1117"/>
                    </a:lnTo>
                    <a:lnTo>
                      <a:pt x="399" y="1115"/>
                    </a:lnTo>
                    <a:lnTo>
                      <a:pt x="397" y="1115"/>
                    </a:lnTo>
                    <a:lnTo>
                      <a:pt x="399" y="1114"/>
                    </a:lnTo>
                    <a:lnTo>
                      <a:pt x="399" y="1112"/>
                    </a:lnTo>
                    <a:lnTo>
                      <a:pt x="399" y="1110"/>
                    </a:lnTo>
                    <a:lnTo>
                      <a:pt x="397" y="1110"/>
                    </a:lnTo>
                    <a:lnTo>
                      <a:pt x="399" y="1110"/>
                    </a:lnTo>
                    <a:lnTo>
                      <a:pt x="397" y="1108"/>
                    </a:lnTo>
                    <a:lnTo>
                      <a:pt x="397" y="1106"/>
                    </a:lnTo>
                    <a:lnTo>
                      <a:pt x="397" y="1104"/>
                    </a:lnTo>
                    <a:lnTo>
                      <a:pt x="395" y="1104"/>
                    </a:lnTo>
                    <a:lnTo>
                      <a:pt x="395" y="1106"/>
                    </a:lnTo>
                    <a:lnTo>
                      <a:pt x="394" y="1106"/>
                    </a:lnTo>
                    <a:lnTo>
                      <a:pt x="394" y="1104"/>
                    </a:lnTo>
                    <a:lnTo>
                      <a:pt x="392" y="1104"/>
                    </a:lnTo>
                    <a:lnTo>
                      <a:pt x="392" y="1102"/>
                    </a:lnTo>
                    <a:lnTo>
                      <a:pt x="392" y="1100"/>
                    </a:lnTo>
                    <a:lnTo>
                      <a:pt x="392" y="1098"/>
                    </a:lnTo>
                    <a:lnTo>
                      <a:pt x="394" y="1098"/>
                    </a:lnTo>
                    <a:lnTo>
                      <a:pt x="395" y="1098"/>
                    </a:lnTo>
                    <a:lnTo>
                      <a:pt x="395" y="1096"/>
                    </a:lnTo>
                    <a:lnTo>
                      <a:pt x="397" y="1096"/>
                    </a:lnTo>
                    <a:lnTo>
                      <a:pt x="399" y="1094"/>
                    </a:lnTo>
                    <a:lnTo>
                      <a:pt x="397" y="1092"/>
                    </a:lnTo>
                    <a:lnTo>
                      <a:pt x="395" y="1092"/>
                    </a:lnTo>
                    <a:lnTo>
                      <a:pt x="394" y="1090"/>
                    </a:lnTo>
                    <a:lnTo>
                      <a:pt x="392" y="1090"/>
                    </a:lnTo>
                    <a:lnTo>
                      <a:pt x="390" y="1089"/>
                    </a:lnTo>
                    <a:lnTo>
                      <a:pt x="390" y="1087"/>
                    </a:lnTo>
                    <a:lnTo>
                      <a:pt x="388" y="1087"/>
                    </a:lnTo>
                    <a:lnTo>
                      <a:pt x="388" y="1085"/>
                    </a:lnTo>
                    <a:lnTo>
                      <a:pt x="388" y="1083"/>
                    </a:lnTo>
                    <a:lnTo>
                      <a:pt x="388" y="1081"/>
                    </a:lnTo>
                    <a:lnTo>
                      <a:pt x="386" y="1081"/>
                    </a:lnTo>
                    <a:lnTo>
                      <a:pt x="386" y="1079"/>
                    </a:lnTo>
                    <a:lnTo>
                      <a:pt x="384" y="1077"/>
                    </a:lnTo>
                    <a:lnTo>
                      <a:pt x="384" y="1075"/>
                    </a:lnTo>
                    <a:lnTo>
                      <a:pt x="382" y="1075"/>
                    </a:lnTo>
                    <a:lnTo>
                      <a:pt x="380" y="1073"/>
                    </a:lnTo>
                    <a:lnTo>
                      <a:pt x="378" y="1071"/>
                    </a:lnTo>
                    <a:lnTo>
                      <a:pt x="376" y="1071"/>
                    </a:lnTo>
                    <a:lnTo>
                      <a:pt x="374" y="1071"/>
                    </a:lnTo>
                    <a:lnTo>
                      <a:pt x="372" y="1071"/>
                    </a:lnTo>
                    <a:lnTo>
                      <a:pt x="370" y="1071"/>
                    </a:lnTo>
                    <a:lnTo>
                      <a:pt x="369" y="1071"/>
                    </a:lnTo>
                    <a:lnTo>
                      <a:pt x="365" y="1069"/>
                    </a:lnTo>
                    <a:lnTo>
                      <a:pt x="363" y="1069"/>
                    </a:lnTo>
                    <a:lnTo>
                      <a:pt x="361" y="1069"/>
                    </a:lnTo>
                    <a:lnTo>
                      <a:pt x="359" y="1069"/>
                    </a:lnTo>
                    <a:lnTo>
                      <a:pt x="357" y="1069"/>
                    </a:lnTo>
                    <a:lnTo>
                      <a:pt x="355" y="1067"/>
                    </a:lnTo>
                    <a:lnTo>
                      <a:pt x="353" y="1065"/>
                    </a:lnTo>
                    <a:lnTo>
                      <a:pt x="351" y="1067"/>
                    </a:lnTo>
                    <a:lnTo>
                      <a:pt x="349" y="1065"/>
                    </a:lnTo>
                    <a:lnTo>
                      <a:pt x="349" y="1064"/>
                    </a:lnTo>
                    <a:lnTo>
                      <a:pt x="347" y="1062"/>
                    </a:lnTo>
                    <a:lnTo>
                      <a:pt x="346" y="1060"/>
                    </a:lnTo>
                    <a:lnTo>
                      <a:pt x="342" y="1060"/>
                    </a:lnTo>
                    <a:lnTo>
                      <a:pt x="340" y="1060"/>
                    </a:lnTo>
                    <a:lnTo>
                      <a:pt x="338" y="1060"/>
                    </a:lnTo>
                    <a:lnTo>
                      <a:pt x="338" y="1058"/>
                    </a:lnTo>
                    <a:lnTo>
                      <a:pt x="336" y="1060"/>
                    </a:lnTo>
                    <a:lnTo>
                      <a:pt x="334" y="1060"/>
                    </a:lnTo>
                    <a:lnTo>
                      <a:pt x="330" y="1060"/>
                    </a:lnTo>
                    <a:lnTo>
                      <a:pt x="330" y="1062"/>
                    </a:lnTo>
                    <a:lnTo>
                      <a:pt x="326" y="1064"/>
                    </a:lnTo>
                    <a:lnTo>
                      <a:pt x="321" y="1064"/>
                    </a:lnTo>
                    <a:lnTo>
                      <a:pt x="319" y="1065"/>
                    </a:lnTo>
                    <a:lnTo>
                      <a:pt x="317" y="1065"/>
                    </a:lnTo>
                    <a:lnTo>
                      <a:pt x="317" y="1067"/>
                    </a:lnTo>
                    <a:lnTo>
                      <a:pt x="315" y="1071"/>
                    </a:lnTo>
                    <a:lnTo>
                      <a:pt x="313" y="1073"/>
                    </a:lnTo>
                    <a:lnTo>
                      <a:pt x="313" y="1071"/>
                    </a:lnTo>
                    <a:lnTo>
                      <a:pt x="311" y="1073"/>
                    </a:lnTo>
                    <a:lnTo>
                      <a:pt x="311" y="1075"/>
                    </a:lnTo>
                    <a:lnTo>
                      <a:pt x="309" y="1077"/>
                    </a:lnTo>
                    <a:lnTo>
                      <a:pt x="307" y="1079"/>
                    </a:lnTo>
                    <a:lnTo>
                      <a:pt x="307" y="1081"/>
                    </a:lnTo>
                    <a:lnTo>
                      <a:pt x="307" y="1083"/>
                    </a:lnTo>
                    <a:lnTo>
                      <a:pt x="305" y="1087"/>
                    </a:lnTo>
                    <a:lnTo>
                      <a:pt x="305" y="1089"/>
                    </a:lnTo>
                    <a:lnTo>
                      <a:pt x="305" y="1090"/>
                    </a:lnTo>
                    <a:lnTo>
                      <a:pt x="305" y="1094"/>
                    </a:lnTo>
                    <a:lnTo>
                      <a:pt x="305" y="1096"/>
                    </a:lnTo>
                    <a:lnTo>
                      <a:pt x="303" y="1098"/>
                    </a:lnTo>
                    <a:lnTo>
                      <a:pt x="303" y="1100"/>
                    </a:lnTo>
                    <a:lnTo>
                      <a:pt x="301" y="1102"/>
                    </a:lnTo>
                    <a:lnTo>
                      <a:pt x="299" y="1104"/>
                    </a:lnTo>
                    <a:lnTo>
                      <a:pt x="297" y="1104"/>
                    </a:lnTo>
                    <a:lnTo>
                      <a:pt x="296" y="1106"/>
                    </a:lnTo>
                    <a:lnTo>
                      <a:pt x="297" y="1108"/>
                    </a:lnTo>
                    <a:lnTo>
                      <a:pt x="299" y="1108"/>
                    </a:lnTo>
                    <a:lnTo>
                      <a:pt x="299" y="1110"/>
                    </a:lnTo>
                    <a:lnTo>
                      <a:pt x="301" y="1110"/>
                    </a:lnTo>
                    <a:lnTo>
                      <a:pt x="301" y="1112"/>
                    </a:lnTo>
                    <a:lnTo>
                      <a:pt x="303" y="1112"/>
                    </a:lnTo>
                    <a:lnTo>
                      <a:pt x="305" y="1112"/>
                    </a:lnTo>
                    <a:lnTo>
                      <a:pt x="307" y="1112"/>
                    </a:lnTo>
                    <a:lnTo>
                      <a:pt x="307" y="1114"/>
                    </a:lnTo>
                    <a:lnTo>
                      <a:pt x="309" y="1114"/>
                    </a:lnTo>
                    <a:lnTo>
                      <a:pt x="311" y="1114"/>
                    </a:lnTo>
                    <a:lnTo>
                      <a:pt x="313" y="1114"/>
                    </a:lnTo>
                    <a:lnTo>
                      <a:pt x="315" y="1114"/>
                    </a:lnTo>
                    <a:lnTo>
                      <a:pt x="315" y="1115"/>
                    </a:lnTo>
                    <a:lnTo>
                      <a:pt x="317" y="1115"/>
                    </a:lnTo>
                    <a:lnTo>
                      <a:pt x="315" y="1115"/>
                    </a:lnTo>
                    <a:lnTo>
                      <a:pt x="315" y="1117"/>
                    </a:lnTo>
                    <a:lnTo>
                      <a:pt x="313" y="1119"/>
                    </a:lnTo>
                    <a:lnTo>
                      <a:pt x="311" y="1121"/>
                    </a:lnTo>
                    <a:lnTo>
                      <a:pt x="311" y="1123"/>
                    </a:lnTo>
                    <a:lnTo>
                      <a:pt x="311" y="1125"/>
                    </a:lnTo>
                    <a:lnTo>
                      <a:pt x="309" y="1125"/>
                    </a:lnTo>
                    <a:lnTo>
                      <a:pt x="309" y="1127"/>
                    </a:lnTo>
                    <a:lnTo>
                      <a:pt x="311" y="1127"/>
                    </a:lnTo>
                    <a:lnTo>
                      <a:pt x="311" y="1129"/>
                    </a:lnTo>
                    <a:lnTo>
                      <a:pt x="309" y="1129"/>
                    </a:lnTo>
                    <a:lnTo>
                      <a:pt x="309" y="1131"/>
                    </a:lnTo>
                    <a:lnTo>
                      <a:pt x="309" y="1133"/>
                    </a:lnTo>
                    <a:lnTo>
                      <a:pt x="307" y="1131"/>
                    </a:lnTo>
                    <a:lnTo>
                      <a:pt x="305" y="1133"/>
                    </a:lnTo>
                    <a:lnTo>
                      <a:pt x="305" y="1135"/>
                    </a:lnTo>
                    <a:lnTo>
                      <a:pt x="305" y="1137"/>
                    </a:lnTo>
                    <a:lnTo>
                      <a:pt x="303" y="1137"/>
                    </a:lnTo>
                    <a:lnTo>
                      <a:pt x="303" y="1139"/>
                    </a:lnTo>
                    <a:lnTo>
                      <a:pt x="303" y="1137"/>
                    </a:lnTo>
                    <a:lnTo>
                      <a:pt x="301" y="1137"/>
                    </a:lnTo>
                    <a:lnTo>
                      <a:pt x="301" y="1139"/>
                    </a:lnTo>
                    <a:lnTo>
                      <a:pt x="301" y="1140"/>
                    </a:lnTo>
                    <a:lnTo>
                      <a:pt x="299" y="1140"/>
                    </a:lnTo>
                    <a:lnTo>
                      <a:pt x="299" y="1142"/>
                    </a:lnTo>
                    <a:lnTo>
                      <a:pt x="297" y="1142"/>
                    </a:lnTo>
                    <a:lnTo>
                      <a:pt x="296" y="1142"/>
                    </a:lnTo>
                    <a:lnTo>
                      <a:pt x="296" y="1144"/>
                    </a:lnTo>
                    <a:lnTo>
                      <a:pt x="294" y="1144"/>
                    </a:lnTo>
                    <a:lnTo>
                      <a:pt x="294" y="1146"/>
                    </a:lnTo>
                    <a:lnTo>
                      <a:pt x="296" y="1146"/>
                    </a:lnTo>
                    <a:lnTo>
                      <a:pt x="296" y="1148"/>
                    </a:lnTo>
                    <a:lnTo>
                      <a:pt x="296" y="1150"/>
                    </a:lnTo>
                    <a:lnTo>
                      <a:pt x="296" y="1152"/>
                    </a:lnTo>
                    <a:lnTo>
                      <a:pt x="294" y="1152"/>
                    </a:lnTo>
                    <a:lnTo>
                      <a:pt x="294" y="1154"/>
                    </a:lnTo>
                    <a:lnTo>
                      <a:pt x="294" y="1156"/>
                    </a:lnTo>
                    <a:lnTo>
                      <a:pt x="292" y="1156"/>
                    </a:lnTo>
                    <a:lnTo>
                      <a:pt x="292" y="1158"/>
                    </a:lnTo>
                    <a:lnTo>
                      <a:pt x="292" y="1160"/>
                    </a:lnTo>
                    <a:lnTo>
                      <a:pt x="292" y="1162"/>
                    </a:lnTo>
                    <a:lnTo>
                      <a:pt x="294" y="1162"/>
                    </a:lnTo>
                    <a:lnTo>
                      <a:pt x="296" y="1162"/>
                    </a:lnTo>
                    <a:lnTo>
                      <a:pt x="294" y="1164"/>
                    </a:lnTo>
                    <a:lnTo>
                      <a:pt x="294" y="1165"/>
                    </a:lnTo>
                    <a:lnTo>
                      <a:pt x="294" y="1167"/>
                    </a:lnTo>
                    <a:lnTo>
                      <a:pt x="294" y="1169"/>
                    </a:lnTo>
                    <a:lnTo>
                      <a:pt x="292" y="1169"/>
                    </a:lnTo>
                    <a:lnTo>
                      <a:pt x="292" y="1171"/>
                    </a:lnTo>
                    <a:lnTo>
                      <a:pt x="290" y="1171"/>
                    </a:lnTo>
                    <a:lnTo>
                      <a:pt x="292" y="1173"/>
                    </a:lnTo>
                    <a:lnTo>
                      <a:pt x="292" y="1175"/>
                    </a:lnTo>
                    <a:lnTo>
                      <a:pt x="290" y="1175"/>
                    </a:lnTo>
                    <a:lnTo>
                      <a:pt x="288" y="1175"/>
                    </a:lnTo>
                    <a:lnTo>
                      <a:pt x="286" y="1175"/>
                    </a:lnTo>
                    <a:lnTo>
                      <a:pt x="286" y="1177"/>
                    </a:lnTo>
                    <a:lnTo>
                      <a:pt x="284" y="1177"/>
                    </a:lnTo>
                    <a:lnTo>
                      <a:pt x="282" y="1179"/>
                    </a:lnTo>
                    <a:lnTo>
                      <a:pt x="280" y="1179"/>
                    </a:lnTo>
                    <a:lnTo>
                      <a:pt x="280" y="1177"/>
                    </a:lnTo>
                    <a:lnTo>
                      <a:pt x="280" y="1179"/>
                    </a:lnTo>
                    <a:lnTo>
                      <a:pt x="278" y="1179"/>
                    </a:lnTo>
                    <a:lnTo>
                      <a:pt x="278" y="1181"/>
                    </a:lnTo>
                    <a:lnTo>
                      <a:pt x="276" y="1181"/>
                    </a:lnTo>
                    <a:lnTo>
                      <a:pt x="274" y="1183"/>
                    </a:lnTo>
                    <a:lnTo>
                      <a:pt x="274" y="1185"/>
                    </a:lnTo>
                    <a:lnTo>
                      <a:pt x="274" y="1187"/>
                    </a:lnTo>
                    <a:lnTo>
                      <a:pt x="273" y="1187"/>
                    </a:lnTo>
                    <a:lnTo>
                      <a:pt x="271" y="1187"/>
                    </a:lnTo>
                    <a:lnTo>
                      <a:pt x="271" y="1185"/>
                    </a:lnTo>
                    <a:lnTo>
                      <a:pt x="271" y="1183"/>
                    </a:lnTo>
                    <a:lnTo>
                      <a:pt x="271" y="1185"/>
                    </a:lnTo>
                    <a:lnTo>
                      <a:pt x="269" y="1185"/>
                    </a:lnTo>
                    <a:lnTo>
                      <a:pt x="269" y="1187"/>
                    </a:lnTo>
                    <a:lnTo>
                      <a:pt x="269" y="1189"/>
                    </a:lnTo>
                    <a:lnTo>
                      <a:pt x="271" y="1189"/>
                    </a:lnTo>
                    <a:lnTo>
                      <a:pt x="271" y="1190"/>
                    </a:lnTo>
                    <a:lnTo>
                      <a:pt x="273" y="1190"/>
                    </a:lnTo>
                    <a:lnTo>
                      <a:pt x="273" y="1192"/>
                    </a:lnTo>
                    <a:lnTo>
                      <a:pt x="273" y="1194"/>
                    </a:lnTo>
                    <a:lnTo>
                      <a:pt x="271" y="1194"/>
                    </a:lnTo>
                    <a:lnTo>
                      <a:pt x="271" y="1196"/>
                    </a:lnTo>
                    <a:lnTo>
                      <a:pt x="271" y="1198"/>
                    </a:lnTo>
                    <a:lnTo>
                      <a:pt x="269" y="1198"/>
                    </a:lnTo>
                    <a:lnTo>
                      <a:pt x="267" y="1194"/>
                    </a:lnTo>
                    <a:lnTo>
                      <a:pt x="267" y="1192"/>
                    </a:lnTo>
                    <a:lnTo>
                      <a:pt x="267" y="1190"/>
                    </a:lnTo>
                    <a:lnTo>
                      <a:pt x="267" y="1189"/>
                    </a:lnTo>
                    <a:lnTo>
                      <a:pt x="267" y="1187"/>
                    </a:lnTo>
                    <a:lnTo>
                      <a:pt x="267" y="1185"/>
                    </a:lnTo>
                    <a:lnTo>
                      <a:pt x="265" y="1183"/>
                    </a:lnTo>
                    <a:lnTo>
                      <a:pt x="265" y="1181"/>
                    </a:lnTo>
                    <a:lnTo>
                      <a:pt x="265" y="1179"/>
                    </a:lnTo>
                    <a:lnTo>
                      <a:pt x="265" y="1175"/>
                    </a:lnTo>
                    <a:lnTo>
                      <a:pt x="267" y="1173"/>
                    </a:lnTo>
                    <a:lnTo>
                      <a:pt x="269" y="1173"/>
                    </a:lnTo>
                    <a:lnTo>
                      <a:pt x="269" y="1171"/>
                    </a:lnTo>
                    <a:lnTo>
                      <a:pt x="269" y="1169"/>
                    </a:lnTo>
                    <a:lnTo>
                      <a:pt x="267" y="1169"/>
                    </a:lnTo>
                    <a:lnTo>
                      <a:pt x="267" y="1167"/>
                    </a:lnTo>
                    <a:lnTo>
                      <a:pt x="265" y="1167"/>
                    </a:lnTo>
                    <a:lnTo>
                      <a:pt x="263" y="1169"/>
                    </a:lnTo>
                    <a:lnTo>
                      <a:pt x="261" y="1169"/>
                    </a:lnTo>
                    <a:lnTo>
                      <a:pt x="261" y="1171"/>
                    </a:lnTo>
                    <a:lnTo>
                      <a:pt x="259" y="1171"/>
                    </a:lnTo>
                    <a:lnTo>
                      <a:pt x="257" y="1171"/>
                    </a:lnTo>
                    <a:lnTo>
                      <a:pt x="259" y="1169"/>
                    </a:lnTo>
                    <a:lnTo>
                      <a:pt x="257" y="1167"/>
                    </a:lnTo>
                    <a:lnTo>
                      <a:pt x="259" y="1165"/>
                    </a:lnTo>
                    <a:lnTo>
                      <a:pt x="259" y="1164"/>
                    </a:lnTo>
                    <a:lnTo>
                      <a:pt x="259" y="1162"/>
                    </a:lnTo>
                    <a:lnTo>
                      <a:pt x="257" y="1162"/>
                    </a:lnTo>
                    <a:lnTo>
                      <a:pt x="257" y="1160"/>
                    </a:lnTo>
                    <a:lnTo>
                      <a:pt x="255" y="1158"/>
                    </a:lnTo>
                    <a:lnTo>
                      <a:pt x="257" y="1158"/>
                    </a:lnTo>
                    <a:lnTo>
                      <a:pt x="255" y="1158"/>
                    </a:lnTo>
                    <a:lnTo>
                      <a:pt x="253" y="1158"/>
                    </a:lnTo>
                    <a:lnTo>
                      <a:pt x="253" y="1160"/>
                    </a:lnTo>
                    <a:lnTo>
                      <a:pt x="253" y="1162"/>
                    </a:lnTo>
                    <a:lnTo>
                      <a:pt x="251" y="1164"/>
                    </a:lnTo>
                    <a:lnTo>
                      <a:pt x="251" y="1165"/>
                    </a:lnTo>
                    <a:lnTo>
                      <a:pt x="249" y="1167"/>
                    </a:lnTo>
                    <a:lnTo>
                      <a:pt x="249" y="1169"/>
                    </a:lnTo>
                    <a:lnTo>
                      <a:pt x="248" y="1171"/>
                    </a:lnTo>
                    <a:lnTo>
                      <a:pt x="249" y="1173"/>
                    </a:lnTo>
                    <a:lnTo>
                      <a:pt x="249" y="1175"/>
                    </a:lnTo>
                    <a:lnTo>
                      <a:pt x="248" y="1175"/>
                    </a:lnTo>
                    <a:lnTo>
                      <a:pt x="248" y="1173"/>
                    </a:lnTo>
                    <a:lnTo>
                      <a:pt x="246" y="1173"/>
                    </a:lnTo>
                    <a:lnTo>
                      <a:pt x="246" y="1175"/>
                    </a:lnTo>
                    <a:lnTo>
                      <a:pt x="244" y="1175"/>
                    </a:lnTo>
                    <a:lnTo>
                      <a:pt x="240" y="1181"/>
                    </a:lnTo>
                    <a:lnTo>
                      <a:pt x="238" y="1181"/>
                    </a:lnTo>
                    <a:lnTo>
                      <a:pt x="236" y="1179"/>
                    </a:lnTo>
                    <a:lnTo>
                      <a:pt x="236" y="1177"/>
                    </a:lnTo>
                    <a:lnTo>
                      <a:pt x="234" y="1177"/>
                    </a:lnTo>
                    <a:lnTo>
                      <a:pt x="232" y="1177"/>
                    </a:lnTo>
                    <a:lnTo>
                      <a:pt x="228" y="1179"/>
                    </a:lnTo>
                    <a:lnTo>
                      <a:pt x="228" y="1181"/>
                    </a:lnTo>
                    <a:lnTo>
                      <a:pt x="228" y="1183"/>
                    </a:lnTo>
                    <a:lnTo>
                      <a:pt x="228" y="1185"/>
                    </a:lnTo>
                    <a:lnTo>
                      <a:pt x="226" y="1185"/>
                    </a:lnTo>
                    <a:lnTo>
                      <a:pt x="224" y="1183"/>
                    </a:lnTo>
                    <a:lnTo>
                      <a:pt x="223" y="1181"/>
                    </a:lnTo>
                    <a:lnTo>
                      <a:pt x="223" y="1183"/>
                    </a:lnTo>
                    <a:lnTo>
                      <a:pt x="221" y="1185"/>
                    </a:lnTo>
                    <a:lnTo>
                      <a:pt x="221" y="1183"/>
                    </a:lnTo>
                    <a:lnTo>
                      <a:pt x="219" y="1183"/>
                    </a:lnTo>
                    <a:lnTo>
                      <a:pt x="217" y="1183"/>
                    </a:lnTo>
                    <a:lnTo>
                      <a:pt x="217" y="1181"/>
                    </a:lnTo>
                    <a:lnTo>
                      <a:pt x="215" y="1181"/>
                    </a:lnTo>
                    <a:lnTo>
                      <a:pt x="211" y="1181"/>
                    </a:lnTo>
                    <a:lnTo>
                      <a:pt x="209" y="1185"/>
                    </a:lnTo>
                    <a:lnTo>
                      <a:pt x="209" y="1187"/>
                    </a:lnTo>
                    <a:lnTo>
                      <a:pt x="209" y="1189"/>
                    </a:lnTo>
                    <a:lnTo>
                      <a:pt x="209" y="1190"/>
                    </a:lnTo>
                    <a:lnTo>
                      <a:pt x="209" y="1192"/>
                    </a:lnTo>
                    <a:lnTo>
                      <a:pt x="207" y="1192"/>
                    </a:lnTo>
                    <a:lnTo>
                      <a:pt x="207" y="1194"/>
                    </a:lnTo>
                    <a:lnTo>
                      <a:pt x="209" y="1196"/>
                    </a:lnTo>
                    <a:lnTo>
                      <a:pt x="207" y="1196"/>
                    </a:lnTo>
                    <a:lnTo>
                      <a:pt x="207" y="1198"/>
                    </a:lnTo>
                    <a:lnTo>
                      <a:pt x="205" y="1198"/>
                    </a:lnTo>
                    <a:lnTo>
                      <a:pt x="203" y="1200"/>
                    </a:lnTo>
                    <a:lnTo>
                      <a:pt x="201" y="1200"/>
                    </a:lnTo>
                    <a:lnTo>
                      <a:pt x="201" y="1202"/>
                    </a:lnTo>
                    <a:lnTo>
                      <a:pt x="200" y="1202"/>
                    </a:lnTo>
                    <a:lnTo>
                      <a:pt x="198" y="1204"/>
                    </a:lnTo>
                    <a:lnTo>
                      <a:pt x="196" y="1204"/>
                    </a:lnTo>
                    <a:lnTo>
                      <a:pt x="196" y="1202"/>
                    </a:lnTo>
                    <a:lnTo>
                      <a:pt x="194" y="1202"/>
                    </a:lnTo>
                    <a:lnTo>
                      <a:pt x="194" y="1204"/>
                    </a:lnTo>
                    <a:lnTo>
                      <a:pt x="192" y="1202"/>
                    </a:lnTo>
                    <a:lnTo>
                      <a:pt x="190" y="1202"/>
                    </a:lnTo>
                    <a:lnTo>
                      <a:pt x="188" y="1204"/>
                    </a:lnTo>
                    <a:lnTo>
                      <a:pt x="186" y="1204"/>
                    </a:lnTo>
                    <a:lnTo>
                      <a:pt x="186" y="1202"/>
                    </a:lnTo>
                    <a:lnTo>
                      <a:pt x="184" y="1202"/>
                    </a:lnTo>
                    <a:lnTo>
                      <a:pt x="184" y="1200"/>
                    </a:lnTo>
                    <a:lnTo>
                      <a:pt x="184" y="1198"/>
                    </a:lnTo>
                    <a:lnTo>
                      <a:pt x="182" y="1198"/>
                    </a:lnTo>
                    <a:lnTo>
                      <a:pt x="180" y="1200"/>
                    </a:lnTo>
                    <a:lnTo>
                      <a:pt x="180" y="1198"/>
                    </a:lnTo>
                    <a:lnTo>
                      <a:pt x="180" y="1196"/>
                    </a:lnTo>
                    <a:lnTo>
                      <a:pt x="180" y="1194"/>
                    </a:lnTo>
                    <a:lnTo>
                      <a:pt x="178" y="1194"/>
                    </a:lnTo>
                    <a:lnTo>
                      <a:pt x="178" y="1192"/>
                    </a:lnTo>
                    <a:lnTo>
                      <a:pt x="176" y="1192"/>
                    </a:lnTo>
                    <a:lnTo>
                      <a:pt x="176" y="1189"/>
                    </a:lnTo>
                    <a:lnTo>
                      <a:pt x="175" y="1189"/>
                    </a:lnTo>
                    <a:lnTo>
                      <a:pt x="175" y="1187"/>
                    </a:lnTo>
                    <a:lnTo>
                      <a:pt x="175" y="1185"/>
                    </a:lnTo>
                    <a:lnTo>
                      <a:pt x="173" y="1185"/>
                    </a:lnTo>
                    <a:lnTo>
                      <a:pt x="171" y="1187"/>
                    </a:lnTo>
                    <a:lnTo>
                      <a:pt x="171" y="1185"/>
                    </a:lnTo>
                    <a:lnTo>
                      <a:pt x="169" y="1185"/>
                    </a:lnTo>
                    <a:lnTo>
                      <a:pt x="167" y="1185"/>
                    </a:lnTo>
                    <a:lnTo>
                      <a:pt x="167" y="1183"/>
                    </a:lnTo>
                    <a:lnTo>
                      <a:pt x="165" y="1181"/>
                    </a:lnTo>
                    <a:lnTo>
                      <a:pt x="167" y="1181"/>
                    </a:lnTo>
                    <a:lnTo>
                      <a:pt x="169" y="1179"/>
                    </a:lnTo>
                    <a:lnTo>
                      <a:pt x="169" y="1177"/>
                    </a:lnTo>
                    <a:lnTo>
                      <a:pt x="167" y="1177"/>
                    </a:lnTo>
                    <a:lnTo>
                      <a:pt x="165" y="1177"/>
                    </a:lnTo>
                    <a:lnTo>
                      <a:pt x="165" y="1175"/>
                    </a:lnTo>
                    <a:lnTo>
                      <a:pt x="167" y="1175"/>
                    </a:lnTo>
                    <a:lnTo>
                      <a:pt x="167" y="1173"/>
                    </a:lnTo>
                    <a:lnTo>
                      <a:pt x="167" y="1171"/>
                    </a:lnTo>
                    <a:lnTo>
                      <a:pt x="169" y="1169"/>
                    </a:lnTo>
                    <a:lnTo>
                      <a:pt x="169" y="1167"/>
                    </a:lnTo>
                    <a:lnTo>
                      <a:pt x="169" y="1165"/>
                    </a:lnTo>
                    <a:lnTo>
                      <a:pt x="171" y="1164"/>
                    </a:lnTo>
                    <a:lnTo>
                      <a:pt x="173" y="1162"/>
                    </a:lnTo>
                    <a:lnTo>
                      <a:pt x="173" y="1160"/>
                    </a:lnTo>
                    <a:lnTo>
                      <a:pt x="171" y="1160"/>
                    </a:lnTo>
                    <a:lnTo>
                      <a:pt x="169" y="1158"/>
                    </a:lnTo>
                    <a:lnTo>
                      <a:pt x="169" y="1156"/>
                    </a:lnTo>
                    <a:lnTo>
                      <a:pt x="169" y="1154"/>
                    </a:lnTo>
                    <a:lnTo>
                      <a:pt x="171" y="1152"/>
                    </a:lnTo>
                    <a:lnTo>
                      <a:pt x="171" y="1150"/>
                    </a:lnTo>
                    <a:lnTo>
                      <a:pt x="173" y="1148"/>
                    </a:lnTo>
                    <a:lnTo>
                      <a:pt x="175" y="1146"/>
                    </a:lnTo>
                    <a:lnTo>
                      <a:pt x="173" y="1146"/>
                    </a:lnTo>
                    <a:lnTo>
                      <a:pt x="173" y="1144"/>
                    </a:lnTo>
                    <a:lnTo>
                      <a:pt x="173" y="1142"/>
                    </a:lnTo>
                    <a:lnTo>
                      <a:pt x="173" y="1140"/>
                    </a:lnTo>
                    <a:lnTo>
                      <a:pt x="173" y="1139"/>
                    </a:lnTo>
                    <a:lnTo>
                      <a:pt x="175" y="1139"/>
                    </a:lnTo>
                    <a:lnTo>
                      <a:pt x="175" y="1137"/>
                    </a:lnTo>
                    <a:lnTo>
                      <a:pt x="175" y="1135"/>
                    </a:lnTo>
                    <a:lnTo>
                      <a:pt x="173" y="1135"/>
                    </a:lnTo>
                    <a:lnTo>
                      <a:pt x="173" y="1133"/>
                    </a:lnTo>
                    <a:lnTo>
                      <a:pt x="173" y="1131"/>
                    </a:lnTo>
                    <a:lnTo>
                      <a:pt x="173" y="1129"/>
                    </a:lnTo>
                    <a:lnTo>
                      <a:pt x="173" y="1127"/>
                    </a:lnTo>
                    <a:lnTo>
                      <a:pt x="173" y="1125"/>
                    </a:lnTo>
                    <a:lnTo>
                      <a:pt x="173" y="1123"/>
                    </a:lnTo>
                    <a:lnTo>
                      <a:pt x="173" y="1121"/>
                    </a:lnTo>
                    <a:lnTo>
                      <a:pt x="175" y="1121"/>
                    </a:lnTo>
                    <a:lnTo>
                      <a:pt x="175" y="1119"/>
                    </a:lnTo>
                    <a:lnTo>
                      <a:pt x="175" y="1117"/>
                    </a:lnTo>
                    <a:lnTo>
                      <a:pt x="173" y="1117"/>
                    </a:lnTo>
                    <a:lnTo>
                      <a:pt x="173" y="1115"/>
                    </a:lnTo>
                    <a:lnTo>
                      <a:pt x="175" y="1115"/>
                    </a:lnTo>
                    <a:lnTo>
                      <a:pt x="175" y="1114"/>
                    </a:lnTo>
                    <a:lnTo>
                      <a:pt x="176" y="1112"/>
                    </a:lnTo>
                    <a:lnTo>
                      <a:pt x="176" y="1110"/>
                    </a:lnTo>
                    <a:lnTo>
                      <a:pt x="176" y="1108"/>
                    </a:lnTo>
                    <a:lnTo>
                      <a:pt x="176" y="1106"/>
                    </a:lnTo>
                    <a:lnTo>
                      <a:pt x="176" y="1104"/>
                    </a:lnTo>
                    <a:lnTo>
                      <a:pt x="178" y="1102"/>
                    </a:lnTo>
                    <a:lnTo>
                      <a:pt x="178" y="1100"/>
                    </a:lnTo>
                    <a:lnTo>
                      <a:pt x="178" y="1098"/>
                    </a:lnTo>
                    <a:lnTo>
                      <a:pt x="180" y="1098"/>
                    </a:lnTo>
                    <a:lnTo>
                      <a:pt x="180" y="1096"/>
                    </a:lnTo>
                    <a:lnTo>
                      <a:pt x="180" y="1094"/>
                    </a:lnTo>
                    <a:lnTo>
                      <a:pt x="178" y="1094"/>
                    </a:lnTo>
                    <a:lnTo>
                      <a:pt x="178" y="1092"/>
                    </a:lnTo>
                    <a:lnTo>
                      <a:pt x="178" y="1090"/>
                    </a:lnTo>
                    <a:lnTo>
                      <a:pt x="180" y="1090"/>
                    </a:lnTo>
                    <a:lnTo>
                      <a:pt x="182" y="1090"/>
                    </a:lnTo>
                    <a:lnTo>
                      <a:pt x="184" y="1090"/>
                    </a:lnTo>
                    <a:lnTo>
                      <a:pt x="184" y="1089"/>
                    </a:lnTo>
                    <a:lnTo>
                      <a:pt x="184" y="1087"/>
                    </a:lnTo>
                    <a:lnTo>
                      <a:pt x="182" y="1085"/>
                    </a:lnTo>
                    <a:lnTo>
                      <a:pt x="182" y="1083"/>
                    </a:lnTo>
                    <a:lnTo>
                      <a:pt x="182" y="1081"/>
                    </a:lnTo>
                    <a:lnTo>
                      <a:pt x="182" y="1079"/>
                    </a:lnTo>
                    <a:lnTo>
                      <a:pt x="182" y="1077"/>
                    </a:lnTo>
                    <a:lnTo>
                      <a:pt x="184" y="1075"/>
                    </a:lnTo>
                    <a:lnTo>
                      <a:pt x="184" y="1073"/>
                    </a:lnTo>
                    <a:lnTo>
                      <a:pt x="184" y="1071"/>
                    </a:lnTo>
                    <a:lnTo>
                      <a:pt x="186" y="1071"/>
                    </a:lnTo>
                    <a:lnTo>
                      <a:pt x="186" y="1069"/>
                    </a:lnTo>
                    <a:lnTo>
                      <a:pt x="186" y="1067"/>
                    </a:lnTo>
                    <a:lnTo>
                      <a:pt x="186" y="1065"/>
                    </a:lnTo>
                    <a:lnTo>
                      <a:pt x="186" y="1064"/>
                    </a:lnTo>
                    <a:lnTo>
                      <a:pt x="188" y="1064"/>
                    </a:lnTo>
                    <a:lnTo>
                      <a:pt x="188" y="1062"/>
                    </a:lnTo>
                    <a:lnTo>
                      <a:pt x="186" y="1060"/>
                    </a:lnTo>
                    <a:lnTo>
                      <a:pt x="186" y="1058"/>
                    </a:lnTo>
                    <a:lnTo>
                      <a:pt x="184" y="1058"/>
                    </a:lnTo>
                    <a:lnTo>
                      <a:pt x="182" y="1056"/>
                    </a:lnTo>
                    <a:lnTo>
                      <a:pt x="182" y="1058"/>
                    </a:lnTo>
                    <a:lnTo>
                      <a:pt x="180" y="1058"/>
                    </a:lnTo>
                    <a:lnTo>
                      <a:pt x="180" y="1060"/>
                    </a:lnTo>
                    <a:lnTo>
                      <a:pt x="178" y="1060"/>
                    </a:lnTo>
                    <a:lnTo>
                      <a:pt x="176" y="1060"/>
                    </a:lnTo>
                    <a:lnTo>
                      <a:pt x="176" y="1058"/>
                    </a:lnTo>
                    <a:lnTo>
                      <a:pt x="175" y="1058"/>
                    </a:lnTo>
                    <a:lnTo>
                      <a:pt x="175" y="1056"/>
                    </a:lnTo>
                    <a:lnTo>
                      <a:pt x="173" y="1054"/>
                    </a:lnTo>
                    <a:lnTo>
                      <a:pt x="173" y="1052"/>
                    </a:lnTo>
                    <a:lnTo>
                      <a:pt x="171" y="1052"/>
                    </a:lnTo>
                    <a:lnTo>
                      <a:pt x="169" y="1052"/>
                    </a:lnTo>
                    <a:lnTo>
                      <a:pt x="167" y="1052"/>
                    </a:lnTo>
                    <a:lnTo>
                      <a:pt x="165" y="1052"/>
                    </a:lnTo>
                    <a:lnTo>
                      <a:pt x="163" y="1052"/>
                    </a:lnTo>
                    <a:lnTo>
                      <a:pt x="163" y="1050"/>
                    </a:lnTo>
                    <a:lnTo>
                      <a:pt x="163" y="1048"/>
                    </a:lnTo>
                    <a:lnTo>
                      <a:pt x="163" y="1046"/>
                    </a:lnTo>
                    <a:lnTo>
                      <a:pt x="163" y="1044"/>
                    </a:lnTo>
                    <a:lnTo>
                      <a:pt x="163" y="1042"/>
                    </a:lnTo>
                    <a:lnTo>
                      <a:pt x="163" y="1040"/>
                    </a:lnTo>
                    <a:lnTo>
                      <a:pt x="163" y="1039"/>
                    </a:lnTo>
                    <a:lnTo>
                      <a:pt x="163" y="1037"/>
                    </a:lnTo>
                    <a:lnTo>
                      <a:pt x="163" y="1035"/>
                    </a:lnTo>
                    <a:lnTo>
                      <a:pt x="161" y="1033"/>
                    </a:lnTo>
                    <a:lnTo>
                      <a:pt x="161" y="1031"/>
                    </a:lnTo>
                    <a:lnTo>
                      <a:pt x="159" y="1031"/>
                    </a:lnTo>
                    <a:lnTo>
                      <a:pt x="157" y="1031"/>
                    </a:lnTo>
                    <a:lnTo>
                      <a:pt x="157" y="1029"/>
                    </a:lnTo>
                    <a:lnTo>
                      <a:pt x="157" y="1027"/>
                    </a:lnTo>
                    <a:lnTo>
                      <a:pt x="155" y="1027"/>
                    </a:lnTo>
                    <a:lnTo>
                      <a:pt x="155" y="1025"/>
                    </a:lnTo>
                    <a:lnTo>
                      <a:pt x="153" y="1025"/>
                    </a:lnTo>
                    <a:lnTo>
                      <a:pt x="153" y="1023"/>
                    </a:lnTo>
                    <a:lnTo>
                      <a:pt x="153" y="1021"/>
                    </a:lnTo>
                    <a:lnTo>
                      <a:pt x="151" y="1021"/>
                    </a:lnTo>
                    <a:lnTo>
                      <a:pt x="153" y="1021"/>
                    </a:lnTo>
                    <a:lnTo>
                      <a:pt x="151" y="1019"/>
                    </a:lnTo>
                    <a:lnTo>
                      <a:pt x="151" y="1017"/>
                    </a:lnTo>
                    <a:lnTo>
                      <a:pt x="153" y="1017"/>
                    </a:lnTo>
                    <a:lnTo>
                      <a:pt x="151" y="1017"/>
                    </a:lnTo>
                    <a:lnTo>
                      <a:pt x="151" y="1015"/>
                    </a:lnTo>
                    <a:lnTo>
                      <a:pt x="151" y="1014"/>
                    </a:lnTo>
                    <a:lnTo>
                      <a:pt x="153" y="1014"/>
                    </a:lnTo>
                    <a:lnTo>
                      <a:pt x="153" y="1012"/>
                    </a:lnTo>
                    <a:lnTo>
                      <a:pt x="153" y="1010"/>
                    </a:lnTo>
                    <a:lnTo>
                      <a:pt x="155" y="1010"/>
                    </a:lnTo>
                    <a:lnTo>
                      <a:pt x="155" y="1008"/>
                    </a:lnTo>
                    <a:lnTo>
                      <a:pt x="155" y="1006"/>
                    </a:lnTo>
                    <a:lnTo>
                      <a:pt x="157" y="1006"/>
                    </a:lnTo>
                    <a:lnTo>
                      <a:pt x="157" y="1004"/>
                    </a:lnTo>
                    <a:lnTo>
                      <a:pt x="159" y="1002"/>
                    </a:lnTo>
                    <a:lnTo>
                      <a:pt x="159" y="1000"/>
                    </a:lnTo>
                    <a:lnTo>
                      <a:pt x="157" y="1000"/>
                    </a:lnTo>
                    <a:lnTo>
                      <a:pt x="159" y="998"/>
                    </a:lnTo>
                    <a:lnTo>
                      <a:pt x="159" y="996"/>
                    </a:lnTo>
                    <a:lnTo>
                      <a:pt x="161" y="996"/>
                    </a:lnTo>
                    <a:lnTo>
                      <a:pt x="161" y="994"/>
                    </a:lnTo>
                    <a:lnTo>
                      <a:pt x="159" y="992"/>
                    </a:lnTo>
                    <a:lnTo>
                      <a:pt x="159" y="990"/>
                    </a:lnTo>
                    <a:lnTo>
                      <a:pt x="157" y="990"/>
                    </a:lnTo>
                    <a:lnTo>
                      <a:pt x="157" y="989"/>
                    </a:lnTo>
                    <a:lnTo>
                      <a:pt x="159" y="989"/>
                    </a:lnTo>
                    <a:lnTo>
                      <a:pt x="159" y="987"/>
                    </a:lnTo>
                    <a:lnTo>
                      <a:pt x="159" y="985"/>
                    </a:lnTo>
                    <a:lnTo>
                      <a:pt x="157" y="985"/>
                    </a:lnTo>
                    <a:lnTo>
                      <a:pt x="157" y="983"/>
                    </a:lnTo>
                    <a:lnTo>
                      <a:pt x="155" y="983"/>
                    </a:lnTo>
                    <a:lnTo>
                      <a:pt x="155" y="981"/>
                    </a:lnTo>
                    <a:lnTo>
                      <a:pt x="157" y="979"/>
                    </a:lnTo>
                    <a:lnTo>
                      <a:pt x="155" y="979"/>
                    </a:lnTo>
                    <a:lnTo>
                      <a:pt x="153" y="979"/>
                    </a:lnTo>
                    <a:lnTo>
                      <a:pt x="151" y="979"/>
                    </a:lnTo>
                    <a:lnTo>
                      <a:pt x="150" y="981"/>
                    </a:lnTo>
                    <a:lnTo>
                      <a:pt x="148" y="979"/>
                    </a:lnTo>
                    <a:lnTo>
                      <a:pt x="146" y="979"/>
                    </a:lnTo>
                    <a:lnTo>
                      <a:pt x="144" y="981"/>
                    </a:lnTo>
                    <a:lnTo>
                      <a:pt x="142" y="979"/>
                    </a:lnTo>
                    <a:lnTo>
                      <a:pt x="140" y="979"/>
                    </a:lnTo>
                    <a:lnTo>
                      <a:pt x="138" y="977"/>
                    </a:lnTo>
                    <a:lnTo>
                      <a:pt x="136" y="975"/>
                    </a:lnTo>
                    <a:lnTo>
                      <a:pt x="136" y="973"/>
                    </a:lnTo>
                    <a:lnTo>
                      <a:pt x="136" y="971"/>
                    </a:lnTo>
                    <a:lnTo>
                      <a:pt x="138" y="969"/>
                    </a:lnTo>
                    <a:lnTo>
                      <a:pt x="140" y="969"/>
                    </a:lnTo>
                    <a:lnTo>
                      <a:pt x="138" y="969"/>
                    </a:lnTo>
                    <a:lnTo>
                      <a:pt x="138" y="967"/>
                    </a:lnTo>
                    <a:lnTo>
                      <a:pt x="138" y="966"/>
                    </a:lnTo>
                    <a:lnTo>
                      <a:pt x="140" y="966"/>
                    </a:lnTo>
                    <a:lnTo>
                      <a:pt x="140" y="964"/>
                    </a:lnTo>
                    <a:lnTo>
                      <a:pt x="142" y="964"/>
                    </a:lnTo>
                    <a:lnTo>
                      <a:pt x="140" y="964"/>
                    </a:lnTo>
                    <a:lnTo>
                      <a:pt x="140" y="962"/>
                    </a:lnTo>
                    <a:lnTo>
                      <a:pt x="140" y="960"/>
                    </a:lnTo>
                    <a:lnTo>
                      <a:pt x="140" y="958"/>
                    </a:lnTo>
                    <a:lnTo>
                      <a:pt x="142" y="958"/>
                    </a:lnTo>
                    <a:lnTo>
                      <a:pt x="140" y="958"/>
                    </a:lnTo>
                    <a:lnTo>
                      <a:pt x="142" y="958"/>
                    </a:lnTo>
                    <a:lnTo>
                      <a:pt x="142" y="956"/>
                    </a:lnTo>
                    <a:lnTo>
                      <a:pt x="144" y="956"/>
                    </a:lnTo>
                    <a:lnTo>
                      <a:pt x="144" y="954"/>
                    </a:lnTo>
                    <a:lnTo>
                      <a:pt x="146" y="954"/>
                    </a:lnTo>
                    <a:lnTo>
                      <a:pt x="144" y="954"/>
                    </a:lnTo>
                    <a:lnTo>
                      <a:pt x="144" y="952"/>
                    </a:lnTo>
                    <a:lnTo>
                      <a:pt x="146" y="952"/>
                    </a:lnTo>
                    <a:lnTo>
                      <a:pt x="144" y="952"/>
                    </a:lnTo>
                    <a:lnTo>
                      <a:pt x="144" y="950"/>
                    </a:lnTo>
                    <a:lnTo>
                      <a:pt x="142" y="950"/>
                    </a:lnTo>
                    <a:lnTo>
                      <a:pt x="142" y="948"/>
                    </a:lnTo>
                    <a:lnTo>
                      <a:pt x="142" y="950"/>
                    </a:lnTo>
                    <a:lnTo>
                      <a:pt x="140" y="950"/>
                    </a:lnTo>
                    <a:lnTo>
                      <a:pt x="140" y="948"/>
                    </a:lnTo>
                    <a:lnTo>
                      <a:pt x="138" y="946"/>
                    </a:lnTo>
                    <a:lnTo>
                      <a:pt x="140" y="946"/>
                    </a:lnTo>
                    <a:lnTo>
                      <a:pt x="138" y="946"/>
                    </a:lnTo>
                    <a:lnTo>
                      <a:pt x="138" y="944"/>
                    </a:lnTo>
                    <a:lnTo>
                      <a:pt x="140" y="944"/>
                    </a:lnTo>
                    <a:lnTo>
                      <a:pt x="140" y="942"/>
                    </a:lnTo>
                    <a:lnTo>
                      <a:pt x="138" y="942"/>
                    </a:lnTo>
                    <a:lnTo>
                      <a:pt x="140" y="942"/>
                    </a:lnTo>
                    <a:lnTo>
                      <a:pt x="138" y="944"/>
                    </a:lnTo>
                    <a:lnTo>
                      <a:pt x="138" y="942"/>
                    </a:lnTo>
                    <a:lnTo>
                      <a:pt x="138" y="941"/>
                    </a:lnTo>
                    <a:lnTo>
                      <a:pt x="138" y="939"/>
                    </a:lnTo>
                    <a:lnTo>
                      <a:pt x="138" y="937"/>
                    </a:lnTo>
                    <a:lnTo>
                      <a:pt x="136" y="937"/>
                    </a:lnTo>
                    <a:lnTo>
                      <a:pt x="138" y="937"/>
                    </a:lnTo>
                    <a:lnTo>
                      <a:pt x="138" y="935"/>
                    </a:lnTo>
                    <a:lnTo>
                      <a:pt x="136" y="935"/>
                    </a:lnTo>
                    <a:lnTo>
                      <a:pt x="136" y="933"/>
                    </a:lnTo>
                    <a:lnTo>
                      <a:pt x="136" y="931"/>
                    </a:lnTo>
                    <a:lnTo>
                      <a:pt x="134" y="931"/>
                    </a:lnTo>
                    <a:lnTo>
                      <a:pt x="136" y="931"/>
                    </a:lnTo>
                    <a:lnTo>
                      <a:pt x="134" y="931"/>
                    </a:lnTo>
                    <a:lnTo>
                      <a:pt x="134" y="929"/>
                    </a:lnTo>
                    <a:lnTo>
                      <a:pt x="136" y="929"/>
                    </a:lnTo>
                    <a:lnTo>
                      <a:pt x="134" y="927"/>
                    </a:lnTo>
                    <a:lnTo>
                      <a:pt x="134" y="925"/>
                    </a:lnTo>
                    <a:lnTo>
                      <a:pt x="132" y="925"/>
                    </a:lnTo>
                    <a:lnTo>
                      <a:pt x="134" y="925"/>
                    </a:lnTo>
                    <a:lnTo>
                      <a:pt x="132" y="923"/>
                    </a:lnTo>
                    <a:lnTo>
                      <a:pt x="134" y="923"/>
                    </a:lnTo>
                    <a:lnTo>
                      <a:pt x="132" y="923"/>
                    </a:lnTo>
                    <a:lnTo>
                      <a:pt x="132" y="921"/>
                    </a:lnTo>
                    <a:lnTo>
                      <a:pt x="130" y="921"/>
                    </a:lnTo>
                    <a:lnTo>
                      <a:pt x="128" y="921"/>
                    </a:lnTo>
                    <a:lnTo>
                      <a:pt x="130" y="921"/>
                    </a:lnTo>
                    <a:lnTo>
                      <a:pt x="128" y="921"/>
                    </a:lnTo>
                    <a:lnTo>
                      <a:pt x="128" y="919"/>
                    </a:lnTo>
                    <a:lnTo>
                      <a:pt x="130" y="919"/>
                    </a:lnTo>
                    <a:lnTo>
                      <a:pt x="128" y="919"/>
                    </a:lnTo>
                    <a:lnTo>
                      <a:pt x="130" y="919"/>
                    </a:lnTo>
                    <a:lnTo>
                      <a:pt x="128" y="919"/>
                    </a:lnTo>
                    <a:lnTo>
                      <a:pt x="128" y="917"/>
                    </a:lnTo>
                    <a:lnTo>
                      <a:pt x="128" y="916"/>
                    </a:lnTo>
                    <a:lnTo>
                      <a:pt x="126" y="916"/>
                    </a:lnTo>
                    <a:lnTo>
                      <a:pt x="126" y="914"/>
                    </a:lnTo>
                    <a:lnTo>
                      <a:pt x="125" y="914"/>
                    </a:lnTo>
                    <a:lnTo>
                      <a:pt x="126" y="914"/>
                    </a:lnTo>
                    <a:lnTo>
                      <a:pt x="125" y="914"/>
                    </a:lnTo>
                    <a:lnTo>
                      <a:pt x="125" y="912"/>
                    </a:lnTo>
                    <a:lnTo>
                      <a:pt x="123" y="910"/>
                    </a:lnTo>
                    <a:lnTo>
                      <a:pt x="125" y="910"/>
                    </a:lnTo>
                    <a:lnTo>
                      <a:pt x="123" y="910"/>
                    </a:lnTo>
                    <a:lnTo>
                      <a:pt x="121" y="910"/>
                    </a:lnTo>
                    <a:lnTo>
                      <a:pt x="119" y="910"/>
                    </a:lnTo>
                    <a:lnTo>
                      <a:pt x="117" y="910"/>
                    </a:lnTo>
                    <a:lnTo>
                      <a:pt x="115" y="910"/>
                    </a:lnTo>
                    <a:lnTo>
                      <a:pt x="115" y="908"/>
                    </a:lnTo>
                    <a:lnTo>
                      <a:pt x="113" y="908"/>
                    </a:lnTo>
                    <a:lnTo>
                      <a:pt x="111" y="908"/>
                    </a:lnTo>
                    <a:lnTo>
                      <a:pt x="109" y="908"/>
                    </a:lnTo>
                    <a:lnTo>
                      <a:pt x="107" y="908"/>
                    </a:lnTo>
                    <a:lnTo>
                      <a:pt x="105" y="908"/>
                    </a:lnTo>
                    <a:lnTo>
                      <a:pt x="103" y="908"/>
                    </a:lnTo>
                    <a:lnTo>
                      <a:pt x="102" y="910"/>
                    </a:lnTo>
                    <a:lnTo>
                      <a:pt x="100" y="910"/>
                    </a:lnTo>
                    <a:lnTo>
                      <a:pt x="98" y="910"/>
                    </a:lnTo>
                    <a:lnTo>
                      <a:pt x="98" y="912"/>
                    </a:lnTo>
                    <a:lnTo>
                      <a:pt x="96" y="912"/>
                    </a:lnTo>
                    <a:lnTo>
                      <a:pt x="96" y="910"/>
                    </a:lnTo>
                    <a:lnTo>
                      <a:pt x="96" y="908"/>
                    </a:lnTo>
                    <a:lnTo>
                      <a:pt x="96" y="906"/>
                    </a:lnTo>
                    <a:lnTo>
                      <a:pt x="98" y="906"/>
                    </a:lnTo>
                    <a:lnTo>
                      <a:pt x="98" y="904"/>
                    </a:lnTo>
                    <a:lnTo>
                      <a:pt x="98" y="902"/>
                    </a:lnTo>
                    <a:lnTo>
                      <a:pt x="98" y="900"/>
                    </a:lnTo>
                    <a:lnTo>
                      <a:pt x="98" y="898"/>
                    </a:lnTo>
                    <a:lnTo>
                      <a:pt x="98" y="896"/>
                    </a:lnTo>
                    <a:lnTo>
                      <a:pt x="98" y="894"/>
                    </a:lnTo>
                    <a:lnTo>
                      <a:pt x="100" y="894"/>
                    </a:lnTo>
                    <a:lnTo>
                      <a:pt x="100" y="896"/>
                    </a:lnTo>
                    <a:lnTo>
                      <a:pt x="102" y="896"/>
                    </a:lnTo>
                    <a:lnTo>
                      <a:pt x="103" y="896"/>
                    </a:lnTo>
                    <a:lnTo>
                      <a:pt x="105" y="894"/>
                    </a:lnTo>
                    <a:lnTo>
                      <a:pt x="107" y="894"/>
                    </a:lnTo>
                    <a:lnTo>
                      <a:pt x="109" y="894"/>
                    </a:lnTo>
                    <a:lnTo>
                      <a:pt x="109" y="892"/>
                    </a:lnTo>
                    <a:lnTo>
                      <a:pt x="111" y="892"/>
                    </a:lnTo>
                    <a:lnTo>
                      <a:pt x="111" y="891"/>
                    </a:lnTo>
                    <a:lnTo>
                      <a:pt x="109" y="889"/>
                    </a:lnTo>
                    <a:lnTo>
                      <a:pt x="109" y="887"/>
                    </a:lnTo>
                    <a:lnTo>
                      <a:pt x="109" y="885"/>
                    </a:lnTo>
                    <a:lnTo>
                      <a:pt x="109" y="883"/>
                    </a:lnTo>
                    <a:lnTo>
                      <a:pt x="107" y="883"/>
                    </a:lnTo>
                    <a:lnTo>
                      <a:pt x="107" y="881"/>
                    </a:lnTo>
                    <a:lnTo>
                      <a:pt x="105" y="879"/>
                    </a:lnTo>
                    <a:lnTo>
                      <a:pt x="103" y="879"/>
                    </a:lnTo>
                    <a:lnTo>
                      <a:pt x="103" y="877"/>
                    </a:lnTo>
                    <a:lnTo>
                      <a:pt x="102" y="875"/>
                    </a:lnTo>
                    <a:lnTo>
                      <a:pt x="102" y="873"/>
                    </a:lnTo>
                    <a:lnTo>
                      <a:pt x="103" y="873"/>
                    </a:lnTo>
                    <a:lnTo>
                      <a:pt x="103" y="871"/>
                    </a:lnTo>
                    <a:lnTo>
                      <a:pt x="102" y="871"/>
                    </a:lnTo>
                    <a:lnTo>
                      <a:pt x="100" y="869"/>
                    </a:lnTo>
                    <a:lnTo>
                      <a:pt x="102" y="869"/>
                    </a:lnTo>
                    <a:lnTo>
                      <a:pt x="102" y="867"/>
                    </a:lnTo>
                    <a:lnTo>
                      <a:pt x="100" y="867"/>
                    </a:lnTo>
                    <a:lnTo>
                      <a:pt x="100" y="866"/>
                    </a:lnTo>
                    <a:lnTo>
                      <a:pt x="98" y="866"/>
                    </a:lnTo>
                    <a:lnTo>
                      <a:pt x="98" y="864"/>
                    </a:lnTo>
                    <a:lnTo>
                      <a:pt x="96" y="866"/>
                    </a:lnTo>
                    <a:lnTo>
                      <a:pt x="98" y="866"/>
                    </a:lnTo>
                    <a:lnTo>
                      <a:pt x="98" y="867"/>
                    </a:lnTo>
                    <a:lnTo>
                      <a:pt x="96" y="867"/>
                    </a:lnTo>
                    <a:lnTo>
                      <a:pt x="94" y="867"/>
                    </a:lnTo>
                    <a:lnTo>
                      <a:pt x="92" y="867"/>
                    </a:lnTo>
                    <a:lnTo>
                      <a:pt x="92" y="869"/>
                    </a:lnTo>
                    <a:lnTo>
                      <a:pt x="92" y="867"/>
                    </a:lnTo>
                    <a:lnTo>
                      <a:pt x="90" y="869"/>
                    </a:lnTo>
                    <a:lnTo>
                      <a:pt x="88" y="871"/>
                    </a:lnTo>
                    <a:lnTo>
                      <a:pt x="88" y="873"/>
                    </a:lnTo>
                    <a:lnTo>
                      <a:pt x="86" y="873"/>
                    </a:lnTo>
                    <a:lnTo>
                      <a:pt x="88" y="875"/>
                    </a:lnTo>
                    <a:lnTo>
                      <a:pt x="86" y="875"/>
                    </a:lnTo>
                    <a:lnTo>
                      <a:pt x="84" y="873"/>
                    </a:lnTo>
                    <a:lnTo>
                      <a:pt x="84" y="875"/>
                    </a:lnTo>
                    <a:lnTo>
                      <a:pt x="82" y="873"/>
                    </a:lnTo>
                    <a:lnTo>
                      <a:pt x="80" y="871"/>
                    </a:lnTo>
                    <a:lnTo>
                      <a:pt x="78" y="871"/>
                    </a:lnTo>
                    <a:lnTo>
                      <a:pt x="78" y="869"/>
                    </a:lnTo>
                    <a:lnTo>
                      <a:pt x="77" y="869"/>
                    </a:lnTo>
                    <a:lnTo>
                      <a:pt x="75" y="869"/>
                    </a:lnTo>
                    <a:lnTo>
                      <a:pt x="73" y="869"/>
                    </a:lnTo>
                    <a:lnTo>
                      <a:pt x="73" y="871"/>
                    </a:lnTo>
                    <a:lnTo>
                      <a:pt x="71" y="871"/>
                    </a:lnTo>
                    <a:lnTo>
                      <a:pt x="69" y="871"/>
                    </a:lnTo>
                    <a:lnTo>
                      <a:pt x="67" y="873"/>
                    </a:lnTo>
                    <a:lnTo>
                      <a:pt x="67" y="871"/>
                    </a:lnTo>
                    <a:lnTo>
                      <a:pt x="65" y="869"/>
                    </a:lnTo>
                    <a:lnTo>
                      <a:pt x="65" y="867"/>
                    </a:lnTo>
                    <a:lnTo>
                      <a:pt x="61" y="867"/>
                    </a:lnTo>
                    <a:lnTo>
                      <a:pt x="59" y="866"/>
                    </a:lnTo>
                    <a:lnTo>
                      <a:pt x="57" y="866"/>
                    </a:lnTo>
                    <a:lnTo>
                      <a:pt x="55" y="864"/>
                    </a:lnTo>
                    <a:lnTo>
                      <a:pt x="53" y="864"/>
                    </a:lnTo>
                    <a:lnTo>
                      <a:pt x="52" y="864"/>
                    </a:lnTo>
                    <a:lnTo>
                      <a:pt x="50" y="862"/>
                    </a:lnTo>
                    <a:lnTo>
                      <a:pt x="50" y="860"/>
                    </a:lnTo>
                    <a:lnTo>
                      <a:pt x="48" y="858"/>
                    </a:lnTo>
                    <a:lnTo>
                      <a:pt x="46" y="856"/>
                    </a:lnTo>
                    <a:lnTo>
                      <a:pt x="46" y="858"/>
                    </a:lnTo>
                    <a:lnTo>
                      <a:pt x="48" y="862"/>
                    </a:lnTo>
                    <a:lnTo>
                      <a:pt x="44" y="862"/>
                    </a:lnTo>
                    <a:lnTo>
                      <a:pt x="42" y="862"/>
                    </a:lnTo>
                    <a:lnTo>
                      <a:pt x="40" y="864"/>
                    </a:lnTo>
                    <a:lnTo>
                      <a:pt x="38" y="864"/>
                    </a:lnTo>
                    <a:lnTo>
                      <a:pt x="36" y="866"/>
                    </a:lnTo>
                    <a:lnTo>
                      <a:pt x="32" y="866"/>
                    </a:lnTo>
                    <a:lnTo>
                      <a:pt x="34" y="864"/>
                    </a:lnTo>
                    <a:lnTo>
                      <a:pt x="34" y="862"/>
                    </a:lnTo>
                    <a:lnTo>
                      <a:pt x="32" y="862"/>
                    </a:lnTo>
                    <a:lnTo>
                      <a:pt x="32" y="860"/>
                    </a:lnTo>
                    <a:lnTo>
                      <a:pt x="30" y="860"/>
                    </a:lnTo>
                    <a:lnTo>
                      <a:pt x="29" y="860"/>
                    </a:lnTo>
                    <a:lnTo>
                      <a:pt x="29" y="862"/>
                    </a:lnTo>
                    <a:lnTo>
                      <a:pt x="27" y="862"/>
                    </a:lnTo>
                    <a:lnTo>
                      <a:pt x="25" y="864"/>
                    </a:lnTo>
                    <a:lnTo>
                      <a:pt x="25" y="862"/>
                    </a:lnTo>
                    <a:lnTo>
                      <a:pt x="23" y="862"/>
                    </a:lnTo>
                    <a:lnTo>
                      <a:pt x="25" y="862"/>
                    </a:lnTo>
                    <a:lnTo>
                      <a:pt x="25" y="860"/>
                    </a:lnTo>
                    <a:lnTo>
                      <a:pt x="23" y="858"/>
                    </a:lnTo>
                    <a:lnTo>
                      <a:pt x="23" y="856"/>
                    </a:lnTo>
                    <a:lnTo>
                      <a:pt x="23" y="854"/>
                    </a:lnTo>
                    <a:lnTo>
                      <a:pt x="23" y="852"/>
                    </a:lnTo>
                    <a:lnTo>
                      <a:pt x="21" y="852"/>
                    </a:lnTo>
                    <a:lnTo>
                      <a:pt x="21" y="850"/>
                    </a:lnTo>
                    <a:lnTo>
                      <a:pt x="23" y="850"/>
                    </a:lnTo>
                    <a:lnTo>
                      <a:pt x="23" y="852"/>
                    </a:lnTo>
                    <a:lnTo>
                      <a:pt x="25" y="852"/>
                    </a:lnTo>
                    <a:lnTo>
                      <a:pt x="25" y="850"/>
                    </a:lnTo>
                    <a:lnTo>
                      <a:pt x="27" y="850"/>
                    </a:lnTo>
                    <a:lnTo>
                      <a:pt x="25" y="850"/>
                    </a:lnTo>
                    <a:lnTo>
                      <a:pt x="25" y="848"/>
                    </a:lnTo>
                    <a:lnTo>
                      <a:pt x="23" y="846"/>
                    </a:lnTo>
                    <a:lnTo>
                      <a:pt x="23" y="844"/>
                    </a:lnTo>
                    <a:lnTo>
                      <a:pt x="25" y="844"/>
                    </a:lnTo>
                    <a:lnTo>
                      <a:pt x="25" y="842"/>
                    </a:lnTo>
                    <a:lnTo>
                      <a:pt x="25" y="841"/>
                    </a:lnTo>
                    <a:lnTo>
                      <a:pt x="27" y="841"/>
                    </a:lnTo>
                    <a:lnTo>
                      <a:pt x="29" y="841"/>
                    </a:lnTo>
                    <a:lnTo>
                      <a:pt x="27" y="839"/>
                    </a:lnTo>
                    <a:lnTo>
                      <a:pt x="27" y="837"/>
                    </a:lnTo>
                    <a:lnTo>
                      <a:pt x="27" y="835"/>
                    </a:lnTo>
                    <a:lnTo>
                      <a:pt x="29" y="835"/>
                    </a:lnTo>
                    <a:lnTo>
                      <a:pt x="29" y="837"/>
                    </a:lnTo>
                    <a:lnTo>
                      <a:pt x="30" y="837"/>
                    </a:lnTo>
                    <a:lnTo>
                      <a:pt x="32" y="837"/>
                    </a:lnTo>
                    <a:lnTo>
                      <a:pt x="34" y="837"/>
                    </a:lnTo>
                    <a:lnTo>
                      <a:pt x="32" y="837"/>
                    </a:lnTo>
                    <a:lnTo>
                      <a:pt x="30" y="837"/>
                    </a:lnTo>
                    <a:lnTo>
                      <a:pt x="30" y="835"/>
                    </a:lnTo>
                    <a:lnTo>
                      <a:pt x="30" y="833"/>
                    </a:lnTo>
                    <a:lnTo>
                      <a:pt x="29" y="833"/>
                    </a:lnTo>
                    <a:lnTo>
                      <a:pt x="29" y="831"/>
                    </a:lnTo>
                    <a:lnTo>
                      <a:pt x="27" y="829"/>
                    </a:lnTo>
                    <a:lnTo>
                      <a:pt x="25" y="829"/>
                    </a:lnTo>
                    <a:lnTo>
                      <a:pt x="27" y="827"/>
                    </a:lnTo>
                    <a:lnTo>
                      <a:pt x="27" y="825"/>
                    </a:lnTo>
                    <a:lnTo>
                      <a:pt x="29" y="825"/>
                    </a:lnTo>
                    <a:lnTo>
                      <a:pt x="30" y="823"/>
                    </a:lnTo>
                    <a:lnTo>
                      <a:pt x="30" y="821"/>
                    </a:lnTo>
                    <a:lnTo>
                      <a:pt x="32" y="821"/>
                    </a:lnTo>
                    <a:lnTo>
                      <a:pt x="32" y="819"/>
                    </a:lnTo>
                    <a:lnTo>
                      <a:pt x="34" y="819"/>
                    </a:lnTo>
                    <a:lnTo>
                      <a:pt x="34" y="817"/>
                    </a:lnTo>
                    <a:lnTo>
                      <a:pt x="36" y="814"/>
                    </a:lnTo>
                    <a:lnTo>
                      <a:pt x="38" y="816"/>
                    </a:lnTo>
                    <a:lnTo>
                      <a:pt x="38" y="814"/>
                    </a:lnTo>
                    <a:lnTo>
                      <a:pt x="36" y="814"/>
                    </a:lnTo>
                    <a:lnTo>
                      <a:pt x="36" y="810"/>
                    </a:lnTo>
                    <a:lnTo>
                      <a:pt x="36" y="808"/>
                    </a:lnTo>
                    <a:lnTo>
                      <a:pt x="38" y="808"/>
                    </a:lnTo>
                    <a:lnTo>
                      <a:pt x="38" y="806"/>
                    </a:lnTo>
                    <a:lnTo>
                      <a:pt x="38" y="804"/>
                    </a:lnTo>
                    <a:lnTo>
                      <a:pt x="40" y="804"/>
                    </a:lnTo>
                    <a:lnTo>
                      <a:pt x="40" y="802"/>
                    </a:lnTo>
                    <a:lnTo>
                      <a:pt x="42" y="802"/>
                    </a:lnTo>
                    <a:lnTo>
                      <a:pt x="42" y="804"/>
                    </a:lnTo>
                    <a:lnTo>
                      <a:pt x="44" y="804"/>
                    </a:lnTo>
                    <a:lnTo>
                      <a:pt x="46" y="804"/>
                    </a:lnTo>
                    <a:lnTo>
                      <a:pt x="46" y="802"/>
                    </a:lnTo>
                    <a:lnTo>
                      <a:pt x="46" y="800"/>
                    </a:lnTo>
                    <a:lnTo>
                      <a:pt x="48" y="800"/>
                    </a:lnTo>
                    <a:lnTo>
                      <a:pt x="48" y="796"/>
                    </a:lnTo>
                    <a:lnTo>
                      <a:pt x="50" y="796"/>
                    </a:lnTo>
                    <a:lnTo>
                      <a:pt x="48" y="794"/>
                    </a:lnTo>
                    <a:lnTo>
                      <a:pt x="46" y="794"/>
                    </a:lnTo>
                    <a:lnTo>
                      <a:pt x="44" y="794"/>
                    </a:lnTo>
                    <a:lnTo>
                      <a:pt x="42" y="794"/>
                    </a:lnTo>
                    <a:lnTo>
                      <a:pt x="42" y="792"/>
                    </a:lnTo>
                    <a:lnTo>
                      <a:pt x="42" y="791"/>
                    </a:lnTo>
                    <a:lnTo>
                      <a:pt x="40" y="791"/>
                    </a:lnTo>
                    <a:lnTo>
                      <a:pt x="38" y="791"/>
                    </a:lnTo>
                    <a:lnTo>
                      <a:pt x="38" y="789"/>
                    </a:lnTo>
                    <a:lnTo>
                      <a:pt x="40" y="789"/>
                    </a:lnTo>
                    <a:lnTo>
                      <a:pt x="38" y="789"/>
                    </a:lnTo>
                    <a:lnTo>
                      <a:pt x="36" y="789"/>
                    </a:lnTo>
                    <a:lnTo>
                      <a:pt x="36" y="787"/>
                    </a:lnTo>
                    <a:lnTo>
                      <a:pt x="34" y="787"/>
                    </a:lnTo>
                    <a:lnTo>
                      <a:pt x="32" y="787"/>
                    </a:lnTo>
                    <a:lnTo>
                      <a:pt x="34" y="785"/>
                    </a:lnTo>
                    <a:lnTo>
                      <a:pt x="32" y="785"/>
                    </a:lnTo>
                    <a:lnTo>
                      <a:pt x="32" y="783"/>
                    </a:lnTo>
                    <a:lnTo>
                      <a:pt x="32" y="785"/>
                    </a:lnTo>
                    <a:lnTo>
                      <a:pt x="34" y="785"/>
                    </a:lnTo>
                    <a:lnTo>
                      <a:pt x="34" y="783"/>
                    </a:lnTo>
                    <a:lnTo>
                      <a:pt x="32" y="783"/>
                    </a:lnTo>
                    <a:lnTo>
                      <a:pt x="34" y="783"/>
                    </a:lnTo>
                    <a:lnTo>
                      <a:pt x="32" y="783"/>
                    </a:lnTo>
                    <a:lnTo>
                      <a:pt x="32" y="781"/>
                    </a:lnTo>
                    <a:lnTo>
                      <a:pt x="34" y="781"/>
                    </a:lnTo>
                    <a:lnTo>
                      <a:pt x="32" y="781"/>
                    </a:lnTo>
                    <a:lnTo>
                      <a:pt x="32" y="779"/>
                    </a:lnTo>
                    <a:lnTo>
                      <a:pt x="34" y="779"/>
                    </a:lnTo>
                    <a:lnTo>
                      <a:pt x="34" y="777"/>
                    </a:lnTo>
                    <a:lnTo>
                      <a:pt x="32" y="777"/>
                    </a:lnTo>
                    <a:lnTo>
                      <a:pt x="34" y="777"/>
                    </a:lnTo>
                    <a:lnTo>
                      <a:pt x="32" y="775"/>
                    </a:lnTo>
                    <a:lnTo>
                      <a:pt x="34" y="775"/>
                    </a:lnTo>
                    <a:lnTo>
                      <a:pt x="32" y="775"/>
                    </a:lnTo>
                    <a:lnTo>
                      <a:pt x="32" y="773"/>
                    </a:lnTo>
                    <a:lnTo>
                      <a:pt x="34" y="773"/>
                    </a:lnTo>
                    <a:lnTo>
                      <a:pt x="32" y="773"/>
                    </a:lnTo>
                    <a:lnTo>
                      <a:pt x="32" y="771"/>
                    </a:lnTo>
                    <a:lnTo>
                      <a:pt x="32" y="769"/>
                    </a:lnTo>
                    <a:lnTo>
                      <a:pt x="32" y="767"/>
                    </a:lnTo>
                    <a:lnTo>
                      <a:pt x="32" y="766"/>
                    </a:lnTo>
                    <a:lnTo>
                      <a:pt x="34" y="766"/>
                    </a:lnTo>
                    <a:lnTo>
                      <a:pt x="32" y="766"/>
                    </a:lnTo>
                    <a:lnTo>
                      <a:pt x="32" y="764"/>
                    </a:lnTo>
                    <a:lnTo>
                      <a:pt x="30" y="764"/>
                    </a:lnTo>
                    <a:lnTo>
                      <a:pt x="30" y="762"/>
                    </a:lnTo>
                    <a:lnTo>
                      <a:pt x="30" y="760"/>
                    </a:lnTo>
                    <a:lnTo>
                      <a:pt x="29" y="760"/>
                    </a:lnTo>
                    <a:lnTo>
                      <a:pt x="29" y="758"/>
                    </a:lnTo>
                    <a:lnTo>
                      <a:pt x="29" y="756"/>
                    </a:lnTo>
                    <a:lnTo>
                      <a:pt x="27" y="756"/>
                    </a:lnTo>
                    <a:lnTo>
                      <a:pt x="27" y="758"/>
                    </a:lnTo>
                    <a:lnTo>
                      <a:pt x="27" y="756"/>
                    </a:lnTo>
                    <a:lnTo>
                      <a:pt x="27" y="758"/>
                    </a:lnTo>
                    <a:lnTo>
                      <a:pt x="25" y="758"/>
                    </a:lnTo>
                    <a:lnTo>
                      <a:pt x="23" y="756"/>
                    </a:lnTo>
                    <a:lnTo>
                      <a:pt x="21" y="756"/>
                    </a:lnTo>
                    <a:lnTo>
                      <a:pt x="21" y="754"/>
                    </a:lnTo>
                    <a:lnTo>
                      <a:pt x="21" y="752"/>
                    </a:lnTo>
                    <a:lnTo>
                      <a:pt x="21" y="750"/>
                    </a:lnTo>
                    <a:lnTo>
                      <a:pt x="21" y="748"/>
                    </a:lnTo>
                    <a:lnTo>
                      <a:pt x="21" y="746"/>
                    </a:lnTo>
                    <a:lnTo>
                      <a:pt x="21" y="744"/>
                    </a:lnTo>
                    <a:lnTo>
                      <a:pt x="21" y="742"/>
                    </a:lnTo>
                    <a:lnTo>
                      <a:pt x="21" y="741"/>
                    </a:lnTo>
                    <a:lnTo>
                      <a:pt x="23" y="741"/>
                    </a:lnTo>
                    <a:lnTo>
                      <a:pt x="23" y="739"/>
                    </a:lnTo>
                    <a:lnTo>
                      <a:pt x="25" y="739"/>
                    </a:lnTo>
                    <a:lnTo>
                      <a:pt x="25" y="737"/>
                    </a:lnTo>
                    <a:lnTo>
                      <a:pt x="25" y="735"/>
                    </a:lnTo>
                    <a:lnTo>
                      <a:pt x="25" y="733"/>
                    </a:lnTo>
                    <a:lnTo>
                      <a:pt x="23" y="733"/>
                    </a:lnTo>
                    <a:lnTo>
                      <a:pt x="23" y="731"/>
                    </a:lnTo>
                    <a:lnTo>
                      <a:pt x="23" y="729"/>
                    </a:lnTo>
                    <a:lnTo>
                      <a:pt x="21" y="727"/>
                    </a:lnTo>
                    <a:lnTo>
                      <a:pt x="21" y="725"/>
                    </a:lnTo>
                    <a:lnTo>
                      <a:pt x="21" y="723"/>
                    </a:lnTo>
                    <a:lnTo>
                      <a:pt x="23" y="723"/>
                    </a:lnTo>
                    <a:lnTo>
                      <a:pt x="21" y="723"/>
                    </a:lnTo>
                    <a:lnTo>
                      <a:pt x="19" y="723"/>
                    </a:lnTo>
                    <a:lnTo>
                      <a:pt x="19" y="721"/>
                    </a:lnTo>
                    <a:lnTo>
                      <a:pt x="19" y="719"/>
                    </a:lnTo>
                    <a:lnTo>
                      <a:pt x="19" y="718"/>
                    </a:lnTo>
                    <a:lnTo>
                      <a:pt x="17" y="718"/>
                    </a:lnTo>
                    <a:lnTo>
                      <a:pt x="17" y="719"/>
                    </a:lnTo>
                    <a:lnTo>
                      <a:pt x="15" y="719"/>
                    </a:lnTo>
                    <a:lnTo>
                      <a:pt x="15" y="718"/>
                    </a:lnTo>
                    <a:lnTo>
                      <a:pt x="13" y="718"/>
                    </a:lnTo>
                    <a:lnTo>
                      <a:pt x="15" y="718"/>
                    </a:lnTo>
                    <a:lnTo>
                      <a:pt x="15" y="714"/>
                    </a:lnTo>
                    <a:lnTo>
                      <a:pt x="15" y="712"/>
                    </a:lnTo>
                    <a:lnTo>
                      <a:pt x="11" y="712"/>
                    </a:lnTo>
                    <a:lnTo>
                      <a:pt x="9" y="710"/>
                    </a:lnTo>
                    <a:lnTo>
                      <a:pt x="9" y="708"/>
                    </a:lnTo>
                    <a:lnTo>
                      <a:pt x="7" y="710"/>
                    </a:lnTo>
                    <a:lnTo>
                      <a:pt x="5" y="710"/>
                    </a:lnTo>
                    <a:lnTo>
                      <a:pt x="4" y="710"/>
                    </a:lnTo>
                    <a:lnTo>
                      <a:pt x="4" y="708"/>
                    </a:lnTo>
                    <a:lnTo>
                      <a:pt x="2" y="708"/>
                    </a:lnTo>
                    <a:lnTo>
                      <a:pt x="2" y="706"/>
                    </a:lnTo>
                    <a:lnTo>
                      <a:pt x="2" y="704"/>
                    </a:lnTo>
                    <a:lnTo>
                      <a:pt x="4" y="704"/>
                    </a:lnTo>
                    <a:lnTo>
                      <a:pt x="5" y="706"/>
                    </a:lnTo>
                    <a:lnTo>
                      <a:pt x="7" y="704"/>
                    </a:lnTo>
                    <a:lnTo>
                      <a:pt x="11" y="704"/>
                    </a:lnTo>
                    <a:lnTo>
                      <a:pt x="13" y="702"/>
                    </a:lnTo>
                    <a:lnTo>
                      <a:pt x="13" y="700"/>
                    </a:lnTo>
                    <a:lnTo>
                      <a:pt x="15" y="700"/>
                    </a:lnTo>
                    <a:lnTo>
                      <a:pt x="15" y="698"/>
                    </a:lnTo>
                    <a:lnTo>
                      <a:pt x="15" y="696"/>
                    </a:lnTo>
                    <a:lnTo>
                      <a:pt x="15" y="694"/>
                    </a:lnTo>
                    <a:lnTo>
                      <a:pt x="17" y="694"/>
                    </a:lnTo>
                    <a:lnTo>
                      <a:pt x="19" y="694"/>
                    </a:lnTo>
                    <a:lnTo>
                      <a:pt x="21" y="693"/>
                    </a:lnTo>
                    <a:lnTo>
                      <a:pt x="21" y="691"/>
                    </a:lnTo>
                    <a:lnTo>
                      <a:pt x="21" y="689"/>
                    </a:lnTo>
                    <a:lnTo>
                      <a:pt x="23" y="687"/>
                    </a:lnTo>
                    <a:lnTo>
                      <a:pt x="25" y="687"/>
                    </a:lnTo>
                    <a:lnTo>
                      <a:pt x="27" y="687"/>
                    </a:lnTo>
                    <a:lnTo>
                      <a:pt x="29" y="687"/>
                    </a:lnTo>
                    <a:lnTo>
                      <a:pt x="30" y="685"/>
                    </a:lnTo>
                    <a:lnTo>
                      <a:pt x="30" y="683"/>
                    </a:lnTo>
                    <a:lnTo>
                      <a:pt x="30" y="671"/>
                    </a:lnTo>
                    <a:lnTo>
                      <a:pt x="29" y="658"/>
                    </a:lnTo>
                    <a:lnTo>
                      <a:pt x="29" y="643"/>
                    </a:lnTo>
                    <a:lnTo>
                      <a:pt x="27" y="629"/>
                    </a:lnTo>
                    <a:lnTo>
                      <a:pt x="27" y="623"/>
                    </a:lnTo>
                    <a:lnTo>
                      <a:pt x="27" y="619"/>
                    </a:lnTo>
                    <a:lnTo>
                      <a:pt x="25" y="606"/>
                    </a:lnTo>
                    <a:lnTo>
                      <a:pt x="23" y="591"/>
                    </a:lnTo>
                    <a:lnTo>
                      <a:pt x="4" y="566"/>
                    </a:lnTo>
                    <a:lnTo>
                      <a:pt x="2" y="564"/>
                    </a:lnTo>
                    <a:lnTo>
                      <a:pt x="0" y="562"/>
                    </a:lnTo>
                    <a:lnTo>
                      <a:pt x="0" y="560"/>
                    </a:lnTo>
                    <a:lnTo>
                      <a:pt x="2" y="558"/>
                    </a:lnTo>
                    <a:lnTo>
                      <a:pt x="4" y="558"/>
                    </a:lnTo>
                    <a:lnTo>
                      <a:pt x="4" y="556"/>
                    </a:lnTo>
                    <a:lnTo>
                      <a:pt x="5" y="556"/>
                    </a:lnTo>
                    <a:lnTo>
                      <a:pt x="5" y="554"/>
                    </a:lnTo>
                    <a:lnTo>
                      <a:pt x="5" y="552"/>
                    </a:lnTo>
                    <a:lnTo>
                      <a:pt x="5" y="550"/>
                    </a:lnTo>
                    <a:lnTo>
                      <a:pt x="7" y="550"/>
                    </a:lnTo>
                    <a:lnTo>
                      <a:pt x="9" y="550"/>
                    </a:lnTo>
                    <a:lnTo>
                      <a:pt x="11" y="552"/>
                    </a:lnTo>
                    <a:lnTo>
                      <a:pt x="13" y="552"/>
                    </a:lnTo>
                    <a:lnTo>
                      <a:pt x="15" y="552"/>
                    </a:lnTo>
                    <a:lnTo>
                      <a:pt x="15" y="554"/>
                    </a:lnTo>
                    <a:lnTo>
                      <a:pt x="17" y="552"/>
                    </a:lnTo>
                    <a:lnTo>
                      <a:pt x="19" y="550"/>
                    </a:lnTo>
                    <a:lnTo>
                      <a:pt x="21" y="550"/>
                    </a:lnTo>
                    <a:lnTo>
                      <a:pt x="25" y="548"/>
                    </a:lnTo>
                    <a:lnTo>
                      <a:pt x="29" y="544"/>
                    </a:lnTo>
                    <a:lnTo>
                      <a:pt x="30" y="544"/>
                    </a:lnTo>
                    <a:lnTo>
                      <a:pt x="36" y="541"/>
                    </a:lnTo>
                    <a:lnTo>
                      <a:pt x="40" y="541"/>
                    </a:lnTo>
                    <a:lnTo>
                      <a:pt x="42" y="539"/>
                    </a:lnTo>
                    <a:lnTo>
                      <a:pt x="42" y="537"/>
                    </a:lnTo>
                    <a:lnTo>
                      <a:pt x="42" y="535"/>
                    </a:lnTo>
                    <a:lnTo>
                      <a:pt x="42" y="533"/>
                    </a:lnTo>
                    <a:lnTo>
                      <a:pt x="44" y="533"/>
                    </a:lnTo>
                    <a:lnTo>
                      <a:pt x="46" y="533"/>
                    </a:lnTo>
                    <a:lnTo>
                      <a:pt x="46" y="531"/>
                    </a:lnTo>
                    <a:lnTo>
                      <a:pt x="46" y="529"/>
                    </a:lnTo>
                    <a:lnTo>
                      <a:pt x="48" y="529"/>
                    </a:lnTo>
                    <a:lnTo>
                      <a:pt x="50" y="529"/>
                    </a:lnTo>
                    <a:lnTo>
                      <a:pt x="52" y="529"/>
                    </a:lnTo>
                    <a:lnTo>
                      <a:pt x="53" y="529"/>
                    </a:lnTo>
                    <a:lnTo>
                      <a:pt x="55" y="529"/>
                    </a:lnTo>
                    <a:lnTo>
                      <a:pt x="57" y="529"/>
                    </a:lnTo>
                    <a:lnTo>
                      <a:pt x="59" y="529"/>
                    </a:lnTo>
                    <a:lnTo>
                      <a:pt x="61" y="529"/>
                    </a:lnTo>
                    <a:lnTo>
                      <a:pt x="63" y="527"/>
                    </a:lnTo>
                    <a:lnTo>
                      <a:pt x="63" y="529"/>
                    </a:lnTo>
                    <a:lnTo>
                      <a:pt x="63" y="531"/>
                    </a:lnTo>
                    <a:lnTo>
                      <a:pt x="65" y="531"/>
                    </a:lnTo>
                    <a:lnTo>
                      <a:pt x="67" y="531"/>
                    </a:lnTo>
                    <a:lnTo>
                      <a:pt x="69" y="531"/>
                    </a:lnTo>
                    <a:lnTo>
                      <a:pt x="71" y="531"/>
                    </a:lnTo>
                    <a:lnTo>
                      <a:pt x="73" y="531"/>
                    </a:lnTo>
                    <a:lnTo>
                      <a:pt x="73" y="529"/>
                    </a:lnTo>
                    <a:lnTo>
                      <a:pt x="73" y="527"/>
                    </a:lnTo>
                    <a:lnTo>
                      <a:pt x="75" y="527"/>
                    </a:lnTo>
                    <a:lnTo>
                      <a:pt x="75" y="525"/>
                    </a:lnTo>
                    <a:lnTo>
                      <a:pt x="75" y="523"/>
                    </a:lnTo>
                    <a:lnTo>
                      <a:pt x="73" y="521"/>
                    </a:lnTo>
                    <a:lnTo>
                      <a:pt x="75" y="519"/>
                    </a:lnTo>
                    <a:lnTo>
                      <a:pt x="73" y="519"/>
                    </a:lnTo>
                    <a:lnTo>
                      <a:pt x="75" y="518"/>
                    </a:lnTo>
                    <a:lnTo>
                      <a:pt x="75" y="516"/>
                    </a:lnTo>
                    <a:lnTo>
                      <a:pt x="77" y="516"/>
                    </a:lnTo>
                    <a:lnTo>
                      <a:pt x="77" y="514"/>
                    </a:lnTo>
                    <a:lnTo>
                      <a:pt x="75" y="514"/>
                    </a:lnTo>
                    <a:lnTo>
                      <a:pt x="73" y="514"/>
                    </a:lnTo>
                    <a:lnTo>
                      <a:pt x="71" y="512"/>
                    </a:lnTo>
                    <a:lnTo>
                      <a:pt x="71" y="510"/>
                    </a:lnTo>
                    <a:lnTo>
                      <a:pt x="69" y="508"/>
                    </a:lnTo>
                    <a:lnTo>
                      <a:pt x="69" y="506"/>
                    </a:lnTo>
                    <a:lnTo>
                      <a:pt x="69" y="504"/>
                    </a:lnTo>
                    <a:lnTo>
                      <a:pt x="73" y="504"/>
                    </a:lnTo>
                    <a:lnTo>
                      <a:pt x="73" y="502"/>
                    </a:lnTo>
                    <a:lnTo>
                      <a:pt x="75" y="502"/>
                    </a:lnTo>
                    <a:lnTo>
                      <a:pt x="75" y="500"/>
                    </a:lnTo>
                    <a:lnTo>
                      <a:pt x="75" y="498"/>
                    </a:lnTo>
                    <a:lnTo>
                      <a:pt x="75" y="496"/>
                    </a:lnTo>
                    <a:lnTo>
                      <a:pt x="73" y="496"/>
                    </a:lnTo>
                    <a:lnTo>
                      <a:pt x="75" y="496"/>
                    </a:lnTo>
                    <a:lnTo>
                      <a:pt x="75" y="494"/>
                    </a:lnTo>
                    <a:lnTo>
                      <a:pt x="77" y="494"/>
                    </a:lnTo>
                    <a:lnTo>
                      <a:pt x="78" y="494"/>
                    </a:lnTo>
                    <a:lnTo>
                      <a:pt x="80" y="493"/>
                    </a:lnTo>
                    <a:lnTo>
                      <a:pt x="82" y="493"/>
                    </a:lnTo>
                    <a:lnTo>
                      <a:pt x="84" y="491"/>
                    </a:lnTo>
                    <a:lnTo>
                      <a:pt x="86" y="491"/>
                    </a:lnTo>
                    <a:lnTo>
                      <a:pt x="88" y="491"/>
                    </a:lnTo>
                    <a:lnTo>
                      <a:pt x="90" y="491"/>
                    </a:lnTo>
                    <a:lnTo>
                      <a:pt x="90" y="489"/>
                    </a:lnTo>
                    <a:lnTo>
                      <a:pt x="88" y="489"/>
                    </a:lnTo>
                    <a:lnTo>
                      <a:pt x="86" y="489"/>
                    </a:lnTo>
                    <a:lnTo>
                      <a:pt x="84" y="487"/>
                    </a:lnTo>
                    <a:lnTo>
                      <a:pt x="84" y="485"/>
                    </a:lnTo>
                    <a:lnTo>
                      <a:pt x="86" y="483"/>
                    </a:lnTo>
                    <a:lnTo>
                      <a:pt x="84" y="483"/>
                    </a:lnTo>
                    <a:lnTo>
                      <a:pt x="84" y="481"/>
                    </a:lnTo>
                    <a:lnTo>
                      <a:pt x="84" y="479"/>
                    </a:lnTo>
                    <a:lnTo>
                      <a:pt x="84" y="477"/>
                    </a:lnTo>
                    <a:lnTo>
                      <a:pt x="86" y="477"/>
                    </a:lnTo>
                    <a:lnTo>
                      <a:pt x="86" y="475"/>
                    </a:lnTo>
                    <a:lnTo>
                      <a:pt x="88" y="475"/>
                    </a:lnTo>
                    <a:lnTo>
                      <a:pt x="88" y="473"/>
                    </a:lnTo>
                    <a:lnTo>
                      <a:pt x="90" y="473"/>
                    </a:lnTo>
                    <a:lnTo>
                      <a:pt x="92" y="473"/>
                    </a:lnTo>
                    <a:lnTo>
                      <a:pt x="92" y="471"/>
                    </a:lnTo>
                    <a:lnTo>
                      <a:pt x="92" y="470"/>
                    </a:lnTo>
                    <a:lnTo>
                      <a:pt x="94" y="470"/>
                    </a:lnTo>
                    <a:lnTo>
                      <a:pt x="94" y="468"/>
                    </a:lnTo>
                    <a:lnTo>
                      <a:pt x="96" y="468"/>
                    </a:lnTo>
                    <a:lnTo>
                      <a:pt x="98" y="468"/>
                    </a:lnTo>
                    <a:lnTo>
                      <a:pt x="98" y="466"/>
                    </a:lnTo>
                    <a:lnTo>
                      <a:pt x="98" y="468"/>
                    </a:lnTo>
                    <a:lnTo>
                      <a:pt x="100" y="468"/>
                    </a:lnTo>
                    <a:lnTo>
                      <a:pt x="100" y="466"/>
                    </a:lnTo>
                    <a:lnTo>
                      <a:pt x="102" y="466"/>
                    </a:lnTo>
                    <a:lnTo>
                      <a:pt x="102" y="464"/>
                    </a:lnTo>
                    <a:lnTo>
                      <a:pt x="103" y="464"/>
                    </a:lnTo>
                    <a:lnTo>
                      <a:pt x="105" y="464"/>
                    </a:lnTo>
                    <a:lnTo>
                      <a:pt x="105" y="462"/>
                    </a:lnTo>
                    <a:lnTo>
                      <a:pt x="109" y="462"/>
                    </a:lnTo>
                    <a:lnTo>
                      <a:pt x="111" y="462"/>
                    </a:lnTo>
                    <a:lnTo>
                      <a:pt x="111" y="460"/>
                    </a:lnTo>
                    <a:lnTo>
                      <a:pt x="111" y="458"/>
                    </a:lnTo>
                    <a:lnTo>
                      <a:pt x="113" y="458"/>
                    </a:lnTo>
                    <a:lnTo>
                      <a:pt x="113" y="456"/>
                    </a:lnTo>
                    <a:lnTo>
                      <a:pt x="115" y="456"/>
                    </a:lnTo>
                    <a:lnTo>
                      <a:pt x="115" y="454"/>
                    </a:lnTo>
                    <a:lnTo>
                      <a:pt x="117" y="454"/>
                    </a:lnTo>
                    <a:lnTo>
                      <a:pt x="119" y="454"/>
                    </a:lnTo>
                    <a:lnTo>
                      <a:pt x="123" y="452"/>
                    </a:lnTo>
                    <a:lnTo>
                      <a:pt x="125" y="452"/>
                    </a:lnTo>
                    <a:lnTo>
                      <a:pt x="125" y="450"/>
                    </a:lnTo>
                    <a:lnTo>
                      <a:pt x="125" y="448"/>
                    </a:lnTo>
                    <a:lnTo>
                      <a:pt x="125" y="446"/>
                    </a:lnTo>
                    <a:lnTo>
                      <a:pt x="126" y="446"/>
                    </a:lnTo>
                    <a:lnTo>
                      <a:pt x="128" y="448"/>
                    </a:lnTo>
                    <a:lnTo>
                      <a:pt x="128" y="450"/>
                    </a:lnTo>
                    <a:lnTo>
                      <a:pt x="130" y="450"/>
                    </a:lnTo>
                    <a:lnTo>
                      <a:pt x="130" y="446"/>
                    </a:lnTo>
                    <a:lnTo>
                      <a:pt x="132" y="446"/>
                    </a:lnTo>
                    <a:lnTo>
                      <a:pt x="132" y="445"/>
                    </a:lnTo>
                    <a:lnTo>
                      <a:pt x="134" y="445"/>
                    </a:lnTo>
                    <a:lnTo>
                      <a:pt x="134" y="443"/>
                    </a:lnTo>
                    <a:lnTo>
                      <a:pt x="136" y="443"/>
                    </a:lnTo>
                    <a:lnTo>
                      <a:pt x="134" y="441"/>
                    </a:lnTo>
                    <a:lnTo>
                      <a:pt x="134" y="439"/>
                    </a:lnTo>
                    <a:lnTo>
                      <a:pt x="136" y="437"/>
                    </a:lnTo>
                    <a:lnTo>
                      <a:pt x="138" y="437"/>
                    </a:lnTo>
                    <a:lnTo>
                      <a:pt x="138" y="435"/>
                    </a:lnTo>
                    <a:lnTo>
                      <a:pt x="136" y="433"/>
                    </a:lnTo>
                    <a:lnTo>
                      <a:pt x="134" y="431"/>
                    </a:lnTo>
                    <a:lnTo>
                      <a:pt x="134" y="433"/>
                    </a:lnTo>
                    <a:lnTo>
                      <a:pt x="132" y="433"/>
                    </a:lnTo>
                    <a:lnTo>
                      <a:pt x="130" y="433"/>
                    </a:lnTo>
                    <a:lnTo>
                      <a:pt x="128" y="431"/>
                    </a:lnTo>
                    <a:lnTo>
                      <a:pt x="126" y="429"/>
                    </a:lnTo>
                    <a:lnTo>
                      <a:pt x="125" y="429"/>
                    </a:lnTo>
                    <a:lnTo>
                      <a:pt x="123" y="429"/>
                    </a:lnTo>
                    <a:lnTo>
                      <a:pt x="121" y="429"/>
                    </a:lnTo>
                    <a:lnTo>
                      <a:pt x="119" y="429"/>
                    </a:lnTo>
                    <a:lnTo>
                      <a:pt x="119" y="423"/>
                    </a:lnTo>
                    <a:lnTo>
                      <a:pt x="117" y="416"/>
                    </a:lnTo>
                    <a:lnTo>
                      <a:pt x="115" y="404"/>
                    </a:lnTo>
                    <a:lnTo>
                      <a:pt x="113" y="393"/>
                    </a:lnTo>
                    <a:lnTo>
                      <a:pt x="113" y="391"/>
                    </a:lnTo>
                    <a:lnTo>
                      <a:pt x="113" y="389"/>
                    </a:lnTo>
                    <a:lnTo>
                      <a:pt x="111" y="389"/>
                    </a:lnTo>
                    <a:lnTo>
                      <a:pt x="109" y="389"/>
                    </a:lnTo>
                    <a:lnTo>
                      <a:pt x="107" y="389"/>
                    </a:lnTo>
                    <a:lnTo>
                      <a:pt x="105" y="389"/>
                    </a:lnTo>
                    <a:lnTo>
                      <a:pt x="105" y="387"/>
                    </a:lnTo>
                    <a:lnTo>
                      <a:pt x="105" y="385"/>
                    </a:lnTo>
                    <a:lnTo>
                      <a:pt x="103" y="387"/>
                    </a:lnTo>
                    <a:lnTo>
                      <a:pt x="103" y="385"/>
                    </a:lnTo>
                    <a:lnTo>
                      <a:pt x="103" y="383"/>
                    </a:lnTo>
                    <a:lnTo>
                      <a:pt x="103" y="381"/>
                    </a:lnTo>
                    <a:lnTo>
                      <a:pt x="102" y="381"/>
                    </a:lnTo>
                    <a:lnTo>
                      <a:pt x="100" y="381"/>
                    </a:lnTo>
                    <a:lnTo>
                      <a:pt x="98" y="381"/>
                    </a:lnTo>
                    <a:lnTo>
                      <a:pt x="96" y="381"/>
                    </a:lnTo>
                    <a:lnTo>
                      <a:pt x="94" y="381"/>
                    </a:lnTo>
                    <a:lnTo>
                      <a:pt x="94" y="379"/>
                    </a:lnTo>
                    <a:lnTo>
                      <a:pt x="92" y="379"/>
                    </a:lnTo>
                    <a:lnTo>
                      <a:pt x="90" y="379"/>
                    </a:lnTo>
                    <a:lnTo>
                      <a:pt x="88" y="379"/>
                    </a:lnTo>
                    <a:lnTo>
                      <a:pt x="90" y="377"/>
                    </a:lnTo>
                    <a:lnTo>
                      <a:pt x="88" y="377"/>
                    </a:lnTo>
                    <a:lnTo>
                      <a:pt x="88" y="375"/>
                    </a:lnTo>
                    <a:lnTo>
                      <a:pt x="90" y="375"/>
                    </a:lnTo>
                    <a:lnTo>
                      <a:pt x="92" y="375"/>
                    </a:lnTo>
                    <a:lnTo>
                      <a:pt x="92" y="373"/>
                    </a:lnTo>
                    <a:lnTo>
                      <a:pt x="94" y="373"/>
                    </a:lnTo>
                    <a:lnTo>
                      <a:pt x="94" y="371"/>
                    </a:lnTo>
                    <a:lnTo>
                      <a:pt x="94" y="370"/>
                    </a:lnTo>
                    <a:lnTo>
                      <a:pt x="92" y="370"/>
                    </a:lnTo>
                    <a:lnTo>
                      <a:pt x="90" y="370"/>
                    </a:lnTo>
                    <a:lnTo>
                      <a:pt x="88" y="370"/>
                    </a:lnTo>
                    <a:lnTo>
                      <a:pt x="86" y="370"/>
                    </a:lnTo>
                    <a:lnTo>
                      <a:pt x="86" y="368"/>
                    </a:lnTo>
                    <a:lnTo>
                      <a:pt x="86" y="370"/>
                    </a:lnTo>
                    <a:lnTo>
                      <a:pt x="84" y="370"/>
                    </a:lnTo>
                    <a:lnTo>
                      <a:pt x="84" y="368"/>
                    </a:lnTo>
                    <a:lnTo>
                      <a:pt x="84" y="366"/>
                    </a:lnTo>
                    <a:lnTo>
                      <a:pt x="82" y="366"/>
                    </a:lnTo>
                    <a:lnTo>
                      <a:pt x="80" y="366"/>
                    </a:lnTo>
                    <a:lnTo>
                      <a:pt x="80" y="364"/>
                    </a:lnTo>
                    <a:lnTo>
                      <a:pt x="78" y="364"/>
                    </a:lnTo>
                    <a:lnTo>
                      <a:pt x="78" y="362"/>
                    </a:lnTo>
                    <a:lnTo>
                      <a:pt x="78" y="360"/>
                    </a:lnTo>
                    <a:lnTo>
                      <a:pt x="78" y="358"/>
                    </a:lnTo>
                    <a:lnTo>
                      <a:pt x="77" y="358"/>
                    </a:lnTo>
                    <a:lnTo>
                      <a:pt x="78" y="358"/>
                    </a:lnTo>
                    <a:lnTo>
                      <a:pt x="77" y="358"/>
                    </a:lnTo>
                    <a:lnTo>
                      <a:pt x="78" y="358"/>
                    </a:lnTo>
                    <a:lnTo>
                      <a:pt x="78" y="356"/>
                    </a:lnTo>
                    <a:lnTo>
                      <a:pt x="78" y="358"/>
                    </a:lnTo>
                    <a:lnTo>
                      <a:pt x="78" y="356"/>
                    </a:lnTo>
                    <a:lnTo>
                      <a:pt x="77" y="356"/>
                    </a:lnTo>
                    <a:lnTo>
                      <a:pt x="77" y="354"/>
                    </a:lnTo>
                    <a:lnTo>
                      <a:pt x="77" y="352"/>
                    </a:lnTo>
                    <a:lnTo>
                      <a:pt x="78" y="352"/>
                    </a:lnTo>
                    <a:lnTo>
                      <a:pt x="80" y="352"/>
                    </a:lnTo>
                    <a:lnTo>
                      <a:pt x="80" y="350"/>
                    </a:lnTo>
                    <a:lnTo>
                      <a:pt x="78" y="350"/>
                    </a:lnTo>
                    <a:lnTo>
                      <a:pt x="80" y="350"/>
                    </a:lnTo>
                    <a:lnTo>
                      <a:pt x="82" y="350"/>
                    </a:lnTo>
                    <a:lnTo>
                      <a:pt x="80" y="348"/>
                    </a:lnTo>
                    <a:lnTo>
                      <a:pt x="80" y="350"/>
                    </a:lnTo>
                    <a:lnTo>
                      <a:pt x="80" y="348"/>
                    </a:lnTo>
                    <a:lnTo>
                      <a:pt x="78" y="348"/>
                    </a:lnTo>
                    <a:lnTo>
                      <a:pt x="78" y="350"/>
                    </a:lnTo>
                    <a:lnTo>
                      <a:pt x="78" y="348"/>
                    </a:lnTo>
                    <a:lnTo>
                      <a:pt x="78" y="350"/>
                    </a:lnTo>
                    <a:lnTo>
                      <a:pt x="77" y="348"/>
                    </a:lnTo>
                    <a:lnTo>
                      <a:pt x="77" y="346"/>
                    </a:lnTo>
                    <a:lnTo>
                      <a:pt x="78" y="346"/>
                    </a:lnTo>
                    <a:lnTo>
                      <a:pt x="78" y="345"/>
                    </a:lnTo>
                    <a:lnTo>
                      <a:pt x="80" y="345"/>
                    </a:lnTo>
                    <a:lnTo>
                      <a:pt x="78" y="343"/>
                    </a:lnTo>
                    <a:lnTo>
                      <a:pt x="77" y="343"/>
                    </a:lnTo>
                    <a:lnTo>
                      <a:pt x="77" y="341"/>
                    </a:lnTo>
                    <a:lnTo>
                      <a:pt x="78" y="341"/>
                    </a:lnTo>
                    <a:lnTo>
                      <a:pt x="78" y="339"/>
                    </a:lnTo>
                    <a:lnTo>
                      <a:pt x="77" y="339"/>
                    </a:lnTo>
                    <a:lnTo>
                      <a:pt x="75" y="339"/>
                    </a:lnTo>
                    <a:lnTo>
                      <a:pt x="73" y="339"/>
                    </a:lnTo>
                    <a:lnTo>
                      <a:pt x="73" y="341"/>
                    </a:lnTo>
                    <a:lnTo>
                      <a:pt x="71" y="341"/>
                    </a:lnTo>
                    <a:lnTo>
                      <a:pt x="69" y="341"/>
                    </a:lnTo>
                    <a:lnTo>
                      <a:pt x="67" y="341"/>
                    </a:lnTo>
                    <a:lnTo>
                      <a:pt x="67" y="339"/>
                    </a:lnTo>
                    <a:lnTo>
                      <a:pt x="67" y="337"/>
                    </a:lnTo>
                    <a:lnTo>
                      <a:pt x="69" y="337"/>
                    </a:lnTo>
                    <a:lnTo>
                      <a:pt x="71" y="337"/>
                    </a:lnTo>
                    <a:lnTo>
                      <a:pt x="71" y="335"/>
                    </a:lnTo>
                    <a:lnTo>
                      <a:pt x="71" y="337"/>
                    </a:lnTo>
                    <a:lnTo>
                      <a:pt x="71" y="335"/>
                    </a:lnTo>
                    <a:lnTo>
                      <a:pt x="73" y="335"/>
                    </a:lnTo>
                    <a:lnTo>
                      <a:pt x="73" y="333"/>
                    </a:lnTo>
                    <a:lnTo>
                      <a:pt x="71" y="333"/>
                    </a:lnTo>
                    <a:lnTo>
                      <a:pt x="71" y="331"/>
                    </a:lnTo>
                    <a:lnTo>
                      <a:pt x="69" y="331"/>
                    </a:lnTo>
                    <a:lnTo>
                      <a:pt x="69" y="329"/>
                    </a:lnTo>
                    <a:lnTo>
                      <a:pt x="69" y="331"/>
                    </a:lnTo>
                    <a:lnTo>
                      <a:pt x="67" y="331"/>
                    </a:lnTo>
                    <a:lnTo>
                      <a:pt x="67" y="329"/>
                    </a:lnTo>
                    <a:lnTo>
                      <a:pt x="67" y="331"/>
                    </a:lnTo>
                    <a:lnTo>
                      <a:pt x="67" y="329"/>
                    </a:lnTo>
                    <a:lnTo>
                      <a:pt x="65" y="331"/>
                    </a:lnTo>
                    <a:lnTo>
                      <a:pt x="65" y="329"/>
                    </a:lnTo>
                    <a:lnTo>
                      <a:pt x="63" y="329"/>
                    </a:lnTo>
                    <a:lnTo>
                      <a:pt x="61" y="329"/>
                    </a:lnTo>
                    <a:lnTo>
                      <a:pt x="61" y="327"/>
                    </a:lnTo>
                    <a:lnTo>
                      <a:pt x="63" y="327"/>
                    </a:lnTo>
                    <a:lnTo>
                      <a:pt x="65" y="327"/>
                    </a:lnTo>
                    <a:lnTo>
                      <a:pt x="67" y="327"/>
                    </a:lnTo>
                    <a:lnTo>
                      <a:pt x="69" y="327"/>
                    </a:lnTo>
                    <a:lnTo>
                      <a:pt x="71" y="327"/>
                    </a:lnTo>
                    <a:lnTo>
                      <a:pt x="71" y="325"/>
                    </a:lnTo>
                    <a:lnTo>
                      <a:pt x="73" y="325"/>
                    </a:lnTo>
                    <a:lnTo>
                      <a:pt x="73" y="323"/>
                    </a:lnTo>
                    <a:lnTo>
                      <a:pt x="73" y="321"/>
                    </a:lnTo>
                    <a:lnTo>
                      <a:pt x="75" y="320"/>
                    </a:lnTo>
                    <a:lnTo>
                      <a:pt x="75" y="318"/>
                    </a:lnTo>
                    <a:lnTo>
                      <a:pt x="77" y="318"/>
                    </a:lnTo>
                    <a:lnTo>
                      <a:pt x="78" y="318"/>
                    </a:lnTo>
                    <a:lnTo>
                      <a:pt x="78" y="316"/>
                    </a:lnTo>
                    <a:lnTo>
                      <a:pt x="80" y="316"/>
                    </a:lnTo>
                    <a:lnTo>
                      <a:pt x="82" y="316"/>
                    </a:lnTo>
                    <a:lnTo>
                      <a:pt x="82" y="314"/>
                    </a:lnTo>
                    <a:lnTo>
                      <a:pt x="84" y="314"/>
                    </a:lnTo>
                    <a:lnTo>
                      <a:pt x="84" y="312"/>
                    </a:lnTo>
                    <a:lnTo>
                      <a:pt x="82" y="314"/>
                    </a:lnTo>
                    <a:lnTo>
                      <a:pt x="82" y="312"/>
                    </a:lnTo>
                    <a:lnTo>
                      <a:pt x="82" y="314"/>
                    </a:lnTo>
                    <a:lnTo>
                      <a:pt x="82" y="312"/>
                    </a:lnTo>
                    <a:lnTo>
                      <a:pt x="80" y="312"/>
                    </a:lnTo>
                    <a:lnTo>
                      <a:pt x="82" y="312"/>
                    </a:lnTo>
                    <a:lnTo>
                      <a:pt x="82" y="310"/>
                    </a:lnTo>
                    <a:lnTo>
                      <a:pt x="80" y="310"/>
                    </a:lnTo>
                    <a:lnTo>
                      <a:pt x="80" y="312"/>
                    </a:lnTo>
                    <a:lnTo>
                      <a:pt x="80" y="310"/>
                    </a:lnTo>
                    <a:lnTo>
                      <a:pt x="78" y="310"/>
                    </a:lnTo>
                    <a:lnTo>
                      <a:pt x="77" y="310"/>
                    </a:lnTo>
                    <a:lnTo>
                      <a:pt x="75" y="310"/>
                    </a:lnTo>
                    <a:lnTo>
                      <a:pt x="73" y="310"/>
                    </a:lnTo>
                    <a:lnTo>
                      <a:pt x="75" y="308"/>
                    </a:lnTo>
                    <a:lnTo>
                      <a:pt x="75" y="306"/>
                    </a:lnTo>
                    <a:lnTo>
                      <a:pt x="75" y="304"/>
                    </a:lnTo>
                    <a:lnTo>
                      <a:pt x="77" y="304"/>
                    </a:lnTo>
                    <a:lnTo>
                      <a:pt x="80" y="300"/>
                    </a:lnTo>
                    <a:lnTo>
                      <a:pt x="82" y="300"/>
                    </a:lnTo>
                    <a:lnTo>
                      <a:pt x="84" y="302"/>
                    </a:lnTo>
                    <a:lnTo>
                      <a:pt x="86" y="302"/>
                    </a:lnTo>
                    <a:lnTo>
                      <a:pt x="88" y="304"/>
                    </a:lnTo>
                    <a:lnTo>
                      <a:pt x="90" y="304"/>
                    </a:lnTo>
                    <a:lnTo>
                      <a:pt x="92" y="304"/>
                    </a:lnTo>
                    <a:lnTo>
                      <a:pt x="94" y="304"/>
                    </a:lnTo>
                    <a:lnTo>
                      <a:pt x="96" y="304"/>
                    </a:lnTo>
                    <a:lnTo>
                      <a:pt x="98" y="304"/>
                    </a:lnTo>
                    <a:lnTo>
                      <a:pt x="100" y="304"/>
                    </a:lnTo>
                    <a:lnTo>
                      <a:pt x="102" y="304"/>
                    </a:lnTo>
                    <a:lnTo>
                      <a:pt x="103" y="304"/>
                    </a:lnTo>
                    <a:lnTo>
                      <a:pt x="105" y="304"/>
                    </a:lnTo>
                    <a:lnTo>
                      <a:pt x="107" y="304"/>
                    </a:lnTo>
                    <a:lnTo>
                      <a:pt x="111" y="304"/>
                    </a:lnTo>
                    <a:lnTo>
                      <a:pt x="111" y="302"/>
                    </a:lnTo>
                    <a:lnTo>
                      <a:pt x="113" y="302"/>
                    </a:lnTo>
                    <a:lnTo>
                      <a:pt x="115" y="302"/>
                    </a:lnTo>
                    <a:lnTo>
                      <a:pt x="117" y="300"/>
                    </a:lnTo>
                    <a:lnTo>
                      <a:pt x="119" y="298"/>
                    </a:lnTo>
                    <a:lnTo>
                      <a:pt x="119" y="296"/>
                    </a:lnTo>
                    <a:lnTo>
                      <a:pt x="117" y="296"/>
                    </a:lnTo>
                    <a:lnTo>
                      <a:pt x="117" y="295"/>
                    </a:lnTo>
                    <a:lnTo>
                      <a:pt x="117" y="293"/>
                    </a:lnTo>
                    <a:lnTo>
                      <a:pt x="115" y="293"/>
                    </a:lnTo>
                    <a:lnTo>
                      <a:pt x="115" y="291"/>
                    </a:lnTo>
                    <a:lnTo>
                      <a:pt x="113" y="289"/>
                    </a:lnTo>
                    <a:lnTo>
                      <a:pt x="113" y="287"/>
                    </a:lnTo>
                    <a:lnTo>
                      <a:pt x="115" y="289"/>
                    </a:lnTo>
                    <a:lnTo>
                      <a:pt x="117" y="291"/>
                    </a:lnTo>
                    <a:lnTo>
                      <a:pt x="119" y="291"/>
                    </a:lnTo>
                    <a:lnTo>
                      <a:pt x="121" y="293"/>
                    </a:lnTo>
                    <a:lnTo>
                      <a:pt x="123" y="293"/>
                    </a:lnTo>
                    <a:lnTo>
                      <a:pt x="123" y="295"/>
                    </a:lnTo>
                    <a:lnTo>
                      <a:pt x="125" y="296"/>
                    </a:lnTo>
                    <a:lnTo>
                      <a:pt x="125" y="298"/>
                    </a:lnTo>
                    <a:lnTo>
                      <a:pt x="126" y="298"/>
                    </a:lnTo>
                    <a:lnTo>
                      <a:pt x="126" y="300"/>
                    </a:lnTo>
                    <a:lnTo>
                      <a:pt x="128" y="300"/>
                    </a:lnTo>
                    <a:lnTo>
                      <a:pt x="128" y="302"/>
                    </a:lnTo>
                    <a:lnTo>
                      <a:pt x="130" y="302"/>
                    </a:lnTo>
                    <a:lnTo>
                      <a:pt x="130" y="304"/>
                    </a:lnTo>
                    <a:lnTo>
                      <a:pt x="130" y="306"/>
                    </a:lnTo>
                    <a:lnTo>
                      <a:pt x="130" y="308"/>
                    </a:lnTo>
                    <a:lnTo>
                      <a:pt x="130" y="306"/>
                    </a:lnTo>
                    <a:lnTo>
                      <a:pt x="130" y="308"/>
                    </a:lnTo>
                    <a:lnTo>
                      <a:pt x="130" y="306"/>
                    </a:lnTo>
                    <a:lnTo>
                      <a:pt x="128" y="306"/>
                    </a:lnTo>
                    <a:close/>
                    <a:moveTo>
                      <a:pt x="361" y="593"/>
                    </a:moveTo>
                    <a:lnTo>
                      <a:pt x="361" y="594"/>
                    </a:lnTo>
                    <a:lnTo>
                      <a:pt x="359" y="594"/>
                    </a:lnTo>
                    <a:lnTo>
                      <a:pt x="361" y="594"/>
                    </a:lnTo>
                    <a:lnTo>
                      <a:pt x="361" y="596"/>
                    </a:lnTo>
                    <a:lnTo>
                      <a:pt x="359" y="596"/>
                    </a:lnTo>
                    <a:lnTo>
                      <a:pt x="357" y="596"/>
                    </a:lnTo>
                    <a:lnTo>
                      <a:pt x="357" y="598"/>
                    </a:lnTo>
                    <a:lnTo>
                      <a:pt x="355" y="598"/>
                    </a:lnTo>
                    <a:lnTo>
                      <a:pt x="355" y="596"/>
                    </a:lnTo>
                    <a:lnTo>
                      <a:pt x="353" y="596"/>
                    </a:lnTo>
                    <a:lnTo>
                      <a:pt x="353" y="598"/>
                    </a:lnTo>
                    <a:lnTo>
                      <a:pt x="351" y="598"/>
                    </a:lnTo>
                    <a:lnTo>
                      <a:pt x="353" y="598"/>
                    </a:lnTo>
                    <a:lnTo>
                      <a:pt x="353" y="596"/>
                    </a:lnTo>
                    <a:lnTo>
                      <a:pt x="355" y="596"/>
                    </a:lnTo>
                    <a:lnTo>
                      <a:pt x="355" y="598"/>
                    </a:lnTo>
                    <a:lnTo>
                      <a:pt x="357" y="598"/>
                    </a:lnTo>
                    <a:lnTo>
                      <a:pt x="357" y="596"/>
                    </a:lnTo>
                    <a:lnTo>
                      <a:pt x="359" y="596"/>
                    </a:lnTo>
                    <a:lnTo>
                      <a:pt x="361" y="596"/>
                    </a:lnTo>
                    <a:lnTo>
                      <a:pt x="361" y="594"/>
                    </a:lnTo>
                    <a:lnTo>
                      <a:pt x="359" y="594"/>
                    </a:lnTo>
                    <a:lnTo>
                      <a:pt x="361" y="594"/>
                    </a:lnTo>
                    <a:lnTo>
                      <a:pt x="361" y="593"/>
                    </a:lnTo>
                    <a:lnTo>
                      <a:pt x="361" y="591"/>
                    </a:lnTo>
                    <a:lnTo>
                      <a:pt x="359" y="591"/>
                    </a:lnTo>
                    <a:lnTo>
                      <a:pt x="359" y="589"/>
                    </a:lnTo>
                    <a:lnTo>
                      <a:pt x="357" y="589"/>
                    </a:lnTo>
                    <a:lnTo>
                      <a:pt x="357" y="587"/>
                    </a:lnTo>
                    <a:lnTo>
                      <a:pt x="359" y="587"/>
                    </a:lnTo>
                    <a:lnTo>
                      <a:pt x="361" y="587"/>
                    </a:lnTo>
                    <a:lnTo>
                      <a:pt x="361" y="585"/>
                    </a:lnTo>
                    <a:lnTo>
                      <a:pt x="361" y="583"/>
                    </a:lnTo>
                    <a:lnTo>
                      <a:pt x="363" y="583"/>
                    </a:lnTo>
                    <a:lnTo>
                      <a:pt x="365" y="583"/>
                    </a:lnTo>
                    <a:lnTo>
                      <a:pt x="363" y="583"/>
                    </a:lnTo>
                    <a:lnTo>
                      <a:pt x="363" y="581"/>
                    </a:lnTo>
                    <a:lnTo>
                      <a:pt x="365" y="583"/>
                    </a:lnTo>
                    <a:lnTo>
                      <a:pt x="363" y="583"/>
                    </a:lnTo>
                    <a:lnTo>
                      <a:pt x="361" y="583"/>
                    </a:lnTo>
                    <a:lnTo>
                      <a:pt x="361" y="585"/>
                    </a:lnTo>
                    <a:lnTo>
                      <a:pt x="361" y="587"/>
                    </a:lnTo>
                    <a:lnTo>
                      <a:pt x="359" y="587"/>
                    </a:lnTo>
                    <a:lnTo>
                      <a:pt x="357" y="587"/>
                    </a:lnTo>
                    <a:lnTo>
                      <a:pt x="357" y="589"/>
                    </a:lnTo>
                    <a:lnTo>
                      <a:pt x="359" y="589"/>
                    </a:lnTo>
                    <a:lnTo>
                      <a:pt x="359" y="591"/>
                    </a:lnTo>
                    <a:lnTo>
                      <a:pt x="361" y="591"/>
                    </a:lnTo>
                    <a:lnTo>
                      <a:pt x="361" y="593"/>
                    </a:lnTo>
                    <a:close/>
                    <a:moveTo>
                      <a:pt x="472" y="677"/>
                    </a:moveTo>
                    <a:lnTo>
                      <a:pt x="472" y="679"/>
                    </a:lnTo>
                    <a:lnTo>
                      <a:pt x="474" y="679"/>
                    </a:lnTo>
                    <a:lnTo>
                      <a:pt x="472" y="679"/>
                    </a:lnTo>
                    <a:lnTo>
                      <a:pt x="472" y="677"/>
                    </a:lnTo>
                    <a:close/>
                    <a:moveTo>
                      <a:pt x="1181" y="64"/>
                    </a:moveTo>
                    <a:lnTo>
                      <a:pt x="1181" y="62"/>
                    </a:lnTo>
                    <a:lnTo>
                      <a:pt x="1179" y="62"/>
                    </a:lnTo>
                    <a:lnTo>
                      <a:pt x="1179" y="64"/>
                    </a:lnTo>
                    <a:lnTo>
                      <a:pt x="1179" y="62"/>
                    </a:lnTo>
                    <a:lnTo>
                      <a:pt x="1179" y="64"/>
                    </a:lnTo>
                    <a:lnTo>
                      <a:pt x="1179" y="62"/>
                    </a:lnTo>
                    <a:lnTo>
                      <a:pt x="1177" y="62"/>
                    </a:lnTo>
                    <a:lnTo>
                      <a:pt x="1179" y="62"/>
                    </a:lnTo>
                    <a:lnTo>
                      <a:pt x="1179" y="64"/>
                    </a:lnTo>
                    <a:lnTo>
                      <a:pt x="1181" y="64"/>
                    </a:lnTo>
                    <a:lnTo>
                      <a:pt x="1179" y="64"/>
                    </a:lnTo>
                    <a:lnTo>
                      <a:pt x="1181" y="62"/>
                    </a:lnTo>
                    <a:lnTo>
                      <a:pt x="1181" y="64"/>
                    </a:lnTo>
                    <a:close/>
                    <a:moveTo>
                      <a:pt x="482" y="581"/>
                    </a:moveTo>
                    <a:lnTo>
                      <a:pt x="480" y="581"/>
                    </a:lnTo>
                    <a:lnTo>
                      <a:pt x="480" y="583"/>
                    </a:lnTo>
                    <a:lnTo>
                      <a:pt x="480" y="581"/>
                    </a:lnTo>
                    <a:lnTo>
                      <a:pt x="478" y="581"/>
                    </a:lnTo>
                    <a:lnTo>
                      <a:pt x="478" y="583"/>
                    </a:lnTo>
                    <a:lnTo>
                      <a:pt x="478" y="581"/>
                    </a:lnTo>
                    <a:lnTo>
                      <a:pt x="478" y="583"/>
                    </a:lnTo>
                    <a:lnTo>
                      <a:pt x="476" y="583"/>
                    </a:lnTo>
                    <a:lnTo>
                      <a:pt x="476" y="581"/>
                    </a:lnTo>
                    <a:lnTo>
                      <a:pt x="476" y="583"/>
                    </a:lnTo>
                    <a:lnTo>
                      <a:pt x="478" y="583"/>
                    </a:lnTo>
                    <a:lnTo>
                      <a:pt x="478" y="581"/>
                    </a:lnTo>
                    <a:lnTo>
                      <a:pt x="478" y="583"/>
                    </a:lnTo>
                    <a:lnTo>
                      <a:pt x="478" y="581"/>
                    </a:lnTo>
                    <a:lnTo>
                      <a:pt x="480" y="581"/>
                    </a:lnTo>
                    <a:lnTo>
                      <a:pt x="480" y="583"/>
                    </a:lnTo>
                    <a:lnTo>
                      <a:pt x="480" y="581"/>
                    </a:lnTo>
                    <a:lnTo>
                      <a:pt x="482" y="581"/>
                    </a:lnTo>
                    <a:close/>
                    <a:moveTo>
                      <a:pt x="922" y="231"/>
                    </a:moveTo>
                    <a:lnTo>
                      <a:pt x="924" y="231"/>
                    </a:lnTo>
                    <a:lnTo>
                      <a:pt x="922" y="231"/>
                    </a:lnTo>
                    <a:close/>
                    <a:moveTo>
                      <a:pt x="912" y="129"/>
                    </a:moveTo>
                    <a:lnTo>
                      <a:pt x="914" y="129"/>
                    </a:lnTo>
                    <a:lnTo>
                      <a:pt x="912" y="129"/>
                    </a:lnTo>
                    <a:close/>
                    <a:moveTo>
                      <a:pt x="657" y="256"/>
                    </a:moveTo>
                    <a:lnTo>
                      <a:pt x="659" y="256"/>
                    </a:lnTo>
                    <a:lnTo>
                      <a:pt x="657" y="256"/>
                    </a:lnTo>
                    <a:close/>
                    <a:moveTo>
                      <a:pt x="645" y="287"/>
                    </a:moveTo>
                    <a:lnTo>
                      <a:pt x="645" y="285"/>
                    </a:lnTo>
                    <a:lnTo>
                      <a:pt x="645" y="287"/>
                    </a:lnTo>
                    <a:lnTo>
                      <a:pt x="645" y="285"/>
                    </a:lnTo>
                    <a:lnTo>
                      <a:pt x="647" y="285"/>
                    </a:lnTo>
                    <a:lnTo>
                      <a:pt x="645" y="285"/>
                    </a:lnTo>
                    <a:lnTo>
                      <a:pt x="647" y="285"/>
                    </a:lnTo>
                    <a:lnTo>
                      <a:pt x="645" y="285"/>
                    </a:lnTo>
                    <a:lnTo>
                      <a:pt x="645" y="287"/>
                    </a:lnTo>
                    <a:lnTo>
                      <a:pt x="645" y="285"/>
                    </a:lnTo>
                    <a:lnTo>
                      <a:pt x="645" y="287"/>
                    </a:lnTo>
                    <a:close/>
                    <a:moveTo>
                      <a:pt x="645" y="287"/>
                    </a:moveTo>
                    <a:lnTo>
                      <a:pt x="643" y="287"/>
                    </a:lnTo>
                    <a:lnTo>
                      <a:pt x="641" y="287"/>
                    </a:lnTo>
                    <a:lnTo>
                      <a:pt x="639" y="287"/>
                    </a:lnTo>
                    <a:lnTo>
                      <a:pt x="641" y="285"/>
                    </a:lnTo>
                    <a:lnTo>
                      <a:pt x="639" y="285"/>
                    </a:lnTo>
                    <a:lnTo>
                      <a:pt x="639" y="287"/>
                    </a:lnTo>
                    <a:lnTo>
                      <a:pt x="639" y="285"/>
                    </a:lnTo>
                    <a:lnTo>
                      <a:pt x="638" y="285"/>
                    </a:lnTo>
                    <a:lnTo>
                      <a:pt x="636" y="285"/>
                    </a:lnTo>
                    <a:lnTo>
                      <a:pt x="638" y="285"/>
                    </a:lnTo>
                    <a:lnTo>
                      <a:pt x="636" y="285"/>
                    </a:lnTo>
                    <a:lnTo>
                      <a:pt x="634" y="285"/>
                    </a:lnTo>
                    <a:lnTo>
                      <a:pt x="636" y="285"/>
                    </a:lnTo>
                    <a:lnTo>
                      <a:pt x="638" y="285"/>
                    </a:lnTo>
                    <a:lnTo>
                      <a:pt x="636" y="285"/>
                    </a:lnTo>
                    <a:lnTo>
                      <a:pt x="638" y="285"/>
                    </a:lnTo>
                    <a:lnTo>
                      <a:pt x="639" y="285"/>
                    </a:lnTo>
                    <a:lnTo>
                      <a:pt x="639" y="287"/>
                    </a:lnTo>
                    <a:lnTo>
                      <a:pt x="639" y="285"/>
                    </a:lnTo>
                    <a:lnTo>
                      <a:pt x="641" y="285"/>
                    </a:lnTo>
                    <a:lnTo>
                      <a:pt x="639" y="287"/>
                    </a:lnTo>
                    <a:lnTo>
                      <a:pt x="641" y="287"/>
                    </a:lnTo>
                    <a:lnTo>
                      <a:pt x="643" y="287"/>
                    </a:lnTo>
                    <a:lnTo>
                      <a:pt x="645" y="287"/>
                    </a:lnTo>
                    <a:close/>
                    <a:moveTo>
                      <a:pt x="634" y="285"/>
                    </a:moveTo>
                    <a:lnTo>
                      <a:pt x="632" y="285"/>
                    </a:lnTo>
                    <a:lnTo>
                      <a:pt x="634" y="285"/>
                    </a:lnTo>
                    <a:close/>
                    <a:moveTo>
                      <a:pt x="576" y="320"/>
                    </a:moveTo>
                    <a:lnTo>
                      <a:pt x="576" y="318"/>
                    </a:lnTo>
                    <a:lnTo>
                      <a:pt x="576" y="320"/>
                    </a:lnTo>
                    <a:lnTo>
                      <a:pt x="574" y="320"/>
                    </a:lnTo>
                    <a:lnTo>
                      <a:pt x="574" y="318"/>
                    </a:lnTo>
                    <a:lnTo>
                      <a:pt x="574" y="320"/>
                    </a:lnTo>
                    <a:lnTo>
                      <a:pt x="576" y="320"/>
                    </a:lnTo>
                    <a:close/>
                    <a:moveTo>
                      <a:pt x="647" y="0"/>
                    </a:moveTo>
                    <a:lnTo>
                      <a:pt x="645" y="0"/>
                    </a:lnTo>
                    <a:lnTo>
                      <a:pt x="647" y="0"/>
                    </a:lnTo>
                    <a:close/>
                    <a:moveTo>
                      <a:pt x="248" y="287"/>
                    </a:moveTo>
                    <a:lnTo>
                      <a:pt x="246" y="287"/>
                    </a:lnTo>
                    <a:lnTo>
                      <a:pt x="248" y="28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7" name="Freeform 107"/>
              <p:cNvSpPr>
                <a:spLocks noEditPoints="1"/>
              </p:cNvSpPr>
              <p:nvPr/>
            </p:nvSpPr>
            <p:spPr bwMode="auto">
              <a:xfrm>
                <a:off x="4555499" y="534038"/>
                <a:ext cx="2006249" cy="1756759"/>
              </a:xfrm>
              <a:custGeom>
                <a:avLst/>
                <a:gdLst>
                  <a:gd name="T0" fmla="*/ 524 w 1166"/>
                  <a:gd name="T1" fmla="*/ 973 h 1021"/>
                  <a:gd name="T2" fmla="*/ 505 w 1166"/>
                  <a:gd name="T3" fmla="*/ 961 h 1021"/>
                  <a:gd name="T4" fmla="*/ 478 w 1166"/>
                  <a:gd name="T5" fmla="*/ 953 h 1021"/>
                  <a:gd name="T6" fmla="*/ 463 w 1166"/>
                  <a:gd name="T7" fmla="*/ 944 h 1021"/>
                  <a:gd name="T8" fmla="*/ 455 w 1166"/>
                  <a:gd name="T9" fmla="*/ 944 h 1021"/>
                  <a:gd name="T10" fmla="*/ 451 w 1166"/>
                  <a:gd name="T11" fmla="*/ 938 h 1021"/>
                  <a:gd name="T12" fmla="*/ 447 w 1166"/>
                  <a:gd name="T13" fmla="*/ 940 h 1021"/>
                  <a:gd name="T14" fmla="*/ 430 w 1166"/>
                  <a:gd name="T15" fmla="*/ 923 h 1021"/>
                  <a:gd name="T16" fmla="*/ 420 w 1166"/>
                  <a:gd name="T17" fmla="*/ 909 h 1021"/>
                  <a:gd name="T18" fmla="*/ 420 w 1166"/>
                  <a:gd name="T19" fmla="*/ 898 h 1021"/>
                  <a:gd name="T20" fmla="*/ 407 w 1166"/>
                  <a:gd name="T21" fmla="*/ 878 h 1021"/>
                  <a:gd name="T22" fmla="*/ 399 w 1166"/>
                  <a:gd name="T23" fmla="*/ 867 h 1021"/>
                  <a:gd name="T24" fmla="*/ 384 w 1166"/>
                  <a:gd name="T25" fmla="*/ 850 h 1021"/>
                  <a:gd name="T26" fmla="*/ 380 w 1166"/>
                  <a:gd name="T27" fmla="*/ 828 h 1021"/>
                  <a:gd name="T28" fmla="*/ 357 w 1166"/>
                  <a:gd name="T29" fmla="*/ 803 h 1021"/>
                  <a:gd name="T30" fmla="*/ 849 w 1166"/>
                  <a:gd name="T31" fmla="*/ 582 h 1021"/>
                  <a:gd name="T32" fmla="*/ 1104 w 1166"/>
                  <a:gd name="T33" fmla="*/ 390 h 1021"/>
                  <a:gd name="T34" fmla="*/ 1102 w 1166"/>
                  <a:gd name="T35" fmla="*/ 373 h 1021"/>
                  <a:gd name="T36" fmla="*/ 1118 w 1166"/>
                  <a:gd name="T37" fmla="*/ 346 h 1021"/>
                  <a:gd name="T38" fmla="*/ 1160 w 1166"/>
                  <a:gd name="T39" fmla="*/ 304 h 1021"/>
                  <a:gd name="T40" fmla="*/ 1154 w 1166"/>
                  <a:gd name="T41" fmla="*/ 294 h 1021"/>
                  <a:gd name="T42" fmla="*/ 586 w 1166"/>
                  <a:gd name="T43" fmla="*/ 609 h 1021"/>
                  <a:gd name="T44" fmla="*/ 1116 w 1166"/>
                  <a:gd name="T45" fmla="*/ 273 h 1021"/>
                  <a:gd name="T46" fmla="*/ 1137 w 1166"/>
                  <a:gd name="T47" fmla="*/ 257 h 1021"/>
                  <a:gd name="T48" fmla="*/ 1097 w 1166"/>
                  <a:gd name="T49" fmla="*/ 269 h 1021"/>
                  <a:gd name="T50" fmla="*/ 378 w 1166"/>
                  <a:gd name="T51" fmla="*/ 623 h 1021"/>
                  <a:gd name="T52" fmla="*/ 1108 w 1166"/>
                  <a:gd name="T53" fmla="*/ 196 h 1021"/>
                  <a:gd name="T54" fmla="*/ 893 w 1166"/>
                  <a:gd name="T55" fmla="*/ 327 h 1021"/>
                  <a:gd name="T56" fmla="*/ 611 w 1166"/>
                  <a:gd name="T57" fmla="*/ 465 h 1021"/>
                  <a:gd name="T58" fmla="*/ 872 w 1166"/>
                  <a:gd name="T59" fmla="*/ 311 h 1021"/>
                  <a:gd name="T60" fmla="*/ 862 w 1166"/>
                  <a:gd name="T61" fmla="*/ 315 h 1021"/>
                  <a:gd name="T62" fmla="*/ 853 w 1166"/>
                  <a:gd name="T63" fmla="*/ 313 h 1021"/>
                  <a:gd name="T64" fmla="*/ 839 w 1166"/>
                  <a:gd name="T65" fmla="*/ 309 h 1021"/>
                  <a:gd name="T66" fmla="*/ 368 w 1166"/>
                  <a:gd name="T67" fmla="*/ 519 h 1021"/>
                  <a:gd name="T68" fmla="*/ 399 w 1166"/>
                  <a:gd name="T69" fmla="*/ 502 h 1021"/>
                  <a:gd name="T70" fmla="*/ 418 w 1166"/>
                  <a:gd name="T71" fmla="*/ 492 h 1021"/>
                  <a:gd name="T72" fmla="*/ 353 w 1166"/>
                  <a:gd name="T73" fmla="*/ 507 h 1021"/>
                  <a:gd name="T74" fmla="*/ 397 w 1166"/>
                  <a:gd name="T75" fmla="*/ 490 h 1021"/>
                  <a:gd name="T76" fmla="*/ 384 w 1166"/>
                  <a:gd name="T77" fmla="*/ 490 h 1021"/>
                  <a:gd name="T78" fmla="*/ 399 w 1166"/>
                  <a:gd name="T79" fmla="*/ 478 h 1021"/>
                  <a:gd name="T80" fmla="*/ 372 w 1166"/>
                  <a:gd name="T81" fmla="*/ 486 h 1021"/>
                  <a:gd name="T82" fmla="*/ 363 w 1166"/>
                  <a:gd name="T83" fmla="*/ 486 h 1021"/>
                  <a:gd name="T84" fmla="*/ 392 w 1166"/>
                  <a:gd name="T85" fmla="*/ 478 h 1021"/>
                  <a:gd name="T86" fmla="*/ 407 w 1166"/>
                  <a:gd name="T87" fmla="*/ 467 h 1021"/>
                  <a:gd name="T88" fmla="*/ 395 w 1166"/>
                  <a:gd name="T89" fmla="*/ 469 h 1021"/>
                  <a:gd name="T90" fmla="*/ 382 w 1166"/>
                  <a:gd name="T91" fmla="*/ 475 h 1021"/>
                  <a:gd name="T92" fmla="*/ 386 w 1166"/>
                  <a:gd name="T93" fmla="*/ 473 h 1021"/>
                  <a:gd name="T94" fmla="*/ 355 w 1166"/>
                  <a:gd name="T95" fmla="*/ 482 h 1021"/>
                  <a:gd name="T96" fmla="*/ 384 w 1166"/>
                  <a:gd name="T97" fmla="*/ 469 h 1021"/>
                  <a:gd name="T98" fmla="*/ 363 w 1166"/>
                  <a:gd name="T99" fmla="*/ 475 h 1021"/>
                  <a:gd name="T100" fmla="*/ 397 w 1166"/>
                  <a:gd name="T101" fmla="*/ 459 h 1021"/>
                  <a:gd name="T102" fmla="*/ 244 w 1166"/>
                  <a:gd name="T103" fmla="*/ 503 h 1021"/>
                  <a:gd name="T104" fmla="*/ 257 w 1166"/>
                  <a:gd name="T105" fmla="*/ 500 h 1021"/>
                  <a:gd name="T106" fmla="*/ 386 w 1166"/>
                  <a:gd name="T107" fmla="*/ 453 h 1021"/>
                  <a:gd name="T108" fmla="*/ 395 w 1166"/>
                  <a:gd name="T109" fmla="*/ 452 h 1021"/>
                  <a:gd name="T110" fmla="*/ 184 w 1166"/>
                  <a:gd name="T111" fmla="*/ 509 h 1021"/>
                  <a:gd name="T112" fmla="*/ 365 w 1166"/>
                  <a:gd name="T113" fmla="*/ 455 h 1021"/>
                  <a:gd name="T114" fmla="*/ 372 w 1166"/>
                  <a:gd name="T115" fmla="*/ 440 h 1021"/>
                  <a:gd name="T116" fmla="*/ 363 w 1166"/>
                  <a:gd name="T117" fmla="*/ 438 h 1021"/>
                  <a:gd name="T118" fmla="*/ 338 w 1166"/>
                  <a:gd name="T119" fmla="*/ 442 h 1021"/>
                  <a:gd name="T120" fmla="*/ 614 w 1166"/>
                  <a:gd name="T121" fmla="*/ 317 h 1021"/>
                  <a:gd name="T122" fmla="*/ 271 w 1166"/>
                  <a:gd name="T123" fmla="*/ 448 h 1021"/>
                  <a:gd name="T124" fmla="*/ 48 w 1166"/>
                  <a:gd name="T125" fmla="*/ 473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6" h="1021">
                    <a:moveTo>
                      <a:pt x="551" y="984"/>
                    </a:moveTo>
                    <a:lnTo>
                      <a:pt x="549" y="984"/>
                    </a:lnTo>
                    <a:lnTo>
                      <a:pt x="551" y="984"/>
                    </a:lnTo>
                    <a:close/>
                    <a:moveTo>
                      <a:pt x="545" y="984"/>
                    </a:moveTo>
                    <a:lnTo>
                      <a:pt x="547" y="984"/>
                    </a:lnTo>
                    <a:lnTo>
                      <a:pt x="549" y="984"/>
                    </a:lnTo>
                    <a:lnTo>
                      <a:pt x="547" y="984"/>
                    </a:lnTo>
                    <a:lnTo>
                      <a:pt x="545" y="984"/>
                    </a:lnTo>
                    <a:close/>
                    <a:moveTo>
                      <a:pt x="547" y="982"/>
                    </a:moveTo>
                    <a:lnTo>
                      <a:pt x="547" y="984"/>
                    </a:lnTo>
                    <a:lnTo>
                      <a:pt x="547" y="982"/>
                    </a:lnTo>
                    <a:lnTo>
                      <a:pt x="545" y="982"/>
                    </a:lnTo>
                    <a:lnTo>
                      <a:pt x="547" y="982"/>
                    </a:lnTo>
                    <a:close/>
                    <a:moveTo>
                      <a:pt x="549" y="982"/>
                    </a:moveTo>
                    <a:lnTo>
                      <a:pt x="549" y="984"/>
                    </a:lnTo>
                    <a:lnTo>
                      <a:pt x="547" y="984"/>
                    </a:lnTo>
                    <a:lnTo>
                      <a:pt x="547" y="982"/>
                    </a:lnTo>
                    <a:lnTo>
                      <a:pt x="545" y="982"/>
                    </a:lnTo>
                    <a:lnTo>
                      <a:pt x="547" y="982"/>
                    </a:lnTo>
                    <a:lnTo>
                      <a:pt x="549" y="982"/>
                    </a:lnTo>
                    <a:close/>
                    <a:moveTo>
                      <a:pt x="543" y="982"/>
                    </a:moveTo>
                    <a:lnTo>
                      <a:pt x="545" y="982"/>
                    </a:lnTo>
                    <a:lnTo>
                      <a:pt x="543" y="982"/>
                    </a:lnTo>
                    <a:lnTo>
                      <a:pt x="545" y="982"/>
                    </a:lnTo>
                    <a:lnTo>
                      <a:pt x="543" y="982"/>
                    </a:lnTo>
                    <a:lnTo>
                      <a:pt x="543" y="984"/>
                    </a:lnTo>
                    <a:lnTo>
                      <a:pt x="543" y="982"/>
                    </a:lnTo>
                    <a:close/>
                    <a:moveTo>
                      <a:pt x="545" y="982"/>
                    </a:moveTo>
                    <a:lnTo>
                      <a:pt x="543" y="982"/>
                    </a:lnTo>
                    <a:lnTo>
                      <a:pt x="545" y="982"/>
                    </a:lnTo>
                    <a:close/>
                    <a:moveTo>
                      <a:pt x="543" y="982"/>
                    </a:moveTo>
                    <a:lnTo>
                      <a:pt x="543" y="984"/>
                    </a:lnTo>
                    <a:lnTo>
                      <a:pt x="543" y="982"/>
                    </a:lnTo>
                    <a:lnTo>
                      <a:pt x="541" y="982"/>
                    </a:lnTo>
                    <a:lnTo>
                      <a:pt x="543" y="982"/>
                    </a:lnTo>
                    <a:close/>
                    <a:moveTo>
                      <a:pt x="539" y="982"/>
                    </a:moveTo>
                    <a:lnTo>
                      <a:pt x="538" y="982"/>
                    </a:lnTo>
                    <a:lnTo>
                      <a:pt x="539" y="982"/>
                    </a:lnTo>
                    <a:close/>
                    <a:moveTo>
                      <a:pt x="543" y="980"/>
                    </a:moveTo>
                    <a:lnTo>
                      <a:pt x="545" y="980"/>
                    </a:lnTo>
                    <a:lnTo>
                      <a:pt x="543" y="980"/>
                    </a:lnTo>
                    <a:close/>
                    <a:moveTo>
                      <a:pt x="539" y="980"/>
                    </a:moveTo>
                    <a:lnTo>
                      <a:pt x="539" y="982"/>
                    </a:lnTo>
                    <a:lnTo>
                      <a:pt x="539" y="980"/>
                    </a:lnTo>
                    <a:lnTo>
                      <a:pt x="538" y="980"/>
                    </a:lnTo>
                    <a:lnTo>
                      <a:pt x="539" y="980"/>
                    </a:lnTo>
                    <a:close/>
                    <a:moveTo>
                      <a:pt x="541" y="978"/>
                    </a:moveTo>
                    <a:lnTo>
                      <a:pt x="543" y="978"/>
                    </a:lnTo>
                    <a:lnTo>
                      <a:pt x="541" y="978"/>
                    </a:lnTo>
                    <a:lnTo>
                      <a:pt x="543" y="978"/>
                    </a:lnTo>
                    <a:lnTo>
                      <a:pt x="541" y="978"/>
                    </a:lnTo>
                    <a:close/>
                    <a:moveTo>
                      <a:pt x="538" y="978"/>
                    </a:moveTo>
                    <a:lnTo>
                      <a:pt x="539" y="978"/>
                    </a:lnTo>
                    <a:lnTo>
                      <a:pt x="541" y="978"/>
                    </a:lnTo>
                    <a:lnTo>
                      <a:pt x="543" y="980"/>
                    </a:lnTo>
                    <a:lnTo>
                      <a:pt x="543" y="982"/>
                    </a:lnTo>
                    <a:lnTo>
                      <a:pt x="541" y="982"/>
                    </a:lnTo>
                    <a:lnTo>
                      <a:pt x="539" y="980"/>
                    </a:lnTo>
                    <a:lnTo>
                      <a:pt x="538" y="980"/>
                    </a:lnTo>
                    <a:lnTo>
                      <a:pt x="538" y="978"/>
                    </a:lnTo>
                    <a:lnTo>
                      <a:pt x="536" y="978"/>
                    </a:lnTo>
                    <a:lnTo>
                      <a:pt x="538" y="978"/>
                    </a:lnTo>
                    <a:close/>
                    <a:moveTo>
                      <a:pt x="539" y="978"/>
                    </a:moveTo>
                    <a:lnTo>
                      <a:pt x="539" y="976"/>
                    </a:lnTo>
                    <a:lnTo>
                      <a:pt x="539" y="978"/>
                    </a:lnTo>
                    <a:lnTo>
                      <a:pt x="539" y="976"/>
                    </a:lnTo>
                    <a:lnTo>
                      <a:pt x="539" y="978"/>
                    </a:lnTo>
                    <a:lnTo>
                      <a:pt x="539" y="976"/>
                    </a:lnTo>
                    <a:lnTo>
                      <a:pt x="541" y="978"/>
                    </a:lnTo>
                    <a:lnTo>
                      <a:pt x="539" y="978"/>
                    </a:lnTo>
                    <a:lnTo>
                      <a:pt x="538" y="978"/>
                    </a:lnTo>
                    <a:lnTo>
                      <a:pt x="539" y="976"/>
                    </a:lnTo>
                    <a:lnTo>
                      <a:pt x="539" y="978"/>
                    </a:lnTo>
                    <a:close/>
                    <a:moveTo>
                      <a:pt x="401" y="1021"/>
                    </a:moveTo>
                    <a:lnTo>
                      <a:pt x="401" y="1019"/>
                    </a:lnTo>
                    <a:lnTo>
                      <a:pt x="403" y="1019"/>
                    </a:lnTo>
                    <a:lnTo>
                      <a:pt x="401" y="1019"/>
                    </a:lnTo>
                    <a:lnTo>
                      <a:pt x="401" y="1021"/>
                    </a:lnTo>
                    <a:close/>
                    <a:moveTo>
                      <a:pt x="417" y="1013"/>
                    </a:moveTo>
                    <a:lnTo>
                      <a:pt x="417" y="1015"/>
                    </a:lnTo>
                    <a:lnTo>
                      <a:pt x="418" y="1015"/>
                    </a:lnTo>
                    <a:lnTo>
                      <a:pt x="417" y="1015"/>
                    </a:lnTo>
                    <a:lnTo>
                      <a:pt x="415" y="1015"/>
                    </a:lnTo>
                    <a:lnTo>
                      <a:pt x="415" y="1013"/>
                    </a:lnTo>
                    <a:lnTo>
                      <a:pt x="417" y="1013"/>
                    </a:lnTo>
                    <a:close/>
                    <a:moveTo>
                      <a:pt x="530" y="974"/>
                    </a:moveTo>
                    <a:lnTo>
                      <a:pt x="530" y="976"/>
                    </a:lnTo>
                    <a:lnTo>
                      <a:pt x="532" y="976"/>
                    </a:lnTo>
                    <a:lnTo>
                      <a:pt x="532" y="978"/>
                    </a:lnTo>
                    <a:lnTo>
                      <a:pt x="534" y="978"/>
                    </a:lnTo>
                    <a:lnTo>
                      <a:pt x="534" y="980"/>
                    </a:lnTo>
                    <a:lnTo>
                      <a:pt x="534" y="978"/>
                    </a:lnTo>
                    <a:lnTo>
                      <a:pt x="532" y="978"/>
                    </a:lnTo>
                    <a:lnTo>
                      <a:pt x="534" y="978"/>
                    </a:lnTo>
                    <a:lnTo>
                      <a:pt x="532" y="978"/>
                    </a:lnTo>
                    <a:lnTo>
                      <a:pt x="532" y="976"/>
                    </a:lnTo>
                    <a:lnTo>
                      <a:pt x="534" y="978"/>
                    </a:lnTo>
                    <a:lnTo>
                      <a:pt x="536" y="978"/>
                    </a:lnTo>
                    <a:lnTo>
                      <a:pt x="534" y="978"/>
                    </a:lnTo>
                    <a:lnTo>
                      <a:pt x="536" y="978"/>
                    </a:lnTo>
                    <a:lnTo>
                      <a:pt x="536" y="980"/>
                    </a:lnTo>
                    <a:lnTo>
                      <a:pt x="534" y="980"/>
                    </a:lnTo>
                    <a:lnTo>
                      <a:pt x="536" y="980"/>
                    </a:lnTo>
                    <a:lnTo>
                      <a:pt x="538" y="980"/>
                    </a:lnTo>
                    <a:lnTo>
                      <a:pt x="538" y="982"/>
                    </a:lnTo>
                    <a:lnTo>
                      <a:pt x="539" y="982"/>
                    </a:lnTo>
                    <a:lnTo>
                      <a:pt x="538" y="982"/>
                    </a:lnTo>
                    <a:lnTo>
                      <a:pt x="536" y="982"/>
                    </a:lnTo>
                    <a:lnTo>
                      <a:pt x="536" y="980"/>
                    </a:lnTo>
                    <a:lnTo>
                      <a:pt x="534" y="980"/>
                    </a:lnTo>
                    <a:lnTo>
                      <a:pt x="534" y="978"/>
                    </a:lnTo>
                    <a:lnTo>
                      <a:pt x="532" y="978"/>
                    </a:lnTo>
                    <a:lnTo>
                      <a:pt x="530" y="976"/>
                    </a:lnTo>
                    <a:lnTo>
                      <a:pt x="530" y="974"/>
                    </a:lnTo>
                    <a:lnTo>
                      <a:pt x="528" y="974"/>
                    </a:lnTo>
                    <a:lnTo>
                      <a:pt x="530" y="974"/>
                    </a:lnTo>
                    <a:close/>
                    <a:moveTo>
                      <a:pt x="528" y="974"/>
                    </a:moveTo>
                    <a:lnTo>
                      <a:pt x="528" y="976"/>
                    </a:lnTo>
                    <a:lnTo>
                      <a:pt x="528" y="974"/>
                    </a:lnTo>
                    <a:lnTo>
                      <a:pt x="528" y="976"/>
                    </a:lnTo>
                    <a:lnTo>
                      <a:pt x="528" y="974"/>
                    </a:lnTo>
                    <a:lnTo>
                      <a:pt x="530" y="976"/>
                    </a:lnTo>
                    <a:lnTo>
                      <a:pt x="528" y="976"/>
                    </a:lnTo>
                    <a:lnTo>
                      <a:pt x="528" y="974"/>
                    </a:lnTo>
                    <a:close/>
                    <a:moveTo>
                      <a:pt x="459" y="998"/>
                    </a:moveTo>
                    <a:lnTo>
                      <a:pt x="461" y="998"/>
                    </a:lnTo>
                    <a:lnTo>
                      <a:pt x="459" y="998"/>
                    </a:lnTo>
                    <a:close/>
                    <a:moveTo>
                      <a:pt x="528" y="974"/>
                    </a:moveTo>
                    <a:lnTo>
                      <a:pt x="528" y="976"/>
                    </a:lnTo>
                    <a:lnTo>
                      <a:pt x="526" y="976"/>
                    </a:lnTo>
                    <a:lnTo>
                      <a:pt x="526" y="974"/>
                    </a:lnTo>
                    <a:lnTo>
                      <a:pt x="528" y="974"/>
                    </a:lnTo>
                    <a:close/>
                    <a:moveTo>
                      <a:pt x="526" y="973"/>
                    </a:moveTo>
                    <a:lnTo>
                      <a:pt x="528" y="973"/>
                    </a:lnTo>
                    <a:lnTo>
                      <a:pt x="526" y="973"/>
                    </a:lnTo>
                    <a:lnTo>
                      <a:pt x="528" y="973"/>
                    </a:lnTo>
                    <a:lnTo>
                      <a:pt x="530" y="973"/>
                    </a:lnTo>
                    <a:lnTo>
                      <a:pt x="530" y="974"/>
                    </a:lnTo>
                    <a:lnTo>
                      <a:pt x="528" y="974"/>
                    </a:lnTo>
                    <a:lnTo>
                      <a:pt x="526" y="974"/>
                    </a:lnTo>
                    <a:lnTo>
                      <a:pt x="526" y="973"/>
                    </a:lnTo>
                    <a:lnTo>
                      <a:pt x="524" y="973"/>
                    </a:lnTo>
                    <a:lnTo>
                      <a:pt x="526" y="973"/>
                    </a:lnTo>
                    <a:close/>
                    <a:moveTo>
                      <a:pt x="453" y="996"/>
                    </a:moveTo>
                    <a:lnTo>
                      <a:pt x="453" y="998"/>
                    </a:lnTo>
                    <a:lnTo>
                      <a:pt x="451" y="996"/>
                    </a:lnTo>
                    <a:lnTo>
                      <a:pt x="453" y="996"/>
                    </a:lnTo>
                    <a:lnTo>
                      <a:pt x="451" y="996"/>
                    </a:lnTo>
                    <a:lnTo>
                      <a:pt x="453" y="996"/>
                    </a:lnTo>
                    <a:lnTo>
                      <a:pt x="455" y="996"/>
                    </a:lnTo>
                    <a:lnTo>
                      <a:pt x="453" y="996"/>
                    </a:lnTo>
                    <a:close/>
                    <a:moveTo>
                      <a:pt x="430" y="1001"/>
                    </a:moveTo>
                    <a:lnTo>
                      <a:pt x="428" y="1001"/>
                    </a:lnTo>
                    <a:lnTo>
                      <a:pt x="428" y="1003"/>
                    </a:lnTo>
                    <a:lnTo>
                      <a:pt x="430" y="1001"/>
                    </a:lnTo>
                    <a:close/>
                    <a:moveTo>
                      <a:pt x="451" y="996"/>
                    </a:moveTo>
                    <a:lnTo>
                      <a:pt x="449" y="996"/>
                    </a:lnTo>
                    <a:lnTo>
                      <a:pt x="451" y="996"/>
                    </a:lnTo>
                    <a:close/>
                    <a:moveTo>
                      <a:pt x="443" y="998"/>
                    </a:moveTo>
                    <a:lnTo>
                      <a:pt x="441" y="998"/>
                    </a:lnTo>
                    <a:lnTo>
                      <a:pt x="443" y="998"/>
                    </a:lnTo>
                    <a:close/>
                    <a:moveTo>
                      <a:pt x="447" y="996"/>
                    </a:moveTo>
                    <a:lnTo>
                      <a:pt x="445" y="998"/>
                    </a:lnTo>
                    <a:lnTo>
                      <a:pt x="445" y="996"/>
                    </a:lnTo>
                    <a:lnTo>
                      <a:pt x="447" y="996"/>
                    </a:lnTo>
                    <a:close/>
                    <a:moveTo>
                      <a:pt x="449" y="996"/>
                    </a:moveTo>
                    <a:lnTo>
                      <a:pt x="451" y="996"/>
                    </a:lnTo>
                    <a:lnTo>
                      <a:pt x="451" y="998"/>
                    </a:lnTo>
                    <a:lnTo>
                      <a:pt x="449" y="998"/>
                    </a:lnTo>
                    <a:lnTo>
                      <a:pt x="449" y="996"/>
                    </a:lnTo>
                    <a:lnTo>
                      <a:pt x="449" y="998"/>
                    </a:lnTo>
                    <a:lnTo>
                      <a:pt x="449" y="996"/>
                    </a:lnTo>
                    <a:lnTo>
                      <a:pt x="447" y="996"/>
                    </a:lnTo>
                    <a:lnTo>
                      <a:pt x="449" y="996"/>
                    </a:lnTo>
                    <a:lnTo>
                      <a:pt x="449" y="994"/>
                    </a:lnTo>
                    <a:lnTo>
                      <a:pt x="449" y="996"/>
                    </a:lnTo>
                    <a:close/>
                    <a:moveTo>
                      <a:pt x="520" y="969"/>
                    </a:moveTo>
                    <a:lnTo>
                      <a:pt x="522" y="969"/>
                    </a:lnTo>
                    <a:lnTo>
                      <a:pt x="520" y="969"/>
                    </a:lnTo>
                    <a:close/>
                    <a:moveTo>
                      <a:pt x="518" y="969"/>
                    </a:moveTo>
                    <a:lnTo>
                      <a:pt x="518" y="971"/>
                    </a:lnTo>
                    <a:lnTo>
                      <a:pt x="518" y="969"/>
                    </a:lnTo>
                    <a:lnTo>
                      <a:pt x="520" y="969"/>
                    </a:lnTo>
                    <a:lnTo>
                      <a:pt x="520" y="971"/>
                    </a:lnTo>
                    <a:lnTo>
                      <a:pt x="518" y="971"/>
                    </a:lnTo>
                    <a:lnTo>
                      <a:pt x="518" y="969"/>
                    </a:lnTo>
                    <a:close/>
                    <a:moveTo>
                      <a:pt x="518" y="971"/>
                    </a:moveTo>
                    <a:lnTo>
                      <a:pt x="516" y="971"/>
                    </a:lnTo>
                    <a:lnTo>
                      <a:pt x="518" y="971"/>
                    </a:lnTo>
                    <a:close/>
                    <a:moveTo>
                      <a:pt x="518" y="971"/>
                    </a:moveTo>
                    <a:lnTo>
                      <a:pt x="518" y="969"/>
                    </a:lnTo>
                    <a:lnTo>
                      <a:pt x="518" y="971"/>
                    </a:lnTo>
                    <a:close/>
                    <a:moveTo>
                      <a:pt x="514" y="971"/>
                    </a:moveTo>
                    <a:lnTo>
                      <a:pt x="516" y="971"/>
                    </a:lnTo>
                    <a:lnTo>
                      <a:pt x="518" y="973"/>
                    </a:lnTo>
                    <a:lnTo>
                      <a:pt x="516" y="973"/>
                    </a:lnTo>
                    <a:lnTo>
                      <a:pt x="516" y="971"/>
                    </a:lnTo>
                    <a:lnTo>
                      <a:pt x="514" y="971"/>
                    </a:lnTo>
                    <a:close/>
                    <a:moveTo>
                      <a:pt x="514" y="969"/>
                    </a:moveTo>
                    <a:lnTo>
                      <a:pt x="516" y="969"/>
                    </a:lnTo>
                    <a:lnTo>
                      <a:pt x="514" y="969"/>
                    </a:lnTo>
                    <a:close/>
                    <a:moveTo>
                      <a:pt x="516" y="967"/>
                    </a:moveTo>
                    <a:lnTo>
                      <a:pt x="518" y="967"/>
                    </a:lnTo>
                    <a:lnTo>
                      <a:pt x="520" y="967"/>
                    </a:lnTo>
                    <a:lnTo>
                      <a:pt x="520" y="969"/>
                    </a:lnTo>
                    <a:lnTo>
                      <a:pt x="518" y="969"/>
                    </a:lnTo>
                    <a:lnTo>
                      <a:pt x="516" y="969"/>
                    </a:lnTo>
                    <a:lnTo>
                      <a:pt x="516" y="967"/>
                    </a:lnTo>
                    <a:close/>
                    <a:moveTo>
                      <a:pt x="518" y="967"/>
                    </a:moveTo>
                    <a:lnTo>
                      <a:pt x="516" y="967"/>
                    </a:lnTo>
                    <a:lnTo>
                      <a:pt x="518" y="967"/>
                    </a:lnTo>
                    <a:close/>
                    <a:moveTo>
                      <a:pt x="513" y="965"/>
                    </a:moveTo>
                    <a:lnTo>
                      <a:pt x="514" y="965"/>
                    </a:lnTo>
                    <a:lnTo>
                      <a:pt x="514" y="967"/>
                    </a:lnTo>
                    <a:lnTo>
                      <a:pt x="513" y="967"/>
                    </a:lnTo>
                    <a:lnTo>
                      <a:pt x="513" y="965"/>
                    </a:lnTo>
                    <a:close/>
                    <a:moveTo>
                      <a:pt x="499" y="969"/>
                    </a:moveTo>
                    <a:lnTo>
                      <a:pt x="499" y="971"/>
                    </a:lnTo>
                    <a:lnTo>
                      <a:pt x="499" y="969"/>
                    </a:lnTo>
                    <a:lnTo>
                      <a:pt x="501" y="969"/>
                    </a:lnTo>
                    <a:lnTo>
                      <a:pt x="499" y="969"/>
                    </a:lnTo>
                    <a:close/>
                    <a:moveTo>
                      <a:pt x="511" y="965"/>
                    </a:moveTo>
                    <a:lnTo>
                      <a:pt x="513" y="965"/>
                    </a:lnTo>
                    <a:lnTo>
                      <a:pt x="514" y="967"/>
                    </a:lnTo>
                    <a:lnTo>
                      <a:pt x="514" y="969"/>
                    </a:lnTo>
                    <a:lnTo>
                      <a:pt x="514" y="967"/>
                    </a:lnTo>
                    <a:lnTo>
                      <a:pt x="513" y="967"/>
                    </a:lnTo>
                    <a:lnTo>
                      <a:pt x="513" y="969"/>
                    </a:lnTo>
                    <a:lnTo>
                      <a:pt x="514" y="969"/>
                    </a:lnTo>
                    <a:lnTo>
                      <a:pt x="513" y="969"/>
                    </a:lnTo>
                    <a:lnTo>
                      <a:pt x="513" y="967"/>
                    </a:lnTo>
                    <a:lnTo>
                      <a:pt x="511" y="967"/>
                    </a:lnTo>
                    <a:lnTo>
                      <a:pt x="513" y="967"/>
                    </a:lnTo>
                    <a:lnTo>
                      <a:pt x="511" y="965"/>
                    </a:lnTo>
                    <a:close/>
                    <a:moveTo>
                      <a:pt x="509" y="965"/>
                    </a:moveTo>
                    <a:lnTo>
                      <a:pt x="511" y="965"/>
                    </a:lnTo>
                    <a:lnTo>
                      <a:pt x="511" y="967"/>
                    </a:lnTo>
                    <a:lnTo>
                      <a:pt x="513" y="967"/>
                    </a:lnTo>
                    <a:lnTo>
                      <a:pt x="511" y="969"/>
                    </a:lnTo>
                    <a:lnTo>
                      <a:pt x="511" y="967"/>
                    </a:lnTo>
                    <a:lnTo>
                      <a:pt x="509" y="965"/>
                    </a:lnTo>
                    <a:lnTo>
                      <a:pt x="507" y="965"/>
                    </a:lnTo>
                    <a:lnTo>
                      <a:pt x="509" y="965"/>
                    </a:lnTo>
                    <a:close/>
                    <a:moveTo>
                      <a:pt x="507" y="963"/>
                    </a:moveTo>
                    <a:lnTo>
                      <a:pt x="507" y="965"/>
                    </a:lnTo>
                    <a:lnTo>
                      <a:pt x="505" y="965"/>
                    </a:lnTo>
                    <a:lnTo>
                      <a:pt x="507" y="965"/>
                    </a:lnTo>
                    <a:lnTo>
                      <a:pt x="507" y="963"/>
                    </a:lnTo>
                    <a:close/>
                    <a:moveTo>
                      <a:pt x="507" y="963"/>
                    </a:moveTo>
                    <a:lnTo>
                      <a:pt x="509" y="963"/>
                    </a:lnTo>
                    <a:lnTo>
                      <a:pt x="511" y="963"/>
                    </a:lnTo>
                    <a:lnTo>
                      <a:pt x="511" y="965"/>
                    </a:lnTo>
                    <a:lnTo>
                      <a:pt x="509" y="965"/>
                    </a:lnTo>
                    <a:lnTo>
                      <a:pt x="507" y="965"/>
                    </a:lnTo>
                    <a:lnTo>
                      <a:pt x="507" y="963"/>
                    </a:lnTo>
                    <a:close/>
                    <a:moveTo>
                      <a:pt x="507" y="963"/>
                    </a:moveTo>
                    <a:lnTo>
                      <a:pt x="505" y="963"/>
                    </a:lnTo>
                    <a:lnTo>
                      <a:pt x="507" y="963"/>
                    </a:lnTo>
                    <a:close/>
                    <a:moveTo>
                      <a:pt x="507" y="965"/>
                    </a:moveTo>
                    <a:lnTo>
                      <a:pt x="507" y="963"/>
                    </a:lnTo>
                    <a:lnTo>
                      <a:pt x="505" y="963"/>
                    </a:lnTo>
                    <a:lnTo>
                      <a:pt x="507" y="963"/>
                    </a:lnTo>
                    <a:lnTo>
                      <a:pt x="507" y="965"/>
                    </a:lnTo>
                    <a:close/>
                    <a:moveTo>
                      <a:pt x="507" y="961"/>
                    </a:moveTo>
                    <a:lnTo>
                      <a:pt x="509" y="961"/>
                    </a:lnTo>
                    <a:lnTo>
                      <a:pt x="507" y="961"/>
                    </a:lnTo>
                    <a:lnTo>
                      <a:pt x="509" y="961"/>
                    </a:lnTo>
                    <a:lnTo>
                      <a:pt x="507" y="961"/>
                    </a:lnTo>
                    <a:lnTo>
                      <a:pt x="509" y="961"/>
                    </a:lnTo>
                    <a:lnTo>
                      <a:pt x="509" y="963"/>
                    </a:lnTo>
                    <a:lnTo>
                      <a:pt x="511" y="963"/>
                    </a:lnTo>
                    <a:lnTo>
                      <a:pt x="513" y="963"/>
                    </a:lnTo>
                    <a:lnTo>
                      <a:pt x="513" y="965"/>
                    </a:lnTo>
                    <a:lnTo>
                      <a:pt x="511" y="965"/>
                    </a:lnTo>
                    <a:lnTo>
                      <a:pt x="511" y="963"/>
                    </a:lnTo>
                    <a:lnTo>
                      <a:pt x="509" y="963"/>
                    </a:lnTo>
                    <a:lnTo>
                      <a:pt x="507" y="963"/>
                    </a:lnTo>
                    <a:lnTo>
                      <a:pt x="507" y="961"/>
                    </a:lnTo>
                    <a:lnTo>
                      <a:pt x="507" y="963"/>
                    </a:lnTo>
                    <a:lnTo>
                      <a:pt x="509" y="963"/>
                    </a:lnTo>
                    <a:lnTo>
                      <a:pt x="507" y="963"/>
                    </a:lnTo>
                    <a:lnTo>
                      <a:pt x="507" y="961"/>
                    </a:lnTo>
                    <a:close/>
                    <a:moveTo>
                      <a:pt x="507" y="961"/>
                    </a:moveTo>
                    <a:lnTo>
                      <a:pt x="505" y="961"/>
                    </a:lnTo>
                    <a:lnTo>
                      <a:pt x="507" y="961"/>
                    </a:lnTo>
                    <a:close/>
                    <a:moveTo>
                      <a:pt x="507" y="963"/>
                    </a:moveTo>
                    <a:lnTo>
                      <a:pt x="505" y="963"/>
                    </a:lnTo>
                    <a:lnTo>
                      <a:pt x="505" y="961"/>
                    </a:lnTo>
                    <a:lnTo>
                      <a:pt x="505" y="963"/>
                    </a:lnTo>
                    <a:lnTo>
                      <a:pt x="507" y="963"/>
                    </a:lnTo>
                    <a:close/>
                    <a:moveTo>
                      <a:pt x="503" y="961"/>
                    </a:moveTo>
                    <a:lnTo>
                      <a:pt x="505" y="961"/>
                    </a:lnTo>
                    <a:lnTo>
                      <a:pt x="503" y="961"/>
                    </a:lnTo>
                    <a:close/>
                    <a:moveTo>
                      <a:pt x="497" y="961"/>
                    </a:moveTo>
                    <a:lnTo>
                      <a:pt x="499" y="961"/>
                    </a:lnTo>
                    <a:lnTo>
                      <a:pt x="497" y="961"/>
                    </a:lnTo>
                    <a:close/>
                    <a:moveTo>
                      <a:pt x="501" y="961"/>
                    </a:moveTo>
                    <a:lnTo>
                      <a:pt x="501" y="959"/>
                    </a:lnTo>
                    <a:lnTo>
                      <a:pt x="499" y="959"/>
                    </a:lnTo>
                    <a:lnTo>
                      <a:pt x="499" y="957"/>
                    </a:lnTo>
                    <a:lnTo>
                      <a:pt x="501" y="959"/>
                    </a:lnTo>
                    <a:lnTo>
                      <a:pt x="501" y="961"/>
                    </a:lnTo>
                    <a:close/>
                    <a:moveTo>
                      <a:pt x="497" y="957"/>
                    </a:moveTo>
                    <a:lnTo>
                      <a:pt x="499" y="957"/>
                    </a:lnTo>
                    <a:lnTo>
                      <a:pt x="499" y="959"/>
                    </a:lnTo>
                    <a:lnTo>
                      <a:pt x="499" y="957"/>
                    </a:lnTo>
                    <a:lnTo>
                      <a:pt x="499" y="959"/>
                    </a:lnTo>
                    <a:lnTo>
                      <a:pt x="501" y="959"/>
                    </a:lnTo>
                    <a:lnTo>
                      <a:pt x="501" y="961"/>
                    </a:lnTo>
                    <a:lnTo>
                      <a:pt x="503" y="961"/>
                    </a:lnTo>
                    <a:lnTo>
                      <a:pt x="503" y="963"/>
                    </a:lnTo>
                    <a:lnTo>
                      <a:pt x="503" y="961"/>
                    </a:lnTo>
                    <a:lnTo>
                      <a:pt x="503" y="963"/>
                    </a:lnTo>
                    <a:lnTo>
                      <a:pt x="505" y="963"/>
                    </a:lnTo>
                    <a:lnTo>
                      <a:pt x="503" y="963"/>
                    </a:lnTo>
                    <a:lnTo>
                      <a:pt x="501" y="963"/>
                    </a:lnTo>
                    <a:lnTo>
                      <a:pt x="501" y="961"/>
                    </a:lnTo>
                    <a:lnTo>
                      <a:pt x="499" y="961"/>
                    </a:lnTo>
                    <a:lnTo>
                      <a:pt x="499" y="959"/>
                    </a:lnTo>
                    <a:lnTo>
                      <a:pt x="497" y="957"/>
                    </a:lnTo>
                    <a:close/>
                    <a:moveTo>
                      <a:pt x="488" y="959"/>
                    </a:moveTo>
                    <a:lnTo>
                      <a:pt x="486" y="959"/>
                    </a:lnTo>
                    <a:lnTo>
                      <a:pt x="488" y="959"/>
                    </a:lnTo>
                    <a:lnTo>
                      <a:pt x="488" y="957"/>
                    </a:lnTo>
                    <a:lnTo>
                      <a:pt x="490" y="957"/>
                    </a:lnTo>
                    <a:lnTo>
                      <a:pt x="488" y="959"/>
                    </a:lnTo>
                    <a:close/>
                    <a:moveTo>
                      <a:pt x="486" y="957"/>
                    </a:moveTo>
                    <a:lnTo>
                      <a:pt x="488" y="957"/>
                    </a:lnTo>
                    <a:lnTo>
                      <a:pt x="486" y="959"/>
                    </a:lnTo>
                    <a:lnTo>
                      <a:pt x="486" y="957"/>
                    </a:lnTo>
                    <a:lnTo>
                      <a:pt x="486" y="959"/>
                    </a:lnTo>
                    <a:lnTo>
                      <a:pt x="486" y="957"/>
                    </a:lnTo>
                    <a:lnTo>
                      <a:pt x="484" y="957"/>
                    </a:lnTo>
                    <a:lnTo>
                      <a:pt x="486" y="957"/>
                    </a:lnTo>
                    <a:close/>
                    <a:moveTo>
                      <a:pt x="488" y="957"/>
                    </a:moveTo>
                    <a:lnTo>
                      <a:pt x="486" y="957"/>
                    </a:lnTo>
                    <a:lnTo>
                      <a:pt x="488" y="957"/>
                    </a:lnTo>
                    <a:close/>
                    <a:moveTo>
                      <a:pt x="488" y="955"/>
                    </a:moveTo>
                    <a:lnTo>
                      <a:pt x="488" y="957"/>
                    </a:lnTo>
                    <a:lnTo>
                      <a:pt x="490" y="957"/>
                    </a:lnTo>
                    <a:lnTo>
                      <a:pt x="488" y="957"/>
                    </a:lnTo>
                    <a:lnTo>
                      <a:pt x="488" y="955"/>
                    </a:lnTo>
                    <a:close/>
                    <a:moveTo>
                      <a:pt x="486" y="955"/>
                    </a:moveTo>
                    <a:lnTo>
                      <a:pt x="486" y="957"/>
                    </a:lnTo>
                    <a:lnTo>
                      <a:pt x="486" y="955"/>
                    </a:lnTo>
                    <a:close/>
                    <a:moveTo>
                      <a:pt x="488" y="955"/>
                    </a:moveTo>
                    <a:lnTo>
                      <a:pt x="490" y="955"/>
                    </a:lnTo>
                    <a:lnTo>
                      <a:pt x="488" y="955"/>
                    </a:lnTo>
                    <a:lnTo>
                      <a:pt x="486" y="955"/>
                    </a:lnTo>
                    <a:lnTo>
                      <a:pt x="488" y="955"/>
                    </a:lnTo>
                    <a:close/>
                    <a:moveTo>
                      <a:pt x="490" y="953"/>
                    </a:moveTo>
                    <a:lnTo>
                      <a:pt x="491" y="953"/>
                    </a:lnTo>
                    <a:lnTo>
                      <a:pt x="491" y="955"/>
                    </a:lnTo>
                    <a:lnTo>
                      <a:pt x="491" y="953"/>
                    </a:lnTo>
                    <a:lnTo>
                      <a:pt x="493" y="955"/>
                    </a:lnTo>
                    <a:lnTo>
                      <a:pt x="491" y="955"/>
                    </a:lnTo>
                    <a:lnTo>
                      <a:pt x="490" y="955"/>
                    </a:lnTo>
                    <a:lnTo>
                      <a:pt x="490" y="953"/>
                    </a:lnTo>
                    <a:lnTo>
                      <a:pt x="491" y="953"/>
                    </a:lnTo>
                    <a:lnTo>
                      <a:pt x="490" y="953"/>
                    </a:lnTo>
                    <a:lnTo>
                      <a:pt x="488" y="953"/>
                    </a:lnTo>
                    <a:lnTo>
                      <a:pt x="490" y="953"/>
                    </a:lnTo>
                    <a:close/>
                    <a:moveTo>
                      <a:pt x="488" y="953"/>
                    </a:moveTo>
                    <a:lnTo>
                      <a:pt x="490" y="953"/>
                    </a:lnTo>
                    <a:lnTo>
                      <a:pt x="490" y="955"/>
                    </a:lnTo>
                    <a:lnTo>
                      <a:pt x="488" y="953"/>
                    </a:lnTo>
                    <a:lnTo>
                      <a:pt x="488" y="955"/>
                    </a:lnTo>
                    <a:lnTo>
                      <a:pt x="488" y="953"/>
                    </a:lnTo>
                    <a:close/>
                    <a:moveTo>
                      <a:pt x="486" y="953"/>
                    </a:moveTo>
                    <a:lnTo>
                      <a:pt x="486" y="955"/>
                    </a:lnTo>
                    <a:lnTo>
                      <a:pt x="486" y="953"/>
                    </a:lnTo>
                    <a:close/>
                    <a:moveTo>
                      <a:pt x="482" y="955"/>
                    </a:moveTo>
                    <a:lnTo>
                      <a:pt x="480" y="955"/>
                    </a:lnTo>
                    <a:lnTo>
                      <a:pt x="482" y="955"/>
                    </a:lnTo>
                    <a:close/>
                    <a:moveTo>
                      <a:pt x="478" y="955"/>
                    </a:moveTo>
                    <a:lnTo>
                      <a:pt x="480" y="955"/>
                    </a:lnTo>
                    <a:lnTo>
                      <a:pt x="480" y="953"/>
                    </a:lnTo>
                    <a:lnTo>
                      <a:pt x="480" y="955"/>
                    </a:lnTo>
                    <a:lnTo>
                      <a:pt x="482" y="955"/>
                    </a:lnTo>
                    <a:lnTo>
                      <a:pt x="484" y="955"/>
                    </a:lnTo>
                    <a:lnTo>
                      <a:pt x="486" y="955"/>
                    </a:lnTo>
                    <a:lnTo>
                      <a:pt x="486" y="957"/>
                    </a:lnTo>
                    <a:lnTo>
                      <a:pt x="484" y="957"/>
                    </a:lnTo>
                    <a:lnTo>
                      <a:pt x="482" y="957"/>
                    </a:lnTo>
                    <a:lnTo>
                      <a:pt x="482" y="955"/>
                    </a:lnTo>
                    <a:lnTo>
                      <a:pt x="480" y="957"/>
                    </a:lnTo>
                    <a:lnTo>
                      <a:pt x="480" y="955"/>
                    </a:lnTo>
                    <a:lnTo>
                      <a:pt x="478" y="955"/>
                    </a:lnTo>
                    <a:lnTo>
                      <a:pt x="480" y="955"/>
                    </a:lnTo>
                    <a:lnTo>
                      <a:pt x="478" y="955"/>
                    </a:lnTo>
                    <a:lnTo>
                      <a:pt x="480" y="955"/>
                    </a:lnTo>
                    <a:lnTo>
                      <a:pt x="478" y="955"/>
                    </a:lnTo>
                    <a:close/>
                    <a:moveTo>
                      <a:pt x="478" y="953"/>
                    </a:moveTo>
                    <a:lnTo>
                      <a:pt x="476" y="953"/>
                    </a:lnTo>
                    <a:lnTo>
                      <a:pt x="478" y="953"/>
                    </a:lnTo>
                    <a:close/>
                    <a:moveTo>
                      <a:pt x="474" y="953"/>
                    </a:moveTo>
                    <a:lnTo>
                      <a:pt x="474" y="951"/>
                    </a:lnTo>
                    <a:lnTo>
                      <a:pt x="474" y="953"/>
                    </a:lnTo>
                    <a:close/>
                    <a:moveTo>
                      <a:pt x="480" y="951"/>
                    </a:moveTo>
                    <a:lnTo>
                      <a:pt x="478" y="951"/>
                    </a:lnTo>
                    <a:lnTo>
                      <a:pt x="480" y="951"/>
                    </a:lnTo>
                    <a:close/>
                    <a:moveTo>
                      <a:pt x="474" y="953"/>
                    </a:moveTo>
                    <a:lnTo>
                      <a:pt x="472" y="953"/>
                    </a:lnTo>
                    <a:lnTo>
                      <a:pt x="472" y="951"/>
                    </a:lnTo>
                    <a:lnTo>
                      <a:pt x="474" y="951"/>
                    </a:lnTo>
                    <a:lnTo>
                      <a:pt x="474" y="953"/>
                    </a:lnTo>
                    <a:close/>
                    <a:moveTo>
                      <a:pt x="476" y="951"/>
                    </a:moveTo>
                    <a:lnTo>
                      <a:pt x="478" y="949"/>
                    </a:lnTo>
                    <a:lnTo>
                      <a:pt x="478" y="951"/>
                    </a:lnTo>
                    <a:lnTo>
                      <a:pt x="480" y="951"/>
                    </a:lnTo>
                    <a:lnTo>
                      <a:pt x="478" y="953"/>
                    </a:lnTo>
                    <a:lnTo>
                      <a:pt x="480" y="953"/>
                    </a:lnTo>
                    <a:lnTo>
                      <a:pt x="480" y="951"/>
                    </a:lnTo>
                    <a:lnTo>
                      <a:pt x="482" y="951"/>
                    </a:lnTo>
                    <a:lnTo>
                      <a:pt x="480" y="951"/>
                    </a:lnTo>
                    <a:lnTo>
                      <a:pt x="482" y="951"/>
                    </a:lnTo>
                    <a:lnTo>
                      <a:pt x="484" y="951"/>
                    </a:lnTo>
                    <a:lnTo>
                      <a:pt x="484" y="953"/>
                    </a:lnTo>
                    <a:lnTo>
                      <a:pt x="486" y="955"/>
                    </a:lnTo>
                    <a:lnTo>
                      <a:pt x="484" y="955"/>
                    </a:lnTo>
                    <a:lnTo>
                      <a:pt x="484" y="953"/>
                    </a:lnTo>
                    <a:lnTo>
                      <a:pt x="482" y="953"/>
                    </a:lnTo>
                    <a:lnTo>
                      <a:pt x="482" y="955"/>
                    </a:lnTo>
                    <a:lnTo>
                      <a:pt x="482" y="953"/>
                    </a:lnTo>
                    <a:lnTo>
                      <a:pt x="480" y="953"/>
                    </a:lnTo>
                    <a:lnTo>
                      <a:pt x="478" y="953"/>
                    </a:lnTo>
                    <a:lnTo>
                      <a:pt x="480" y="953"/>
                    </a:lnTo>
                    <a:lnTo>
                      <a:pt x="478" y="953"/>
                    </a:lnTo>
                    <a:lnTo>
                      <a:pt x="478" y="951"/>
                    </a:lnTo>
                    <a:lnTo>
                      <a:pt x="476" y="953"/>
                    </a:lnTo>
                    <a:lnTo>
                      <a:pt x="476" y="951"/>
                    </a:lnTo>
                    <a:lnTo>
                      <a:pt x="474" y="951"/>
                    </a:lnTo>
                    <a:lnTo>
                      <a:pt x="476" y="951"/>
                    </a:lnTo>
                    <a:close/>
                    <a:moveTo>
                      <a:pt x="465" y="953"/>
                    </a:moveTo>
                    <a:lnTo>
                      <a:pt x="466" y="953"/>
                    </a:lnTo>
                    <a:lnTo>
                      <a:pt x="465" y="953"/>
                    </a:lnTo>
                    <a:lnTo>
                      <a:pt x="465" y="955"/>
                    </a:lnTo>
                    <a:lnTo>
                      <a:pt x="465" y="953"/>
                    </a:lnTo>
                    <a:close/>
                    <a:moveTo>
                      <a:pt x="468" y="953"/>
                    </a:moveTo>
                    <a:lnTo>
                      <a:pt x="466" y="953"/>
                    </a:lnTo>
                    <a:lnTo>
                      <a:pt x="468" y="951"/>
                    </a:lnTo>
                    <a:lnTo>
                      <a:pt x="468" y="953"/>
                    </a:lnTo>
                    <a:close/>
                    <a:moveTo>
                      <a:pt x="468" y="951"/>
                    </a:moveTo>
                    <a:lnTo>
                      <a:pt x="470" y="951"/>
                    </a:lnTo>
                    <a:lnTo>
                      <a:pt x="468" y="951"/>
                    </a:lnTo>
                    <a:lnTo>
                      <a:pt x="468" y="953"/>
                    </a:lnTo>
                    <a:lnTo>
                      <a:pt x="468" y="951"/>
                    </a:lnTo>
                    <a:close/>
                    <a:moveTo>
                      <a:pt x="463" y="953"/>
                    </a:moveTo>
                    <a:lnTo>
                      <a:pt x="461" y="953"/>
                    </a:lnTo>
                    <a:lnTo>
                      <a:pt x="463" y="953"/>
                    </a:lnTo>
                    <a:close/>
                    <a:moveTo>
                      <a:pt x="465" y="951"/>
                    </a:moveTo>
                    <a:lnTo>
                      <a:pt x="466" y="951"/>
                    </a:lnTo>
                    <a:lnTo>
                      <a:pt x="466" y="953"/>
                    </a:lnTo>
                    <a:lnTo>
                      <a:pt x="465" y="953"/>
                    </a:lnTo>
                    <a:lnTo>
                      <a:pt x="466" y="953"/>
                    </a:lnTo>
                    <a:lnTo>
                      <a:pt x="465" y="953"/>
                    </a:lnTo>
                    <a:lnTo>
                      <a:pt x="466" y="951"/>
                    </a:lnTo>
                    <a:lnTo>
                      <a:pt x="465" y="951"/>
                    </a:lnTo>
                    <a:lnTo>
                      <a:pt x="466" y="951"/>
                    </a:lnTo>
                    <a:lnTo>
                      <a:pt x="465" y="951"/>
                    </a:lnTo>
                    <a:close/>
                    <a:moveTo>
                      <a:pt x="470" y="951"/>
                    </a:moveTo>
                    <a:lnTo>
                      <a:pt x="468" y="951"/>
                    </a:lnTo>
                    <a:lnTo>
                      <a:pt x="468" y="949"/>
                    </a:lnTo>
                    <a:lnTo>
                      <a:pt x="468" y="951"/>
                    </a:lnTo>
                    <a:lnTo>
                      <a:pt x="470" y="951"/>
                    </a:lnTo>
                    <a:close/>
                    <a:moveTo>
                      <a:pt x="468" y="951"/>
                    </a:moveTo>
                    <a:lnTo>
                      <a:pt x="466" y="951"/>
                    </a:lnTo>
                    <a:lnTo>
                      <a:pt x="468" y="951"/>
                    </a:lnTo>
                    <a:close/>
                    <a:moveTo>
                      <a:pt x="463" y="951"/>
                    </a:moveTo>
                    <a:lnTo>
                      <a:pt x="465" y="951"/>
                    </a:lnTo>
                    <a:lnTo>
                      <a:pt x="465" y="953"/>
                    </a:lnTo>
                    <a:lnTo>
                      <a:pt x="463" y="953"/>
                    </a:lnTo>
                    <a:lnTo>
                      <a:pt x="461" y="953"/>
                    </a:lnTo>
                    <a:lnTo>
                      <a:pt x="461" y="951"/>
                    </a:lnTo>
                    <a:lnTo>
                      <a:pt x="463" y="951"/>
                    </a:lnTo>
                    <a:close/>
                    <a:moveTo>
                      <a:pt x="465" y="951"/>
                    </a:moveTo>
                    <a:lnTo>
                      <a:pt x="466" y="951"/>
                    </a:lnTo>
                    <a:lnTo>
                      <a:pt x="465" y="951"/>
                    </a:lnTo>
                    <a:lnTo>
                      <a:pt x="466" y="951"/>
                    </a:lnTo>
                    <a:lnTo>
                      <a:pt x="465" y="951"/>
                    </a:lnTo>
                    <a:close/>
                    <a:moveTo>
                      <a:pt x="461" y="953"/>
                    </a:moveTo>
                    <a:lnTo>
                      <a:pt x="459" y="951"/>
                    </a:lnTo>
                    <a:lnTo>
                      <a:pt x="461" y="951"/>
                    </a:lnTo>
                    <a:lnTo>
                      <a:pt x="461" y="953"/>
                    </a:lnTo>
                    <a:close/>
                    <a:moveTo>
                      <a:pt x="457" y="951"/>
                    </a:moveTo>
                    <a:lnTo>
                      <a:pt x="459" y="953"/>
                    </a:lnTo>
                    <a:lnTo>
                      <a:pt x="461" y="953"/>
                    </a:lnTo>
                    <a:lnTo>
                      <a:pt x="463" y="953"/>
                    </a:lnTo>
                    <a:lnTo>
                      <a:pt x="461" y="953"/>
                    </a:lnTo>
                    <a:lnTo>
                      <a:pt x="463" y="953"/>
                    </a:lnTo>
                    <a:lnTo>
                      <a:pt x="463" y="955"/>
                    </a:lnTo>
                    <a:lnTo>
                      <a:pt x="461" y="955"/>
                    </a:lnTo>
                    <a:lnTo>
                      <a:pt x="459" y="955"/>
                    </a:lnTo>
                    <a:lnTo>
                      <a:pt x="459" y="953"/>
                    </a:lnTo>
                    <a:lnTo>
                      <a:pt x="457" y="953"/>
                    </a:lnTo>
                    <a:lnTo>
                      <a:pt x="457" y="951"/>
                    </a:lnTo>
                    <a:close/>
                    <a:moveTo>
                      <a:pt x="459" y="951"/>
                    </a:moveTo>
                    <a:lnTo>
                      <a:pt x="459" y="953"/>
                    </a:lnTo>
                    <a:lnTo>
                      <a:pt x="459" y="951"/>
                    </a:lnTo>
                    <a:lnTo>
                      <a:pt x="459" y="953"/>
                    </a:lnTo>
                    <a:lnTo>
                      <a:pt x="459" y="951"/>
                    </a:lnTo>
                    <a:close/>
                    <a:moveTo>
                      <a:pt x="463" y="951"/>
                    </a:moveTo>
                    <a:lnTo>
                      <a:pt x="461" y="951"/>
                    </a:lnTo>
                    <a:lnTo>
                      <a:pt x="463" y="951"/>
                    </a:lnTo>
                    <a:close/>
                    <a:moveTo>
                      <a:pt x="463" y="949"/>
                    </a:moveTo>
                    <a:lnTo>
                      <a:pt x="463" y="951"/>
                    </a:lnTo>
                    <a:lnTo>
                      <a:pt x="463" y="949"/>
                    </a:lnTo>
                    <a:lnTo>
                      <a:pt x="465" y="949"/>
                    </a:lnTo>
                    <a:lnTo>
                      <a:pt x="465" y="951"/>
                    </a:lnTo>
                    <a:lnTo>
                      <a:pt x="463" y="951"/>
                    </a:lnTo>
                    <a:lnTo>
                      <a:pt x="463" y="949"/>
                    </a:lnTo>
                    <a:close/>
                    <a:moveTo>
                      <a:pt x="455" y="951"/>
                    </a:moveTo>
                    <a:lnTo>
                      <a:pt x="455" y="949"/>
                    </a:lnTo>
                    <a:lnTo>
                      <a:pt x="455" y="951"/>
                    </a:lnTo>
                    <a:close/>
                    <a:moveTo>
                      <a:pt x="459" y="949"/>
                    </a:moveTo>
                    <a:lnTo>
                      <a:pt x="459" y="951"/>
                    </a:lnTo>
                    <a:lnTo>
                      <a:pt x="461" y="951"/>
                    </a:lnTo>
                    <a:lnTo>
                      <a:pt x="459" y="951"/>
                    </a:lnTo>
                    <a:lnTo>
                      <a:pt x="457" y="951"/>
                    </a:lnTo>
                    <a:lnTo>
                      <a:pt x="457" y="949"/>
                    </a:lnTo>
                    <a:lnTo>
                      <a:pt x="459" y="949"/>
                    </a:lnTo>
                    <a:close/>
                    <a:moveTo>
                      <a:pt x="457" y="949"/>
                    </a:moveTo>
                    <a:lnTo>
                      <a:pt x="457" y="951"/>
                    </a:lnTo>
                    <a:lnTo>
                      <a:pt x="457" y="949"/>
                    </a:lnTo>
                    <a:lnTo>
                      <a:pt x="455" y="949"/>
                    </a:lnTo>
                    <a:lnTo>
                      <a:pt x="457" y="949"/>
                    </a:lnTo>
                    <a:close/>
                    <a:moveTo>
                      <a:pt x="468" y="946"/>
                    </a:moveTo>
                    <a:lnTo>
                      <a:pt x="468" y="948"/>
                    </a:lnTo>
                    <a:lnTo>
                      <a:pt x="468" y="946"/>
                    </a:lnTo>
                    <a:close/>
                    <a:moveTo>
                      <a:pt x="466" y="946"/>
                    </a:moveTo>
                    <a:lnTo>
                      <a:pt x="468" y="948"/>
                    </a:lnTo>
                    <a:lnTo>
                      <a:pt x="466" y="948"/>
                    </a:lnTo>
                    <a:lnTo>
                      <a:pt x="466" y="946"/>
                    </a:lnTo>
                    <a:lnTo>
                      <a:pt x="465" y="946"/>
                    </a:lnTo>
                    <a:lnTo>
                      <a:pt x="466" y="946"/>
                    </a:lnTo>
                    <a:close/>
                    <a:moveTo>
                      <a:pt x="465" y="946"/>
                    </a:moveTo>
                    <a:lnTo>
                      <a:pt x="466" y="946"/>
                    </a:lnTo>
                    <a:lnTo>
                      <a:pt x="465" y="946"/>
                    </a:lnTo>
                    <a:lnTo>
                      <a:pt x="466" y="946"/>
                    </a:lnTo>
                    <a:lnTo>
                      <a:pt x="466" y="948"/>
                    </a:lnTo>
                    <a:lnTo>
                      <a:pt x="465" y="946"/>
                    </a:lnTo>
                    <a:close/>
                    <a:moveTo>
                      <a:pt x="453" y="949"/>
                    </a:moveTo>
                    <a:lnTo>
                      <a:pt x="455" y="949"/>
                    </a:lnTo>
                    <a:lnTo>
                      <a:pt x="455" y="951"/>
                    </a:lnTo>
                    <a:lnTo>
                      <a:pt x="453" y="951"/>
                    </a:lnTo>
                    <a:lnTo>
                      <a:pt x="453" y="949"/>
                    </a:lnTo>
                    <a:close/>
                    <a:moveTo>
                      <a:pt x="457" y="948"/>
                    </a:moveTo>
                    <a:lnTo>
                      <a:pt x="457" y="949"/>
                    </a:lnTo>
                    <a:lnTo>
                      <a:pt x="457" y="948"/>
                    </a:lnTo>
                    <a:close/>
                    <a:moveTo>
                      <a:pt x="455" y="949"/>
                    </a:moveTo>
                    <a:lnTo>
                      <a:pt x="453" y="948"/>
                    </a:lnTo>
                    <a:lnTo>
                      <a:pt x="455" y="949"/>
                    </a:lnTo>
                    <a:close/>
                    <a:moveTo>
                      <a:pt x="455" y="948"/>
                    </a:moveTo>
                    <a:lnTo>
                      <a:pt x="457" y="948"/>
                    </a:lnTo>
                    <a:lnTo>
                      <a:pt x="457" y="949"/>
                    </a:lnTo>
                    <a:lnTo>
                      <a:pt x="455" y="949"/>
                    </a:lnTo>
                    <a:lnTo>
                      <a:pt x="455" y="948"/>
                    </a:lnTo>
                    <a:close/>
                    <a:moveTo>
                      <a:pt x="465" y="944"/>
                    </a:moveTo>
                    <a:lnTo>
                      <a:pt x="463" y="944"/>
                    </a:lnTo>
                    <a:lnTo>
                      <a:pt x="465" y="944"/>
                    </a:lnTo>
                    <a:close/>
                    <a:moveTo>
                      <a:pt x="453" y="949"/>
                    </a:moveTo>
                    <a:lnTo>
                      <a:pt x="453" y="948"/>
                    </a:lnTo>
                    <a:lnTo>
                      <a:pt x="453" y="949"/>
                    </a:lnTo>
                    <a:close/>
                    <a:moveTo>
                      <a:pt x="463" y="944"/>
                    </a:moveTo>
                    <a:lnTo>
                      <a:pt x="465" y="946"/>
                    </a:lnTo>
                    <a:lnTo>
                      <a:pt x="463" y="944"/>
                    </a:lnTo>
                    <a:lnTo>
                      <a:pt x="461" y="944"/>
                    </a:lnTo>
                    <a:lnTo>
                      <a:pt x="463" y="944"/>
                    </a:lnTo>
                    <a:close/>
                    <a:moveTo>
                      <a:pt x="459" y="944"/>
                    </a:moveTo>
                    <a:lnTo>
                      <a:pt x="461" y="944"/>
                    </a:lnTo>
                    <a:lnTo>
                      <a:pt x="461" y="946"/>
                    </a:lnTo>
                    <a:lnTo>
                      <a:pt x="463" y="946"/>
                    </a:lnTo>
                    <a:lnTo>
                      <a:pt x="461" y="946"/>
                    </a:lnTo>
                    <a:lnTo>
                      <a:pt x="459" y="944"/>
                    </a:lnTo>
                    <a:close/>
                    <a:moveTo>
                      <a:pt x="455" y="949"/>
                    </a:moveTo>
                    <a:lnTo>
                      <a:pt x="457" y="949"/>
                    </a:lnTo>
                    <a:lnTo>
                      <a:pt x="457" y="951"/>
                    </a:lnTo>
                    <a:lnTo>
                      <a:pt x="455" y="951"/>
                    </a:lnTo>
                    <a:lnTo>
                      <a:pt x="455" y="949"/>
                    </a:lnTo>
                    <a:lnTo>
                      <a:pt x="453" y="948"/>
                    </a:lnTo>
                    <a:lnTo>
                      <a:pt x="453" y="949"/>
                    </a:lnTo>
                    <a:lnTo>
                      <a:pt x="455" y="949"/>
                    </a:lnTo>
                    <a:close/>
                    <a:moveTo>
                      <a:pt x="466" y="944"/>
                    </a:moveTo>
                    <a:lnTo>
                      <a:pt x="466" y="942"/>
                    </a:lnTo>
                    <a:lnTo>
                      <a:pt x="466" y="944"/>
                    </a:lnTo>
                    <a:close/>
                    <a:moveTo>
                      <a:pt x="466" y="944"/>
                    </a:moveTo>
                    <a:lnTo>
                      <a:pt x="465" y="944"/>
                    </a:lnTo>
                    <a:lnTo>
                      <a:pt x="465" y="942"/>
                    </a:lnTo>
                    <a:lnTo>
                      <a:pt x="465" y="944"/>
                    </a:lnTo>
                    <a:lnTo>
                      <a:pt x="466" y="944"/>
                    </a:lnTo>
                    <a:close/>
                    <a:moveTo>
                      <a:pt x="463" y="944"/>
                    </a:moveTo>
                    <a:lnTo>
                      <a:pt x="465" y="944"/>
                    </a:lnTo>
                    <a:lnTo>
                      <a:pt x="465" y="946"/>
                    </a:lnTo>
                    <a:lnTo>
                      <a:pt x="465" y="944"/>
                    </a:lnTo>
                    <a:lnTo>
                      <a:pt x="463" y="944"/>
                    </a:lnTo>
                    <a:close/>
                    <a:moveTo>
                      <a:pt x="459" y="944"/>
                    </a:moveTo>
                    <a:lnTo>
                      <a:pt x="459" y="946"/>
                    </a:lnTo>
                    <a:lnTo>
                      <a:pt x="459" y="944"/>
                    </a:lnTo>
                    <a:close/>
                    <a:moveTo>
                      <a:pt x="461" y="944"/>
                    </a:moveTo>
                    <a:lnTo>
                      <a:pt x="463" y="944"/>
                    </a:lnTo>
                    <a:lnTo>
                      <a:pt x="461" y="944"/>
                    </a:lnTo>
                    <a:lnTo>
                      <a:pt x="461" y="942"/>
                    </a:lnTo>
                    <a:lnTo>
                      <a:pt x="461" y="944"/>
                    </a:lnTo>
                    <a:close/>
                    <a:moveTo>
                      <a:pt x="466" y="940"/>
                    </a:moveTo>
                    <a:lnTo>
                      <a:pt x="466" y="942"/>
                    </a:lnTo>
                    <a:lnTo>
                      <a:pt x="466" y="940"/>
                    </a:lnTo>
                    <a:lnTo>
                      <a:pt x="468" y="942"/>
                    </a:lnTo>
                    <a:lnTo>
                      <a:pt x="470" y="944"/>
                    </a:lnTo>
                    <a:lnTo>
                      <a:pt x="470" y="946"/>
                    </a:lnTo>
                    <a:lnTo>
                      <a:pt x="468" y="944"/>
                    </a:lnTo>
                    <a:lnTo>
                      <a:pt x="466" y="942"/>
                    </a:lnTo>
                    <a:lnTo>
                      <a:pt x="466" y="940"/>
                    </a:lnTo>
                    <a:lnTo>
                      <a:pt x="466" y="942"/>
                    </a:lnTo>
                    <a:lnTo>
                      <a:pt x="466" y="940"/>
                    </a:lnTo>
                    <a:close/>
                    <a:moveTo>
                      <a:pt x="461" y="942"/>
                    </a:moveTo>
                    <a:lnTo>
                      <a:pt x="463" y="942"/>
                    </a:lnTo>
                    <a:lnTo>
                      <a:pt x="465" y="942"/>
                    </a:lnTo>
                    <a:lnTo>
                      <a:pt x="465" y="944"/>
                    </a:lnTo>
                    <a:lnTo>
                      <a:pt x="463" y="944"/>
                    </a:lnTo>
                    <a:lnTo>
                      <a:pt x="461" y="944"/>
                    </a:lnTo>
                    <a:lnTo>
                      <a:pt x="461" y="942"/>
                    </a:lnTo>
                    <a:lnTo>
                      <a:pt x="463" y="944"/>
                    </a:lnTo>
                    <a:lnTo>
                      <a:pt x="463" y="942"/>
                    </a:lnTo>
                    <a:lnTo>
                      <a:pt x="461" y="942"/>
                    </a:lnTo>
                    <a:close/>
                    <a:moveTo>
                      <a:pt x="453" y="948"/>
                    </a:moveTo>
                    <a:lnTo>
                      <a:pt x="453" y="946"/>
                    </a:lnTo>
                    <a:lnTo>
                      <a:pt x="451" y="946"/>
                    </a:lnTo>
                    <a:lnTo>
                      <a:pt x="453" y="946"/>
                    </a:lnTo>
                    <a:lnTo>
                      <a:pt x="453" y="948"/>
                    </a:lnTo>
                    <a:close/>
                    <a:moveTo>
                      <a:pt x="465" y="942"/>
                    </a:moveTo>
                    <a:lnTo>
                      <a:pt x="463" y="942"/>
                    </a:lnTo>
                    <a:lnTo>
                      <a:pt x="465" y="942"/>
                    </a:lnTo>
                    <a:lnTo>
                      <a:pt x="466" y="942"/>
                    </a:lnTo>
                    <a:lnTo>
                      <a:pt x="466" y="944"/>
                    </a:lnTo>
                    <a:lnTo>
                      <a:pt x="466" y="942"/>
                    </a:lnTo>
                    <a:lnTo>
                      <a:pt x="465" y="942"/>
                    </a:lnTo>
                    <a:lnTo>
                      <a:pt x="463" y="942"/>
                    </a:lnTo>
                    <a:lnTo>
                      <a:pt x="465" y="942"/>
                    </a:lnTo>
                    <a:close/>
                    <a:moveTo>
                      <a:pt x="453" y="944"/>
                    </a:moveTo>
                    <a:lnTo>
                      <a:pt x="453" y="946"/>
                    </a:lnTo>
                    <a:lnTo>
                      <a:pt x="453" y="944"/>
                    </a:lnTo>
                    <a:close/>
                    <a:moveTo>
                      <a:pt x="465" y="940"/>
                    </a:moveTo>
                    <a:lnTo>
                      <a:pt x="466" y="942"/>
                    </a:lnTo>
                    <a:lnTo>
                      <a:pt x="465" y="942"/>
                    </a:lnTo>
                    <a:lnTo>
                      <a:pt x="465" y="940"/>
                    </a:lnTo>
                    <a:close/>
                    <a:moveTo>
                      <a:pt x="455" y="948"/>
                    </a:moveTo>
                    <a:lnTo>
                      <a:pt x="457" y="948"/>
                    </a:lnTo>
                    <a:lnTo>
                      <a:pt x="455" y="948"/>
                    </a:lnTo>
                    <a:lnTo>
                      <a:pt x="453" y="946"/>
                    </a:lnTo>
                    <a:lnTo>
                      <a:pt x="453" y="944"/>
                    </a:lnTo>
                    <a:lnTo>
                      <a:pt x="453" y="946"/>
                    </a:lnTo>
                    <a:lnTo>
                      <a:pt x="455" y="946"/>
                    </a:lnTo>
                    <a:lnTo>
                      <a:pt x="455" y="948"/>
                    </a:lnTo>
                    <a:close/>
                    <a:moveTo>
                      <a:pt x="457" y="944"/>
                    </a:moveTo>
                    <a:lnTo>
                      <a:pt x="457" y="942"/>
                    </a:lnTo>
                    <a:lnTo>
                      <a:pt x="459" y="944"/>
                    </a:lnTo>
                    <a:lnTo>
                      <a:pt x="457" y="944"/>
                    </a:lnTo>
                    <a:lnTo>
                      <a:pt x="459" y="944"/>
                    </a:lnTo>
                    <a:lnTo>
                      <a:pt x="459" y="942"/>
                    </a:lnTo>
                    <a:lnTo>
                      <a:pt x="459" y="944"/>
                    </a:lnTo>
                    <a:lnTo>
                      <a:pt x="461" y="944"/>
                    </a:lnTo>
                    <a:lnTo>
                      <a:pt x="463" y="946"/>
                    </a:lnTo>
                    <a:lnTo>
                      <a:pt x="465" y="946"/>
                    </a:lnTo>
                    <a:lnTo>
                      <a:pt x="465" y="948"/>
                    </a:lnTo>
                    <a:lnTo>
                      <a:pt x="466" y="948"/>
                    </a:lnTo>
                    <a:lnTo>
                      <a:pt x="468" y="948"/>
                    </a:lnTo>
                    <a:lnTo>
                      <a:pt x="468" y="949"/>
                    </a:lnTo>
                    <a:lnTo>
                      <a:pt x="466" y="951"/>
                    </a:lnTo>
                    <a:lnTo>
                      <a:pt x="466" y="949"/>
                    </a:lnTo>
                    <a:lnTo>
                      <a:pt x="465" y="949"/>
                    </a:lnTo>
                    <a:lnTo>
                      <a:pt x="463" y="948"/>
                    </a:lnTo>
                    <a:lnTo>
                      <a:pt x="461" y="948"/>
                    </a:lnTo>
                    <a:lnTo>
                      <a:pt x="461" y="946"/>
                    </a:lnTo>
                    <a:lnTo>
                      <a:pt x="463" y="946"/>
                    </a:lnTo>
                    <a:lnTo>
                      <a:pt x="461" y="946"/>
                    </a:lnTo>
                    <a:lnTo>
                      <a:pt x="463" y="946"/>
                    </a:lnTo>
                    <a:lnTo>
                      <a:pt x="463" y="948"/>
                    </a:lnTo>
                    <a:lnTo>
                      <a:pt x="465" y="949"/>
                    </a:lnTo>
                    <a:lnTo>
                      <a:pt x="465" y="948"/>
                    </a:lnTo>
                    <a:lnTo>
                      <a:pt x="466" y="948"/>
                    </a:lnTo>
                    <a:lnTo>
                      <a:pt x="466" y="949"/>
                    </a:lnTo>
                    <a:lnTo>
                      <a:pt x="466" y="948"/>
                    </a:lnTo>
                    <a:lnTo>
                      <a:pt x="465" y="948"/>
                    </a:lnTo>
                    <a:lnTo>
                      <a:pt x="463" y="948"/>
                    </a:lnTo>
                    <a:lnTo>
                      <a:pt x="463" y="946"/>
                    </a:lnTo>
                    <a:lnTo>
                      <a:pt x="461" y="946"/>
                    </a:lnTo>
                    <a:lnTo>
                      <a:pt x="461" y="944"/>
                    </a:lnTo>
                    <a:lnTo>
                      <a:pt x="459" y="944"/>
                    </a:lnTo>
                    <a:lnTo>
                      <a:pt x="457" y="944"/>
                    </a:lnTo>
                    <a:lnTo>
                      <a:pt x="457" y="942"/>
                    </a:lnTo>
                    <a:lnTo>
                      <a:pt x="457" y="944"/>
                    </a:lnTo>
                    <a:close/>
                    <a:moveTo>
                      <a:pt x="461" y="942"/>
                    </a:moveTo>
                    <a:lnTo>
                      <a:pt x="459" y="942"/>
                    </a:lnTo>
                    <a:lnTo>
                      <a:pt x="461" y="942"/>
                    </a:lnTo>
                    <a:close/>
                    <a:moveTo>
                      <a:pt x="457" y="942"/>
                    </a:moveTo>
                    <a:lnTo>
                      <a:pt x="457" y="944"/>
                    </a:lnTo>
                    <a:lnTo>
                      <a:pt x="455" y="944"/>
                    </a:lnTo>
                    <a:lnTo>
                      <a:pt x="457" y="942"/>
                    </a:lnTo>
                    <a:close/>
                    <a:moveTo>
                      <a:pt x="459" y="942"/>
                    </a:moveTo>
                    <a:lnTo>
                      <a:pt x="457" y="942"/>
                    </a:lnTo>
                    <a:lnTo>
                      <a:pt x="459" y="942"/>
                    </a:lnTo>
                    <a:close/>
                    <a:moveTo>
                      <a:pt x="451" y="944"/>
                    </a:moveTo>
                    <a:lnTo>
                      <a:pt x="453" y="944"/>
                    </a:lnTo>
                    <a:lnTo>
                      <a:pt x="453" y="946"/>
                    </a:lnTo>
                    <a:lnTo>
                      <a:pt x="451" y="944"/>
                    </a:lnTo>
                    <a:close/>
                    <a:moveTo>
                      <a:pt x="453" y="944"/>
                    </a:moveTo>
                    <a:lnTo>
                      <a:pt x="451" y="944"/>
                    </a:lnTo>
                    <a:lnTo>
                      <a:pt x="453" y="944"/>
                    </a:lnTo>
                    <a:close/>
                    <a:moveTo>
                      <a:pt x="455" y="942"/>
                    </a:moveTo>
                    <a:lnTo>
                      <a:pt x="455" y="944"/>
                    </a:lnTo>
                    <a:lnTo>
                      <a:pt x="455" y="942"/>
                    </a:lnTo>
                    <a:close/>
                    <a:moveTo>
                      <a:pt x="453" y="944"/>
                    </a:moveTo>
                    <a:lnTo>
                      <a:pt x="455" y="944"/>
                    </a:lnTo>
                    <a:lnTo>
                      <a:pt x="457" y="944"/>
                    </a:lnTo>
                    <a:lnTo>
                      <a:pt x="459" y="946"/>
                    </a:lnTo>
                    <a:lnTo>
                      <a:pt x="459" y="948"/>
                    </a:lnTo>
                    <a:lnTo>
                      <a:pt x="461" y="948"/>
                    </a:lnTo>
                    <a:lnTo>
                      <a:pt x="459" y="948"/>
                    </a:lnTo>
                    <a:lnTo>
                      <a:pt x="461" y="948"/>
                    </a:lnTo>
                    <a:lnTo>
                      <a:pt x="459" y="948"/>
                    </a:lnTo>
                    <a:lnTo>
                      <a:pt x="459" y="946"/>
                    </a:lnTo>
                    <a:lnTo>
                      <a:pt x="461" y="946"/>
                    </a:lnTo>
                    <a:lnTo>
                      <a:pt x="461" y="948"/>
                    </a:lnTo>
                    <a:lnTo>
                      <a:pt x="463" y="948"/>
                    </a:lnTo>
                    <a:lnTo>
                      <a:pt x="463" y="949"/>
                    </a:lnTo>
                    <a:lnTo>
                      <a:pt x="463" y="951"/>
                    </a:lnTo>
                    <a:lnTo>
                      <a:pt x="461" y="951"/>
                    </a:lnTo>
                    <a:lnTo>
                      <a:pt x="461" y="949"/>
                    </a:lnTo>
                    <a:lnTo>
                      <a:pt x="459" y="949"/>
                    </a:lnTo>
                    <a:lnTo>
                      <a:pt x="457" y="949"/>
                    </a:lnTo>
                    <a:lnTo>
                      <a:pt x="457" y="948"/>
                    </a:lnTo>
                    <a:lnTo>
                      <a:pt x="457" y="949"/>
                    </a:lnTo>
                    <a:lnTo>
                      <a:pt x="457" y="948"/>
                    </a:lnTo>
                    <a:lnTo>
                      <a:pt x="459" y="948"/>
                    </a:lnTo>
                    <a:lnTo>
                      <a:pt x="459" y="949"/>
                    </a:lnTo>
                    <a:lnTo>
                      <a:pt x="461" y="949"/>
                    </a:lnTo>
                    <a:lnTo>
                      <a:pt x="459" y="949"/>
                    </a:lnTo>
                    <a:lnTo>
                      <a:pt x="459" y="948"/>
                    </a:lnTo>
                    <a:lnTo>
                      <a:pt x="457" y="948"/>
                    </a:lnTo>
                    <a:lnTo>
                      <a:pt x="455" y="948"/>
                    </a:lnTo>
                    <a:lnTo>
                      <a:pt x="455" y="946"/>
                    </a:lnTo>
                    <a:lnTo>
                      <a:pt x="453" y="946"/>
                    </a:lnTo>
                    <a:lnTo>
                      <a:pt x="453" y="944"/>
                    </a:lnTo>
                    <a:lnTo>
                      <a:pt x="455" y="944"/>
                    </a:lnTo>
                    <a:lnTo>
                      <a:pt x="453" y="944"/>
                    </a:lnTo>
                    <a:close/>
                    <a:moveTo>
                      <a:pt x="463" y="940"/>
                    </a:moveTo>
                    <a:lnTo>
                      <a:pt x="465" y="940"/>
                    </a:lnTo>
                    <a:lnTo>
                      <a:pt x="463" y="940"/>
                    </a:lnTo>
                    <a:lnTo>
                      <a:pt x="465" y="940"/>
                    </a:lnTo>
                    <a:lnTo>
                      <a:pt x="463" y="940"/>
                    </a:lnTo>
                    <a:close/>
                    <a:moveTo>
                      <a:pt x="455" y="942"/>
                    </a:moveTo>
                    <a:lnTo>
                      <a:pt x="455" y="944"/>
                    </a:lnTo>
                    <a:lnTo>
                      <a:pt x="455" y="942"/>
                    </a:lnTo>
                    <a:lnTo>
                      <a:pt x="453" y="942"/>
                    </a:lnTo>
                    <a:lnTo>
                      <a:pt x="455" y="942"/>
                    </a:lnTo>
                    <a:close/>
                    <a:moveTo>
                      <a:pt x="449" y="944"/>
                    </a:moveTo>
                    <a:lnTo>
                      <a:pt x="451" y="944"/>
                    </a:lnTo>
                    <a:lnTo>
                      <a:pt x="449" y="944"/>
                    </a:lnTo>
                    <a:close/>
                    <a:moveTo>
                      <a:pt x="455" y="944"/>
                    </a:moveTo>
                    <a:lnTo>
                      <a:pt x="455" y="942"/>
                    </a:lnTo>
                    <a:lnTo>
                      <a:pt x="455" y="944"/>
                    </a:lnTo>
                    <a:close/>
                    <a:moveTo>
                      <a:pt x="451" y="944"/>
                    </a:moveTo>
                    <a:lnTo>
                      <a:pt x="449" y="944"/>
                    </a:lnTo>
                    <a:lnTo>
                      <a:pt x="451" y="944"/>
                    </a:lnTo>
                    <a:close/>
                    <a:moveTo>
                      <a:pt x="457" y="942"/>
                    </a:moveTo>
                    <a:lnTo>
                      <a:pt x="455" y="942"/>
                    </a:lnTo>
                    <a:lnTo>
                      <a:pt x="457" y="942"/>
                    </a:lnTo>
                    <a:close/>
                    <a:moveTo>
                      <a:pt x="451" y="942"/>
                    </a:moveTo>
                    <a:lnTo>
                      <a:pt x="453" y="944"/>
                    </a:lnTo>
                    <a:lnTo>
                      <a:pt x="451" y="944"/>
                    </a:lnTo>
                    <a:lnTo>
                      <a:pt x="451" y="942"/>
                    </a:lnTo>
                    <a:close/>
                    <a:moveTo>
                      <a:pt x="461" y="938"/>
                    </a:moveTo>
                    <a:lnTo>
                      <a:pt x="461" y="940"/>
                    </a:lnTo>
                    <a:lnTo>
                      <a:pt x="461" y="938"/>
                    </a:lnTo>
                    <a:close/>
                    <a:moveTo>
                      <a:pt x="459" y="938"/>
                    </a:moveTo>
                    <a:lnTo>
                      <a:pt x="461" y="938"/>
                    </a:lnTo>
                    <a:lnTo>
                      <a:pt x="459" y="938"/>
                    </a:lnTo>
                    <a:close/>
                    <a:moveTo>
                      <a:pt x="453" y="940"/>
                    </a:moveTo>
                    <a:lnTo>
                      <a:pt x="455" y="940"/>
                    </a:lnTo>
                    <a:lnTo>
                      <a:pt x="455" y="942"/>
                    </a:lnTo>
                    <a:lnTo>
                      <a:pt x="453" y="942"/>
                    </a:lnTo>
                    <a:lnTo>
                      <a:pt x="453" y="940"/>
                    </a:lnTo>
                    <a:close/>
                    <a:moveTo>
                      <a:pt x="449" y="942"/>
                    </a:moveTo>
                    <a:lnTo>
                      <a:pt x="449" y="944"/>
                    </a:lnTo>
                    <a:lnTo>
                      <a:pt x="449" y="942"/>
                    </a:lnTo>
                    <a:lnTo>
                      <a:pt x="447" y="942"/>
                    </a:lnTo>
                    <a:lnTo>
                      <a:pt x="447" y="940"/>
                    </a:lnTo>
                    <a:lnTo>
                      <a:pt x="449" y="940"/>
                    </a:lnTo>
                    <a:lnTo>
                      <a:pt x="449" y="942"/>
                    </a:lnTo>
                    <a:close/>
                    <a:moveTo>
                      <a:pt x="457" y="936"/>
                    </a:moveTo>
                    <a:lnTo>
                      <a:pt x="459" y="938"/>
                    </a:lnTo>
                    <a:lnTo>
                      <a:pt x="457" y="938"/>
                    </a:lnTo>
                    <a:lnTo>
                      <a:pt x="457" y="936"/>
                    </a:lnTo>
                    <a:close/>
                    <a:moveTo>
                      <a:pt x="453" y="938"/>
                    </a:moveTo>
                    <a:lnTo>
                      <a:pt x="455" y="938"/>
                    </a:lnTo>
                    <a:lnTo>
                      <a:pt x="455" y="940"/>
                    </a:lnTo>
                    <a:lnTo>
                      <a:pt x="455" y="938"/>
                    </a:lnTo>
                    <a:lnTo>
                      <a:pt x="455" y="940"/>
                    </a:lnTo>
                    <a:lnTo>
                      <a:pt x="457" y="940"/>
                    </a:lnTo>
                    <a:lnTo>
                      <a:pt x="459" y="940"/>
                    </a:lnTo>
                    <a:lnTo>
                      <a:pt x="459" y="942"/>
                    </a:lnTo>
                    <a:lnTo>
                      <a:pt x="457" y="942"/>
                    </a:lnTo>
                    <a:lnTo>
                      <a:pt x="455" y="942"/>
                    </a:lnTo>
                    <a:lnTo>
                      <a:pt x="455" y="940"/>
                    </a:lnTo>
                    <a:lnTo>
                      <a:pt x="453" y="940"/>
                    </a:lnTo>
                    <a:lnTo>
                      <a:pt x="453" y="938"/>
                    </a:lnTo>
                    <a:lnTo>
                      <a:pt x="451" y="938"/>
                    </a:lnTo>
                    <a:lnTo>
                      <a:pt x="453" y="938"/>
                    </a:lnTo>
                    <a:close/>
                    <a:moveTo>
                      <a:pt x="455" y="938"/>
                    </a:moveTo>
                    <a:lnTo>
                      <a:pt x="457" y="938"/>
                    </a:lnTo>
                    <a:lnTo>
                      <a:pt x="459" y="938"/>
                    </a:lnTo>
                    <a:lnTo>
                      <a:pt x="461" y="938"/>
                    </a:lnTo>
                    <a:lnTo>
                      <a:pt x="461" y="940"/>
                    </a:lnTo>
                    <a:lnTo>
                      <a:pt x="463" y="940"/>
                    </a:lnTo>
                    <a:lnTo>
                      <a:pt x="463" y="942"/>
                    </a:lnTo>
                    <a:lnTo>
                      <a:pt x="461" y="942"/>
                    </a:lnTo>
                    <a:lnTo>
                      <a:pt x="459" y="940"/>
                    </a:lnTo>
                    <a:lnTo>
                      <a:pt x="457" y="940"/>
                    </a:lnTo>
                    <a:lnTo>
                      <a:pt x="457" y="938"/>
                    </a:lnTo>
                    <a:lnTo>
                      <a:pt x="457" y="940"/>
                    </a:lnTo>
                    <a:lnTo>
                      <a:pt x="457" y="938"/>
                    </a:lnTo>
                    <a:lnTo>
                      <a:pt x="455" y="938"/>
                    </a:lnTo>
                    <a:lnTo>
                      <a:pt x="457" y="938"/>
                    </a:lnTo>
                    <a:lnTo>
                      <a:pt x="455" y="938"/>
                    </a:lnTo>
                    <a:close/>
                    <a:moveTo>
                      <a:pt x="447" y="940"/>
                    </a:moveTo>
                    <a:lnTo>
                      <a:pt x="445" y="940"/>
                    </a:lnTo>
                    <a:lnTo>
                      <a:pt x="447" y="940"/>
                    </a:lnTo>
                    <a:close/>
                    <a:moveTo>
                      <a:pt x="453" y="938"/>
                    </a:moveTo>
                    <a:lnTo>
                      <a:pt x="455" y="938"/>
                    </a:lnTo>
                    <a:lnTo>
                      <a:pt x="453" y="938"/>
                    </a:lnTo>
                    <a:close/>
                    <a:moveTo>
                      <a:pt x="457" y="938"/>
                    </a:moveTo>
                    <a:lnTo>
                      <a:pt x="455" y="938"/>
                    </a:lnTo>
                    <a:lnTo>
                      <a:pt x="455" y="936"/>
                    </a:lnTo>
                    <a:lnTo>
                      <a:pt x="457" y="938"/>
                    </a:lnTo>
                    <a:close/>
                    <a:moveTo>
                      <a:pt x="453" y="936"/>
                    </a:moveTo>
                    <a:lnTo>
                      <a:pt x="455" y="936"/>
                    </a:lnTo>
                    <a:lnTo>
                      <a:pt x="453" y="936"/>
                    </a:lnTo>
                    <a:close/>
                    <a:moveTo>
                      <a:pt x="451" y="938"/>
                    </a:moveTo>
                    <a:lnTo>
                      <a:pt x="453" y="938"/>
                    </a:lnTo>
                    <a:lnTo>
                      <a:pt x="451" y="938"/>
                    </a:lnTo>
                    <a:close/>
                    <a:moveTo>
                      <a:pt x="449" y="940"/>
                    </a:moveTo>
                    <a:lnTo>
                      <a:pt x="449" y="938"/>
                    </a:lnTo>
                    <a:lnTo>
                      <a:pt x="447" y="938"/>
                    </a:lnTo>
                    <a:lnTo>
                      <a:pt x="449" y="938"/>
                    </a:lnTo>
                    <a:lnTo>
                      <a:pt x="449" y="940"/>
                    </a:lnTo>
                    <a:close/>
                    <a:moveTo>
                      <a:pt x="445" y="938"/>
                    </a:moveTo>
                    <a:lnTo>
                      <a:pt x="445" y="940"/>
                    </a:lnTo>
                    <a:lnTo>
                      <a:pt x="443" y="940"/>
                    </a:lnTo>
                    <a:lnTo>
                      <a:pt x="443" y="938"/>
                    </a:lnTo>
                    <a:lnTo>
                      <a:pt x="445" y="938"/>
                    </a:lnTo>
                    <a:close/>
                    <a:moveTo>
                      <a:pt x="449" y="938"/>
                    </a:moveTo>
                    <a:lnTo>
                      <a:pt x="451" y="938"/>
                    </a:lnTo>
                    <a:lnTo>
                      <a:pt x="449" y="938"/>
                    </a:lnTo>
                    <a:lnTo>
                      <a:pt x="447" y="938"/>
                    </a:lnTo>
                    <a:lnTo>
                      <a:pt x="449" y="938"/>
                    </a:lnTo>
                    <a:close/>
                    <a:moveTo>
                      <a:pt x="449" y="938"/>
                    </a:moveTo>
                    <a:lnTo>
                      <a:pt x="451" y="938"/>
                    </a:lnTo>
                    <a:lnTo>
                      <a:pt x="449" y="938"/>
                    </a:lnTo>
                    <a:lnTo>
                      <a:pt x="449" y="936"/>
                    </a:lnTo>
                    <a:lnTo>
                      <a:pt x="449" y="938"/>
                    </a:lnTo>
                    <a:close/>
                    <a:moveTo>
                      <a:pt x="445" y="938"/>
                    </a:moveTo>
                    <a:lnTo>
                      <a:pt x="447" y="938"/>
                    </a:lnTo>
                    <a:lnTo>
                      <a:pt x="447" y="940"/>
                    </a:lnTo>
                    <a:lnTo>
                      <a:pt x="445" y="940"/>
                    </a:lnTo>
                    <a:lnTo>
                      <a:pt x="445" y="938"/>
                    </a:lnTo>
                    <a:close/>
                    <a:moveTo>
                      <a:pt x="447" y="938"/>
                    </a:moveTo>
                    <a:lnTo>
                      <a:pt x="445" y="938"/>
                    </a:lnTo>
                    <a:lnTo>
                      <a:pt x="447" y="938"/>
                    </a:lnTo>
                    <a:lnTo>
                      <a:pt x="445" y="938"/>
                    </a:lnTo>
                    <a:lnTo>
                      <a:pt x="447" y="938"/>
                    </a:lnTo>
                    <a:close/>
                    <a:moveTo>
                      <a:pt x="449" y="936"/>
                    </a:moveTo>
                    <a:lnTo>
                      <a:pt x="447" y="936"/>
                    </a:lnTo>
                    <a:lnTo>
                      <a:pt x="449" y="936"/>
                    </a:lnTo>
                    <a:close/>
                    <a:moveTo>
                      <a:pt x="447" y="938"/>
                    </a:moveTo>
                    <a:lnTo>
                      <a:pt x="447" y="936"/>
                    </a:lnTo>
                    <a:lnTo>
                      <a:pt x="447" y="938"/>
                    </a:lnTo>
                    <a:close/>
                    <a:moveTo>
                      <a:pt x="451" y="934"/>
                    </a:moveTo>
                    <a:lnTo>
                      <a:pt x="453" y="936"/>
                    </a:lnTo>
                    <a:lnTo>
                      <a:pt x="451" y="936"/>
                    </a:lnTo>
                    <a:lnTo>
                      <a:pt x="451" y="934"/>
                    </a:lnTo>
                    <a:close/>
                    <a:moveTo>
                      <a:pt x="443" y="938"/>
                    </a:moveTo>
                    <a:lnTo>
                      <a:pt x="443" y="936"/>
                    </a:lnTo>
                    <a:lnTo>
                      <a:pt x="443" y="938"/>
                    </a:lnTo>
                    <a:lnTo>
                      <a:pt x="445" y="938"/>
                    </a:lnTo>
                    <a:lnTo>
                      <a:pt x="443" y="938"/>
                    </a:lnTo>
                    <a:lnTo>
                      <a:pt x="441" y="936"/>
                    </a:lnTo>
                    <a:lnTo>
                      <a:pt x="443" y="936"/>
                    </a:lnTo>
                    <a:lnTo>
                      <a:pt x="443" y="938"/>
                    </a:lnTo>
                    <a:close/>
                    <a:moveTo>
                      <a:pt x="441" y="938"/>
                    </a:moveTo>
                    <a:lnTo>
                      <a:pt x="441" y="936"/>
                    </a:lnTo>
                    <a:lnTo>
                      <a:pt x="441" y="938"/>
                    </a:lnTo>
                    <a:close/>
                    <a:moveTo>
                      <a:pt x="445" y="936"/>
                    </a:moveTo>
                    <a:lnTo>
                      <a:pt x="445" y="938"/>
                    </a:lnTo>
                    <a:lnTo>
                      <a:pt x="445" y="936"/>
                    </a:lnTo>
                    <a:lnTo>
                      <a:pt x="445" y="938"/>
                    </a:lnTo>
                    <a:lnTo>
                      <a:pt x="445" y="936"/>
                    </a:lnTo>
                    <a:lnTo>
                      <a:pt x="443" y="936"/>
                    </a:lnTo>
                    <a:lnTo>
                      <a:pt x="445" y="936"/>
                    </a:lnTo>
                    <a:lnTo>
                      <a:pt x="443" y="936"/>
                    </a:lnTo>
                    <a:lnTo>
                      <a:pt x="445" y="936"/>
                    </a:lnTo>
                    <a:close/>
                    <a:moveTo>
                      <a:pt x="441" y="936"/>
                    </a:moveTo>
                    <a:lnTo>
                      <a:pt x="443" y="936"/>
                    </a:lnTo>
                    <a:lnTo>
                      <a:pt x="441" y="936"/>
                    </a:lnTo>
                    <a:close/>
                    <a:moveTo>
                      <a:pt x="441" y="936"/>
                    </a:moveTo>
                    <a:lnTo>
                      <a:pt x="443" y="936"/>
                    </a:lnTo>
                    <a:lnTo>
                      <a:pt x="445" y="936"/>
                    </a:lnTo>
                    <a:lnTo>
                      <a:pt x="443" y="936"/>
                    </a:lnTo>
                    <a:lnTo>
                      <a:pt x="441" y="936"/>
                    </a:lnTo>
                    <a:lnTo>
                      <a:pt x="441" y="934"/>
                    </a:lnTo>
                    <a:lnTo>
                      <a:pt x="441" y="936"/>
                    </a:lnTo>
                    <a:close/>
                    <a:moveTo>
                      <a:pt x="443" y="934"/>
                    </a:moveTo>
                    <a:lnTo>
                      <a:pt x="445" y="934"/>
                    </a:lnTo>
                    <a:lnTo>
                      <a:pt x="445" y="936"/>
                    </a:lnTo>
                    <a:lnTo>
                      <a:pt x="443" y="936"/>
                    </a:lnTo>
                    <a:lnTo>
                      <a:pt x="443" y="934"/>
                    </a:lnTo>
                    <a:close/>
                    <a:moveTo>
                      <a:pt x="443" y="934"/>
                    </a:moveTo>
                    <a:lnTo>
                      <a:pt x="443" y="936"/>
                    </a:lnTo>
                    <a:lnTo>
                      <a:pt x="443" y="934"/>
                    </a:lnTo>
                    <a:lnTo>
                      <a:pt x="441" y="934"/>
                    </a:lnTo>
                    <a:lnTo>
                      <a:pt x="443" y="934"/>
                    </a:lnTo>
                    <a:close/>
                    <a:moveTo>
                      <a:pt x="445" y="934"/>
                    </a:moveTo>
                    <a:lnTo>
                      <a:pt x="447" y="934"/>
                    </a:lnTo>
                    <a:lnTo>
                      <a:pt x="445" y="934"/>
                    </a:lnTo>
                    <a:close/>
                    <a:moveTo>
                      <a:pt x="440" y="936"/>
                    </a:moveTo>
                    <a:lnTo>
                      <a:pt x="441" y="936"/>
                    </a:lnTo>
                    <a:lnTo>
                      <a:pt x="443" y="938"/>
                    </a:lnTo>
                    <a:lnTo>
                      <a:pt x="443" y="940"/>
                    </a:lnTo>
                    <a:lnTo>
                      <a:pt x="443" y="938"/>
                    </a:lnTo>
                    <a:lnTo>
                      <a:pt x="441" y="938"/>
                    </a:lnTo>
                    <a:lnTo>
                      <a:pt x="441" y="936"/>
                    </a:lnTo>
                    <a:lnTo>
                      <a:pt x="440" y="936"/>
                    </a:lnTo>
                    <a:lnTo>
                      <a:pt x="441" y="936"/>
                    </a:lnTo>
                    <a:lnTo>
                      <a:pt x="440" y="936"/>
                    </a:lnTo>
                    <a:lnTo>
                      <a:pt x="440" y="934"/>
                    </a:lnTo>
                    <a:lnTo>
                      <a:pt x="440" y="936"/>
                    </a:lnTo>
                    <a:close/>
                    <a:moveTo>
                      <a:pt x="443" y="934"/>
                    </a:moveTo>
                    <a:lnTo>
                      <a:pt x="441" y="934"/>
                    </a:lnTo>
                    <a:lnTo>
                      <a:pt x="441" y="932"/>
                    </a:lnTo>
                    <a:lnTo>
                      <a:pt x="443" y="934"/>
                    </a:lnTo>
                    <a:close/>
                    <a:moveTo>
                      <a:pt x="441" y="934"/>
                    </a:moveTo>
                    <a:lnTo>
                      <a:pt x="441" y="936"/>
                    </a:lnTo>
                    <a:lnTo>
                      <a:pt x="441" y="934"/>
                    </a:lnTo>
                    <a:close/>
                    <a:moveTo>
                      <a:pt x="443" y="934"/>
                    </a:moveTo>
                    <a:lnTo>
                      <a:pt x="443" y="932"/>
                    </a:lnTo>
                    <a:lnTo>
                      <a:pt x="441" y="932"/>
                    </a:lnTo>
                    <a:lnTo>
                      <a:pt x="443" y="932"/>
                    </a:lnTo>
                    <a:lnTo>
                      <a:pt x="443" y="934"/>
                    </a:lnTo>
                    <a:close/>
                    <a:moveTo>
                      <a:pt x="440" y="934"/>
                    </a:moveTo>
                    <a:lnTo>
                      <a:pt x="441" y="934"/>
                    </a:lnTo>
                    <a:lnTo>
                      <a:pt x="440" y="934"/>
                    </a:lnTo>
                    <a:close/>
                    <a:moveTo>
                      <a:pt x="445" y="932"/>
                    </a:moveTo>
                    <a:lnTo>
                      <a:pt x="445" y="934"/>
                    </a:lnTo>
                    <a:lnTo>
                      <a:pt x="445" y="932"/>
                    </a:lnTo>
                    <a:lnTo>
                      <a:pt x="443" y="932"/>
                    </a:lnTo>
                    <a:lnTo>
                      <a:pt x="445" y="932"/>
                    </a:lnTo>
                    <a:close/>
                    <a:moveTo>
                      <a:pt x="438" y="936"/>
                    </a:moveTo>
                    <a:lnTo>
                      <a:pt x="436" y="936"/>
                    </a:lnTo>
                    <a:lnTo>
                      <a:pt x="436" y="934"/>
                    </a:lnTo>
                    <a:lnTo>
                      <a:pt x="436" y="936"/>
                    </a:lnTo>
                    <a:lnTo>
                      <a:pt x="438" y="936"/>
                    </a:lnTo>
                    <a:close/>
                    <a:moveTo>
                      <a:pt x="438" y="934"/>
                    </a:moveTo>
                    <a:lnTo>
                      <a:pt x="440" y="934"/>
                    </a:lnTo>
                    <a:lnTo>
                      <a:pt x="438" y="934"/>
                    </a:lnTo>
                    <a:close/>
                    <a:moveTo>
                      <a:pt x="443" y="932"/>
                    </a:moveTo>
                    <a:lnTo>
                      <a:pt x="441" y="932"/>
                    </a:lnTo>
                    <a:lnTo>
                      <a:pt x="443" y="932"/>
                    </a:lnTo>
                    <a:close/>
                    <a:moveTo>
                      <a:pt x="445" y="930"/>
                    </a:moveTo>
                    <a:lnTo>
                      <a:pt x="445" y="932"/>
                    </a:lnTo>
                    <a:lnTo>
                      <a:pt x="443" y="930"/>
                    </a:lnTo>
                    <a:lnTo>
                      <a:pt x="445" y="930"/>
                    </a:lnTo>
                    <a:close/>
                    <a:moveTo>
                      <a:pt x="443" y="932"/>
                    </a:moveTo>
                    <a:lnTo>
                      <a:pt x="443" y="930"/>
                    </a:lnTo>
                    <a:lnTo>
                      <a:pt x="443" y="932"/>
                    </a:lnTo>
                    <a:close/>
                    <a:moveTo>
                      <a:pt x="441" y="932"/>
                    </a:moveTo>
                    <a:lnTo>
                      <a:pt x="440" y="932"/>
                    </a:lnTo>
                    <a:lnTo>
                      <a:pt x="441" y="932"/>
                    </a:lnTo>
                    <a:close/>
                    <a:moveTo>
                      <a:pt x="440" y="932"/>
                    </a:moveTo>
                    <a:lnTo>
                      <a:pt x="438" y="932"/>
                    </a:lnTo>
                    <a:lnTo>
                      <a:pt x="440" y="932"/>
                    </a:lnTo>
                    <a:close/>
                    <a:moveTo>
                      <a:pt x="440" y="932"/>
                    </a:moveTo>
                    <a:lnTo>
                      <a:pt x="441" y="932"/>
                    </a:lnTo>
                    <a:lnTo>
                      <a:pt x="440" y="932"/>
                    </a:lnTo>
                    <a:close/>
                    <a:moveTo>
                      <a:pt x="436" y="932"/>
                    </a:moveTo>
                    <a:lnTo>
                      <a:pt x="438" y="934"/>
                    </a:lnTo>
                    <a:lnTo>
                      <a:pt x="440" y="934"/>
                    </a:lnTo>
                    <a:lnTo>
                      <a:pt x="440" y="936"/>
                    </a:lnTo>
                    <a:lnTo>
                      <a:pt x="441" y="936"/>
                    </a:lnTo>
                    <a:lnTo>
                      <a:pt x="441" y="938"/>
                    </a:lnTo>
                    <a:lnTo>
                      <a:pt x="443" y="938"/>
                    </a:lnTo>
                    <a:lnTo>
                      <a:pt x="443" y="940"/>
                    </a:lnTo>
                    <a:lnTo>
                      <a:pt x="445" y="940"/>
                    </a:lnTo>
                    <a:lnTo>
                      <a:pt x="447" y="942"/>
                    </a:lnTo>
                    <a:lnTo>
                      <a:pt x="445" y="940"/>
                    </a:lnTo>
                    <a:lnTo>
                      <a:pt x="447" y="940"/>
                    </a:lnTo>
                    <a:lnTo>
                      <a:pt x="447" y="942"/>
                    </a:lnTo>
                    <a:lnTo>
                      <a:pt x="445" y="942"/>
                    </a:lnTo>
                    <a:lnTo>
                      <a:pt x="445" y="944"/>
                    </a:lnTo>
                    <a:lnTo>
                      <a:pt x="443" y="944"/>
                    </a:lnTo>
                    <a:lnTo>
                      <a:pt x="443" y="942"/>
                    </a:lnTo>
                    <a:lnTo>
                      <a:pt x="441" y="942"/>
                    </a:lnTo>
                    <a:lnTo>
                      <a:pt x="441" y="940"/>
                    </a:lnTo>
                    <a:lnTo>
                      <a:pt x="440" y="938"/>
                    </a:lnTo>
                    <a:lnTo>
                      <a:pt x="440" y="936"/>
                    </a:lnTo>
                    <a:lnTo>
                      <a:pt x="438" y="936"/>
                    </a:lnTo>
                    <a:lnTo>
                      <a:pt x="436" y="936"/>
                    </a:lnTo>
                    <a:lnTo>
                      <a:pt x="436" y="934"/>
                    </a:lnTo>
                    <a:lnTo>
                      <a:pt x="436" y="932"/>
                    </a:lnTo>
                    <a:close/>
                    <a:moveTo>
                      <a:pt x="438" y="932"/>
                    </a:moveTo>
                    <a:lnTo>
                      <a:pt x="436" y="932"/>
                    </a:lnTo>
                    <a:lnTo>
                      <a:pt x="438" y="932"/>
                    </a:lnTo>
                    <a:close/>
                    <a:moveTo>
                      <a:pt x="438" y="932"/>
                    </a:moveTo>
                    <a:lnTo>
                      <a:pt x="436" y="932"/>
                    </a:lnTo>
                    <a:lnTo>
                      <a:pt x="438" y="932"/>
                    </a:lnTo>
                    <a:close/>
                    <a:moveTo>
                      <a:pt x="436" y="932"/>
                    </a:moveTo>
                    <a:lnTo>
                      <a:pt x="434" y="932"/>
                    </a:lnTo>
                    <a:lnTo>
                      <a:pt x="434" y="930"/>
                    </a:lnTo>
                    <a:lnTo>
                      <a:pt x="436" y="932"/>
                    </a:lnTo>
                    <a:close/>
                    <a:moveTo>
                      <a:pt x="440" y="930"/>
                    </a:moveTo>
                    <a:lnTo>
                      <a:pt x="440" y="928"/>
                    </a:lnTo>
                    <a:lnTo>
                      <a:pt x="440" y="930"/>
                    </a:lnTo>
                    <a:close/>
                    <a:moveTo>
                      <a:pt x="440" y="930"/>
                    </a:moveTo>
                    <a:lnTo>
                      <a:pt x="441" y="930"/>
                    </a:lnTo>
                    <a:lnTo>
                      <a:pt x="441" y="932"/>
                    </a:lnTo>
                    <a:lnTo>
                      <a:pt x="440" y="930"/>
                    </a:lnTo>
                    <a:lnTo>
                      <a:pt x="440" y="928"/>
                    </a:lnTo>
                    <a:lnTo>
                      <a:pt x="440" y="930"/>
                    </a:lnTo>
                    <a:close/>
                    <a:moveTo>
                      <a:pt x="436" y="930"/>
                    </a:moveTo>
                    <a:lnTo>
                      <a:pt x="438" y="930"/>
                    </a:lnTo>
                    <a:lnTo>
                      <a:pt x="438" y="932"/>
                    </a:lnTo>
                    <a:lnTo>
                      <a:pt x="436" y="932"/>
                    </a:lnTo>
                    <a:lnTo>
                      <a:pt x="436" y="930"/>
                    </a:lnTo>
                    <a:lnTo>
                      <a:pt x="434" y="930"/>
                    </a:lnTo>
                    <a:lnTo>
                      <a:pt x="436" y="930"/>
                    </a:lnTo>
                    <a:close/>
                    <a:moveTo>
                      <a:pt x="434" y="930"/>
                    </a:moveTo>
                    <a:lnTo>
                      <a:pt x="434" y="932"/>
                    </a:lnTo>
                    <a:lnTo>
                      <a:pt x="432" y="930"/>
                    </a:lnTo>
                    <a:lnTo>
                      <a:pt x="434" y="930"/>
                    </a:lnTo>
                    <a:close/>
                    <a:moveTo>
                      <a:pt x="436" y="930"/>
                    </a:moveTo>
                    <a:lnTo>
                      <a:pt x="434" y="930"/>
                    </a:lnTo>
                    <a:lnTo>
                      <a:pt x="436" y="930"/>
                    </a:lnTo>
                    <a:close/>
                    <a:moveTo>
                      <a:pt x="434" y="930"/>
                    </a:moveTo>
                    <a:lnTo>
                      <a:pt x="432" y="928"/>
                    </a:lnTo>
                    <a:lnTo>
                      <a:pt x="434" y="928"/>
                    </a:lnTo>
                    <a:lnTo>
                      <a:pt x="434" y="930"/>
                    </a:lnTo>
                    <a:close/>
                    <a:moveTo>
                      <a:pt x="432" y="930"/>
                    </a:moveTo>
                    <a:lnTo>
                      <a:pt x="432" y="928"/>
                    </a:lnTo>
                    <a:lnTo>
                      <a:pt x="432" y="930"/>
                    </a:lnTo>
                    <a:close/>
                    <a:moveTo>
                      <a:pt x="438" y="926"/>
                    </a:moveTo>
                    <a:lnTo>
                      <a:pt x="438" y="928"/>
                    </a:lnTo>
                    <a:lnTo>
                      <a:pt x="438" y="926"/>
                    </a:lnTo>
                    <a:close/>
                    <a:moveTo>
                      <a:pt x="438" y="928"/>
                    </a:moveTo>
                    <a:lnTo>
                      <a:pt x="436" y="928"/>
                    </a:lnTo>
                    <a:lnTo>
                      <a:pt x="438" y="928"/>
                    </a:lnTo>
                    <a:lnTo>
                      <a:pt x="436" y="928"/>
                    </a:lnTo>
                    <a:lnTo>
                      <a:pt x="438" y="928"/>
                    </a:lnTo>
                    <a:lnTo>
                      <a:pt x="436" y="928"/>
                    </a:lnTo>
                    <a:lnTo>
                      <a:pt x="438" y="928"/>
                    </a:lnTo>
                    <a:close/>
                    <a:moveTo>
                      <a:pt x="436" y="928"/>
                    </a:moveTo>
                    <a:lnTo>
                      <a:pt x="436" y="930"/>
                    </a:lnTo>
                    <a:lnTo>
                      <a:pt x="436" y="928"/>
                    </a:lnTo>
                    <a:lnTo>
                      <a:pt x="436" y="930"/>
                    </a:lnTo>
                    <a:lnTo>
                      <a:pt x="436" y="928"/>
                    </a:lnTo>
                    <a:lnTo>
                      <a:pt x="434" y="928"/>
                    </a:lnTo>
                    <a:lnTo>
                      <a:pt x="436" y="928"/>
                    </a:lnTo>
                    <a:lnTo>
                      <a:pt x="434" y="928"/>
                    </a:lnTo>
                    <a:lnTo>
                      <a:pt x="436" y="928"/>
                    </a:lnTo>
                    <a:close/>
                    <a:moveTo>
                      <a:pt x="432" y="928"/>
                    </a:moveTo>
                    <a:lnTo>
                      <a:pt x="432" y="930"/>
                    </a:lnTo>
                    <a:lnTo>
                      <a:pt x="432" y="928"/>
                    </a:lnTo>
                    <a:lnTo>
                      <a:pt x="432" y="930"/>
                    </a:lnTo>
                    <a:lnTo>
                      <a:pt x="434" y="930"/>
                    </a:lnTo>
                    <a:lnTo>
                      <a:pt x="432" y="930"/>
                    </a:lnTo>
                    <a:lnTo>
                      <a:pt x="432" y="928"/>
                    </a:lnTo>
                    <a:close/>
                    <a:moveTo>
                      <a:pt x="434" y="928"/>
                    </a:moveTo>
                    <a:lnTo>
                      <a:pt x="434" y="930"/>
                    </a:lnTo>
                    <a:lnTo>
                      <a:pt x="434" y="928"/>
                    </a:lnTo>
                    <a:lnTo>
                      <a:pt x="432" y="928"/>
                    </a:lnTo>
                    <a:lnTo>
                      <a:pt x="434" y="928"/>
                    </a:lnTo>
                    <a:close/>
                    <a:moveTo>
                      <a:pt x="436" y="925"/>
                    </a:moveTo>
                    <a:lnTo>
                      <a:pt x="438" y="926"/>
                    </a:lnTo>
                    <a:lnTo>
                      <a:pt x="436" y="925"/>
                    </a:lnTo>
                    <a:close/>
                    <a:moveTo>
                      <a:pt x="430" y="926"/>
                    </a:moveTo>
                    <a:lnTo>
                      <a:pt x="430" y="928"/>
                    </a:lnTo>
                    <a:lnTo>
                      <a:pt x="430" y="926"/>
                    </a:lnTo>
                    <a:close/>
                    <a:moveTo>
                      <a:pt x="436" y="925"/>
                    </a:moveTo>
                    <a:lnTo>
                      <a:pt x="436" y="926"/>
                    </a:lnTo>
                    <a:lnTo>
                      <a:pt x="438" y="926"/>
                    </a:lnTo>
                    <a:lnTo>
                      <a:pt x="436" y="926"/>
                    </a:lnTo>
                    <a:lnTo>
                      <a:pt x="434" y="926"/>
                    </a:lnTo>
                    <a:lnTo>
                      <a:pt x="434" y="925"/>
                    </a:lnTo>
                    <a:lnTo>
                      <a:pt x="436" y="925"/>
                    </a:lnTo>
                    <a:close/>
                    <a:moveTo>
                      <a:pt x="430" y="926"/>
                    </a:moveTo>
                    <a:lnTo>
                      <a:pt x="428" y="926"/>
                    </a:lnTo>
                    <a:lnTo>
                      <a:pt x="430" y="926"/>
                    </a:lnTo>
                    <a:close/>
                    <a:moveTo>
                      <a:pt x="432" y="925"/>
                    </a:moveTo>
                    <a:lnTo>
                      <a:pt x="434" y="926"/>
                    </a:lnTo>
                    <a:lnTo>
                      <a:pt x="432" y="926"/>
                    </a:lnTo>
                    <a:lnTo>
                      <a:pt x="432" y="925"/>
                    </a:lnTo>
                    <a:lnTo>
                      <a:pt x="434" y="926"/>
                    </a:lnTo>
                    <a:lnTo>
                      <a:pt x="432" y="926"/>
                    </a:lnTo>
                    <a:lnTo>
                      <a:pt x="432" y="925"/>
                    </a:lnTo>
                    <a:close/>
                    <a:moveTo>
                      <a:pt x="432" y="925"/>
                    </a:moveTo>
                    <a:lnTo>
                      <a:pt x="432" y="926"/>
                    </a:lnTo>
                    <a:lnTo>
                      <a:pt x="432" y="925"/>
                    </a:lnTo>
                    <a:close/>
                    <a:moveTo>
                      <a:pt x="430" y="925"/>
                    </a:moveTo>
                    <a:lnTo>
                      <a:pt x="430" y="926"/>
                    </a:lnTo>
                    <a:lnTo>
                      <a:pt x="430" y="925"/>
                    </a:lnTo>
                    <a:lnTo>
                      <a:pt x="430" y="926"/>
                    </a:lnTo>
                    <a:lnTo>
                      <a:pt x="430" y="925"/>
                    </a:lnTo>
                    <a:close/>
                    <a:moveTo>
                      <a:pt x="430" y="926"/>
                    </a:moveTo>
                    <a:lnTo>
                      <a:pt x="428" y="926"/>
                    </a:lnTo>
                    <a:lnTo>
                      <a:pt x="428" y="925"/>
                    </a:lnTo>
                    <a:lnTo>
                      <a:pt x="428" y="926"/>
                    </a:lnTo>
                    <a:lnTo>
                      <a:pt x="430" y="926"/>
                    </a:lnTo>
                    <a:close/>
                    <a:moveTo>
                      <a:pt x="428" y="925"/>
                    </a:moveTo>
                    <a:lnTo>
                      <a:pt x="428" y="926"/>
                    </a:lnTo>
                    <a:lnTo>
                      <a:pt x="426" y="926"/>
                    </a:lnTo>
                    <a:lnTo>
                      <a:pt x="428" y="925"/>
                    </a:lnTo>
                    <a:lnTo>
                      <a:pt x="428" y="926"/>
                    </a:lnTo>
                    <a:lnTo>
                      <a:pt x="426" y="925"/>
                    </a:lnTo>
                    <a:lnTo>
                      <a:pt x="428" y="925"/>
                    </a:lnTo>
                    <a:close/>
                    <a:moveTo>
                      <a:pt x="434" y="923"/>
                    </a:moveTo>
                    <a:lnTo>
                      <a:pt x="436" y="925"/>
                    </a:lnTo>
                    <a:lnTo>
                      <a:pt x="434" y="925"/>
                    </a:lnTo>
                    <a:lnTo>
                      <a:pt x="434" y="926"/>
                    </a:lnTo>
                    <a:lnTo>
                      <a:pt x="434" y="925"/>
                    </a:lnTo>
                    <a:lnTo>
                      <a:pt x="432" y="925"/>
                    </a:lnTo>
                    <a:lnTo>
                      <a:pt x="432" y="923"/>
                    </a:lnTo>
                    <a:lnTo>
                      <a:pt x="434" y="925"/>
                    </a:lnTo>
                    <a:lnTo>
                      <a:pt x="434" y="923"/>
                    </a:lnTo>
                    <a:lnTo>
                      <a:pt x="432" y="923"/>
                    </a:lnTo>
                    <a:lnTo>
                      <a:pt x="434" y="923"/>
                    </a:lnTo>
                    <a:close/>
                    <a:moveTo>
                      <a:pt x="430" y="925"/>
                    </a:moveTo>
                    <a:lnTo>
                      <a:pt x="430" y="923"/>
                    </a:lnTo>
                    <a:lnTo>
                      <a:pt x="430" y="925"/>
                    </a:lnTo>
                    <a:lnTo>
                      <a:pt x="430" y="923"/>
                    </a:lnTo>
                    <a:lnTo>
                      <a:pt x="430" y="925"/>
                    </a:lnTo>
                    <a:close/>
                    <a:moveTo>
                      <a:pt x="428" y="925"/>
                    </a:moveTo>
                    <a:lnTo>
                      <a:pt x="426" y="925"/>
                    </a:lnTo>
                    <a:lnTo>
                      <a:pt x="428" y="925"/>
                    </a:lnTo>
                    <a:close/>
                    <a:moveTo>
                      <a:pt x="432" y="925"/>
                    </a:moveTo>
                    <a:lnTo>
                      <a:pt x="430" y="925"/>
                    </a:lnTo>
                    <a:lnTo>
                      <a:pt x="430" y="923"/>
                    </a:lnTo>
                    <a:lnTo>
                      <a:pt x="432" y="925"/>
                    </a:lnTo>
                    <a:close/>
                    <a:moveTo>
                      <a:pt x="432" y="923"/>
                    </a:moveTo>
                    <a:lnTo>
                      <a:pt x="430" y="923"/>
                    </a:lnTo>
                    <a:lnTo>
                      <a:pt x="430" y="921"/>
                    </a:lnTo>
                    <a:lnTo>
                      <a:pt x="432" y="921"/>
                    </a:lnTo>
                    <a:lnTo>
                      <a:pt x="432" y="923"/>
                    </a:lnTo>
                    <a:close/>
                    <a:moveTo>
                      <a:pt x="426" y="923"/>
                    </a:moveTo>
                    <a:lnTo>
                      <a:pt x="424" y="923"/>
                    </a:lnTo>
                    <a:lnTo>
                      <a:pt x="426" y="923"/>
                    </a:lnTo>
                    <a:lnTo>
                      <a:pt x="424" y="923"/>
                    </a:lnTo>
                    <a:lnTo>
                      <a:pt x="426" y="923"/>
                    </a:lnTo>
                    <a:close/>
                    <a:moveTo>
                      <a:pt x="426" y="923"/>
                    </a:moveTo>
                    <a:lnTo>
                      <a:pt x="428" y="925"/>
                    </a:lnTo>
                    <a:lnTo>
                      <a:pt x="426" y="925"/>
                    </a:lnTo>
                    <a:lnTo>
                      <a:pt x="426" y="923"/>
                    </a:lnTo>
                    <a:lnTo>
                      <a:pt x="424" y="923"/>
                    </a:lnTo>
                    <a:lnTo>
                      <a:pt x="424" y="921"/>
                    </a:lnTo>
                    <a:lnTo>
                      <a:pt x="426" y="923"/>
                    </a:lnTo>
                    <a:close/>
                    <a:moveTo>
                      <a:pt x="432" y="919"/>
                    </a:moveTo>
                    <a:lnTo>
                      <a:pt x="432" y="917"/>
                    </a:lnTo>
                    <a:lnTo>
                      <a:pt x="432" y="919"/>
                    </a:lnTo>
                    <a:close/>
                    <a:moveTo>
                      <a:pt x="426" y="919"/>
                    </a:moveTo>
                    <a:lnTo>
                      <a:pt x="428" y="921"/>
                    </a:lnTo>
                    <a:lnTo>
                      <a:pt x="428" y="923"/>
                    </a:lnTo>
                    <a:lnTo>
                      <a:pt x="428" y="921"/>
                    </a:lnTo>
                    <a:lnTo>
                      <a:pt x="428" y="919"/>
                    </a:lnTo>
                    <a:lnTo>
                      <a:pt x="428" y="921"/>
                    </a:lnTo>
                    <a:lnTo>
                      <a:pt x="430" y="921"/>
                    </a:lnTo>
                    <a:lnTo>
                      <a:pt x="430" y="923"/>
                    </a:lnTo>
                    <a:lnTo>
                      <a:pt x="428" y="923"/>
                    </a:lnTo>
                    <a:lnTo>
                      <a:pt x="428" y="921"/>
                    </a:lnTo>
                    <a:lnTo>
                      <a:pt x="426" y="921"/>
                    </a:lnTo>
                    <a:lnTo>
                      <a:pt x="426" y="919"/>
                    </a:lnTo>
                    <a:close/>
                    <a:moveTo>
                      <a:pt x="428" y="917"/>
                    </a:moveTo>
                    <a:lnTo>
                      <a:pt x="428" y="919"/>
                    </a:lnTo>
                    <a:lnTo>
                      <a:pt x="426" y="917"/>
                    </a:lnTo>
                    <a:lnTo>
                      <a:pt x="428" y="917"/>
                    </a:lnTo>
                    <a:close/>
                    <a:moveTo>
                      <a:pt x="424" y="917"/>
                    </a:moveTo>
                    <a:lnTo>
                      <a:pt x="424" y="919"/>
                    </a:lnTo>
                    <a:lnTo>
                      <a:pt x="424" y="917"/>
                    </a:lnTo>
                    <a:lnTo>
                      <a:pt x="424" y="919"/>
                    </a:lnTo>
                    <a:lnTo>
                      <a:pt x="424" y="917"/>
                    </a:lnTo>
                    <a:close/>
                    <a:moveTo>
                      <a:pt x="424" y="917"/>
                    </a:moveTo>
                    <a:lnTo>
                      <a:pt x="422" y="917"/>
                    </a:lnTo>
                    <a:lnTo>
                      <a:pt x="424" y="917"/>
                    </a:lnTo>
                    <a:close/>
                    <a:moveTo>
                      <a:pt x="428" y="915"/>
                    </a:moveTo>
                    <a:lnTo>
                      <a:pt x="428" y="917"/>
                    </a:lnTo>
                    <a:lnTo>
                      <a:pt x="428" y="915"/>
                    </a:lnTo>
                    <a:close/>
                    <a:moveTo>
                      <a:pt x="428" y="917"/>
                    </a:moveTo>
                    <a:lnTo>
                      <a:pt x="426" y="917"/>
                    </a:lnTo>
                    <a:lnTo>
                      <a:pt x="426" y="915"/>
                    </a:lnTo>
                    <a:lnTo>
                      <a:pt x="428" y="917"/>
                    </a:lnTo>
                    <a:close/>
                    <a:moveTo>
                      <a:pt x="428" y="915"/>
                    </a:moveTo>
                    <a:lnTo>
                      <a:pt x="426" y="913"/>
                    </a:lnTo>
                    <a:lnTo>
                      <a:pt x="428" y="913"/>
                    </a:lnTo>
                    <a:lnTo>
                      <a:pt x="428" y="915"/>
                    </a:lnTo>
                    <a:close/>
                    <a:moveTo>
                      <a:pt x="422" y="917"/>
                    </a:moveTo>
                    <a:lnTo>
                      <a:pt x="422" y="915"/>
                    </a:lnTo>
                    <a:lnTo>
                      <a:pt x="422" y="917"/>
                    </a:lnTo>
                    <a:close/>
                    <a:moveTo>
                      <a:pt x="426" y="911"/>
                    </a:moveTo>
                    <a:lnTo>
                      <a:pt x="428" y="913"/>
                    </a:lnTo>
                    <a:lnTo>
                      <a:pt x="426" y="913"/>
                    </a:lnTo>
                    <a:lnTo>
                      <a:pt x="426" y="911"/>
                    </a:lnTo>
                    <a:lnTo>
                      <a:pt x="426" y="913"/>
                    </a:lnTo>
                    <a:lnTo>
                      <a:pt x="426" y="911"/>
                    </a:lnTo>
                    <a:close/>
                    <a:moveTo>
                      <a:pt x="420" y="913"/>
                    </a:moveTo>
                    <a:lnTo>
                      <a:pt x="420" y="915"/>
                    </a:lnTo>
                    <a:lnTo>
                      <a:pt x="420" y="913"/>
                    </a:lnTo>
                    <a:lnTo>
                      <a:pt x="420" y="915"/>
                    </a:lnTo>
                    <a:lnTo>
                      <a:pt x="420" y="917"/>
                    </a:lnTo>
                    <a:lnTo>
                      <a:pt x="422" y="917"/>
                    </a:lnTo>
                    <a:lnTo>
                      <a:pt x="422" y="919"/>
                    </a:lnTo>
                    <a:lnTo>
                      <a:pt x="420" y="919"/>
                    </a:lnTo>
                    <a:lnTo>
                      <a:pt x="420" y="917"/>
                    </a:lnTo>
                    <a:lnTo>
                      <a:pt x="420" y="915"/>
                    </a:lnTo>
                    <a:lnTo>
                      <a:pt x="420" y="913"/>
                    </a:lnTo>
                    <a:close/>
                    <a:moveTo>
                      <a:pt x="430" y="911"/>
                    </a:moveTo>
                    <a:lnTo>
                      <a:pt x="430" y="913"/>
                    </a:lnTo>
                    <a:lnTo>
                      <a:pt x="428" y="913"/>
                    </a:lnTo>
                    <a:lnTo>
                      <a:pt x="428" y="911"/>
                    </a:lnTo>
                    <a:lnTo>
                      <a:pt x="430" y="911"/>
                    </a:lnTo>
                    <a:close/>
                    <a:moveTo>
                      <a:pt x="420" y="913"/>
                    </a:moveTo>
                    <a:lnTo>
                      <a:pt x="420" y="915"/>
                    </a:lnTo>
                    <a:lnTo>
                      <a:pt x="420" y="913"/>
                    </a:lnTo>
                    <a:close/>
                    <a:moveTo>
                      <a:pt x="424" y="911"/>
                    </a:moveTo>
                    <a:lnTo>
                      <a:pt x="424" y="913"/>
                    </a:lnTo>
                    <a:lnTo>
                      <a:pt x="424" y="915"/>
                    </a:lnTo>
                    <a:lnTo>
                      <a:pt x="424" y="913"/>
                    </a:lnTo>
                    <a:lnTo>
                      <a:pt x="422" y="913"/>
                    </a:lnTo>
                    <a:lnTo>
                      <a:pt x="424" y="911"/>
                    </a:lnTo>
                    <a:close/>
                    <a:moveTo>
                      <a:pt x="420" y="913"/>
                    </a:moveTo>
                    <a:lnTo>
                      <a:pt x="422" y="913"/>
                    </a:lnTo>
                    <a:lnTo>
                      <a:pt x="420" y="913"/>
                    </a:lnTo>
                    <a:close/>
                    <a:moveTo>
                      <a:pt x="426" y="913"/>
                    </a:moveTo>
                    <a:lnTo>
                      <a:pt x="424" y="911"/>
                    </a:lnTo>
                    <a:lnTo>
                      <a:pt x="426" y="913"/>
                    </a:lnTo>
                    <a:close/>
                    <a:moveTo>
                      <a:pt x="418" y="913"/>
                    </a:moveTo>
                    <a:lnTo>
                      <a:pt x="418" y="915"/>
                    </a:lnTo>
                    <a:lnTo>
                      <a:pt x="418" y="913"/>
                    </a:lnTo>
                    <a:close/>
                    <a:moveTo>
                      <a:pt x="420" y="911"/>
                    </a:moveTo>
                    <a:lnTo>
                      <a:pt x="420" y="913"/>
                    </a:lnTo>
                    <a:lnTo>
                      <a:pt x="418" y="911"/>
                    </a:lnTo>
                    <a:lnTo>
                      <a:pt x="420" y="911"/>
                    </a:lnTo>
                    <a:close/>
                    <a:moveTo>
                      <a:pt x="422" y="911"/>
                    </a:moveTo>
                    <a:lnTo>
                      <a:pt x="422" y="913"/>
                    </a:lnTo>
                    <a:lnTo>
                      <a:pt x="422" y="911"/>
                    </a:lnTo>
                    <a:close/>
                    <a:moveTo>
                      <a:pt x="428" y="909"/>
                    </a:moveTo>
                    <a:lnTo>
                      <a:pt x="428" y="911"/>
                    </a:lnTo>
                    <a:lnTo>
                      <a:pt x="428" y="913"/>
                    </a:lnTo>
                    <a:lnTo>
                      <a:pt x="428" y="915"/>
                    </a:lnTo>
                    <a:lnTo>
                      <a:pt x="428" y="913"/>
                    </a:lnTo>
                    <a:lnTo>
                      <a:pt x="428" y="911"/>
                    </a:lnTo>
                    <a:lnTo>
                      <a:pt x="426" y="911"/>
                    </a:lnTo>
                    <a:lnTo>
                      <a:pt x="426" y="909"/>
                    </a:lnTo>
                    <a:lnTo>
                      <a:pt x="428" y="909"/>
                    </a:lnTo>
                    <a:close/>
                    <a:moveTo>
                      <a:pt x="420" y="913"/>
                    </a:moveTo>
                    <a:lnTo>
                      <a:pt x="418" y="913"/>
                    </a:lnTo>
                    <a:lnTo>
                      <a:pt x="418" y="911"/>
                    </a:lnTo>
                    <a:lnTo>
                      <a:pt x="418" y="913"/>
                    </a:lnTo>
                    <a:lnTo>
                      <a:pt x="420" y="913"/>
                    </a:lnTo>
                    <a:close/>
                    <a:moveTo>
                      <a:pt x="424" y="909"/>
                    </a:moveTo>
                    <a:lnTo>
                      <a:pt x="424" y="911"/>
                    </a:lnTo>
                    <a:lnTo>
                      <a:pt x="424" y="909"/>
                    </a:lnTo>
                    <a:lnTo>
                      <a:pt x="424" y="911"/>
                    </a:lnTo>
                    <a:lnTo>
                      <a:pt x="424" y="909"/>
                    </a:lnTo>
                    <a:lnTo>
                      <a:pt x="422" y="909"/>
                    </a:lnTo>
                    <a:lnTo>
                      <a:pt x="424" y="909"/>
                    </a:lnTo>
                    <a:close/>
                    <a:moveTo>
                      <a:pt x="422" y="909"/>
                    </a:moveTo>
                    <a:lnTo>
                      <a:pt x="422" y="911"/>
                    </a:lnTo>
                    <a:lnTo>
                      <a:pt x="422" y="909"/>
                    </a:lnTo>
                    <a:close/>
                    <a:moveTo>
                      <a:pt x="420" y="909"/>
                    </a:moveTo>
                    <a:lnTo>
                      <a:pt x="420" y="911"/>
                    </a:lnTo>
                    <a:lnTo>
                      <a:pt x="422" y="911"/>
                    </a:lnTo>
                    <a:lnTo>
                      <a:pt x="420" y="911"/>
                    </a:lnTo>
                    <a:lnTo>
                      <a:pt x="420" y="909"/>
                    </a:lnTo>
                    <a:close/>
                    <a:moveTo>
                      <a:pt x="422" y="909"/>
                    </a:moveTo>
                    <a:lnTo>
                      <a:pt x="420" y="909"/>
                    </a:lnTo>
                    <a:lnTo>
                      <a:pt x="422" y="909"/>
                    </a:lnTo>
                    <a:close/>
                    <a:moveTo>
                      <a:pt x="424" y="909"/>
                    </a:moveTo>
                    <a:lnTo>
                      <a:pt x="424" y="907"/>
                    </a:lnTo>
                    <a:lnTo>
                      <a:pt x="424" y="909"/>
                    </a:lnTo>
                    <a:close/>
                    <a:moveTo>
                      <a:pt x="426" y="907"/>
                    </a:moveTo>
                    <a:lnTo>
                      <a:pt x="426" y="909"/>
                    </a:lnTo>
                    <a:lnTo>
                      <a:pt x="426" y="907"/>
                    </a:lnTo>
                    <a:lnTo>
                      <a:pt x="424" y="907"/>
                    </a:lnTo>
                    <a:lnTo>
                      <a:pt x="426" y="907"/>
                    </a:lnTo>
                    <a:close/>
                    <a:moveTo>
                      <a:pt x="420" y="907"/>
                    </a:moveTo>
                    <a:lnTo>
                      <a:pt x="420" y="909"/>
                    </a:lnTo>
                    <a:lnTo>
                      <a:pt x="420" y="907"/>
                    </a:lnTo>
                    <a:close/>
                    <a:moveTo>
                      <a:pt x="418" y="909"/>
                    </a:moveTo>
                    <a:lnTo>
                      <a:pt x="418" y="907"/>
                    </a:lnTo>
                    <a:lnTo>
                      <a:pt x="418" y="909"/>
                    </a:lnTo>
                    <a:lnTo>
                      <a:pt x="420" y="909"/>
                    </a:lnTo>
                    <a:lnTo>
                      <a:pt x="418" y="909"/>
                    </a:lnTo>
                    <a:lnTo>
                      <a:pt x="420" y="909"/>
                    </a:lnTo>
                    <a:lnTo>
                      <a:pt x="418" y="909"/>
                    </a:lnTo>
                    <a:lnTo>
                      <a:pt x="418" y="907"/>
                    </a:lnTo>
                    <a:lnTo>
                      <a:pt x="418" y="909"/>
                    </a:lnTo>
                    <a:close/>
                    <a:moveTo>
                      <a:pt x="420" y="907"/>
                    </a:moveTo>
                    <a:lnTo>
                      <a:pt x="420" y="909"/>
                    </a:lnTo>
                    <a:lnTo>
                      <a:pt x="420" y="907"/>
                    </a:lnTo>
                    <a:lnTo>
                      <a:pt x="418" y="907"/>
                    </a:lnTo>
                    <a:lnTo>
                      <a:pt x="420" y="907"/>
                    </a:lnTo>
                    <a:close/>
                    <a:moveTo>
                      <a:pt x="417" y="909"/>
                    </a:moveTo>
                    <a:lnTo>
                      <a:pt x="417" y="907"/>
                    </a:lnTo>
                    <a:lnTo>
                      <a:pt x="417" y="909"/>
                    </a:lnTo>
                    <a:close/>
                    <a:moveTo>
                      <a:pt x="420" y="907"/>
                    </a:moveTo>
                    <a:lnTo>
                      <a:pt x="420" y="905"/>
                    </a:lnTo>
                    <a:lnTo>
                      <a:pt x="420" y="907"/>
                    </a:lnTo>
                    <a:close/>
                    <a:moveTo>
                      <a:pt x="422" y="905"/>
                    </a:moveTo>
                    <a:lnTo>
                      <a:pt x="424" y="907"/>
                    </a:lnTo>
                    <a:lnTo>
                      <a:pt x="422" y="907"/>
                    </a:lnTo>
                    <a:lnTo>
                      <a:pt x="424" y="907"/>
                    </a:lnTo>
                    <a:lnTo>
                      <a:pt x="422" y="907"/>
                    </a:lnTo>
                    <a:lnTo>
                      <a:pt x="424" y="907"/>
                    </a:lnTo>
                    <a:lnTo>
                      <a:pt x="424" y="909"/>
                    </a:lnTo>
                    <a:lnTo>
                      <a:pt x="422" y="909"/>
                    </a:lnTo>
                    <a:lnTo>
                      <a:pt x="422" y="907"/>
                    </a:lnTo>
                    <a:lnTo>
                      <a:pt x="422" y="905"/>
                    </a:lnTo>
                    <a:close/>
                    <a:moveTo>
                      <a:pt x="418" y="907"/>
                    </a:moveTo>
                    <a:lnTo>
                      <a:pt x="418" y="905"/>
                    </a:lnTo>
                    <a:lnTo>
                      <a:pt x="418" y="907"/>
                    </a:lnTo>
                    <a:close/>
                    <a:moveTo>
                      <a:pt x="424" y="907"/>
                    </a:moveTo>
                    <a:lnTo>
                      <a:pt x="426" y="907"/>
                    </a:lnTo>
                    <a:lnTo>
                      <a:pt x="426" y="909"/>
                    </a:lnTo>
                    <a:lnTo>
                      <a:pt x="424" y="909"/>
                    </a:lnTo>
                    <a:lnTo>
                      <a:pt x="426" y="909"/>
                    </a:lnTo>
                    <a:lnTo>
                      <a:pt x="424" y="909"/>
                    </a:lnTo>
                    <a:lnTo>
                      <a:pt x="424" y="907"/>
                    </a:lnTo>
                    <a:lnTo>
                      <a:pt x="424" y="905"/>
                    </a:lnTo>
                    <a:lnTo>
                      <a:pt x="422" y="903"/>
                    </a:lnTo>
                    <a:lnTo>
                      <a:pt x="424" y="903"/>
                    </a:lnTo>
                    <a:lnTo>
                      <a:pt x="424" y="905"/>
                    </a:lnTo>
                    <a:lnTo>
                      <a:pt x="424" y="907"/>
                    </a:lnTo>
                    <a:close/>
                    <a:moveTo>
                      <a:pt x="418" y="907"/>
                    </a:moveTo>
                    <a:lnTo>
                      <a:pt x="418" y="905"/>
                    </a:lnTo>
                    <a:lnTo>
                      <a:pt x="418" y="907"/>
                    </a:lnTo>
                    <a:lnTo>
                      <a:pt x="418" y="905"/>
                    </a:lnTo>
                    <a:lnTo>
                      <a:pt x="418" y="903"/>
                    </a:lnTo>
                    <a:lnTo>
                      <a:pt x="418" y="905"/>
                    </a:lnTo>
                    <a:lnTo>
                      <a:pt x="418" y="907"/>
                    </a:lnTo>
                    <a:close/>
                    <a:moveTo>
                      <a:pt x="417" y="905"/>
                    </a:moveTo>
                    <a:lnTo>
                      <a:pt x="417" y="907"/>
                    </a:lnTo>
                    <a:lnTo>
                      <a:pt x="417" y="905"/>
                    </a:lnTo>
                    <a:lnTo>
                      <a:pt x="417" y="903"/>
                    </a:lnTo>
                    <a:lnTo>
                      <a:pt x="417" y="905"/>
                    </a:lnTo>
                    <a:close/>
                    <a:moveTo>
                      <a:pt x="420" y="903"/>
                    </a:moveTo>
                    <a:lnTo>
                      <a:pt x="420" y="905"/>
                    </a:lnTo>
                    <a:lnTo>
                      <a:pt x="422" y="905"/>
                    </a:lnTo>
                    <a:lnTo>
                      <a:pt x="420" y="905"/>
                    </a:lnTo>
                    <a:lnTo>
                      <a:pt x="420" y="903"/>
                    </a:lnTo>
                    <a:close/>
                    <a:moveTo>
                      <a:pt x="422" y="903"/>
                    </a:moveTo>
                    <a:lnTo>
                      <a:pt x="422" y="901"/>
                    </a:lnTo>
                    <a:lnTo>
                      <a:pt x="422" y="903"/>
                    </a:lnTo>
                    <a:close/>
                    <a:moveTo>
                      <a:pt x="420" y="903"/>
                    </a:moveTo>
                    <a:lnTo>
                      <a:pt x="420" y="901"/>
                    </a:lnTo>
                    <a:lnTo>
                      <a:pt x="420" y="903"/>
                    </a:lnTo>
                    <a:lnTo>
                      <a:pt x="422" y="903"/>
                    </a:lnTo>
                    <a:lnTo>
                      <a:pt x="422" y="905"/>
                    </a:lnTo>
                    <a:lnTo>
                      <a:pt x="420" y="903"/>
                    </a:lnTo>
                    <a:lnTo>
                      <a:pt x="420" y="901"/>
                    </a:lnTo>
                    <a:lnTo>
                      <a:pt x="420" y="903"/>
                    </a:lnTo>
                    <a:close/>
                    <a:moveTo>
                      <a:pt x="422" y="901"/>
                    </a:moveTo>
                    <a:lnTo>
                      <a:pt x="424" y="901"/>
                    </a:lnTo>
                    <a:lnTo>
                      <a:pt x="424" y="903"/>
                    </a:lnTo>
                    <a:lnTo>
                      <a:pt x="422" y="903"/>
                    </a:lnTo>
                    <a:lnTo>
                      <a:pt x="422" y="901"/>
                    </a:lnTo>
                    <a:close/>
                    <a:moveTo>
                      <a:pt x="417" y="903"/>
                    </a:moveTo>
                    <a:lnTo>
                      <a:pt x="418" y="903"/>
                    </a:lnTo>
                    <a:lnTo>
                      <a:pt x="418" y="905"/>
                    </a:lnTo>
                    <a:lnTo>
                      <a:pt x="417" y="903"/>
                    </a:lnTo>
                    <a:close/>
                    <a:moveTo>
                      <a:pt x="418" y="901"/>
                    </a:moveTo>
                    <a:lnTo>
                      <a:pt x="420" y="901"/>
                    </a:lnTo>
                    <a:lnTo>
                      <a:pt x="420" y="903"/>
                    </a:lnTo>
                    <a:lnTo>
                      <a:pt x="418" y="903"/>
                    </a:lnTo>
                    <a:lnTo>
                      <a:pt x="418" y="901"/>
                    </a:lnTo>
                    <a:lnTo>
                      <a:pt x="418" y="903"/>
                    </a:lnTo>
                    <a:lnTo>
                      <a:pt x="418" y="901"/>
                    </a:lnTo>
                    <a:close/>
                    <a:moveTo>
                      <a:pt x="420" y="901"/>
                    </a:moveTo>
                    <a:lnTo>
                      <a:pt x="422" y="901"/>
                    </a:lnTo>
                    <a:lnTo>
                      <a:pt x="422" y="903"/>
                    </a:lnTo>
                    <a:lnTo>
                      <a:pt x="422" y="905"/>
                    </a:lnTo>
                    <a:lnTo>
                      <a:pt x="422" y="903"/>
                    </a:lnTo>
                    <a:lnTo>
                      <a:pt x="422" y="901"/>
                    </a:lnTo>
                    <a:lnTo>
                      <a:pt x="420" y="901"/>
                    </a:lnTo>
                    <a:lnTo>
                      <a:pt x="420" y="900"/>
                    </a:lnTo>
                    <a:lnTo>
                      <a:pt x="420" y="901"/>
                    </a:lnTo>
                    <a:close/>
                    <a:moveTo>
                      <a:pt x="420" y="900"/>
                    </a:moveTo>
                    <a:lnTo>
                      <a:pt x="422" y="900"/>
                    </a:lnTo>
                    <a:lnTo>
                      <a:pt x="422" y="901"/>
                    </a:lnTo>
                    <a:lnTo>
                      <a:pt x="422" y="900"/>
                    </a:lnTo>
                    <a:lnTo>
                      <a:pt x="422" y="901"/>
                    </a:lnTo>
                    <a:lnTo>
                      <a:pt x="420" y="900"/>
                    </a:lnTo>
                    <a:close/>
                    <a:moveTo>
                      <a:pt x="420" y="900"/>
                    </a:moveTo>
                    <a:lnTo>
                      <a:pt x="420" y="901"/>
                    </a:lnTo>
                    <a:lnTo>
                      <a:pt x="418" y="901"/>
                    </a:lnTo>
                    <a:lnTo>
                      <a:pt x="418" y="900"/>
                    </a:lnTo>
                    <a:lnTo>
                      <a:pt x="420" y="900"/>
                    </a:lnTo>
                    <a:lnTo>
                      <a:pt x="420" y="901"/>
                    </a:lnTo>
                    <a:lnTo>
                      <a:pt x="420" y="900"/>
                    </a:lnTo>
                    <a:close/>
                    <a:moveTo>
                      <a:pt x="418" y="900"/>
                    </a:moveTo>
                    <a:lnTo>
                      <a:pt x="418" y="901"/>
                    </a:lnTo>
                    <a:lnTo>
                      <a:pt x="418" y="900"/>
                    </a:lnTo>
                    <a:lnTo>
                      <a:pt x="418" y="901"/>
                    </a:lnTo>
                    <a:lnTo>
                      <a:pt x="418" y="900"/>
                    </a:lnTo>
                    <a:close/>
                    <a:moveTo>
                      <a:pt x="420" y="898"/>
                    </a:moveTo>
                    <a:lnTo>
                      <a:pt x="422" y="898"/>
                    </a:lnTo>
                    <a:lnTo>
                      <a:pt x="420" y="900"/>
                    </a:lnTo>
                    <a:lnTo>
                      <a:pt x="420" y="898"/>
                    </a:lnTo>
                    <a:lnTo>
                      <a:pt x="420" y="900"/>
                    </a:lnTo>
                    <a:lnTo>
                      <a:pt x="420" y="898"/>
                    </a:lnTo>
                    <a:close/>
                    <a:moveTo>
                      <a:pt x="420" y="898"/>
                    </a:moveTo>
                    <a:lnTo>
                      <a:pt x="420" y="900"/>
                    </a:lnTo>
                    <a:lnTo>
                      <a:pt x="420" y="898"/>
                    </a:lnTo>
                    <a:close/>
                    <a:moveTo>
                      <a:pt x="420" y="898"/>
                    </a:moveTo>
                    <a:lnTo>
                      <a:pt x="420" y="900"/>
                    </a:lnTo>
                    <a:lnTo>
                      <a:pt x="420" y="898"/>
                    </a:lnTo>
                    <a:close/>
                    <a:moveTo>
                      <a:pt x="420" y="898"/>
                    </a:moveTo>
                    <a:lnTo>
                      <a:pt x="420" y="896"/>
                    </a:lnTo>
                    <a:lnTo>
                      <a:pt x="420" y="898"/>
                    </a:lnTo>
                    <a:close/>
                    <a:moveTo>
                      <a:pt x="418" y="898"/>
                    </a:moveTo>
                    <a:lnTo>
                      <a:pt x="418" y="896"/>
                    </a:lnTo>
                    <a:lnTo>
                      <a:pt x="420" y="898"/>
                    </a:lnTo>
                    <a:lnTo>
                      <a:pt x="418" y="898"/>
                    </a:lnTo>
                    <a:close/>
                    <a:moveTo>
                      <a:pt x="417" y="898"/>
                    </a:moveTo>
                    <a:lnTo>
                      <a:pt x="415" y="898"/>
                    </a:lnTo>
                    <a:lnTo>
                      <a:pt x="415" y="896"/>
                    </a:lnTo>
                    <a:lnTo>
                      <a:pt x="417" y="898"/>
                    </a:lnTo>
                    <a:close/>
                    <a:moveTo>
                      <a:pt x="420" y="896"/>
                    </a:moveTo>
                    <a:lnTo>
                      <a:pt x="420" y="898"/>
                    </a:lnTo>
                    <a:lnTo>
                      <a:pt x="418" y="896"/>
                    </a:lnTo>
                    <a:lnTo>
                      <a:pt x="418" y="894"/>
                    </a:lnTo>
                    <a:lnTo>
                      <a:pt x="418" y="896"/>
                    </a:lnTo>
                    <a:lnTo>
                      <a:pt x="420" y="896"/>
                    </a:lnTo>
                    <a:close/>
                    <a:moveTo>
                      <a:pt x="420" y="896"/>
                    </a:moveTo>
                    <a:lnTo>
                      <a:pt x="418" y="896"/>
                    </a:lnTo>
                    <a:lnTo>
                      <a:pt x="418" y="894"/>
                    </a:lnTo>
                    <a:lnTo>
                      <a:pt x="420" y="894"/>
                    </a:lnTo>
                    <a:lnTo>
                      <a:pt x="420" y="896"/>
                    </a:lnTo>
                    <a:close/>
                    <a:moveTo>
                      <a:pt x="417" y="892"/>
                    </a:moveTo>
                    <a:lnTo>
                      <a:pt x="417" y="894"/>
                    </a:lnTo>
                    <a:lnTo>
                      <a:pt x="417" y="896"/>
                    </a:lnTo>
                    <a:lnTo>
                      <a:pt x="417" y="898"/>
                    </a:lnTo>
                    <a:lnTo>
                      <a:pt x="417" y="896"/>
                    </a:lnTo>
                    <a:lnTo>
                      <a:pt x="417" y="894"/>
                    </a:lnTo>
                    <a:lnTo>
                      <a:pt x="417" y="896"/>
                    </a:lnTo>
                    <a:lnTo>
                      <a:pt x="417" y="894"/>
                    </a:lnTo>
                    <a:lnTo>
                      <a:pt x="417" y="892"/>
                    </a:lnTo>
                    <a:close/>
                    <a:moveTo>
                      <a:pt x="415" y="894"/>
                    </a:moveTo>
                    <a:lnTo>
                      <a:pt x="415" y="892"/>
                    </a:lnTo>
                    <a:lnTo>
                      <a:pt x="415" y="894"/>
                    </a:lnTo>
                    <a:close/>
                    <a:moveTo>
                      <a:pt x="415" y="892"/>
                    </a:moveTo>
                    <a:lnTo>
                      <a:pt x="415" y="894"/>
                    </a:lnTo>
                    <a:lnTo>
                      <a:pt x="417" y="894"/>
                    </a:lnTo>
                    <a:lnTo>
                      <a:pt x="415" y="894"/>
                    </a:lnTo>
                    <a:lnTo>
                      <a:pt x="415" y="896"/>
                    </a:lnTo>
                    <a:lnTo>
                      <a:pt x="415" y="894"/>
                    </a:lnTo>
                    <a:lnTo>
                      <a:pt x="415" y="892"/>
                    </a:lnTo>
                    <a:close/>
                    <a:moveTo>
                      <a:pt x="418" y="890"/>
                    </a:moveTo>
                    <a:lnTo>
                      <a:pt x="418" y="892"/>
                    </a:lnTo>
                    <a:lnTo>
                      <a:pt x="417" y="890"/>
                    </a:lnTo>
                    <a:lnTo>
                      <a:pt x="418" y="890"/>
                    </a:lnTo>
                    <a:close/>
                    <a:moveTo>
                      <a:pt x="415" y="890"/>
                    </a:moveTo>
                    <a:lnTo>
                      <a:pt x="415" y="892"/>
                    </a:lnTo>
                    <a:lnTo>
                      <a:pt x="415" y="890"/>
                    </a:lnTo>
                    <a:lnTo>
                      <a:pt x="415" y="892"/>
                    </a:lnTo>
                    <a:lnTo>
                      <a:pt x="415" y="890"/>
                    </a:lnTo>
                    <a:close/>
                    <a:moveTo>
                      <a:pt x="415" y="888"/>
                    </a:moveTo>
                    <a:lnTo>
                      <a:pt x="417" y="890"/>
                    </a:lnTo>
                    <a:lnTo>
                      <a:pt x="417" y="892"/>
                    </a:lnTo>
                    <a:lnTo>
                      <a:pt x="418" y="892"/>
                    </a:lnTo>
                    <a:lnTo>
                      <a:pt x="418" y="894"/>
                    </a:lnTo>
                    <a:lnTo>
                      <a:pt x="418" y="892"/>
                    </a:lnTo>
                    <a:lnTo>
                      <a:pt x="417" y="892"/>
                    </a:lnTo>
                    <a:lnTo>
                      <a:pt x="417" y="890"/>
                    </a:lnTo>
                    <a:lnTo>
                      <a:pt x="415" y="890"/>
                    </a:lnTo>
                    <a:lnTo>
                      <a:pt x="415" y="888"/>
                    </a:lnTo>
                    <a:close/>
                    <a:moveTo>
                      <a:pt x="417" y="888"/>
                    </a:moveTo>
                    <a:lnTo>
                      <a:pt x="415" y="888"/>
                    </a:lnTo>
                    <a:lnTo>
                      <a:pt x="417" y="888"/>
                    </a:lnTo>
                    <a:close/>
                    <a:moveTo>
                      <a:pt x="415" y="888"/>
                    </a:moveTo>
                    <a:lnTo>
                      <a:pt x="415" y="886"/>
                    </a:lnTo>
                    <a:lnTo>
                      <a:pt x="415" y="888"/>
                    </a:lnTo>
                    <a:close/>
                    <a:moveTo>
                      <a:pt x="411" y="886"/>
                    </a:moveTo>
                    <a:lnTo>
                      <a:pt x="413" y="886"/>
                    </a:lnTo>
                    <a:lnTo>
                      <a:pt x="411" y="886"/>
                    </a:lnTo>
                    <a:lnTo>
                      <a:pt x="411" y="884"/>
                    </a:lnTo>
                    <a:lnTo>
                      <a:pt x="411" y="886"/>
                    </a:lnTo>
                    <a:close/>
                    <a:moveTo>
                      <a:pt x="409" y="884"/>
                    </a:moveTo>
                    <a:lnTo>
                      <a:pt x="411" y="884"/>
                    </a:lnTo>
                    <a:lnTo>
                      <a:pt x="411" y="886"/>
                    </a:lnTo>
                    <a:lnTo>
                      <a:pt x="413" y="888"/>
                    </a:lnTo>
                    <a:lnTo>
                      <a:pt x="411" y="888"/>
                    </a:lnTo>
                    <a:lnTo>
                      <a:pt x="411" y="886"/>
                    </a:lnTo>
                    <a:lnTo>
                      <a:pt x="409" y="884"/>
                    </a:lnTo>
                    <a:lnTo>
                      <a:pt x="411" y="884"/>
                    </a:lnTo>
                    <a:lnTo>
                      <a:pt x="409" y="884"/>
                    </a:lnTo>
                    <a:close/>
                    <a:moveTo>
                      <a:pt x="413" y="884"/>
                    </a:moveTo>
                    <a:lnTo>
                      <a:pt x="413" y="882"/>
                    </a:lnTo>
                    <a:lnTo>
                      <a:pt x="413" y="884"/>
                    </a:lnTo>
                    <a:close/>
                    <a:moveTo>
                      <a:pt x="409" y="884"/>
                    </a:moveTo>
                    <a:lnTo>
                      <a:pt x="409" y="882"/>
                    </a:lnTo>
                    <a:lnTo>
                      <a:pt x="409" y="884"/>
                    </a:lnTo>
                    <a:close/>
                    <a:moveTo>
                      <a:pt x="409" y="884"/>
                    </a:moveTo>
                    <a:lnTo>
                      <a:pt x="407" y="884"/>
                    </a:lnTo>
                    <a:lnTo>
                      <a:pt x="407" y="882"/>
                    </a:lnTo>
                    <a:lnTo>
                      <a:pt x="409" y="884"/>
                    </a:lnTo>
                    <a:close/>
                    <a:moveTo>
                      <a:pt x="405" y="884"/>
                    </a:moveTo>
                    <a:lnTo>
                      <a:pt x="407" y="884"/>
                    </a:lnTo>
                    <a:lnTo>
                      <a:pt x="407" y="886"/>
                    </a:lnTo>
                    <a:lnTo>
                      <a:pt x="405" y="886"/>
                    </a:lnTo>
                    <a:lnTo>
                      <a:pt x="405" y="884"/>
                    </a:lnTo>
                    <a:lnTo>
                      <a:pt x="403" y="884"/>
                    </a:lnTo>
                    <a:lnTo>
                      <a:pt x="403" y="882"/>
                    </a:lnTo>
                    <a:lnTo>
                      <a:pt x="405" y="884"/>
                    </a:lnTo>
                    <a:close/>
                    <a:moveTo>
                      <a:pt x="411" y="880"/>
                    </a:moveTo>
                    <a:lnTo>
                      <a:pt x="411" y="882"/>
                    </a:lnTo>
                    <a:lnTo>
                      <a:pt x="411" y="880"/>
                    </a:lnTo>
                    <a:close/>
                    <a:moveTo>
                      <a:pt x="411" y="878"/>
                    </a:moveTo>
                    <a:lnTo>
                      <a:pt x="411" y="880"/>
                    </a:lnTo>
                    <a:lnTo>
                      <a:pt x="411" y="882"/>
                    </a:lnTo>
                    <a:lnTo>
                      <a:pt x="411" y="880"/>
                    </a:lnTo>
                    <a:lnTo>
                      <a:pt x="409" y="880"/>
                    </a:lnTo>
                    <a:lnTo>
                      <a:pt x="409" y="878"/>
                    </a:lnTo>
                    <a:lnTo>
                      <a:pt x="411" y="878"/>
                    </a:lnTo>
                    <a:close/>
                    <a:moveTo>
                      <a:pt x="407" y="876"/>
                    </a:moveTo>
                    <a:lnTo>
                      <a:pt x="409" y="876"/>
                    </a:lnTo>
                    <a:lnTo>
                      <a:pt x="409" y="878"/>
                    </a:lnTo>
                    <a:lnTo>
                      <a:pt x="409" y="876"/>
                    </a:lnTo>
                    <a:lnTo>
                      <a:pt x="407" y="876"/>
                    </a:lnTo>
                    <a:close/>
                    <a:moveTo>
                      <a:pt x="405" y="876"/>
                    </a:moveTo>
                    <a:lnTo>
                      <a:pt x="405" y="878"/>
                    </a:lnTo>
                    <a:lnTo>
                      <a:pt x="407" y="880"/>
                    </a:lnTo>
                    <a:lnTo>
                      <a:pt x="407" y="882"/>
                    </a:lnTo>
                    <a:lnTo>
                      <a:pt x="405" y="882"/>
                    </a:lnTo>
                    <a:lnTo>
                      <a:pt x="403" y="880"/>
                    </a:lnTo>
                    <a:lnTo>
                      <a:pt x="403" y="878"/>
                    </a:lnTo>
                    <a:lnTo>
                      <a:pt x="405" y="878"/>
                    </a:lnTo>
                    <a:lnTo>
                      <a:pt x="403" y="878"/>
                    </a:lnTo>
                    <a:lnTo>
                      <a:pt x="405" y="878"/>
                    </a:lnTo>
                    <a:lnTo>
                      <a:pt x="403" y="878"/>
                    </a:lnTo>
                    <a:lnTo>
                      <a:pt x="405" y="878"/>
                    </a:lnTo>
                    <a:lnTo>
                      <a:pt x="405" y="876"/>
                    </a:lnTo>
                    <a:close/>
                    <a:moveTo>
                      <a:pt x="409" y="878"/>
                    </a:moveTo>
                    <a:lnTo>
                      <a:pt x="407" y="876"/>
                    </a:lnTo>
                    <a:lnTo>
                      <a:pt x="409" y="878"/>
                    </a:lnTo>
                    <a:close/>
                    <a:moveTo>
                      <a:pt x="403" y="878"/>
                    </a:moveTo>
                    <a:lnTo>
                      <a:pt x="403" y="876"/>
                    </a:lnTo>
                    <a:lnTo>
                      <a:pt x="403" y="878"/>
                    </a:lnTo>
                    <a:close/>
                    <a:moveTo>
                      <a:pt x="407" y="876"/>
                    </a:moveTo>
                    <a:lnTo>
                      <a:pt x="407" y="878"/>
                    </a:lnTo>
                    <a:lnTo>
                      <a:pt x="409" y="878"/>
                    </a:lnTo>
                    <a:lnTo>
                      <a:pt x="409" y="880"/>
                    </a:lnTo>
                    <a:lnTo>
                      <a:pt x="409" y="882"/>
                    </a:lnTo>
                    <a:lnTo>
                      <a:pt x="407" y="882"/>
                    </a:lnTo>
                    <a:lnTo>
                      <a:pt x="407" y="880"/>
                    </a:lnTo>
                    <a:lnTo>
                      <a:pt x="409" y="880"/>
                    </a:lnTo>
                    <a:lnTo>
                      <a:pt x="407" y="880"/>
                    </a:lnTo>
                    <a:lnTo>
                      <a:pt x="407" y="878"/>
                    </a:lnTo>
                    <a:lnTo>
                      <a:pt x="405" y="878"/>
                    </a:lnTo>
                    <a:lnTo>
                      <a:pt x="407" y="878"/>
                    </a:lnTo>
                    <a:lnTo>
                      <a:pt x="405" y="878"/>
                    </a:lnTo>
                    <a:lnTo>
                      <a:pt x="407" y="878"/>
                    </a:lnTo>
                    <a:lnTo>
                      <a:pt x="405" y="876"/>
                    </a:lnTo>
                    <a:lnTo>
                      <a:pt x="407" y="876"/>
                    </a:lnTo>
                    <a:lnTo>
                      <a:pt x="405" y="876"/>
                    </a:lnTo>
                    <a:lnTo>
                      <a:pt x="405" y="875"/>
                    </a:lnTo>
                    <a:lnTo>
                      <a:pt x="407" y="875"/>
                    </a:lnTo>
                    <a:lnTo>
                      <a:pt x="407" y="876"/>
                    </a:lnTo>
                    <a:close/>
                    <a:moveTo>
                      <a:pt x="405" y="875"/>
                    </a:moveTo>
                    <a:lnTo>
                      <a:pt x="405" y="876"/>
                    </a:lnTo>
                    <a:lnTo>
                      <a:pt x="405" y="875"/>
                    </a:lnTo>
                    <a:close/>
                    <a:moveTo>
                      <a:pt x="405" y="876"/>
                    </a:moveTo>
                    <a:lnTo>
                      <a:pt x="403" y="876"/>
                    </a:lnTo>
                    <a:lnTo>
                      <a:pt x="405" y="876"/>
                    </a:lnTo>
                    <a:lnTo>
                      <a:pt x="403" y="876"/>
                    </a:lnTo>
                    <a:lnTo>
                      <a:pt x="403" y="875"/>
                    </a:lnTo>
                    <a:lnTo>
                      <a:pt x="403" y="876"/>
                    </a:lnTo>
                    <a:lnTo>
                      <a:pt x="405" y="876"/>
                    </a:lnTo>
                    <a:lnTo>
                      <a:pt x="405" y="878"/>
                    </a:lnTo>
                    <a:lnTo>
                      <a:pt x="405" y="876"/>
                    </a:lnTo>
                    <a:close/>
                    <a:moveTo>
                      <a:pt x="401" y="876"/>
                    </a:moveTo>
                    <a:lnTo>
                      <a:pt x="401" y="878"/>
                    </a:lnTo>
                    <a:lnTo>
                      <a:pt x="401" y="876"/>
                    </a:lnTo>
                    <a:close/>
                    <a:moveTo>
                      <a:pt x="405" y="876"/>
                    </a:moveTo>
                    <a:lnTo>
                      <a:pt x="405" y="875"/>
                    </a:lnTo>
                    <a:lnTo>
                      <a:pt x="405" y="876"/>
                    </a:lnTo>
                    <a:close/>
                    <a:moveTo>
                      <a:pt x="405" y="875"/>
                    </a:moveTo>
                    <a:lnTo>
                      <a:pt x="405" y="873"/>
                    </a:lnTo>
                    <a:lnTo>
                      <a:pt x="405" y="875"/>
                    </a:lnTo>
                    <a:close/>
                    <a:moveTo>
                      <a:pt x="401" y="875"/>
                    </a:moveTo>
                    <a:lnTo>
                      <a:pt x="401" y="876"/>
                    </a:lnTo>
                    <a:lnTo>
                      <a:pt x="401" y="875"/>
                    </a:lnTo>
                    <a:close/>
                    <a:moveTo>
                      <a:pt x="403" y="873"/>
                    </a:moveTo>
                    <a:lnTo>
                      <a:pt x="405" y="873"/>
                    </a:lnTo>
                    <a:lnTo>
                      <a:pt x="405" y="875"/>
                    </a:lnTo>
                    <a:lnTo>
                      <a:pt x="403" y="875"/>
                    </a:lnTo>
                    <a:lnTo>
                      <a:pt x="403" y="873"/>
                    </a:lnTo>
                    <a:close/>
                    <a:moveTo>
                      <a:pt x="403" y="873"/>
                    </a:moveTo>
                    <a:lnTo>
                      <a:pt x="405" y="873"/>
                    </a:lnTo>
                    <a:lnTo>
                      <a:pt x="403" y="873"/>
                    </a:lnTo>
                    <a:lnTo>
                      <a:pt x="405" y="873"/>
                    </a:lnTo>
                    <a:lnTo>
                      <a:pt x="407" y="875"/>
                    </a:lnTo>
                    <a:lnTo>
                      <a:pt x="407" y="876"/>
                    </a:lnTo>
                    <a:lnTo>
                      <a:pt x="407" y="875"/>
                    </a:lnTo>
                    <a:lnTo>
                      <a:pt x="405" y="875"/>
                    </a:lnTo>
                    <a:lnTo>
                      <a:pt x="405" y="873"/>
                    </a:lnTo>
                    <a:lnTo>
                      <a:pt x="403" y="873"/>
                    </a:lnTo>
                    <a:close/>
                    <a:moveTo>
                      <a:pt x="399" y="873"/>
                    </a:moveTo>
                    <a:lnTo>
                      <a:pt x="401" y="873"/>
                    </a:lnTo>
                    <a:lnTo>
                      <a:pt x="399" y="873"/>
                    </a:lnTo>
                    <a:lnTo>
                      <a:pt x="401" y="873"/>
                    </a:lnTo>
                    <a:lnTo>
                      <a:pt x="401" y="875"/>
                    </a:lnTo>
                    <a:lnTo>
                      <a:pt x="399" y="875"/>
                    </a:lnTo>
                    <a:lnTo>
                      <a:pt x="399" y="873"/>
                    </a:lnTo>
                    <a:close/>
                    <a:moveTo>
                      <a:pt x="403" y="871"/>
                    </a:moveTo>
                    <a:lnTo>
                      <a:pt x="403" y="873"/>
                    </a:lnTo>
                    <a:lnTo>
                      <a:pt x="403" y="871"/>
                    </a:lnTo>
                    <a:close/>
                    <a:moveTo>
                      <a:pt x="397" y="873"/>
                    </a:moveTo>
                    <a:lnTo>
                      <a:pt x="397" y="875"/>
                    </a:lnTo>
                    <a:lnTo>
                      <a:pt x="397" y="873"/>
                    </a:lnTo>
                    <a:close/>
                    <a:moveTo>
                      <a:pt x="403" y="869"/>
                    </a:moveTo>
                    <a:lnTo>
                      <a:pt x="403" y="871"/>
                    </a:lnTo>
                    <a:lnTo>
                      <a:pt x="403" y="869"/>
                    </a:lnTo>
                    <a:close/>
                    <a:moveTo>
                      <a:pt x="397" y="873"/>
                    </a:moveTo>
                    <a:lnTo>
                      <a:pt x="399" y="873"/>
                    </a:lnTo>
                    <a:lnTo>
                      <a:pt x="397" y="873"/>
                    </a:lnTo>
                    <a:lnTo>
                      <a:pt x="399" y="873"/>
                    </a:lnTo>
                    <a:lnTo>
                      <a:pt x="399" y="875"/>
                    </a:lnTo>
                    <a:lnTo>
                      <a:pt x="401" y="875"/>
                    </a:lnTo>
                    <a:lnTo>
                      <a:pt x="399" y="875"/>
                    </a:lnTo>
                    <a:lnTo>
                      <a:pt x="401" y="875"/>
                    </a:lnTo>
                    <a:lnTo>
                      <a:pt x="399" y="875"/>
                    </a:lnTo>
                    <a:lnTo>
                      <a:pt x="401" y="875"/>
                    </a:lnTo>
                    <a:lnTo>
                      <a:pt x="401" y="876"/>
                    </a:lnTo>
                    <a:lnTo>
                      <a:pt x="399" y="876"/>
                    </a:lnTo>
                    <a:lnTo>
                      <a:pt x="399" y="875"/>
                    </a:lnTo>
                    <a:lnTo>
                      <a:pt x="399" y="876"/>
                    </a:lnTo>
                    <a:lnTo>
                      <a:pt x="399" y="875"/>
                    </a:lnTo>
                    <a:lnTo>
                      <a:pt x="397" y="875"/>
                    </a:lnTo>
                    <a:lnTo>
                      <a:pt x="397" y="873"/>
                    </a:lnTo>
                    <a:lnTo>
                      <a:pt x="397" y="875"/>
                    </a:lnTo>
                    <a:lnTo>
                      <a:pt x="397" y="873"/>
                    </a:lnTo>
                    <a:lnTo>
                      <a:pt x="397" y="875"/>
                    </a:lnTo>
                    <a:lnTo>
                      <a:pt x="399" y="875"/>
                    </a:lnTo>
                    <a:lnTo>
                      <a:pt x="397" y="875"/>
                    </a:lnTo>
                    <a:lnTo>
                      <a:pt x="397" y="873"/>
                    </a:lnTo>
                    <a:lnTo>
                      <a:pt x="395" y="871"/>
                    </a:lnTo>
                    <a:lnTo>
                      <a:pt x="397" y="873"/>
                    </a:lnTo>
                    <a:close/>
                    <a:moveTo>
                      <a:pt x="399" y="871"/>
                    </a:moveTo>
                    <a:lnTo>
                      <a:pt x="401" y="871"/>
                    </a:lnTo>
                    <a:lnTo>
                      <a:pt x="401" y="873"/>
                    </a:lnTo>
                    <a:lnTo>
                      <a:pt x="401" y="875"/>
                    </a:lnTo>
                    <a:lnTo>
                      <a:pt x="401" y="873"/>
                    </a:lnTo>
                    <a:lnTo>
                      <a:pt x="399" y="871"/>
                    </a:lnTo>
                    <a:close/>
                    <a:moveTo>
                      <a:pt x="403" y="871"/>
                    </a:moveTo>
                    <a:lnTo>
                      <a:pt x="403" y="869"/>
                    </a:lnTo>
                    <a:lnTo>
                      <a:pt x="403" y="871"/>
                    </a:lnTo>
                    <a:close/>
                    <a:moveTo>
                      <a:pt x="399" y="869"/>
                    </a:moveTo>
                    <a:lnTo>
                      <a:pt x="399" y="871"/>
                    </a:lnTo>
                    <a:lnTo>
                      <a:pt x="399" y="869"/>
                    </a:lnTo>
                    <a:lnTo>
                      <a:pt x="399" y="871"/>
                    </a:lnTo>
                    <a:lnTo>
                      <a:pt x="401" y="871"/>
                    </a:lnTo>
                    <a:lnTo>
                      <a:pt x="399" y="871"/>
                    </a:lnTo>
                    <a:lnTo>
                      <a:pt x="399" y="869"/>
                    </a:lnTo>
                    <a:close/>
                    <a:moveTo>
                      <a:pt x="399" y="869"/>
                    </a:moveTo>
                    <a:lnTo>
                      <a:pt x="401" y="869"/>
                    </a:lnTo>
                    <a:lnTo>
                      <a:pt x="399" y="869"/>
                    </a:lnTo>
                    <a:close/>
                    <a:moveTo>
                      <a:pt x="864" y="677"/>
                    </a:moveTo>
                    <a:lnTo>
                      <a:pt x="864" y="678"/>
                    </a:lnTo>
                    <a:lnTo>
                      <a:pt x="864" y="677"/>
                    </a:lnTo>
                    <a:close/>
                    <a:moveTo>
                      <a:pt x="397" y="869"/>
                    </a:moveTo>
                    <a:lnTo>
                      <a:pt x="399" y="869"/>
                    </a:lnTo>
                    <a:lnTo>
                      <a:pt x="399" y="871"/>
                    </a:lnTo>
                    <a:lnTo>
                      <a:pt x="397" y="871"/>
                    </a:lnTo>
                    <a:lnTo>
                      <a:pt x="397" y="869"/>
                    </a:lnTo>
                    <a:close/>
                    <a:moveTo>
                      <a:pt x="395" y="869"/>
                    </a:moveTo>
                    <a:lnTo>
                      <a:pt x="397" y="869"/>
                    </a:lnTo>
                    <a:lnTo>
                      <a:pt x="397" y="871"/>
                    </a:lnTo>
                    <a:lnTo>
                      <a:pt x="399" y="871"/>
                    </a:lnTo>
                    <a:lnTo>
                      <a:pt x="399" y="873"/>
                    </a:lnTo>
                    <a:lnTo>
                      <a:pt x="397" y="873"/>
                    </a:lnTo>
                    <a:lnTo>
                      <a:pt x="397" y="871"/>
                    </a:lnTo>
                    <a:lnTo>
                      <a:pt x="395" y="871"/>
                    </a:lnTo>
                    <a:lnTo>
                      <a:pt x="397" y="871"/>
                    </a:lnTo>
                    <a:lnTo>
                      <a:pt x="395" y="871"/>
                    </a:lnTo>
                    <a:lnTo>
                      <a:pt x="395" y="869"/>
                    </a:lnTo>
                    <a:close/>
                    <a:moveTo>
                      <a:pt x="395" y="869"/>
                    </a:moveTo>
                    <a:lnTo>
                      <a:pt x="395" y="871"/>
                    </a:lnTo>
                    <a:lnTo>
                      <a:pt x="397" y="871"/>
                    </a:lnTo>
                    <a:lnTo>
                      <a:pt x="395" y="871"/>
                    </a:lnTo>
                    <a:lnTo>
                      <a:pt x="395" y="869"/>
                    </a:lnTo>
                    <a:lnTo>
                      <a:pt x="393" y="869"/>
                    </a:lnTo>
                    <a:lnTo>
                      <a:pt x="395" y="869"/>
                    </a:lnTo>
                    <a:close/>
                    <a:moveTo>
                      <a:pt x="395" y="867"/>
                    </a:moveTo>
                    <a:lnTo>
                      <a:pt x="397" y="867"/>
                    </a:lnTo>
                    <a:lnTo>
                      <a:pt x="397" y="869"/>
                    </a:lnTo>
                    <a:lnTo>
                      <a:pt x="395" y="869"/>
                    </a:lnTo>
                    <a:lnTo>
                      <a:pt x="395" y="867"/>
                    </a:lnTo>
                    <a:close/>
                    <a:moveTo>
                      <a:pt x="397" y="867"/>
                    </a:moveTo>
                    <a:lnTo>
                      <a:pt x="399" y="867"/>
                    </a:lnTo>
                    <a:lnTo>
                      <a:pt x="399" y="869"/>
                    </a:lnTo>
                    <a:lnTo>
                      <a:pt x="397" y="867"/>
                    </a:lnTo>
                    <a:close/>
                    <a:moveTo>
                      <a:pt x="395" y="867"/>
                    </a:moveTo>
                    <a:lnTo>
                      <a:pt x="395" y="869"/>
                    </a:lnTo>
                    <a:lnTo>
                      <a:pt x="395" y="867"/>
                    </a:lnTo>
                    <a:close/>
                    <a:moveTo>
                      <a:pt x="407" y="863"/>
                    </a:moveTo>
                    <a:lnTo>
                      <a:pt x="405" y="863"/>
                    </a:lnTo>
                    <a:lnTo>
                      <a:pt x="407" y="863"/>
                    </a:lnTo>
                    <a:close/>
                    <a:moveTo>
                      <a:pt x="397" y="865"/>
                    </a:moveTo>
                    <a:lnTo>
                      <a:pt x="397" y="867"/>
                    </a:lnTo>
                    <a:lnTo>
                      <a:pt x="397" y="865"/>
                    </a:lnTo>
                    <a:lnTo>
                      <a:pt x="397" y="867"/>
                    </a:lnTo>
                    <a:lnTo>
                      <a:pt x="397" y="865"/>
                    </a:lnTo>
                    <a:close/>
                    <a:moveTo>
                      <a:pt x="399" y="863"/>
                    </a:moveTo>
                    <a:lnTo>
                      <a:pt x="399" y="865"/>
                    </a:lnTo>
                    <a:lnTo>
                      <a:pt x="399" y="863"/>
                    </a:lnTo>
                    <a:lnTo>
                      <a:pt x="401" y="863"/>
                    </a:lnTo>
                    <a:lnTo>
                      <a:pt x="399" y="865"/>
                    </a:lnTo>
                    <a:lnTo>
                      <a:pt x="397" y="863"/>
                    </a:lnTo>
                    <a:lnTo>
                      <a:pt x="399" y="863"/>
                    </a:lnTo>
                    <a:close/>
                    <a:moveTo>
                      <a:pt x="397" y="867"/>
                    </a:moveTo>
                    <a:lnTo>
                      <a:pt x="395" y="867"/>
                    </a:lnTo>
                    <a:lnTo>
                      <a:pt x="397" y="867"/>
                    </a:lnTo>
                    <a:lnTo>
                      <a:pt x="395" y="867"/>
                    </a:lnTo>
                    <a:lnTo>
                      <a:pt x="395" y="865"/>
                    </a:lnTo>
                    <a:lnTo>
                      <a:pt x="395" y="867"/>
                    </a:lnTo>
                    <a:lnTo>
                      <a:pt x="395" y="865"/>
                    </a:lnTo>
                    <a:lnTo>
                      <a:pt x="397" y="867"/>
                    </a:lnTo>
                    <a:close/>
                    <a:moveTo>
                      <a:pt x="395" y="863"/>
                    </a:moveTo>
                    <a:lnTo>
                      <a:pt x="395" y="865"/>
                    </a:lnTo>
                    <a:lnTo>
                      <a:pt x="397" y="865"/>
                    </a:lnTo>
                    <a:lnTo>
                      <a:pt x="395" y="865"/>
                    </a:lnTo>
                    <a:lnTo>
                      <a:pt x="395" y="863"/>
                    </a:lnTo>
                    <a:lnTo>
                      <a:pt x="395" y="865"/>
                    </a:lnTo>
                    <a:lnTo>
                      <a:pt x="395" y="863"/>
                    </a:lnTo>
                    <a:close/>
                    <a:moveTo>
                      <a:pt x="395" y="863"/>
                    </a:moveTo>
                    <a:lnTo>
                      <a:pt x="395" y="865"/>
                    </a:lnTo>
                    <a:lnTo>
                      <a:pt x="395" y="863"/>
                    </a:lnTo>
                    <a:close/>
                    <a:moveTo>
                      <a:pt x="393" y="863"/>
                    </a:moveTo>
                    <a:lnTo>
                      <a:pt x="393" y="865"/>
                    </a:lnTo>
                    <a:lnTo>
                      <a:pt x="392" y="865"/>
                    </a:lnTo>
                    <a:lnTo>
                      <a:pt x="392" y="863"/>
                    </a:lnTo>
                    <a:lnTo>
                      <a:pt x="392" y="865"/>
                    </a:lnTo>
                    <a:lnTo>
                      <a:pt x="392" y="863"/>
                    </a:lnTo>
                    <a:lnTo>
                      <a:pt x="393" y="863"/>
                    </a:lnTo>
                    <a:close/>
                    <a:moveTo>
                      <a:pt x="392" y="863"/>
                    </a:moveTo>
                    <a:lnTo>
                      <a:pt x="392" y="861"/>
                    </a:lnTo>
                    <a:lnTo>
                      <a:pt x="392" y="863"/>
                    </a:lnTo>
                    <a:close/>
                    <a:moveTo>
                      <a:pt x="395" y="859"/>
                    </a:moveTo>
                    <a:lnTo>
                      <a:pt x="397" y="861"/>
                    </a:lnTo>
                    <a:lnTo>
                      <a:pt x="395" y="861"/>
                    </a:lnTo>
                    <a:lnTo>
                      <a:pt x="395" y="859"/>
                    </a:lnTo>
                    <a:close/>
                    <a:moveTo>
                      <a:pt x="392" y="861"/>
                    </a:moveTo>
                    <a:lnTo>
                      <a:pt x="393" y="861"/>
                    </a:lnTo>
                    <a:lnTo>
                      <a:pt x="392" y="861"/>
                    </a:lnTo>
                    <a:close/>
                    <a:moveTo>
                      <a:pt x="858" y="667"/>
                    </a:moveTo>
                    <a:lnTo>
                      <a:pt x="858" y="669"/>
                    </a:lnTo>
                    <a:lnTo>
                      <a:pt x="858" y="667"/>
                    </a:lnTo>
                    <a:close/>
                    <a:moveTo>
                      <a:pt x="393" y="859"/>
                    </a:moveTo>
                    <a:lnTo>
                      <a:pt x="392" y="861"/>
                    </a:lnTo>
                    <a:lnTo>
                      <a:pt x="392" y="859"/>
                    </a:lnTo>
                    <a:lnTo>
                      <a:pt x="393" y="859"/>
                    </a:lnTo>
                    <a:close/>
                    <a:moveTo>
                      <a:pt x="858" y="667"/>
                    </a:moveTo>
                    <a:lnTo>
                      <a:pt x="856" y="667"/>
                    </a:lnTo>
                    <a:lnTo>
                      <a:pt x="858" y="667"/>
                    </a:lnTo>
                    <a:lnTo>
                      <a:pt x="856" y="667"/>
                    </a:lnTo>
                    <a:lnTo>
                      <a:pt x="858" y="667"/>
                    </a:lnTo>
                    <a:close/>
                    <a:moveTo>
                      <a:pt x="393" y="859"/>
                    </a:moveTo>
                    <a:lnTo>
                      <a:pt x="395" y="859"/>
                    </a:lnTo>
                    <a:lnTo>
                      <a:pt x="395" y="861"/>
                    </a:lnTo>
                    <a:lnTo>
                      <a:pt x="395" y="859"/>
                    </a:lnTo>
                    <a:lnTo>
                      <a:pt x="393" y="859"/>
                    </a:lnTo>
                    <a:lnTo>
                      <a:pt x="395" y="859"/>
                    </a:lnTo>
                    <a:lnTo>
                      <a:pt x="395" y="861"/>
                    </a:lnTo>
                    <a:lnTo>
                      <a:pt x="397" y="861"/>
                    </a:lnTo>
                    <a:lnTo>
                      <a:pt x="397" y="863"/>
                    </a:lnTo>
                    <a:lnTo>
                      <a:pt x="395" y="863"/>
                    </a:lnTo>
                    <a:lnTo>
                      <a:pt x="395" y="861"/>
                    </a:lnTo>
                    <a:lnTo>
                      <a:pt x="393" y="861"/>
                    </a:lnTo>
                    <a:lnTo>
                      <a:pt x="395" y="861"/>
                    </a:lnTo>
                    <a:lnTo>
                      <a:pt x="393" y="861"/>
                    </a:lnTo>
                    <a:lnTo>
                      <a:pt x="393" y="859"/>
                    </a:lnTo>
                    <a:close/>
                    <a:moveTo>
                      <a:pt x="392" y="859"/>
                    </a:moveTo>
                    <a:lnTo>
                      <a:pt x="390" y="859"/>
                    </a:lnTo>
                    <a:lnTo>
                      <a:pt x="392" y="859"/>
                    </a:lnTo>
                    <a:close/>
                    <a:moveTo>
                      <a:pt x="388" y="857"/>
                    </a:moveTo>
                    <a:lnTo>
                      <a:pt x="390" y="857"/>
                    </a:lnTo>
                    <a:lnTo>
                      <a:pt x="388" y="857"/>
                    </a:lnTo>
                    <a:close/>
                    <a:moveTo>
                      <a:pt x="392" y="855"/>
                    </a:moveTo>
                    <a:lnTo>
                      <a:pt x="393" y="855"/>
                    </a:lnTo>
                    <a:lnTo>
                      <a:pt x="393" y="857"/>
                    </a:lnTo>
                    <a:lnTo>
                      <a:pt x="393" y="859"/>
                    </a:lnTo>
                    <a:lnTo>
                      <a:pt x="392" y="857"/>
                    </a:lnTo>
                    <a:lnTo>
                      <a:pt x="392" y="855"/>
                    </a:lnTo>
                    <a:close/>
                    <a:moveTo>
                      <a:pt x="390" y="853"/>
                    </a:moveTo>
                    <a:lnTo>
                      <a:pt x="392" y="855"/>
                    </a:lnTo>
                    <a:lnTo>
                      <a:pt x="390" y="855"/>
                    </a:lnTo>
                    <a:lnTo>
                      <a:pt x="390" y="853"/>
                    </a:lnTo>
                    <a:close/>
                    <a:moveTo>
                      <a:pt x="390" y="853"/>
                    </a:moveTo>
                    <a:lnTo>
                      <a:pt x="390" y="855"/>
                    </a:lnTo>
                    <a:lnTo>
                      <a:pt x="392" y="855"/>
                    </a:lnTo>
                    <a:lnTo>
                      <a:pt x="392" y="857"/>
                    </a:lnTo>
                    <a:lnTo>
                      <a:pt x="392" y="855"/>
                    </a:lnTo>
                    <a:lnTo>
                      <a:pt x="392" y="857"/>
                    </a:lnTo>
                    <a:lnTo>
                      <a:pt x="392" y="859"/>
                    </a:lnTo>
                    <a:lnTo>
                      <a:pt x="392" y="857"/>
                    </a:lnTo>
                    <a:lnTo>
                      <a:pt x="390" y="857"/>
                    </a:lnTo>
                    <a:lnTo>
                      <a:pt x="390" y="855"/>
                    </a:lnTo>
                    <a:lnTo>
                      <a:pt x="390" y="853"/>
                    </a:lnTo>
                    <a:close/>
                    <a:moveTo>
                      <a:pt x="388" y="855"/>
                    </a:moveTo>
                    <a:lnTo>
                      <a:pt x="386" y="855"/>
                    </a:lnTo>
                    <a:lnTo>
                      <a:pt x="386" y="853"/>
                    </a:lnTo>
                    <a:lnTo>
                      <a:pt x="388" y="853"/>
                    </a:lnTo>
                    <a:lnTo>
                      <a:pt x="388" y="855"/>
                    </a:lnTo>
                    <a:close/>
                    <a:moveTo>
                      <a:pt x="849" y="661"/>
                    </a:moveTo>
                    <a:lnTo>
                      <a:pt x="851" y="661"/>
                    </a:lnTo>
                    <a:lnTo>
                      <a:pt x="849" y="661"/>
                    </a:lnTo>
                    <a:close/>
                    <a:moveTo>
                      <a:pt x="384" y="850"/>
                    </a:moveTo>
                    <a:lnTo>
                      <a:pt x="384" y="851"/>
                    </a:lnTo>
                    <a:lnTo>
                      <a:pt x="384" y="850"/>
                    </a:lnTo>
                    <a:lnTo>
                      <a:pt x="384" y="851"/>
                    </a:lnTo>
                    <a:lnTo>
                      <a:pt x="386" y="851"/>
                    </a:lnTo>
                    <a:lnTo>
                      <a:pt x="386" y="850"/>
                    </a:lnTo>
                    <a:lnTo>
                      <a:pt x="386" y="851"/>
                    </a:lnTo>
                    <a:lnTo>
                      <a:pt x="384" y="851"/>
                    </a:lnTo>
                    <a:lnTo>
                      <a:pt x="386" y="851"/>
                    </a:lnTo>
                    <a:lnTo>
                      <a:pt x="386" y="853"/>
                    </a:lnTo>
                    <a:lnTo>
                      <a:pt x="386" y="855"/>
                    </a:lnTo>
                    <a:lnTo>
                      <a:pt x="388" y="855"/>
                    </a:lnTo>
                    <a:lnTo>
                      <a:pt x="386" y="855"/>
                    </a:lnTo>
                    <a:lnTo>
                      <a:pt x="384" y="855"/>
                    </a:lnTo>
                    <a:lnTo>
                      <a:pt x="386" y="853"/>
                    </a:lnTo>
                    <a:lnTo>
                      <a:pt x="386" y="851"/>
                    </a:lnTo>
                    <a:lnTo>
                      <a:pt x="384" y="851"/>
                    </a:lnTo>
                    <a:lnTo>
                      <a:pt x="382" y="851"/>
                    </a:lnTo>
                    <a:lnTo>
                      <a:pt x="382" y="850"/>
                    </a:lnTo>
                    <a:lnTo>
                      <a:pt x="384" y="850"/>
                    </a:lnTo>
                    <a:close/>
                    <a:moveTo>
                      <a:pt x="386" y="850"/>
                    </a:moveTo>
                    <a:lnTo>
                      <a:pt x="388" y="851"/>
                    </a:lnTo>
                    <a:lnTo>
                      <a:pt x="386" y="851"/>
                    </a:lnTo>
                    <a:lnTo>
                      <a:pt x="386" y="850"/>
                    </a:lnTo>
                    <a:lnTo>
                      <a:pt x="384" y="850"/>
                    </a:lnTo>
                    <a:lnTo>
                      <a:pt x="386" y="850"/>
                    </a:lnTo>
                    <a:close/>
                    <a:moveTo>
                      <a:pt x="847" y="657"/>
                    </a:moveTo>
                    <a:lnTo>
                      <a:pt x="847" y="659"/>
                    </a:lnTo>
                    <a:lnTo>
                      <a:pt x="847" y="657"/>
                    </a:lnTo>
                    <a:lnTo>
                      <a:pt x="847" y="659"/>
                    </a:lnTo>
                    <a:lnTo>
                      <a:pt x="847" y="657"/>
                    </a:lnTo>
                    <a:close/>
                    <a:moveTo>
                      <a:pt x="382" y="838"/>
                    </a:moveTo>
                    <a:lnTo>
                      <a:pt x="384" y="838"/>
                    </a:lnTo>
                    <a:lnTo>
                      <a:pt x="382" y="838"/>
                    </a:lnTo>
                    <a:lnTo>
                      <a:pt x="384" y="838"/>
                    </a:lnTo>
                    <a:lnTo>
                      <a:pt x="384" y="840"/>
                    </a:lnTo>
                    <a:lnTo>
                      <a:pt x="382" y="840"/>
                    </a:lnTo>
                    <a:lnTo>
                      <a:pt x="382" y="838"/>
                    </a:lnTo>
                    <a:lnTo>
                      <a:pt x="382" y="836"/>
                    </a:lnTo>
                    <a:lnTo>
                      <a:pt x="382" y="838"/>
                    </a:lnTo>
                    <a:close/>
                    <a:moveTo>
                      <a:pt x="837" y="652"/>
                    </a:moveTo>
                    <a:lnTo>
                      <a:pt x="835" y="652"/>
                    </a:lnTo>
                    <a:lnTo>
                      <a:pt x="837" y="652"/>
                    </a:lnTo>
                    <a:close/>
                    <a:moveTo>
                      <a:pt x="380" y="836"/>
                    </a:moveTo>
                    <a:lnTo>
                      <a:pt x="380" y="838"/>
                    </a:lnTo>
                    <a:lnTo>
                      <a:pt x="382" y="838"/>
                    </a:lnTo>
                    <a:lnTo>
                      <a:pt x="380" y="838"/>
                    </a:lnTo>
                    <a:lnTo>
                      <a:pt x="380" y="836"/>
                    </a:lnTo>
                    <a:close/>
                    <a:moveTo>
                      <a:pt x="376" y="836"/>
                    </a:moveTo>
                    <a:lnTo>
                      <a:pt x="378" y="836"/>
                    </a:lnTo>
                    <a:lnTo>
                      <a:pt x="378" y="838"/>
                    </a:lnTo>
                    <a:lnTo>
                      <a:pt x="376" y="838"/>
                    </a:lnTo>
                    <a:lnTo>
                      <a:pt x="376" y="836"/>
                    </a:lnTo>
                    <a:close/>
                    <a:moveTo>
                      <a:pt x="835" y="650"/>
                    </a:moveTo>
                    <a:lnTo>
                      <a:pt x="833" y="650"/>
                    </a:lnTo>
                    <a:lnTo>
                      <a:pt x="833" y="648"/>
                    </a:lnTo>
                    <a:lnTo>
                      <a:pt x="835" y="648"/>
                    </a:lnTo>
                    <a:lnTo>
                      <a:pt x="835" y="650"/>
                    </a:lnTo>
                    <a:close/>
                    <a:moveTo>
                      <a:pt x="376" y="834"/>
                    </a:moveTo>
                    <a:lnTo>
                      <a:pt x="378" y="834"/>
                    </a:lnTo>
                    <a:lnTo>
                      <a:pt x="378" y="836"/>
                    </a:lnTo>
                    <a:lnTo>
                      <a:pt x="378" y="834"/>
                    </a:lnTo>
                    <a:lnTo>
                      <a:pt x="380" y="836"/>
                    </a:lnTo>
                    <a:lnTo>
                      <a:pt x="380" y="838"/>
                    </a:lnTo>
                    <a:lnTo>
                      <a:pt x="380" y="840"/>
                    </a:lnTo>
                    <a:lnTo>
                      <a:pt x="378" y="840"/>
                    </a:lnTo>
                    <a:lnTo>
                      <a:pt x="378" y="838"/>
                    </a:lnTo>
                    <a:lnTo>
                      <a:pt x="378" y="836"/>
                    </a:lnTo>
                    <a:lnTo>
                      <a:pt x="378" y="838"/>
                    </a:lnTo>
                    <a:lnTo>
                      <a:pt x="378" y="836"/>
                    </a:lnTo>
                    <a:lnTo>
                      <a:pt x="376" y="836"/>
                    </a:lnTo>
                    <a:lnTo>
                      <a:pt x="376" y="834"/>
                    </a:lnTo>
                    <a:lnTo>
                      <a:pt x="376" y="836"/>
                    </a:lnTo>
                    <a:lnTo>
                      <a:pt x="376" y="834"/>
                    </a:lnTo>
                    <a:close/>
                    <a:moveTo>
                      <a:pt x="831" y="646"/>
                    </a:moveTo>
                    <a:lnTo>
                      <a:pt x="833" y="648"/>
                    </a:lnTo>
                    <a:lnTo>
                      <a:pt x="833" y="646"/>
                    </a:lnTo>
                    <a:lnTo>
                      <a:pt x="833" y="648"/>
                    </a:lnTo>
                    <a:lnTo>
                      <a:pt x="831" y="648"/>
                    </a:lnTo>
                    <a:lnTo>
                      <a:pt x="833" y="648"/>
                    </a:lnTo>
                    <a:lnTo>
                      <a:pt x="831" y="648"/>
                    </a:lnTo>
                    <a:lnTo>
                      <a:pt x="831" y="646"/>
                    </a:lnTo>
                    <a:close/>
                    <a:moveTo>
                      <a:pt x="374" y="834"/>
                    </a:moveTo>
                    <a:lnTo>
                      <a:pt x="374" y="832"/>
                    </a:lnTo>
                    <a:lnTo>
                      <a:pt x="374" y="830"/>
                    </a:lnTo>
                    <a:lnTo>
                      <a:pt x="374" y="832"/>
                    </a:lnTo>
                    <a:lnTo>
                      <a:pt x="374" y="834"/>
                    </a:lnTo>
                    <a:close/>
                    <a:moveTo>
                      <a:pt x="378" y="830"/>
                    </a:moveTo>
                    <a:lnTo>
                      <a:pt x="378" y="832"/>
                    </a:lnTo>
                    <a:lnTo>
                      <a:pt x="380" y="832"/>
                    </a:lnTo>
                    <a:lnTo>
                      <a:pt x="380" y="830"/>
                    </a:lnTo>
                    <a:lnTo>
                      <a:pt x="380" y="832"/>
                    </a:lnTo>
                    <a:lnTo>
                      <a:pt x="382" y="832"/>
                    </a:lnTo>
                    <a:lnTo>
                      <a:pt x="384" y="832"/>
                    </a:lnTo>
                    <a:lnTo>
                      <a:pt x="384" y="834"/>
                    </a:lnTo>
                    <a:lnTo>
                      <a:pt x="384" y="836"/>
                    </a:lnTo>
                    <a:lnTo>
                      <a:pt x="382" y="836"/>
                    </a:lnTo>
                    <a:lnTo>
                      <a:pt x="380" y="836"/>
                    </a:lnTo>
                    <a:lnTo>
                      <a:pt x="380" y="834"/>
                    </a:lnTo>
                    <a:lnTo>
                      <a:pt x="378" y="834"/>
                    </a:lnTo>
                    <a:lnTo>
                      <a:pt x="378" y="832"/>
                    </a:lnTo>
                    <a:lnTo>
                      <a:pt x="376" y="832"/>
                    </a:lnTo>
                    <a:lnTo>
                      <a:pt x="376" y="830"/>
                    </a:lnTo>
                    <a:lnTo>
                      <a:pt x="378" y="830"/>
                    </a:lnTo>
                    <a:close/>
                    <a:moveTo>
                      <a:pt x="831" y="644"/>
                    </a:moveTo>
                    <a:lnTo>
                      <a:pt x="831" y="646"/>
                    </a:lnTo>
                    <a:lnTo>
                      <a:pt x="831" y="644"/>
                    </a:lnTo>
                    <a:close/>
                    <a:moveTo>
                      <a:pt x="376" y="828"/>
                    </a:moveTo>
                    <a:lnTo>
                      <a:pt x="376" y="830"/>
                    </a:lnTo>
                    <a:lnTo>
                      <a:pt x="376" y="828"/>
                    </a:lnTo>
                    <a:close/>
                    <a:moveTo>
                      <a:pt x="374" y="828"/>
                    </a:moveTo>
                    <a:lnTo>
                      <a:pt x="376" y="826"/>
                    </a:lnTo>
                    <a:lnTo>
                      <a:pt x="376" y="828"/>
                    </a:lnTo>
                    <a:lnTo>
                      <a:pt x="374" y="830"/>
                    </a:lnTo>
                    <a:lnTo>
                      <a:pt x="374" y="828"/>
                    </a:lnTo>
                    <a:close/>
                    <a:moveTo>
                      <a:pt x="374" y="828"/>
                    </a:moveTo>
                    <a:lnTo>
                      <a:pt x="374" y="826"/>
                    </a:lnTo>
                    <a:lnTo>
                      <a:pt x="374" y="828"/>
                    </a:lnTo>
                    <a:close/>
                    <a:moveTo>
                      <a:pt x="374" y="825"/>
                    </a:moveTo>
                    <a:lnTo>
                      <a:pt x="376" y="826"/>
                    </a:lnTo>
                    <a:lnTo>
                      <a:pt x="374" y="826"/>
                    </a:lnTo>
                    <a:lnTo>
                      <a:pt x="374" y="825"/>
                    </a:lnTo>
                    <a:close/>
                    <a:moveTo>
                      <a:pt x="374" y="825"/>
                    </a:moveTo>
                    <a:lnTo>
                      <a:pt x="374" y="826"/>
                    </a:lnTo>
                    <a:lnTo>
                      <a:pt x="372" y="825"/>
                    </a:lnTo>
                    <a:lnTo>
                      <a:pt x="374" y="825"/>
                    </a:lnTo>
                    <a:close/>
                    <a:moveTo>
                      <a:pt x="828" y="640"/>
                    </a:moveTo>
                    <a:lnTo>
                      <a:pt x="826" y="640"/>
                    </a:lnTo>
                    <a:lnTo>
                      <a:pt x="826" y="638"/>
                    </a:lnTo>
                    <a:lnTo>
                      <a:pt x="826" y="640"/>
                    </a:lnTo>
                    <a:lnTo>
                      <a:pt x="826" y="638"/>
                    </a:lnTo>
                    <a:lnTo>
                      <a:pt x="826" y="640"/>
                    </a:lnTo>
                    <a:lnTo>
                      <a:pt x="828" y="640"/>
                    </a:lnTo>
                    <a:close/>
                    <a:moveTo>
                      <a:pt x="374" y="825"/>
                    </a:moveTo>
                    <a:lnTo>
                      <a:pt x="372" y="825"/>
                    </a:lnTo>
                    <a:lnTo>
                      <a:pt x="372" y="823"/>
                    </a:lnTo>
                    <a:lnTo>
                      <a:pt x="374" y="823"/>
                    </a:lnTo>
                    <a:lnTo>
                      <a:pt x="374" y="825"/>
                    </a:lnTo>
                    <a:close/>
                    <a:moveTo>
                      <a:pt x="824" y="638"/>
                    </a:moveTo>
                    <a:lnTo>
                      <a:pt x="826" y="638"/>
                    </a:lnTo>
                    <a:lnTo>
                      <a:pt x="824" y="638"/>
                    </a:lnTo>
                    <a:close/>
                    <a:moveTo>
                      <a:pt x="370" y="823"/>
                    </a:moveTo>
                    <a:lnTo>
                      <a:pt x="372" y="823"/>
                    </a:lnTo>
                    <a:lnTo>
                      <a:pt x="372" y="825"/>
                    </a:lnTo>
                    <a:lnTo>
                      <a:pt x="372" y="823"/>
                    </a:lnTo>
                    <a:lnTo>
                      <a:pt x="372" y="825"/>
                    </a:lnTo>
                    <a:lnTo>
                      <a:pt x="370" y="825"/>
                    </a:lnTo>
                    <a:lnTo>
                      <a:pt x="370" y="823"/>
                    </a:lnTo>
                    <a:close/>
                    <a:moveTo>
                      <a:pt x="374" y="823"/>
                    </a:moveTo>
                    <a:lnTo>
                      <a:pt x="372" y="823"/>
                    </a:lnTo>
                    <a:lnTo>
                      <a:pt x="372" y="821"/>
                    </a:lnTo>
                    <a:lnTo>
                      <a:pt x="374" y="823"/>
                    </a:lnTo>
                    <a:close/>
                    <a:moveTo>
                      <a:pt x="374" y="821"/>
                    </a:moveTo>
                    <a:lnTo>
                      <a:pt x="376" y="821"/>
                    </a:lnTo>
                    <a:lnTo>
                      <a:pt x="376" y="823"/>
                    </a:lnTo>
                    <a:lnTo>
                      <a:pt x="378" y="823"/>
                    </a:lnTo>
                    <a:lnTo>
                      <a:pt x="378" y="825"/>
                    </a:lnTo>
                    <a:lnTo>
                      <a:pt x="380" y="825"/>
                    </a:lnTo>
                    <a:lnTo>
                      <a:pt x="378" y="826"/>
                    </a:lnTo>
                    <a:lnTo>
                      <a:pt x="378" y="828"/>
                    </a:lnTo>
                    <a:lnTo>
                      <a:pt x="380" y="828"/>
                    </a:lnTo>
                    <a:lnTo>
                      <a:pt x="378" y="828"/>
                    </a:lnTo>
                    <a:lnTo>
                      <a:pt x="378" y="826"/>
                    </a:lnTo>
                    <a:lnTo>
                      <a:pt x="380" y="826"/>
                    </a:lnTo>
                    <a:lnTo>
                      <a:pt x="380" y="828"/>
                    </a:lnTo>
                    <a:lnTo>
                      <a:pt x="382" y="828"/>
                    </a:lnTo>
                    <a:lnTo>
                      <a:pt x="380" y="828"/>
                    </a:lnTo>
                    <a:lnTo>
                      <a:pt x="380" y="830"/>
                    </a:lnTo>
                    <a:lnTo>
                      <a:pt x="378" y="830"/>
                    </a:lnTo>
                    <a:lnTo>
                      <a:pt x="376" y="830"/>
                    </a:lnTo>
                    <a:lnTo>
                      <a:pt x="376" y="828"/>
                    </a:lnTo>
                    <a:lnTo>
                      <a:pt x="378" y="828"/>
                    </a:lnTo>
                    <a:lnTo>
                      <a:pt x="378" y="826"/>
                    </a:lnTo>
                    <a:lnTo>
                      <a:pt x="376" y="825"/>
                    </a:lnTo>
                    <a:lnTo>
                      <a:pt x="378" y="825"/>
                    </a:lnTo>
                    <a:lnTo>
                      <a:pt x="376" y="825"/>
                    </a:lnTo>
                    <a:lnTo>
                      <a:pt x="376" y="823"/>
                    </a:lnTo>
                    <a:lnTo>
                      <a:pt x="376" y="821"/>
                    </a:lnTo>
                    <a:lnTo>
                      <a:pt x="374" y="821"/>
                    </a:lnTo>
                    <a:close/>
                    <a:moveTo>
                      <a:pt x="824" y="636"/>
                    </a:moveTo>
                    <a:lnTo>
                      <a:pt x="824" y="638"/>
                    </a:lnTo>
                    <a:lnTo>
                      <a:pt x="824" y="636"/>
                    </a:lnTo>
                    <a:lnTo>
                      <a:pt x="824" y="638"/>
                    </a:lnTo>
                    <a:lnTo>
                      <a:pt x="824" y="636"/>
                    </a:lnTo>
                    <a:close/>
                    <a:moveTo>
                      <a:pt x="822" y="636"/>
                    </a:moveTo>
                    <a:lnTo>
                      <a:pt x="824" y="636"/>
                    </a:lnTo>
                    <a:lnTo>
                      <a:pt x="822" y="636"/>
                    </a:lnTo>
                    <a:close/>
                    <a:moveTo>
                      <a:pt x="372" y="821"/>
                    </a:moveTo>
                    <a:lnTo>
                      <a:pt x="372" y="823"/>
                    </a:lnTo>
                    <a:lnTo>
                      <a:pt x="370" y="823"/>
                    </a:lnTo>
                    <a:lnTo>
                      <a:pt x="370" y="821"/>
                    </a:lnTo>
                    <a:lnTo>
                      <a:pt x="370" y="819"/>
                    </a:lnTo>
                    <a:lnTo>
                      <a:pt x="370" y="821"/>
                    </a:lnTo>
                    <a:lnTo>
                      <a:pt x="372" y="821"/>
                    </a:lnTo>
                    <a:close/>
                    <a:moveTo>
                      <a:pt x="822" y="634"/>
                    </a:moveTo>
                    <a:lnTo>
                      <a:pt x="822" y="636"/>
                    </a:lnTo>
                    <a:lnTo>
                      <a:pt x="822" y="634"/>
                    </a:lnTo>
                    <a:lnTo>
                      <a:pt x="822" y="636"/>
                    </a:lnTo>
                    <a:lnTo>
                      <a:pt x="824" y="636"/>
                    </a:lnTo>
                    <a:lnTo>
                      <a:pt x="822" y="636"/>
                    </a:lnTo>
                    <a:lnTo>
                      <a:pt x="822" y="634"/>
                    </a:lnTo>
                    <a:close/>
                    <a:moveTo>
                      <a:pt x="368" y="821"/>
                    </a:moveTo>
                    <a:lnTo>
                      <a:pt x="368" y="819"/>
                    </a:lnTo>
                    <a:lnTo>
                      <a:pt x="368" y="821"/>
                    </a:lnTo>
                    <a:close/>
                    <a:moveTo>
                      <a:pt x="368" y="819"/>
                    </a:moveTo>
                    <a:lnTo>
                      <a:pt x="370" y="819"/>
                    </a:lnTo>
                    <a:lnTo>
                      <a:pt x="370" y="821"/>
                    </a:lnTo>
                    <a:lnTo>
                      <a:pt x="368" y="821"/>
                    </a:lnTo>
                    <a:lnTo>
                      <a:pt x="368" y="819"/>
                    </a:lnTo>
                    <a:lnTo>
                      <a:pt x="368" y="817"/>
                    </a:lnTo>
                    <a:lnTo>
                      <a:pt x="368" y="819"/>
                    </a:lnTo>
                    <a:close/>
                    <a:moveTo>
                      <a:pt x="822" y="630"/>
                    </a:moveTo>
                    <a:lnTo>
                      <a:pt x="822" y="632"/>
                    </a:lnTo>
                    <a:lnTo>
                      <a:pt x="822" y="630"/>
                    </a:lnTo>
                    <a:close/>
                    <a:moveTo>
                      <a:pt x="368" y="815"/>
                    </a:moveTo>
                    <a:lnTo>
                      <a:pt x="368" y="817"/>
                    </a:lnTo>
                    <a:lnTo>
                      <a:pt x="370" y="817"/>
                    </a:lnTo>
                    <a:lnTo>
                      <a:pt x="372" y="817"/>
                    </a:lnTo>
                    <a:lnTo>
                      <a:pt x="372" y="819"/>
                    </a:lnTo>
                    <a:lnTo>
                      <a:pt x="372" y="821"/>
                    </a:lnTo>
                    <a:lnTo>
                      <a:pt x="372" y="819"/>
                    </a:lnTo>
                    <a:lnTo>
                      <a:pt x="370" y="819"/>
                    </a:lnTo>
                    <a:lnTo>
                      <a:pt x="370" y="817"/>
                    </a:lnTo>
                    <a:lnTo>
                      <a:pt x="368" y="817"/>
                    </a:lnTo>
                    <a:lnTo>
                      <a:pt x="368" y="815"/>
                    </a:lnTo>
                    <a:lnTo>
                      <a:pt x="367" y="815"/>
                    </a:lnTo>
                    <a:lnTo>
                      <a:pt x="368" y="815"/>
                    </a:lnTo>
                    <a:close/>
                    <a:moveTo>
                      <a:pt x="368" y="815"/>
                    </a:moveTo>
                    <a:lnTo>
                      <a:pt x="368" y="813"/>
                    </a:lnTo>
                    <a:lnTo>
                      <a:pt x="368" y="815"/>
                    </a:lnTo>
                    <a:lnTo>
                      <a:pt x="368" y="813"/>
                    </a:lnTo>
                    <a:lnTo>
                      <a:pt x="370" y="815"/>
                    </a:lnTo>
                    <a:lnTo>
                      <a:pt x="370" y="813"/>
                    </a:lnTo>
                    <a:lnTo>
                      <a:pt x="370" y="815"/>
                    </a:lnTo>
                    <a:lnTo>
                      <a:pt x="372" y="817"/>
                    </a:lnTo>
                    <a:lnTo>
                      <a:pt x="374" y="817"/>
                    </a:lnTo>
                    <a:lnTo>
                      <a:pt x="376" y="817"/>
                    </a:lnTo>
                    <a:lnTo>
                      <a:pt x="374" y="817"/>
                    </a:lnTo>
                    <a:lnTo>
                      <a:pt x="376" y="817"/>
                    </a:lnTo>
                    <a:lnTo>
                      <a:pt x="376" y="819"/>
                    </a:lnTo>
                    <a:lnTo>
                      <a:pt x="376" y="821"/>
                    </a:lnTo>
                    <a:lnTo>
                      <a:pt x="376" y="819"/>
                    </a:lnTo>
                    <a:lnTo>
                      <a:pt x="378" y="821"/>
                    </a:lnTo>
                    <a:lnTo>
                      <a:pt x="376" y="821"/>
                    </a:lnTo>
                    <a:lnTo>
                      <a:pt x="374" y="819"/>
                    </a:lnTo>
                    <a:lnTo>
                      <a:pt x="372" y="817"/>
                    </a:lnTo>
                    <a:lnTo>
                      <a:pt x="370" y="817"/>
                    </a:lnTo>
                    <a:lnTo>
                      <a:pt x="370" y="815"/>
                    </a:lnTo>
                    <a:lnTo>
                      <a:pt x="368" y="815"/>
                    </a:lnTo>
                    <a:lnTo>
                      <a:pt x="368" y="813"/>
                    </a:lnTo>
                    <a:lnTo>
                      <a:pt x="368" y="815"/>
                    </a:lnTo>
                    <a:close/>
                    <a:moveTo>
                      <a:pt x="367" y="813"/>
                    </a:moveTo>
                    <a:lnTo>
                      <a:pt x="367" y="815"/>
                    </a:lnTo>
                    <a:lnTo>
                      <a:pt x="367" y="813"/>
                    </a:lnTo>
                    <a:close/>
                    <a:moveTo>
                      <a:pt x="368" y="811"/>
                    </a:moveTo>
                    <a:lnTo>
                      <a:pt x="368" y="813"/>
                    </a:lnTo>
                    <a:lnTo>
                      <a:pt x="368" y="811"/>
                    </a:lnTo>
                    <a:close/>
                    <a:moveTo>
                      <a:pt x="818" y="628"/>
                    </a:moveTo>
                    <a:lnTo>
                      <a:pt x="818" y="630"/>
                    </a:lnTo>
                    <a:lnTo>
                      <a:pt x="818" y="628"/>
                    </a:lnTo>
                    <a:close/>
                    <a:moveTo>
                      <a:pt x="368" y="811"/>
                    </a:moveTo>
                    <a:lnTo>
                      <a:pt x="368" y="813"/>
                    </a:lnTo>
                    <a:lnTo>
                      <a:pt x="368" y="811"/>
                    </a:lnTo>
                    <a:lnTo>
                      <a:pt x="368" y="813"/>
                    </a:lnTo>
                    <a:lnTo>
                      <a:pt x="367" y="811"/>
                    </a:lnTo>
                    <a:lnTo>
                      <a:pt x="368" y="813"/>
                    </a:lnTo>
                    <a:lnTo>
                      <a:pt x="367" y="811"/>
                    </a:lnTo>
                    <a:lnTo>
                      <a:pt x="368" y="811"/>
                    </a:lnTo>
                    <a:close/>
                    <a:moveTo>
                      <a:pt x="816" y="627"/>
                    </a:moveTo>
                    <a:lnTo>
                      <a:pt x="818" y="627"/>
                    </a:lnTo>
                    <a:lnTo>
                      <a:pt x="818" y="628"/>
                    </a:lnTo>
                    <a:lnTo>
                      <a:pt x="816" y="628"/>
                    </a:lnTo>
                    <a:lnTo>
                      <a:pt x="816" y="627"/>
                    </a:lnTo>
                    <a:close/>
                    <a:moveTo>
                      <a:pt x="370" y="811"/>
                    </a:moveTo>
                    <a:lnTo>
                      <a:pt x="372" y="813"/>
                    </a:lnTo>
                    <a:lnTo>
                      <a:pt x="372" y="815"/>
                    </a:lnTo>
                    <a:lnTo>
                      <a:pt x="370" y="815"/>
                    </a:lnTo>
                    <a:lnTo>
                      <a:pt x="370" y="813"/>
                    </a:lnTo>
                    <a:lnTo>
                      <a:pt x="368" y="813"/>
                    </a:lnTo>
                    <a:lnTo>
                      <a:pt x="368" y="811"/>
                    </a:lnTo>
                    <a:lnTo>
                      <a:pt x="368" y="809"/>
                    </a:lnTo>
                    <a:lnTo>
                      <a:pt x="368" y="811"/>
                    </a:lnTo>
                    <a:lnTo>
                      <a:pt x="370" y="811"/>
                    </a:lnTo>
                    <a:close/>
                    <a:moveTo>
                      <a:pt x="363" y="811"/>
                    </a:moveTo>
                    <a:lnTo>
                      <a:pt x="361" y="811"/>
                    </a:lnTo>
                    <a:lnTo>
                      <a:pt x="363" y="811"/>
                    </a:lnTo>
                    <a:close/>
                    <a:moveTo>
                      <a:pt x="363" y="811"/>
                    </a:moveTo>
                    <a:lnTo>
                      <a:pt x="361" y="809"/>
                    </a:lnTo>
                    <a:lnTo>
                      <a:pt x="363" y="809"/>
                    </a:lnTo>
                    <a:lnTo>
                      <a:pt x="363" y="811"/>
                    </a:lnTo>
                    <a:close/>
                    <a:moveTo>
                      <a:pt x="363" y="809"/>
                    </a:moveTo>
                    <a:lnTo>
                      <a:pt x="365" y="809"/>
                    </a:lnTo>
                    <a:lnTo>
                      <a:pt x="365" y="811"/>
                    </a:lnTo>
                    <a:lnTo>
                      <a:pt x="365" y="809"/>
                    </a:lnTo>
                    <a:lnTo>
                      <a:pt x="363" y="809"/>
                    </a:lnTo>
                    <a:close/>
                    <a:moveTo>
                      <a:pt x="363" y="807"/>
                    </a:moveTo>
                    <a:lnTo>
                      <a:pt x="365" y="807"/>
                    </a:lnTo>
                    <a:lnTo>
                      <a:pt x="363" y="807"/>
                    </a:lnTo>
                    <a:close/>
                    <a:moveTo>
                      <a:pt x="365" y="807"/>
                    </a:moveTo>
                    <a:lnTo>
                      <a:pt x="367" y="807"/>
                    </a:lnTo>
                    <a:lnTo>
                      <a:pt x="367" y="809"/>
                    </a:lnTo>
                    <a:lnTo>
                      <a:pt x="367" y="811"/>
                    </a:lnTo>
                    <a:lnTo>
                      <a:pt x="367" y="809"/>
                    </a:lnTo>
                    <a:lnTo>
                      <a:pt x="365" y="809"/>
                    </a:lnTo>
                    <a:lnTo>
                      <a:pt x="365" y="807"/>
                    </a:lnTo>
                    <a:close/>
                    <a:moveTo>
                      <a:pt x="365" y="807"/>
                    </a:moveTo>
                    <a:lnTo>
                      <a:pt x="363" y="807"/>
                    </a:lnTo>
                    <a:lnTo>
                      <a:pt x="365" y="807"/>
                    </a:lnTo>
                    <a:close/>
                    <a:moveTo>
                      <a:pt x="357" y="803"/>
                    </a:moveTo>
                    <a:lnTo>
                      <a:pt x="357" y="805"/>
                    </a:lnTo>
                    <a:lnTo>
                      <a:pt x="357" y="803"/>
                    </a:lnTo>
                    <a:close/>
                    <a:moveTo>
                      <a:pt x="359" y="801"/>
                    </a:moveTo>
                    <a:lnTo>
                      <a:pt x="361" y="801"/>
                    </a:lnTo>
                    <a:lnTo>
                      <a:pt x="361" y="803"/>
                    </a:lnTo>
                    <a:lnTo>
                      <a:pt x="359" y="803"/>
                    </a:lnTo>
                    <a:lnTo>
                      <a:pt x="359" y="801"/>
                    </a:lnTo>
                    <a:close/>
                    <a:moveTo>
                      <a:pt x="357" y="801"/>
                    </a:moveTo>
                    <a:lnTo>
                      <a:pt x="357" y="803"/>
                    </a:lnTo>
                    <a:lnTo>
                      <a:pt x="357" y="805"/>
                    </a:lnTo>
                    <a:lnTo>
                      <a:pt x="359" y="807"/>
                    </a:lnTo>
                    <a:lnTo>
                      <a:pt x="361" y="809"/>
                    </a:lnTo>
                    <a:lnTo>
                      <a:pt x="359" y="809"/>
                    </a:lnTo>
                    <a:lnTo>
                      <a:pt x="357" y="807"/>
                    </a:lnTo>
                    <a:lnTo>
                      <a:pt x="357" y="805"/>
                    </a:lnTo>
                    <a:lnTo>
                      <a:pt x="355" y="803"/>
                    </a:lnTo>
                    <a:lnTo>
                      <a:pt x="357" y="803"/>
                    </a:lnTo>
                    <a:lnTo>
                      <a:pt x="357" y="801"/>
                    </a:lnTo>
                    <a:lnTo>
                      <a:pt x="357" y="803"/>
                    </a:lnTo>
                    <a:lnTo>
                      <a:pt x="357" y="801"/>
                    </a:lnTo>
                    <a:close/>
                    <a:moveTo>
                      <a:pt x="814" y="615"/>
                    </a:moveTo>
                    <a:lnTo>
                      <a:pt x="812" y="615"/>
                    </a:lnTo>
                    <a:lnTo>
                      <a:pt x="814" y="615"/>
                    </a:lnTo>
                    <a:close/>
                    <a:moveTo>
                      <a:pt x="357" y="801"/>
                    </a:moveTo>
                    <a:lnTo>
                      <a:pt x="355" y="801"/>
                    </a:lnTo>
                    <a:lnTo>
                      <a:pt x="355" y="800"/>
                    </a:lnTo>
                    <a:lnTo>
                      <a:pt x="357" y="801"/>
                    </a:lnTo>
                    <a:close/>
                    <a:moveTo>
                      <a:pt x="359" y="798"/>
                    </a:moveTo>
                    <a:lnTo>
                      <a:pt x="359" y="800"/>
                    </a:lnTo>
                    <a:lnTo>
                      <a:pt x="359" y="798"/>
                    </a:lnTo>
                    <a:close/>
                    <a:moveTo>
                      <a:pt x="355" y="798"/>
                    </a:moveTo>
                    <a:lnTo>
                      <a:pt x="357" y="798"/>
                    </a:lnTo>
                    <a:lnTo>
                      <a:pt x="357" y="800"/>
                    </a:lnTo>
                    <a:lnTo>
                      <a:pt x="355" y="800"/>
                    </a:lnTo>
                    <a:lnTo>
                      <a:pt x="355" y="798"/>
                    </a:lnTo>
                    <a:close/>
                    <a:moveTo>
                      <a:pt x="357" y="796"/>
                    </a:moveTo>
                    <a:lnTo>
                      <a:pt x="357" y="798"/>
                    </a:lnTo>
                    <a:lnTo>
                      <a:pt x="357" y="796"/>
                    </a:lnTo>
                    <a:close/>
                    <a:moveTo>
                      <a:pt x="820" y="605"/>
                    </a:moveTo>
                    <a:lnTo>
                      <a:pt x="820" y="607"/>
                    </a:lnTo>
                    <a:lnTo>
                      <a:pt x="820" y="605"/>
                    </a:lnTo>
                    <a:close/>
                    <a:moveTo>
                      <a:pt x="818" y="605"/>
                    </a:moveTo>
                    <a:lnTo>
                      <a:pt x="820" y="605"/>
                    </a:lnTo>
                    <a:lnTo>
                      <a:pt x="818" y="605"/>
                    </a:lnTo>
                    <a:close/>
                    <a:moveTo>
                      <a:pt x="353" y="794"/>
                    </a:moveTo>
                    <a:lnTo>
                      <a:pt x="353" y="796"/>
                    </a:lnTo>
                    <a:lnTo>
                      <a:pt x="355" y="796"/>
                    </a:lnTo>
                    <a:lnTo>
                      <a:pt x="355" y="798"/>
                    </a:lnTo>
                    <a:lnTo>
                      <a:pt x="353" y="796"/>
                    </a:lnTo>
                    <a:lnTo>
                      <a:pt x="353" y="794"/>
                    </a:lnTo>
                    <a:close/>
                    <a:moveTo>
                      <a:pt x="355" y="794"/>
                    </a:moveTo>
                    <a:lnTo>
                      <a:pt x="355" y="796"/>
                    </a:lnTo>
                    <a:lnTo>
                      <a:pt x="357" y="796"/>
                    </a:lnTo>
                    <a:lnTo>
                      <a:pt x="357" y="798"/>
                    </a:lnTo>
                    <a:lnTo>
                      <a:pt x="355" y="798"/>
                    </a:lnTo>
                    <a:lnTo>
                      <a:pt x="355" y="796"/>
                    </a:lnTo>
                    <a:lnTo>
                      <a:pt x="355" y="794"/>
                    </a:lnTo>
                    <a:close/>
                    <a:moveTo>
                      <a:pt x="355" y="796"/>
                    </a:moveTo>
                    <a:lnTo>
                      <a:pt x="353" y="794"/>
                    </a:lnTo>
                    <a:lnTo>
                      <a:pt x="355" y="794"/>
                    </a:lnTo>
                    <a:lnTo>
                      <a:pt x="355" y="796"/>
                    </a:lnTo>
                    <a:close/>
                    <a:moveTo>
                      <a:pt x="357" y="794"/>
                    </a:moveTo>
                    <a:lnTo>
                      <a:pt x="359" y="794"/>
                    </a:lnTo>
                    <a:lnTo>
                      <a:pt x="359" y="796"/>
                    </a:lnTo>
                    <a:lnTo>
                      <a:pt x="359" y="798"/>
                    </a:lnTo>
                    <a:lnTo>
                      <a:pt x="359" y="800"/>
                    </a:lnTo>
                    <a:lnTo>
                      <a:pt x="359" y="801"/>
                    </a:lnTo>
                    <a:lnTo>
                      <a:pt x="359" y="800"/>
                    </a:lnTo>
                    <a:lnTo>
                      <a:pt x="357" y="800"/>
                    </a:lnTo>
                    <a:lnTo>
                      <a:pt x="357" y="798"/>
                    </a:lnTo>
                    <a:lnTo>
                      <a:pt x="357" y="800"/>
                    </a:lnTo>
                    <a:lnTo>
                      <a:pt x="359" y="800"/>
                    </a:lnTo>
                    <a:lnTo>
                      <a:pt x="357" y="800"/>
                    </a:lnTo>
                    <a:lnTo>
                      <a:pt x="359" y="798"/>
                    </a:lnTo>
                    <a:lnTo>
                      <a:pt x="357" y="798"/>
                    </a:lnTo>
                    <a:lnTo>
                      <a:pt x="357" y="796"/>
                    </a:lnTo>
                    <a:lnTo>
                      <a:pt x="357" y="794"/>
                    </a:lnTo>
                    <a:lnTo>
                      <a:pt x="357" y="792"/>
                    </a:lnTo>
                    <a:lnTo>
                      <a:pt x="357" y="794"/>
                    </a:lnTo>
                    <a:close/>
                    <a:moveTo>
                      <a:pt x="835" y="594"/>
                    </a:moveTo>
                    <a:lnTo>
                      <a:pt x="835" y="592"/>
                    </a:lnTo>
                    <a:lnTo>
                      <a:pt x="835" y="594"/>
                    </a:lnTo>
                    <a:lnTo>
                      <a:pt x="835" y="592"/>
                    </a:lnTo>
                    <a:lnTo>
                      <a:pt x="835" y="594"/>
                    </a:lnTo>
                    <a:close/>
                    <a:moveTo>
                      <a:pt x="839" y="590"/>
                    </a:moveTo>
                    <a:lnTo>
                      <a:pt x="839" y="592"/>
                    </a:lnTo>
                    <a:lnTo>
                      <a:pt x="839" y="590"/>
                    </a:lnTo>
                    <a:lnTo>
                      <a:pt x="839" y="592"/>
                    </a:lnTo>
                    <a:lnTo>
                      <a:pt x="839" y="590"/>
                    </a:lnTo>
                    <a:close/>
                    <a:moveTo>
                      <a:pt x="824" y="600"/>
                    </a:moveTo>
                    <a:lnTo>
                      <a:pt x="824" y="602"/>
                    </a:lnTo>
                    <a:lnTo>
                      <a:pt x="822" y="602"/>
                    </a:lnTo>
                    <a:lnTo>
                      <a:pt x="822" y="600"/>
                    </a:lnTo>
                    <a:lnTo>
                      <a:pt x="824" y="600"/>
                    </a:lnTo>
                    <a:lnTo>
                      <a:pt x="822" y="600"/>
                    </a:lnTo>
                    <a:lnTo>
                      <a:pt x="824" y="600"/>
                    </a:lnTo>
                    <a:close/>
                    <a:moveTo>
                      <a:pt x="837" y="592"/>
                    </a:moveTo>
                    <a:lnTo>
                      <a:pt x="835" y="592"/>
                    </a:lnTo>
                    <a:lnTo>
                      <a:pt x="837" y="592"/>
                    </a:lnTo>
                    <a:close/>
                    <a:moveTo>
                      <a:pt x="841" y="590"/>
                    </a:moveTo>
                    <a:lnTo>
                      <a:pt x="839" y="590"/>
                    </a:lnTo>
                    <a:lnTo>
                      <a:pt x="841" y="590"/>
                    </a:lnTo>
                    <a:close/>
                    <a:moveTo>
                      <a:pt x="839" y="590"/>
                    </a:moveTo>
                    <a:lnTo>
                      <a:pt x="839" y="592"/>
                    </a:lnTo>
                    <a:lnTo>
                      <a:pt x="837" y="592"/>
                    </a:lnTo>
                    <a:lnTo>
                      <a:pt x="837" y="590"/>
                    </a:lnTo>
                    <a:lnTo>
                      <a:pt x="839" y="590"/>
                    </a:lnTo>
                    <a:close/>
                    <a:moveTo>
                      <a:pt x="853" y="582"/>
                    </a:moveTo>
                    <a:lnTo>
                      <a:pt x="855" y="582"/>
                    </a:lnTo>
                    <a:lnTo>
                      <a:pt x="853" y="582"/>
                    </a:lnTo>
                    <a:close/>
                    <a:moveTo>
                      <a:pt x="355" y="790"/>
                    </a:moveTo>
                    <a:lnTo>
                      <a:pt x="355" y="792"/>
                    </a:lnTo>
                    <a:lnTo>
                      <a:pt x="355" y="790"/>
                    </a:lnTo>
                    <a:lnTo>
                      <a:pt x="355" y="792"/>
                    </a:lnTo>
                    <a:lnTo>
                      <a:pt x="357" y="792"/>
                    </a:lnTo>
                    <a:lnTo>
                      <a:pt x="357" y="794"/>
                    </a:lnTo>
                    <a:lnTo>
                      <a:pt x="355" y="794"/>
                    </a:lnTo>
                    <a:lnTo>
                      <a:pt x="355" y="792"/>
                    </a:lnTo>
                    <a:lnTo>
                      <a:pt x="355" y="790"/>
                    </a:lnTo>
                    <a:close/>
                    <a:moveTo>
                      <a:pt x="841" y="588"/>
                    </a:moveTo>
                    <a:lnTo>
                      <a:pt x="841" y="590"/>
                    </a:lnTo>
                    <a:lnTo>
                      <a:pt x="841" y="588"/>
                    </a:lnTo>
                    <a:close/>
                    <a:moveTo>
                      <a:pt x="841" y="588"/>
                    </a:moveTo>
                    <a:lnTo>
                      <a:pt x="841" y="590"/>
                    </a:lnTo>
                    <a:lnTo>
                      <a:pt x="841" y="588"/>
                    </a:lnTo>
                    <a:close/>
                    <a:moveTo>
                      <a:pt x="831" y="594"/>
                    </a:moveTo>
                    <a:lnTo>
                      <a:pt x="833" y="594"/>
                    </a:lnTo>
                    <a:lnTo>
                      <a:pt x="831" y="594"/>
                    </a:lnTo>
                    <a:lnTo>
                      <a:pt x="833" y="594"/>
                    </a:lnTo>
                    <a:lnTo>
                      <a:pt x="831" y="594"/>
                    </a:lnTo>
                    <a:lnTo>
                      <a:pt x="833" y="594"/>
                    </a:lnTo>
                    <a:lnTo>
                      <a:pt x="831" y="594"/>
                    </a:lnTo>
                    <a:close/>
                    <a:moveTo>
                      <a:pt x="828" y="596"/>
                    </a:moveTo>
                    <a:lnTo>
                      <a:pt x="826" y="596"/>
                    </a:lnTo>
                    <a:lnTo>
                      <a:pt x="828" y="596"/>
                    </a:lnTo>
                    <a:close/>
                    <a:moveTo>
                      <a:pt x="853" y="582"/>
                    </a:moveTo>
                    <a:lnTo>
                      <a:pt x="853" y="580"/>
                    </a:lnTo>
                    <a:lnTo>
                      <a:pt x="853" y="582"/>
                    </a:lnTo>
                    <a:close/>
                    <a:moveTo>
                      <a:pt x="828" y="594"/>
                    </a:moveTo>
                    <a:lnTo>
                      <a:pt x="828" y="596"/>
                    </a:lnTo>
                    <a:lnTo>
                      <a:pt x="828" y="594"/>
                    </a:lnTo>
                    <a:close/>
                    <a:moveTo>
                      <a:pt x="849" y="582"/>
                    </a:moveTo>
                    <a:lnTo>
                      <a:pt x="849" y="584"/>
                    </a:lnTo>
                    <a:lnTo>
                      <a:pt x="849" y="582"/>
                    </a:lnTo>
                    <a:close/>
                    <a:moveTo>
                      <a:pt x="843" y="586"/>
                    </a:moveTo>
                    <a:lnTo>
                      <a:pt x="845" y="586"/>
                    </a:lnTo>
                    <a:lnTo>
                      <a:pt x="845" y="588"/>
                    </a:lnTo>
                    <a:lnTo>
                      <a:pt x="843" y="588"/>
                    </a:lnTo>
                    <a:lnTo>
                      <a:pt x="843" y="586"/>
                    </a:lnTo>
                    <a:lnTo>
                      <a:pt x="843" y="588"/>
                    </a:lnTo>
                    <a:lnTo>
                      <a:pt x="843" y="586"/>
                    </a:lnTo>
                    <a:close/>
                    <a:moveTo>
                      <a:pt x="828" y="594"/>
                    </a:moveTo>
                    <a:lnTo>
                      <a:pt x="828" y="596"/>
                    </a:lnTo>
                    <a:lnTo>
                      <a:pt x="828" y="594"/>
                    </a:lnTo>
                    <a:close/>
                    <a:moveTo>
                      <a:pt x="828" y="596"/>
                    </a:moveTo>
                    <a:lnTo>
                      <a:pt x="826" y="596"/>
                    </a:lnTo>
                    <a:lnTo>
                      <a:pt x="828" y="596"/>
                    </a:lnTo>
                    <a:close/>
                    <a:moveTo>
                      <a:pt x="847" y="584"/>
                    </a:moveTo>
                    <a:lnTo>
                      <a:pt x="845" y="584"/>
                    </a:lnTo>
                    <a:lnTo>
                      <a:pt x="847" y="584"/>
                    </a:lnTo>
                    <a:close/>
                    <a:moveTo>
                      <a:pt x="845" y="584"/>
                    </a:moveTo>
                    <a:lnTo>
                      <a:pt x="845" y="586"/>
                    </a:lnTo>
                    <a:lnTo>
                      <a:pt x="845" y="584"/>
                    </a:lnTo>
                    <a:close/>
                    <a:moveTo>
                      <a:pt x="353" y="786"/>
                    </a:moveTo>
                    <a:lnTo>
                      <a:pt x="351" y="786"/>
                    </a:lnTo>
                    <a:lnTo>
                      <a:pt x="351" y="784"/>
                    </a:lnTo>
                    <a:lnTo>
                      <a:pt x="353" y="784"/>
                    </a:lnTo>
                    <a:lnTo>
                      <a:pt x="353" y="786"/>
                    </a:lnTo>
                    <a:close/>
                    <a:moveTo>
                      <a:pt x="392" y="773"/>
                    </a:moveTo>
                    <a:lnTo>
                      <a:pt x="390" y="773"/>
                    </a:lnTo>
                    <a:lnTo>
                      <a:pt x="392" y="773"/>
                    </a:lnTo>
                    <a:close/>
                    <a:moveTo>
                      <a:pt x="353" y="784"/>
                    </a:moveTo>
                    <a:lnTo>
                      <a:pt x="353" y="782"/>
                    </a:lnTo>
                    <a:lnTo>
                      <a:pt x="353" y="784"/>
                    </a:lnTo>
                    <a:close/>
                    <a:moveTo>
                      <a:pt x="853" y="567"/>
                    </a:moveTo>
                    <a:lnTo>
                      <a:pt x="855" y="567"/>
                    </a:lnTo>
                    <a:lnTo>
                      <a:pt x="855" y="565"/>
                    </a:lnTo>
                    <a:lnTo>
                      <a:pt x="855" y="567"/>
                    </a:lnTo>
                    <a:lnTo>
                      <a:pt x="853" y="567"/>
                    </a:lnTo>
                    <a:close/>
                    <a:moveTo>
                      <a:pt x="855" y="565"/>
                    </a:moveTo>
                    <a:lnTo>
                      <a:pt x="855" y="567"/>
                    </a:lnTo>
                    <a:lnTo>
                      <a:pt x="853" y="567"/>
                    </a:lnTo>
                    <a:lnTo>
                      <a:pt x="855" y="567"/>
                    </a:lnTo>
                    <a:lnTo>
                      <a:pt x="855" y="565"/>
                    </a:lnTo>
                    <a:close/>
                    <a:moveTo>
                      <a:pt x="393" y="763"/>
                    </a:moveTo>
                    <a:lnTo>
                      <a:pt x="393" y="765"/>
                    </a:lnTo>
                    <a:lnTo>
                      <a:pt x="392" y="765"/>
                    </a:lnTo>
                    <a:lnTo>
                      <a:pt x="392" y="763"/>
                    </a:lnTo>
                    <a:lnTo>
                      <a:pt x="393" y="763"/>
                    </a:lnTo>
                    <a:close/>
                    <a:moveTo>
                      <a:pt x="847" y="569"/>
                    </a:moveTo>
                    <a:lnTo>
                      <a:pt x="845" y="567"/>
                    </a:lnTo>
                    <a:lnTo>
                      <a:pt x="847" y="567"/>
                    </a:lnTo>
                    <a:lnTo>
                      <a:pt x="847" y="569"/>
                    </a:lnTo>
                    <a:close/>
                    <a:moveTo>
                      <a:pt x="349" y="775"/>
                    </a:moveTo>
                    <a:lnTo>
                      <a:pt x="349" y="776"/>
                    </a:lnTo>
                    <a:lnTo>
                      <a:pt x="351" y="778"/>
                    </a:lnTo>
                    <a:lnTo>
                      <a:pt x="351" y="780"/>
                    </a:lnTo>
                    <a:lnTo>
                      <a:pt x="351" y="782"/>
                    </a:lnTo>
                    <a:lnTo>
                      <a:pt x="351" y="780"/>
                    </a:lnTo>
                    <a:lnTo>
                      <a:pt x="351" y="782"/>
                    </a:lnTo>
                    <a:lnTo>
                      <a:pt x="351" y="784"/>
                    </a:lnTo>
                    <a:lnTo>
                      <a:pt x="351" y="786"/>
                    </a:lnTo>
                    <a:lnTo>
                      <a:pt x="353" y="786"/>
                    </a:lnTo>
                    <a:lnTo>
                      <a:pt x="353" y="788"/>
                    </a:lnTo>
                    <a:lnTo>
                      <a:pt x="353" y="790"/>
                    </a:lnTo>
                    <a:lnTo>
                      <a:pt x="353" y="792"/>
                    </a:lnTo>
                    <a:lnTo>
                      <a:pt x="353" y="794"/>
                    </a:lnTo>
                    <a:lnTo>
                      <a:pt x="353" y="796"/>
                    </a:lnTo>
                    <a:lnTo>
                      <a:pt x="353" y="798"/>
                    </a:lnTo>
                    <a:lnTo>
                      <a:pt x="353" y="800"/>
                    </a:lnTo>
                    <a:lnTo>
                      <a:pt x="355" y="800"/>
                    </a:lnTo>
                    <a:lnTo>
                      <a:pt x="353" y="800"/>
                    </a:lnTo>
                    <a:lnTo>
                      <a:pt x="355" y="800"/>
                    </a:lnTo>
                    <a:lnTo>
                      <a:pt x="353" y="800"/>
                    </a:lnTo>
                    <a:lnTo>
                      <a:pt x="355" y="800"/>
                    </a:lnTo>
                    <a:lnTo>
                      <a:pt x="353" y="800"/>
                    </a:lnTo>
                    <a:lnTo>
                      <a:pt x="353" y="801"/>
                    </a:lnTo>
                    <a:lnTo>
                      <a:pt x="353" y="800"/>
                    </a:lnTo>
                    <a:lnTo>
                      <a:pt x="351" y="800"/>
                    </a:lnTo>
                    <a:lnTo>
                      <a:pt x="353" y="800"/>
                    </a:lnTo>
                    <a:lnTo>
                      <a:pt x="353" y="798"/>
                    </a:lnTo>
                    <a:lnTo>
                      <a:pt x="351" y="798"/>
                    </a:lnTo>
                    <a:lnTo>
                      <a:pt x="351" y="796"/>
                    </a:lnTo>
                    <a:lnTo>
                      <a:pt x="351" y="794"/>
                    </a:lnTo>
                    <a:lnTo>
                      <a:pt x="351" y="796"/>
                    </a:lnTo>
                    <a:lnTo>
                      <a:pt x="349" y="796"/>
                    </a:lnTo>
                    <a:lnTo>
                      <a:pt x="349" y="794"/>
                    </a:lnTo>
                    <a:lnTo>
                      <a:pt x="351" y="794"/>
                    </a:lnTo>
                    <a:lnTo>
                      <a:pt x="351" y="792"/>
                    </a:lnTo>
                    <a:lnTo>
                      <a:pt x="349" y="790"/>
                    </a:lnTo>
                    <a:lnTo>
                      <a:pt x="351" y="790"/>
                    </a:lnTo>
                    <a:lnTo>
                      <a:pt x="351" y="788"/>
                    </a:lnTo>
                    <a:lnTo>
                      <a:pt x="349" y="788"/>
                    </a:lnTo>
                    <a:lnTo>
                      <a:pt x="349" y="786"/>
                    </a:lnTo>
                    <a:lnTo>
                      <a:pt x="349" y="784"/>
                    </a:lnTo>
                    <a:lnTo>
                      <a:pt x="347" y="782"/>
                    </a:lnTo>
                    <a:lnTo>
                      <a:pt x="349" y="780"/>
                    </a:lnTo>
                    <a:lnTo>
                      <a:pt x="349" y="778"/>
                    </a:lnTo>
                    <a:lnTo>
                      <a:pt x="349" y="776"/>
                    </a:lnTo>
                    <a:lnTo>
                      <a:pt x="349" y="775"/>
                    </a:lnTo>
                    <a:close/>
                    <a:moveTo>
                      <a:pt x="855" y="561"/>
                    </a:moveTo>
                    <a:lnTo>
                      <a:pt x="855" y="563"/>
                    </a:lnTo>
                    <a:lnTo>
                      <a:pt x="855" y="561"/>
                    </a:lnTo>
                    <a:close/>
                    <a:moveTo>
                      <a:pt x="843" y="567"/>
                    </a:moveTo>
                    <a:lnTo>
                      <a:pt x="843" y="565"/>
                    </a:lnTo>
                    <a:lnTo>
                      <a:pt x="843" y="567"/>
                    </a:lnTo>
                    <a:close/>
                    <a:moveTo>
                      <a:pt x="853" y="557"/>
                    </a:moveTo>
                    <a:lnTo>
                      <a:pt x="855" y="557"/>
                    </a:lnTo>
                    <a:lnTo>
                      <a:pt x="853" y="557"/>
                    </a:lnTo>
                    <a:close/>
                    <a:moveTo>
                      <a:pt x="851" y="559"/>
                    </a:moveTo>
                    <a:lnTo>
                      <a:pt x="849" y="559"/>
                    </a:lnTo>
                    <a:lnTo>
                      <a:pt x="851" y="559"/>
                    </a:lnTo>
                    <a:close/>
                    <a:moveTo>
                      <a:pt x="365" y="765"/>
                    </a:moveTo>
                    <a:lnTo>
                      <a:pt x="363" y="765"/>
                    </a:lnTo>
                    <a:lnTo>
                      <a:pt x="365" y="765"/>
                    </a:lnTo>
                    <a:close/>
                    <a:moveTo>
                      <a:pt x="1100" y="396"/>
                    </a:moveTo>
                    <a:lnTo>
                      <a:pt x="1099" y="398"/>
                    </a:lnTo>
                    <a:lnTo>
                      <a:pt x="1099" y="396"/>
                    </a:lnTo>
                    <a:lnTo>
                      <a:pt x="1100" y="396"/>
                    </a:lnTo>
                    <a:close/>
                    <a:moveTo>
                      <a:pt x="814" y="577"/>
                    </a:moveTo>
                    <a:lnTo>
                      <a:pt x="812" y="577"/>
                    </a:lnTo>
                    <a:lnTo>
                      <a:pt x="814" y="577"/>
                    </a:lnTo>
                    <a:close/>
                    <a:moveTo>
                      <a:pt x="349" y="771"/>
                    </a:moveTo>
                    <a:lnTo>
                      <a:pt x="349" y="773"/>
                    </a:lnTo>
                    <a:lnTo>
                      <a:pt x="349" y="775"/>
                    </a:lnTo>
                    <a:lnTo>
                      <a:pt x="347" y="775"/>
                    </a:lnTo>
                    <a:lnTo>
                      <a:pt x="347" y="773"/>
                    </a:lnTo>
                    <a:lnTo>
                      <a:pt x="347" y="771"/>
                    </a:lnTo>
                    <a:lnTo>
                      <a:pt x="349" y="769"/>
                    </a:lnTo>
                    <a:lnTo>
                      <a:pt x="347" y="769"/>
                    </a:lnTo>
                    <a:lnTo>
                      <a:pt x="347" y="767"/>
                    </a:lnTo>
                    <a:lnTo>
                      <a:pt x="349" y="767"/>
                    </a:lnTo>
                    <a:lnTo>
                      <a:pt x="349" y="769"/>
                    </a:lnTo>
                    <a:lnTo>
                      <a:pt x="349" y="771"/>
                    </a:lnTo>
                    <a:close/>
                    <a:moveTo>
                      <a:pt x="355" y="765"/>
                    </a:moveTo>
                    <a:lnTo>
                      <a:pt x="357" y="765"/>
                    </a:lnTo>
                    <a:lnTo>
                      <a:pt x="355" y="765"/>
                    </a:lnTo>
                    <a:close/>
                    <a:moveTo>
                      <a:pt x="1108" y="388"/>
                    </a:moveTo>
                    <a:lnTo>
                      <a:pt x="1108" y="390"/>
                    </a:lnTo>
                    <a:lnTo>
                      <a:pt x="1106" y="390"/>
                    </a:lnTo>
                    <a:lnTo>
                      <a:pt x="1104" y="390"/>
                    </a:lnTo>
                    <a:lnTo>
                      <a:pt x="1106" y="390"/>
                    </a:lnTo>
                    <a:lnTo>
                      <a:pt x="1108" y="388"/>
                    </a:lnTo>
                    <a:close/>
                    <a:moveTo>
                      <a:pt x="1104" y="390"/>
                    </a:moveTo>
                    <a:lnTo>
                      <a:pt x="1106" y="390"/>
                    </a:lnTo>
                    <a:lnTo>
                      <a:pt x="1104" y="390"/>
                    </a:lnTo>
                    <a:close/>
                    <a:moveTo>
                      <a:pt x="347" y="765"/>
                    </a:moveTo>
                    <a:lnTo>
                      <a:pt x="347" y="767"/>
                    </a:lnTo>
                    <a:lnTo>
                      <a:pt x="347" y="769"/>
                    </a:lnTo>
                    <a:lnTo>
                      <a:pt x="345" y="769"/>
                    </a:lnTo>
                    <a:lnTo>
                      <a:pt x="345" y="767"/>
                    </a:lnTo>
                    <a:lnTo>
                      <a:pt x="347" y="767"/>
                    </a:lnTo>
                    <a:lnTo>
                      <a:pt x="347" y="765"/>
                    </a:lnTo>
                    <a:close/>
                    <a:moveTo>
                      <a:pt x="853" y="552"/>
                    </a:moveTo>
                    <a:lnTo>
                      <a:pt x="851" y="552"/>
                    </a:lnTo>
                    <a:lnTo>
                      <a:pt x="853" y="552"/>
                    </a:lnTo>
                    <a:close/>
                    <a:moveTo>
                      <a:pt x="1100" y="396"/>
                    </a:moveTo>
                    <a:lnTo>
                      <a:pt x="1099" y="398"/>
                    </a:lnTo>
                    <a:lnTo>
                      <a:pt x="1099" y="396"/>
                    </a:lnTo>
                    <a:lnTo>
                      <a:pt x="1099" y="394"/>
                    </a:lnTo>
                    <a:lnTo>
                      <a:pt x="1099" y="392"/>
                    </a:lnTo>
                    <a:lnTo>
                      <a:pt x="1100" y="392"/>
                    </a:lnTo>
                    <a:lnTo>
                      <a:pt x="1100" y="394"/>
                    </a:lnTo>
                    <a:lnTo>
                      <a:pt x="1102" y="392"/>
                    </a:lnTo>
                    <a:lnTo>
                      <a:pt x="1100" y="394"/>
                    </a:lnTo>
                    <a:lnTo>
                      <a:pt x="1100" y="396"/>
                    </a:lnTo>
                    <a:close/>
                    <a:moveTo>
                      <a:pt x="347" y="763"/>
                    </a:moveTo>
                    <a:lnTo>
                      <a:pt x="349" y="763"/>
                    </a:lnTo>
                    <a:lnTo>
                      <a:pt x="349" y="765"/>
                    </a:lnTo>
                    <a:lnTo>
                      <a:pt x="347" y="765"/>
                    </a:lnTo>
                    <a:lnTo>
                      <a:pt x="347" y="763"/>
                    </a:lnTo>
                    <a:close/>
                    <a:moveTo>
                      <a:pt x="349" y="763"/>
                    </a:moveTo>
                    <a:lnTo>
                      <a:pt x="351" y="763"/>
                    </a:lnTo>
                    <a:lnTo>
                      <a:pt x="351" y="765"/>
                    </a:lnTo>
                    <a:lnTo>
                      <a:pt x="351" y="763"/>
                    </a:lnTo>
                    <a:lnTo>
                      <a:pt x="351" y="765"/>
                    </a:lnTo>
                    <a:lnTo>
                      <a:pt x="351" y="767"/>
                    </a:lnTo>
                    <a:lnTo>
                      <a:pt x="349" y="767"/>
                    </a:lnTo>
                    <a:lnTo>
                      <a:pt x="351" y="767"/>
                    </a:lnTo>
                    <a:lnTo>
                      <a:pt x="351" y="765"/>
                    </a:lnTo>
                    <a:lnTo>
                      <a:pt x="349" y="765"/>
                    </a:lnTo>
                    <a:lnTo>
                      <a:pt x="351" y="767"/>
                    </a:lnTo>
                    <a:lnTo>
                      <a:pt x="349" y="767"/>
                    </a:lnTo>
                    <a:lnTo>
                      <a:pt x="349" y="765"/>
                    </a:lnTo>
                    <a:lnTo>
                      <a:pt x="349" y="763"/>
                    </a:lnTo>
                    <a:close/>
                    <a:moveTo>
                      <a:pt x="351" y="761"/>
                    </a:moveTo>
                    <a:lnTo>
                      <a:pt x="351" y="763"/>
                    </a:lnTo>
                    <a:lnTo>
                      <a:pt x="349" y="763"/>
                    </a:lnTo>
                    <a:lnTo>
                      <a:pt x="351" y="761"/>
                    </a:lnTo>
                    <a:close/>
                    <a:moveTo>
                      <a:pt x="349" y="761"/>
                    </a:moveTo>
                    <a:lnTo>
                      <a:pt x="349" y="759"/>
                    </a:lnTo>
                    <a:lnTo>
                      <a:pt x="351" y="761"/>
                    </a:lnTo>
                    <a:lnTo>
                      <a:pt x="349" y="761"/>
                    </a:lnTo>
                    <a:close/>
                    <a:moveTo>
                      <a:pt x="853" y="546"/>
                    </a:moveTo>
                    <a:lnTo>
                      <a:pt x="855" y="546"/>
                    </a:lnTo>
                    <a:lnTo>
                      <a:pt x="855" y="548"/>
                    </a:lnTo>
                    <a:lnTo>
                      <a:pt x="853" y="548"/>
                    </a:lnTo>
                    <a:lnTo>
                      <a:pt x="853" y="550"/>
                    </a:lnTo>
                    <a:lnTo>
                      <a:pt x="853" y="548"/>
                    </a:lnTo>
                    <a:lnTo>
                      <a:pt x="851" y="548"/>
                    </a:lnTo>
                    <a:lnTo>
                      <a:pt x="853" y="548"/>
                    </a:lnTo>
                    <a:lnTo>
                      <a:pt x="853" y="546"/>
                    </a:lnTo>
                    <a:close/>
                    <a:moveTo>
                      <a:pt x="1125" y="365"/>
                    </a:moveTo>
                    <a:lnTo>
                      <a:pt x="1127" y="367"/>
                    </a:lnTo>
                    <a:lnTo>
                      <a:pt x="1125" y="367"/>
                    </a:lnTo>
                    <a:lnTo>
                      <a:pt x="1125" y="365"/>
                    </a:lnTo>
                    <a:close/>
                    <a:moveTo>
                      <a:pt x="616" y="661"/>
                    </a:moveTo>
                    <a:lnTo>
                      <a:pt x="614" y="661"/>
                    </a:lnTo>
                    <a:lnTo>
                      <a:pt x="616" y="661"/>
                    </a:lnTo>
                    <a:lnTo>
                      <a:pt x="614" y="661"/>
                    </a:lnTo>
                    <a:lnTo>
                      <a:pt x="616" y="661"/>
                    </a:lnTo>
                    <a:close/>
                    <a:moveTo>
                      <a:pt x="357" y="753"/>
                    </a:moveTo>
                    <a:lnTo>
                      <a:pt x="359" y="753"/>
                    </a:lnTo>
                    <a:lnTo>
                      <a:pt x="357" y="755"/>
                    </a:lnTo>
                    <a:lnTo>
                      <a:pt x="357" y="753"/>
                    </a:lnTo>
                    <a:close/>
                    <a:moveTo>
                      <a:pt x="1125" y="365"/>
                    </a:moveTo>
                    <a:lnTo>
                      <a:pt x="1125" y="367"/>
                    </a:lnTo>
                    <a:lnTo>
                      <a:pt x="1125" y="365"/>
                    </a:lnTo>
                    <a:close/>
                    <a:moveTo>
                      <a:pt x="1106" y="379"/>
                    </a:moveTo>
                    <a:lnTo>
                      <a:pt x="1106" y="377"/>
                    </a:lnTo>
                    <a:lnTo>
                      <a:pt x="1108" y="377"/>
                    </a:lnTo>
                    <a:lnTo>
                      <a:pt x="1106" y="379"/>
                    </a:lnTo>
                    <a:close/>
                    <a:moveTo>
                      <a:pt x="853" y="542"/>
                    </a:moveTo>
                    <a:lnTo>
                      <a:pt x="851" y="542"/>
                    </a:lnTo>
                    <a:lnTo>
                      <a:pt x="853" y="542"/>
                    </a:lnTo>
                    <a:close/>
                    <a:moveTo>
                      <a:pt x="1124" y="363"/>
                    </a:moveTo>
                    <a:lnTo>
                      <a:pt x="1125" y="363"/>
                    </a:lnTo>
                    <a:lnTo>
                      <a:pt x="1124" y="363"/>
                    </a:lnTo>
                    <a:close/>
                    <a:moveTo>
                      <a:pt x="359" y="751"/>
                    </a:moveTo>
                    <a:lnTo>
                      <a:pt x="357" y="753"/>
                    </a:lnTo>
                    <a:lnTo>
                      <a:pt x="357" y="751"/>
                    </a:lnTo>
                    <a:lnTo>
                      <a:pt x="359" y="751"/>
                    </a:lnTo>
                    <a:close/>
                    <a:moveTo>
                      <a:pt x="357" y="751"/>
                    </a:moveTo>
                    <a:lnTo>
                      <a:pt x="357" y="753"/>
                    </a:lnTo>
                    <a:lnTo>
                      <a:pt x="357" y="751"/>
                    </a:lnTo>
                    <a:lnTo>
                      <a:pt x="357" y="753"/>
                    </a:lnTo>
                    <a:lnTo>
                      <a:pt x="355" y="753"/>
                    </a:lnTo>
                    <a:lnTo>
                      <a:pt x="357" y="753"/>
                    </a:lnTo>
                    <a:lnTo>
                      <a:pt x="357" y="751"/>
                    </a:lnTo>
                    <a:lnTo>
                      <a:pt x="357" y="753"/>
                    </a:lnTo>
                    <a:lnTo>
                      <a:pt x="355" y="755"/>
                    </a:lnTo>
                    <a:lnTo>
                      <a:pt x="353" y="757"/>
                    </a:lnTo>
                    <a:lnTo>
                      <a:pt x="353" y="759"/>
                    </a:lnTo>
                    <a:lnTo>
                      <a:pt x="351" y="759"/>
                    </a:lnTo>
                    <a:lnTo>
                      <a:pt x="351" y="761"/>
                    </a:lnTo>
                    <a:lnTo>
                      <a:pt x="349" y="761"/>
                    </a:lnTo>
                    <a:lnTo>
                      <a:pt x="349" y="759"/>
                    </a:lnTo>
                    <a:lnTo>
                      <a:pt x="351" y="759"/>
                    </a:lnTo>
                    <a:lnTo>
                      <a:pt x="351" y="757"/>
                    </a:lnTo>
                    <a:lnTo>
                      <a:pt x="353" y="757"/>
                    </a:lnTo>
                    <a:lnTo>
                      <a:pt x="353" y="755"/>
                    </a:lnTo>
                    <a:lnTo>
                      <a:pt x="355" y="755"/>
                    </a:lnTo>
                    <a:lnTo>
                      <a:pt x="355" y="753"/>
                    </a:lnTo>
                    <a:lnTo>
                      <a:pt x="357" y="751"/>
                    </a:lnTo>
                    <a:lnTo>
                      <a:pt x="357" y="750"/>
                    </a:lnTo>
                    <a:lnTo>
                      <a:pt x="357" y="751"/>
                    </a:lnTo>
                    <a:close/>
                    <a:moveTo>
                      <a:pt x="357" y="750"/>
                    </a:moveTo>
                    <a:lnTo>
                      <a:pt x="357" y="751"/>
                    </a:lnTo>
                    <a:lnTo>
                      <a:pt x="357" y="750"/>
                    </a:lnTo>
                    <a:close/>
                    <a:moveTo>
                      <a:pt x="1124" y="359"/>
                    </a:moveTo>
                    <a:lnTo>
                      <a:pt x="1124" y="361"/>
                    </a:lnTo>
                    <a:lnTo>
                      <a:pt x="1124" y="359"/>
                    </a:lnTo>
                    <a:close/>
                    <a:moveTo>
                      <a:pt x="614" y="653"/>
                    </a:moveTo>
                    <a:lnTo>
                      <a:pt x="614" y="655"/>
                    </a:lnTo>
                    <a:lnTo>
                      <a:pt x="614" y="653"/>
                    </a:lnTo>
                    <a:close/>
                    <a:moveTo>
                      <a:pt x="1124" y="359"/>
                    </a:moveTo>
                    <a:lnTo>
                      <a:pt x="1122" y="359"/>
                    </a:lnTo>
                    <a:lnTo>
                      <a:pt x="1124" y="359"/>
                    </a:lnTo>
                    <a:lnTo>
                      <a:pt x="1124" y="357"/>
                    </a:lnTo>
                    <a:lnTo>
                      <a:pt x="1124" y="359"/>
                    </a:lnTo>
                    <a:close/>
                    <a:moveTo>
                      <a:pt x="357" y="750"/>
                    </a:moveTo>
                    <a:lnTo>
                      <a:pt x="357" y="748"/>
                    </a:lnTo>
                    <a:lnTo>
                      <a:pt x="357" y="750"/>
                    </a:lnTo>
                    <a:close/>
                    <a:moveTo>
                      <a:pt x="1122" y="357"/>
                    </a:moveTo>
                    <a:lnTo>
                      <a:pt x="1124" y="357"/>
                    </a:lnTo>
                    <a:lnTo>
                      <a:pt x="1124" y="359"/>
                    </a:lnTo>
                    <a:lnTo>
                      <a:pt x="1122" y="359"/>
                    </a:lnTo>
                    <a:lnTo>
                      <a:pt x="1122" y="357"/>
                    </a:lnTo>
                    <a:close/>
                    <a:moveTo>
                      <a:pt x="862" y="530"/>
                    </a:moveTo>
                    <a:lnTo>
                      <a:pt x="862" y="528"/>
                    </a:lnTo>
                    <a:lnTo>
                      <a:pt x="862" y="530"/>
                    </a:lnTo>
                    <a:close/>
                    <a:moveTo>
                      <a:pt x="1104" y="373"/>
                    </a:moveTo>
                    <a:lnTo>
                      <a:pt x="1102" y="373"/>
                    </a:lnTo>
                    <a:lnTo>
                      <a:pt x="1102" y="371"/>
                    </a:lnTo>
                    <a:lnTo>
                      <a:pt x="1104" y="373"/>
                    </a:lnTo>
                    <a:close/>
                    <a:moveTo>
                      <a:pt x="1102" y="373"/>
                    </a:moveTo>
                    <a:lnTo>
                      <a:pt x="1102" y="371"/>
                    </a:lnTo>
                    <a:lnTo>
                      <a:pt x="1102" y="373"/>
                    </a:lnTo>
                    <a:close/>
                    <a:moveTo>
                      <a:pt x="1122" y="355"/>
                    </a:moveTo>
                    <a:lnTo>
                      <a:pt x="1124" y="355"/>
                    </a:lnTo>
                    <a:lnTo>
                      <a:pt x="1122" y="355"/>
                    </a:lnTo>
                    <a:close/>
                    <a:moveTo>
                      <a:pt x="614" y="652"/>
                    </a:moveTo>
                    <a:lnTo>
                      <a:pt x="614" y="650"/>
                    </a:lnTo>
                    <a:lnTo>
                      <a:pt x="614" y="652"/>
                    </a:lnTo>
                    <a:close/>
                    <a:moveTo>
                      <a:pt x="614" y="650"/>
                    </a:moveTo>
                    <a:lnTo>
                      <a:pt x="614" y="652"/>
                    </a:lnTo>
                    <a:lnTo>
                      <a:pt x="612" y="650"/>
                    </a:lnTo>
                    <a:lnTo>
                      <a:pt x="614" y="650"/>
                    </a:lnTo>
                    <a:close/>
                    <a:moveTo>
                      <a:pt x="1122" y="355"/>
                    </a:moveTo>
                    <a:lnTo>
                      <a:pt x="1120" y="355"/>
                    </a:lnTo>
                    <a:lnTo>
                      <a:pt x="1122" y="355"/>
                    </a:lnTo>
                    <a:close/>
                    <a:moveTo>
                      <a:pt x="1122" y="354"/>
                    </a:moveTo>
                    <a:lnTo>
                      <a:pt x="1122" y="355"/>
                    </a:lnTo>
                    <a:lnTo>
                      <a:pt x="1122" y="354"/>
                    </a:lnTo>
                    <a:close/>
                    <a:moveTo>
                      <a:pt x="1104" y="367"/>
                    </a:moveTo>
                    <a:lnTo>
                      <a:pt x="1104" y="369"/>
                    </a:lnTo>
                    <a:lnTo>
                      <a:pt x="1104" y="367"/>
                    </a:lnTo>
                    <a:close/>
                    <a:moveTo>
                      <a:pt x="1106" y="367"/>
                    </a:moveTo>
                    <a:lnTo>
                      <a:pt x="1104" y="367"/>
                    </a:lnTo>
                    <a:lnTo>
                      <a:pt x="1106" y="365"/>
                    </a:lnTo>
                    <a:lnTo>
                      <a:pt x="1106" y="367"/>
                    </a:lnTo>
                    <a:close/>
                    <a:moveTo>
                      <a:pt x="1104" y="369"/>
                    </a:moveTo>
                    <a:lnTo>
                      <a:pt x="1104" y="367"/>
                    </a:lnTo>
                    <a:lnTo>
                      <a:pt x="1104" y="365"/>
                    </a:lnTo>
                    <a:lnTo>
                      <a:pt x="1106" y="365"/>
                    </a:lnTo>
                    <a:lnTo>
                      <a:pt x="1104" y="367"/>
                    </a:lnTo>
                    <a:lnTo>
                      <a:pt x="1104" y="369"/>
                    </a:lnTo>
                    <a:close/>
                    <a:moveTo>
                      <a:pt x="359" y="742"/>
                    </a:moveTo>
                    <a:lnTo>
                      <a:pt x="359" y="744"/>
                    </a:lnTo>
                    <a:lnTo>
                      <a:pt x="359" y="746"/>
                    </a:lnTo>
                    <a:lnTo>
                      <a:pt x="357" y="748"/>
                    </a:lnTo>
                    <a:lnTo>
                      <a:pt x="357" y="746"/>
                    </a:lnTo>
                    <a:lnTo>
                      <a:pt x="357" y="744"/>
                    </a:lnTo>
                    <a:lnTo>
                      <a:pt x="359" y="744"/>
                    </a:lnTo>
                    <a:lnTo>
                      <a:pt x="359" y="742"/>
                    </a:lnTo>
                    <a:close/>
                    <a:moveTo>
                      <a:pt x="858" y="527"/>
                    </a:moveTo>
                    <a:lnTo>
                      <a:pt x="856" y="527"/>
                    </a:lnTo>
                    <a:lnTo>
                      <a:pt x="858" y="527"/>
                    </a:lnTo>
                    <a:close/>
                    <a:moveTo>
                      <a:pt x="1104" y="365"/>
                    </a:moveTo>
                    <a:lnTo>
                      <a:pt x="1104" y="367"/>
                    </a:lnTo>
                    <a:lnTo>
                      <a:pt x="1104" y="365"/>
                    </a:lnTo>
                    <a:close/>
                    <a:moveTo>
                      <a:pt x="614" y="648"/>
                    </a:moveTo>
                    <a:lnTo>
                      <a:pt x="612" y="648"/>
                    </a:lnTo>
                    <a:lnTo>
                      <a:pt x="614" y="648"/>
                    </a:lnTo>
                    <a:close/>
                    <a:moveTo>
                      <a:pt x="614" y="648"/>
                    </a:moveTo>
                    <a:lnTo>
                      <a:pt x="612" y="648"/>
                    </a:lnTo>
                    <a:lnTo>
                      <a:pt x="614" y="648"/>
                    </a:lnTo>
                    <a:close/>
                    <a:moveTo>
                      <a:pt x="856" y="527"/>
                    </a:moveTo>
                    <a:lnTo>
                      <a:pt x="855" y="527"/>
                    </a:lnTo>
                    <a:lnTo>
                      <a:pt x="856" y="527"/>
                    </a:lnTo>
                    <a:close/>
                    <a:moveTo>
                      <a:pt x="1118" y="352"/>
                    </a:moveTo>
                    <a:lnTo>
                      <a:pt x="1120" y="352"/>
                    </a:lnTo>
                    <a:lnTo>
                      <a:pt x="1120" y="354"/>
                    </a:lnTo>
                    <a:lnTo>
                      <a:pt x="1120" y="352"/>
                    </a:lnTo>
                    <a:lnTo>
                      <a:pt x="1118" y="352"/>
                    </a:lnTo>
                    <a:close/>
                    <a:moveTo>
                      <a:pt x="1118" y="350"/>
                    </a:moveTo>
                    <a:lnTo>
                      <a:pt x="1120" y="352"/>
                    </a:lnTo>
                    <a:lnTo>
                      <a:pt x="1118" y="352"/>
                    </a:lnTo>
                    <a:lnTo>
                      <a:pt x="1118" y="350"/>
                    </a:lnTo>
                    <a:close/>
                    <a:moveTo>
                      <a:pt x="1162" y="315"/>
                    </a:moveTo>
                    <a:lnTo>
                      <a:pt x="1164" y="315"/>
                    </a:lnTo>
                    <a:lnTo>
                      <a:pt x="1162" y="315"/>
                    </a:lnTo>
                    <a:close/>
                    <a:moveTo>
                      <a:pt x="1162" y="315"/>
                    </a:moveTo>
                    <a:lnTo>
                      <a:pt x="1162" y="317"/>
                    </a:lnTo>
                    <a:lnTo>
                      <a:pt x="1160" y="317"/>
                    </a:lnTo>
                    <a:lnTo>
                      <a:pt x="1160" y="319"/>
                    </a:lnTo>
                    <a:lnTo>
                      <a:pt x="1162" y="319"/>
                    </a:lnTo>
                    <a:lnTo>
                      <a:pt x="1162" y="317"/>
                    </a:lnTo>
                    <a:lnTo>
                      <a:pt x="1164" y="317"/>
                    </a:lnTo>
                    <a:lnTo>
                      <a:pt x="1164" y="319"/>
                    </a:lnTo>
                    <a:lnTo>
                      <a:pt x="1164" y="317"/>
                    </a:lnTo>
                    <a:lnTo>
                      <a:pt x="1166" y="319"/>
                    </a:lnTo>
                    <a:lnTo>
                      <a:pt x="1164" y="319"/>
                    </a:lnTo>
                    <a:lnTo>
                      <a:pt x="1164" y="321"/>
                    </a:lnTo>
                    <a:lnTo>
                      <a:pt x="1166" y="321"/>
                    </a:lnTo>
                    <a:lnTo>
                      <a:pt x="1164" y="321"/>
                    </a:lnTo>
                    <a:lnTo>
                      <a:pt x="1164" y="323"/>
                    </a:lnTo>
                    <a:lnTo>
                      <a:pt x="1166" y="323"/>
                    </a:lnTo>
                    <a:lnTo>
                      <a:pt x="1164" y="323"/>
                    </a:lnTo>
                    <a:lnTo>
                      <a:pt x="1164" y="325"/>
                    </a:lnTo>
                    <a:lnTo>
                      <a:pt x="1162" y="325"/>
                    </a:lnTo>
                    <a:lnTo>
                      <a:pt x="1162" y="323"/>
                    </a:lnTo>
                    <a:lnTo>
                      <a:pt x="1160" y="323"/>
                    </a:lnTo>
                    <a:lnTo>
                      <a:pt x="1162" y="321"/>
                    </a:lnTo>
                    <a:lnTo>
                      <a:pt x="1160" y="321"/>
                    </a:lnTo>
                    <a:lnTo>
                      <a:pt x="1158" y="321"/>
                    </a:lnTo>
                    <a:lnTo>
                      <a:pt x="1158" y="319"/>
                    </a:lnTo>
                    <a:lnTo>
                      <a:pt x="1156" y="319"/>
                    </a:lnTo>
                    <a:lnTo>
                      <a:pt x="1158" y="319"/>
                    </a:lnTo>
                    <a:lnTo>
                      <a:pt x="1158" y="317"/>
                    </a:lnTo>
                    <a:lnTo>
                      <a:pt x="1158" y="319"/>
                    </a:lnTo>
                    <a:lnTo>
                      <a:pt x="1160" y="317"/>
                    </a:lnTo>
                    <a:lnTo>
                      <a:pt x="1160" y="315"/>
                    </a:lnTo>
                    <a:lnTo>
                      <a:pt x="1162" y="315"/>
                    </a:lnTo>
                    <a:close/>
                    <a:moveTo>
                      <a:pt x="1118" y="352"/>
                    </a:moveTo>
                    <a:lnTo>
                      <a:pt x="1116" y="352"/>
                    </a:lnTo>
                    <a:lnTo>
                      <a:pt x="1118" y="352"/>
                    </a:lnTo>
                    <a:lnTo>
                      <a:pt x="1118" y="350"/>
                    </a:lnTo>
                    <a:lnTo>
                      <a:pt x="1116" y="350"/>
                    </a:lnTo>
                    <a:lnTo>
                      <a:pt x="1118" y="350"/>
                    </a:lnTo>
                    <a:lnTo>
                      <a:pt x="1118" y="352"/>
                    </a:lnTo>
                    <a:close/>
                    <a:moveTo>
                      <a:pt x="1118" y="350"/>
                    </a:moveTo>
                    <a:lnTo>
                      <a:pt x="1118" y="348"/>
                    </a:lnTo>
                    <a:lnTo>
                      <a:pt x="1118" y="350"/>
                    </a:lnTo>
                    <a:close/>
                    <a:moveTo>
                      <a:pt x="1118" y="350"/>
                    </a:moveTo>
                    <a:lnTo>
                      <a:pt x="1116" y="350"/>
                    </a:lnTo>
                    <a:lnTo>
                      <a:pt x="1118" y="348"/>
                    </a:lnTo>
                    <a:lnTo>
                      <a:pt x="1118" y="350"/>
                    </a:lnTo>
                    <a:close/>
                    <a:moveTo>
                      <a:pt x="1118" y="346"/>
                    </a:moveTo>
                    <a:lnTo>
                      <a:pt x="1118" y="348"/>
                    </a:lnTo>
                    <a:lnTo>
                      <a:pt x="1116" y="348"/>
                    </a:lnTo>
                    <a:lnTo>
                      <a:pt x="1118" y="348"/>
                    </a:lnTo>
                    <a:lnTo>
                      <a:pt x="1118" y="346"/>
                    </a:lnTo>
                    <a:close/>
                    <a:moveTo>
                      <a:pt x="609" y="644"/>
                    </a:moveTo>
                    <a:lnTo>
                      <a:pt x="607" y="644"/>
                    </a:lnTo>
                    <a:lnTo>
                      <a:pt x="607" y="642"/>
                    </a:lnTo>
                    <a:lnTo>
                      <a:pt x="609" y="642"/>
                    </a:lnTo>
                    <a:lnTo>
                      <a:pt x="609" y="644"/>
                    </a:lnTo>
                    <a:close/>
                    <a:moveTo>
                      <a:pt x="607" y="642"/>
                    </a:moveTo>
                    <a:lnTo>
                      <a:pt x="607" y="644"/>
                    </a:lnTo>
                    <a:lnTo>
                      <a:pt x="607" y="642"/>
                    </a:lnTo>
                    <a:close/>
                    <a:moveTo>
                      <a:pt x="856" y="519"/>
                    </a:moveTo>
                    <a:lnTo>
                      <a:pt x="856" y="521"/>
                    </a:lnTo>
                    <a:lnTo>
                      <a:pt x="855" y="519"/>
                    </a:lnTo>
                    <a:lnTo>
                      <a:pt x="856" y="519"/>
                    </a:lnTo>
                    <a:lnTo>
                      <a:pt x="855" y="519"/>
                    </a:lnTo>
                    <a:lnTo>
                      <a:pt x="856" y="519"/>
                    </a:lnTo>
                    <a:lnTo>
                      <a:pt x="856" y="517"/>
                    </a:lnTo>
                    <a:lnTo>
                      <a:pt x="856" y="519"/>
                    </a:lnTo>
                    <a:close/>
                    <a:moveTo>
                      <a:pt x="1158" y="313"/>
                    </a:moveTo>
                    <a:lnTo>
                      <a:pt x="1156" y="313"/>
                    </a:lnTo>
                    <a:lnTo>
                      <a:pt x="1158" y="313"/>
                    </a:lnTo>
                    <a:lnTo>
                      <a:pt x="1160" y="313"/>
                    </a:lnTo>
                    <a:lnTo>
                      <a:pt x="1158" y="313"/>
                    </a:lnTo>
                    <a:close/>
                    <a:moveTo>
                      <a:pt x="1116" y="346"/>
                    </a:moveTo>
                    <a:lnTo>
                      <a:pt x="1116" y="348"/>
                    </a:lnTo>
                    <a:lnTo>
                      <a:pt x="1116" y="346"/>
                    </a:lnTo>
                    <a:lnTo>
                      <a:pt x="1118" y="346"/>
                    </a:lnTo>
                    <a:lnTo>
                      <a:pt x="1118" y="348"/>
                    </a:lnTo>
                    <a:lnTo>
                      <a:pt x="1116" y="348"/>
                    </a:lnTo>
                    <a:lnTo>
                      <a:pt x="1116" y="346"/>
                    </a:lnTo>
                    <a:close/>
                    <a:moveTo>
                      <a:pt x="1154" y="315"/>
                    </a:moveTo>
                    <a:lnTo>
                      <a:pt x="1156" y="315"/>
                    </a:lnTo>
                    <a:lnTo>
                      <a:pt x="1158" y="313"/>
                    </a:lnTo>
                    <a:lnTo>
                      <a:pt x="1158" y="315"/>
                    </a:lnTo>
                    <a:lnTo>
                      <a:pt x="1158" y="313"/>
                    </a:lnTo>
                    <a:lnTo>
                      <a:pt x="1160" y="313"/>
                    </a:lnTo>
                    <a:lnTo>
                      <a:pt x="1160" y="315"/>
                    </a:lnTo>
                    <a:lnTo>
                      <a:pt x="1158" y="317"/>
                    </a:lnTo>
                    <a:lnTo>
                      <a:pt x="1156" y="317"/>
                    </a:lnTo>
                    <a:lnTo>
                      <a:pt x="1158" y="315"/>
                    </a:lnTo>
                    <a:lnTo>
                      <a:pt x="1156" y="315"/>
                    </a:lnTo>
                    <a:lnTo>
                      <a:pt x="1156" y="317"/>
                    </a:lnTo>
                    <a:lnTo>
                      <a:pt x="1156" y="315"/>
                    </a:lnTo>
                    <a:lnTo>
                      <a:pt x="1154" y="317"/>
                    </a:lnTo>
                    <a:lnTo>
                      <a:pt x="1152" y="317"/>
                    </a:lnTo>
                    <a:lnTo>
                      <a:pt x="1154" y="317"/>
                    </a:lnTo>
                    <a:lnTo>
                      <a:pt x="1154" y="315"/>
                    </a:lnTo>
                    <a:close/>
                    <a:moveTo>
                      <a:pt x="858" y="517"/>
                    </a:moveTo>
                    <a:lnTo>
                      <a:pt x="856" y="517"/>
                    </a:lnTo>
                    <a:lnTo>
                      <a:pt x="858" y="517"/>
                    </a:lnTo>
                    <a:lnTo>
                      <a:pt x="858" y="515"/>
                    </a:lnTo>
                    <a:lnTo>
                      <a:pt x="858" y="517"/>
                    </a:lnTo>
                    <a:close/>
                    <a:moveTo>
                      <a:pt x="563" y="661"/>
                    </a:moveTo>
                    <a:lnTo>
                      <a:pt x="561" y="661"/>
                    </a:lnTo>
                    <a:lnTo>
                      <a:pt x="561" y="659"/>
                    </a:lnTo>
                    <a:lnTo>
                      <a:pt x="563" y="659"/>
                    </a:lnTo>
                    <a:lnTo>
                      <a:pt x="563" y="661"/>
                    </a:lnTo>
                    <a:close/>
                    <a:moveTo>
                      <a:pt x="1147" y="321"/>
                    </a:moveTo>
                    <a:lnTo>
                      <a:pt x="1147" y="323"/>
                    </a:lnTo>
                    <a:lnTo>
                      <a:pt x="1145" y="323"/>
                    </a:lnTo>
                    <a:lnTo>
                      <a:pt x="1147" y="323"/>
                    </a:lnTo>
                    <a:lnTo>
                      <a:pt x="1147" y="321"/>
                    </a:lnTo>
                    <a:close/>
                    <a:moveTo>
                      <a:pt x="858" y="517"/>
                    </a:moveTo>
                    <a:lnTo>
                      <a:pt x="856" y="517"/>
                    </a:lnTo>
                    <a:lnTo>
                      <a:pt x="858" y="515"/>
                    </a:lnTo>
                    <a:lnTo>
                      <a:pt x="858" y="517"/>
                    </a:lnTo>
                    <a:close/>
                    <a:moveTo>
                      <a:pt x="826" y="534"/>
                    </a:moveTo>
                    <a:lnTo>
                      <a:pt x="824" y="534"/>
                    </a:lnTo>
                    <a:lnTo>
                      <a:pt x="826" y="534"/>
                    </a:lnTo>
                    <a:close/>
                    <a:moveTo>
                      <a:pt x="1114" y="344"/>
                    </a:moveTo>
                    <a:lnTo>
                      <a:pt x="1114" y="346"/>
                    </a:lnTo>
                    <a:lnTo>
                      <a:pt x="1116" y="346"/>
                    </a:lnTo>
                    <a:lnTo>
                      <a:pt x="1116" y="344"/>
                    </a:lnTo>
                    <a:lnTo>
                      <a:pt x="1116" y="346"/>
                    </a:lnTo>
                    <a:lnTo>
                      <a:pt x="1114" y="346"/>
                    </a:lnTo>
                    <a:lnTo>
                      <a:pt x="1114" y="344"/>
                    </a:lnTo>
                    <a:close/>
                    <a:moveTo>
                      <a:pt x="870" y="507"/>
                    </a:moveTo>
                    <a:lnTo>
                      <a:pt x="872" y="507"/>
                    </a:lnTo>
                    <a:lnTo>
                      <a:pt x="870" y="507"/>
                    </a:lnTo>
                    <a:lnTo>
                      <a:pt x="872" y="507"/>
                    </a:lnTo>
                    <a:lnTo>
                      <a:pt x="870" y="507"/>
                    </a:lnTo>
                    <a:lnTo>
                      <a:pt x="870" y="509"/>
                    </a:lnTo>
                    <a:lnTo>
                      <a:pt x="868" y="507"/>
                    </a:lnTo>
                    <a:lnTo>
                      <a:pt x="870" y="507"/>
                    </a:lnTo>
                    <a:close/>
                    <a:moveTo>
                      <a:pt x="862" y="511"/>
                    </a:moveTo>
                    <a:lnTo>
                      <a:pt x="860" y="513"/>
                    </a:lnTo>
                    <a:lnTo>
                      <a:pt x="860" y="511"/>
                    </a:lnTo>
                    <a:lnTo>
                      <a:pt x="862" y="511"/>
                    </a:lnTo>
                    <a:close/>
                    <a:moveTo>
                      <a:pt x="860" y="511"/>
                    </a:moveTo>
                    <a:lnTo>
                      <a:pt x="860" y="513"/>
                    </a:lnTo>
                    <a:lnTo>
                      <a:pt x="858" y="513"/>
                    </a:lnTo>
                    <a:lnTo>
                      <a:pt x="860" y="511"/>
                    </a:lnTo>
                    <a:close/>
                    <a:moveTo>
                      <a:pt x="605" y="640"/>
                    </a:moveTo>
                    <a:lnTo>
                      <a:pt x="605" y="638"/>
                    </a:lnTo>
                    <a:lnTo>
                      <a:pt x="605" y="640"/>
                    </a:lnTo>
                    <a:lnTo>
                      <a:pt x="603" y="640"/>
                    </a:lnTo>
                    <a:lnTo>
                      <a:pt x="603" y="638"/>
                    </a:lnTo>
                    <a:lnTo>
                      <a:pt x="605" y="640"/>
                    </a:lnTo>
                    <a:close/>
                    <a:moveTo>
                      <a:pt x="1114" y="344"/>
                    </a:moveTo>
                    <a:lnTo>
                      <a:pt x="1112" y="344"/>
                    </a:lnTo>
                    <a:lnTo>
                      <a:pt x="1114" y="344"/>
                    </a:lnTo>
                    <a:lnTo>
                      <a:pt x="1114" y="346"/>
                    </a:lnTo>
                    <a:lnTo>
                      <a:pt x="1114" y="344"/>
                    </a:lnTo>
                    <a:lnTo>
                      <a:pt x="1112" y="344"/>
                    </a:lnTo>
                    <a:lnTo>
                      <a:pt x="1114" y="344"/>
                    </a:lnTo>
                    <a:close/>
                    <a:moveTo>
                      <a:pt x="1127" y="330"/>
                    </a:moveTo>
                    <a:lnTo>
                      <a:pt x="1129" y="330"/>
                    </a:lnTo>
                    <a:lnTo>
                      <a:pt x="1127" y="330"/>
                    </a:lnTo>
                    <a:close/>
                    <a:moveTo>
                      <a:pt x="603" y="638"/>
                    </a:moveTo>
                    <a:lnTo>
                      <a:pt x="605" y="638"/>
                    </a:lnTo>
                    <a:lnTo>
                      <a:pt x="603" y="638"/>
                    </a:lnTo>
                    <a:lnTo>
                      <a:pt x="605" y="638"/>
                    </a:lnTo>
                    <a:lnTo>
                      <a:pt x="603" y="638"/>
                    </a:lnTo>
                    <a:close/>
                    <a:moveTo>
                      <a:pt x="1112" y="342"/>
                    </a:moveTo>
                    <a:lnTo>
                      <a:pt x="1112" y="344"/>
                    </a:lnTo>
                    <a:lnTo>
                      <a:pt x="1112" y="342"/>
                    </a:lnTo>
                    <a:lnTo>
                      <a:pt x="1114" y="342"/>
                    </a:lnTo>
                    <a:lnTo>
                      <a:pt x="1112" y="344"/>
                    </a:lnTo>
                    <a:lnTo>
                      <a:pt x="1112" y="342"/>
                    </a:lnTo>
                    <a:close/>
                    <a:moveTo>
                      <a:pt x="605" y="638"/>
                    </a:moveTo>
                    <a:lnTo>
                      <a:pt x="603" y="638"/>
                    </a:lnTo>
                    <a:lnTo>
                      <a:pt x="603" y="636"/>
                    </a:lnTo>
                    <a:lnTo>
                      <a:pt x="605" y="636"/>
                    </a:lnTo>
                    <a:lnTo>
                      <a:pt x="605" y="638"/>
                    </a:lnTo>
                    <a:close/>
                    <a:moveTo>
                      <a:pt x="1131" y="329"/>
                    </a:moveTo>
                    <a:lnTo>
                      <a:pt x="1133" y="329"/>
                    </a:lnTo>
                    <a:lnTo>
                      <a:pt x="1133" y="327"/>
                    </a:lnTo>
                    <a:lnTo>
                      <a:pt x="1135" y="327"/>
                    </a:lnTo>
                    <a:lnTo>
                      <a:pt x="1135" y="329"/>
                    </a:lnTo>
                    <a:lnTo>
                      <a:pt x="1135" y="327"/>
                    </a:lnTo>
                    <a:lnTo>
                      <a:pt x="1137" y="327"/>
                    </a:lnTo>
                    <a:lnTo>
                      <a:pt x="1135" y="329"/>
                    </a:lnTo>
                    <a:lnTo>
                      <a:pt x="1133" y="329"/>
                    </a:lnTo>
                    <a:lnTo>
                      <a:pt x="1131" y="330"/>
                    </a:lnTo>
                    <a:lnTo>
                      <a:pt x="1129" y="330"/>
                    </a:lnTo>
                    <a:lnTo>
                      <a:pt x="1127" y="330"/>
                    </a:lnTo>
                    <a:lnTo>
                      <a:pt x="1127" y="329"/>
                    </a:lnTo>
                    <a:lnTo>
                      <a:pt x="1127" y="330"/>
                    </a:lnTo>
                    <a:lnTo>
                      <a:pt x="1129" y="329"/>
                    </a:lnTo>
                    <a:lnTo>
                      <a:pt x="1131" y="329"/>
                    </a:lnTo>
                    <a:close/>
                    <a:moveTo>
                      <a:pt x="1097" y="354"/>
                    </a:moveTo>
                    <a:lnTo>
                      <a:pt x="1097" y="352"/>
                    </a:lnTo>
                    <a:lnTo>
                      <a:pt x="1099" y="352"/>
                    </a:lnTo>
                    <a:lnTo>
                      <a:pt x="1097" y="352"/>
                    </a:lnTo>
                    <a:lnTo>
                      <a:pt x="1097" y="354"/>
                    </a:lnTo>
                    <a:lnTo>
                      <a:pt x="1097" y="352"/>
                    </a:lnTo>
                    <a:lnTo>
                      <a:pt x="1097" y="354"/>
                    </a:lnTo>
                    <a:close/>
                    <a:moveTo>
                      <a:pt x="580" y="646"/>
                    </a:moveTo>
                    <a:lnTo>
                      <a:pt x="580" y="648"/>
                    </a:lnTo>
                    <a:lnTo>
                      <a:pt x="580" y="646"/>
                    </a:lnTo>
                    <a:close/>
                    <a:moveTo>
                      <a:pt x="1099" y="350"/>
                    </a:moveTo>
                    <a:lnTo>
                      <a:pt x="1099" y="352"/>
                    </a:lnTo>
                    <a:lnTo>
                      <a:pt x="1099" y="350"/>
                    </a:lnTo>
                    <a:close/>
                    <a:moveTo>
                      <a:pt x="603" y="636"/>
                    </a:moveTo>
                    <a:lnTo>
                      <a:pt x="605" y="636"/>
                    </a:lnTo>
                    <a:lnTo>
                      <a:pt x="603" y="636"/>
                    </a:lnTo>
                    <a:lnTo>
                      <a:pt x="603" y="638"/>
                    </a:lnTo>
                    <a:lnTo>
                      <a:pt x="603" y="636"/>
                    </a:lnTo>
                    <a:close/>
                    <a:moveTo>
                      <a:pt x="1156" y="305"/>
                    </a:moveTo>
                    <a:lnTo>
                      <a:pt x="1154" y="307"/>
                    </a:lnTo>
                    <a:lnTo>
                      <a:pt x="1154" y="309"/>
                    </a:lnTo>
                    <a:lnTo>
                      <a:pt x="1152" y="309"/>
                    </a:lnTo>
                    <a:lnTo>
                      <a:pt x="1154" y="307"/>
                    </a:lnTo>
                    <a:lnTo>
                      <a:pt x="1154" y="305"/>
                    </a:lnTo>
                    <a:lnTo>
                      <a:pt x="1156" y="305"/>
                    </a:lnTo>
                    <a:close/>
                    <a:moveTo>
                      <a:pt x="1160" y="305"/>
                    </a:moveTo>
                    <a:lnTo>
                      <a:pt x="1160" y="304"/>
                    </a:lnTo>
                    <a:lnTo>
                      <a:pt x="1160" y="302"/>
                    </a:lnTo>
                    <a:lnTo>
                      <a:pt x="1160" y="304"/>
                    </a:lnTo>
                    <a:lnTo>
                      <a:pt x="1160" y="305"/>
                    </a:lnTo>
                    <a:close/>
                    <a:moveTo>
                      <a:pt x="1097" y="352"/>
                    </a:moveTo>
                    <a:lnTo>
                      <a:pt x="1097" y="350"/>
                    </a:lnTo>
                    <a:lnTo>
                      <a:pt x="1099" y="350"/>
                    </a:lnTo>
                    <a:lnTo>
                      <a:pt x="1097" y="352"/>
                    </a:lnTo>
                    <a:lnTo>
                      <a:pt x="1097" y="354"/>
                    </a:lnTo>
                    <a:lnTo>
                      <a:pt x="1097" y="352"/>
                    </a:lnTo>
                    <a:lnTo>
                      <a:pt x="1095" y="352"/>
                    </a:lnTo>
                    <a:lnTo>
                      <a:pt x="1097" y="352"/>
                    </a:lnTo>
                    <a:lnTo>
                      <a:pt x="1095" y="352"/>
                    </a:lnTo>
                    <a:lnTo>
                      <a:pt x="1097" y="352"/>
                    </a:lnTo>
                    <a:lnTo>
                      <a:pt x="1097" y="350"/>
                    </a:lnTo>
                    <a:lnTo>
                      <a:pt x="1097" y="352"/>
                    </a:lnTo>
                    <a:close/>
                    <a:moveTo>
                      <a:pt x="601" y="634"/>
                    </a:moveTo>
                    <a:lnTo>
                      <a:pt x="603" y="636"/>
                    </a:lnTo>
                    <a:lnTo>
                      <a:pt x="601" y="636"/>
                    </a:lnTo>
                    <a:lnTo>
                      <a:pt x="601" y="634"/>
                    </a:lnTo>
                    <a:close/>
                    <a:moveTo>
                      <a:pt x="603" y="634"/>
                    </a:moveTo>
                    <a:lnTo>
                      <a:pt x="601" y="634"/>
                    </a:lnTo>
                    <a:lnTo>
                      <a:pt x="603" y="634"/>
                    </a:lnTo>
                    <a:close/>
                    <a:moveTo>
                      <a:pt x="355" y="723"/>
                    </a:moveTo>
                    <a:lnTo>
                      <a:pt x="357" y="725"/>
                    </a:lnTo>
                    <a:lnTo>
                      <a:pt x="355" y="725"/>
                    </a:lnTo>
                    <a:lnTo>
                      <a:pt x="357" y="725"/>
                    </a:lnTo>
                    <a:lnTo>
                      <a:pt x="357" y="726"/>
                    </a:lnTo>
                    <a:lnTo>
                      <a:pt x="355" y="725"/>
                    </a:lnTo>
                    <a:lnTo>
                      <a:pt x="355" y="723"/>
                    </a:lnTo>
                    <a:close/>
                    <a:moveTo>
                      <a:pt x="572" y="648"/>
                    </a:moveTo>
                    <a:lnTo>
                      <a:pt x="572" y="646"/>
                    </a:lnTo>
                    <a:lnTo>
                      <a:pt x="572" y="648"/>
                    </a:lnTo>
                    <a:close/>
                    <a:moveTo>
                      <a:pt x="1106" y="340"/>
                    </a:moveTo>
                    <a:lnTo>
                      <a:pt x="1108" y="340"/>
                    </a:lnTo>
                    <a:lnTo>
                      <a:pt x="1106" y="340"/>
                    </a:lnTo>
                    <a:lnTo>
                      <a:pt x="1108" y="340"/>
                    </a:lnTo>
                    <a:lnTo>
                      <a:pt x="1106" y="340"/>
                    </a:lnTo>
                    <a:close/>
                    <a:moveTo>
                      <a:pt x="1102" y="342"/>
                    </a:moveTo>
                    <a:lnTo>
                      <a:pt x="1102" y="344"/>
                    </a:lnTo>
                    <a:lnTo>
                      <a:pt x="1102" y="342"/>
                    </a:lnTo>
                    <a:close/>
                    <a:moveTo>
                      <a:pt x="1160" y="302"/>
                    </a:moveTo>
                    <a:lnTo>
                      <a:pt x="1158" y="302"/>
                    </a:lnTo>
                    <a:lnTo>
                      <a:pt x="1158" y="300"/>
                    </a:lnTo>
                    <a:lnTo>
                      <a:pt x="1158" y="298"/>
                    </a:lnTo>
                    <a:lnTo>
                      <a:pt x="1158" y="300"/>
                    </a:lnTo>
                    <a:lnTo>
                      <a:pt x="1160" y="300"/>
                    </a:lnTo>
                    <a:lnTo>
                      <a:pt x="1160" y="302"/>
                    </a:lnTo>
                    <a:close/>
                    <a:moveTo>
                      <a:pt x="601" y="632"/>
                    </a:moveTo>
                    <a:lnTo>
                      <a:pt x="601" y="634"/>
                    </a:lnTo>
                    <a:lnTo>
                      <a:pt x="599" y="634"/>
                    </a:lnTo>
                    <a:lnTo>
                      <a:pt x="601" y="634"/>
                    </a:lnTo>
                    <a:lnTo>
                      <a:pt x="601" y="632"/>
                    </a:lnTo>
                    <a:lnTo>
                      <a:pt x="599" y="632"/>
                    </a:lnTo>
                    <a:lnTo>
                      <a:pt x="601" y="632"/>
                    </a:lnTo>
                    <a:close/>
                    <a:moveTo>
                      <a:pt x="1120" y="327"/>
                    </a:moveTo>
                    <a:lnTo>
                      <a:pt x="1122" y="329"/>
                    </a:lnTo>
                    <a:lnTo>
                      <a:pt x="1124" y="329"/>
                    </a:lnTo>
                    <a:lnTo>
                      <a:pt x="1125" y="329"/>
                    </a:lnTo>
                    <a:lnTo>
                      <a:pt x="1127" y="329"/>
                    </a:lnTo>
                    <a:lnTo>
                      <a:pt x="1125" y="329"/>
                    </a:lnTo>
                    <a:lnTo>
                      <a:pt x="1124" y="329"/>
                    </a:lnTo>
                    <a:lnTo>
                      <a:pt x="1124" y="330"/>
                    </a:lnTo>
                    <a:lnTo>
                      <a:pt x="1122" y="330"/>
                    </a:lnTo>
                    <a:lnTo>
                      <a:pt x="1124" y="330"/>
                    </a:lnTo>
                    <a:lnTo>
                      <a:pt x="1125" y="330"/>
                    </a:lnTo>
                    <a:lnTo>
                      <a:pt x="1127" y="330"/>
                    </a:lnTo>
                    <a:lnTo>
                      <a:pt x="1129" y="330"/>
                    </a:lnTo>
                    <a:lnTo>
                      <a:pt x="1131" y="330"/>
                    </a:lnTo>
                    <a:lnTo>
                      <a:pt x="1129" y="330"/>
                    </a:lnTo>
                    <a:lnTo>
                      <a:pt x="1127" y="330"/>
                    </a:lnTo>
                    <a:lnTo>
                      <a:pt x="1125" y="330"/>
                    </a:lnTo>
                    <a:lnTo>
                      <a:pt x="1124" y="330"/>
                    </a:lnTo>
                    <a:lnTo>
                      <a:pt x="1122" y="332"/>
                    </a:lnTo>
                    <a:lnTo>
                      <a:pt x="1124" y="332"/>
                    </a:lnTo>
                    <a:lnTo>
                      <a:pt x="1122" y="332"/>
                    </a:lnTo>
                    <a:lnTo>
                      <a:pt x="1120" y="332"/>
                    </a:lnTo>
                    <a:lnTo>
                      <a:pt x="1120" y="334"/>
                    </a:lnTo>
                    <a:lnTo>
                      <a:pt x="1118" y="334"/>
                    </a:lnTo>
                    <a:lnTo>
                      <a:pt x="1118" y="332"/>
                    </a:lnTo>
                    <a:lnTo>
                      <a:pt x="1118" y="330"/>
                    </a:lnTo>
                    <a:lnTo>
                      <a:pt x="1120" y="330"/>
                    </a:lnTo>
                    <a:lnTo>
                      <a:pt x="1120" y="329"/>
                    </a:lnTo>
                    <a:lnTo>
                      <a:pt x="1120" y="327"/>
                    </a:lnTo>
                    <a:close/>
                    <a:moveTo>
                      <a:pt x="1158" y="296"/>
                    </a:moveTo>
                    <a:lnTo>
                      <a:pt x="1160" y="296"/>
                    </a:lnTo>
                    <a:lnTo>
                      <a:pt x="1162" y="296"/>
                    </a:lnTo>
                    <a:lnTo>
                      <a:pt x="1162" y="298"/>
                    </a:lnTo>
                    <a:lnTo>
                      <a:pt x="1160" y="298"/>
                    </a:lnTo>
                    <a:lnTo>
                      <a:pt x="1160" y="300"/>
                    </a:lnTo>
                    <a:lnTo>
                      <a:pt x="1160" y="298"/>
                    </a:lnTo>
                    <a:lnTo>
                      <a:pt x="1158" y="298"/>
                    </a:lnTo>
                    <a:lnTo>
                      <a:pt x="1158" y="296"/>
                    </a:lnTo>
                    <a:close/>
                    <a:moveTo>
                      <a:pt x="597" y="630"/>
                    </a:moveTo>
                    <a:lnTo>
                      <a:pt x="599" y="630"/>
                    </a:lnTo>
                    <a:lnTo>
                      <a:pt x="599" y="632"/>
                    </a:lnTo>
                    <a:lnTo>
                      <a:pt x="597" y="632"/>
                    </a:lnTo>
                    <a:lnTo>
                      <a:pt x="597" y="630"/>
                    </a:lnTo>
                    <a:close/>
                    <a:moveTo>
                      <a:pt x="426" y="696"/>
                    </a:moveTo>
                    <a:lnTo>
                      <a:pt x="428" y="696"/>
                    </a:lnTo>
                    <a:lnTo>
                      <a:pt x="426" y="696"/>
                    </a:lnTo>
                    <a:close/>
                    <a:moveTo>
                      <a:pt x="407" y="701"/>
                    </a:moveTo>
                    <a:lnTo>
                      <a:pt x="409" y="701"/>
                    </a:lnTo>
                    <a:lnTo>
                      <a:pt x="407" y="701"/>
                    </a:lnTo>
                    <a:close/>
                    <a:moveTo>
                      <a:pt x="597" y="630"/>
                    </a:moveTo>
                    <a:lnTo>
                      <a:pt x="595" y="630"/>
                    </a:lnTo>
                    <a:lnTo>
                      <a:pt x="597" y="630"/>
                    </a:lnTo>
                    <a:close/>
                    <a:moveTo>
                      <a:pt x="1104" y="336"/>
                    </a:moveTo>
                    <a:lnTo>
                      <a:pt x="1106" y="336"/>
                    </a:lnTo>
                    <a:lnTo>
                      <a:pt x="1104" y="336"/>
                    </a:lnTo>
                    <a:close/>
                    <a:moveTo>
                      <a:pt x="595" y="630"/>
                    </a:moveTo>
                    <a:lnTo>
                      <a:pt x="593" y="630"/>
                    </a:lnTo>
                    <a:lnTo>
                      <a:pt x="595" y="630"/>
                    </a:lnTo>
                    <a:close/>
                    <a:moveTo>
                      <a:pt x="593" y="630"/>
                    </a:moveTo>
                    <a:lnTo>
                      <a:pt x="595" y="630"/>
                    </a:lnTo>
                    <a:lnTo>
                      <a:pt x="593" y="630"/>
                    </a:lnTo>
                    <a:close/>
                    <a:moveTo>
                      <a:pt x="1100" y="338"/>
                    </a:moveTo>
                    <a:lnTo>
                      <a:pt x="1100" y="336"/>
                    </a:lnTo>
                    <a:lnTo>
                      <a:pt x="1100" y="338"/>
                    </a:lnTo>
                    <a:close/>
                    <a:moveTo>
                      <a:pt x="876" y="488"/>
                    </a:moveTo>
                    <a:lnTo>
                      <a:pt x="874" y="488"/>
                    </a:lnTo>
                    <a:lnTo>
                      <a:pt x="876" y="488"/>
                    </a:lnTo>
                    <a:lnTo>
                      <a:pt x="876" y="486"/>
                    </a:lnTo>
                    <a:lnTo>
                      <a:pt x="876" y="488"/>
                    </a:lnTo>
                    <a:close/>
                    <a:moveTo>
                      <a:pt x="1156" y="292"/>
                    </a:moveTo>
                    <a:lnTo>
                      <a:pt x="1156" y="294"/>
                    </a:lnTo>
                    <a:lnTo>
                      <a:pt x="1156" y="292"/>
                    </a:lnTo>
                    <a:close/>
                    <a:moveTo>
                      <a:pt x="593" y="628"/>
                    </a:moveTo>
                    <a:lnTo>
                      <a:pt x="593" y="630"/>
                    </a:lnTo>
                    <a:lnTo>
                      <a:pt x="593" y="628"/>
                    </a:lnTo>
                    <a:lnTo>
                      <a:pt x="591" y="628"/>
                    </a:lnTo>
                    <a:lnTo>
                      <a:pt x="593" y="628"/>
                    </a:lnTo>
                    <a:close/>
                    <a:moveTo>
                      <a:pt x="591" y="628"/>
                    </a:moveTo>
                    <a:lnTo>
                      <a:pt x="593" y="628"/>
                    </a:lnTo>
                    <a:lnTo>
                      <a:pt x="591" y="628"/>
                    </a:lnTo>
                    <a:close/>
                    <a:moveTo>
                      <a:pt x="1160" y="288"/>
                    </a:moveTo>
                    <a:lnTo>
                      <a:pt x="1158" y="288"/>
                    </a:lnTo>
                    <a:lnTo>
                      <a:pt x="1158" y="290"/>
                    </a:lnTo>
                    <a:lnTo>
                      <a:pt x="1158" y="292"/>
                    </a:lnTo>
                    <a:lnTo>
                      <a:pt x="1156" y="292"/>
                    </a:lnTo>
                    <a:lnTo>
                      <a:pt x="1156" y="290"/>
                    </a:lnTo>
                    <a:lnTo>
                      <a:pt x="1158" y="290"/>
                    </a:lnTo>
                    <a:lnTo>
                      <a:pt x="1158" y="288"/>
                    </a:lnTo>
                    <a:lnTo>
                      <a:pt x="1160" y="288"/>
                    </a:lnTo>
                    <a:close/>
                    <a:moveTo>
                      <a:pt x="1154" y="294"/>
                    </a:moveTo>
                    <a:lnTo>
                      <a:pt x="1154" y="292"/>
                    </a:lnTo>
                    <a:lnTo>
                      <a:pt x="1154" y="290"/>
                    </a:lnTo>
                    <a:lnTo>
                      <a:pt x="1156" y="292"/>
                    </a:lnTo>
                    <a:lnTo>
                      <a:pt x="1154" y="294"/>
                    </a:lnTo>
                    <a:close/>
                    <a:moveTo>
                      <a:pt x="593" y="625"/>
                    </a:moveTo>
                    <a:lnTo>
                      <a:pt x="593" y="627"/>
                    </a:lnTo>
                    <a:lnTo>
                      <a:pt x="593" y="625"/>
                    </a:lnTo>
                    <a:lnTo>
                      <a:pt x="593" y="627"/>
                    </a:lnTo>
                    <a:lnTo>
                      <a:pt x="591" y="627"/>
                    </a:lnTo>
                    <a:lnTo>
                      <a:pt x="591" y="625"/>
                    </a:lnTo>
                    <a:lnTo>
                      <a:pt x="593" y="625"/>
                    </a:lnTo>
                    <a:close/>
                    <a:moveTo>
                      <a:pt x="591" y="625"/>
                    </a:moveTo>
                    <a:lnTo>
                      <a:pt x="591" y="627"/>
                    </a:lnTo>
                    <a:lnTo>
                      <a:pt x="591" y="625"/>
                    </a:lnTo>
                    <a:close/>
                    <a:moveTo>
                      <a:pt x="591" y="625"/>
                    </a:moveTo>
                    <a:lnTo>
                      <a:pt x="591" y="623"/>
                    </a:lnTo>
                    <a:lnTo>
                      <a:pt x="591" y="625"/>
                    </a:lnTo>
                    <a:lnTo>
                      <a:pt x="591" y="623"/>
                    </a:lnTo>
                    <a:lnTo>
                      <a:pt x="591" y="625"/>
                    </a:lnTo>
                    <a:close/>
                    <a:moveTo>
                      <a:pt x="1158" y="284"/>
                    </a:moveTo>
                    <a:lnTo>
                      <a:pt x="1158" y="286"/>
                    </a:lnTo>
                    <a:lnTo>
                      <a:pt x="1158" y="284"/>
                    </a:lnTo>
                    <a:lnTo>
                      <a:pt x="1156" y="282"/>
                    </a:lnTo>
                    <a:lnTo>
                      <a:pt x="1158" y="282"/>
                    </a:lnTo>
                    <a:lnTo>
                      <a:pt x="1158" y="284"/>
                    </a:lnTo>
                    <a:close/>
                    <a:moveTo>
                      <a:pt x="593" y="623"/>
                    </a:moveTo>
                    <a:lnTo>
                      <a:pt x="591" y="623"/>
                    </a:lnTo>
                    <a:lnTo>
                      <a:pt x="593" y="623"/>
                    </a:lnTo>
                    <a:close/>
                    <a:moveTo>
                      <a:pt x="591" y="623"/>
                    </a:moveTo>
                    <a:lnTo>
                      <a:pt x="591" y="621"/>
                    </a:lnTo>
                    <a:lnTo>
                      <a:pt x="591" y="623"/>
                    </a:lnTo>
                    <a:close/>
                    <a:moveTo>
                      <a:pt x="1156" y="284"/>
                    </a:moveTo>
                    <a:lnTo>
                      <a:pt x="1158" y="284"/>
                    </a:lnTo>
                    <a:lnTo>
                      <a:pt x="1158" y="286"/>
                    </a:lnTo>
                    <a:lnTo>
                      <a:pt x="1160" y="286"/>
                    </a:lnTo>
                    <a:lnTo>
                      <a:pt x="1158" y="288"/>
                    </a:lnTo>
                    <a:lnTo>
                      <a:pt x="1158" y="290"/>
                    </a:lnTo>
                    <a:lnTo>
                      <a:pt x="1156" y="290"/>
                    </a:lnTo>
                    <a:lnTo>
                      <a:pt x="1156" y="288"/>
                    </a:lnTo>
                    <a:lnTo>
                      <a:pt x="1156" y="286"/>
                    </a:lnTo>
                    <a:lnTo>
                      <a:pt x="1158" y="286"/>
                    </a:lnTo>
                    <a:lnTo>
                      <a:pt x="1156" y="284"/>
                    </a:lnTo>
                    <a:lnTo>
                      <a:pt x="1154" y="284"/>
                    </a:lnTo>
                    <a:lnTo>
                      <a:pt x="1154" y="282"/>
                    </a:lnTo>
                    <a:lnTo>
                      <a:pt x="1156" y="284"/>
                    </a:lnTo>
                    <a:close/>
                    <a:moveTo>
                      <a:pt x="378" y="700"/>
                    </a:moveTo>
                    <a:lnTo>
                      <a:pt x="378" y="698"/>
                    </a:lnTo>
                    <a:lnTo>
                      <a:pt x="378" y="700"/>
                    </a:lnTo>
                    <a:close/>
                    <a:moveTo>
                      <a:pt x="872" y="477"/>
                    </a:moveTo>
                    <a:lnTo>
                      <a:pt x="874" y="477"/>
                    </a:lnTo>
                    <a:lnTo>
                      <a:pt x="874" y="478"/>
                    </a:lnTo>
                    <a:lnTo>
                      <a:pt x="872" y="478"/>
                    </a:lnTo>
                    <a:lnTo>
                      <a:pt x="872" y="477"/>
                    </a:lnTo>
                    <a:close/>
                    <a:moveTo>
                      <a:pt x="591" y="617"/>
                    </a:moveTo>
                    <a:lnTo>
                      <a:pt x="591" y="619"/>
                    </a:lnTo>
                    <a:lnTo>
                      <a:pt x="591" y="617"/>
                    </a:lnTo>
                    <a:lnTo>
                      <a:pt x="591" y="619"/>
                    </a:lnTo>
                    <a:lnTo>
                      <a:pt x="591" y="617"/>
                    </a:lnTo>
                    <a:close/>
                    <a:moveTo>
                      <a:pt x="1148" y="284"/>
                    </a:moveTo>
                    <a:lnTo>
                      <a:pt x="1147" y="284"/>
                    </a:lnTo>
                    <a:lnTo>
                      <a:pt x="1148" y="284"/>
                    </a:lnTo>
                    <a:close/>
                    <a:moveTo>
                      <a:pt x="870" y="477"/>
                    </a:moveTo>
                    <a:lnTo>
                      <a:pt x="872" y="477"/>
                    </a:lnTo>
                    <a:lnTo>
                      <a:pt x="870" y="477"/>
                    </a:lnTo>
                    <a:lnTo>
                      <a:pt x="870" y="475"/>
                    </a:lnTo>
                    <a:lnTo>
                      <a:pt x="870" y="477"/>
                    </a:lnTo>
                    <a:close/>
                    <a:moveTo>
                      <a:pt x="1148" y="284"/>
                    </a:moveTo>
                    <a:lnTo>
                      <a:pt x="1150" y="284"/>
                    </a:lnTo>
                    <a:lnTo>
                      <a:pt x="1152" y="284"/>
                    </a:lnTo>
                    <a:lnTo>
                      <a:pt x="1152" y="286"/>
                    </a:lnTo>
                    <a:lnTo>
                      <a:pt x="1150" y="286"/>
                    </a:lnTo>
                    <a:lnTo>
                      <a:pt x="1150" y="284"/>
                    </a:lnTo>
                    <a:lnTo>
                      <a:pt x="1148" y="284"/>
                    </a:lnTo>
                    <a:lnTo>
                      <a:pt x="1147" y="284"/>
                    </a:lnTo>
                    <a:lnTo>
                      <a:pt x="1148" y="284"/>
                    </a:lnTo>
                    <a:close/>
                    <a:moveTo>
                      <a:pt x="1147" y="284"/>
                    </a:moveTo>
                    <a:lnTo>
                      <a:pt x="1145" y="284"/>
                    </a:lnTo>
                    <a:lnTo>
                      <a:pt x="1147" y="284"/>
                    </a:lnTo>
                    <a:close/>
                    <a:moveTo>
                      <a:pt x="589" y="617"/>
                    </a:moveTo>
                    <a:lnTo>
                      <a:pt x="589" y="615"/>
                    </a:lnTo>
                    <a:lnTo>
                      <a:pt x="589" y="617"/>
                    </a:lnTo>
                    <a:close/>
                    <a:moveTo>
                      <a:pt x="588" y="613"/>
                    </a:moveTo>
                    <a:lnTo>
                      <a:pt x="588" y="615"/>
                    </a:lnTo>
                    <a:lnTo>
                      <a:pt x="589" y="615"/>
                    </a:lnTo>
                    <a:lnTo>
                      <a:pt x="588" y="615"/>
                    </a:lnTo>
                    <a:lnTo>
                      <a:pt x="589" y="615"/>
                    </a:lnTo>
                    <a:lnTo>
                      <a:pt x="589" y="617"/>
                    </a:lnTo>
                    <a:lnTo>
                      <a:pt x="588" y="615"/>
                    </a:lnTo>
                    <a:lnTo>
                      <a:pt x="588" y="613"/>
                    </a:lnTo>
                    <a:close/>
                    <a:moveTo>
                      <a:pt x="870" y="471"/>
                    </a:moveTo>
                    <a:lnTo>
                      <a:pt x="870" y="473"/>
                    </a:lnTo>
                    <a:lnTo>
                      <a:pt x="870" y="471"/>
                    </a:lnTo>
                    <a:close/>
                    <a:moveTo>
                      <a:pt x="588" y="611"/>
                    </a:moveTo>
                    <a:lnTo>
                      <a:pt x="589" y="611"/>
                    </a:lnTo>
                    <a:lnTo>
                      <a:pt x="588" y="611"/>
                    </a:lnTo>
                    <a:lnTo>
                      <a:pt x="589" y="611"/>
                    </a:lnTo>
                    <a:lnTo>
                      <a:pt x="589" y="613"/>
                    </a:lnTo>
                    <a:lnTo>
                      <a:pt x="588" y="613"/>
                    </a:lnTo>
                    <a:lnTo>
                      <a:pt x="588" y="611"/>
                    </a:lnTo>
                    <a:close/>
                    <a:moveTo>
                      <a:pt x="1139" y="282"/>
                    </a:moveTo>
                    <a:lnTo>
                      <a:pt x="1141" y="282"/>
                    </a:lnTo>
                    <a:lnTo>
                      <a:pt x="1141" y="284"/>
                    </a:lnTo>
                    <a:lnTo>
                      <a:pt x="1143" y="284"/>
                    </a:lnTo>
                    <a:lnTo>
                      <a:pt x="1141" y="286"/>
                    </a:lnTo>
                    <a:lnTo>
                      <a:pt x="1139" y="286"/>
                    </a:lnTo>
                    <a:lnTo>
                      <a:pt x="1139" y="284"/>
                    </a:lnTo>
                    <a:lnTo>
                      <a:pt x="1139" y="282"/>
                    </a:lnTo>
                    <a:close/>
                    <a:moveTo>
                      <a:pt x="588" y="611"/>
                    </a:moveTo>
                    <a:lnTo>
                      <a:pt x="588" y="613"/>
                    </a:lnTo>
                    <a:lnTo>
                      <a:pt x="586" y="611"/>
                    </a:lnTo>
                    <a:lnTo>
                      <a:pt x="586" y="613"/>
                    </a:lnTo>
                    <a:lnTo>
                      <a:pt x="586" y="611"/>
                    </a:lnTo>
                    <a:lnTo>
                      <a:pt x="588" y="611"/>
                    </a:lnTo>
                    <a:close/>
                    <a:moveTo>
                      <a:pt x="1147" y="277"/>
                    </a:moveTo>
                    <a:lnTo>
                      <a:pt x="1147" y="275"/>
                    </a:lnTo>
                    <a:lnTo>
                      <a:pt x="1147" y="277"/>
                    </a:lnTo>
                    <a:close/>
                    <a:moveTo>
                      <a:pt x="588" y="609"/>
                    </a:moveTo>
                    <a:lnTo>
                      <a:pt x="588" y="611"/>
                    </a:lnTo>
                    <a:lnTo>
                      <a:pt x="586" y="611"/>
                    </a:lnTo>
                    <a:lnTo>
                      <a:pt x="586" y="609"/>
                    </a:lnTo>
                    <a:lnTo>
                      <a:pt x="588" y="611"/>
                    </a:lnTo>
                    <a:lnTo>
                      <a:pt x="588" y="609"/>
                    </a:lnTo>
                    <a:close/>
                    <a:moveTo>
                      <a:pt x="586" y="609"/>
                    </a:moveTo>
                    <a:lnTo>
                      <a:pt x="588" y="609"/>
                    </a:lnTo>
                    <a:lnTo>
                      <a:pt x="586" y="611"/>
                    </a:lnTo>
                    <a:lnTo>
                      <a:pt x="586" y="609"/>
                    </a:lnTo>
                    <a:lnTo>
                      <a:pt x="586" y="611"/>
                    </a:lnTo>
                    <a:lnTo>
                      <a:pt x="586" y="609"/>
                    </a:lnTo>
                    <a:close/>
                    <a:moveTo>
                      <a:pt x="588" y="609"/>
                    </a:moveTo>
                    <a:lnTo>
                      <a:pt x="586" y="609"/>
                    </a:lnTo>
                    <a:lnTo>
                      <a:pt x="588" y="609"/>
                    </a:lnTo>
                    <a:close/>
                    <a:moveTo>
                      <a:pt x="1147" y="277"/>
                    </a:moveTo>
                    <a:lnTo>
                      <a:pt x="1145" y="277"/>
                    </a:lnTo>
                    <a:lnTo>
                      <a:pt x="1145" y="275"/>
                    </a:lnTo>
                    <a:lnTo>
                      <a:pt x="1147" y="275"/>
                    </a:lnTo>
                    <a:lnTo>
                      <a:pt x="1147" y="277"/>
                    </a:lnTo>
                    <a:close/>
                    <a:moveTo>
                      <a:pt x="586" y="607"/>
                    </a:moveTo>
                    <a:lnTo>
                      <a:pt x="586" y="609"/>
                    </a:lnTo>
                    <a:lnTo>
                      <a:pt x="586" y="607"/>
                    </a:lnTo>
                    <a:close/>
                    <a:moveTo>
                      <a:pt x="588" y="607"/>
                    </a:moveTo>
                    <a:lnTo>
                      <a:pt x="588" y="609"/>
                    </a:lnTo>
                    <a:lnTo>
                      <a:pt x="586" y="609"/>
                    </a:lnTo>
                    <a:lnTo>
                      <a:pt x="586" y="607"/>
                    </a:lnTo>
                    <a:lnTo>
                      <a:pt x="588" y="607"/>
                    </a:lnTo>
                    <a:lnTo>
                      <a:pt x="586" y="607"/>
                    </a:lnTo>
                    <a:lnTo>
                      <a:pt x="588" y="607"/>
                    </a:lnTo>
                    <a:close/>
                    <a:moveTo>
                      <a:pt x="355" y="692"/>
                    </a:moveTo>
                    <a:lnTo>
                      <a:pt x="355" y="694"/>
                    </a:lnTo>
                    <a:lnTo>
                      <a:pt x="353" y="694"/>
                    </a:lnTo>
                    <a:lnTo>
                      <a:pt x="353" y="692"/>
                    </a:lnTo>
                    <a:lnTo>
                      <a:pt x="355" y="692"/>
                    </a:lnTo>
                    <a:lnTo>
                      <a:pt x="355" y="690"/>
                    </a:lnTo>
                    <a:lnTo>
                      <a:pt x="355" y="692"/>
                    </a:lnTo>
                    <a:close/>
                    <a:moveTo>
                      <a:pt x="870" y="467"/>
                    </a:moveTo>
                    <a:lnTo>
                      <a:pt x="868" y="467"/>
                    </a:lnTo>
                    <a:lnTo>
                      <a:pt x="868" y="465"/>
                    </a:lnTo>
                    <a:lnTo>
                      <a:pt x="866" y="465"/>
                    </a:lnTo>
                    <a:lnTo>
                      <a:pt x="868" y="465"/>
                    </a:lnTo>
                    <a:lnTo>
                      <a:pt x="870" y="465"/>
                    </a:lnTo>
                    <a:lnTo>
                      <a:pt x="870" y="467"/>
                    </a:lnTo>
                    <a:close/>
                    <a:moveTo>
                      <a:pt x="588" y="605"/>
                    </a:moveTo>
                    <a:lnTo>
                      <a:pt x="588" y="607"/>
                    </a:lnTo>
                    <a:lnTo>
                      <a:pt x="586" y="607"/>
                    </a:lnTo>
                    <a:lnTo>
                      <a:pt x="586" y="605"/>
                    </a:lnTo>
                    <a:lnTo>
                      <a:pt x="588" y="605"/>
                    </a:lnTo>
                    <a:close/>
                    <a:moveTo>
                      <a:pt x="1143" y="271"/>
                    </a:moveTo>
                    <a:lnTo>
                      <a:pt x="1143" y="273"/>
                    </a:lnTo>
                    <a:lnTo>
                      <a:pt x="1143" y="271"/>
                    </a:lnTo>
                    <a:close/>
                    <a:moveTo>
                      <a:pt x="1143" y="273"/>
                    </a:moveTo>
                    <a:lnTo>
                      <a:pt x="1141" y="273"/>
                    </a:lnTo>
                    <a:lnTo>
                      <a:pt x="1141" y="271"/>
                    </a:lnTo>
                    <a:lnTo>
                      <a:pt x="1141" y="273"/>
                    </a:lnTo>
                    <a:lnTo>
                      <a:pt x="1143" y="273"/>
                    </a:lnTo>
                    <a:close/>
                    <a:moveTo>
                      <a:pt x="584" y="603"/>
                    </a:moveTo>
                    <a:lnTo>
                      <a:pt x="586" y="603"/>
                    </a:lnTo>
                    <a:lnTo>
                      <a:pt x="586" y="605"/>
                    </a:lnTo>
                    <a:lnTo>
                      <a:pt x="586" y="603"/>
                    </a:lnTo>
                    <a:lnTo>
                      <a:pt x="584" y="603"/>
                    </a:lnTo>
                    <a:close/>
                    <a:moveTo>
                      <a:pt x="1135" y="277"/>
                    </a:moveTo>
                    <a:lnTo>
                      <a:pt x="1135" y="279"/>
                    </a:lnTo>
                    <a:lnTo>
                      <a:pt x="1133" y="277"/>
                    </a:lnTo>
                    <a:lnTo>
                      <a:pt x="1133" y="275"/>
                    </a:lnTo>
                    <a:lnTo>
                      <a:pt x="1133" y="277"/>
                    </a:lnTo>
                    <a:lnTo>
                      <a:pt x="1135" y="277"/>
                    </a:lnTo>
                    <a:close/>
                    <a:moveTo>
                      <a:pt x="1141" y="271"/>
                    </a:moveTo>
                    <a:lnTo>
                      <a:pt x="1141" y="269"/>
                    </a:lnTo>
                    <a:lnTo>
                      <a:pt x="1141" y="271"/>
                    </a:lnTo>
                    <a:close/>
                    <a:moveTo>
                      <a:pt x="584" y="602"/>
                    </a:moveTo>
                    <a:lnTo>
                      <a:pt x="586" y="602"/>
                    </a:lnTo>
                    <a:lnTo>
                      <a:pt x="584" y="602"/>
                    </a:lnTo>
                    <a:lnTo>
                      <a:pt x="584" y="603"/>
                    </a:lnTo>
                    <a:lnTo>
                      <a:pt x="584" y="602"/>
                    </a:lnTo>
                    <a:close/>
                    <a:moveTo>
                      <a:pt x="862" y="463"/>
                    </a:moveTo>
                    <a:lnTo>
                      <a:pt x="860" y="463"/>
                    </a:lnTo>
                    <a:lnTo>
                      <a:pt x="862" y="463"/>
                    </a:lnTo>
                    <a:close/>
                    <a:moveTo>
                      <a:pt x="1133" y="275"/>
                    </a:moveTo>
                    <a:lnTo>
                      <a:pt x="1133" y="277"/>
                    </a:lnTo>
                    <a:lnTo>
                      <a:pt x="1133" y="275"/>
                    </a:lnTo>
                    <a:close/>
                    <a:moveTo>
                      <a:pt x="862" y="463"/>
                    </a:moveTo>
                    <a:lnTo>
                      <a:pt x="860" y="463"/>
                    </a:lnTo>
                    <a:lnTo>
                      <a:pt x="860" y="461"/>
                    </a:lnTo>
                    <a:lnTo>
                      <a:pt x="862" y="461"/>
                    </a:lnTo>
                    <a:lnTo>
                      <a:pt x="862" y="463"/>
                    </a:lnTo>
                    <a:close/>
                    <a:moveTo>
                      <a:pt x="586" y="602"/>
                    </a:moveTo>
                    <a:lnTo>
                      <a:pt x="584" y="602"/>
                    </a:lnTo>
                    <a:lnTo>
                      <a:pt x="586" y="602"/>
                    </a:lnTo>
                    <a:close/>
                    <a:moveTo>
                      <a:pt x="584" y="602"/>
                    </a:moveTo>
                    <a:lnTo>
                      <a:pt x="584" y="600"/>
                    </a:lnTo>
                    <a:lnTo>
                      <a:pt x="584" y="602"/>
                    </a:lnTo>
                    <a:close/>
                    <a:moveTo>
                      <a:pt x="1131" y="273"/>
                    </a:moveTo>
                    <a:lnTo>
                      <a:pt x="1133" y="275"/>
                    </a:lnTo>
                    <a:lnTo>
                      <a:pt x="1133" y="277"/>
                    </a:lnTo>
                    <a:lnTo>
                      <a:pt x="1133" y="275"/>
                    </a:lnTo>
                    <a:lnTo>
                      <a:pt x="1131" y="275"/>
                    </a:lnTo>
                    <a:lnTo>
                      <a:pt x="1131" y="273"/>
                    </a:lnTo>
                    <a:close/>
                    <a:moveTo>
                      <a:pt x="1133" y="275"/>
                    </a:moveTo>
                    <a:lnTo>
                      <a:pt x="1133" y="273"/>
                    </a:lnTo>
                    <a:lnTo>
                      <a:pt x="1131" y="273"/>
                    </a:lnTo>
                    <a:lnTo>
                      <a:pt x="1133" y="273"/>
                    </a:lnTo>
                    <a:lnTo>
                      <a:pt x="1133" y="275"/>
                    </a:lnTo>
                    <a:close/>
                    <a:moveTo>
                      <a:pt x="1141" y="267"/>
                    </a:moveTo>
                    <a:lnTo>
                      <a:pt x="1143" y="267"/>
                    </a:lnTo>
                    <a:lnTo>
                      <a:pt x="1145" y="267"/>
                    </a:lnTo>
                    <a:lnTo>
                      <a:pt x="1145" y="269"/>
                    </a:lnTo>
                    <a:lnTo>
                      <a:pt x="1143" y="269"/>
                    </a:lnTo>
                    <a:lnTo>
                      <a:pt x="1143" y="271"/>
                    </a:lnTo>
                    <a:lnTo>
                      <a:pt x="1143" y="269"/>
                    </a:lnTo>
                    <a:lnTo>
                      <a:pt x="1141" y="269"/>
                    </a:lnTo>
                    <a:lnTo>
                      <a:pt x="1139" y="269"/>
                    </a:lnTo>
                    <a:lnTo>
                      <a:pt x="1139" y="267"/>
                    </a:lnTo>
                    <a:lnTo>
                      <a:pt x="1141" y="267"/>
                    </a:lnTo>
                    <a:close/>
                    <a:moveTo>
                      <a:pt x="1129" y="271"/>
                    </a:moveTo>
                    <a:lnTo>
                      <a:pt x="1131" y="271"/>
                    </a:lnTo>
                    <a:lnTo>
                      <a:pt x="1131" y="273"/>
                    </a:lnTo>
                    <a:lnTo>
                      <a:pt x="1129" y="271"/>
                    </a:lnTo>
                    <a:close/>
                    <a:moveTo>
                      <a:pt x="860" y="455"/>
                    </a:moveTo>
                    <a:lnTo>
                      <a:pt x="862" y="455"/>
                    </a:lnTo>
                    <a:lnTo>
                      <a:pt x="860" y="457"/>
                    </a:lnTo>
                    <a:lnTo>
                      <a:pt x="860" y="455"/>
                    </a:lnTo>
                    <a:close/>
                    <a:moveTo>
                      <a:pt x="860" y="457"/>
                    </a:moveTo>
                    <a:lnTo>
                      <a:pt x="860" y="459"/>
                    </a:lnTo>
                    <a:lnTo>
                      <a:pt x="860" y="457"/>
                    </a:lnTo>
                    <a:close/>
                    <a:moveTo>
                      <a:pt x="1135" y="265"/>
                    </a:moveTo>
                    <a:lnTo>
                      <a:pt x="1135" y="267"/>
                    </a:lnTo>
                    <a:lnTo>
                      <a:pt x="1135" y="265"/>
                    </a:lnTo>
                    <a:close/>
                    <a:moveTo>
                      <a:pt x="1137" y="265"/>
                    </a:moveTo>
                    <a:lnTo>
                      <a:pt x="1137" y="263"/>
                    </a:lnTo>
                    <a:lnTo>
                      <a:pt x="1137" y="265"/>
                    </a:lnTo>
                    <a:close/>
                    <a:moveTo>
                      <a:pt x="864" y="453"/>
                    </a:moveTo>
                    <a:lnTo>
                      <a:pt x="864" y="455"/>
                    </a:lnTo>
                    <a:lnTo>
                      <a:pt x="862" y="455"/>
                    </a:lnTo>
                    <a:lnTo>
                      <a:pt x="860" y="455"/>
                    </a:lnTo>
                    <a:lnTo>
                      <a:pt x="862" y="455"/>
                    </a:lnTo>
                    <a:lnTo>
                      <a:pt x="864" y="455"/>
                    </a:lnTo>
                    <a:lnTo>
                      <a:pt x="864" y="453"/>
                    </a:lnTo>
                    <a:lnTo>
                      <a:pt x="864" y="452"/>
                    </a:lnTo>
                    <a:lnTo>
                      <a:pt x="864" y="453"/>
                    </a:lnTo>
                    <a:close/>
                    <a:moveTo>
                      <a:pt x="1133" y="263"/>
                    </a:moveTo>
                    <a:lnTo>
                      <a:pt x="1133" y="261"/>
                    </a:lnTo>
                    <a:lnTo>
                      <a:pt x="1133" y="263"/>
                    </a:lnTo>
                    <a:close/>
                    <a:moveTo>
                      <a:pt x="1137" y="259"/>
                    </a:moveTo>
                    <a:lnTo>
                      <a:pt x="1139" y="259"/>
                    </a:lnTo>
                    <a:lnTo>
                      <a:pt x="1139" y="261"/>
                    </a:lnTo>
                    <a:lnTo>
                      <a:pt x="1137" y="261"/>
                    </a:lnTo>
                    <a:lnTo>
                      <a:pt x="1137" y="263"/>
                    </a:lnTo>
                    <a:lnTo>
                      <a:pt x="1137" y="261"/>
                    </a:lnTo>
                    <a:lnTo>
                      <a:pt x="1137" y="259"/>
                    </a:lnTo>
                    <a:close/>
                    <a:moveTo>
                      <a:pt x="363" y="675"/>
                    </a:moveTo>
                    <a:lnTo>
                      <a:pt x="361" y="675"/>
                    </a:lnTo>
                    <a:lnTo>
                      <a:pt x="361" y="673"/>
                    </a:lnTo>
                    <a:lnTo>
                      <a:pt x="363" y="673"/>
                    </a:lnTo>
                    <a:lnTo>
                      <a:pt x="363" y="675"/>
                    </a:lnTo>
                    <a:close/>
                    <a:moveTo>
                      <a:pt x="363" y="673"/>
                    </a:moveTo>
                    <a:lnTo>
                      <a:pt x="363" y="675"/>
                    </a:lnTo>
                    <a:lnTo>
                      <a:pt x="363" y="677"/>
                    </a:lnTo>
                    <a:lnTo>
                      <a:pt x="361" y="677"/>
                    </a:lnTo>
                    <a:lnTo>
                      <a:pt x="361" y="675"/>
                    </a:lnTo>
                    <a:lnTo>
                      <a:pt x="363" y="675"/>
                    </a:lnTo>
                    <a:lnTo>
                      <a:pt x="363" y="673"/>
                    </a:lnTo>
                    <a:lnTo>
                      <a:pt x="363" y="671"/>
                    </a:lnTo>
                    <a:lnTo>
                      <a:pt x="363" y="673"/>
                    </a:lnTo>
                    <a:close/>
                    <a:moveTo>
                      <a:pt x="1116" y="275"/>
                    </a:moveTo>
                    <a:lnTo>
                      <a:pt x="1114" y="275"/>
                    </a:lnTo>
                    <a:lnTo>
                      <a:pt x="1116" y="273"/>
                    </a:lnTo>
                    <a:lnTo>
                      <a:pt x="1116" y="275"/>
                    </a:lnTo>
                    <a:close/>
                    <a:moveTo>
                      <a:pt x="1124" y="265"/>
                    </a:moveTo>
                    <a:lnTo>
                      <a:pt x="1125" y="265"/>
                    </a:lnTo>
                    <a:lnTo>
                      <a:pt x="1125" y="267"/>
                    </a:lnTo>
                    <a:lnTo>
                      <a:pt x="1124" y="267"/>
                    </a:lnTo>
                    <a:lnTo>
                      <a:pt x="1124" y="265"/>
                    </a:lnTo>
                    <a:close/>
                    <a:moveTo>
                      <a:pt x="1139" y="255"/>
                    </a:moveTo>
                    <a:lnTo>
                      <a:pt x="1137" y="255"/>
                    </a:lnTo>
                    <a:lnTo>
                      <a:pt x="1137" y="254"/>
                    </a:lnTo>
                    <a:lnTo>
                      <a:pt x="1139" y="254"/>
                    </a:lnTo>
                    <a:lnTo>
                      <a:pt x="1139" y="255"/>
                    </a:lnTo>
                    <a:close/>
                    <a:moveTo>
                      <a:pt x="1141" y="252"/>
                    </a:moveTo>
                    <a:lnTo>
                      <a:pt x="1139" y="254"/>
                    </a:lnTo>
                    <a:lnTo>
                      <a:pt x="1141" y="252"/>
                    </a:lnTo>
                    <a:close/>
                    <a:moveTo>
                      <a:pt x="1127" y="261"/>
                    </a:moveTo>
                    <a:lnTo>
                      <a:pt x="1127" y="263"/>
                    </a:lnTo>
                    <a:lnTo>
                      <a:pt x="1125" y="263"/>
                    </a:lnTo>
                    <a:lnTo>
                      <a:pt x="1127" y="263"/>
                    </a:lnTo>
                    <a:lnTo>
                      <a:pt x="1127" y="261"/>
                    </a:lnTo>
                    <a:close/>
                    <a:moveTo>
                      <a:pt x="1141" y="250"/>
                    </a:moveTo>
                    <a:lnTo>
                      <a:pt x="1143" y="250"/>
                    </a:lnTo>
                    <a:lnTo>
                      <a:pt x="1141" y="252"/>
                    </a:lnTo>
                    <a:lnTo>
                      <a:pt x="1141" y="250"/>
                    </a:lnTo>
                    <a:lnTo>
                      <a:pt x="1143" y="250"/>
                    </a:lnTo>
                    <a:lnTo>
                      <a:pt x="1141" y="250"/>
                    </a:lnTo>
                    <a:close/>
                    <a:moveTo>
                      <a:pt x="858" y="448"/>
                    </a:moveTo>
                    <a:lnTo>
                      <a:pt x="856" y="448"/>
                    </a:lnTo>
                    <a:lnTo>
                      <a:pt x="858" y="448"/>
                    </a:lnTo>
                    <a:close/>
                    <a:moveTo>
                      <a:pt x="361" y="671"/>
                    </a:moveTo>
                    <a:lnTo>
                      <a:pt x="359" y="671"/>
                    </a:lnTo>
                    <a:lnTo>
                      <a:pt x="359" y="669"/>
                    </a:lnTo>
                    <a:lnTo>
                      <a:pt x="361" y="669"/>
                    </a:lnTo>
                    <a:lnTo>
                      <a:pt x="361" y="671"/>
                    </a:lnTo>
                    <a:close/>
                    <a:moveTo>
                      <a:pt x="1129" y="257"/>
                    </a:moveTo>
                    <a:lnTo>
                      <a:pt x="1129" y="259"/>
                    </a:lnTo>
                    <a:lnTo>
                      <a:pt x="1129" y="257"/>
                    </a:lnTo>
                    <a:close/>
                    <a:moveTo>
                      <a:pt x="1124" y="263"/>
                    </a:moveTo>
                    <a:lnTo>
                      <a:pt x="1124" y="265"/>
                    </a:lnTo>
                    <a:lnTo>
                      <a:pt x="1124" y="263"/>
                    </a:lnTo>
                    <a:close/>
                    <a:moveTo>
                      <a:pt x="1127" y="261"/>
                    </a:moveTo>
                    <a:lnTo>
                      <a:pt x="1125" y="261"/>
                    </a:lnTo>
                    <a:lnTo>
                      <a:pt x="1127" y="261"/>
                    </a:lnTo>
                    <a:close/>
                    <a:moveTo>
                      <a:pt x="1139" y="250"/>
                    </a:moveTo>
                    <a:lnTo>
                      <a:pt x="1139" y="252"/>
                    </a:lnTo>
                    <a:lnTo>
                      <a:pt x="1139" y="250"/>
                    </a:lnTo>
                    <a:close/>
                    <a:moveTo>
                      <a:pt x="1141" y="250"/>
                    </a:moveTo>
                    <a:lnTo>
                      <a:pt x="1141" y="248"/>
                    </a:lnTo>
                    <a:lnTo>
                      <a:pt x="1141" y="250"/>
                    </a:lnTo>
                    <a:close/>
                    <a:moveTo>
                      <a:pt x="858" y="446"/>
                    </a:moveTo>
                    <a:lnTo>
                      <a:pt x="858" y="448"/>
                    </a:lnTo>
                    <a:lnTo>
                      <a:pt x="856" y="448"/>
                    </a:lnTo>
                    <a:lnTo>
                      <a:pt x="856" y="446"/>
                    </a:lnTo>
                    <a:lnTo>
                      <a:pt x="858" y="446"/>
                    </a:lnTo>
                    <a:close/>
                    <a:moveTo>
                      <a:pt x="588" y="582"/>
                    </a:moveTo>
                    <a:lnTo>
                      <a:pt x="588" y="584"/>
                    </a:lnTo>
                    <a:lnTo>
                      <a:pt x="588" y="582"/>
                    </a:lnTo>
                    <a:close/>
                    <a:moveTo>
                      <a:pt x="351" y="669"/>
                    </a:moveTo>
                    <a:lnTo>
                      <a:pt x="349" y="669"/>
                    </a:lnTo>
                    <a:lnTo>
                      <a:pt x="351" y="669"/>
                    </a:lnTo>
                    <a:close/>
                    <a:moveTo>
                      <a:pt x="1141" y="248"/>
                    </a:moveTo>
                    <a:lnTo>
                      <a:pt x="1141" y="246"/>
                    </a:lnTo>
                    <a:lnTo>
                      <a:pt x="1141" y="248"/>
                    </a:lnTo>
                    <a:close/>
                    <a:moveTo>
                      <a:pt x="1122" y="261"/>
                    </a:moveTo>
                    <a:lnTo>
                      <a:pt x="1124" y="261"/>
                    </a:lnTo>
                    <a:lnTo>
                      <a:pt x="1124" y="263"/>
                    </a:lnTo>
                    <a:lnTo>
                      <a:pt x="1124" y="265"/>
                    </a:lnTo>
                    <a:lnTo>
                      <a:pt x="1124" y="263"/>
                    </a:lnTo>
                    <a:lnTo>
                      <a:pt x="1122" y="261"/>
                    </a:lnTo>
                    <a:lnTo>
                      <a:pt x="1124" y="263"/>
                    </a:lnTo>
                    <a:lnTo>
                      <a:pt x="1122" y="263"/>
                    </a:lnTo>
                    <a:lnTo>
                      <a:pt x="1122" y="261"/>
                    </a:lnTo>
                    <a:close/>
                    <a:moveTo>
                      <a:pt x="1139" y="248"/>
                    </a:moveTo>
                    <a:lnTo>
                      <a:pt x="1141" y="248"/>
                    </a:lnTo>
                    <a:lnTo>
                      <a:pt x="1139" y="248"/>
                    </a:lnTo>
                    <a:lnTo>
                      <a:pt x="1141" y="248"/>
                    </a:lnTo>
                    <a:lnTo>
                      <a:pt x="1139" y="248"/>
                    </a:lnTo>
                    <a:lnTo>
                      <a:pt x="1141" y="248"/>
                    </a:lnTo>
                    <a:lnTo>
                      <a:pt x="1139" y="248"/>
                    </a:lnTo>
                    <a:lnTo>
                      <a:pt x="1141" y="248"/>
                    </a:lnTo>
                    <a:lnTo>
                      <a:pt x="1139" y="248"/>
                    </a:lnTo>
                    <a:lnTo>
                      <a:pt x="1141" y="248"/>
                    </a:lnTo>
                    <a:lnTo>
                      <a:pt x="1141" y="250"/>
                    </a:lnTo>
                    <a:lnTo>
                      <a:pt x="1139" y="250"/>
                    </a:lnTo>
                    <a:lnTo>
                      <a:pt x="1139" y="248"/>
                    </a:lnTo>
                    <a:close/>
                    <a:moveTo>
                      <a:pt x="1122" y="261"/>
                    </a:moveTo>
                    <a:lnTo>
                      <a:pt x="1122" y="263"/>
                    </a:lnTo>
                    <a:lnTo>
                      <a:pt x="1122" y="261"/>
                    </a:lnTo>
                    <a:close/>
                    <a:moveTo>
                      <a:pt x="858" y="444"/>
                    </a:moveTo>
                    <a:lnTo>
                      <a:pt x="856" y="444"/>
                    </a:lnTo>
                    <a:lnTo>
                      <a:pt x="858" y="444"/>
                    </a:lnTo>
                    <a:lnTo>
                      <a:pt x="856" y="444"/>
                    </a:lnTo>
                    <a:lnTo>
                      <a:pt x="858" y="444"/>
                    </a:lnTo>
                    <a:close/>
                    <a:moveTo>
                      <a:pt x="855" y="446"/>
                    </a:moveTo>
                    <a:lnTo>
                      <a:pt x="855" y="448"/>
                    </a:lnTo>
                    <a:lnTo>
                      <a:pt x="855" y="446"/>
                    </a:lnTo>
                    <a:close/>
                    <a:moveTo>
                      <a:pt x="1127" y="255"/>
                    </a:moveTo>
                    <a:lnTo>
                      <a:pt x="1127" y="257"/>
                    </a:lnTo>
                    <a:lnTo>
                      <a:pt x="1127" y="255"/>
                    </a:lnTo>
                    <a:close/>
                    <a:moveTo>
                      <a:pt x="1122" y="263"/>
                    </a:moveTo>
                    <a:lnTo>
                      <a:pt x="1122" y="261"/>
                    </a:lnTo>
                    <a:lnTo>
                      <a:pt x="1122" y="263"/>
                    </a:lnTo>
                    <a:lnTo>
                      <a:pt x="1124" y="263"/>
                    </a:lnTo>
                    <a:lnTo>
                      <a:pt x="1122" y="263"/>
                    </a:lnTo>
                    <a:lnTo>
                      <a:pt x="1120" y="263"/>
                    </a:lnTo>
                    <a:lnTo>
                      <a:pt x="1120" y="261"/>
                    </a:lnTo>
                    <a:lnTo>
                      <a:pt x="1122" y="263"/>
                    </a:lnTo>
                    <a:close/>
                    <a:moveTo>
                      <a:pt x="1129" y="255"/>
                    </a:moveTo>
                    <a:lnTo>
                      <a:pt x="1127" y="255"/>
                    </a:lnTo>
                    <a:lnTo>
                      <a:pt x="1129" y="255"/>
                    </a:lnTo>
                    <a:close/>
                    <a:moveTo>
                      <a:pt x="1141" y="246"/>
                    </a:moveTo>
                    <a:lnTo>
                      <a:pt x="1139" y="246"/>
                    </a:lnTo>
                    <a:lnTo>
                      <a:pt x="1141" y="246"/>
                    </a:lnTo>
                    <a:close/>
                    <a:moveTo>
                      <a:pt x="586" y="580"/>
                    </a:moveTo>
                    <a:lnTo>
                      <a:pt x="588" y="580"/>
                    </a:lnTo>
                    <a:lnTo>
                      <a:pt x="588" y="582"/>
                    </a:lnTo>
                    <a:lnTo>
                      <a:pt x="588" y="580"/>
                    </a:lnTo>
                    <a:lnTo>
                      <a:pt x="588" y="582"/>
                    </a:lnTo>
                    <a:lnTo>
                      <a:pt x="586" y="582"/>
                    </a:lnTo>
                    <a:lnTo>
                      <a:pt x="586" y="580"/>
                    </a:lnTo>
                    <a:close/>
                    <a:moveTo>
                      <a:pt x="349" y="669"/>
                    </a:moveTo>
                    <a:lnTo>
                      <a:pt x="347" y="669"/>
                    </a:lnTo>
                    <a:lnTo>
                      <a:pt x="349" y="669"/>
                    </a:lnTo>
                    <a:close/>
                    <a:moveTo>
                      <a:pt x="1141" y="246"/>
                    </a:moveTo>
                    <a:lnTo>
                      <a:pt x="1141" y="244"/>
                    </a:lnTo>
                    <a:lnTo>
                      <a:pt x="1141" y="246"/>
                    </a:lnTo>
                    <a:lnTo>
                      <a:pt x="1141" y="244"/>
                    </a:lnTo>
                    <a:lnTo>
                      <a:pt x="1141" y="246"/>
                    </a:lnTo>
                    <a:close/>
                    <a:moveTo>
                      <a:pt x="1122" y="261"/>
                    </a:moveTo>
                    <a:lnTo>
                      <a:pt x="1120" y="261"/>
                    </a:lnTo>
                    <a:lnTo>
                      <a:pt x="1122" y="261"/>
                    </a:lnTo>
                    <a:close/>
                    <a:moveTo>
                      <a:pt x="1127" y="255"/>
                    </a:moveTo>
                    <a:lnTo>
                      <a:pt x="1127" y="257"/>
                    </a:lnTo>
                    <a:lnTo>
                      <a:pt x="1127" y="255"/>
                    </a:lnTo>
                    <a:lnTo>
                      <a:pt x="1125" y="255"/>
                    </a:lnTo>
                    <a:lnTo>
                      <a:pt x="1127" y="255"/>
                    </a:lnTo>
                    <a:close/>
                    <a:moveTo>
                      <a:pt x="1129" y="254"/>
                    </a:moveTo>
                    <a:lnTo>
                      <a:pt x="1131" y="252"/>
                    </a:lnTo>
                    <a:lnTo>
                      <a:pt x="1133" y="254"/>
                    </a:lnTo>
                    <a:lnTo>
                      <a:pt x="1135" y="254"/>
                    </a:lnTo>
                    <a:lnTo>
                      <a:pt x="1135" y="255"/>
                    </a:lnTo>
                    <a:lnTo>
                      <a:pt x="1135" y="257"/>
                    </a:lnTo>
                    <a:lnTo>
                      <a:pt x="1137" y="257"/>
                    </a:lnTo>
                    <a:lnTo>
                      <a:pt x="1135" y="257"/>
                    </a:lnTo>
                    <a:lnTo>
                      <a:pt x="1137" y="257"/>
                    </a:lnTo>
                    <a:lnTo>
                      <a:pt x="1137" y="259"/>
                    </a:lnTo>
                    <a:lnTo>
                      <a:pt x="1137" y="261"/>
                    </a:lnTo>
                    <a:lnTo>
                      <a:pt x="1137" y="263"/>
                    </a:lnTo>
                    <a:lnTo>
                      <a:pt x="1135" y="265"/>
                    </a:lnTo>
                    <a:lnTo>
                      <a:pt x="1133" y="265"/>
                    </a:lnTo>
                    <a:lnTo>
                      <a:pt x="1135" y="263"/>
                    </a:lnTo>
                    <a:lnTo>
                      <a:pt x="1133" y="263"/>
                    </a:lnTo>
                    <a:lnTo>
                      <a:pt x="1135" y="263"/>
                    </a:lnTo>
                    <a:lnTo>
                      <a:pt x="1135" y="261"/>
                    </a:lnTo>
                    <a:lnTo>
                      <a:pt x="1133" y="261"/>
                    </a:lnTo>
                    <a:lnTo>
                      <a:pt x="1133" y="259"/>
                    </a:lnTo>
                    <a:lnTo>
                      <a:pt x="1131" y="259"/>
                    </a:lnTo>
                    <a:lnTo>
                      <a:pt x="1131" y="257"/>
                    </a:lnTo>
                    <a:lnTo>
                      <a:pt x="1129" y="257"/>
                    </a:lnTo>
                    <a:lnTo>
                      <a:pt x="1129" y="255"/>
                    </a:lnTo>
                    <a:lnTo>
                      <a:pt x="1129" y="254"/>
                    </a:lnTo>
                    <a:close/>
                    <a:moveTo>
                      <a:pt x="1127" y="254"/>
                    </a:moveTo>
                    <a:lnTo>
                      <a:pt x="1127" y="255"/>
                    </a:lnTo>
                    <a:lnTo>
                      <a:pt x="1127" y="254"/>
                    </a:lnTo>
                    <a:close/>
                    <a:moveTo>
                      <a:pt x="1133" y="250"/>
                    </a:moveTo>
                    <a:lnTo>
                      <a:pt x="1133" y="252"/>
                    </a:lnTo>
                    <a:lnTo>
                      <a:pt x="1131" y="252"/>
                    </a:lnTo>
                    <a:lnTo>
                      <a:pt x="1133" y="252"/>
                    </a:lnTo>
                    <a:lnTo>
                      <a:pt x="1131" y="252"/>
                    </a:lnTo>
                    <a:lnTo>
                      <a:pt x="1133" y="250"/>
                    </a:lnTo>
                    <a:close/>
                    <a:moveTo>
                      <a:pt x="1122" y="261"/>
                    </a:moveTo>
                    <a:lnTo>
                      <a:pt x="1120" y="261"/>
                    </a:lnTo>
                    <a:lnTo>
                      <a:pt x="1120" y="259"/>
                    </a:lnTo>
                    <a:lnTo>
                      <a:pt x="1122" y="259"/>
                    </a:lnTo>
                    <a:lnTo>
                      <a:pt x="1122" y="261"/>
                    </a:lnTo>
                    <a:close/>
                    <a:moveTo>
                      <a:pt x="361" y="663"/>
                    </a:moveTo>
                    <a:lnTo>
                      <a:pt x="361" y="665"/>
                    </a:lnTo>
                    <a:lnTo>
                      <a:pt x="361" y="667"/>
                    </a:lnTo>
                    <a:lnTo>
                      <a:pt x="361" y="669"/>
                    </a:lnTo>
                    <a:lnTo>
                      <a:pt x="359" y="669"/>
                    </a:lnTo>
                    <a:lnTo>
                      <a:pt x="359" y="667"/>
                    </a:lnTo>
                    <a:lnTo>
                      <a:pt x="361" y="665"/>
                    </a:lnTo>
                    <a:lnTo>
                      <a:pt x="361" y="663"/>
                    </a:lnTo>
                    <a:close/>
                    <a:moveTo>
                      <a:pt x="1133" y="250"/>
                    </a:moveTo>
                    <a:lnTo>
                      <a:pt x="1133" y="252"/>
                    </a:lnTo>
                    <a:lnTo>
                      <a:pt x="1135" y="252"/>
                    </a:lnTo>
                    <a:lnTo>
                      <a:pt x="1133" y="252"/>
                    </a:lnTo>
                    <a:lnTo>
                      <a:pt x="1133" y="250"/>
                    </a:lnTo>
                    <a:close/>
                    <a:moveTo>
                      <a:pt x="1118" y="263"/>
                    </a:moveTo>
                    <a:lnTo>
                      <a:pt x="1118" y="261"/>
                    </a:lnTo>
                    <a:lnTo>
                      <a:pt x="1118" y="263"/>
                    </a:lnTo>
                    <a:close/>
                    <a:moveTo>
                      <a:pt x="1118" y="261"/>
                    </a:moveTo>
                    <a:lnTo>
                      <a:pt x="1120" y="261"/>
                    </a:lnTo>
                    <a:lnTo>
                      <a:pt x="1120" y="263"/>
                    </a:lnTo>
                    <a:lnTo>
                      <a:pt x="1118" y="261"/>
                    </a:lnTo>
                    <a:close/>
                    <a:moveTo>
                      <a:pt x="1131" y="250"/>
                    </a:moveTo>
                    <a:lnTo>
                      <a:pt x="1131" y="252"/>
                    </a:lnTo>
                    <a:lnTo>
                      <a:pt x="1131" y="250"/>
                    </a:lnTo>
                    <a:close/>
                    <a:moveTo>
                      <a:pt x="1133" y="248"/>
                    </a:moveTo>
                    <a:lnTo>
                      <a:pt x="1135" y="248"/>
                    </a:lnTo>
                    <a:lnTo>
                      <a:pt x="1135" y="250"/>
                    </a:lnTo>
                    <a:lnTo>
                      <a:pt x="1135" y="252"/>
                    </a:lnTo>
                    <a:lnTo>
                      <a:pt x="1133" y="250"/>
                    </a:lnTo>
                    <a:lnTo>
                      <a:pt x="1133" y="248"/>
                    </a:lnTo>
                    <a:close/>
                    <a:moveTo>
                      <a:pt x="1122" y="257"/>
                    </a:moveTo>
                    <a:lnTo>
                      <a:pt x="1122" y="259"/>
                    </a:lnTo>
                    <a:lnTo>
                      <a:pt x="1122" y="257"/>
                    </a:lnTo>
                    <a:close/>
                    <a:moveTo>
                      <a:pt x="588" y="578"/>
                    </a:moveTo>
                    <a:lnTo>
                      <a:pt x="588" y="580"/>
                    </a:lnTo>
                    <a:lnTo>
                      <a:pt x="586" y="580"/>
                    </a:lnTo>
                    <a:lnTo>
                      <a:pt x="586" y="578"/>
                    </a:lnTo>
                    <a:lnTo>
                      <a:pt x="588" y="578"/>
                    </a:lnTo>
                    <a:close/>
                    <a:moveTo>
                      <a:pt x="1116" y="261"/>
                    </a:moveTo>
                    <a:lnTo>
                      <a:pt x="1118" y="261"/>
                    </a:lnTo>
                    <a:lnTo>
                      <a:pt x="1118" y="263"/>
                    </a:lnTo>
                    <a:lnTo>
                      <a:pt x="1116" y="263"/>
                    </a:lnTo>
                    <a:lnTo>
                      <a:pt x="1118" y="263"/>
                    </a:lnTo>
                    <a:lnTo>
                      <a:pt x="1116" y="263"/>
                    </a:lnTo>
                    <a:lnTo>
                      <a:pt x="1116" y="261"/>
                    </a:lnTo>
                    <a:close/>
                    <a:moveTo>
                      <a:pt x="1135" y="248"/>
                    </a:moveTo>
                    <a:lnTo>
                      <a:pt x="1135" y="246"/>
                    </a:lnTo>
                    <a:lnTo>
                      <a:pt x="1135" y="248"/>
                    </a:lnTo>
                    <a:close/>
                    <a:moveTo>
                      <a:pt x="1122" y="259"/>
                    </a:moveTo>
                    <a:lnTo>
                      <a:pt x="1120" y="259"/>
                    </a:lnTo>
                    <a:lnTo>
                      <a:pt x="1120" y="257"/>
                    </a:lnTo>
                    <a:lnTo>
                      <a:pt x="1122" y="259"/>
                    </a:lnTo>
                    <a:close/>
                    <a:moveTo>
                      <a:pt x="363" y="663"/>
                    </a:moveTo>
                    <a:lnTo>
                      <a:pt x="363" y="661"/>
                    </a:lnTo>
                    <a:lnTo>
                      <a:pt x="363" y="663"/>
                    </a:lnTo>
                    <a:close/>
                    <a:moveTo>
                      <a:pt x="1137" y="246"/>
                    </a:moveTo>
                    <a:lnTo>
                      <a:pt x="1135" y="246"/>
                    </a:lnTo>
                    <a:lnTo>
                      <a:pt x="1137" y="246"/>
                    </a:lnTo>
                    <a:close/>
                    <a:moveTo>
                      <a:pt x="1135" y="246"/>
                    </a:moveTo>
                    <a:lnTo>
                      <a:pt x="1135" y="248"/>
                    </a:lnTo>
                    <a:lnTo>
                      <a:pt x="1137" y="248"/>
                    </a:lnTo>
                    <a:lnTo>
                      <a:pt x="1137" y="250"/>
                    </a:lnTo>
                    <a:lnTo>
                      <a:pt x="1139" y="250"/>
                    </a:lnTo>
                    <a:lnTo>
                      <a:pt x="1139" y="252"/>
                    </a:lnTo>
                    <a:lnTo>
                      <a:pt x="1137" y="252"/>
                    </a:lnTo>
                    <a:lnTo>
                      <a:pt x="1137" y="254"/>
                    </a:lnTo>
                    <a:lnTo>
                      <a:pt x="1135" y="254"/>
                    </a:lnTo>
                    <a:lnTo>
                      <a:pt x="1135" y="252"/>
                    </a:lnTo>
                    <a:lnTo>
                      <a:pt x="1135" y="250"/>
                    </a:lnTo>
                    <a:lnTo>
                      <a:pt x="1135" y="248"/>
                    </a:lnTo>
                    <a:lnTo>
                      <a:pt x="1135" y="250"/>
                    </a:lnTo>
                    <a:lnTo>
                      <a:pt x="1135" y="248"/>
                    </a:lnTo>
                    <a:lnTo>
                      <a:pt x="1133" y="248"/>
                    </a:lnTo>
                    <a:lnTo>
                      <a:pt x="1135" y="246"/>
                    </a:lnTo>
                    <a:close/>
                    <a:moveTo>
                      <a:pt x="1118" y="259"/>
                    </a:moveTo>
                    <a:lnTo>
                      <a:pt x="1116" y="259"/>
                    </a:lnTo>
                    <a:lnTo>
                      <a:pt x="1118" y="259"/>
                    </a:lnTo>
                    <a:close/>
                    <a:moveTo>
                      <a:pt x="588" y="577"/>
                    </a:moveTo>
                    <a:lnTo>
                      <a:pt x="588" y="578"/>
                    </a:lnTo>
                    <a:lnTo>
                      <a:pt x="588" y="577"/>
                    </a:lnTo>
                    <a:close/>
                    <a:moveTo>
                      <a:pt x="1118" y="257"/>
                    </a:moveTo>
                    <a:lnTo>
                      <a:pt x="1120" y="257"/>
                    </a:lnTo>
                    <a:lnTo>
                      <a:pt x="1120" y="259"/>
                    </a:lnTo>
                    <a:lnTo>
                      <a:pt x="1118" y="259"/>
                    </a:lnTo>
                    <a:lnTo>
                      <a:pt x="1116" y="259"/>
                    </a:lnTo>
                    <a:lnTo>
                      <a:pt x="1118" y="259"/>
                    </a:lnTo>
                    <a:lnTo>
                      <a:pt x="1118" y="257"/>
                    </a:lnTo>
                    <a:lnTo>
                      <a:pt x="1118" y="259"/>
                    </a:lnTo>
                    <a:lnTo>
                      <a:pt x="1118" y="257"/>
                    </a:lnTo>
                    <a:close/>
                    <a:moveTo>
                      <a:pt x="365" y="659"/>
                    </a:moveTo>
                    <a:lnTo>
                      <a:pt x="363" y="659"/>
                    </a:lnTo>
                    <a:lnTo>
                      <a:pt x="365" y="659"/>
                    </a:lnTo>
                    <a:close/>
                    <a:moveTo>
                      <a:pt x="586" y="575"/>
                    </a:moveTo>
                    <a:lnTo>
                      <a:pt x="588" y="575"/>
                    </a:lnTo>
                    <a:lnTo>
                      <a:pt x="588" y="577"/>
                    </a:lnTo>
                    <a:lnTo>
                      <a:pt x="586" y="578"/>
                    </a:lnTo>
                    <a:lnTo>
                      <a:pt x="588" y="578"/>
                    </a:lnTo>
                    <a:lnTo>
                      <a:pt x="586" y="578"/>
                    </a:lnTo>
                    <a:lnTo>
                      <a:pt x="586" y="577"/>
                    </a:lnTo>
                    <a:lnTo>
                      <a:pt x="586" y="575"/>
                    </a:lnTo>
                    <a:close/>
                    <a:moveTo>
                      <a:pt x="853" y="440"/>
                    </a:moveTo>
                    <a:lnTo>
                      <a:pt x="851" y="440"/>
                    </a:lnTo>
                    <a:lnTo>
                      <a:pt x="851" y="438"/>
                    </a:lnTo>
                    <a:lnTo>
                      <a:pt x="851" y="440"/>
                    </a:lnTo>
                    <a:lnTo>
                      <a:pt x="853" y="440"/>
                    </a:lnTo>
                    <a:close/>
                    <a:moveTo>
                      <a:pt x="1099" y="269"/>
                    </a:moveTo>
                    <a:lnTo>
                      <a:pt x="1100" y="269"/>
                    </a:lnTo>
                    <a:lnTo>
                      <a:pt x="1099" y="269"/>
                    </a:lnTo>
                    <a:close/>
                    <a:moveTo>
                      <a:pt x="1097" y="269"/>
                    </a:moveTo>
                    <a:lnTo>
                      <a:pt x="1099" y="269"/>
                    </a:lnTo>
                    <a:lnTo>
                      <a:pt x="1097" y="269"/>
                    </a:lnTo>
                    <a:close/>
                    <a:moveTo>
                      <a:pt x="365" y="653"/>
                    </a:moveTo>
                    <a:lnTo>
                      <a:pt x="365" y="652"/>
                    </a:lnTo>
                    <a:lnTo>
                      <a:pt x="365" y="653"/>
                    </a:lnTo>
                    <a:close/>
                    <a:moveTo>
                      <a:pt x="588" y="565"/>
                    </a:moveTo>
                    <a:lnTo>
                      <a:pt x="588" y="567"/>
                    </a:lnTo>
                    <a:lnTo>
                      <a:pt x="588" y="565"/>
                    </a:lnTo>
                    <a:close/>
                    <a:moveTo>
                      <a:pt x="847" y="432"/>
                    </a:moveTo>
                    <a:lnTo>
                      <a:pt x="847" y="430"/>
                    </a:lnTo>
                    <a:lnTo>
                      <a:pt x="847" y="432"/>
                    </a:lnTo>
                    <a:close/>
                    <a:moveTo>
                      <a:pt x="588" y="563"/>
                    </a:moveTo>
                    <a:lnTo>
                      <a:pt x="588" y="565"/>
                    </a:lnTo>
                    <a:lnTo>
                      <a:pt x="588" y="563"/>
                    </a:lnTo>
                    <a:close/>
                    <a:moveTo>
                      <a:pt x="1087" y="269"/>
                    </a:moveTo>
                    <a:lnTo>
                      <a:pt x="1085" y="269"/>
                    </a:lnTo>
                    <a:lnTo>
                      <a:pt x="1085" y="267"/>
                    </a:lnTo>
                    <a:lnTo>
                      <a:pt x="1085" y="269"/>
                    </a:lnTo>
                    <a:lnTo>
                      <a:pt x="1087" y="269"/>
                    </a:lnTo>
                    <a:close/>
                    <a:moveTo>
                      <a:pt x="845" y="429"/>
                    </a:moveTo>
                    <a:lnTo>
                      <a:pt x="845" y="427"/>
                    </a:lnTo>
                    <a:lnTo>
                      <a:pt x="845" y="429"/>
                    </a:lnTo>
                    <a:close/>
                    <a:moveTo>
                      <a:pt x="845" y="427"/>
                    </a:moveTo>
                    <a:lnTo>
                      <a:pt x="845" y="425"/>
                    </a:lnTo>
                    <a:lnTo>
                      <a:pt x="845" y="427"/>
                    </a:lnTo>
                    <a:close/>
                    <a:moveTo>
                      <a:pt x="368" y="640"/>
                    </a:moveTo>
                    <a:lnTo>
                      <a:pt x="370" y="638"/>
                    </a:lnTo>
                    <a:lnTo>
                      <a:pt x="370" y="640"/>
                    </a:lnTo>
                    <a:lnTo>
                      <a:pt x="368" y="640"/>
                    </a:lnTo>
                    <a:close/>
                    <a:moveTo>
                      <a:pt x="593" y="555"/>
                    </a:moveTo>
                    <a:lnTo>
                      <a:pt x="593" y="553"/>
                    </a:lnTo>
                    <a:lnTo>
                      <a:pt x="593" y="555"/>
                    </a:lnTo>
                    <a:close/>
                    <a:moveTo>
                      <a:pt x="368" y="638"/>
                    </a:moveTo>
                    <a:lnTo>
                      <a:pt x="368" y="640"/>
                    </a:lnTo>
                    <a:lnTo>
                      <a:pt x="368" y="638"/>
                    </a:lnTo>
                    <a:lnTo>
                      <a:pt x="368" y="640"/>
                    </a:lnTo>
                    <a:lnTo>
                      <a:pt x="367" y="640"/>
                    </a:lnTo>
                    <a:lnTo>
                      <a:pt x="368" y="640"/>
                    </a:lnTo>
                    <a:lnTo>
                      <a:pt x="368" y="638"/>
                    </a:lnTo>
                    <a:close/>
                    <a:moveTo>
                      <a:pt x="591" y="555"/>
                    </a:moveTo>
                    <a:lnTo>
                      <a:pt x="591" y="553"/>
                    </a:lnTo>
                    <a:lnTo>
                      <a:pt x="593" y="555"/>
                    </a:lnTo>
                    <a:lnTo>
                      <a:pt x="591" y="555"/>
                    </a:lnTo>
                    <a:close/>
                    <a:moveTo>
                      <a:pt x="365" y="640"/>
                    </a:moveTo>
                    <a:lnTo>
                      <a:pt x="365" y="642"/>
                    </a:lnTo>
                    <a:lnTo>
                      <a:pt x="365" y="640"/>
                    </a:lnTo>
                    <a:lnTo>
                      <a:pt x="367" y="640"/>
                    </a:lnTo>
                    <a:lnTo>
                      <a:pt x="367" y="642"/>
                    </a:lnTo>
                    <a:lnTo>
                      <a:pt x="365" y="642"/>
                    </a:lnTo>
                    <a:lnTo>
                      <a:pt x="365" y="644"/>
                    </a:lnTo>
                    <a:lnTo>
                      <a:pt x="363" y="644"/>
                    </a:lnTo>
                    <a:lnTo>
                      <a:pt x="361" y="644"/>
                    </a:lnTo>
                    <a:lnTo>
                      <a:pt x="361" y="642"/>
                    </a:lnTo>
                    <a:lnTo>
                      <a:pt x="363" y="642"/>
                    </a:lnTo>
                    <a:lnTo>
                      <a:pt x="363" y="640"/>
                    </a:lnTo>
                    <a:lnTo>
                      <a:pt x="365" y="640"/>
                    </a:lnTo>
                    <a:close/>
                    <a:moveTo>
                      <a:pt x="370" y="638"/>
                    </a:moveTo>
                    <a:lnTo>
                      <a:pt x="370" y="640"/>
                    </a:lnTo>
                    <a:lnTo>
                      <a:pt x="370" y="638"/>
                    </a:lnTo>
                    <a:close/>
                    <a:moveTo>
                      <a:pt x="1074" y="269"/>
                    </a:moveTo>
                    <a:lnTo>
                      <a:pt x="1074" y="271"/>
                    </a:lnTo>
                    <a:lnTo>
                      <a:pt x="1074" y="269"/>
                    </a:lnTo>
                    <a:lnTo>
                      <a:pt x="1074" y="271"/>
                    </a:lnTo>
                    <a:lnTo>
                      <a:pt x="1074" y="269"/>
                    </a:lnTo>
                    <a:lnTo>
                      <a:pt x="1074" y="271"/>
                    </a:lnTo>
                    <a:lnTo>
                      <a:pt x="1072" y="271"/>
                    </a:lnTo>
                    <a:lnTo>
                      <a:pt x="1074" y="271"/>
                    </a:lnTo>
                    <a:lnTo>
                      <a:pt x="1072" y="271"/>
                    </a:lnTo>
                    <a:lnTo>
                      <a:pt x="1072" y="269"/>
                    </a:lnTo>
                    <a:lnTo>
                      <a:pt x="1074" y="269"/>
                    </a:lnTo>
                    <a:close/>
                    <a:moveTo>
                      <a:pt x="845" y="423"/>
                    </a:moveTo>
                    <a:lnTo>
                      <a:pt x="845" y="425"/>
                    </a:lnTo>
                    <a:lnTo>
                      <a:pt x="845" y="423"/>
                    </a:lnTo>
                    <a:lnTo>
                      <a:pt x="843" y="423"/>
                    </a:lnTo>
                    <a:lnTo>
                      <a:pt x="845" y="423"/>
                    </a:lnTo>
                    <a:close/>
                    <a:moveTo>
                      <a:pt x="584" y="555"/>
                    </a:moveTo>
                    <a:lnTo>
                      <a:pt x="586" y="555"/>
                    </a:lnTo>
                    <a:lnTo>
                      <a:pt x="584" y="555"/>
                    </a:lnTo>
                    <a:close/>
                    <a:moveTo>
                      <a:pt x="526" y="580"/>
                    </a:moveTo>
                    <a:lnTo>
                      <a:pt x="526" y="578"/>
                    </a:lnTo>
                    <a:lnTo>
                      <a:pt x="526" y="580"/>
                    </a:lnTo>
                    <a:close/>
                    <a:moveTo>
                      <a:pt x="586" y="553"/>
                    </a:moveTo>
                    <a:lnTo>
                      <a:pt x="586" y="555"/>
                    </a:lnTo>
                    <a:lnTo>
                      <a:pt x="584" y="555"/>
                    </a:lnTo>
                    <a:lnTo>
                      <a:pt x="586" y="555"/>
                    </a:lnTo>
                    <a:lnTo>
                      <a:pt x="584" y="555"/>
                    </a:lnTo>
                    <a:lnTo>
                      <a:pt x="584" y="553"/>
                    </a:lnTo>
                    <a:lnTo>
                      <a:pt x="586" y="553"/>
                    </a:lnTo>
                    <a:lnTo>
                      <a:pt x="584" y="553"/>
                    </a:lnTo>
                    <a:lnTo>
                      <a:pt x="586" y="553"/>
                    </a:lnTo>
                    <a:close/>
                    <a:moveTo>
                      <a:pt x="376" y="632"/>
                    </a:moveTo>
                    <a:lnTo>
                      <a:pt x="376" y="630"/>
                    </a:lnTo>
                    <a:lnTo>
                      <a:pt x="378" y="630"/>
                    </a:lnTo>
                    <a:lnTo>
                      <a:pt x="378" y="632"/>
                    </a:lnTo>
                    <a:lnTo>
                      <a:pt x="376" y="632"/>
                    </a:lnTo>
                    <a:close/>
                    <a:moveTo>
                      <a:pt x="372" y="636"/>
                    </a:moveTo>
                    <a:lnTo>
                      <a:pt x="372" y="634"/>
                    </a:lnTo>
                    <a:lnTo>
                      <a:pt x="374" y="634"/>
                    </a:lnTo>
                    <a:lnTo>
                      <a:pt x="374" y="636"/>
                    </a:lnTo>
                    <a:lnTo>
                      <a:pt x="372" y="636"/>
                    </a:lnTo>
                    <a:lnTo>
                      <a:pt x="372" y="638"/>
                    </a:lnTo>
                    <a:lnTo>
                      <a:pt x="370" y="638"/>
                    </a:lnTo>
                    <a:lnTo>
                      <a:pt x="370" y="640"/>
                    </a:lnTo>
                    <a:lnTo>
                      <a:pt x="370" y="638"/>
                    </a:lnTo>
                    <a:lnTo>
                      <a:pt x="370" y="636"/>
                    </a:lnTo>
                    <a:lnTo>
                      <a:pt x="372" y="636"/>
                    </a:lnTo>
                    <a:lnTo>
                      <a:pt x="372" y="634"/>
                    </a:lnTo>
                    <a:lnTo>
                      <a:pt x="372" y="632"/>
                    </a:lnTo>
                    <a:lnTo>
                      <a:pt x="374" y="632"/>
                    </a:lnTo>
                    <a:lnTo>
                      <a:pt x="372" y="634"/>
                    </a:lnTo>
                    <a:lnTo>
                      <a:pt x="372" y="636"/>
                    </a:lnTo>
                    <a:close/>
                    <a:moveTo>
                      <a:pt x="837" y="421"/>
                    </a:moveTo>
                    <a:lnTo>
                      <a:pt x="835" y="423"/>
                    </a:lnTo>
                    <a:lnTo>
                      <a:pt x="833" y="423"/>
                    </a:lnTo>
                    <a:lnTo>
                      <a:pt x="835" y="421"/>
                    </a:lnTo>
                    <a:lnTo>
                      <a:pt x="837" y="421"/>
                    </a:lnTo>
                    <a:close/>
                    <a:moveTo>
                      <a:pt x="580" y="550"/>
                    </a:moveTo>
                    <a:lnTo>
                      <a:pt x="582" y="550"/>
                    </a:lnTo>
                    <a:lnTo>
                      <a:pt x="580" y="550"/>
                    </a:lnTo>
                    <a:close/>
                    <a:moveTo>
                      <a:pt x="580" y="550"/>
                    </a:moveTo>
                    <a:lnTo>
                      <a:pt x="578" y="550"/>
                    </a:lnTo>
                    <a:lnTo>
                      <a:pt x="580" y="550"/>
                    </a:lnTo>
                    <a:close/>
                    <a:moveTo>
                      <a:pt x="576" y="550"/>
                    </a:moveTo>
                    <a:lnTo>
                      <a:pt x="578" y="550"/>
                    </a:lnTo>
                    <a:lnTo>
                      <a:pt x="576" y="550"/>
                    </a:lnTo>
                    <a:lnTo>
                      <a:pt x="578" y="550"/>
                    </a:lnTo>
                    <a:lnTo>
                      <a:pt x="576" y="550"/>
                    </a:lnTo>
                    <a:close/>
                    <a:moveTo>
                      <a:pt x="378" y="625"/>
                    </a:moveTo>
                    <a:lnTo>
                      <a:pt x="378" y="623"/>
                    </a:lnTo>
                    <a:lnTo>
                      <a:pt x="378" y="625"/>
                    </a:lnTo>
                    <a:lnTo>
                      <a:pt x="378" y="627"/>
                    </a:lnTo>
                    <a:lnTo>
                      <a:pt x="378" y="625"/>
                    </a:lnTo>
                    <a:lnTo>
                      <a:pt x="380" y="625"/>
                    </a:lnTo>
                    <a:lnTo>
                      <a:pt x="380" y="627"/>
                    </a:lnTo>
                    <a:lnTo>
                      <a:pt x="380" y="628"/>
                    </a:lnTo>
                    <a:lnTo>
                      <a:pt x="378" y="630"/>
                    </a:lnTo>
                    <a:lnTo>
                      <a:pt x="376" y="630"/>
                    </a:lnTo>
                    <a:lnTo>
                      <a:pt x="378" y="630"/>
                    </a:lnTo>
                    <a:lnTo>
                      <a:pt x="376" y="630"/>
                    </a:lnTo>
                    <a:lnTo>
                      <a:pt x="378" y="630"/>
                    </a:lnTo>
                    <a:lnTo>
                      <a:pt x="378" y="628"/>
                    </a:lnTo>
                    <a:lnTo>
                      <a:pt x="378" y="627"/>
                    </a:lnTo>
                    <a:lnTo>
                      <a:pt x="378" y="625"/>
                    </a:lnTo>
                    <a:lnTo>
                      <a:pt x="378" y="623"/>
                    </a:lnTo>
                    <a:lnTo>
                      <a:pt x="378" y="625"/>
                    </a:lnTo>
                    <a:close/>
                    <a:moveTo>
                      <a:pt x="576" y="548"/>
                    </a:moveTo>
                    <a:lnTo>
                      <a:pt x="576" y="550"/>
                    </a:lnTo>
                    <a:lnTo>
                      <a:pt x="576" y="548"/>
                    </a:lnTo>
                    <a:close/>
                    <a:moveTo>
                      <a:pt x="835" y="417"/>
                    </a:moveTo>
                    <a:lnTo>
                      <a:pt x="835" y="415"/>
                    </a:lnTo>
                    <a:lnTo>
                      <a:pt x="835" y="417"/>
                    </a:lnTo>
                    <a:close/>
                    <a:moveTo>
                      <a:pt x="833" y="417"/>
                    </a:moveTo>
                    <a:lnTo>
                      <a:pt x="835" y="415"/>
                    </a:lnTo>
                    <a:lnTo>
                      <a:pt x="835" y="417"/>
                    </a:lnTo>
                    <a:lnTo>
                      <a:pt x="833" y="417"/>
                    </a:lnTo>
                    <a:close/>
                    <a:moveTo>
                      <a:pt x="833" y="413"/>
                    </a:moveTo>
                    <a:lnTo>
                      <a:pt x="833" y="415"/>
                    </a:lnTo>
                    <a:lnTo>
                      <a:pt x="833" y="413"/>
                    </a:lnTo>
                    <a:close/>
                    <a:moveTo>
                      <a:pt x="833" y="413"/>
                    </a:moveTo>
                    <a:lnTo>
                      <a:pt x="833" y="411"/>
                    </a:lnTo>
                    <a:lnTo>
                      <a:pt x="833" y="413"/>
                    </a:lnTo>
                    <a:close/>
                    <a:moveTo>
                      <a:pt x="578" y="542"/>
                    </a:moveTo>
                    <a:lnTo>
                      <a:pt x="576" y="542"/>
                    </a:lnTo>
                    <a:lnTo>
                      <a:pt x="578" y="542"/>
                    </a:lnTo>
                    <a:close/>
                    <a:moveTo>
                      <a:pt x="376" y="617"/>
                    </a:moveTo>
                    <a:lnTo>
                      <a:pt x="378" y="617"/>
                    </a:lnTo>
                    <a:lnTo>
                      <a:pt x="376" y="617"/>
                    </a:lnTo>
                    <a:close/>
                    <a:moveTo>
                      <a:pt x="833" y="411"/>
                    </a:moveTo>
                    <a:lnTo>
                      <a:pt x="831" y="411"/>
                    </a:lnTo>
                    <a:lnTo>
                      <a:pt x="833" y="411"/>
                    </a:lnTo>
                    <a:close/>
                    <a:moveTo>
                      <a:pt x="380" y="617"/>
                    </a:moveTo>
                    <a:lnTo>
                      <a:pt x="378" y="617"/>
                    </a:lnTo>
                    <a:lnTo>
                      <a:pt x="376" y="617"/>
                    </a:lnTo>
                    <a:lnTo>
                      <a:pt x="376" y="615"/>
                    </a:lnTo>
                    <a:lnTo>
                      <a:pt x="378" y="615"/>
                    </a:lnTo>
                    <a:lnTo>
                      <a:pt x="378" y="617"/>
                    </a:lnTo>
                    <a:lnTo>
                      <a:pt x="380" y="617"/>
                    </a:lnTo>
                    <a:close/>
                    <a:moveTo>
                      <a:pt x="368" y="617"/>
                    </a:moveTo>
                    <a:lnTo>
                      <a:pt x="370" y="617"/>
                    </a:lnTo>
                    <a:lnTo>
                      <a:pt x="368" y="617"/>
                    </a:lnTo>
                    <a:close/>
                    <a:moveTo>
                      <a:pt x="528" y="559"/>
                    </a:moveTo>
                    <a:lnTo>
                      <a:pt x="526" y="559"/>
                    </a:lnTo>
                    <a:lnTo>
                      <a:pt x="526" y="557"/>
                    </a:lnTo>
                    <a:lnTo>
                      <a:pt x="528" y="557"/>
                    </a:lnTo>
                    <a:lnTo>
                      <a:pt x="528" y="559"/>
                    </a:lnTo>
                    <a:close/>
                    <a:moveTo>
                      <a:pt x="368" y="615"/>
                    </a:moveTo>
                    <a:lnTo>
                      <a:pt x="370" y="615"/>
                    </a:lnTo>
                    <a:lnTo>
                      <a:pt x="368" y="615"/>
                    </a:lnTo>
                    <a:lnTo>
                      <a:pt x="368" y="617"/>
                    </a:lnTo>
                    <a:lnTo>
                      <a:pt x="368" y="615"/>
                    </a:lnTo>
                    <a:close/>
                    <a:moveTo>
                      <a:pt x="831" y="405"/>
                    </a:moveTo>
                    <a:lnTo>
                      <a:pt x="831" y="404"/>
                    </a:lnTo>
                    <a:lnTo>
                      <a:pt x="831" y="405"/>
                    </a:lnTo>
                    <a:close/>
                    <a:moveTo>
                      <a:pt x="368" y="613"/>
                    </a:moveTo>
                    <a:lnTo>
                      <a:pt x="367" y="613"/>
                    </a:lnTo>
                    <a:lnTo>
                      <a:pt x="368" y="613"/>
                    </a:lnTo>
                    <a:close/>
                    <a:moveTo>
                      <a:pt x="526" y="553"/>
                    </a:moveTo>
                    <a:lnTo>
                      <a:pt x="524" y="553"/>
                    </a:lnTo>
                    <a:lnTo>
                      <a:pt x="526" y="553"/>
                    </a:lnTo>
                    <a:lnTo>
                      <a:pt x="526" y="552"/>
                    </a:lnTo>
                    <a:lnTo>
                      <a:pt x="526" y="553"/>
                    </a:lnTo>
                    <a:close/>
                    <a:moveTo>
                      <a:pt x="833" y="400"/>
                    </a:moveTo>
                    <a:lnTo>
                      <a:pt x="831" y="398"/>
                    </a:lnTo>
                    <a:lnTo>
                      <a:pt x="833" y="398"/>
                    </a:lnTo>
                    <a:lnTo>
                      <a:pt x="833" y="400"/>
                    </a:lnTo>
                    <a:close/>
                    <a:moveTo>
                      <a:pt x="380" y="603"/>
                    </a:moveTo>
                    <a:lnTo>
                      <a:pt x="382" y="603"/>
                    </a:lnTo>
                    <a:lnTo>
                      <a:pt x="380" y="603"/>
                    </a:lnTo>
                    <a:lnTo>
                      <a:pt x="378" y="603"/>
                    </a:lnTo>
                    <a:lnTo>
                      <a:pt x="380" y="603"/>
                    </a:lnTo>
                    <a:close/>
                    <a:moveTo>
                      <a:pt x="831" y="398"/>
                    </a:moveTo>
                    <a:lnTo>
                      <a:pt x="831" y="400"/>
                    </a:lnTo>
                    <a:lnTo>
                      <a:pt x="833" y="400"/>
                    </a:lnTo>
                    <a:lnTo>
                      <a:pt x="831" y="400"/>
                    </a:lnTo>
                    <a:lnTo>
                      <a:pt x="831" y="402"/>
                    </a:lnTo>
                    <a:lnTo>
                      <a:pt x="831" y="404"/>
                    </a:lnTo>
                    <a:lnTo>
                      <a:pt x="831" y="405"/>
                    </a:lnTo>
                    <a:lnTo>
                      <a:pt x="833" y="405"/>
                    </a:lnTo>
                    <a:lnTo>
                      <a:pt x="833" y="407"/>
                    </a:lnTo>
                    <a:lnTo>
                      <a:pt x="831" y="407"/>
                    </a:lnTo>
                    <a:lnTo>
                      <a:pt x="831" y="409"/>
                    </a:lnTo>
                    <a:lnTo>
                      <a:pt x="830" y="407"/>
                    </a:lnTo>
                    <a:lnTo>
                      <a:pt x="830" y="405"/>
                    </a:lnTo>
                    <a:lnTo>
                      <a:pt x="828" y="405"/>
                    </a:lnTo>
                    <a:lnTo>
                      <a:pt x="828" y="404"/>
                    </a:lnTo>
                    <a:lnTo>
                      <a:pt x="828" y="402"/>
                    </a:lnTo>
                    <a:lnTo>
                      <a:pt x="828" y="400"/>
                    </a:lnTo>
                    <a:lnTo>
                      <a:pt x="826" y="400"/>
                    </a:lnTo>
                    <a:lnTo>
                      <a:pt x="828" y="400"/>
                    </a:lnTo>
                    <a:lnTo>
                      <a:pt x="830" y="400"/>
                    </a:lnTo>
                    <a:lnTo>
                      <a:pt x="830" y="398"/>
                    </a:lnTo>
                    <a:lnTo>
                      <a:pt x="831" y="398"/>
                    </a:lnTo>
                    <a:lnTo>
                      <a:pt x="831" y="396"/>
                    </a:lnTo>
                    <a:lnTo>
                      <a:pt x="831" y="398"/>
                    </a:lnTo>
                    <a:close/>
                    <a:moveTo>
                      <a:pt x="382" y="602"/>
                    </a:moveTo>
                    <a:lnTo>
                      <a:pt x="384" y="602"/>
                    </a:lnTo>
                    <a:lnTo>
                      <a:pt x="386" y="602"/>
                    </a:lnTo>
                    <a:lnTo>
                      <a:pt x="384" y="602"/>
                    </a:lnTo>
                    <a:lnTo>
                      <a:pt x="382" y="602"/>
                    </a:lnTo>
                    <a:close/>
                    <a:moveTo>
                      <a:pt x="286" y="630"/>
                    </a:moveTo>
                    <a:lnTo>
                      <a:pt x="286" y="628"/>
                    </a:lnTo>
                    <a:lnTo>
                      <a:pt x="286" y="630"/>
                    </a:lnTo>
                    <a:close/>
                    <a:moveTo>
                      <a:pt x="830" y="396"/>
                    </a:moveTo>
                    <a:lnTo>
                      <a:pt x="828" y="396"/>
                    </a:lnTo>
                    <a:lnTo>
                      <a:pt x="830" y="396"/>
                    </a:lnTo>
                    <a:lnTo>
                      <a:pt x="830" y="394"/>
                    </a:lnTo>
                    <a:lnTo>
                      <a:pt x="830" y="396"/>
                    </a:lnTo>
                    <a:close/>
                    <a:moveTo>
                      <a:pt x="831" y="392"/>
                    </a:moveTo>
                    <a:lnTo>
                      <a:pt x="833" y="392"/>
                    </a:lnTo>
                    <a:lnTo>
                      <a:pt x="835" y="392"/>
                    </a:lnTo>
                    <a:lnTo>
                      <a:pt x="835" y="394"/>
                    </a:lnTo>
                    <a:lnTo>
                      <a:pt x="833" y="394"/>
                    </a:lnTo>
                    <a:lnTo>
                      <a:pt x="833" y="396"/>
                    </a:lnTo>
                    <a:lnTo>
                      <a:pt x="831" y="396"/>
                    </a:lnTo>
                    <a:lnTo>
                      <a:pt x="830" y="396"/>
                    </a:lnTo>
                    <a:lnTo>
                      <a:pt x="830" y="398"/>
                    </a:lnTo>
                    <a:lnTo>
                      <a:pt x="828" y="398"/>
                    </a:lnTo>
                    <a:lnTo>
                      <a:pt x="826" y="398"/>
                    </a:lnTo>
                    <a:lnTo>
                      <a:pt x="828" y="396"/>
                    </a:lnTo>
                    <a:lnTo>
                      <a:pt x="830" y="396"/>
                    </a:lnTo>
                    <a:lnTo>
                      <a:pt x="830" y="394"/>
                    </a:lnTo>
                    <a:lnTo>
                      <a:pt x="831" y="392"/>
                    </a:lnTo>
                    <a:close/>
                    <a:moveTo>
                      <a:pt x="839" y="386"/>
                    </a:moveTo>
                    <a:lnTo>
                      <a:pt x="837" y="386"/>
                    </a:lnTo>
                    <a:lnTo>
                      <a:pt x="839" y="386"/>
                    </a:lnTo>
                    <a:close/>
                    <a:moveTo>
                      <a:pt x="837" y="386"/>
                    </a:moveTo>
                    <a:lnTo>
                      <a:pt x="835" y="386"/>
                    </a:lnTo>
                    <a:lnTo>
                      <a:pt x="833" y="388"/>
                    </a:lnTo>
                    <a:lnTo>
                      <a:pt x="833" y="386"/>
                    </a:lnTo>
                    <a:lnTo>
                      <a:pt x="835" y="386"/>
                    </a:lnTo>
                    <a:lnTo>
                      <a:pt x="837" y="386"/>
                    </a:lnTo>
                    <a:close/>
                    <a:moveTo>
                      <a:pt x="835" y="386"/>
                    </a:moveTo>
                    <a:lnTo>
                      <a:pt x="833" y="386"/>
                    </a:lnTo>
                    <a:lnTo>
                      <a:pt x="835" y="386"/>
                    </a:lnTo>
                    <a:close/>
                    <a:moveTo>
                      <a:pt x="843" y="380"/>
                    </a:moveTo>
                    <a:lnTo>
                      <a:pt x="843" y="382"/>
                    </a:lnTo>
                    <a:lnTo>
                      <a:pt x="843" y="380"/>
                    </a:lnTo>
                    <a:close/>
                    <a:moveTo>
                      <a:pt x="395" y="590"/>
                    </a:moveTo>
                    <a:lnTo>
                      <a:pt x="397" y="590"/>
                    </a:lnTo>
                    <a:lnTo>
                      <a:pt x="395" y="590"/>
                    </a:lnTo>
                    <a:close/>
                    <a:moveTo>
                      <a:pt x="1108" y="194"/>
                    </a:moveTo>
                    <a:lnTo>
                      <a:pt x="1110" y="194"/>
                    </a:lnTo>
                    <a:lnTo>
                      <a:pt x="1110" y="192"/>
                    </a:lnTo>
                    <a:lnTo>
                      <a:pt x="1110" y="194"/>
                    </a:lnTo>
                    <a:lnTo>
                      <a:pt x="1108" y="194"/>
                    </a:lnTo>
                    <a:lnTo>
                      <a:pt x="1108" y="196"/>
                    </a:lnTo>
                    <a:lnTo>
                      <a:pt x="1106" y="196"/>
                    </a:lnTo>
                    <a:lnTo>
                      <a:pt x="1104" y="196"/>
                    </a:lnTo>
                    <a:lnTo>
                      <a:pt x="1106" y="196"/>
                    </a:lnTo>
                    <a:lnTo>
                      <a:pt x="1108" y="194"/>
                    </a:lnTo>
                    <a:lnTo>
                      <a:pt x="1106" y="194"/>
                    </a:lnTo>
                    <a:lnTo>
                      <a:pt x="1108" y="194"/>
                    </a:lnTo>
                    <a:close/>
                    <a:moveTo>
                      <a:pt x="570" y="521"/>
                    </a:moveTo>
                    <a:lnTo>
                      <a:pt x="570" y="523"/>
                    </a:lnTo>
                    <a:lnTo>
                      <a:pt x="568" y="523"/>
                    </a:lnTo>
                    <a:lnTo>
                      <a:pt x="570" y="523"/>
                    </a:lnTo>
                    <a:lnTo>
                      <a:pt x="570" y="521"/>
                    </a:lnTo>
                    <a:close/>
                    <a:moveTo>
                      <a:pt x="847" y="379"/>
                    </a:moveTo>
                    <a:lnTo>
                      <a:pt x="845" y="379"/>
                    </a:lnTo>
                    <a:lnTo>
                      <a:pt x="847" y="379"/>
                    </a:lnTo>
                    <a:close/>
                    <a:moveTo>
                      <a:pt x="570" y="521"/>
                    </a:moveTo>
                    <a:lnTo>
                      <a:pt x="570" y="523"/>
                    </a:lnTo>
                    <a:lnTo>
                      <a:pt x="570" y="521"/>
                    </a:lnTo>
                    <a:close/>
                    <a:moveTo>
                      <a:pt x="1095" y="204"/>
                    </a:moveTo>
                    <a:lnTo>
                      <a:pt x="1093" y="204"/>
                    </a:lnTo>
                    <a:lnTo>
                      <a:pt x="1093" y="202"/>
                    </a:lnTo>
                    <a:lnTo>
                      <a:pt x="1095" y="204"/>
                    </a:lnTo>
                    <a:close/>
                    <a:moveTo>
                      <a:pt x="1029" y="252"/>
                    </a:moveTo>
                    <a:lnTo>
                      <a:pt x="1029" y="254"/>
                    </a:lnTo>
                    <a:lnTo>
                      <a:pt x="1029" y="252"/>
                    </a:lnTo>
                    <a:close/>
                    <a:moveTo>
                      <a:pt x="530" y="538"/>
                    </a:moveTo>
                    <a:lnTo>
                      <a:pt x="530" y="536"/>
                    </a:lnTo>
                    <a:lnTo>
                      <a:pt x="530" y="538"/>
                    </a:lnTo>
                    <a:close/>
                    <a:moveTo>
                      <a:pt x="576" y="515"/>
                    </a:moveTo>
                    <a:lnTo>
                      <a:pt x="578" y="515"/>
                    </a:lnTo>
                    <a:lnTo>
                      <a:pt x="580" y="515"/>
                    </a:lnTo>
                    <a:lnTo>
                      <a:pt x="578" y="517"/>
                    </a:lnTo>
                    <a:lnTo>
                      <a:pt x="580" y="517"/>
                    </a:lnTo>
                    <a:lnTo>
                      <a:pt x="578" y="517"/>
                    </a:lnTo>
                    <a:lnTo>
                      <a:pt x="578" y="519"/>
                    </a:lnTo>
                    <a:lnTo>
                      <a:pt x="576" y="517"/>
                    </a:lnTo>
                    <a:lnTo>
                      <a:pt x="576" y="519"/>
                    </a:lnTo>
                    <a:lnTo>
                      <a:pt x="574" y="519"/>
                    </a:lnTo>
                    <a:lnTo>
                      <a:pt x="572" y="517"/>
                    </a:lnTo>
                    <a:lnTo>
                      <a:pt x="574" y="517"/>
                    </a:lnTo>
                    <a:lnTo>
                      <a:pt x="574" y="515"/>
                    </a:lnTo>
                    <a:lnTo>
                      <a:pt x="574" y="517"/>
                    </a:lnTo>
                    <a:lnTo>
                      <a:pt x="574" y="515"/>
                    </a:lnTo>
                    <a:lnTo>
                      <a:pt x="574" y="517"/>
                    </a:lnTo>
                    <a:lnTo>
                      <a:pt x="576" y="515"/>
                    </a:lnTo>
                    <a:close/>
                    <a:moveTo>
                      <a:pt x="574" y="515"/>
                    </a:moveTo>
                    <a:lnTo>
                      <a:pt x="576" y="515"/>
                    </a:lnTo>
                    <a:lnTo>
                      <a:pt x="574" y="515"/>
                    </a:lnTo>
                    <a:close/>
                    <a:moveTo>
                      <a:pt x="845" y="373"/>
                    </a:moveTo>
                    <a:lnTo>
                      <a:pt x="845" y="375"/>
                    </a:lnTo>
                    <a:lnTo>
                      <a:pt x="845" y="373"/>
                    </a:lnTo>
                    <a:lnTo>
                      <a:pt x="845" y="371"/>
                    </a:lnTo>
                    <a:lnTo>
                      <a:pt x="845" y="373"/>
                    </a:lnTo>
                    <a:close/>
                    <a:moveTo>
                      <a:pt x="845" y="369"/>
                    </a:moveTo>
                    <a:lnTo>
                      <a:pt x="845" y="371"/>
                    </a:lnTo>
                    <a:lnTo>
                      <a:pt x="845" y="369"/>
                    </a:lnTo>
                    <a:lnTo>
                      <a:pt x="847" y="367"/>
                    </a:lnTo>
                    <a:lnTo>
                      <a:pt x="847" y="369"/>
                    </a:lnTo>
                    <a:lnTo>
                      <a:pt x="845" y="369"/>
                    </a:lnTo>
                    <a:close/>
                    <a:moveTo>
                      <a:pt x="1089" y="198"/>
                    </a:moveTo>
                    <a:lnTo>
                      <a:pt x="1091" y="198"/>
                    </a:lnTo>
                    <a:lnTo>
                      <a:pt x="1089" y="198"/>
                    </a:lnTo>
                    <a:lnTo>
                      <a:pt x="1089" y="200"/>
                    </a:lnTo>
                    <a:lnTo>
                      <a:pt x="1091" y="200"/>
                    </a:lnTo>
                    <a:lnTo>
                      <a:pt x="1093" y="200"/>
                    </a:lnTo>
                    <a:lnTo>
                      <a:pt x="1093" y="202"/>
                    </a:lnTo>
                    <a:lnTo>
                      <a:pt x="1093" y="200"/>
                    </a:lnTo>
                    <a:lnTo>
                      <a:pt x="1093" y="202"/>
                    </a:lnTo>
                    <a:lnTo>
                      <a:pt x="1091" y="202"/>
                    </a:lnTo>
                    <a:lnTo>
                      <a:pt x="1091" y="200"/>
                    </a:lnTo>
                    <a:lnTo>
                      <a:pt x="1089" y="200"/>
                    </a:lnTo>
                    <a:lnTo>
                      <a:pt x="1087" y="202"/>
                    </a:lnTo>
                    <a:lnTo>
                      <a:pt x="1087" y="200"/>
                    </a:lnTo>
                    <a:lnTo>
                      <a:pt x="1085" y="200"/>
                    </a:lnTo>
                    <a:lnTo>
                      <a:pt x="1087" y="200"/>
                    </a:lnTo>
                    <a:lnTo>
                      <a:pt x="1087" y="198"/>
                    </a:lnTo>
                    <a:lnTo>
                      <a:pt x="1087" y="200"/>
                    </a:lnTo>
                    <a:lnTo>
                      <a:pt x="1087" y="198"/>
                    </a:lnTo>
                    <a:lnTo>
                      <a:pt x="1089" y="198"/>
                    </a:lnTo>
                    <a:close/>
                    <a:moveTo>
                      <a:pt x="929" y="313"/>
                    </a:moveTo>
                    <a:lnTo>
                      <a:pt x="928" y="313"/>
                    </a:lnTo>
                    <a:lnTo>
                      <a:pt x="929" y="313"/>
                    </a:lnTo>
                    <a:lnTo>
                      <a:pt x="928" y="313"/>
                    </a:lnTo>
                    <a:lnTo>
                      <a:pt x="929" y="313"/>
                    </a:lnTo>
                    <a:close/>
                    <a:moveTo>
                      <a:pt x="586" y="503"/>
                    </a:moveTo>
                    <a:lnTo>
                      <a:pt x="586" y="505"/>
                    </a:lnTo>
                    <a:lnTo>
                      <a:pt x="586" y="503"/>
                    </a:lnTo>
                    <a:close/>
                    <a:moveTo>
                      <a:pt x="933" y="307"/>
                    </a:moveTo>
                    <a:lnTo>
                      <a:pt x="933" y="309"/>
                    </a:lnTo>
                    <a:lnTo>
                      <a:pt x="933" y="307"/>
                    </a:lnTo>
                    <a:close/>
                    <a:moveTo>
                      <a:pt x="855" y="359"/>
                    </a:moveTo>
                    <a:lnTo>
                      <a:pt x="855" y="357"/>
                    </a:lnTo>
                    <a:lnTo>
                      <a:pt x="855" y="359"/>
                    </a:lnTo>
                    <a:close/>
                    <a:moveTo>
                      <a:pt x="847" y="363"/>
                    </a:moveTo>
                    <a:lnTo>
                      <a:pt x="845" y="363"/>
                    </a:lnTo>
                    <a:lnTo>
                      <a:pt x="847" y="363"/>
                    </a:lnTo>
                    <a:close/>
                    <a:moveTo>
                      <a:pt x="445" y="555"/>
                    </a:moveTo>
                    <a:lnTo>
                      <a:pt x="445" y="557"/>
                    </a:lnTo>
                    <a:lnTo>
                      <a:pt x="445" y="555"/>
                    </a:lnTo>
                    <a:close/>
                    <a:moveTo>
                      <a:pt x="1064" y="209"/>
                    </a:moveTo>
                    <a:lnTo>
                      <a:pt x="1066" y="209"/>
                    </a:lnTo>
                    <a:lnTo>
                      <a:pt x="1068" y="209"/>
                    </a:lnTo>
                    <a:lnTo>
                      <a:pt x="1070" y="209"/>
                    </a:lnTo>
                    <a:lnTo>
                      <a:pt x="1072" y="209"/>
                    </a:lnTo>
                    <a:lnTo>
                      <a:pt x="1072" y="211"/>
                    </a:lnTo>
                    <a:lnTo>
                      <a:pt x="1070" y="213"/>
                    </a:lnTo>
                    <a:lnTo>
                      <a:pt x="1068" y="213"/>
                    </a:lnTo>
                    <a:lnTo>
                      <a:pt x="1068" y="215"/>
                    </a:lnTo>
                    <a:lnTo>
                      <a:pt x="1068" y="213"/>
                    </a:lnTo>
                    <a:lnTo>
                      <a:pt x="1066" y="213"/>
                    </a:lnTo>
                    <a:lnTo>
                      <a:pt x="1068" y="213"/>
                    </a:lnTo>
                    <a:lnTo>
                      <a:pt x="1068" y="211"/>
                    </a:lnTo>
                    <a:lnTo>
                      <a:pt x="1066" y="211"/>
                    </a:lnTo>
                    <a:lnTo>
                      <a:pt x="1066" y="209"/>
                    </a:lnTo>
                    <a:lnTo>
                      <a:pt x="1064" y="211"/>
                    </a:lnTo>
                    <a:lnTo>
                      <a:pt x="1062" y="211"/>
                    </a:lnTo>
                    <a:lnTo>
                      <a:pt x="1064" y="209"/>
                    </a:lnTo>
                    <a:close/>
                    <a:moveTo>
                      <a:pt x="908" y="321"/>
                    </a:moveTo>
                    <a:lnTo>
                      <a:pt x="908" y="323"/>
                    </a:lnTo>
                    <a:lnTo>
                      <a:pt x="908" y="321"/>
                    </a:lnTo>
                    <a:close/>
                    <a:moveTo>
                      <a:pt x="864" y="352"/>
                    </a:moveTo>
                    <a:lnTo>
                      <a:pt x="862" y="352"/>
                    </a:lnTo>
                    <a:lnTo>
                      <a:pt x="864" y="352"/>
                    </a:lnTo>
                    <a:close/>
                    <a:moveTo>
                      <a:pt x="1083" y="196"/>
                    </a:moveTo>
                    <a:lnTo>
                      <a:pt x="1085" y="196"/>
                    </a:lnTo>
                    <a:lnTo>
                      <a:pt x="1083" y="196"/>
                    </a:lnTo>
                    <a:lnTo>
                      <a:pt x="1083" y="198"/>
                    </a:lnTo>
                    <a:lnTo>
                      <a:pt x="1081" y="198"/>
                    </a:lnTo>
                    <a:lnTo>
                      <a:pt x="1081" y="196"/>
                    </a:lnTo>
                    <a:lnTo>
                      <a:pt x="1079" y="196"/>
                    </a:lnTo>
                    <a:lnTo>
                      <a:pt x="1081" y="196"/>
                    </a:lnTo>
                    <a:lnTo>
                      <a:pt x="1081" y="194"/>
                    </a:lnTo>
                    <a:lnTo>
                      <a:pt x="1081" y="196"/>
                    </a:lnTo>
                    <a:lnTo>
                      <a:pt x="1083" y="196"/>
                    </a:lnTo>
                    <a:close/>
                    <a:moveTo>
                      <a:pt x="856" y="354"/>
                    </a:moveTo>
                    <a:lnTo>
                      <a:pt x="856" y="352"/>
                    </a:lnTo>
                    <a:lnTo>
                      <a:pt x="856" y="354"/>
                    </a:lnTo>
                    <a:close/>
                    <a:moveTo>
                      <a:pt x="895" y="327"/>
                    </a:moveTo>
                    <a:lnTo>
                      <a:pt x="897" y="327"/>
                    </a:lnTo>
                    <a:lnTo>
                      <a:pt x="895" y="327"/>
                    </a:lnTo>
                    <a:lnTo>
                      <a:pt x="895" y="329"/>
                    </a:lnTo>
                    <a:lnTo>
                      <a:pt x="893" y="329"/>
                    </a:lnTo>
                    <a:lnTo>
                      <a:pt x="893" y="327"/>
                    </a:lnTo>
                    <a:lnTo>
                      <a:pt x="895" y="327"/>
                    </a:lnTo>
                    <a:close/>
                    <a:moveTo>
                      <a:pt x="847" y="355"/>
                    </a:moveTo>
                    <a:lnTo>
                      <a:pt x="845" y="357"/>
                    </a:lnTo>
                    <a:lnTo>
                      <a:pt x="845" y="355"/>
                    </a:lnTo>
                    <a:lnTo>
                      <a:pt x="847" y="355"/>
                    </a:lnTo>
                    <a:close/>
                    <a:moveTo>
                      <a:pt x="584" y="494"/>
                    </a:moveTo>
                    <a:lnTo>
                      <a:pt x="584" y="496"/>
                    </a:lnTo>
                    <a:lnTo>
                      <a:pt x="582" y="496"/>
                    </a:lnTo>
                    <a:lnTo>
                      <a:pt x="582" y="494"/>
                    </a:lnTo>
                    <a:lnTo>
                      <a:pt x="584" y="496"/>
                    </a:lnTo>
                    <a:lnTo>
                      <a:pt x="582" y="494"/>
                    </a:lnTo>
                    <a:lnTo>
                      <a:pt x="584" y="494"/>
                    </a:lnTo>
                    <a:close/>
                    <a:moveTo>
                      <a:pt x="282" y="603"/>
                    </a:moveTo>
                    <a:lnTo>
                      <a:pt x="284" y="603"/>
                    </a:lnTo>
                    <a:lnTo>
                      <a:pt x="282" y="603"/>
                    </a:lnTo>
                    <a:close/>
                    <a:moveTo>
                      <a:pt x="449" y="546"/>
                    </a:moveTo>
                    <a:lnTo>
                      <a:pt x="449" y="548"/>
                    </a:lnTo>
                    <a:lnTo>
                      <a:pt x="447" y="548"/>
                    </a:lnTo>
                    <a:lnTo>
                      <a:pt x="447" y="546"/>
                    </a:lnTo>
                    <a:lnTo>
                      <a:pt x="449" y="546"/>
                    </a:lnTo>
                    <a:close/>
                    <a:moveTo>
                      <a:pt x="447" y="546"/>
                    </a:moveTo>
                    <a:lnTo>
                      <a:pt x="447" y="548"/>
                    </a:lnTo>
                    <a:lnTo>
                      <a:pt x="445" y="548"/>
                    </a:lnTo>
                    <a:lnTo>
                      <a:pt x="445" y="546"/>
                    </a:lnTo>
                    <a:lnTo>
                      <a:pt x="447" y="546"/>
                    </a:lnTo>
                    <a:close/>
                    <a:moveTo>
                      <a:pt x="891" y="323"/>
                    </a:moveTo>
                    <a:lnTo>
                      <a:pt x="893" y="323"/>
                    </a:lnTo>
                    <a:lnTo>
                      <a:pt x="891" y="323"/>
                    </a:lnTo>
                    <a:lnTo>
                      <a:pt x="893" y="323"/>
                    </a:lnTo>
                    <a:lnTo>
                      <a:pt x="891" y="323"/>
                    </a:lnTo>
                    <a:close/>
                    <a:moveTo>
                      <a:pt x="449" y="544"/>
                    </a:moveTo>
                    <a:lnTo>
                      <a:pt x="449" y="546"/>
                    </a:lnTo>
                    <a:lnTo>
                      <a:pt x="449" y="544"/>
                    </a:lnTo>
                    <a:lnTo>
                      <a:pt x="451" y="546"/>
                    </a:lnTo>
                    <a:lnTo>
                      <a:pt x="451" y="544"/>
                    </a:lnTo>
                    <a:lnTo>
                      <a:pt x="451" y="546"/>
                    </a:lnTo>
                    <a:lnTo>
                      <a:pt x="449" y="546"/>
                    </a:lnTo>
                    <a:lnTo>
                      <a:pt x="449" y="544"/>
                    </a:lnTo>
                    <a:lnTo>
                      <a:pt x="451" y="544"/>
                    </a:lnTo>
                    <a:lnTo>
                      <a:pt x="449" y="544"/>
                    </a:lnTo>
                    <a:close/>
                    <a:moveTo>
                      <a:pt x="449" y="544"/>
                    </a:moveTo>
                    <a:lnTo>
                      <a:pt x="449" y="546"/>
                    </a:lnTo>
                    <a:lnTo>
                      <a:pt x="449" y="544"/>
                    </a:lnTo>
                    <a:lnTo>
                      <a:pt x="449" y="546"/>
                    </a:lnTo>
                    <a:lnTo>
                      <a:pt x="449" y="544"/>
                    </a:lnTo>
                    <a:close/>
                    <a:moveTo>
                      <a:pt x="443" y="546"/>
                    </a:moveTo>
                    <a:lnTo>
                      <a:pt x="443" y="548"/>
                    </a:lnTo>
                    <a:lnTo>
                      <a:pt x="443" y="546"/>
                    </a:lnTo>
                    <a:close/>
                    <a:moveTo>
                      <a:pt x="488" y="530"/>
                    </a:moveTo>
                    <a:lnTo>
                      <a:pt x="486" y="530"/>
                    </a:lnTo>
                    <a:lnTo>
                      <a:pt x="488" y="530"/>
                    </a:lnTo>
                    <a:close/>
                    <a:moveTo>
                      <a:pt x="847" y="350"/>
                    </a:moveTo>
                    <a:lnTo>
                      <a:pt x="847" y="352"/>
                    </a:lnTo>
                    <a:lnTo>
                      <a:pt x="845" y="352"/>
                    </a:lnTo>
                    <a:lnTo>
                      <a:pt x="847" y="350"/>
                    </a:lnTo>
                    <a:close/>
                    <a:moveTo>
                      <a:pt x="445" y="546"/>
                    </a:moveTo>
                    <a:lnTo>
                      <a:pt x="445" y="548"/>
                    </a:lnTo>
                    <a:lnTo>
                      <a:pt x="443" y="548"/>
                    </a:lnTo>
                    <a:lnTo>
                      <a:pt x="443" y="546"/>
                    </a:lnTo>
                    <a:lnTo>
                      <a:pt x="445" y="546"/>
                    </a:lnTo>
                    <a:close/>
                    <a:moveTo>
                      <a:pt x="578" y="492"/>
                    </a:moveTo>
                    <a:lnTo>
                      <a:pt x="576" y="492"/>
                    </a:lnTo>
                    <a:lnTo>
                      <a:pt x="578" y="492"/>
                    </a:lnTo>
                    <a:close/>
                    <a:moveTo>
                      <a:pt x="486" y="528"/>
                    </a:moveTo>
                    <a:lnTo>
                      <a:pt x="486" y="530"/>
                    </a:lnTo>
                    <a:lnTo>
                      <a:pt x="486" y="528"/>
                    </a:lnTo>
                    <a:close/>
                    <a:moveTo>
                      <a:pt x="503" y="523"/>
                    </a:moveTo>
                    <a:lnTo>
                      <a:pt x="505" y="523"/>
                    </a:lnTo>
                    <a:lnTo>
                      <a:pt x="503" y="523"/>
                    </a:lnTo>
                    <a:lnTo>
                      <a:pt x="501" y="523"/>
                    </a:lnTo>
                    <a:lnTo>
                      <a:pt x="503" y="523"/>
                    </a:lnTo>
                    <a:close/>
                    <a:moveTo>
                      <a:pt x="503" y="521"/>
                    </a:moveTo>
                    <a:lnTo>
                      <a:pt x="505" y="521"/>
                    </a:lnTo>
                    <a:lnTo>
                      <a:pt x="505" y="523"/>
                    </a:lnTo>
                    <a:lnTo>
                      <a:pt x="505" y="521"/>
                    </a:lnTo>
                    <a:lnTo>
                      <a:pt x="503" y="523"/>
                    </a:lnTo>
                    <a:lnTo>
                      <a:pt x="503" y="521"/>
                    </a:lnTo>
                    <a:lnTo>
                      <a:pt x="503" y="523"/>
                    </a:lnTo>
                    <a:lnTo>
                      <a:pt x="503" y="521"/>
                    </a:lnTo>
                    <a:close/>
                    <a:moveTo>
                      <a:pt x="488" y="527"/>
                    </a:moveTo>
                    <a:lnTo>
                      <a:pt x="490" y="527"/>
                    </a:lnTo>
                    <a:lnTo>
                      <a:pt x="488" y="527"/>
                    </a:lnTo>
                    <a:lnTo>
                      <a:pt x="488" y="528"/>
                    </a:lnTo>
                    <a:lnTo>
                      <a:pt x="488" y="527"/>
                    </a:lnTo>
                    <a:close/>
                    <a:moveTo>
                      <a:pt x="858" y="340"/>
                    </a:moveTo>
                    <a:lnTo>
                      <a:pt x="856" y="340"/>
                    </a:lnTo>
                    <a:lnTo>
                      <a:pt x="858" y="340"/>
                    </a:lnTo>
                    <a:close/>
                    <a:moveTo>
                      <a:pt x="490" y="525"/>
                    </a:moveTo>
                    <a:lnTo>
                      <a:pt x="491" y="525"/>
                    </a:lnTo>
                    <a:lnTo>
                      <a:pt x="491" y="523"/>
                    </a:lnTo>
                    <a:lnTo>
                      <a:pt x="491" y="525"/>
                    </a:lnTo>
                    <a:lnTo>
                      <a:pt x="493" y="523"/>
                    </a:lnTo>
                    <a:lnTo>
                      <a:pt x="493" y="525"/>
                    </a:lnTo>
                    <a:lnTo>
                      <a:pt x="491" y="525"/>
                    </a:lnTo>
                    <a:lnTo>
                      <a:pt x="493" y="525"/>
                    </a:lnTo>
                    <a:lnTo>
                      <a:pt x="491" y="525"/>
                    </a:lnTo>
                    <a:lnTo>
                      <a:pt x="493" y="525"/>
                    </a:lnTo>
                    <a:lnTo>
                      <a:pt x="493" y="527"/>
                    </a:lnTo>
                    <a:lnTo>
                      <a:pt x="493" y="528"/>
                    </a:lnTo>
                    <a:lnTo>
                      <a:pt x="491" y="528"/>
                    </a:lnTo>
                    <a:lnTo>
                      <a:pt x="491" y="527"/>
                    </a:lnTo>
                    <a:lnTo>
                      <a:pt x="490" y="527"/>
                    </a:lnTo>
                    <a:lnTo>
                      <a:pt x="488" y="527"/>
                    </a:lnTo>
                    <a:lnTo>
                      <a:pt x="488" y="525"/>
                    </a:lnTo>
                    <a:lnTo>
                      <a:pt x="490" y="525"/>
                    </a:lnTo>
                    <a:close/>
                    <a:moveTo>
                      <a:pt x="491" y="523"/>
                    </a:moveTo>
                    <a:lnTo>
                      <a:pt x="493" y="523"/>
                    </a:lnTo>
                    <a:lnTo>
                      <a:pt x="491" y="523"/>
                    </a:lnTo>
                    <a:close/>
                    <a:moveTo>
                      <a:pt x="576" y="488"/>
                    </a:moveTo>
                    <a:lnTo>
                      <a:pt x="574" y="488"/>
                    </a:lnTo>
                    <a:lnTo>
                      <a:pt x="576" y="488"/>
                    </a:lnTo>
                    <a:close/>
                    <a:moveTo>
                      <a:pt x="570" y="488"/>
                    </a:moveTo>
                    <a:lnTo>
                      <a:pt x="570" y="486"/>
                    </a:lnTo>
                    <a:lnTo>
                      <a:pt x="570" y="488"/>
                    </a:lnTo>
                    <a:close/>
                    <a:moveTo>
                      <a:pt x="490" y="521"/>
                    </a:moveTo>
                    <a:lnTo>
                      <a:pt x="490" y="519"/>
                    </a:lnTo>
                    <a:lnTo>
                      <a:pt x="491" y="519"/>
                    </a:lnTo>
                    <a:lnTo>
                      <a:pt x="491" y="521"/>
                    </a:lnTo>
                    <a:lnTo>
                      <a:pt x="490" y="521"/>
                    </a:lnTo>
                    <a:close/>
                    <a:moveTo>
                      <a:pt x="611" y="469"/>
                    </a:moveTo>
                    <a:lnTo>
                      <a:pt x="609" y="469"/>
                    </a:lnTo>
                    <a:lnTo>
                      <a:pt x="609" y="467"/>
                    </a:lnTo>
                    <a:lnTo>
                      <a:pt x="609" y="469"/>
                    </a:lnTo>
                    <a:lnTo>
                      <a:pt x="611" y="469"/>
                    </a:lnTo>
                    <a:close/>
                    <a:moveTo>
                      <a:pt x="611" y="467"/>
                    </a:moveTo>
                    <a:lnTo>
                      <a:pt x="611" y="469"/>
                    </a:lnTo>
                    <a:lnTo>
                      <a:pt x="611" y="467"/>
                    </a:lnTo>
                    <a:close/>
                    <a:moveTo>
                      <a:pt x="860" y="329"/>
                    </a:moveTo>
                    <a:lnTo>
                      <a:pt x="862" y="329"/>
                    </a:lnTo>
                    <a:lnTo>
                      <a:pt x="860" y="329"/>
                    </a:lnTo>
                    <a:close/>
                    <a:moveTo>
                      <a:pt x="614" y="463"/>
                    </a:moveTo>
                    <a:lnTo>
                      <a:pt x="614" y="465"/>
                    </a:lnTo>
                    <a:lnTo>
                      <a:pt x="612" y="465"/>
                    </a:lnTo>
                    <a:lnTo>
                      <a:pt x="614" y="465"/>
                    </a:lnTo>
                    <a:lnTo>
                      <a:pt x="614" y="463"/>
                    </a:lnTo>
                    <a:close/>
                    <a:moveTo>
                      <a:pt x="862" y="329"/>
                    </a:moveTo>
                    <a:lnTo>
                      <a:pt x="862" y="327"/>
                    </a:lnTo>
                    <a:lnTo>
                      <a:pt x="862" y="329"/>
                    </a:lnTo>
                    <a:close/>
                    <a:moveTo>
                      <a:pt x="887" y="311"/>
                    </a:moveTo>
                    <a:lnTo>
                      <a:pt x="889" y="311"/>
                    </a:lnTo>
                    <a:lnTo>
                      <a:pt x="887" y="311"/>
                    </a:lnTo>
                    <a:close/>
                    <a:moveTo>
                      <a:pt x="611" y="465"/>
                    </a:moveTo>
                    <a:lnTo>
                      <a:pt x="609" y="465"/>
                    </a:lnTo>
                    <a:lnTo>
                      <a:pt x="611" y="465"/>
                    </a:lnTo>
                    <a:close/>
                    <a:moveTo>
                      <a:pt x="434" y="538"/>
                    </a:moveTo>
                    <a:lnTo>
                      <a:pt x="432" y="538"/>
                    </a:lnTo>
                    <a:lnTo>
                      <a:pt x="434" y="538"/>
                    </a:lnTo>
                    <a:close/>
                    <a:moveTo>
                      <a:pt x="580" y="478"/>
                    </a:moveTo>
                    <a:lnTo>
                      <a:pt x="578" y="478"/>
                    </a:lnTo>
                    <a:lnTo>
                      <a:pt x="580" y="478"/>
                    </a:lnTo>
                    <a:close/>
                    <a:moveTo>
                      <a:pt x="564" y="484"/>
                    </a:moveTo>
                    <a:lnTo>
                      <a:pt x="564" y="486"/>
                    </a:lnTo>
                    <a:lnTo>
                      <a:pt x="563" y="484"/>
                    </a:lnTo>
                    <a:lnTo>
                      <a:pt x="564" y="484"/>
                    </a:lnTo>
                    <a:close/>
                    <a:moveTo>
                      <a:pt x="864" y="327"/>
                    </a:moveTo>
                    <a:lnTo>
                      <a:pt x="864" y="325"/>
                    </a:lnTo>
                    <a:lnTo>
                      <a:pt x="864" y="327"/>
                    </a:lnTo>
                    <a:close/>
                    <a:moveTo>
                      <a:pt x="885" y="311"/>
                    </a:moveTo>
                    <a:lnTo>
                      <a:pt x="883" y="311"/>
                    </a:lnTo>
                    <a:lnTo>
                      <a:pt x="885" y="311"/>
                    </a:lnTo>
                    <a:close/>
                    <a:moveTo>
                      <a:pt x="611" y="463"/>
                    </a:moveTo>
                    <a:lnTo>
                      <a:pt x="612" y="463"/>
                    </a:lnTo>
                    <a:lnTo>
                      <a:pt x="611" y="463"/>
                    </a:lnTo>
                    <a:close/>
                    <a:moveTo>
                      <a:pt x="862" y="325"/>
                    </a:moveTo>
                    <a:lnTo>
                      <a:pt x="864" y="325"/>
                    </a:lnTo>
                    <a:lnTo>
                      <a:pt x="864" y="323"/>
                    </a:lnTo>
                    <a:lnTo>
                      <a:pt x="864" y="325"/>
                    </a:lnTo>
                    <a:lnTo>
                      <a:pt x="862" y="325"/>
                    </a:lnTo>
                    <a:lnTo>
                      <a:pt x="862" y="327"/>
                    </a:lnTo>
                    <a:lnTo>
                      <a:pt x="864" y="327"/>
                    </a:lnTo>
                    <a:lnTo>
                      <a:pt x="862" y="327"/>
                    </a:lnTo>
                    <a:lnTo>
                      <a:pt x="862" y="329"/>
                    </a:lnTo>
                    <a:lnTo>
                      <a:pt x="862" y="327"/>
                    </a:lnTo>
                    <a:lnTo>
                      <a:pt x="862" y="325"/>
                    </a:lnTo>
                    <a:lnTo>
                      <a:pt x="864" y="325"/>
                    </a:lnTo>
                    <a:lnTo>
                      <a:pt x="864" y="323"/>
                    </a:lnTo>
                    <a:lnTo>
                      <a:pt x="864" y="325"/>
                    </a:lnTo>
                    <a:lnTo>
                      <a:pt x="862" y="325"/>
                    </a:lnTo>
                    <a:close/>
                    <a:moveTo>
                      <a:pt x="605" y="465"/>
                    </a:moveTo>
                    <a:lnTo>
                      <a:pt x="605" y="467"/>
                    </a:lnTo>
                    <a:lnTo>
                      <a:pt x="605" y="465"/>
                    </a:lnTo>
                    <a:close/>
                    <a:moveTo>
                      <a:pt x="612" y="461"/>
                    </a:moveTo>
                    <a:lnTo>
                      <a:pt x="611" y="461"/>
                    </a:lnTo>
                    <a:lnTo>
                      <a:pt x="612" y="461"/>
                    </a:lnTo>
                    <a:close/>
                    <a:moveTo>
                      <a:pt x="868" y="319"/>
                    </a:moveTo>
                    <a:lnTo>
                      <a:pt x="868" y="321"/>
                    </a:lnTo>
                    <a:lnTo>
                      <a:pt x="866" y="319"/>
                    </a:lnTo>
                    <a:lnTo>
                      <a:pt x="868" y="319"/>
                    </a:lnTo>
                    <a:close/>
                    <a:moveTo>
                      <a:pt x="605" y="463"/>
                    </a:moveTo>
                    <a:lnTo>
                      <a:pt x="605" y="461"/>
                    </a:lnTo>
                    <a:lnTo>
                      <a:pt x="605" y="463"/>
                    </a:lnTo>
                    <a:close/>
                    <a:moveTo>
                      <a:pt x="603" y="463"/>
                    </a:moveTo>
                    <a:lnTo>
                      <a:pt x="603" y="465"/>
                    </a:lnTo>
                    <a:lnTo>
                      <a:pt x="603" y="463"/>
                    </a:lnTo>
                    <a:close/>
                    <a:moveTo>
                      <a:pt x="864" y="321"/>
                    </a:moveTo>
                    <a:lnTo>
                      <a:pt x="864" y="323"/>
                    </a:lnTo>
                    <a:lnTo>
                      <a:pt x="862" y="323"/>
                    </a:lnTo>
                    <a:lnTo>
                      <a:pt x="862" y="325"/>
                    </a:lnTo>
                    <a:lnTo>
                      <a:pt x="862" y="323"/>
                    </a:lnTo>
                    <a:lnTo>
                      <a:pt x="862" y="321"/>
                    </a:lnTo>
                    <a:lnTo>
                      <a:pt x="864" y="321"/>
                    </a:lnTo>
                    <a:lnTo>
                      <a:pt x="864" y="323"/>
                    </a:lnTo>
                    <a:lnTo>
                      <a:pt x="864" y="321"/>
                    </a:lnTo>
                    <a:close/>
                    <a:moveTo>
                      <a:pt x="880" y="309"/>
                    </a:moveTo>
                    <a:lnTo>
                      <a:pt x="881" y="309"/>
                    </a:lnTo>
                    <a:lnTo>
                      <a:pt x="880" y="309"/>
                    </a:lnTo>
                    <a:lnTo>
                      <a:pt x="880" y="311"/>
                    </a:lnTo>
                    <a:lnTo>
                      <a:pt x="880" y="309"/>
                    </a:lnTo>
                    <a:close/>
                    <a:moveTo>
                      <a:pt x="545" y="490"/>
                    </a:moveTo>
                    <a:lnTo>
                      <a:pt x="545" y="488"/>
                    </a:lnTo>
                    <a:lnTo>
                      <a:pt x="545" y="490"/>
                    </a:lnTo>
                    <a:close/>
                    <a:moveTo>
                      <a:pt x="870" y="317"/>
                    </a:moveTo>
                    <a:lnTo>
                      <a:pt x="868" y="317"/>
                    </a:lnTo>
                    <a:lnTo>
                      <a:pt x="870" y="317"/>
                    </a:lnTo>
                    <a:close/>
                    <a:moveTo>
                      <a:pt x="862" y="321"/>
                    </a:moveTo>
                    <a:lnTo>
                      <a:pt x="862" y="319"/>
                    </a:lnTo>
                    <a:lnTo>
                      <a:pt x="862" y="321"/>
                    </a:lnTo>
                    <a:close/>
                    <a:moveTo>
                      <a:pt x="878" y="309"/>
                    </a:moveTo>
                    <a:lnTo>
                      <a:pt x="878" y="311"/>
                    </a:lnTo>
                    <a:lnTo>
                      <a:pt x="878" y="309"/>
                    </a:lnTo>
                    <a:close/>
                    <a:moveTo>
                      <a:pt x="607" y="459"/>
                    </a:moveTo>
                    <a:lnTo>
                      <a:pt x="609" y="459"/>
                    </a:lnTo>
                    <a:lnTo>
                      <a:pt x="609" y="461"/>
                    </a:lnTo>
                    <a:lnTo>
                      <a:pt x="607" y="459"/>
                    </a:lnTo>
                    <a:close/>
                    <a:moveTo>
                      <a:pt x="864" y="321"/>
                    </a:moveTo>
                    <a:lnTo>
                      <a:pt x="864" y="319"/>
                    </a:lnTo>
                    <a:lnTo>
                      <a:pt x="864" y="321"/>
                    </a:lnTo>
                    <a:close/>
                    <a:moveTo>
                      <a:pt x="874" y="313"/>
                    </a:moveTo>
                    <a:lnTo>
                      <a:pt x="872" y="313"/>
                    </a:lnTo>
                    <a:lnTo>
                      <a:pt x="874" y="313"/>
                    </a:lnTo>
                    <a:close/>
                    <a:moveTo>
                      <a:pt x="543" y="488"/>
                    </a:moveTo>
                    <a:lnTo>
                      <a:pt x="545" y="488"/>
                    </a:lnTo>
                    <a:lnTo>
                      <a:pt x="543" y="488"/>
                    </a:lnTo>
                    <a:close/>
                    <a:moveTo>
                      <a:pt x="876" y="311"/>
                    </a:moveTo>
                    <a:lnTo>
                      <a:pt x="878" y="311"/>
                    </a:lnTo>
                    <a:lnTo>
                      <a:pt x="878" y="309"/>
                    </a:lnTo>
                    <a:lnTo>
                      <a:pt x="878" y="311"/>
                    </a:lnTo>
                    <a:lnTo>
                      <a:pt x="880" y="311"/>
                    </a:lnTo>
                    <a:lnTo>
                      <a:pt x="881" y="311"/>
                    </a:lnTo>
                    <a:lnTo>
                      <a:pt x="880" y="311"/>
                    </a:lnTo>
                    <a:lnTo>
                      <a:pt x="878" y="311"/>
                    </a:lnTo>
                    <a:lnTo>
                      <a:pt x="876" y="313"/>
                    </a:lnTo>
                    <a:lnTo>
                      <a:pt x="874" y="313"/>
                    </a:lnTo>
                    <a:lnTo>
                      <a:pt x="874" y="311"/>
                    </a:lnTo>
                    <a:lnTo>
                      <a:pt x="876" y="311"/>
                    </a:lnTo>
                    <a:close/>
                    <a:moveTo>
                      <a:pt x="601" y="461"/>
                    </a:moveTo>
                    <a:lnTo>
                      <a:pt x="603" y="461"/>
                    </a:lnTo>
                    <a:lnTo>
                      <a:pt x="601" y="461"/>
                    </a:lnTo>
                    <a:lnTo>
                      <a:pt x="603" y="461"/>
                    </a:lnTo>
                    <a:lnTo>
                      <a:pt x="601" y="461"/>
                    </a:lnTo>
                    <a:lnTo>
                      <a:pt x="603" y="461"/>
                    </a:lnTo>
                    <a:lnTo>
                      <a:pt x="603" y="463"/>
                    </a:lnTo>
                    <a:lnTo>
                      <a:pt x="601" y="463"/>
                    </a:lnTo>
                    <a:lnTo>
                      <a:pt x="603" y="463"/>
                    </a:lnTo>
                    <a:lnTo>
                      <a:pt x="601" y="461"/>
                    </a:lnTo>
                    <a:close/>
                    <a:moveTo>
                      <a:pt x="864" y="319"/>
                    </a:moveTo>
                    <a:lnTo>
                      <a:pt x="864" y="317"/>
                    </a:lnTo>
                    <a:lnTo>
                      <a:pt x="864" y="319"/>
                    </a:lnTo>
                    <a:close/>
                    <a:moveTo>
                      <a:pt x="547" y="486"/>
                    </a:moveTo>
                    <a:lnTo>
                      <a:pt x="549" y="486"/>
                    </a:lnTo>
                    <a:lnTo>
                      <a:pt x="547" y="486"/>
                    </a:lnTo>
                    <a:close/>
                    <a:moveTo>
                      <a:pt x="599" y="461"/>
                    </a:moveTo>
                    <a:lnTo>
                      <a:pt x="601" y="461"/>
                    </a:lnTo>
                    <a:lnTo>
                      <a:pt x="601" y="463"/>
                    </a:lnTo>
                    <a:lnTo>
                      <a:pt x="599" y="463"/>
                    </a:lnTo>
                    <a:lnTo>
                      <a:pt x="601" y="463"/>
                    </a:lnTo>
                    <a:lnTo>
                      <a:pt x="599" y="463"/>
                    </a:lnTo>
                    <a:lnTo>
                      <a:pt x="597" y="463"/>
                    </a:lnTo>
                    <a:lnTo>
                      <a:pt x="599" y="463"/>
                    </a:lnTo>
                    <a:lnTo>
                      <a:pt x="599" y="461"/>
                    </a:lnTo>
                    <a:close/>
                    <a:moveTo>
                      <a:pt x="543" y="488"/>
                    </a:moveTo>
                    <a:lnTo>
                      <a:pt x="541" y="486"/>
                    </a:lnTo>
                    <a:lnTo>
                      <a:pt x="543" y="486"/>
                    </a:lnTo>
                    <a:lnTo>
                      <a:pt x="543" y="488"/>
                    </a:lnTo>
                    <a:close/>
                    <a:moveTo>
                      <a:pt x="545" y="486"/>
                    </a:moveTo>
                    <a:lnTo>
                      <a:pt x="543" y="486"/>
                    </a:lnTo>
                    <a:lnTo>
                      <a:pt x="545" y="486"/>
                    </a:lnTo>
                    <a:close/>
                    <a:moveTo>
                      <a:pt x="595" y="463"/>
                    </a:moveTo>
                    <a:lnTo>
                      <a:pt x="593" y="463"/>
                    </a:lnTo>
                    <a:lnTo>
                      <a:pt x="595" y="463"/>
                    </a:lnTo>
                    <a:close/>
                    <a:moveTo>
                      <a:pt x="874" y="311"/>
                    </a:moveTo>
                    <a:lnTo>
                      <a:pt x="872" y="311"/>
                    </a:lnTo>
                    <a:lnTo>
                      <a:pt x="874" y="311"/>
                    </a:lnTo>
                    <a:lnTo>
                      <a:pt x="872" y="311"/>
                    </a:lnTo>
                    <a:lnTo>
                      <a:pt x="874" y="311"/>
                    </a:lnTo>
                    <a:close/>
                    <a:moveTo>
                      <a:pt x="636" y="444"/>
                    </a:moveTo>
                    <a:lnTo>
                      <a:pt x="637" y="444"/>
                    </a:lnTo>
                    <a:lnTo>
                      <a:pt x="636" y="444"/>
                    </a:lnTo>
                    <a:close/>
                    <a:moveTo>
                      <a:pt x="864" y="317"/>
                    </a:moveTo>
                    <a:lnTo>
                      <a:pt x="864" y="319"/>
                    </a:lnTo>
                    <a:lnTo>
                      <a:pt x="862" y="319"/>
                    </a:lnTo>
                    <a:lnTo>
                      <a:pt x="864" y="319"/>
                    </a:lnTo>
                    <a:lnTo>
                      <a:pt x="864" y="321"/>
                    </a:lnTo>
                    <a:lnTo>
                      <a:pt x="862" y="321"/>
                    </a:lnTo>
                    <a:lnTo>
                      <a:pt x="862" y="319"/>
                    </a:lnTo>
                    <a:lnTo>
                      <a:pt x="862" y="317"/>
                    </a:lnTo>
                    <a:lnTo>
                      <a:pt x="864" y="317"/>
                    </a:lnTo>
                    <a:close/>
                    <a:moveTo>
                      <a:pt x="876" y="309"/>
                    </a:moveTo>
                    <a:lnTo>
                      <a:pt x="874" y="309"/>
                    </a:lnTo>
                    <a:lnTo>
                      <a:pt x="874" y="311"/>
                    </a:lnTo>
                    <a:lnTo>
                      <a:pt x="874" y="309"/>
                    </a:lnTo>
                    <a:lnTo>
                      <a:pt x="876" y="309"/>
                    </a:lnTo>
                    <a:close/>
                    <a:moveTo>
                      <a:pt x="584" y="469"/>
                    </a:moveTo>
                    <a:lnTo>
                      <a:pt x="582" y="469"/>
                    </a:lnTo>
                    <a:lnTo>
                      <a:pt x="584" y="469"/>
                    </a:lnTo>
                    <a:close/>
                    <a:moveTo>
                      <a:pt x="874" y="309"/>
                    </a:moveTo>
                    <a:lnTo>
                      <a:pt x="876" y="309"/>
                    </a:lnTo>
                    <a:lnTo>
                      <a:pt x="874" y="309"/>
                    </a:lnTo>
                    <a:close/>
                    <a:moveTo>
                      <a:pt x="870" y="313"/>
                    </a:moveTo>
                    <a:lnTo>
                      <a:pt x="870" y="315"/>
                    </a:lnTo>
                    <a:lnTo>
                      <a:pt x="870" y="313"/>
                    </a:lnTo>
                    <a:close/>
                    <a:moveTo>
                      <a:pt x="874" y="309"/>
                    </a:moveTo>
                    <a:lnTo>
                      <a:pt x="874" y="311"/>
                    </a:lnTo>
                    <a:lnTo>
                      <a:pt x="872" y="311"/>
                    </a:lnTo>
                    <a:lnTo>
                      <a:pt x="872" y="309"/>
                    </a:lnTo>
                    <a:lnTo>
                      <a:pt x="874" y="309"/>
                    </a:lnTo>
                    <a:close/>
                    <a:moveTo>
                      <a:pt x="870" y="311"/>
                    </a:moveTo>
                    <a:lnTo>
                      <a:pt x="872" y="311"/>
                    </a:lnTo>
                    <a:lnTo>
                      <a:pt x="870" y="311"/>
                    </a:lnTo>
                    <a:lnTo>
                      <a:pt x="872" y="311"/>
                    </a:lnTo>
                    <a:lnTo>
                      <a:pt x="870" y="313"/>
                    </a:lnTo>
                    <a:lnTo>
                      <a:pt x="872" y="313"/>
                    </a:lnTo>
                    <a:lnTo>
                      <a:pt x="872" y="311"/>
                    </a:lnTo>
                    <a:lnTo>
                      <a:pt x="872" y="313"/>
                    </a:lnTo>
                    <a:lnTo>
                      <a:pt x="870" y="313"/>
                    </a:lnTo>
                    <a:lnTo>
                      <a:pt x="872" y="313"/>
                    </a:lnTo>
                    <a:lnTo>
                      <a:pt x="870" y="313"/>
                    </a:lnTo>
                    <a:lnTo>
                      <a:pt x="870" y="311"/>
                    </a:lnTo>
                    <a:close/>
                    <a:moveTo>
                      <a:pt x="868" y="313"/>
                    </a:moveTo>
                    <a:lnTo>
                      <a:pt x="870" y="313"/>
                    </a:lnTo>
                    <a:lnTo>
                      <a:pt x="868" y="313"/>
                    </a:lnTo>
                    <a:lnTo>
                      <a:pt x="870" y="315"/>
                    </a:lnTo>
                    <a:lnTo>
                      <a:pt x="868" y="315"/>
                    </a:lnTo>
                    <a:lnTo>
                      <a:pt x="866" y="315"/>
                    </a:lnTo>
                    <a:lnTo>
                      <a:pt x="868" y="315"/>
                    </a:lnTo>
                    <a:lnTo>
                      <a:pt x="868" y="313"/>
                    </a:lnTo>
                    <a:lnTo>
                      <a:pt x="868" y="315"/>
                    </a:lnTo>
                    <a:lnTo>
                      <a:pt x="868" y="313"/>
                    </a:lnTo>
                    <a:lnTo>
                      <a:pt x="866" y="315"/>
                    </a:lnTo>
                    <a:lnTo>
                      <a:pt x="866" y="313"/>
                    </a:lnTo>
                    <a:lnTo>
                      <a:pt x="868" y="313"/>
                    </a:lnTo>
                    <a:close/>
                    <a:moveTo>
                      <a:pt x="599" y="459"/>
                    </a:moveTo>
                    <a:lnTo>
                      <a:pt x="601" y="459"/>
                    </a:lnTo>
                    <a:lnTo>
                      <a:pt x="601" y="461"/>
                    </a:lnTo>
                    <a:lnTo>
                      <a:pt x="599" y="461"/>
                    </a:lnTo>
                    <a:lnTo>
                      <a:pt x="599" y="459"/>
                    </a:lnTo>
                    <a:close/>
                    <a:moveTo>
                      <a:pt x="866" y="313"/>
                    </a:moveTo>
                    <a:lnTo>
                      <a:pt x="866" y="311"/>
                    </a:lnTo>
                    <a:lnTo>
                      <a:pt x="866" y="313"/>
                    </a:lnTo>
                    <a:close/>
                    <a:moveTo>
                      <a:pt x="866" y="313"/>
                    </a:moveTo>
                    <a:lnTo>
                      <a:pt x="864" y="313"/>
                    </a:lnTo>
                    <a:lnTo>
                      <a:pt x="866" y="313"/>
                    </a:lnTo>
                    <a:close/>
                    <a:moveTo>
                      <a:pt x="851" y="323"/>
                    </a:moveTo>
                    <a:lnTo>
                      <a:pt x="849" y="323"/>
                    </a:lnTo>
                    <a:lnTo>
                      <a:pt x="851" y="323"/>
                    </a:lnTo>
                    <a:close/>
                    <a:moveTo>
                      <a:pt x="864" y="313"/>
                    </a:moveTo>
                    <a:lnTo>
                      <a:pt x="866" y="313"/>
                    </a:lnTo>
                    <a:lnTo>
                      <a:pt x="864" y="315"/>
                    </a:lnTo>
                    <a:lnTo>
                      <a:pt x="864" y="313"/>
                    </a:lnTo>
                    <a:close/>
                    <a:moveTo>
                      <a:pt x="597" y="459"/>
                    </a:moveTo>
                    <a:lnTo>
                      <a:pt x="599" y="459"/>
                    </a:lnTo>
                    <a:lnTo>
                      <a:pt x="599" y="457"/>
                    </a:lnTo>
                    <a:lnTo>
                      <a:pt x="599" y="459"/>
                    </a:lnTo>
                    <a:lnTo>
                      <a:pt x="597" y="459"/>
                    </a:lnTo>
                    <a:close/>
                    <a:moveTo>
                      <a:pt x="593" y="461"/>
                    </a:moveTo>
                    <a:lnTo>
                      <a:pt x="593" y="463"/>
                    </a:lnTo>
                    <a:lnTo>
                      <a:pt x="595" y="463"/>
                    </a:lnTo>
                    <a:lnTo>
                      <a:pt x="593" y="463"/>
                    </a:lnTo>
                    <a:lnTo>
                      <a:pt x="591" y="463"/>
                    </a:lnTo>
                    <a:lnTo>
                      <a:pt x="593" y="463"/>
                    </a:lnTo>
                    <a:lnTo>
                      <a:pt x="591" y="463"/>
                    </a:lnTo>
                    <a:lnTo>
                      <a:pt x="589" y="463"/>
                    </a:lnTo>
                    <a:lnTo>
                      <a:pt x="589" y="461"/>
                    </a:lnTo>
                    <a:lnTo>
                      <a:pt x="591" y="461"/>
                    </a:lnTo>
                    <a:lnTo>
                      <a:pt x="593" y="461"/>
                    </a:lnTo>
                    <a:close/>
                    <a:moveTo>
                      <a:pt x="609" y="453"/>
                    </a:moveTo>
                    <a:lnTo>
                      <a:pt x="609" y="455"/>
                    </a:lnTo>
                    <a:lnTo>
                      <a:pt x="609" y="453"/>
                    </a:lnTo>
                    <a:lnTo>
                      <a:pt x="609" y="455"/>
                    </a:lnTo>
                    <a:lnTo>
                      <a:pt x="609" y="453"/>
                    </a:lnTo>
                    <a:close/>
                    <a:moveTo>
                      <a:pt x="864" y="313"/>
                    </a:moveTo>
                    <a:lnTo>
                      <a:pt x="862" y="313"/>
                    </a:lnTo>
                    <a:lnTo>
                      <a:pt x="864" y="313"/>
                    </a:lnTo>
                    <a:close/>
                    <a:moveTo>
                      <a:pt x="543" y="482"/>
                    </a:moveTo>
                    <a:lnTo>
                      <a:pt x="545" y="482"/>
                    </a:lnTo>
                    <a:lnTo>
                      <a:pt x="543" y="482"/>
                    </a:lnTo>
                    <a:lnTo>
                      <a:pt x="545" y="482"/>
                    </a:lnTo>
                    <a:lnTo>
                      <a:pt x="543" y="482"/>
                    </a:lnTo>
                    <a:close/>
                    <a:moveTo>
                      <a:pt x="591" y="461"/>
                    </a:moveTo>
                    <a:lnTo>
                      <a:pt x="593" y="461"/>
                    </a:lnTo>
                    <a:lnTo>
                      <a:pt x="593" y="459"/>
                    </a:lnTo>
                    <a:lnTo>
                      <a:pt x="593" y="461"/>
                    </a:lnTo>
                    <a:lnTo>
                      <a:pt x="595" y="461"/>
                    </a:lnTo>
                    <a:lnTo>
                      <a:pt x="595" y="459"/>
                    </a:lnTo>
                    <a:lnTo>
                      <a:pt x="597" y="459"/>
                    </a:lnTo>
                    <a:lnTo>
                      <a:pt x="597" y="461"/>
                    </a:lnTo>
                    <a:lnTo>
                      <a:pt x="599" y="461"/>
                    </a:lnTo>
                    <a:lnTo>
                      <a:pt x="597" y="461"/>
                    </a:lnTo>
                    <a:lnTo>
                      <a:pt x="595" y="461"/>
                    </a:lnTo>
                    <a:lnTo>
                      <a:pt x="593" y="461"/>
                    </a:lnTo>
                    <a:lnTo>
                      <a:pt x="591" y="461"/>
                    </a:lnTo>
                    <a:close/>
                    <a:moveTo>
                      <a:pt x="609" y="453"/>
                    </a:moveTo>
                    <a:lnTo>
                      <a:pt x="609" y="452"/>
                    </a:lnTo>
                    <a:lnTo>
                      <a:pt x="609" y="453"/>
                    </a:lnTo>
                    <a:close/>
                    <a:moveTo>
                      <a:pt x="580" y="465"/>
                    </a:moveTo>
                    <a:lnTo>
                      <a:pt x="580" y="467"/>
                    </a:lnTo>
                    <a:lnTo>
                      <a:pt x="582" y="467"/>
                    </a:lnTo>
                    <a:lnTo>
                      <a:pt x="580" y="467"/>
                    </a:lnTo>
                    <a:lnTo>
                      <a:pt x="578" y="467"/>
                    </a:lnTo>
                    <a:lnTo>
                      <a:pt x="578" y="465"/>
                    </a:lnTo>
                    <a:lnTo>
                      <a:pt x="580" y="465"/>
                    </a:lnTo>
                    <a:close/>
                    <a:moveTo>
                      <a:pt x="847" y="323"/>
                    </a:moveTo>
                    <a:lnTo>
                      <a:pt x="847" y="325"/>
                    </a:lnTo>
                    <a:lnTo>
                      <a:pt x="845" y="323"/>
                    </a:lnTo>
                    <a:lnTo>
                      <a:pt x="847" y="323"/>
                    </a:lnTo>
                    <a:close/>
                    <a:moveTo>
                      <a:pt x="856" y="317"/>
                    </a:moveTo>
                    <a:lnTo>
                      <a:pt x="856" y="315"/>
                    </a:lnTo>
                    <a:lnTo>
                      <a:pt x="856" y="317"/>
                    </a:lnTo>
                    <a:close/>
                    <a:moveTo>
                      <a:pt x="858" y="313"/>
                    </a:moveTo>
                    <a:lnTo>
                      <a:pt x="860" y="313"/>
                    </a:lnTo>
                    <a:lnTo>
                      <a:pt x="862" y="313"/>
                    </a:lnTo>
                    <a:lnTo>
                      <a:pt x="862" y="315"/>
                    </a:lnTo>
                    <a:lnTo>
                      <a:pt x="864" y="315"/>
                    </a:lnTo>
                    <a:lnTo>
                      <a:pt x="862" y="315"/>
                    </a:lnTo>
                    <a:lnTo>
                      <a:pt x="864" y="315"/>
                    </a:lnTo>
                    <a:lnTo>
                      <a:pt x="862" y="315"/>
                    </a:lnTo>
                    <a:lnTo>
                      <a:pt x="862" y="317"/>
                    </a:lnTo>
                    <a:lnTo>
                      <a:pt x="862" y="319"/>
                    </a:lnTo>
                    <a:lnTo>
                      <a:pt x="862" y="321"/>
                    </a:lnTo>
                    <a:lnTo>
                      <a:pt x="862" y="323"/>
                    </a:lnTo>
                    <a:lnTo>
                      <a:pt x="862" y="325"/>
                    </a:lnTo>
                    <a:lnTo>
                      <a:pt x="860" y="325"/>
                    </a:lnTo>
                    <a:lnTo>
                      <a:pt x="860" y="323"/>
                    </a:lnTo>
                    <a:lnTo>
                      <a:pt x="860" y="321"/>
                    </a:lnTo>
                    <a:lnTo>
                      <a:pt x="858" y="321"/>
                    </a:lnTo>
                    <a:lnTo>
                      <a:pt x="856" y="319"/>
                    </a:lnTo>
                    <a:lnTo>
                      <a:pt x="856" y="317"/>
                    </a:lnTo>
                    <a:lnTo>
                      <a:pt x="856" y="315"/>
                    </a:lnTo>
                    <a:lnTo>
                      <a:pt x="858" y="315"/>
                    </a:lnTo>
                    <a:lnTo>
                      <a:pt x="858" y="313"/>
                    </a:lnTo>
                    <a:close/>
                    <a:moveTo>
                      <a:pt x="589" y="461"/>
                    </a:moveTo>
                    <a:lnTo>
                      <a:pt x="591" y="461"/>
                    </a:lnTo>
                    <a:lnTo>
                      <a:pt x="589" y="461"/>
                    </a:lnTo>
                    <a:lnTo>
                      <a:pt x="589" y="463"/>
                    </a:lnTo>
                    <a:lnTo>
                      <a:pt x="588" y="463"/>
                    </a:lnTo>
                    <a:lnTo>
                      <a:pt x="588" y="461"/>
                    </a:lnTo>
                    <a:lnTo>
                      <a:pt x="589" y="461"/>
                    </a:lnTo>
                    <a:close/>
                    <a:moveTo>
                      <a:pt x="860" y="313"/>
                    </a:moveTo>
                    <a:lnTo>
                      <a:pt x="858" y="313"/>
                    </a:lnTo>
                    <a:lnTo>
                      <a:pt x="860" y="313"/>
                    </a:lnTo>
                    <a:close/>
                    <a:moveTo>
                      <a:pt x="555" y="475"/>
                    </a:moveTo>
                    <a:lnTo>
                      <a:pt x="557" y="475"/>
                    </a:lnTo>
                    <a:lnTo>
                      <a:pt x="559" y="475"/>
                    </a:lnTo>
                    <a:lnTo>
                      <a:pt x="557" y="475"/>
                    </a:lnTo>
                    <a:lnTo>
                      <a:pt x="555" y="475"/>
                    </a:lnTo>
                    <a:close/>
                    <a:moveTo>
                      <a:pt x="855" y="317"/>
                    </a:moveTo>
                    <a:lnTo>
                      <a:pt x="853" y="317"/>
                    </a:lnTo>
                    <a:lnTo>
                      <a:pt x="855" y="317"/>
                    </a:lnTo>
                    <a:close/>
                    <a:moveTo>
                      <a:pt x="853" y="317"/>
                    </a:moveTo>
                    <a:lnTo>
                      <a:pt x="853" y="315"/>
                    </a:lnTo>
                    <a:lnTo>
                      <a:pt x="853" y="317"/>
                    </a:lnTo>
                    <a:lnTo>
                      <a:pt x="853" y="315"/>
                    </a:lnTo>
                    <a:lnTo>
                      <a:pt x="853" y="317"/>
                    </a:lnTo>
                    <a:close/>
                    <a:moveTo>
                      <a:pt x="586" y="461"/>
                    </a:moveTo>
                    <a:lnTo>
                      <a:pt x="584" y="461"/>
                    </a:lnTo>
                    <a:lnTo>
                      <a:pt x="586" y="461"/>
                    </a:lnTo>
                    <a:lnTo>
                      <a:pt x="584" y="461"/>
                    </a:lnTo>
                    <a:lnTo>
                      <a:pt x="586" y="461"/>
                    </a:lnTo>
                    <a:close/>
                    <a:moveTo>
                      <a:pt x="856" y="313"/>
                    </a:moveTo>
                    <a:lnTo>
                      <a:pt x="856" y="315"/>
                    </a:lnTo>
                    <a:lnTo>
                      <a:pt x="856" y="313"/>
                    </a:lnTo>
                    <a:lnTo>
                      <a:pt x="856" y="315"/>
                    </a:lnTo>
                    <a:lnTo>
                      <a:pt x="855" y="315"/>
                    </a:lnTo>
                    <a:lnTo>
                      <a:pt x="856" y="315"/>
                    </a:lnTo>
                    <a:lnTo>
                      <a:pt x="856" y="313"/>
                    </a:lnTo>
                    <a:close/>
                    <a:moveTo>
                      <a:pt x="584" y="461"/>
                    </a:moveTo>
                    <a:lnTo>
                      <a:pt x="586" y="461"/>
                    </a:lnTo>
                    <a:lnTo>
                      <a:pt x="584" y="461"/>
                    </a:lnTo>
                    <a:close/>
                    <a:moveTo>
                      <a:pt x="580" y="463"/>
                    </a:moveTo>
                    <a:lnTo>
                      <a:pt x="578" y="463"/>
                    </a:lnTo>
                    <a:lnTo>
                      <a:pt x="580" y="463"/>
                    </a:lnTo>
                    <a:lnTo>
                      <a:pt x="580" y="461"/>
                    </a:lnTo>
                    <a:lnTo>
                      <a:pt x="580" y="463"/>
                    </a:lnTo>
                    <a:close/>
                    <a:moveTo>
                      <a:pt x="858" y="313"/>
                    </a:moveTo>
                    <a:lnTo>
                      <a:pt x="856" y="313"/>
                    </a:lnTo>
                    <a:lnTo>
                      <a:pt x="855" y="313"/>
                    </a:lnTo>
                    <a:lnTo>
                      <a:pt x="856" y="313"/>
                    </a:lnTo>
                    <a:lnTo>
                      <a:pt x="858" y="313"/>
                    </a:lnTo>
                    <a:close/>
                    <a:moveTo>
                      <a:pt x="851" y="315"/>
                    </a:moveTo>
                    <a:lnTo>
                      <a:pt x="851" y="317"/>
                    </a:lnTo>
                    <a:lnTo>
                      <a:pt x="853" y="315"/>
                    </a:lnTo>
                    <a:lnTo>
                      <a:pt x="853" y="317"/>
                    </a:lnTo>
                    <a:lnTo>
                      <a:pt x="851" y="317"/>
                    </a:lnTo>
                    <a:lnTo>
                      <a:pt x="851" y="319"/>
                    </a:lnTo>
                    <a:lnTo>
                      <a:pt x="851" y="317"/>
                    </a:lnTo>
                    <a:lnTo>
                      <a:pt x="851" y="319"/>
                    </a:lnTo>
                    <a:lnTo>
                      <a:pt x="849" y="319"/>
                    </a:lnTo>
                    <a:lnTo>
                      <a:pt x="851" y="319"/>
                    </a:lnTo>
                    <a:lnTo>
                      <a:pt x="849" y="321"/>
                    </a:lnTo>
                    <a:lnTo>
                      <a:pt x="851" y="321"/>
                    </a:lnTo>
                    <a:lnTo>
                      <a:pt x="849" y="323"/>
                    </a:lnTo>
                    <a:lnTo>
                      <a:pt x="851" y="325"/>
                    </a:lnTo>
                    <a:lnTo>
                      <a:pt x="851" y="327"/>
                    </a:lnTo>
                    <a:lnTo>
                      <a:pt x="851" y="329"/>
                    </a:lnTo>
                    <a:lnTo>
                      <a:pt x="849" y="330"/>
                    </a:lnTo>
                    <a:lnTo>
                      <a:pt x="851" y="330"/>
                    </a:lnTo>
                    <a:lnTo>
                      <a:pt x="851" y="332"/>
                    </a:lnTo>
                    <a:lnTo>
                      <a:pt x="849" y="332"/>
                    </a:lnTo>
                    <a:lnTo>
                      <a:pt x="849" y="330"/>
                    </a:lnTo>
                    <a:lnTo>
                      <a:pt x="847" y="330"/>
                    </a:lnTo>
                    <a:lnTo>
                      <a:pt x="847" y="332"/>
                    </a:lnTo>
                    <a:lnTo>
                      <a:pt x="849" y="332"/>
                    </a:lnTo>
                    <a:lnTo>
                      <a:pt x="849" y="330"/>
                    </a:lnTo>
                    <a:lnTo>
                      <a:pt x="849" y="332"/>
                    </a:lnTo>
                    <a:lnTo>
                      <a:pt x="847" y="332"/>
                    </a:lnTo>
                    <a:lnTo>
                      <a:pt x="847" y="334"/>
                    </a:lnTo>
                    <a:lnTo>
                      <a:pt x="845" y="334"/>
                    </a:lnTo>
                    <a:lnTo>
                      <a:pt x="845" y="336"/>
                    </a:lnTo>
                    <a:lnTo>
                      <a:pt x="843" y="336"/>
                    </a:lnTo>
                    <a:lnTo>
                      <a:pt x="841" y="336"/>
                    </a:lnTo>
                    <a:lnTo>
                      <a:pt x="841" y="334"/>
                    </a:lnTo>
                    <a:lnTo>
                      <a:pt x="843" y="334"/>
                    </a:lnTo>
                    <a:lnTo>
                      <a:pt x="843" y="332"/>
                    </a:lnTo>
                    <a:lnTo>
                      <a:pt x="845" y="332"/>
                    </a:lnTo>
                    <a:lnTo>
                      <a:pt x="845" y="330"/>
                    </a:lnTo>
                    <a:lnTo>
                      <a:pt x="843" y="332"/>
                    </a:lnTo>
                    <a:lnTo>
                      <a:pt x="845" y="332"/>
                    </a:lnTo>
                    <a:lnTo>
                      <a:pt x="843" y="332"/>
                    </a:lnTo>
                    <a:lnTo>
                      <a:pt x="843" y="330"/>
                    </a:lnTo>
                    <a:lnTo>
                      <a:pt x="845" y="330"/>
                    </a:lnTo>
                    <a:lnTo>
                      <a:pt x="847" y="330"/>
                    </a:lnTo>
                    <a:lnTo>
                      <a:pt x="845" y="329"/>
                    </a:lnTo>
                    <a:lnTo>
                      <a:pt x="845" y="327"/>
                    </a:lnTo>
                    <a:lnTo>
                      <a:pt x="847" y="327"/>
                    </a:lnTo>
                    <a:lnTo>
                      <a:pt x="847" y="325"/>
                    </a:lnTo>
                    <a:lnTo>
                      <a:pt x="847" y="327"/>
                    </a:lnTo>
                    <a:lnTo>
                      <a:pt x="847" y="329"/>
                    </a:lnTo>
                    <a:lnTo>
                      <a:pt x="847" y="327"/>
                    </a:lnTo>
                    <a:lnTo>
                      <a:pt x="847" y="325"/>
                    </a:lnTo>
                    <a:lnTo>
                      <a:pt x="849" y="325"/>
                    </a:lnTo>
                    <a:lnTo>
                      <a:pt x="849" y="323"/>
                    </a:lnTo>
                    <a:lnTo>
                      <a:pt x="847" y="323"/>
                    </a:lnTo>
                    <a:lnTo>
                      <a:pt x="847" y="321"/>
                    </a:lnTo>
                    <a:lnTo>
                      <a:pt x="849" y="321"/>
                    </a:lnTo>
                    <a:lnTo>
                      <a:pt x="849" y="319"/>
                    </a:lnTo>
                    <a:lnTo>
                      <a:pt x="849" y="317"/>
                    </a:lnTo>
                    <a:lnTo>
                      <a:pt x="849" y="319"/>
                    </a:lnTo>
                    <a:lnTo>
                      <a:pt x="849" y="321"/>
                    </a:lnTo>
                    <a:lnTo>
                      <a:pt x="849" y="319"/>
                    </a:lnTo>
                    <a:lnTo>
                      <a:pt x="851" y="319"/>
                    </a:lnTo>
                    <a:lnTo>
                      <a:pt x="851" y="317"/>
                    </a:lnTo>
                    <a:lnTo>
                      <a:pt x="851" y="315"/>
                    </a:lnTo>
                    <a:close/>
                    <a:moveTo>
                      <a:pt x="849" y="317"/>
                    </a:moveTo>
                    <a:lnTo>
                      <a:pt x="851" y="315"/>
                    </a:lnTo>
                    <a:lnTo>
                      <a:pt x="851" y="317"/>
                    </a:lnTo>
                    <a:lnTo>
                      <a:pt x="849" y="317"/>
                    </a:lnTo>
                    <a:close/>
                    <a:moveTo>
                      <a:pt x="847" y="317"/>
                    </a:moveTo>
                    <a:lnTo>
                      <a:pt x="847" y="319"/>
                    </a:lnTo>
                    <a:lnTo>
                      <a:pt x="849" y="319"/>
                    </a:lnTo>
                    <a:lnTo>
                      <a:pt x="847" y="319"/>
                    </a:lnTo>
                    <a:lnTo>
                      <a:pt x="847" y="317"/>
                    </a:lnTo>
                    <a:close/>
                    <a:moveTo>
                      <a:pt x="849" y="317"/>
                    </a:moveTo>
                    <a:lnTo>
                      <a:pt x="847" y="317"/>
                    </a:lnTo>
                    <a:lnTo>
                      <a:pt x="849" y="317"/>
                    </a:lnTo>
                    <a:close/>
                    <a:moveTo>
                      <a:pt x="853" y="315"/>
                    </a:moveTo>
                    <a:lnTo>
                      <a:pt x="853" y="313"/>
                    </a:lnTo>
                    <a:lnTo>
                      <a:pt x="853" y="315"/>
                    </a:lnTo>
                    <a:lnTo>
                      <a:pt x="853" y="313"/>
                    </a:lnTo>
                    <a:lnTo>
                      <a:pt x="855" y="313"/>
                    </a:lnTo>
                    <a:lnTo>
                      <a:pt x="855" y="315"/>
                    </a:lnTo>
                    <a:lnTo>
                      <a:pt x="853" y="315"/>
                    </a:lnTo>
                    <a:lnTo>
                      <a:pt x="855" y="315"/>
                    </a:lnTo>
                    <a:lnTo>
                      <a:pt x="853" y="315"/>
                    </a:lnTo>
                    <a:lnTo>
                      <a:pt x="851" y="315"/>
                    </a:lnTo>
                    <a:lnTo>
                      <a:pt x="853" y="315"/>
                    </a:lnTo>
                    <a:close/>
                    <a:moveTo>
                      <a:pt x="849" y="317"/>
                    </a:moveTo>
                    <a:lnTo>
                      <a:pt x="849" y="319"/>
                    </a:lnTo>
                    <a:lnTo>
                      <a:pt x="849" y="317"/>
                    </a:lnTo>
                    <a:lnTo>
                      <a:pt x="849" y="315"/>
                    </a:lnTo>
                    <a:lnTo>
                      <a:pt x="849" y="317"/>
                    </a:lnTo>
                    <a:lnTo>
                      <a:pt x="849" y="315"/>
                    </a:lnTo>
                    <a:lnTo>
                      <a:pt x="851" y="315"/>
                    </a:lnTo>
                    <a:lnTo>
                      <a:pt x="849" y="317"/>
                    </a:lnTo>
                    <a:close/>
                    <a:moveTo>
                      <a:pt x="849" y="317"/>
                    </a:moveTo>
                    <a:lnTo>
                      <a:pt x="849" y="315"/>
                    </a:lnTo>
                    <a:lnTo>
                      <a:pt x="849" y="317"/>
                    </a:lnTo>
                    <a:close/>
                    <a:moveTo>
                      <a:pt x="589" y="455"/>
                    </a:moveTo>
                    <a:lnTo>
                      <a:pt x="589" y="457"/>
                    </a:lnTo>
                    <a:lnTo>
                      <a:pt x="588" y="457"/>
                    </a:lnTo>
                    <a:lnTo>
                      <a:pt x="588" y="455"/>
                    </a:lnTo>
                    <a:lnTo>
                      <a:pt x="589" y="455"/>
                    </a:lnTo>
                    <a:close/>
                    <a:moveTo>
                      <a:pt x="547" y="475"/>
                    </a:moveTo>
                    <a:lnTo>
                      <a:pt x="545" y="475"/>
                    </a:lnTo>
                    <a:lnTo>
                      <a:pt x="547" y="475"/>
                    </a:lnTo>
                    <a:close/>
                    <a:moveTo>
                      <a:pt x="853" y="313"/>
                    </a:moveTo>
                    <a:lnTo>
                      <a:pt x="851" y="313"/>
                    </a:lnTo>
                    <a:lnTo>
                      <a:pt x="853" y="313"/>
                    </a:lnTo>
                    <a:close/>
                    <a:moveTo>
                      <a:pt x="582" y="459"/>
                    </a:moveTo>
                    <a:lnTo>
                      <a:pt x="580" y="459"/>
                    </a:lnTo>
                    <a:lnTo>
                      <a:pt x="582" y="459"/>
                    </a:lnTo>
                    <a:close/>
                    <a:moveTo>
                      <a:pt x="755" y="373"/>
                    </a:moveTo>
                    <a:lnTo>
                      <a:pt x="755" y="371"/>
                    </a:lnTo>
                    <a:lnTo>
                      <a:pt x="755" y="373"/>
                    </a:lnTo>
                    <a:close/>
                    <a:moveTo>
                      <a:pt x="605" y="448"/>
                    </a:moveTo>
                    <a:lnTo>
                      <a:pt x="603" y="450"/>
                    </a:lnTo>
                    <a:lnTo>
                      <a:pt x="603" y="448"/>
                    </a:lnTo>
                    <a:lnTo>
                      <a:pt x="605" y="448"/>
                    </a:lnTo>
                    <a:close/>
                    <a:moveTo>
                      <a:pt x="851" y="313"/>
                    </a:moveTo>
                    <a:lnTo>
                      <a:pt x="851" y="315"/>
                    </a:lnTo>
                    <a:lnTo>
                      <a:pt x="851" y="313"/>
                    </a:lnTo>
                    <a:lnTo>
                      <a:pt x="851" y="315"/>
                    </a:lnTo>
                    <a:lnTo>
                      <a:pt x="849" y="315"/>
                    </a:lnTo>
                    <a:lnTo>
                      <a:pt x="849" y="313"/>
                    </a:lnTo>
                    <a:lnTo>
                      <a:pt x="851" y="313"/>
                    </a:lnTo>
                    <a:close/>
                    <a:moveTo>
                      <a:pt x="551" y="471"/>
                    </a:moveTo>
                    <a:lnTo>
                      <a:pt x="551" y="473"/>
                    </a:lnTo>
                    <a:lnTo>
                      <a:pt x="551" y="471"/>
                    </a:lnTo>
                    <a:close/>
                    <a:moveTo>
                      <a:pt x="851" y="313"/>
                    </a:moveTo>
                    <a:lnTo>
                      <a:pt x="849" y="313"/>
                    </a:lnTo>
                    <a:lnTo>
                      <a:pt x="851" y="313"/>
                    </a:lnTo>
                    <a:close/>
                    <a:moveTo>
                      <a:pt x="849" y="315"/>
                    </a:moveTo>
                    <a:lnTo>
                      <a:pt x="847" y="315"/>
                    </a:lnTo>
                    <a:lnTo>
                      <a:pt x="849" y="315"/>
                    </a:lnTo>
                    <a:close/>
                    <a:moveTo>
                      <a:pt x="438" y="519"/>
                    </a:moveTo>
                    <a:lnTo>
                      <a:pt x="440" y="519"/>
                    </a:lnTo>
                    <a:lnTo>
                      <a:pt x="440" y="521"/>
                    </a:lnTo>
                    <a:lnTo>
                      <a:pt x="438" y="519"/>
                    </a:lnTo>
                    <a:lnTo>
                      <a:pt x="440" y="519"/>
                    </a:lnTo>
                    <a:lnTo>
                      <a:pt x="440" y="521"/>
                    </a:lnTo>
                    <a:lnTo>
                      <a:pt x="440" y="519"/>
                    </a:lnTo>
                    <a:lnTo>
                      <a:pt x="438" y="519"/>
                    </a:lnTo>
                    <a:lnTo>
                      <a:pt x="436" y="517"/>
                    </a:lnTo>
                    <a:lnTo>
                      <a:pt x="438" y="517"/>
                    </a:lnTo>
                    <a:lnTo>
                      <a:pt x="438" y="519"/>
                    </a:lnTo>
                    <a:close/>
                    <a:moveTo>
                      <a:pt x="851" y="311"/>
                    </a:moveTo>
                    <a:lnTo>
                      <a:pt x="851" y="313"/>
                    </a:lnTo>
                    <a:lnTo>
                      <a:pt x="851" y="311"/>
                    </a:lnTo>
                    <a:close/>
                    <a:moveTo>
                      <a:pt x="847" y="315"/>
                    </a:moveTo>
                    <a:lnTo>
                      <a:pt x="849" y="315"/>
                    </a:lnTo>
                    <a:lnTo>
                      <a:pt x="847" y="317"/>
                    </a:lnTo>
                    <a:lnTo>
                      <a:pt x="847" y="315"/>
                    </a:lnTo>
                    <a:close/>
                    <a:moveTo>
                      <a:pt x="553" y="469"/>
                    </a:moveTo>
                    <a:lnTo>
                      <a:pt x="553" y="471"/>
                    </a:lnTo>
                    <a:lnTo>
                      <a:pt x="553" y="469"/>
                    </a:lnTo>
                    <a:lnTo>
                      <a:pt x="555" y="469"/>
                    </a:lnTo>
                    <a:lnTo>
                      <a:pt x="553" y="469"/>
                    </a:lnTo>
                    <a:close/>
                    <a:moveTo>
                      <a:pt x="849" y="311"/>
                    </a:moveTo>
                    <a:lnTo>
                      <a:pt x="849" y="313"/>
                    </a:lnTo>
                    <a:lnTo>
                      <a:pt x="849" y="311"/>
                    </a:lnTo>
                    <a:close/>
                    <a:moveTo>
                      <a:pt x="847" y="313"/>
                    </a:moveTo>
                    <a:lnTo>
                      <a:pt x="847" y="315"/>
                    </a:lnTo>
                    <a:lnTo>
                      <a:pt x="847" y="313"/>
                    </a:lnTo>
                    <a:close/>
                    <a:moveTo>
                      <a:pt x="845" y="315"/>
                    </a:moveTo>
                    <a:lnTo>
                      <a:pt x="847" y="315"/>
                    </a:lnTo>
                    <a:lnTo>
                      <a:pt x="847" y="317"/>
                    </a:lnTo>
                    <a:lnTo>
                      <a:pt x="845" y="317"/>
                    </a:lnTo>
                    <a:lnTo>
                      <a:pt x="845" y="315"/>
                    </a:lnTo>
                    <a:close/>
                    <a:moveTo>
                      <a:pt x="849" y="313"/>
                    </a:moveTo>
                    <a:lnTo>
                      <a:pt x="847" y="313"/>
                    </a:lnTo>
                    <a:lnTo>
                      <a:pt x="849" y="313"/>
                    </a:lnTo>
                    <a:lnTo>
                      <a:pt x="847" y="313"/>
                    </a:lnTo>
                    <a:lnTo>
                      <a:pt x="847" y="311"/>
                    </a:lnTo>
                    <a:lnTo>
                      <a:pt x="847" y="313"/>
                    </a:lnTo>
                    <a:lnTo>
                      <a:pt x="849" y="313"/>
                    </a:lnTo>
                    <a:close/>
                    <a:moveTo>
                      <a:pt x="601" y="446"/>
                    </a:moveTo>
                    <a:lnTo>
                      <a:pt x="603" y="446"/>
                    </a:lnTo>
                    <a:lnTo>
                      <a:pt x="601" y="446"/>
                    </a:lnTo>
                    <a:close/>
                    <a:moveTo>
                      <a:pt x="847" y="313"/>
                    </a:moveTo>
                    <a:lnTo>
                      <a:pt x="847" y="311"/>
                    </a:lnTo>
                    <a:lnTo>
                      <a:pt x="847" y="313"/>
                    </a:lnTo>
                    <a:close/>
                    <a:moveTo>
                      <a:pt x="849" y="311"/>
                    </a:moveTo>
                    <a:lnTo>
                      <a:pt x="847" y="311"/>
                    </a:lnTo>
                    <a:lnTo>
                      <a:pt x="849" y="311"/>
                    </a:lnTo>
                    <a:lnTo>
                      <a:pt x="847" y="311"/>
                    </a:lnTo>
                    <a:lnTo>
                      <a:pt x="849" y="311"/>
                    </a:lnTo>
                    <a:close/>
                    <a:moveTo>
                      <a:pt x="849" y="311"/>
                    </a:moveTo>
                    <a:lnTo>
                      <a:pt x="847" y="311"/>
                    </a:lnTo>
                    <a:lnTo>
                      <a:pt x="849" y="311"/>
                    </a:lnTo>
                    <a:close/>
                    <a:moveTo>
                      <a:pt x="415" y="523"/>
                    </a:moveTo>
                    <a:lnTo>
                      <a:pt x="417" y="523"/>
                    </a:lnTo>
                    <a:lnTo>
                      <a:pt x="415" y="523"/>
                    </a:lnTo>
                    <a:close/>
                    <a:moveTo>
                      <a:pt x="620" y="436"/>
                    </a:moveTo>
                    <a:lnTo>
                      <a:pt x="618" y="438"/>
                    </a:lnTo>
                    <a:lnTo>
                      <a:pt x="620" y="436"/>
                    </a:lnTo>
                    <a:close/>
                    <a:moveTo>
                      <a:pt x="841" y="315"/>
                    </a:moveTo>
                    <a:lnTo>
                      <a:pt x="841" y="313"/>
                    </a:lnTo>
                    <a:lnTo>
                      <a:pt x="843" y="313"/>
                    </a:lnTo>
                    <a:lnTo>
                      <a:pt x="843" y="315"/>
                    </a:lnTo>
                    <a:lnTo>
                      <a:pt x="841" y="315"/>
                    </a:lnTo>
                    <a:lnTo>
                      <a:pt x="841" y="313"/>
                    </a:lnTo>
                    <a:lnTo>
                      <a:pt x="841" y="315"/>
                    </a:lnTo>
                    <a:close/>
                    <a:moveTo>
                      <a:pt x="753" y="367"/>
                    </a:moveTo>
                    <a:lnTo>
                      <a:pt x="753" y="369"/>
                    </a:lnTo>
                    <a:lnTo>
                      <a:pt x="753" y="367"/>
                    </a:lnTo>
                    <a:lnTo>
                      <a:pt x="751" y="367"/>
                    </a:lnTo>
                    <a:lnTo>
                      <a:pt x="753" y="367"/>
                    </a:lnTo>
                    <a:close/>
                    <a:moveTo>
                      <a:pt x="624" y="432"/>
                    </a:moveTo>
                    <a:lnTo>
                      <a:pt x="622" y="434"/>
                    </a:lnTo>
                    <a:lnTo>
                      <a:pt x="622" y="432"/>
                    </a:lnTo>
                    <a:lnTo>
                      <a:pt x="624" y="432"/>
                    </a:lnTo>
                    <a:lnTo>
                      <a:pt x="622" y="432"/>
                    </a:lnTo>
                    <a:lnTo>
                      <a:pt x="624" y="432"/>
                    </a:lnTo>
                    <a:close/>
                    <a:moveTo>
                      <a:pt x="745" y="369"/>
                    </a:moveTo>
                    <a:lnTo>
                      <a:pt x="745" y="371"/>
                    </a:lnTo>
                    <a:lnTo>
                      <a:pt x="745" y="369"/>
                    </a:lnTo>
                    <a:lnTo>
                      <a:pt x="743" y="371"/>
                    </a:lnTo>
                    <a:lnTo>
                      <a:pt x="743" y="369"/>
                    </a:lnTo>
                    <a:lnTo>
                      <a:pt x="745" y="369"/>
                    </a:lnTo>
                    <a:close/>
                    <a:moveTo>
                      <a:pt x="839" y="311"/>
                    </a:moveTo>
                    <a:lnTo>
                      <a:pt x="839" y="309"/>
                    </a:lnTo>
                    <a:lnTo>
                      <a:pt x="841" y="309"/>
                    </a:lnTo>
                    <a:lnTo>
                      <a:pt x="839" y="309"/>
                    </a:lnTo>
                    <a:lnTo>
                      <a:pt x="839" y="311"/>
                    </a:lnTo>
                    <a:close/>
                    <a:moveTo>
                      <a:pt x="828" y="311"/>
                    </a:moveTo>
                    <a:lnTo>
                      <a:pt x="828" y="313"/>
                    </a:lnTo>
                    <a:lnTo>
                      <a:pt x="826" y="313"/>
                    </a:lnTo>
                    <a:lnTo>
                      <a:pt x="828" y="313"/>
                    </a:lnTo>
                    <a:lnTo>
                      <a:pt x="828" y="311"/>
                    </a:lnTo>
                    <a:close/>
                    <a:moveTo>
                      <a:pt x="639" y="415"/>
                    </a:moveTo>
                    <a:lnTo>
                      <a:pt x="637" y="415"/>
                    </a:lnTo>
                    <a:lnTo>
                      <a:pt x="639" y="415"/>
                    </a:lnTo>
                    <a:close/>
                    <a:moveTo>
                      <a:pt x="405" y="511"/>
                    </a:moveTo>
                    <a:lnTo>
                      <a:pt x="405" y="513"/>
                    </a:lnTo>
                    <a:lnTo>
                      <a:pt x="405" y="511"/>
                    </a:lnTo>
                    <a:close/>
                    <a:moveTo>
                      <a:pt x="403" y="513"/>
                    </a:moveTo>
                    <a:lnTo>
                      <a:pt x="401" y="513"/>
                    </a:lnTo>
                    <a:lnTo>
                      <a:pt x="403" y="513"/>
                    </a:lnTo>
                    <a:close/>
                    <a:moveTo>
                      <a:pt x="376" y="523"/>
                    </a:moveTo>
                    <a:lnTo>
                      <a:pt x="374" y="523"/>
                    </a:lnTo>
                    <a:lnTo>
                      <a:pt x="376" y="523"/>
                    </a:lnTo>
                    <a:lnTo>
                      <a:pt x="374" y="523"/>
                    </a:lnTo>
                    <a:lnTo>
                      <a:pt x="376" y="523"/>
                    </a:lnTo>
                    <a:close/>
                    <a:moveTo>
                      <a:pt x="495" y="477"/>
                    </a:moveTo>
                    <a:lnTo>
                      <a:pt x="495" y="478"/>
                    </a:lnTo>
                    <a:lnTo>
                      <a:pt x="493" y="478"/>
                    </a:lnTo>
                    <a:lnTo>
                      <a:pt x="493" y="477"/>
                    </a:lnTo>
                    <a:lnTo>
                      <a:pt x="495" y="477"/>
                    </a:lnTo>
                    <a:close/>
                    <a:moveTo>
                      <a:pt x="493" y="477"/>
                    </a:moveTo>
                    <a:lnTo>
                      <a:pt x="493" y="478"/>
                    </a:lnTo>
                    <a:lnTo>
                      <a:pt x="491" y="478"/>
                    </a:lnTo>
                    <a:lnTo>
                      <a:pt x="491" y="477"/>
                    </a:lnTo>
                    <a:lnTo>
                      <a:pt x="493" y="477"/>
                    </a:lnTo>
                    <a:close/>
                    <a:moveTo>
                      <a:pt x="762" y="344"/>
                    </a:moveTo>
                    <a:lnTo>
                      <a:pt x="762" y="346"/>
                    </a:lnTo>
                    <a:lnTo>
                      <a:pt x="762" y="344"/>
                    </a:lnTo>
                    <a:close/>
                    <a:moveTo>
                      <a:pt x="407" y="509"/>
                    </a:moveTo>
                    <a:lnTo>
                      <a:pt x="407" y="507"/>
                    </a:lnTo>
                    <a:lnTo>
                      <a:pt x="409" y="509"/>
                    </a:lnTo>
                    <a:lnTo>
                      <a:pt x="407" y="509"/>
                    </a:lnTo>
                    <a:lnTo>
                      <a:pt x="407" y="507"/>
                    </a:lnTo>
                    <a:lnTo>
                      <a:pt x="407" y="509"/>
                    </a:lnTo>
                    <a:close/>
                    <a:moveTo>
                      <a:pt x="755" y="348"/>
                    </a:moveTo>
                    <a:lnTo>
                      <a:pt x="753" y="348"/>
                    </a:lnTo>
                    <a:lnTo>
                      <a:pt x="755" y="348"/>
                    </a:lnTo>
                    <a:close/>
                    <a:moveTo>
                      <a:pt x="753" y="346"/>
                    </a:moveTo>
                    <a:lnTo>
                      <a:pt x="755" y="346"/>
                    </a:lnTo>
                    <a:lnTo>
                      <a:pt x="755" y="348"/>
                    </a:lnTo>
                    <a:lnTo>
                      <a:pt x="753" y="346"/>
                    </a:lnTo>
                    <a:lnTo>
                      <a:pt x="755" y="348"/>
                    </a:lnTo>
                    <a:lnTo>
                      <a:pt x="753" y="348"/>
                    </a:lnTo>
                    <a:lnTo>
                      <a:pt x="755" y="348"/>
                    </a:lnTo>
                    <a:lnTo>
                      <a:pt x="753" y="348"/>
                    </a:lnTo>
                    <a:lnTo>
                      <a:pt x="753" y="346"/>
                    </a:lnTo>
                    <a:close/>
                    <a:moveTo>
                      <a:pt x="403" y="507"/>
                    </a:moveTo>
                    <a:lnTo>
                      <a:pt x="405" y="507"/>
                    </a:lnTo>
                    <a:lnTo>
                      <a:pt x="403" y="507"/>
                    </a:lnTo>
                    <a:lnTo>
                      <a:pt x="405" y="507"/>
                    </a:lnTo>
                    <a:lnTo>
                      <a:pt x="403" y="507"/>
                    </a:lnTo>
                    <a:close/>
                    <a:moveTo>
                      <a:pt x="407" y="507"/>
                    </a:moveTo>
                    <a:lnTo>
                      <a:pt x="407" y="505"/>
                    </a:lnTo>
                    <a:lnTo>
                      <a:pt x="407" y="507"/>
                    </a:lnTo>
                    <a:close/>
                    <a:moveTo>
                      <a:pt x="401" y="507"/>
                    </a:moveTo>
                    <a:lnTo>
                      <a:pt x="403" y="507"/>
                    </a:lnTo>
                    <a:lnTo>
                      <a:pt x="401" y="507"/>
                    </a:lnTo>
                    <a:close/>
                    <a:moveTo>
                      <a:pt x="401" y="507"/>
                    </a:moveTo>
                    <a:lnTo>
                      <a:pt x="403" y="507"/>
                    </a:lnTo>
                    <a:lnTo>
                      <a:pt x="403" y="509"/>
                    </a:lnTo>
                    <a:lnTo>
                      <a:pt x="405" y="509"/>
                    </a:lnTo>
                    <a:lnTo>
                      <a:pt x="407" y="509"/>
                    </a:lnTo>
                    <a:lnTo>
                      <a:pt x="405" y="509"/>
                    </a:lnTo>
                    <a:lnTo>
                      <a:pt x="405" y="511"/>
                    </a:lnTo>
                    <a:lnTo>
                      <a:pt x="405" y="509"/>
                    </a:lnTo>
                    <a:lnTo>
                      <a:pt x="405" y="511"/>
                    </a:lnTo>
                    <a:lnTo>
                      <a:pt x="403" y="511"/>
                    </a:lnTo>
                    <a:lnTo>
                      <a:pt x="401" y="511"/>
                    </a:lnTo>
                    <a:lnTo>
                      <a:pt x="401" y="509"/>
                    </a:lnTo>
                    <a:lnTo>
                      <a:pt x="399" y="509"/>
                    </a:lnTo>
                    <a:lnTo>
                      <a:pt x="401" y="509"/>
                    </a:lnTo>
                    <a:lnTo>
                      <a:pt x="399" y="509"/>
                    </a:lnTo>
                    <a:lnTo>
                      <a:pt x="399" y="507"/>
                    </a:lnTo>
                    <a:lnTo>
                      <a:pt x="401" y="507"/>
                    </a:lnTo>
                    <a:close/>
                    <a:moveTo>
                      <a:pt x="403" y="507"/>
                    </a:moveTo>
                    <a:lnTo>
                      <a:pt x="403" y="505"/>
                    </a:lnTo>
                    <a:lnTo>
                      <a:pt x="405" y="505"/>
                    </a:lnTo>
                    <a:lnTo>
                      <a:pt x="403" y="505"/>
                    </a:lnTo>
                    <a:lnTo>
                      <a:pt x="405" y="507"/>
                    </a:lnTo>
                    <a:lnTo>
                      <a:pt x="405" y="505"/>
                    </a:lnTo>
                    <a:lnTo>
                      <a:pt x="405" y="507"/>
                    </a:lnTo>
                    <a:lnTo>
                      <a:pt x="407" y="505"/>
                    </a:lnTo>
                    <a:lnTo>
                      <a:pt x="407" y="507"/>
                    </a:lnTo>
                    <a:lnTo>
                      <a:pt x="409" y="507"/>
                    </a:lnTo>
                    <a:lnTo>
                      <a:pt x="407" y="507"/>
                    </a:lnTo>
                    <a:lnTo>
                      <a:pt x="405" y="507"/>
                    </a:lnTo>
                    <a:lnTo>
                      <a:pt x="403" y="507"/>
                    </a:lnTo>
                    <a:lnTo>
                      <a:pt x="401" y="507"/>
                    </a:lnTo>
                    <a:lnTo>
                      <a:pt x="403" y="507"/>
                    </a:lnTo>
                    <a:lnTo>
                      <a:pt x="401" y="507"/>
                    </a:lnTo>
                    <a:lnTo>
                      <a:pt x="403" y="507"/>
                    </a:lnTo>
                    <a:close/>
                    <a:moveTo>
                      <a:pt x="415" y="500"/>
                    </a:moveTo>
                    <a:lnTo>
                      <a:pt x="415" y="502"/>
                    </a:lnTo>
                    <a:lnTo>
                      <a:pt x="415" y="500"/>
                    </a:lnTo>
                    <a:close/>
                    <a:moveTo>
                      <a:pt x="401" y="505"/>
                    </a:moveTo>
                    <a:lnTo>
                      <a:pt x="401" y="507"/>
                    </a:lnTo>
                    <a:lnTo>
                      <a:pt x="399" y="507"/>
                    </a:lnTo>
                    <a:lnTo>
                      <a:pt x="399" y="505"/>
                    </a:lnTo>
                    <a:lnTo>
                      <a:pt x="401" y="505"/>
                    </a:lnTo>
                    <a:close/>
                    <a:moveTo>
                      <a:pt x="401" y="505"/>
                    </a:moveTo>
                    <a:lnTo>
                      <a:pt x="403" y="505"/>
                    </a:lnTo>
                    <a:lnTo>
                      <a:pt x="403" y="503"/>
                    </a:lnTo>
                    <a:lnTo>
                      <a:pt x="403" y="505"/>
                    </a:lnTo>
                    <a:lnTo>
                      <a:pt x="405" y="505"/>
                    </a:lnTo>
                    <a:lnTo>
                      <a:pt x="407" y="505"/>
                    </a:lnTo>
                    <a:lnTo>
                      <a:pt x="407" y="503"/>
                    </a:lnTo>
                    <a:lnTo>
                      <a:pt x="409" y="503"/>
                    </a:lnTo>
                    <a:lnTo>
                      <a:pt x="409" y="505"/>
                    </a:lnTo>
                    <a:lnTo>
                      <a:pt x="407" y="505"/>
                    </a:lnTo>
                    <a:lnTo>
                      <a:pt x="405" y="505"/>
                    </a:lnTo>
                    <a:lnTo>
                      <a:pt x="403" y="505"/>
                    </a:lnTo>
                    <a:lnTo>
                      <a:pt x="401" y="505"/>
                    </a:lnTo>
                    <a:lnTo>
                      <a:pt x="403" y="505"/>
                    </a:lnTo>
                    <a:lnTo>
                      <a:pt x="401" y="505"/>
                    </a:lnTo>
                    <a:close/>
                    <a:moveTo>
                      <a:pt x="753" y="344"/>
                    </a:moveTo>
                    <a:lnTo>
                      <a:pt x="755" y="344"/>
                    </a:lnTo>
                    <a:lnTo>
                      <a:pt x="753" y="344"/>
                    </a:lnTo>
                    <a:lnTo>
                      <a:pt x="755" y="344"/>
                    </a:lnTo>
                    <a:lnTo>
                      <a:pt x="753" y="344"/>
                    </a:lnTo>
                    <a:lnTo>
                      <a:pt x="755" y="344"/>
                    </a:lnTo>
                    <a:lnTo>
                      <a:pt x="753" y="344"/>
                    </a:lnTo>
                    <a:lnTo>
                      <a:pt x="753" y="346"/>
                    </a:lnTo>
                    <a:lnTo>
                      <a:pt x="755" y="346"/>
                    </a:lnTo>
                    <a:lnTo>
                      <a:pt x="753" y="346"/>
                    </a:lnTo>
                    <a:lnTo>
                      <a:pt x="755" y="346"/>
                    </a:lnTo>
                    <a:lnTo>
                      <a:pt x="753" y="346"/>
                    </a:lnTo>
                    <a:lnTo>
                      <a:pt x="755" y="346"/>
                    </a:lnTo>
                    <a:lnTo>
                      <a:pt x="753" y="346"/>
                    </a:lnTo>
                    <a:lnTo>
                      <a:pt x="753" y="344"/>
                    </a:lnTo>
                    <a:lnTo>
                      <a:pt x="751" y="344"/>
                    </a:lnTo>
                    <a:lnTo>
                      <a:pt x="753" y="344"/>
                    </a:lnTo>
                    <a:close/>
                    <a:moveTo>
                      <a:pt x="363" y="519"/>
                    </a:moveTo>
                    <a:lnTo>
                      <a:pt x="365" y="519"/>
                    </a:lnTo>
                    <a:lnTo>
                      <a:pt x="367" y="519"/>
                    </a:lnTo>
                    <a:lnTo>
                      <a:pt x="368" y="519"/>
                    </a:lnTo>
                    <a:lnTo>
                      <a:pt x="370" y="519"/>
                    </a:lnTo>
                    <a:lnTo>
                      <a:pt x="370" y="521"/>
                    </a:lnTo>
                    <a:lnTo>
                      <a:pt x="372" y="521"/>
                    </a:lnTo>
                    <a:lnTo>
                      <a:pt x="372" y="523"/>
                    </a:lnTo>
                    <a:lnTo>
                      <a:pt x="372" y="525"/>
                    </a:lnTo>
                    <a:lnTo>
                      <a:pt x="370" y="525"/>
                    </a:lnTo>
                    <a:lnTo>
                      <a:pt x="370" y="523"/>
                    </a:lnTo>
                    <a:lnTo>
                      <a:pt x="368" y="523"/>
                    </a:lnTo>
                    <a:lnTo>
                      <a:pt x="367" y="523"/>
                    </a:lnTo>
                    <a:lnTo>
                      <a:pt x="367" y="521"/>
                    </a:lnTo>
                    <a:lnTo>
                      <a:pt x="365" y="521"/>
                    </a:lnTo>
                    <a:lnTo>
                      <a:pt x="363" y="519"/>
                    </a:lnTo>
                    <a:close/>
                    <a:moveTo>
                      <a:pt x="411" y="500"/>
                    </a:moveTo>
                    <a:lnTo>
                      <a:pt x="411" y="502"/>
                    </a:lnTo>
                    <a:lnTo>
                      <a:pt x="409" y="502"/>
                    </a:lnTo>
                    <a:lnTo>
                      <a:pt x="411" y="500"/>
                    </a:lnTo>
                    <a:close/>
                    <a:moveTo>
                      <a:pt x="409" y="502"/>
                    </a:moveTo>
                    <a:lnTo>
                      <a:pt x="409" y="503"/>
                    </a:lnTo>
                    <a:lnTo>
                      <a:pt x="407" y="503"/>
                    </a:lnTo>
                    <a:lnTo>
                      <a:pt x="407" y="502"/>
                    </a:lnTo>
                    <a:lnTo>
                      <a:pt x="409" y="502"/>
                    </a:lnTo>
                    <a:close/>
                    <a:moveTo>
                      <a:pt x="399" y="503"/>
                    </a:moveTo>
                    <a:lnTo>
                      <a:pt x="399" y="505"/>
                    </a:lnTo>
                    <a:lnTo>
                      <a:pt x="399" y="503"/>
                    </a:lnTo>
                    <a:close/>
                    <a:moveTo>
                      <a:pt x="409" y="502"/>
                    </a:moveTo>
                    <a:lnTo>
                      <a:pt x="407" y="502"/>
                    </a:lnTo>
                    <a:lnTo>
                      <a:pt x="409" y="502"/>
                    </a:lnTo>
                    <a:close/>
                    <a:moveTo>
                      <a:pt x="411" y="500"/>
                    </a:moveTo>
                    <a:lnTo>
                      <a:pt x="409" y="502"/>
                    </a:lnTo>
                    <a:lnTo>
                      <a:pt x="409" y="500"/>
                    </a:lnTo>
                    <a:lnTo>
                      <a:pt x="411" y="500"/>
                    </a:lnTo>
                    <a:close/>
                    <a:moveTo>
                      <a:pt x="751" y="342"/>
                    </a:moveTo>
                    <a:lnTo>
                      <a:pt x="751" y="344"/>
                    </a:lnTo>
                    <a:lnTo>
                      <a:pt x="751" y="342"/>
                    </a:lnTo>
                    <a:lnTo>
                      <a:pt x="751" y="344"/>
                    </a:lnTo>
                    <a:lnTo>
                      <a:pt x="751" y="342"/>
                    </a:lnTo>
                    <a:close/>
                    <a:moveTo>
                      <a:pt x="405" y="502"/>
                    </a:moveTo>
                    <a:lnTo>
                      <a:pt x="407" y="502"/>
                    </a:lnTo>
                    <a:lnTo>
                      <a:pt x="405" y="502"/>
                    </a:lnTo>
                    <a:close/>
                    <a:moveTo>
                      <a:pt x="359" y="519"/>
                    </a:moveTo>
                    <a:lnTo>
                      <a:pt x="361" y="519"/>
                    </a:lnTo>
                    <a:lnTo>
                      <a:pt x="363" y="519"/>
                    </a:lnTo>
                    <a:lnTo>
                      <a:pt x="363" y="521"/>
                    </a:lnTo>
                    <a:lnTo>
                      <a:pt x="365" y="521"/>
                    </a:lnTo>
                    <a:lnTo>
                      <a:pt x="363" y="521"/>
                    </a:lnTo>
                    <a:lnTo>
                      <a:pt x="361" y="521"/>
                    </a:lnTo>
                    <a:lnTo>
                      <a:pt x="361" y="519"/>
                    </a:lnTo>
                    <a:lnTo>
                      <a:pt x="359" y="519"/>
                    </a:lnTo>
                    <a:close/>
                    <a:moveTo>
                      <a:pt x="413" y="500"/>
                    </a:moveTo>
                    <a:lnTo>
                      <a:pt x="411" y="500"/>
                    </a:lnTo>
                    <a:lnTo>
                      <a:pt x="413" y="500"/>
                    </a:lnTo>
                    <a:close/>
                    <a:moveTo>
                      <a:pt x="415" y="498"/>
                    </a:moveTo>
                    <a:lnTo>
                      <a:pt x="415" y="500"/>
                    </a:lnTo>
                    <a:lnTo>
                      <a:pt x="413" y="500"/>
                    </a:lnTo>
                    <a:lnTo>
                      <a:pt x="415" y="498"/>
                    </a:lnTo>
                    <a:close/>
                    <a:moveTo>
                      <a:pt x="399" y="503"/>
                    </a:moveTo>
                    <a:lnTo>
                      <a:pt x="397" y="503"/>
                    </a:lnTo>
                    <a:lnTo>
                      <a:pt x="399" y="503"/>
                    </a:lnTo>
                    <a:close/>
                    <a:moveTo>
                      <a:pt x="403" y="503"/>
                    </a:moveTo>
                    <a:lnTo>
                      <a:pt x="401" y="503"/>
                    </a:lnTo>
                    <a:lnTo>
                      <a:pt x="403" y="503"/>
                    </a:lnTo>
                    <a:close/>
                    <a:moveTo>
                      <a:pt x="399" y="503"/>
                    </a:moveTo>
                    <a:lnTo>
                      <a:pt x="397" y="503"/>
                    </a:lnTo>
                    <a:lnTo>
                      <a:pt x="399" y="503"/>
                    </a:lnTo>
                    <a:close/>
                    <a:moveTo>
                      <a:pt x="401" y="503"/>
                    </a:moveTo>
                    <a:lnTo>
                      <a:pt x="399" y="503"/>
                    </a:lnTo>
                    <a:lnTo>
                      <a:pt x="401" y="503"/>
                    </a:lnTo>
                    <a:lnTo>
                      <a:pt x="399" y="503"/>
                    </a:lnTo>
                    <a:lnTo>
                      <a:pt x="401" y="503"/>
                    </a:lnTo>
                    <a:close/>
                    <a:moveTo>
                      <a:pt x="401" y="503"/>
                    </a:moveTo>
                    <a:lnTo>
                      <a:pt x="399" y="503"/>
                    </a:lnTo>
                    <a:lnTo>
                      <a:pt x="401" y="503"/>
                    </a:lnTo>
                    <a:close/>
                    <a:moveTo>
                      <a:pt x="764" y="336"/>
                    </a:moveTo>
                    <a:lnTo>
                      <a:pt x="764" y="334"/>
                    </a:lnTo>
                    <a:lnTo>
                      <a:pt x="764" y="336"/>
                    </a:lnTo>
                    <a:close/>
                    <a:moveTo>
                      <a:pt x="755" y="338"/>
                    </a:moveTo>
                    <a:lnTo>
                      <a:pt x="755" y="340"/>
                    </a:lnTo>
                    <a:lnTo>
                      <a:pt x="755" y="338"/>
                    </a:lnTo>
                    <a:close/>
                    <a:moveTo>
                      <a:pt x="397" y="503"/>
                    </a:moveTo>
                    <a:lnTo>
                      <a:pt x="395" y="503"/>
                    </a:lnTo>
                    <a:lnTo>
                      <a:pt x="397" y="503"/>
                    </a:lnTo>
                    <a:close/>
                    <a:moveTo>
                      <a:pt x="403" y="502"/>
                    </a:moveTo>
                    <a:lnTo>
                      <a:pt x="405" y="502"/>
                    </a:lnTo>
                    <a:lnTo>
                      <a:pt x="403" y="502"/>
                    </a:lnTo>
                    <a:lnTo>
                      <a:pt x="403" y="503"/>
                    </a:lnTo>
                    <a:lnTo>
                      <a:pt x="401" y="503"/>
                    </a:lnTo>
                    <a:lnTo>
                      <a:pt x="401" y="502"/>
                    </a:lnTo>
                    <a:lnTo>
                      <a:pt x="403" y="502"/>
                    </a:lnTo>
                    <a:close/>
                    <a:moveTo>
                      <a:pt x="757" y="338"/>
                    </a:moveTo>
                    <a:lnTo>
                      <a:pt x="755" y="338"/>
                    </a:lnTo>
                    <a:lnTo>
                      <a:pt x="757" y="338"/>
                    </a:lnTo>
                    <a:close/>
                    <a:moveTo>
                      <a:pt x="401" y="502"/>
                    </a:moveTo>
                    <a:lnTo>
                      <a:pt x="401" y="503"/>
                    </a:lnTo>
                    <a:lnTo>
                      <a:pt x="399" y="502"/>
                    </a:lnTo>
                    <a:lnTo>
                      <a:pt x="401" y="502"/>
                    </a:lnTo>
                    <a:close/>
                    <a:moveTo>
                      <a:pt x="399" y="502"/>
                    </a:moveTo>
                    <a:lnTo>
                      <a:pt x="399" y="503"/>
                    </a:lnTo>
                    <a:lnTo>
                      <a:pt x="399" y="502"/>
                    </a:lnTo>
                    <a:close/>
                    <a:moveTo>
                      <a:pt x="363" y="515"/>
                    </a:moveTo>
                    <a:lnTo>
                      <a:pt x="361" y="515"/>
                    </a:lnTo>
                    <a:lnTo>
                      <a:pt x="363" y="515"/>
                    </a:lnTo>
                    <a:close/>
                    <a:moveTo>
                      <a:pt x="758" y="336"/>
                    </a:moveTo>
                    <a:lnTo>
                      <a:pt x="757" y="338"/>
                    </a:lnTo>
                    <a:lnTo>
                      <a:pt x="757" y="336"/>
                    </a:lnTo>
                    <a:lnTo>
                      <a:pt x="758" y="336"/>
                    </a:lnTo>
                    <a:close/>
                    <a:moveTo>
                      <a:pt x="415" y="496"/>
                    </a:moveTo>
                    <a:lnTo>
                      <a:pt x="417" y="496"/>
                    </a:lnTo>
                    <a:lnTo>
                      <a:pt x="417" y="498"/>
                    </a:lnTo>
                    <a:lnTo>
                      <a:pt x="415" y="498"/>
                    </a:lnTo>
                    <a:lnTo>
                      <a:pt x="415" y="496"/>
                    </a:lnTo>
                    <a:close/>
                    <a:moveTo>
                      <a:pt x="407" y="500"/>
                    </a:moveTo>
                    <a:lnTo>
                      <a:pt x="405" y="500"/>
                    </a:lnTo>
                    <a:lnTo>
                      <a:pt x="407" y="500"/>
                    </a:lnTo>
                    <a:close/>
                    <a:moveTo>
                      <a:pt x="413" y="498"/>
                    </a:moveTo>
                    <a:lnTo>
                      <a:pt x="415" y="498"/>
                    </a:lnTo>
                    <a:lnTo>
                      <a:pt x="413" y="498"/>
                    </a:lnTo>
                    <a:lnTo>
                      <a:pt x="411" y="498"/>
                    </a:lnTo>
                    <a:lnTo>
                      <a:pt x="413" y="498"/>
                    </a:lnTo>
                    <a:lnTo>
                      <a:pt x="415" y="498"/>
                    </a:lnTo>
                    <a:lnTo>
                      <a:pt x="413" y="498"/>
                    </a:lnTo>
                    <a:lnTo>
                      <a:pt x="415" y="498"/>
                    </a:lnTo>
                    <a:lnTo>
                      <a:pt x="413" y="500"/>
                    </a:lnTo>
                    <a:lnTo>
                      <a:pt x="411" y="498"/>
                    </a:lnTo>
                    <a:lnTo>
                      <a:pt x="409" y="498"/>
                    </a:lnTo>
                    <a:lnTo>
                      <a:pt x="411" y="498"/>
                    </a:lnTo>
                    <a:lnTo>
                      <a:pt x="413" y="498"/>
                    </a:lnTo>
                    <a:close/>
                    <a:moveTo>
                      <a:pt x="401" y="502"/>
                    </a:moveTo>
                    <a:lnTo>
                      <a:pt x="399" y="502"/>
                    </a:lnTo>
                    <a:lnTo>
                      <a:pt x="401" y="502"/>
                    </a:lnTo>
                    <a:close/>
                    <a:moveTo>
                      <a:pt x="397" y="502"/>
                    </a:moveTo>
                    <a:lnTo>
                      <a:pt x="399" y="502"/>
                    </a:lnTo>
                    <a:lnTo>
                      <a:pt x="399" y="503"/>
                    </a:lnTo>
                    <a:lnTo>
                      <a:pt x="397" y="503"/>
                    </a:lnTo>
                    <a:lnTo>
                      <a:pt x="397" y="502"/>
                    </a:lnTo>
                    <a:lnTo>
                      <a:pt x="397" y="503"/>
                    </a:lnTo>
                    <a:lnTo>
                      <a:pt x="397" y="502"/>
                    </a:lnTo>
                    <a:close/>
                    <a:moveTo>
                      <a:pt x="403" y="500"/>
                    </a:moveTo>
                    <a:lnTo>
                      <a:pt x="403" y="502"/>
                    </a:lnTo>
                    <a:lnTo>
                      <a:pt x="405" y="502"/>
                    </a:lnTo>
                    <a:lnTo>
                      <a:pt x="403" y="502"/>
                    </a:lnTo>
                    <a:lnTo>
                      <a:pt x="401" y="502"/>
                    </a:lnTo>
                    <a:lnTo>
                      <a:pt x="399" y="502"/>
                    </a:lnTo>
                    <a:lnTo>
                      <a:pt x="401" y="500"/>
                    </a:lnTo>
                    <a:lnTo>
                      <a:pt x="403" y="500"/>
                    </a:lnTo>
                    <a:close/>
                    <a:moveTo>
                      <a:pt x="409" y="500"/>
                    </a:moveTo>
                    <a:lnTo>
                      <a:pt x="407" y="500"/>
                    </a:lnTo>
                    <a:lnTo>
                      <a:pt x="409" y="500"/>
                    </a:lnTo>
                    <a:lnTo>
                      <a:pt x="411" y="500"/>
                    </a:lnTo>
                    <a:lnTo>
                      <a:pt x="409" y="500"/>
                    </a:lnTo>
                    <a:lnTo>
                      <a:pt x="407" y="502"/>
                    </a:lnTo>
                    <a:lnTo>
                      <a:pt x="405" y="502"/>
                    </a:lnTo>
                    <a:lnTo>
                      <a:pt x="403" y="502"/>
                    </a:lnTo>
                    <a:lnTo>
                      <a:pt x="403" y="500"/>
                    </a:lnTo>
                    <a:lnTo>
                      <a:pt x="405" y="500"/>
                    </a:lnTo>
                    <a:lnTo>
                      <a:pt x="407" y="500"/>
                    </a:lnTo>
                    <a:lnTo>
                      <a:pt x="409" y="500"/>
                    </a:lnTo>
                    <a:lnTo>
                      <a:pt x="409" y="498"/>
                    </a:lnTo>
                    <a:lnTo>
                      <a:pt x="411" y="498"/>
                    </a:lnTo>
                    <a:lnTo>
                      <a:pt x="411" y="500"/>
                    </a:lnTo>
                    <a:lnTo>
                      <a:pt x="409" y="500"/>
                    </a:lnTo>
                    <a:close/>
                    <a:moveTo>
                      <a:pt x="395" y="502"/>
                    </a:moveTo>
                    <a:lnTo>
                      <a:pt x="395" y="503"/>
                    </a:lnTo>
                    <a:lnTo>
                      <a:pt x="395" y="502"/>
                    </a:lnTo>
                    <a:lnTo>
                      <a:pt x="395" y="503"/>
                    </a:lnTo>
                    <a:lnTo>
                      <a:pt x="395" y="502"/>
                    </a:lnTo>
                    <a:close/>
                    <a:moveTo>
                      <a:pt x="397" y="502"/>
                    </a:moveTo>
                    <a:lnTo>
                      <a:pt x="399" y="502"/>
                    </a:lnTo>
                    <a:lnTo>
                      <a:pt x="397" y="502"/>
                    </a:lnTo>
                    <a:close/>
                    <a:moveTo>
                      <a:pt x="757" y="336"/>
                    </a:moveTo>
                    <a:lnTo>
                      <a:pt x="757" y="338"/>
                    </a:lnTo>
                    <a:lnTo>
                      <a:pt x="755" y="338"/>
                    </a:lnTo>
                    <a:lnTo>
                      <a:pt x="755" y="336"/>
                    </a:lnTo>
                    <a:lnTo>
                      <a:pt x="757" y="336"/>
                    </a:lnTo>
                    <a:close/>
                    <a:moveTo>
                      <a:pt x="395" y="502"/>
                    </a:moveTo>
                    <a:lnTo>
                      <a:pt x="397" y="502"/>
                    </a:lnTo>
                    <a:lnTo>
                      <a:pt x="395" y="502"/>
                    </a:lnTo>
                    <a:lnTo>
                      <a:pt x="397" y="502"/>
                    </a:lnTo>
                    <a:lnTo>
                      <a:pt x="395" y="502"/>
                    </a:lnTo>
                    <a:close/>
                    <a:moveTo>
                      <a:pt x="415" y="496"/>
                    </a:moveTo>
                    <a:lnTo>
                      <a:pt x="413" y="496"/>
                    </a:lnTo>
                    <a:lnTo>
                      <a:pt x="415" y="496"/>
                    </a:lnTo>
                    <a:lnTo>
                      <a:pt x="415" y="494"/>
                    </a:lnTo>
                    <a:lnTo>
                      <a:pt x="417" y="494"/>
                    </a:lnTo>
                    <a:lnTo>
                      <a:pt x="418" y="494"/>
                    </a:lnTo>
                    <a:lnTo>
                      <a:pt x="417" y="494"/>
                    </a:lnTo>
                    <a:lnTo>
                      <a:pt x="417" y="496"/>
                    </a:lnTo>
                    <a:lnTo>
                      <a:pt x="415" y="496"/>
                    </a:lnTo>
                    <a:close/>
                    <a:moveTo>
                      <a:pt x="418" y="494"/>
                    </a:moveTo>
                    <a:lnTo>
                      <a:pt x="417" y="494"/>
                    </a:lnTo>
                    <a:lnTo>
                      <a:pt x="417" y="492"/>
                    </a:lnTo>
                    <a:lnTo>
                      <a:pt x="418" y="494"/>
                    </a:lnTo>
                    <a:close/>
                    <a:moveTo>
                      <a:pt x="413" y="496"/>
                    </a:moveTo>
                    <a:lnTo>
                      <a:pt x="411" y="496"/>
                    </a:lnTo>
                    <a:lnTo>
                      <a:pt x="413" y="496"/>
                    </a:lnTo>
                    <a:lnTo>
                      <a:pt x="413" y="494"/>
                    </a:lnTo>
                    <a:lnTo>
                      <a:pt x="413" y="496"/>
                    </a:lnTo>
                    <a:close/>
                    <a:moveTo>
                      <a:pt x="411" y="496"/>
                    </a:moveTo>
                    <a:lnTo>
                      <a:pt x="409" y="496"/>
                    </a:lnTo>
                    <a:lnTo>
                      <a:pt x="411" y="496"/>
                    </a:lnTo>
                    <a:close/>
                    <a:moveTo>
                      <a:pt x="417" y="492"/>
                    </a:moveTo>
                    <a:lnTo>
                      <a:pt x="418" y="492"/>
                    </a:lnTo>
                    <a:lnTo>
                      <a:pt x="417" y="492"/>
                    </a:lnTo>
                    <a:lnTo>
                      <a:pt x="417" y="494"/>
                    </a:lnTo>
                    <a:lnTo>
                      <a:pt x="417" y="492"/>
                    </a:lnTo>
                    <a:close/>
                    <a:moveTo>
                      <a:pt x="401" y="500"/>
                    </a:moveTo>
                    <a:lnTo>
                      <a:pt x="403" y="498"/>
                    </a:lnTo>
                    <a:lnTo>
                      <a:pt x="403" y="500"/>
                    </a:lnTo>
                    <a:lnTo>
                      <a:pt x="401" y="500"/>
                    </a:lnTo>
                    <a:lnTo>
                      <a:pt x="403" y="500"/>
                    </a:lnTo>
                    <a:lnTo>
                      <a:pt x="401" y="500"/>
                    </a:lnTo>
                    <a:lnTo>
                      <a:pt x="399" y="500"/>
                    </a:lnTo>
                    <a:lnTo>
                      <a:pt x="401" y="500"/>
                    </a:lnTo>
                    <a:lnTo>
                      <a:pt x="399" y="500"/>
                    </a:lnTo>
                    <a:lnTo>
                      <a:pt x="401" y="500"/>
                    </a:lnTo>
                    <a:close/>
                    <a:moveTo>
                      <a:pt x="395" y="502"/>
                    </a:moveTo>
                    <a:lnTo>
                      <a:pt x="395" y="500"/>
                    </a:lnTo>
                    <a:lnTo>
                      <a:pt x="395" y="502"/>
                    </a:lnTo>
                    <a:close/>
                    <a:moveTo>
                      <a:pt x="401" y="498"/>
                    </a:moveTo>
                    <a:lnTo>
                      <a:pt x="403" y="498"/>
                    </a:lnTo>
                    <a:lnTo>
                      <a:pt x="405" y="498"/>
                    </a:lnTo>
                    <a:lnTo>
                      <a:pt x="405" y="496"/>
                    </a:lnTo>
                    <a:lnTo>
                      <a:pt x="407" y="496"/>
                    </a:lnTo>
                    <a:lnTo>
                      <a:pt x="409" y="496"/>
                    </a:lnTo>
                    <a:lnTo>
                      <a:pt x="407" y="496"/>
                    </a:lnTo>
                    <a:lnTo>
                      <a:pt x="407" y="498"/>
                    </a:lnTo>
                    <a:lnTo>
                      <a:pt x="407" y="496"/>
                    </a:lnTo>
                    <a:lnTo>
                      <a:pt x="409" y="496"/>
                    </a:lnTo>
                    <a:lnTo>
                      <a:pt x="411" y="496"/>
                    </a:lnTo>
                    <a:lnTo>
                      <a:pt x="411" y="498"/>
                    </a:lnTo>
                    <a:lnTo>
                      <a:pt x="411" y="496"/>
                    </a:lnTo>
                    <a:lnTo>
                      <a:pt x="413" y="496"/>
                    </a:lnTo>
                    <a:lnTo>
                      <a:pt x="413" y="498"/>
                    </a:lnTo>
                    <a:lnTo>
                      <a:pt x="415" y="496"/>
                    </a:lnTo>
                    <a:lnTo>
                      <a:pt x="415" y="498"/>
                    </a:lnTo>
                    <a:lnTo>
                      <a:pt x="413" y="498"/>
                    </a:lnTo>
                    <a:lnTo>
                      <a:pt x="411" y="498"/>
                    </a:lnTo>
                    <a:lnTo>
                      <a:pt x="409" y="498"/>
                    </a:lnTo>
                    <a:lnTo>
                      <a:pt x="407" y="498"/>
                    </a:lnTo>
                    <a:lnTo>
                      <a:pt x="407" y="500"/>
                    </a:lnTo>
                    <a:lnTo>
                      <a:pt x="409" y="498"/>
                    </a:lnTo>
                    <a:lnTo>
                      <a:pt x="409" y="500"/>
                    </a:lnTo>
                    <a:lnTo>
                      <a:pt x="407" y="500"/>
                    </a:lnTo>
                    <a:lnTo>
                      <a:pt x="405" y="500"/>
                    </a:lnTo>
                    <a:lnTo>
                      <a:pt x="403" y="500"/>
                    </a:lnTo>
                    <a:lnTo>
                      <a:pt x="403" y="498"/>
                    </a:lnTo>
                    <a:lnTo>
                      <a:pt x="401" y="498"/>
                    </a:lnTo>
                    <a:close/>
                    <a:moveTo>
                      <a:pt x="359" y="511"/>
                    </a:moveTo>
                    <a:lnTo>
                      <a:pt x="359" y="513"/>
                    </a:lnTo>
                    <a:lnTo>
                      <a:pt x="359" y="511"/>
                    </a:lnTo>
                    <a:lnTo>
                      <a:pt x="359" y="513"/>
                    </a:lnTo>
                    <a:lnTo>
                      <a:pt x="361" y="513"/>
                    </a:lnTo>
                    <a:lnTo>
                      <a:pt x="359" y="513"/>
                    </a:lnTo>
                    <a:lnTo>
                      <a:pt x="359" y="511"/>
                    </a:lnTo>
                    <a:close/>
                    <a:moveTo>
                      <a:pt x="393" y="500"/>
                    </a:moveTo>
                    <a:lnTo>
                      <a:pt x="395" y="500"/>
                    </a:lnTo>
                    <a:lnTo>
                      <a:pt x="393" y="500"/>
                    </a:lnTo>
                    <a:close/>
                    <a:moveTo>
                      <a:pt x="397" y="502"/>
                    </a:moveTo>
                    <a:lnTo>
                      <a:pt x="395" y="502"/>
                    </a:lnTo>
                    <a:lnTo>
                      <a:pt x="397" y="502"/>
                    </a:lnTo>
                    <a:lnTo>
                      <a:pt x="395" y="502"/>
                    </a:lnTo>
                    <a:lnTo>
                      <a:pt x="395" y="500"/>
                    </a:lnTo>
                    <a:lnTo>
                      <a:pt x="397" y="498"/>
                    </a:lnTo>
                    <a:lnTo>
                      <a:pt x="397" y="500"/>
                    </a:lnTo>
                    <a:lnTo>
                      <a:pt x="397" y="498"/>
                    </a:lnTo>
                    <a:lnTo>
                      <a:pt x="397" y="500"/>
                    </a:lnTo>
                    <a:lnTo>
                      <a:pt x="397" y="498"/>
                    </a:lnTo>
                    <a:lnTo>
                      <a:pt x="397" y="500"/>
                    </a:lnTo>
                    <a:lnTo>
                      <a:pt x="399" y="500"/>
                    </a:lnTo>
                    <a:lnTo>
                      <a:pt x="397" y="500"/>
                    </a:lnTo>
                    <a:lnTo>
                      <a:pt x="399" y="500"/>
                    </a:lnTo>
                    <a:lnTo>
                      <a:pt x="401" y="500"/>
                    </a:lnTo>
                    <a:lnTo>
                      <a:pt x="399" y="502"/>
                    </a:lnTo>
                    <a:lnTo>
                      <a:pt x="397" y="502"/>
                    </a:lnTo>
                    <a:close/>
                    <a:moveTo>
                      <a:pt x="407" y="496"/>
                    </a:moveTo>
                    <a:lnTo>
                      <a:pt x="409" y="494"/>
                    </a:lnTo>
                    <a:lnTo>
                      <a:pt x="409" y="496"/>
                    </a:lnTo>
                    <a:lnTo>
                      <a:pt x="409" y="494"/>
                    </a:lnTo>
                    <a:lnTo>
                      <a:pt x="409" y="496"/>
                    </a:lnTo>
                    <a:lnTo>
                      <a:pt x="407" y="496"/>
                    </a:lnTo>
                    <a:lnTo>
                      <a:pt x="405" y="496"/>
                    </a:lnTo>
                    <a:lnTo>
                      <a:pt x="407" y="496"/>
                    </a:lnTo>
                    <a:close/>
                    <a:moveTo>
                      <a:pt x="418" y="492"/>
                    </a:moveTo>
                    <a:lnTo>
                      <a:pt x="418" y="490"/>
                    </a:lnTo>
                    <a:lnTo>
                      <a:pt x="418" y="492"/>
                    </a:lnTo>
                    <a:close/>
                    <a:moveTo>
                      <a:pt x="401" y="498"/>
                    </a:moveTo>
                    <a:lnTo>
                      <a:pt x="399" y="498"/>
                    </a:lnTo>
                    <a:lnTo>
                      <a:pt x="401" y="498"/>
                    </a:lnTo>
                    <a:lnTo>
                      <a:pt x="401" y="500"/>
                    </a:lnTo>
                    <a:lnTo>
                      <a:pt x="399" y="500"/>
                    </a:lnTo>
                    <a:lnTo>
                      <a:pt x="397" y="498"/>
                    </a:lnTo>
                    <a:lnTo>
                      <a:pt x="399" y="498"/>
                    </a:lnTo>
                    <a:lnTo>
                      <a:pt x="401" y="498"/>
                    </a:lnTo>
                    <a:lnTo>
                      <a:pt x="403" y="498"/>
                    </a:lnTo>
                    <a:lnTo>
                      <a:pt x="401" y="498"/>
                    </a:lnTo>
                    <a:close/>
                    <a:moveTo>
                      <a:pt x="403" y="496"/>
                    </a:moveTo>
                    <a:lnTo>
                      <a:pt x="405" y="496"/>
                    </a:lnTo>
                    <a:lnTo>
                      <a:pt x="403" y="496"/>
                    </a:lnTo>
                    <a:lnTo>
                      <a:pt x="405" y="496"/>
                    </a:lnTo>
                    <a:lnTo>
                      <a:pt x="405" y="494"/>
                    </a:lnTo>
                    <a:lnTo>
                      <a:pt x="407" y="494"/>
                    </a:lnTo>
                    <a:lnTo>
                      <a:pt x="407" y="496"/>
                    </a:lnTo>
                    <a:lnTo>
                      <a:pt x="405" y="496"/>
                    </a:lnTo>
                    <a:lnTo>
                      <a:pt x="403" y="498"/>
                    </a:lnTo>
                    <a:lnTo>
                      <a:pt x="401" y="498"/>
                    </a:lnTo>
                    <a:lnTo>
                      <a:pt x="403" y="496"/>
                    </a:lnTo>
                    <a:close/>
                    <a:moveTo>
                      <a:pt x="393" y="500"/>
                    </a:moveTo>
                    <a:lnTo>
                      <a:pt x="392" y="500"/>
                    </a:lnTo>
                    <a:lnTo>
                      <a:pt x="393" y="500"/>
                    </a:lnTo>
                    <a:close/>
                    <a:moveTo>
                      <a:pt x="393" y="498"/>
                    </a:moveTo>
                    <a:lnTo>
                      <a:pt x="395" y="498"/>
                    </a:lnTo>
                    <a:lnTo>
                      <a:pt x="393" y="498"/>
                    </a:lnTo>
                    <a:lnTo>
                      <a:pt x="393" y="500"/>
                    </a:lnTo>
                    <a:lnTo>
                      <a:pt x="393" y="498"/>
                    </a:lnTo>
                    <a:lnTo>
                      <a:pt x="393" y="500"/>
                    </a:lnTo>
                    <a:lnTo>
                      <a:pt x="393" y="498"/>
                    </a:lnTo>
                    <a:close/>
                    <a:moveTo>
                      <a:pt x="395" y="498"/>
                    </a:moveTo>
                    <a:lnTo>
                      <a:pt x="397" y="498"/>
                    </a:lnTo>
                    <a:lnTo>
                      <a:pt x="395" y="498"/>
                    </a:lnTo>
                    <a:close/>
                    <a:moveTo>
                      <a:pt x="286" y="536"/>
                    </a:moveTo>
                    <a:lnTo>
                      <a:pt x="284" y="534"/>
                    </a:lnTo>
                    <a:lnTo>
                      <a:pt x="282" y="534"/>
                    </a:lnTo>
                    <a:lnTo>
                      <a:pt x="284" y="534"/>
                    </a:lnTo>
                    <a:lnTo>
                      <a:pt x="286" y="536"/>
                    </a:lnTo>
                    <a:close/>
                    <a:moveTo>
                      <a:pt x="361" y="509"/>
                    </a:moveTo>
                    <a:lnTo>
                      <a:pt x="361" y="511"/>
                    </a:lnTo>
                    <a:lnTo>
                      <a:pt x="361" y="513"/>
                    </a:lnTo>
                    <a:lnTo>
                      <a:pt x="361" y="511"/>
                    </a:lnTo>
                    <a:lnTo>
                      <a:pt x="359" y="511"/>
                    </a:lnTo>
                    <a:lnTo>
                      <a:pt x="359" y="509"/>
                    </a:lnTo>
                    <a:lnTo>
                      <a:pt x="361" y="509"/>
                    </a:lnTo>
                    <a:close/>
                    <a:moveTo>
                      <a:pt x="397" y="498"/>
                    </a:moveTo>
                    <a:lnTo>
                      <a:pt x="395" y="498"/>
                    </a:lnTo>
                    <a:lnTo>
                      <a:pt x="397" y="498"/>
                    </a:lnTo>
                    <a:close/>
                    <a:moveTo>
                      <a:pt x="390" y="498"/>
                    </a:moveTo>
                    <a:lnTo>
                      <a:pt x="392" y="498"/>
                    </a:lnTo>
                    <a:lnTo>
                      <a:pt x="392" y="500"/>
                    </a:lnTo>
                    <a:lnTo>
                      <a:pt x="392" y="498"/>
                    </a:lnTo>
                    <a:lnTo>
                      <a:pt x="390" y="498"/>
                    </a:lnTo>
                    <a:close/>
                    <a:moveTo>
                      <a:pt x="351" y="513"/>
                    </a:moveTo>
                    <a:lnTo>
                      <a:pt x="349" y="513"/>
                    </a:lnTo>
                    <a:lnTo>
                      <a:pt x="351" y="513"/>
                    </a:lnTo>
                    <a:close/>
                    <a:moveTo>
                      <a:pt x="359" y="511"/>
                    </a:moveTo>
                    <a:lnTo>
                      <a:pt x="357" y="511"/>
                    </a:lnTo>
                    <a:lnTo>
                      <a:pt x="357" y="509"/>
                    </a:lnTo>
                    <a:lnTo>
                      <a:pt x="359" y="509"/>
                    </a:lnTo>
                    <a:lnTo>
                      <a:pt x="359" y="511"/>
                    </a:lnTo>
                    <a:close/>
                    <a:moveTo>
                      <a:pt x="282" y="534"/>
                    </a:moveTo>
                    <a:lnTo>
                      <a:pt x="282" y="532"/>
                    </a:lnTo>
                    <a:lnTo>
                      <a:pt x="282" y="534"/>
                    </a:lnTo>
                    <a:close/>
                    <a:moveTo>
                      <a:pt x="403" y="494"/>
                    </a:moveTo>
                    <a:lnTo>
                      <a:pt x="405" y="494"/>
                    </a:lnTo>
                    <a:lnTo>
                      <a:pt x="403" y="494"/>
                    </a:lnTo>
                    <a:lnTo>
                      <a:pt x="403" y="496"/>
                    </a:lnTo>
                    <a:lnTo>
                      <a:pt x="401" y="496"/>
                    </a:lnTo>
                    <a:lnTo>
                      <a:pt x="403" y="496"/>
                    </a:lnTo>
                    <a:lnTo>
                      <a:pt x="401" y="496"/>
                    </a:lnTo>
                    <a:lnTo>
                      <a:pt x="399" y="496"/>
                    </a:lnTo>
                    <a:lnTo>
                      <a:pt x="401" y="496"/>
                    </a:lnTo>
                    <a:lnTo>
                      <a:pt x="401" y="494"/>
                    </a:lnTo>
                    <a:lnTo>
                      <a:pt x="403" y="494"/>
                    </a:lnTo>
                    <a:close/>
                    <a:moveTo>
                      <a:pt x="745" y="336"/>
                    </a:moveTo>
                    <a:lnTo>
                      <a:pt x="743" y="336"/>
                    </a:lnTo>
                    <a:lnTo>
                      <a:pt x="745" y="336"/>
                    </a:lnTo>
                    <a:close/>
                    <a:moveTo>
                      <a:pt x="395" y="496"/>
                    </a:moveTo>
                    <a:lnTo>
                      <a:pt x="397" y="496"/>
                    </a:lnTo>
                    <a:lnTo>
                      <a:pt x="395" y="496"/>
                    </a:lnTo>
                    <a:lnTo>
                      <a:pt x="397" y="496"/>
                    </a:lnTo>
                    <a:lnTo>
                      <a:pt x="399" y="496"/>
                    </a:lnTo>
                    <a:lnTo>
                      <a:pt x="401" y="496"/>
                    </a:lnTo>
                    <a:lnTo>
                      <a:pt x="403" y="496"/>
                    </a:lnTo>
                    <a:lnTo>
                      <a:pt x="401" y="496"/>
                    </a:lnTo>
                    <a:lnTo>
                      <a:pt x="403" y="496"/>
                    </a:lnTo>
                    <a:lnTo>
                      <a:pt x="401" y="498"/>
                    </a:lnTo>
                    <a:lnTo>
                      <a:pt x="399" y="498"/>
                    </a:lnTo>
                    <a:lnTo>
                      <a:pt x="397" y="498"/>
                    </a:lnTo>
                    <a:lnTo>
                      <a:pt x="397" y="496"/>
                    </a:lnTo>
                    <a:lnTo>
                      <a:pt x="395" y="496"/>
                    </a:lnTo>
                    <a:close/>
                    <a:moveTo>
                      <a:pt x="399" y="494"/>
                    </a:moveTo>
                    <a:lnTo>
                      <a:pt x="399" y="496"/>
                    </a:lnTo>
                    <a:lnTo>
                      <a:pt x="401" y="496"/>
                    </a:lnTo>
                    <a:lnTo>
                      <a:pt x="399" y="496"/>
                    </a:lnTo>
                    <a:lnTo>
                      <a:pt x="397" y="496"/>
                    </a:lnTo>
                    <a:lnTo>
                      <a:pt x="399" y="496"/>
                    </a:lnTo>
                    <a:lnTo>
                      <a:pt x="399" y="494"/>
                    </a:lnTo>
                    <a:close/>
                    <a:moveTo>
                      <a:pt x="415" y="488"/>
                    </a:moveTo>
                    <a:lnTo>
                      <a:pt x="415" y="490"/>
                    </a:lnTo>
                    <a:lnTo>
                      <a:pt x="415" y="488"/>
                    </a:lnTo>
                    <a:close/>
                    <a:moveTo>
                      <a:pt x="390" y="498"/>
                    </a:moveTo>
                    <a:lnTo>
                      <a:pt x="392" y="498"/>
                    </a:lnTo>
                    <a:lnTo>
                      <a:pt x="390" y="498"/>
                    </a:lnTo>
                    <a:lnTo>
                      <a:pt x="392" y="498"/>
                    </a:lnTo>
                    <a:lnTo>
                      <a:pt x="392" y="496"/>
                    </a:lnTo>
                    <a:lnTo>
                      <a:pt x="393" y="496"/>
                    </a:lnTo>
                    <a:lnTo>
                      <a:pt x="395" y="496"/>
                    </a:lnTo>
                    <a:lnTo>
                      <a:pt x="395" y="498"/>
                    </a:lnTo>
                    <a:lnTo>
                      <a:pt x="393" y="498"/>
                    </a:lnTo>
                    <a:lnTo>
                      <a:pt x="392" y="498"/>
                    </a:lnTo>
                    <a:lnTo>
                      <a:pt x="390" y="498"/>
                    </a:lnTo>
                    <a:close/>
                    <a:moveTo>
                      <a:pt x="393" y="496"/>
                    </a:moveTo>
                    <a:lnTo>
                      <a:pt x="392" y="496"/>
                    </a:lnTo>
                    <a:lnTo>
                      <a:pt x="393" y="496"/>
                    </a:lnTo>
                    <a:close/>
                    <a:moveTo>
                      <a:pt x="413" y="488"/>
                    </a:moveTo>
                    <a:lnTo>
                      <a:pt x="415" y="488"/>
                    </a:lnTo>
                    <a:lnTo>
                      <a:pt x="413" y="488"/>
                    </a:lnTo>
                    <a:lnTo>
                      <a:pt x="415" y="488"/>
                    </a:lnTo>
                    <a:lnTo>
                      <a:pt x="413" y="488"/>
                    </a:lnTo>
                    <a:close/>
                    <a:moveTo>
                      <a:pt x="415" y="486"/>
                    </a:moveTo>
                    <a:lnTo>
                      <a:pt x="415" y="488"/>
                    </a:lnTo>
                    <a:lnTo>
                      <a:pt x="415" y="486"/>
                    </a:lnTo>
                    <a:close/>
                    <a:moveTo>
                      <a:pt x="395" y="494"/>
                    </a:moveTo>
                    <a:lnTo>
                      <a:pt x="397" y="494"/>
                    </a:lnTo>
                    <a:lnTo>
                      <a:pt x="395" y="494"/>
                    </a:lnTo>
                    <a:lnTo>
                      <a:pt x="395" y="496"/>
                    </a:lnTo>
                    <a:lnTo>
                      <a:pt x="393" y="496"/>
                    </a:lnTo>
                    <a:lnTo>
                      <a:pt x="393" y="494"/>
                    </a:lnTo>
                    <a:lnTo>
                      <a:pt x="392" y="494"/>
                    </a:lnTo>
                    <a:lnTo>
                      <a:pt x="393" y="494"/>
                    </a:lnTo>
                    <a:lnTo>
                      <a:pt x="395" y="494"/>
                    </a:lnTo>
                    <a:close/>
                    <a:moveTo>
                      <a:pt x="355" y="507"/>
                    </a:moveTo>
                    <a:lnTo>
                      <a:pt x="357" y="507"/>
                    </a:lnTo>
                    <a:lnTo>
                      <a:pt x="357" y="509"/>
                    </a:lnTo>
                    <a:lnTo>
                      <a:pt x="357" y="511"/>
                    </a:lnTo>
                    <a:lnTo>
                      <a:pt x="355" y="511"/>
                    </a:lnTo>
                    <a:lnTo>
                      <a:pt x="355" y="509"/>
                    </a:lnTo>
                    <a:lnTo>
                      <a:pt x="353" y="509"/>
                    </a:lnTo>
                    <a:lnTo>
                      <a:pt x="353" y="507"/>
                    </a:lnTo>
                    <a:lnTo>
                      <a:pt x="353" y="509"/>
                    </a:lnTo>
                    <a:lnTo>
                      <a:pt x="353" y="507"/>
                    </a:lnTo>
                    <a:lnTo>
                      <a:pt x="355" y="507"/>
                    </a:lnTo>
                    <a:close/>
                    <a:moveTo>
                      <a:pt x="393" y="496"/>
                    </a:moveTo>
                    <a:lnTo>
                      <a:pt x="395" y="496"/>
                    </a:lnTo>
                    <a:lnTo>
                      <a:pt x="393" y="496"/>
                    </a:lnTo>
                    <a:lnTo>
                      <a:pt x="392" y="496"/>
                    </a:lnTo>
                    <a:lnTo>
                      <a:pt x="390" y="496"/>
                    </a:lnTo>
                    <a:lnTo>
                      <a:pt x="392" y="494"/>
                    </a:lnTo>
                    <a:lnTo>
                      <a:pt x="390" y="494"/>
                    </a:lnTo>
                    <a:lnTo>
                      <a:pt x="392" y="494"/>
                    </a:lnTo>
                    <a:lnTo>
                      <a:pt x="393" y="494"/>
                    </a:lnTo>
                    <a:lnTo>
                      <a:pt x="393" y="496"/>
                    </a:lnTo>
                    <a:close/>
                    <a:moveTo>
                      <a:pt x="395" y="492"/>
                    </a:moveTo>
                    <a:lnTo>
                      <a:pt x="397" y="492"/>
                    </a:lnTo>
                    <a:lnTo>
                      <a:pt x="397" y="494"/>
                    </a:lnTo>
                    <a:lnTo>
                      <a:pt x="395" y="494"/>
                    </a:lnTo>
                    <a:lnTo>
                      <a:pt x="393" y="494"/>
                    </a:lnTo>
                    <a:lnTo>
                      <a:pt x="392" y="494"/>
                    </a:lnTo>
                    <a:lnTo>
                      <a:pt x="393" y="494"/>
                    </a:lnTo>
                    <a:lnTo>
                      <a:pt x="393" y="492"/>
                    </a:lnTo>
                    <a:lnTo>
                      <a:pt x="395" y="492"/>
                    </a:lnTo>
                    <a:close/>
                    <a:moveTo>
                      <a:pt x="338" y="509"/>
                    </a:moveTo>
                    <a:lnTo>
                      <a:pt x="340" y="509"/>
                    </a:lnTo>
                    <a:lnTo>
                      <a:pt x="340" y="511"/>
                    </a:lnTo>
                    <a:lnTo>
                      <a:pt x="342" y="511"/>
                    </a:lnTo>
                    <a:lnTo>
                      <a:pt x="340" y="511"/>
                    </a:lnTo>
                    <a:lnTo>
                      <a:pt x="338" y="511"/>
                    </a:lnTo>
                    <a:lnTo>
                      <a:pt x="336" y="511"/>
                    </a:lnTo>
                    <a:lnTo>
                      <a:pt x="336" y="509"/>
                    </a:lnTo>
                    <a:lnTo>
                      <a:pt x="338" y="509"/>
                    </a:lnTo>
                    <a:close/>
                    <a:moveTo>
                      <a:pt x="357" y="503"/>
                    </a:moveTo>
                    <a:lnTo>
                      <a:pt x="355" y="503"/>
                    </a:lnTo>
                    <a:lnTo>
                      <a:pt x="357" y="503"/>
                    </a:lnTo>
                    <a:lnTo>
                      <a:pt x="357" y="505"/>
                    </a:lnTo>
                    <a:lnTo>
                      <a:pt x="359" y="507"/>
                    </a:lnTo>
                    <a:lnTo>
                      <a:pt x="357" y="507"/>
                    </a:lnTo>
                    <a:lnTo>
                      <a:pt x="359" y="507"/>
                    </a:lnTo>
                    <a:lnTo>
                      <a:pt x="359" y="509"/>
                    </a:lnTo>
                    <a:lnTo>
                      <a:pt x="357" y="509"/>
                    </a:lnTo>
                    <a:lnTo>
                      <a:pt x="357" y="507"/>
                    </a:lnTo>
                    <a:lnTo>
                      <a:pt x="355" y="507"/>
                    </a:lnTo>
                    <a:lnTo>
                      <a:pt x="355" y="505"/>
                    </a:lnTo>
                    <a:lnTo>
                      <a:pt x="353" y="503"/>
                    </a:lnTo>
                    <a:lnTo>
                      <a:pt x="355" y="503"/>
                    </a:lnTo>
                    <a:lnTo>
                      <a:pt x="357" y="503"/>
                    </a:lnTo>
                    <a:close/>
                    <a:moveTo>
                      <a:pt x="403" y="486"/>
                    </a:moveTo>
                    <a:lnTo>
                      <a:pt x="405" y="486"/>
                    </a:lnTo>
                    <a:lnTo>
                      <a:pt x="403" y="486"/>
                    </a:lnTo>
                    <a:close/>
                    <a:moveTo>
                      <a:pt x="411" y="482"/>
                    </a:moveTo>
                    <a:lnTo>
                      <a:pt x="413" y="482"/>
                    </a:lnTo>
                    <a:lnTo>
                      <a:pt x="411" y="482"/>
                    </a:lnTo>
                    <a:lnTo>
                      <a:pt x="413" y="482"/>
                    </a:lnTo>
                    <a:lnTo>
                      <a:pt x="413" y="484"/>
                    </a:lnTo>
                    <a:lnTo>
                      <a:pt x="413" y="482"/>
                    </a:lnTo>
                    <a:lnTo>
                      <a:pt x="413" y="484"/>
                    </a:lnTo>
                    <a:lnTo>
                      <a:pt x="411" y="484"/>
                    </a:lnTo>
                    <a:lnTo>
                      <a:pt x="413" y="484"/>
                    </a:lnTo>
                    <a:lnTo>
                      <a:pt x="411" y="484"/>
                    </a:lnTo>
                    <a:lnTo>
                      <a:pt x="409" y="484"/>
                    </a:lnTo>
                    <a:lnTo>
                      <a:pt x="411" y="484"/>
                    </a:lnTo>
                    <a:lnTo>
                      <a:pt x="409" y="484"/>
                    </a:lnTo>
                    <a:lnTo>
                      <a:pt x="407" y="484"/>
                    </a:lnTo>
                    <a:lnTo>
                      <a:pt x="409" y="484"/>
                    </a:lnTo>
                    <a:lnTo>
                      <a:pt x="409" y="482"/>
                    </a:lnTo>
                    <a:lnTo>
                      <a:pt x="411" y="482"/>
                    </a:lnTo>
                    <a:lnTo>
                      <a:pt x="409" y="482"/>
                    </a:lnTo>
                    <a:lnTo>
                      <a:pt x="411" y="482"/>
                    </a:lnTo>
                    <a:close/>
                    <a:moveTo>
                      <a:pt x="417" y="480"/>
                    </a:moveTo>
                    <a:lnTo>
                      <a:pt x="415" y="480"/>
                    </a:lnTo>
                    <a:lnTo>
                      <a:pt x="417" y="480"/>
                    </a:lnTo>
                    <a:close/>
                    <a:moveTo>
                      <a:pt x="347" y="503"/>
                    </a:moveTo>
                    <a:lnTo>
                      <a:pt x="349" y="505"/>
                    </a:lnTo>
                    <a:lnTo>
                      <a:pt x="349" y="503"/>
                    </a:lnTo>
                    <a:lnTo>
                      <a:pt x="349" y="505"/>
                    </a:lnTo>
                    <a:lnTo>
                      <a:pt x="349" y="507"/>
                    </a:lnTo>
                    <a:lnTo>
                      <a:pt x="347" y="507"/>
                    </a:lnTo>
                    <a:lnTo>
                      <a:pt x="347" y="509"/>
                    </a:lnTo>
                    <a:lnTo>
                      <a:pt x="347" y="507"/>
                    </a:lnTo>
                    <a:lnTo>
                      <a:pt x="345" y="509"/>
                    </a:lnTo>
                    <a:lnTo>
                      <a:pt x="345" y="507"/>
                    </a:lnTo>
                    <a:lnTo>
                      <a:pt x="345" y="505"/>
                    </a:lnTo>
                    <a:lnTo>
                      <a:pt x="345" y="507"/>
                    </a:lnTo>
                    <a:lnTo>
                      <a:pt x="347" y="505"/>
                    </a:lnTo>
                    <a:lnTo>
                      <a:pt x="347" y="503"/>
                    </a:lnTo>
                    <a:close/>
                    <a:moveTo>
                      <a:pt x="351" y="503"/>
                    </a:moveTo>
                    <a:lnTo>
                      <a:pt x="351" y="505"/>
                    </a:lnTo>
                    <a:lnTo>
                      <a:pt x="349" y="505"/>
                    </a:lnTo>
                    <a:lnTo>
                      <a:pt x="349" y="503"/>
                    </a:lnTo>
                    <a:lnTo>
                      <a:pt x="351" y="503"/>
                    </a:lnTo>
                    <a:close/>
                    <a:moveTo>
                      <a:pt x="382" y="492"/>
                    </a:moveTo>
                    <a:lnTo>
                      <a:pt x="382" y="494"/>
                    </a:lnTo>
                    <a:lnTo>
                      <a:pt x="380" y="492"/>
                    </a:lnTo>
                    <a:lnTo>
                      <a:pt x="380" y="494"/>
                    </a:lnTo>
                    <a:lnTo>
                      <a:pt x="382" y="494"/>
                    </a:lnTo>
                    <a:lnTo>
                      <a:pt x="384" y="494"/>
                    </a:lnTo>
                    <a:lnTo>
                      <a:pt x="386" y="494"/>
                    </a:lnTo>
                    <a:lnTo>
                      <a:pt x="388" y="494"/>
                    </a:lnTo>
                    <a:lnTo>
                      <a:pt x="390" y="494"/>
                    </a:lnTo>
                    <a:lnTo>
                      <a:pt x="390" y="496"/>
                    </a:lnTo>
                    <a:lnTo>
                      <a:pt x="392" y="496"/>
                    </a:lnTo>
                    <a:lnTo>
                      <a:pt x="390" y="498"/>
                    </a:lnTo>
                    <a:lnTo>
                      <a:pt x="388" y="498"/>
                    </a:lnTo>
                    <a:lnTo>
                      <a:pt x="386" y="498"/>
                    </a:lnTo>
                    <a:lnTo>
                      <a:pt x="384" y="496"/>
                    </a:lnTo>
                    <a:lnTo>
                      <a:pt x="382" y="496"/>
                    </a:lnTo>
                    <a:lnTo>
                      <a:pt x="380" y="496"/>
                    </a:lnTo>
                    <a:lnTo>
                      <a:pt x="380" y="494"/>
                    </a:lnTo>
                    <a:lnTo>
                      <a:pt x="380" y="492"/>
                    </a:lnTo>
                    <a:lnTo>
                      <a:pt x="382" y="492"/>
                    </a:lnTo>
                    <a:close/>
                    <a:moveTo>
                      <a:pt x="413" y="482"/>
                    </a:moveTo>
                    <a:lnTo>
                      <a:pt x="411" y="482"/>
                    </a:lnTo>
                    <a:lnTo>
                      <a:pt x="413" y="482"/>
                    </a:lnTo>
                    <a:close/>
                    <a:moveTo>
                      <a:pt x="353" y="502"/>
                    </a:moveTo>
                    <a:lnTo>
                      <a:pt x="355" y="503"/>
                    </a:lnTo>
                    <a:lnTo>
                      <a:pt x="353" y="503"/>
                    </a:lnTo>
                    <a:lnTo>
                      <a:pt x="353" y="505"/>
                    </a:lnTo>
                    <a:lnTo>
                      <a:pt x="353" y="507"/>
                    </a:lnTo>
                    <a:lnTo>
                      <a:pt x="353" y="505"/>
                    </a:lnTo>
                    <a:lnTo>
                      <a:pt x="353" y="507"/>
                    </a:lnTo>
                    <a:lnTo>
                      <a:pt x="351" y="507"/>
                    </a:lnTo>
                    <a:lnTo>
                      <a:pt x="351" y="505"/>
                    </a:lnTo>
                    <a:lnTo>
                      <a:pt x="349" y="505"/>
                    </a:lnTo>
                    <a:lnTo>
                      <a:pt x="351" y="505"/>
                    </a:lnTo>
                    <a:lnTo>
                      <a:pt x="351" y="503"/>
                    </a:lnTo>
                    <a:lnTo>
                      <a:pt x="351" y="502"/>
                    </a:lnTo>
                    <a:lnTo>
                      <a:pt x="353" y="502"/>
                    </a:lnTo>
                    <a:close/>
                    <a:moveTo>
                      <a:pt x="393" y="488"/>
                    </a:moveTo>
                    <a:lnTo>
                      <a:pt x="392" y="488"/>
                    </a:lnTo>
                    <a:lnTo>
                      <a:pt x="393" y="488"/>
                    </a:lnTo>
                    <a:close/>
                    <a:moveTo>
                      <a:pt x="384" y="490"/>
                    </a:moveTo>
                    <a:lnTo>
                      <a:pt x="386" y="490"/>
                    </a:lnTo>
                    <a:lnTo>
                      <a:pt x="388" y="490"/>
                    </a:lnTo>
                    <a:lnTo>
                      <a:pt x="390" y="490"/>
                    </a:lnTo>
                    <a:lnTo>
                      <a:pt x="392" y="490"/>
                    </a:lnTo>
                    <a:lnTo>
                      <a:pt x="393" y="490"/>
                    </a:lnTo>
                    <a:lnTo>
                      <a:pt x="395" y="490"/>
                    </a:lnTo>
                    <a:lnTo>
                      <a:pt x="397" y="490"/>
                    </a:lnTo>
                    <a:lnTo>
                      <a:pt x="397" y="492"/>
                    </a:lnTo>
                    <a:lnTo>
                      <a:pt x="397" y="490"/>
                    </a:lnTo>
                    <a:lnTo>
                      <a:pt x="397" y="492"/>
                    </a:lnTo>
                    <a:lnTo>
                      <a:pt x="397" y="490"/>
                    </a:lnTo>
                    <a:lnTo>
                      <a:pt x="397" y="492"/>
                    </a:lnTo>
                    <a:lnTo>
                      <a:pt x="395" y="492"/>
                    </a:lnTo>
                    <a:lnTo>
                      <a:pt x="393" y="492"/>
                    </a:lnTo>
                    <a:lnTo>
                      <a:pt x="392" y="494"/>
                    </a:lnTo>
                    <a:lnTo>
                      <a:pt x="393" y="494"/>
                    </a:lnTo>
                    <a:lnTo>
                      <a:pt x="392" y="494"/>
                    </a:lnTo>
                    <a:lnTo>
                      <a:pt x="390" y="494"/>
                    </a:lnTo>
                    <a:lnTo>
                      <a:pt x="388" y="494"/>
                    </a:lnTo>
                    <a:lnTo>
                      <a:pt x="386" y="494"/>
                    </a:lnTo>
                    <a:lnTo>
                      <a:pt x="384" y="494"/>
                    </a:lnTo>
                    <a:lnTo>
                      <a:pt x="382" y="494"/>
                    </a:lnTo>
                    <a:lnTo>
                      <a:pt x="384" y="494"/>
                    </a:lnTo>
                    <a:lnTo>
                      <a:pt x="382" y="494"/>
                    </a:lnTo>
                    <a:lnTo>
                      <a:pt x="382" y="492"/>
                    </a:lnTo>
                    <a:lnTo>
                      <a:pt x="384" y="492"/>
                    </a:lnTo>
                    <a:lnTo>
                      <a:pt x="384" y="490"/>
                    </a:lnTo>
                    <a:close/>
                    <a:moveTo>
                      <a:pt x="378" y="492"/>
                    </a:moveTo>
                    <a:lnTo>
                      <a:pt x="378" y="494"/>
                    </a:lnTo>
                    <a:lnTo>
                      <a:pt x="378" y="492"/>
                    </a:lnTo>
                    <a:close/>
                    <a:moveTo>
                      <a:pt x="349" y="503"/>
                    </a:moveTo>
                    <a:lnTo>
                      <a:pt x="347" y="503"/>
                    </a:lnTo>
                    <a:lnTo>
                      <a:pt x="349" y="503"/>
                    </a:lnTo>
                    <a:close/>
                    <a:moveTo>
                      <a:pt x="413" y="480"/>
                    </a:moveTo>
                    <a:lnTo>
                      <a:pt x="411" y="480"/>
                    </a:lnTo>
                    <a:lnTo>
                      <a:pt x="413" y="480"/>
                    </a:lnTo>
                    <a:close/>
                    <a:moveTo>
                      <a:pt x="409" y="482"/>
                    </a:moveTo>
                    <a:lnTo>
                      <a:pt x="411" y="482"/>
                    </a:lnTo>
                    <a:lnTo>
                      <a:pt x="409" y="482"/>
                    </a:lnTo>
                    <a:lnTo>
                      <a:pt x="411" y="482"/>
                    </a:lnTo>
                    <a:lnTo>
                      <a:pt x="413" y="482"/>
                    </a:lnTo>
                    <a:lnTo>
                      <a:pt x="411" y="482"/>
                    </a:lnTo>
                    <a:lnTo>
                      <a:pt x="409" y="482"/>
                    </a:lnTo>
                    <a:lnTo>
                      <a:pt x="409" y="484"/>
                    </a:lnTo>
                    <a:lnTo>
                      <a:pt x="407" y="484"/>
                    </a:lnTo>
                    <a:lnTo>
                      <a:pt x="405" y="484"/>
                    </a:lnTo>
                    <a:lnTo>
                      <a:pt x="407" y="484"/>
                    </a:lnTo>
                    <a:lnTo>
                      <a:pt x="409" y="482"/>
                    </a:lnTo>
                    <a:close/>
                    <a:moveTo>
                      <a:pt x="405" y="484"/>
                    </a:moveTo>
                    <a:lnTo>
                      <a:pt x="403" y="484"/>
                    </a:lnTo>
                    <a:lnTo>
                      <a:pt x="405" y="484"/>
                    </a:lnTo>
                    <a:lnTo>
                      <a:pt x="403" y="484"/>
                    </a:lnTo>
                    <a:lnTo>
                      <a:pt x="403" y="486"/>
                    </a:lnTo>
                    <a:lnTo>
                      <a:pt x="401" y="486"/>
                    </a:lnTo>
                    <a:lnTo>
                      <a:pt x="401" y="488"/>
                    </a:lnTo>
                    <a:lnTo>
                      <a:pt x="399" y="488"/>
                    </a:lnTo>
                    <a:lnTo>
                      <a:pt x="399" y="486"/>
                    </a:lnTo>
                    <a:lnTo>
                      <a:pt x="397" y="486"/>
                    </a:lnTo>
                    <a:lnTo>
                      <a:pt x="399" y="486"/>
                    </a:lnTo>
                    <a:lnTo>
                      <a:pt x="401" y="486"/>
                    </a:lnTo>
                    <a:lnTo>
                      <a:pt x="403" y="486"/>
                    </a:lnTo>
                    <a:lnTo>
                      <a:pt x="403" y="484"/>
                    </a:lnTo>
                    <a:lnTo>
                      <a:pt x="405" y="484"/>
                    </a:lnTo>
                    <a:close/>
                    <a:moveTo>
                      <a:pt x="380" y="492"/>
                    </a:moveTo>
                    <a:lnTo>
                      <a:pt x="380" y="494"/>
                    </a:lnTo>
                    <a:lnTo>
                      <a:pt x="378" y="492"/>
                    </a:lnTo>
                    <a:lnTo>
                      <a:pt x="380" y="492"/>
                    </a:lnTo>
                    <a:close/>
                    <a:moveTo>
                      <a:pt x="374" y="494"/>
                    </a:moveTo>
                    <a:lnTo>
                      <a:pt x="376" y="494"/>
                    </a:lnTo>
                    <a:lnTo>
                      <a:pt x="376" y="496"/>
                    </a:lnTo>
                    <a:lnTo>
                      <a:pt x="374" y="494"/>
                    </a:lnTo>
                    <a:close/>
                    <a:moveTo>
                      <a:pt x="405" y="484"/>
                    </a:moveTo>
                    <a:lnTo>
                      <a:pt x="405" y="482"/>
                    </a:lnTo>
                    <a:lnTo>
                      <a:pt x="405" y="484"/>
                    </a:lnTo>
                    <a:close/>
                    <a:moveTo>
                      <a:pt x="393" y="488"/>
                    </a:moveTo>
                    <a:lnTo>
                      <a:pt x="392" y="488"/>
                    </a:lnTo>
                    <a:lnTo>
                      <a:pt x="393" y="488"/>
                    </a:lnTo>
                    <a:lnTo>
                      <a:pt x="395" y="488"/>
                    </a:lnTo>
                    <a:lnTo>
                      <a:pt x="395" y="486"/>
                    </a:lnTo>
                    <a:lnTo>
                      <a:pt x="397" y="486"/>
                    </a:lnTo>
                    <a:lnTo>
                      <a:pt x="397" y="488"/>
                    </a:lnTo>
                    <a:lnTo>
                      <a:pt x="395" y="488"/>
                    </a:lnTo>
                    <a:lnTo>
                      <a:pt x="393" y="488"/>
                    </a:lnTo>
                    <a:lnTo>
                      <a:pt x="395" y="488"/>
                    </a:lnTo>
                    <a:lnTo>
                      <a:pt x="395" y="490"/>
                    </a:lnTo>
                    <a:lnTo>
                      <a:pt x="395" y="488"/>
                    </a:lnTo>
                    <a:lnTo>
                      <a:pt x="397" y="488"/>
                    </a:lnTo>
                    <a:lnTo>
                      <a:pt x="397" y="486"/>
                    </a:lnTo>
                    <a:lnTo>
                      <a:pt x="399" y="488"/>
                    </a:lnTo>
                    <a:lnTo>
                      <a:pt x="401" y="488"/>
                    </a:lnTo>
                    <a:lnTo>
                      <a:pt x="401" y="486"/>
                    </a:lnTo>
                    <a:lnTo>
                      <a:pt x="401" y="488"/>
                    </a:lnTo>
                    <a:lnTo>
                      <a:pt x="399" y="490"/>
                    </a:lnTo>
                    <a:lnTo>
                      <a:pt x="397" y="490"/>
                    </a:lnTo>
                    <a:lnTo>
                      <a:pt x="395" y="490"/>
                    </a:lnTo>
                    <a:lnTo>
                      <a:pt x="393" y="490"/>
                    </a:lnTo>
                    <a:lnTo>
                      <a:pt x="392" y="490"/>
                    </a:lnTo>
                    <a:lnTo>
                      <a:pt x="390" y="490"/>
                    </a:lnTo>
                    <a:lnTo>
                      <a:pt x="390" y="488"/>
                    </a:lnTo>
                    <a:lnTo>
                      <a:pt x="388" y="488"/>
                    </a:lnTo>
                    <a:lnTo>
                      <a:pt x="390" y="488"/>
                    </a:lnTo>
                    <a:lnTo>
                      <a:pt x="392" y="488"/>
                    </a:lnTo>
                    <a:lnTo>
                      <a:pt x="392" y="490"/>
                    </a:lnTo>
                    <a:lnTo>
                      <a:pt x="392" y="488"/>
                    </a:lnTo>
                    <a:lnTo>
                      <a:pt x="393" y="488"/>
                    </a:lnTo>
                    <a:close/>
                    <a:moveTo>
                      <a:pt x="409" y="482"/>
                    </a:moveTo>
                    <a:lnTo>
                      <a:pt x="407" y="482"/>
                    </a:lnTo>
                    <a:lnTo>
                      <a:pt x="407" y="484"/>
                    </a:lnTo>
                    <a:lnTo>
                      <a:pt x="405" y="484"/>
                    </a:lnTo>
                    <a:lnTo>
                      <a:pt x="405" y="486"/>
                    </a:lnTo>
                    <a:lnTo>
                      <a:pt x="405" y="484"/>
                    </a:lnTo>
                    <a:lnTo>
                      <a:pt x="407" y="482"/>
                    </a:lnTo>
                    <a:lnTo>
                      <a:pt x="409" y="482"/>
                    </a:lnTo>
                    <a:lnTo>
                      <a:pt x="409" y="480"/>
                    </a:lnTo>
                    <a:lnTo>
                      <a:pt x="409" y="482"/>
                    </a:lnTo>
                    <a:close/>
                    <a:moveTo>
                      <a:pt x="413" y="480"/>
                    </a:moveTo>
                    <a:lnTo>
                      <a:pt x="413" y="478"/>
                    </a:lnTo>
                    <a:lnTo>
                      <a:pt x="413" y="480"/>
                    </a:lnTo>
                    <a:lnTo>
                      <a:pt x="415" y="480"/>
                    </a:lnTo>
                    <a:lnTo>
                      <a:pt x="415" y="482"/>
                    </a:lnTo>
                    <a:lnTo>
                      <a:pt x="415" y="480"/>
                    </a:lnTo>
                    <a:lnTo>
                      <a:pt x="413" y="480"/>
                    </a:lnTo>
                    <a:lnTo>
                      <a:pt x="415" y="480"/>
                    </a:lnTo>
                    <a:lnTo>
                      <a:pt x="413" y="482"/>
                    </a:lnTo>
                    <a:lnTo>
                      <a:pt x="413" y="480"/>
                    </a:lnTo>
                    <a:lnTo>
                      <a:pt x="415" y="480"/>
                    </a:lnTo>
                    <a:lnTo>
                      <a:pt x="413" y="480"/>
                    </a:lnTo>
                    <a:lnTo>
                      <a:pt x="411" y="480"/>
                    </a:lnTo>
                    <a:lnTo>
                      <a:pt x="413" y="480"/>
                    </a:lnTo>
                    <a:close/>
                    <a:moveTo>
                      <a:pt x="372" y="494"/>
                    </a:moveTo>
                    <a:lnTo>
                      <a:pt x="374" y="494"/>
                    </a:lnTo>
                    <a:lnTo>
                      <a:pt x="374" y="496"/>
                    </a:lnTo>
                    <a:lnTo>
                      <a:pt x="376" y="496"/>
                    </a:lnTo>
                    <a:lnTo>
                      <a:pt x="374" y="496"/>
                    </a:lnTo>
                    <a:lnTo>
                      <a:pt x="372" y="496"/>
                    </a:lnTo>
                    <a:lnTo>
                      <a:pt x="372" y="494"/>
                    </a:lnTo>
                    <a:lnTo>
                      <a:pt x="370" y="494"/>
                    </a:lnTo>
                    <a:lnTo>
                      <a:pt x="372" y="494"/>
                    </a:lnTo>
                    <a:close/>
                    <a:moveTo>
                      <a:pt x="370" y="496"/>
                    </a:moveTo>
                    <a:lnTo>
                      <a:pt x="370" y="498"/>
                    </a:lnTo>
                    <a:lnTo>
                      <a:pt x="368" y="498"/>
                    </a:lnTo>
                    <a:lnTo>
                      <a:pt x="368" y="496"/>
                    </a:lnTo>
                    <a:lnTo>
                      <a:pt x="367" y="496"/>
                    </a:lnTo>
                    <a:lnTo>
                      <a:pt x="368" y="494"/>
                    </a:lnTo>
                    <a:lnTo>
                      <a:pt x="368" y="496"/>
                    </a:lnTo>
                    <a:lnTo>
                      <a:pt x="370" y="496"/>
                    </a:lnTo>
                    <a:lnTo>
                      <a:pt x="372" y="496"/>
                    </a:lnTo>
                    <a:lnTo>
                      <a:pt x="370" y="496"/>
                    </a:lnTo>
                    <a:close/>
                    <a:moveTo>
                      <a:pt x="390" y="488"/>
                    </a:moveTo>
                    <a:lnTo>
                      <a:pt x="390" y="490"/>
                    </a:lnTo>
                    <a:lnTo>
                      <a:pt x="388" y="490"/>
                    </a:lnTo>
                    <a:lnTo>
                      <a:pt x="386" y="490"/>
                    </a:lnTo>
                    <a:lnTo>
                      <a:pt x="384" y="490"/>
                    </a:lnTo>
                    <a:lnTo>
                      <a:pt x="386" y="490"/>
                    </a:lnTo>
                    <a:lnTo>
                      <a:pt x="386" y="488"/>
                    </a:lnTo>
                    <a:lnTo>
                      <a:pt x="386" y="490"/>
                    </a:lnTo>
                    <a:lnTo>
                      <a:pt x="388" y="488"/>
                    </a:lnTo>
                    <a:lnTo>
                      <a:pt x="390" y="488"/>
                    </a:lnTo>
                    <a:close/>
                    <a:moveTo>
                      <a:pt x="411" y="480"/>
                    </a:moveTo>
                    <a:lnTo>
                      <a:pt x="409" y="480"/>
                    </a:lnTo>
                    <a:lnTo>
                      <a:pt x="407" y="480"/>
                    </a:lnTo>
                    <a:lnTo>
                      <a:pt x="409" y="480"/>
                    </a:lnTo>
                    <a:lnTo>
                      <a:pt x="411" y="480"/>
                    </a:lnTo>
                    <a:close/>
                    <a:moveTo>
                      <a:pt x="265" y="528"/>
                    </a:moveTo>
                    <a:lnTo>
                      <a:pt x="263" y="528"/>
                    </a:lnTo>
                    <a:lnTo>
                      <a:pt x="263" y="527"/>
                    </a:lnTo>
                    <a:lnTo>
                      <a:pt x="263" y="528"/>
                    </a:lnTo>
                    <a:lnTo>
                      <a:pt x="265" y="528"/>
                    </a:lnTo>
                    <a:close/>
                    <a:moveTo>
                      <a:pt x="330" y="509"/>
                    </a:moveTo>
                    <a:lnTo>
                      <a:pt x="328" y="509"/>
                    </a:lnTo>
                    <a:lnTo>
                      <a:pt x="326" y="509"/>
                    </a:lnTo>
                    <a:lnTo>
                      <a:pt x="326" y="507"/>
                    </a:lnTo>
                    <a:lnTo>
                      <a:pt x="328" y="507"/>
                    </a:lnTo>
                    <a:lnTo>
                      <a:pt x="330" y="507"/>
                    </a:lnTo>
                    <a:lnTo>
                      <a:pt x="330" y="509"/>
                    </a:lnTo>
                    <a:close/>
                    <a:moveTo>
                      <a:pt x="374" y="492"/>
                    </a:moveTo>
                    <a:lnTo>
                      <a:pt x="376" y="492"/>
                    </a:lnTo>
                    <a:lnTo>
                      <a:pt x="378" y="492"/>
                    </a:lnTo>
                    <a:lnTo>
                      <a:pt x="378" y="494"/>
                    </a:lnTo>
                    <a:lnTo>
                      <a:pt x="376" y="494"/>
                    </a:lnTo>
                    <a:lnTo>
                      <a:pt x="376" y="492"/>
                    </a:lnTo>
                    <a:lnTo>
                      <a:pt x="376" y="494"/>
                    </a:lnTo>
                    <a:lnTo>
                      <a:pt x="378" y="494"/>
                    </a:lnTo>
                    <a:lnTo>
                      <a:pt x="380" y="494"/>
                    </a:lnTo>
                    <a:lnTo>
                      <a:pt x="378" y="494"/>
                    </a:lnTo>
                    <a:lnTo>
                      <a:pt x="380" y="494"/>
                    </a:lnTo>
                    <a:lnTo>
                      <a:pt x="378" y="494"/>
                    </a:lnTo>
                    <a:lnTo>
                      <a:pt x="378" y="496"/>
                    </a:lnTo>
                    <a:lnTo>
                      <a:pt x="376" y="494"/>
                    </a:lnTo>
                    <a:lnTo>
                      <a:pt x="374" y="494"/>
                    </a:lnTo>
                    <a:lnTo>
                      <a:pt x="372" y="494"/>
                    </a:lnTo>
                    <a:lnTo>
                      <a:pt x="372" y="492"/>
                    </a:lnTo>
                    <a:lnTo>
                      <a:pt x="374" y="492"/>
                    </a:lnTo>
                    <a:close/>
                    <a:moveTo>
                      <a:pt x="409" y="478"/>
                    </a:moveTo>
                    <a:lnTo>
                      <a:pt x="409" y="480"/>
                    </a:lnTo>
                    <a:lnTo>
                      <a:pt x="407" y="480"/>
                    </a:lnTo>
                    <a:lnTo>
                      <a:pt x="407" y="478"/>
                    </a:lnTo>
                    <a:lnTo>
                      <a:pt x="409" y="478"/>
                    </a:lnTo>
                    <a:close/>
                    <a:moveTo>
                      <a:pt x="395" y="482"/>
                    </a:moveTo>
                    <a:lnTo>
                      <a:pt x="397" y="482"/>
                    </a:lnTo>
                    <a:lnTo>
                      <a:pt x="395" y="482"/>
                    </a:lnTo>
                    <a:lnTo>
                      <a:pt x="397" y="482"/>
                    </a:lnTo>
                    <a:lnTo>
                      <a:pt x="395" y="482"/>
                    </a:lnTo>
                    <a:close/>
                    <a:moveTo>
                      <a:pt x="399" y="480"/>
                    </a:moveTo>
                    <a:lnTo>
                      <a:pt x="399" y="482"/>
                    </a:lnTo>
                    <a:lnTo>
                      <a:pt x="397" y="482"/>
                    </a:lnTo>
                    <a:lnTo>
                      <a:pt x="399" y="480"/>
                    </a:lnTo>
                    <a:close/>
                    <a:moveTo>
                      <a:pt x="401" y="480"/>
                    </a:moveTo>
                    <a:lnTo>
                      <a:pt x="399" y="480"/>
                    </a:lnTo>
                    <a:lnTo>
                      <a:pt x="401" y="480"/>
                    </a:lnTo>
                    <a:close/>
                    <a:moveTo>
                      <a:pt x="403" y="478"/>
                    </a:moveTo>
                    <a:lnTo>
                      <a:pt x="401" y="478"/>
                    </a:lnTo>
                    <a:lnTo>
                      <a:pt x="403" y="478"/>
                    </a:lnTo>
                    <a:close/>
                    <a:moveTo>
                      <a:pt x="632" y="380"/>
                    </a:moveTo>
                    <a:lnTo>
                      <a:pt x="634" y="380"/>
                    </a:lnTo>
                    <a:lnTo>
                      <a:pt x="632" y="380"/>
                    </a:lnTo>
                    <a:lnTo>
                      <a:pt x="632" y="382"/>
                    </a:lnTo>
                    <a:lnTo>
                      <a:pt x="632" y="380"/>
                    </a:lnTo>
                    <a:close/>
                    <a:moveTo>
                      <a:pt x="397" y="480"/>
                    </a:moveTo>
                    <a:lnTo>
                      <a:pt x="399" y="480"/>
                    </a:lnTo>
                    <a:lnTo>
                      <a:pt x="397" y="480"/>
                    </a:lnTo>
                    <a:lnTo>
                      <a:pt x="397" y="482"/>
                    </a:lnTo>
                    <a:lnTo>
                      <a:pt x="397" y="480"/>
                    </a:lnTo>
                    <a:lnTo>
                      <a:pt x="399" y="480"/>
                    </a:lnTo>
                    <a:lnTo>
                      <a:pt x="397" y="480"/>
                    </a:lnTo>
                    <a:close/>
                    <a:moveTo>
                      <a:pt x="397" y="480"/>
                    </a:moveTo>
                    <a:lnTo>
                      <a:pt x="395" y="480"/>
                    </a:lnTo>
                    <a:lnTo>
                      <a:pt x="395" y="482"/>
                    </a:lnTo>
                    <a:lnTo>
                      <a:pt x="395" y="480"/>
                    </a:lnTo>
                    <a:lnTo>
                      <a:pt x="395" y="482"/>
                    </a:lnTo>
                    <a:lnTo>
                      <a:pt x="395" y="480"/>
                    </a:lnTo>
                    <a:lnTo>
                      <a:pt x="397" y="480"/>
                    </a:lnTo>
                    <a:close/>
                    <a:moveTo>
                      <a:pt x="393" y="482"/>
                    </a:moveTo>
                    <a:lnTo>
                      <a:pt x="395" y="480"/>
                    </a:lnTo>
                    <a:lnTo>
                      <a:pt x="395" y="482"/>
                    </a:lnTo>
                    <a:lnTo>
                      <a:pt x="393" y="482"/>
                    </a:lnTo>
                    <a:lnTo>
                      <a:pt x="395" y="482"/>
                    </a:lnTo>
                    <a:lnTo>
                      <a:pt x="393" y="482"/>
                    </a:lnTo>
                    <a:lnTo>
                      <a:pt x="395" y="482"/>
                    </a:lnTo>
                    <a:lnTo>
                      <a:pt x="393" y="482"/>
                    </a:lnTo>
                    <a:close/>
                    <a:moveTo>
                      <a:pt x="401" y="478"/>
                    </a:moveTo>
                    <a:lnTo>
                      <a:pt x="401" y="480"/>
                    </a:lnTo>
                    <a:lnTo>
                      <a:pt x="399" y="480"/>
                    </a:lnTo>
                    <a:lnTo>
                      <a:pt x="399" y="478"/>
                    </a:lnTo>
                    <a:lnTo>
                      <a:pt x="401" y="478"/>
                    </a:lnTo>
                    <a:close/>
                    <a:moveTo>
                      <a:pt x="405" y="477"/>
                    </a:moveTo>
                    <a:lnTo>
                      <a:pt x="405" y="478"/>
                    </a:lnTo>
                    <a:lnTo>
                      <a:pt x="403" y="478"/>
                    </a:lnTo>
                    <a:lnTo>
                      <a:pt x="405" y="478"/>
                    </a:lnTo>
                    <a:lnTo>
                      <a:pt x="403" y="478"/>
                    </a:lnTo>
                    <a:lnTo>
                      <a:pt x="405" y="477"/>
                    </a:lnTo>
                    <a:close/>
                    <a:moveTo>
                      <a:pt x="372" y="490"/>
                    </a:moveTo>
                    <a:lnTo>
                      <a:pt x="370" y="492"/>
                    </a:lnTo>
                    <a:lnTo>
                      <a:pt x="370" y="490"/>
                    </a:lnTo>
                    <a:lnTo>
                      <a:pt x="370" y="492"/>
                    </a:lnTo>
                    <a:lnTo>
                      <a:pt x="372" y="492"/>
                    </a:lnTo>
                    <a:lnTo>
                      <a:pt x="370" y="492"/>
                    </a:lnTo>
                    <a:lnTo>
                      <a:pt x="372" y="492"/>
                    </a:lnTo>
                    <a:lnTo>
                      <a:pt x="370" y="494"/>
                    </a:lnTo>
                    <a:lnTo>
                      <a:pt x="368" y="494"/>
                    </a:lnTo>
                    <a:lnTo>
                      <a:pt x="370" y="494"/>
                    </a:lnTo>
                    <a:lnTo>
                      <a:pt x="368" y="494"/>
                    </a:lnTo>
                    <a:lnTo>
                      <a:pt x="367" y="494"/>
                    </a:lnTo>
                    <a:lnTo>
                      <a:pt x="368" y="494"/>
                    </a:lnTo>
                    <a:lnTo>
                      <a:pt x="368" y="492"/>
                    </a:lnTo>
                    <a:lnTo>
                      <a:pt x="368" y="490"/>
                    </a:lnTo>
                    <a:lnTo>
                      <a:pt x="370" y="490"/>
                    </a:lnTo>
                    <a:lnTo>
                      <a:pt x="372" y="490"/>
                    </a:lnTo>
                    <a:close/>
                    <a:moveTo>
                      <a:pt x="393" y="480"/>
                    </a:moveTo>
                    <a:lnTo>
                      <a:pt x="395" y="480"/>
                    </a:lnTo>
                    <a:lnTo>
                      <a:pt x="393" y="480"/>
                    </a:lnTo>
                    <a:lnTo>
                      <a:pt x="395" y="480"/>
                    </a:lnTo>
                    <a:lnTo>
                      <a:pt x="393" y="480"/>
                    </a:lnTo>
                    <a:close/>
                    <a:moveTo>
                      <a:pt x="392" y="482"/>
                    </a:moveTo>
                    <a:lnTo>
                      <a:pt x="390" y="482"/>
                    </a:lnTo>
                    <a:lnTo>
                      <a:pt x="392" y="482"/>
                    </a:lnTo>
                    <a:close/>
                    <a:moveTo>
                      <a:pt x="395" y="480"/>
                    </a:moveTo>
                    <a:lnTo>
                      <a:pt x="393" y="480"/>
                    </a:lnTo>
                    <a:lnTo>
                      <a:pt x="395" y="480"/>
                    </a:lnTo>
                    <a:close/>
                    <a:moveTo>
                      <a:pt x="392" y="480"/>
                    </a:moveTo>
                    <a:lnTo>
                      <a:pt x="392" y="482"/>
                    </a:lnTo>
                    <a:lnTo>
                      <a:pt x="392" y="480"/>
                    </a:lnTo>
                    <a:lnTo>
                      <a:pt x="392" y="482"/>
                    </a:lnTo>
                    <a:lnTo>
                      <a:pt x="392" y="480"/>
                    </a:lnTo>
                    <a:close/>
                    <a:moveTo>
                      <a:pt x="397" y="480"/>
                    </a:moveTo>
                    <a:lnTo>
                      <a:pt x="395" y="480"/>
                    </a:lnTo>
                    <a:lnTo>
                      <a:pt x="397" y="480"/>
                    </a:lnTo>
                    <a:close/>
                    <a:moveTo>
                      <a:pt x="320" y="505"/>
                    </a:moveTo>
                    <a:lnTo>
                      <a:pt x="319" y="505"/>
                    </a:lnTo>
                    <a:lnTo>
                      <a:pt x="320" y="505"/>
                    </a:lnTo>
                    <a:close/>
                    <a:moveTo>
                      <a:pt x="397" y="478"/>
                    </a:moveTo>
                    <a:lnTo>
                      <a:pt x="399" y="478"/>
                    </a:lnTo>
                    <a:lnTo>
                      <a:pt x="397" y="478"/>
                    </a:lnTo>
                    <a:lnTo>
                      <a:pt x="397" y="480"/>
                    </a:lnTo>
                    <a:lnTo>
                      <a:pt x="399" y="478"/>
                    </a:lnTo>
                    <a:lnTo>
                      <a:pt x="397" y="480"/>
                    </a:lnTo>
                    <a:lnTo>
                      <a:pt x="397" y="478"/>
                    </a:lnTo>
                    <a:close/>
                    <a:moveTo>
                      <a:pt x="368" y="488"/>
                    </a:moveTo>
                    <a:lnTo>
                      <a:pt x="368" y="490"/>
                    </a:lnTo>
                    <a:lnTo>
                      <a:pt x="370" y="490"/>
                    </a:lnTo>
                    <a:lnTo>
                      <a:pt x="368" y="490"/>
                    </a:lnTo>
                    <a:lnTo>
                      <a:pt x="367" y="490"/>
                    </a:lnTo>
                    <a:lnTo>
                      <a:pt x="368" y="488"/>
                    </a:lnTo>
                    <a:close/>
                    <a:moveTo>
                      <a:pt x="401" y="478"/>
                    </a:moveTo>
                    <a:lnTo>
                      <a:pt x="399" y="478"/>
                    </a:lnTo>
                    <a:lnTo>
                      <a:pt x="401" y="478"/>
                    </a:lnTo>
                    <a:close/>
                    <a:moveTo>
                      <a:pt x="401" y="477"/>
                    </a:moveTo>
                    <a:lnTo>
                      <a:pt x="401" y="478"/>
                    </a:lnTo>
                    <a:lnTo>
                      <a:pt x="399" y="478"/>
                    </a:lnTo>
                    <a:lnTo>
                      <a:pt x="399" y="477"/>
                    </a:lnTo>
                    <a:lnTo>
                      <a:pt x="401" y="477"/>
                    </a:lnTo>
                    <a:close/>
                    <a:moveTo>
                      <a:pt x="397" y="478"/>
                    </a:moveTo>
                    <a:lnTo>
                      <a:pt x="395" y="478"/>
                    </a:lnTo>
                    <a:lnTo>
                      <a:pt x="397" y="478"/>
                    </a:lnTo>
                    <a:close/>
                    <a:moveTo>
                      <a:pt x="367" y="490"/>
                    </a:moveTo>
                    <a:lnTo>
                      <a:pt x="367" y="492"/>
                    </a:lnTo>
                    <a:lnTo>
                      <a:pt x="367" y="490"/>
                    </a:lnTo>
                    <a:lnTo>
                      <a:pt x="368" y="490"/>
                    </a:lnTo>
                    <a:lnTo>
                      <a:pt x="368" y="492"/>
                    </a:lnTo>
                    <a:lnTo>
                      <a:pt x="367" y="494"/>
                    </a:lnTo>
                    <a:lnTo>
                      <a:pt x="365" y="494"/>
                    </a:lnTo>
                    <a:lnTo>
                      <a:pt x="363" y="496"/>
                    </a:lnTo>
                    <a:lnTo>
                      <a:pt x="363" y="494"/>
                    </a:lnTo>
                    <a:lnTo>
                      <a:pt x="361" y="494"/>
                    </a:lnTo>
                    <a:lnTo>
                      <a:pt x="361" y="492"/>
                    </a:lnTo>
                    <a:lnTo>
                      <a:pt x="363" y="492"/>
                    </a:lnTo>
                    <a:lnTo>
                      <a:pt x="365" y="492"/>
                    </a:lnTo>
                    <a:lnTo>
                      <a:pt x="363" y="492"/>
                    </a:lnTo>
                    <a:lnTo>
                      <a:pt x="365" y="490"/>
                    </a:lnTo>
                    <a:lnTo>
                      <a:pt x="367" y="490"/>
                    </a:lnTo>
                    <a:lnTo>
                      <a:pt x="367" y="488"/>
                    </a:lnTo>
                    <a:lnTo>
                      <a:pt x="368" y="488"/>
                    </a:lnTo>
                    <a:lnTo>
                      <a:pt x="367" y="490"/>
                    </a:lnTo>
                    <a:lnTo>
                      <a:pt x="365" y="490"/>
                    </a:lnTo>
                    <a:lnTo>
                      <a:pt x="367" y="490"/>
                    </a:lnTo>
                    <a:close/>
                    <a:moveTo>
                      <a:pt x="374" y="488"/>
                    </a:moveTo>
                    <a:lnTo>
                      <a:pt x="372" y="488"/>
                    </a:lnTo>
                    <a:lnTo>
                      <a:pt x="372" y="486"/>
                    </a:lnTo>
                    <a:lnTo>
                      <a:pt x="374" y="486"/>
                    </a:lnTo>
                    <a:lnTo>
                      <a:pt x="374" y="488"/>
                    </a:lnTo>
                    <a:close/>
                    <a:moveTo>
                      <a:pt x="403" y="477"/>
                    </a:moveTo>
                    <a:lnTo>
                      <a:pt x="401" y="477"/>
                    </a:lnTo>
                    <a:lnTo>
                      <a:pt x="403" y="477"/>
                    </a:lnTo>
                    <a:lnTo>
                      <a:pt x="403" y="475"/>
                    </a:lnTo>
                    <a:lnTo>
                      <a:pt x="403" y="477"/>
                    </a:lnTo>
                    <a:close/>
                    <a:moveTo>
                      <a:pt x="353" y="494"/>
                    </a:moveTo>
                    <a:lnTo>
                      <a:pt x="351" y="494"/>
                    </a:lnTo>
                    <a:lnTo>
                      <a:pt x="353" y="494"/>
                    </a:lnTo>
                    <a:close/>
                    <a:moveTo>
                      <a:pt x="405" y="475"/>
                    </a:moveTo>
                    <a:lnTo>
                      <a:pt x="407" y="475"/>
                    </a:lnTo>
                    <a:lnTo>
                      <a:pt x="405" y="475"/>
                    </a:lnTo>
                    <a:lnTo>
                      <a:pt x="407" y="475"/>
                    </a:lnTo>
                    <a:lnTo>
                      <a:pt x="405" y="475"/>
                    </a:lnTo>
                    <a:lnTo>
                      <a:pt x="405" y="477"/>
                    </a:lnTo>
                    <a:lnTo>
                      <a:pt x="407" y="475"/>
                    </a:lnTo>
                    <a:lnTo>
                      <a:pt x="407" y="477"/>
                    </a:lnTo>
                    <a:lnTo>
                      <a:pt x="407" y="475"/>
                    </a:lnTo>
                    <a:lnTo>
                      <a:pt x="409" y="475"/>
                    </a:lnTo>
                    <a:lnTo>
                      <a:pt x="409" y="477"/>
                    </a:lnTo>
                    <a:lnTo>
                      <a:pt x="407" y="477"/>
                    </a:lnTo>
                    <a:lnTo>
                      <a:pt x="405" y="477"/>
                    </a:lnTo>
                    <a:lnTo>
                      <a:pt x="405" y="475"/>
                    </a:lnTo>
                    <a:lnTo>
                      <a:pt x="407" y="475"/>
                    </a:lnTo>
                    <a:lnTo>
                      <a:pt x="405" y="475"/>
                    </a:lnTo>
                    <a:close/>
                    <a:moveTo>
                      <a:pt x="392" y="480"/>
                    </a:moveTo>
                    <a:lnTo>
                      <a:pt x="390" y="480"/>
                    </a:lnTo>
                    <a:lnTo>
                      <a:pt x="392" y="480"/>
                    </a:lnTo>
                    <a:lnTo>
                      <a:pt x="390" y="480"/>
                    </a:lnTo>
                    <a:lnTo>
                      <a:pt x="392" y="480"/>
                    </a:lnTo>
                    <a:close/>
                    <a:moveTo>
                      <a:pt x="397" y="477"/>
                    </a:moveTo>
                    <a:lnTo>
                      <a:pt x="397" y="478"/>
                    </a:lnTo>
                    <a:lnTo>
                      <a:pt x="397" y="477"/>
                    </a:lnTo>
                    <a:close/>
                    <a:moveTo>
                      <a:pt x="357" y="492"/>
                    </a:moveTo>
                    <a:lnTo>
                      <a:pt x="355" y="492"/>
                    </a:lnTo>
                    <a:lnTo>
                      <a:pt x="355" y="494"/>
                    </a:lnTo>
                    <a:lnTo>
                      <a:pt x="355" y="492"/>
                    </a:lnTo>
                    <a:lnTo>
                      <a:pt x="355" y="494"/>
                    </a:lnTo>
                    <a:lnTo>
                      <a:pt x="357" y="494"/>
                    </a:lnTo>
                    <a:lnTo>
                      <a:pt x="357" y="492"/>
                    </a:lnTo>
                    <a:lnTo>
                      <a:pt x="359" y="492"/>
                    </a:lnTo>
                    <a:lnTo>
                      <a:pt x="361" y="492"/>
                    </a:lnTo>
                    <a:lnTo>
                      <a:pt x="363" y="492"/>
                    </a:lnTo>
                    <a:lnTo>
                      <a:pt x="363" y="490"/>
                    </a:lnTo>
                    <a:lnTo>
                      <a:pt x="363" y="492"/>
                    </a:lnTo>
                    <a:lnTo>
                      <a:pt x="361" y="492"/>
                    </a:lnTo>
                    <a:lnTo>
                      <a:pt x="361" y="494"/>
                    </a:lnTo>
                    <a:lnTo>
                      <a:pt x="359" y="494"/>
                    </a:lnTo>
                    <a:lnTo>
                      <a:pt x="361" y="494"/>
                    </a:lnTo>
                    <a:lnTo>
                      <a:pt x="359" y="496"/>
                    </a:lnTo>
                    <a:lnTo>
                      <a:pt x="357" y="496"/>
                    </a:lnTo>
                    <a:lnTo>
                      <a:pt x="355" y="496"/>
                    </a:lnTo>
                    <a:lnTo>
                      <a:pt x="357" y="496"/>
                    </a:lnTo>
                    <a:lnTo>
                      <a:pt x="359" y="496"/>
                    </a:lnTo>
                    <a:lnTo>
                      <a:pt x="361" y="496"/>
                    </a:lnTo>
                    <a:lnTo>
                      <a:pt x="363" y="496"/>
                    </a:lnTo>
                    <a:lnTo>
                      <a:pt x="361" y="496"/>
                    </a:lnTo>
                    <a:lnTo>
                      <a:pt x="359" y="498"/>
                    </a:lnTo>
                    <a:lnTo>
                      <a:pt x="361" y="498"/>
                    </a:lnTo>
                    <a:lnTo>
                      <a:pt x="361" y="496"/>
                    </a:lnTo>
                    <a:lnTo>
                      <a:pt x="361" y="498"/>
                    </a:lnTo>
                    <a:lnTo>
                      <a:pt x="359" y="498"/>
                    </a:lnTo>
                    <a:lnTo>
                      <a:pt x="357" y="498"/>
                    </a:lnTo>
                    <a:lnTo>
                      <a:pt x="355" y="498"/>
                    </a:lnTo>
                    <a:lnTo>
                      <a:pt x="353" y="500"/>
                    </a:lnTo>
                    <a:lnTo>
                      <a:pt x="351" y="498"/>
                    </a:lnTo>
                    <a:lnTo>
                      <a:pt x="351" y="496"/>
                    </a:lnTo>
                    <a:lnTo>
                      <a:pt x="353" y="496"/>
                    </a:lnTo>
                    <a:lnTo>
                      <a:pt x="353" y="494"/>
                    </a:lnTo>
                    <a:lnTo>
                      <a:pt x="355" y="494"/>
                    </a:lnTo>
                    <a:lnTo>
                      <a:pt x="355" y="492"/>
                    </a:lnTo>
                    <a:lnTo>
                      <a:pt x="357" y="492"/>
                    </a:lnTo>
                    <a:close/>
                    <a:moveTo>
                      <a:pt x="368" y="488"/>
                    </a:moveTo>
                    <a:lnTo>
                      <a:pt x="370" y="488"/>
                    </a:lnTo>
                    <a:lnTo>
                      <a:pt x="370" y="486"/>
                    </a:lnTo>
                    <a:lnTo>
                      <a:pt x="370" y="488"/>
                    </a:lnTo>
                    <a:lnTo>
                      <a:pt x="370" y="490"/>
                    </a:lnTo>
                    <a:lnTo>
                      <a:pt x="370" y="488"/>
                    </a:lnTo>
                    <a:lnTo>
                      <a:pt x="370" y="490"/>
                    </a:lnTo>
                    <a:lnTo>
                      <a:pt x="370" y="488"/>
                    </a:lnTo>
                    <a:lnTo>
                      <a:pt x="370" y="490"/>
                    </a:lnTo>
                    <a:lnTo>
                      <a:pt x="368" y="488"/>
                    </a:lnTo>
                    <a:lnTo>
                      <a:pt x="367" y="488"/>
                    </a:lnTo>
                    <a:lnTo>
                      <a:pt x="368" y="488"/>
                    </a:lnTo>
                    <a:close/>
                    <a:moveTo>
                      <a:pt x="397" y="478"/>
                    </a:moveTo>
                    <a:lnTo>
                      <a:pt x="395" y="478"/>
                    </a:lnTo>
                    <a:lnTo>
                      <a:pt x="395" y="477"/>
                    </a:lnTo>
                    <a:lnTo>
                      <a:pt x="397" y="477"/>
                    </a:lnTo>
                    <a:lnTo>
                      <a:pt x="397" y="478"/>
                    </a:lnTo>
                    <a:close/>
                    <a:moveTo>
                      <a:pt x="370" y="486"/>
                    </a:moveTo>
                    <a:lnTo>
                      <a:pt x="368" y="486"/>
                    </a:lnTo>
                    <a:lnTo>
                      <a:pt x="370" y="486"/>
                    </a:lnTo>
                    <a:close/>
                    <a:moveTo>
                      <a:pt x="370" y="486"/>
                    </a:moveTo>
                    <a:lnTo>
                      <a:pt x="372" y="486"/>
                    </a:lnTo>
                    <a:lnTo>
                      <a:pt x="374" y="486"/>
                    </a:lnTo>
                    <a:lnTo>
                      <a:pt x="372" y="486"/>
                    </a:lnTo>
                    <a:lnTo>
                      <a:pt x="374" y="486"/>
                    </a:lnTo>
                    <a:lnTo>
                      <a:pt x="372" y="486"/>
                    </a:lnTo>
                    <a:lnTo>
                      <a:pt x="372" y="488"/>
                    </a:lnTo>
                    <a:lnTo>
                      <a:pt x="370" y="488"/>
                    </a:lnTo>
                    <a:lnTo>
                      <a:pt x="370" y="486"/>
                    </a:lnTo>
                    <a:close/>
                    <a:moveTo>
                      <a:pt x="405" y="475"/>
                    </a:moveTo>
                    <a:lnTo>
                      <a:pt x="403" y="475"/>
                    </a:lnTo>
                    <a:lnTo>
                      <a:pt x="405" y="475"/>
                    </a:lnTo>
                    <a:close/>
                    <a:moveTo>
                      <a:pt x="399" y="477"/>
                    </a:moveTo>
                    <a:lnTo>
                      <a:pt x="401" y="477"/>
                    </a:lnTo>
                    <a:lnTo>
                      <a:pt x="399" y="477"/>
                    </a:lnTo>
                    <a:lnTo>
                      <a:pt x="397" y="477"/>
                    </a:lnTo>
                    <a:lnTo>
                      <a:pt x="395" y="477"/>
                    </a:lnTo>
                    <a:lnTo>
                      <a:pt x="397" y="477"/>
                    </a:lnTo>
                    <a:lnTo>
                      <a:pt x="399" y="477"/>
                    </a:lnTo>
                    <a:close/>
                    <a:moveTo>
                      <a:pt x="384" y="480"/>
                    </a:moveTo>
                    <a:lnTo>
                      <a:pt x="384" y="482"/>
                    </a:lnTo>
                    <a:lnTo>
                      <a:pt x="384" y="480"/>
                    </a:lnTo>
                    <a:close/>
                    <a:moveTo>
                      <a:pt x="393" y="478"/>
                    </a:moveTo>
                    <a:lnTo>
                      <a:pt x="395" y="477"/>
                    </a:lnTo>
                    <a:lnTo>
                      <a:pt x="395" y="478"/>
                    </a:lnTo>
                    <a:lnTo>
                      <a:pt x="393" y="478"/>
                    </a:lnTo>
                    <a:close/>
                    <a:moveTo>
                      <a:pt x="372" y="486"/>
                    </a:moveTo>
                    <a:lnTo>
                      <a:pt x="372" y="484"/>
                    </a:lnTo>
                    <a:lnTo>
                      <a:pt x="372" y="486"/>
                    </a:lnTo>
                    <a:close/>
                    <a:moveTo>
                      <a:pt x="326" y="502"/>
                    </a:moveTo>
                    <a:lnTo>
                      <a:pt x="326" y="503"/>
                    </a:lnTo>
                    <a:lnTo>
                      <a:pt x="324" y="503"/>
                    </a:lnTo>
                    <a:lnTo>
                      <a:pt x="324" y="502"/>
                    </a:lnTo>
                    <a:lnTo>
                      <a:pt x="326" y="502"/>
                    </a:lnTo>
                    <a:close/>
                    <a:moveTo>
                      <a:pt x="372" y="486"/>
                    </a:moveTo>
                    <a:lnTo>
                      <a:pt x="370" y="486"/>
                    </a:lnTo>
                    <a:lnTo>
                      <a:pt x="372" y="486"/>
                    </a:lnTo>
                    <a:close/>
                    <a:moveTo>
                      <a:pt x="388" y="480"/>
                    </a:moveTo>
                    <a:lnTo>
                      <a:pt x="388" y="482"/>
                    </a:lnTo>
                    <a:lnTo>
                      <a:pt x="388" y="480"/>
                    </a:lnTo>
                    <a:lnTo>
                      <a:pt x="386" y="482"/>
                    </a:lnTo>
                    <a:lnTo>
                      <a:pt x="386" y="480"/>
                    </a:lnTo>
                    <a:lnTo>
                      <a:pt x="388" y="480"/>
                    </a:lnTo>
                    <a:lnTo>
                      <a:pt x="390" y="480"/>
                    </a:lnTo>
                    <a:lnTo>
                      <a:pt x="390" y="482"/>
                    </a:lnTo>
                    <a:lnTo>
                      <a:pt x="388" y="482"/>
                    </a:lnTo>
                    <a:lnTo>
                      <a:pt x="388" y="480"/>
                    </a:lnTo>
                    <a:lnTo>
                      <a:pt x="388" y="482"/>
                    </a:lnTo>
                    <a:lnTo>
                      <a:pt x="388" y="480"/>
                    </a:lnTo>
                    <a:lnTo>
                      <a:pt x="388" y="482"/>
                    </a:lnTo>
                    <a:lnTo>
                      <a:pt x="388" y="480"/>
                    </a:lnTo>
                    <a:lnTo>
                      <a:pt x="388" y="482"/>
                    </a:lnTo>
                    <a:lnTo>
                      <a:pt x="388" y="480"/>
                    </a:lnTo>
                    <a:close/>
                    <a:moveTo>
                      <a:pt x="401" y="475"/>
                    </a:moveTo>
                    <a:lnTo>
                      <a:pt x="403" y="475"/>
                    </a:lnTo>
                    <a:lnTo>
                      <a:pt x="401" y="475"/>
                    </a:lnTo>
                    <a:lnTo>
                      <a:pt x="403" y="475"/>
                    </a:lnTo>
                    <a:lnTo>
                      <a:pt x="401" y="475"/>
                    </a:lnTo>
                    <a:lnTo>
                      <a:pt x="401" y="477"/>
                    </a:lnTo>
                    <a:lnTo>
                      <a:pt x="399" y="477"/>
                    </a:lnTo>
                    <a:lnTo>
                      <a:pt x="399" y="475"/>
                    </a:lnTo>
                    <a:lnTo>
                      <a:pt x="401" y="475"/>
                    </a:lnTo>
                    <a:lnTo>
                      <a:pt x="399" y="475"/>
                    </a:lnTo>
                    <a:lnTo>
                      <a:pt x="401" y="475"/>
                    </a:lnTo>
                    <a:close/>
                    <a:moveTo>
                      <a:pt x="401" y="475"/>
                    </a:moveTo>
                    <a:lnTo>
                      <a:pt x="403" y="475"/>
                    </a:lnTo>
                    <a:lnTo>
                      <a:pt x="401" y="475"/>
                    </a:lnTo>
                    <a:close/>
                    <a:moveTo>
                      <a:pt x="353" y="492"/>
                    </a:moveTo>
                    <a:lnTo>
                      <a:pt x="355" y="492"/>
                    </a:lnTo>
                    <a:lnTo>
                      <a:pt x="353" y="492"/>
                    </a:lnTo>
                    <a:lnTo>
                      <a:pt x="353" y="494"/>
                    </a:lnTo>
                    <a:lnTo>
                      <a:pt x="353" y="492"/>
                    </a:lnTo>
                    <a:close/>
                    <a:moveTo>
                      <a:pt x="392" y="478"/>
                    </a:moveTo>
                    <a:lnTo>
                      <a:pt x="393" y="478"/>
                    </a:lnTo>
                    <a:lnTo>
                      <a:pt x="395" y="478"/>
                    </a:lnTo>
                    <a:lnTo>
                      <a:pt x="393" y="478"/>
                    </a:lnTo>
                    <a:lnTo>
                      <a:pt x="392" y="478"/>
                    </a:lnTo>
                    <a:lnTo>
                      <a:pt x="393" y="478"/>
                    </a:lnTo>
                    <a:lnTo>
                      <a:pt x="395" y="478"/>
                    </a:lnTo>
                    <a:lnTo>
                      <a:pt x="393" y="480"/>
                    </a:lnTo>
                    <a:lnTo>
                      <a:pt x="393" y="478"/>
                    </a:lnTo>
                    <a:lnTo>
                      <a:pt x="393" y="480"/>
                    </a:lnTo>
                    <a:lnTo>
                      <a:pt x="395" y="478"/>
                    </a:lnTo>
                    <a:lnTo>
                      <a:pt x="395" y="480"/>
                    </a:lnTo>
                    <a:lnTo>
                      <a:pt x="393" y="480"/>
                    </a:lnTo>
                    <a:lnTo>
                      <a:pt x="392" y="480"/>
                    </a:lnTo>
                    <a:lnTo>
                      <a:pt x="390" y="480"/>
                    </a:lnTo>
                    <a:lnTo>
                      <a:pt x="388" y="480"/>
                    </a:lnTo>
                    <a:lnTo>
                      <a:pt x="390" y="480"/>
                    </a:lnTo>
                    <a:lnTo>
                      <a:pt x="390" y="478"/>
                    </a:lnTo>
                    <a:lnTo>
                      <a:pt x="392" y="478"/>
                    </a:lnTo>
                    <a:lnTo>
                      <a:pt x="390" y="478"/>
                    </a:lnTo>
                    <a:lnTo>
                      <a:pt x="392" y="478"/>
                    </a:lnTo>
                    <a:close/>
                    <a:moveTo>
                      <a:pt x="643" y="369"/>
                    </a:moveTo>
                    <a:lnTo>
                      <a:pt x="643" y="371"/>
                    </a:lnTo>
                    <a:lnTo>
                      <a:pt x="643" y="369"/>
                    </a:lnTo>
                    <a:close/>
                    <a:moveTo>
                      <a:pt x="411" y="471"/>
                    </a:moveTo>
                    <a:lnTo>
                      <a:pt x="411" y="473"/>
                    </a:lnTo>
                    <a:lnTo>
                      <a:pt x="409" y="473"/>
                    </a:lnTo>
                    <a:lnTo>
                      <a:pt x="411" y="471"/>
                    </a:lnTo>
                    <a:close/>
                    <a:moveTo>
                      <a:pt x="399" y="475"/>
                    </a:moveTo>
                    <a:lnTo>
                      <a:pt x="399" y="477"/>
                    </a:lnTo>
                    <a:lnTo>
                      <a:pt x="397" y="477"/>
                    </a:lnTo>
                    <a:lnTo>
                      <a:pt x="397" y="475"/>
                    </a:lnTo>
                    <a:lnTo>
                      <a:pt x="399" y="475"/>
                    </a:lnTo>
                    <a:close/>
                    <a:moveTo>
                      <a:pt x="401" y="475"/>
                    </a:moveTo>
                    <a:lnTo>
                      <a:pt x="399" y="475"/>
                    </a:lnTo>
                    <a:lnTo>
                      <a:pt x="401" y="475"/>
                    </a:lnTo>
                    <a:close/>
                    <a:moveTo>
                      <a:pt x="722" y="329"/>
                    </a:moveTo>
                    <a:lnTo>
                      <a:pt x="720" y="329"/>
                    </a:lnTo>
                    <a:lnTo>
                      <a:pt x="722" y="329"/>
                    </a:lnTo>
                    <a:lnTo>
                      <a:pt x="722" y="327"/>
                    </a:lnTo>
                    <a:lnTo>
                      <a:pt x="722" y="329"/>
                    </a:lnTo>
                    <a:lnTo>
                      <a:pt x="722" y="327"/>
                    </a:lnTo>
                    <a:lnTo>
                      <a:pt x="722" y="329"/>
                    </a:lnTo>
                    <a:lnTo>
                      <a:pt x="720" y="329"/>
                    </a:lnTo>
                    <a:lnTo>
                      <a:pt x="722" y="329"/>
                    </a:lnTo>
                    <a:close/>
                    <a:moveTo>
                      <a:pt x="401" y="475"/>
                    </a:moveTo>
                    <a:lnTo>
                      <a:pt x="401" y="473"/>
                    </a:lnTo>
                    <a:lnTo>
                      <a:pt x="401" y="475"/>
                    </a:lnTo>
                    <a:close/>
                    <a:moveTo>
                      <a:pt x="363" y="488"/>
                    </a:moveTo>
                    <a:lnTo>
                      <a:pt x="363" y="486"/>
                    </a:lnTo>
                    <a:lnTo>
                      <a:pt x="363" y="488"/>
                    </a:lnTo>
                    <a:lnTo>
                      <a:pt x="365" y="488"/>
                    </a:lnTo>
                    <a:lnTo>
                      <a:pt x="365" y="486"/>
                    </a:lnTo>
                    <a:lnTo>
                      <a:pt x="367" y="486"/>
                    </a:lnTo>
                    <a:lnTo>
                      <a:pt x="367" y="488"/>
                    </a:lnTo>
                    <a:lnTo>
                      <a:pt x="365" y="488"/>
                    </a:lnTo>
                    <a:lnTo>
                      <a:pt x="365" y="490"/>
                    </a:lnTo>
                    <a:lnTo>
                      <a:pt x="363" y="490"/>
                    </a:lnTo>
                    <a:lnTo>
                      <a:pt x="361" y="492"/>
                    </a:lnTo>
                    <a:lnTo>
                      <a:pt x="359" y="492"/>
                    </a:lnTo>
                    <a:lnTo>
                      <a:pt x="357" y="492"/>
                    </a:lnTo>
                    <a:lnTo>
                      <a:pt x="359" y="492"/>
                    </a:lnTo>
                    <a:lnTo>
                      <a:pt x="359" y="490"/>
                    </a:lnTo>
                    <a:lnTo>
                      <a:pt x="361" y="490"/>
                    </a:lnTo>
                    <a:lnTo>
                      <a:pt x="361" y="488"/>
                    </a:lnTo>
                    <a:lnTo>
                      <a:pt x="361" y="490"/>
                    </a:lnTo>
                    <a:lnTo>
                      <a:pt x="363" y="490"/>
                    </a:lnTo>
                    <a:lnTo>
                      <a:pt x="363" y="488"/>
                    </a:lnTo>
                    <a:lnTo>
                      <a:pt x="363" y="490"/>
                    </a:lnTo>
                    <a:lnTo>
                      <a:pt x="361" y="490"/>
                    </a:lnTo>
                    <a:lnTo>
                      <a:pt x="361" y="488"/>
                    </a:lnTo>
                    <a:lnTo>
                      <a:pt x="363" y="488"/>
                    </a:lnTo>
                    <a:close/>
                    <a:moveTo>
                      <a:pt x="405" y="473"/>
                    </a:moveTo>
                    <a:lnTo>
                      <a:pt x="403" y="473"/>
                    </a:lnTo>
                    <a:lnTo>
                      <a:pt x="405" y="473"/>
                    </a:lnTo>
                    <a:close/>
                    <a:moveTo>
                      <a:pt x="363" y="486"/>
                    </a:moveTo>
                    <a:lnTo>
                      <a:pt x="363" y="488"/>
                    </a:lnTo>
                    <a:lnTo>
                      <a:pt x="363" y="486"/>
                    </a:lnTo>
                    <a:close/>
                    <a:moveTo>
                      <a:pt x="359" y="488"/>
                    </a:moveTo>
                    <a:lnTo>
                      <a:pt x="359" y="490"/>
                    </a:lnTo>
                    <a:lnTo>
                      <a:pt x="357" y="490"/>
                    </a:lnTo>
                    <a:lnTo>
                      <a:pt x="357" y="488"/>
                    </a:lnTo>
                    <a:lnTo>
                      <a:pt x="359" y="488"/>
                    </a:lnTo>
                    <a:close/>
                    <a:moveTo>
                      <a:pt x="386" y="478"/>
                    </a:moveTo>
                    <a:lnTo>
                      <a:pt x="388" y="480"/>
                    </a:lnTo>
                    <a:lnTo>
                      <a:pt x="386" y="480"/>
                    </a:lnTo>
                    <a:lnTo>
                      <a:pt x="384" y="480"/>
                    </a:lnTo>
                    <a:lnTo>
                      <a:pt x="384" y="478"/>
                    </a:lnTo>
                    <a:lnTo>
                      <a:pt x="386" y="478"/>
                    </a:lnTo>
                    <a:close/>
                    <a:moveTo>
                      <a:pt x="380" y="480"/>
                    </a:moveTo>
                    <a:lnTo>
                      <a:pt x="380" y="482"/>
                    </a:lnTo>
                    <a:lnTo>
                      <a:pt x="380" y="480"/>
                    </a:lnTo>
                    <a:close/>
                    <a:moveTo>
                      <a:pt x="78" y="563"/>
                    </a:moveTo>
                    <a:lnTo>
                      <a:pt x="76" y="563"/>
                    </a:lnTo>
                    <a:lnTo>
                      <a:pt x="78" y="563"/>
                    </a:lnTo>
                    <a:close/>
                    <a:moveTo>
                      <a:pt x="353" y="490"/>
                    </a:moveTo>
                    <a:lnTo>
                      <a:pt x="353" y="492"/>
                    </a:lnTo>
                    <a:lnTo>
                      <a:pt x="353" y="494"/>
                    </a:lnTo>
                    <a:lnTo>
                      <a:pt x="351" y="494"/>
                    </a:lnTo>
                    <a:lnTo>
                      <a:pt x="351" y="492"/>
                    </a:lnTo>
                    <a:lnTo>
                      <a:pt x="351" y="490"/>
                    </a:lnTo>
                    <a:lnTo>
                      <a:pt x="353" y="490"/>
                    </a:lnTo>
                    <a:close/>
                    <a:moveTo>
                      <a:pt x="374" y="482"/>
                    </a:moveTo>
                    <a:lnTo>
                      <a:pt x="374" y="484"/>
                    </a:lnTo>
                    <a:lnTo>
                      <a:pt x="372" y="484"/>
                    </a:lnTo>
                    <a:lnTo>
                      <a:pt x="370" y="484"/>
                    </a:lnTo>
                    <a:lnTo>
                      <a:pt x="372" y="484"/>
                    </a:lnTo>
                    <a:lnTo>
                      <a:pt x="372" y="482"/>
                    </a:lnTo>
                    <a:lnTo>
                      <a:pt x="374" y="482"/>
                    </a:lnTo>
                    <a:lnTo>
                      <a:pt x="372" y="482"/>
                    </a:lnTo>
                    <a:lnTo>
                      <a:pt x="374" y="482"/>
                    </a:lnTo>
                    <a:close/>
                    <a:moveTo>
                      <a:pt x="359" y="488"/>
                    </a:moveTo>
                    <a:lnTo>
                      <a:pt x="361" y="488"/>
                    </a:lnTo>
                    <a:lnTo>
                      <a:pt x="359" y="488"/>
                    </a:lnTo>
                    <a:close/>
                    <a:moveTo>
                      <a:pt x="399" y="473"/>
                    </a:moveTo>
                    <a:lnTo>
                      <a:pt x="401" y="473"/>
                    </a:lnTo>
                    <a:lnTo>
                      <a:pt x="399" y="475"/>
                    </a:lnTo>
                    <a:lnTo>
                      <a:pt x="399" y="473"/>
                    </a:lnTo>
                    <a:close/>
                    <a:moveTo>
                      <a:pt x="393" y="477"/>
                    </a:moveTo>
                    <a:lnTo>
                      <a:pt x="395" y="477"/>
                    </a:lnTo>
                    <a:lnTo>
                      <a:pt x="397" y="477"/>
                    </a:lnTo>
                    <a:lnTo>
                      <a:pt x="399" y="477"/>
                    </a:lnTo>
                    <a:lnTo>
                      <a:pt x="397" y="477"/>
                    </a:lnTo>
                    <a:lnTo>
                      <a:pt x="395" y="477"/>
                    </a:lnTo>
                    <a:lnTo>
                      <a:pt x="393" y="477"/>
                    </a:lnTo>
                    <a:lnTo>
                      <a:pt x="393" y="478"/>
                    </a:lnTo>
                    <a:lnTo>
                      <a:pt x="393" y="477"/>
                    </a:lnTo>
                    <a:lnTo>
                      <a:pt x="392" y="477"/>
                    </a:lnTo>
                    <a:lnTo>
                      <a:pt x="392" y="478"/>
                    </a:lnTo>
                    <a:lnTo>
                      <a:pt x="392" y="477"/>
                    </a:lnTo>
                    <a:lnTo>
                      <a:pt x="393" y="477"/>
                    </a:lnTo>
                    <a:close/>
                    <a:moveTo>
                      <a:pt x="376" y="482"/>
                    </a:moveTo>
                    <a:lnTo>
                      <a:pt x="374" y="482"/>
                    </a:lnTo>
                    <a:lnTo>
                      <a:pt x="376" y="482"/>
                    </a:lnTo>
                    <a:close/>
                    <a:moveTo>
                      <a:pt x="378" y="482"/>
                    </a:moveTo>
                    <a:lnTo>
                      <a:pt x="380" y="482"/>
                    </a:lnTo>
                    <a:lnTo>
                      <a:pt x="380" y="480"/>
                    </a:lnTo>
                    <a:lnTo>
                      <a:pt x="382" y="480"/>
                    </a:lnTo>
                    <a:lnTo>
                      <a:pt x="382" y="482"/>
                    </a:lnTo>
                    <a:lnTo>
                      <a:pt x="380" y="482"/>
                    </a:lnTo>
                    <a:lnTo>
                      <a:pt x="380" y="484"/>
                    </a:lnTo>
                    <a:lnTo>
                      <a:pt x="376" y="484"/>
                    </a:lnTo>
                    <a:lnTo>
                      <a:pt x="376" y="486"/>
                    </a:lnTo>
                    <a:lnTo>
                      <a:pt x="374" y="486"/>
                    </a:lnTo>
                    <a:lnTo>
                      <a:pt x="372" y="486"/>
                    </a:lnTo>
                    <a:lnTo>
                      <a:pt x="374" y="484"/>
                    </a:lnTo>
                    <a:lnTo>
                      <a:pt x="374" y="482"/>
                    </a:lnTo>
                    <a:lnTo>
                      <a:pt x="376" y="482"/>
                    </a:lnTo>
                    <a:lnTo>
                      <a:pt x="378" y="482"/>
                    </a:lnTo>
                    <a:lnTo>
                      <a:pt x="378" y="480"/>
                    </a:lnTo>
                    <a:lnTo>
                      <a:pt x="378" y="482"/>
                    </a:lnTo>
                    <a:close/>
                    <a:moveTo>
                      <a:pt x="393" y="475"/>
                    </a:moveTo>
                    <a:lnTo>
                      <a:pt x="393" y="477"/>
                    </a:lnTo>
                    <a:lnTo>
                      <a:pt x="393" y="475"/>
                    </a:lnTo>
                    <a:close/>
                    <a:moveTo>
                      <a:pt x="370" y="484"/>
                    </a:moveTo>
                    <a:lnTo>
                      <a:pt x="372" y="484"/>
                    </a:lnTo>
                    <a:lnTo>
                      <a:pt x="370" y="486"/>
                    </a:lnTo>
                    <a:lnTo>
                      <a:pt x="368" y="486"/>
                    </a:lnTo>
                    <a:lnTo>
                      <a:pt x="368" y="488"/>
                    </a:lnTo>
                    <a:lnTo>
                      <a:pt x="368" y="486"/>
                    </a:lnTo>
                    <a:lnTo>
                      <a:pt x="370" y="486"/>
                    </a:lnTo>
                    <a:lnTo>
                      <a:pt x="368" y="486"/>
                    </a:lnTo>
                    <a:lnTo>
                      <a:pt x="367" y="488"/>
                    </a:lnTo>
                    <a:lnTo>
                      <a:pt x="368" y="488"/>
                    </a:lnTo>
                    <a:lnTo>
                      <a:pt x="367" y="488"/>
                    </a:lnTo>
                    <a:lnTo>
                      <a:pt x="367" y="486"/>
                    </a:lnTo>
                    <a:lnTo>
                      <a:pt x="368" y="486"/>
                    </a:lnTo>
                    <a:lnTo>
                      <a:pt x="368" y="484"/>
                    </a:lnTo>
                    <a:lnTo>
                      <a:pt x="370" y="484"/>
                    </a:lnTo>
                    <a:close/>
                    <a:moveTo>
                      <a:pt x="405" y="471"/>
                    </a:moveTo>
                    <a:lnTo>
                      <a:pt x="407" y="471"/>
                    </a:lnTo>
                    <a:lnTo>
                      <a:pt x="405" y="471"/>
                    </a:lnTo>
                    <a:close/>
                    <a:moveTo>
                      <a:pt x="367" y="484"/>
                    </a:moveTo>
                    <a:lnTo>
                      <a:pt x="367" y="486"/>
                    </a:lnTo>
                    <a:lnTo>
                      <a:pt x="365" y="486"/>
                    </a:lnTo>
                    <a:lnTo>
                      <a:pt x="365" y="488"/>
                    </a:lnTo>
                    <a:lnTo>
                      <a:pt x="363" y="488"/>
                    </a:lnTo>
                    <a:lnTo>
                      <a:pt x="363" y="486"/>
                    </a:lnTo>
                    <a:lnTo>
                      <a:pt x="365" y="486"/>
                    </a:lnTo>
                    <a:lnTo>
                      <a:pt x="365" y="484"/>
                    </a:lnTo>
                    <a:lnTo>
                      <a:pt x="365" y="486"/>
                    </a:lnTo>
                    <a:lnTo>
                      <a:pt x="367" y="484"/>
                    </a:lnTo>
                    <a:close/>
                    <a:moveTo>
                      <a:pt x="365" y="484"/>
                    </a:moveTo>
                    <a:lnTo>
                      <a:pt x="365" y="486"/>
                    </a:lnTo>
                    <a:lnTo>
                      <a:pt x="365" y="484"/>
                    </a:lnTo>
                    <a:close/>
                    <a:moveTo>
                      <a:pt x="380" y="480"/>
                    </a:moveTo>
                    <a:lnTo>
                      <a:pt x="378" y="480"/>
                    </a:lnTo>
                    <a:lnTo>
                      <a:pt x="380" y="480"/>
                    </a:lnTo>
                    <a:close/>
                    <a:moveTo>
                      <a:pt x="344" y="492"/>
                    </a:moveTo>
                    <a:lnTo>
                      <a:pt x="342" y="492"/>
                    </a:lnTo>
                    <a:lnTo>
                      <a:pt x="344" y="492"/>
                    </a:lnTo>
                    <a:lnTo>
                      <a:pt x="342" y="492"/>
                    </a:lnTo>
                    <a:lnTo>
                      <a:pt x="344" y="492"/>
                    </a:lnTo>
                    <a:close/>
                    <a:moveTo>
                      <a:pt x="399" y="473"/>
                    </a:moveTo>
                    <a:lnTo>
                      <a:pt x="399" y="475"/>
                    </a:lnTo>
                    <a:lnTo>
                      <a:pt x="397" y="475"/>
                    </a:lnTo>
                    <a:lnTo>
                      <a:pt x="397" y="473"/>
                    </a:lnTo>
                    <a:lnTo>
                      <a:pt x="399" y="473"/>
                    </a:lnTo>
                    <a:close/>
                    <a:moveTo>
                      <a:pt x="359" y="486"/>
                    </a:moveTo>
                    <a:lnTo>
                      <a:pt x="359" y="488"/>
                    </a:lnTo>
                    <a:lnTo>
                      <a:pt x="359" y="486"/>
                    </a:lnTo>
                    <a:close/>
                    <a:moveTo>
                      <a:pt x="368" y="484"/>
                    </a:moveTo>
                    <a:lnTo>
                      <a:pt x="367" y="484"/>
                    </a:lnTo>
                    <a:lnTo>
                      <a:pt x="368" y="484"/>
                    </a:lnTo>
                    <a:close/>
                    <a:moveTo>
                      <a:pt x="363" y="486"/>
                    </a:moveTo>
                    <a:lnTo>
                      <a:pt x="363" y="484"/>
                    </a:lnTo>
                    <a:lnTo>
                      <a:pt x="363" y="486"/>
                    </a:lnTo>
                    <a:close/>
                    <a:moveTo>
                      <a:pt x="378" y="482"/>
                    </a:moveTo>
                    <a:lnTo>
                      <a:pt x="376" y="482"/>
                    </a:lnTo>
                    <a:lnTo>
                      <a:pt x="376" y="480"/>
                    </a:lnTo>
                    <a:lnTo>
                      <a:pt x="378" y="480"/>
                    </a:lnTo>
                    <a:lnTo>
                      <a:pt x="378" y="482"/>
                    </a:lnTo>
                    <a:close/>
                    <a:moveTo>
                      <a:pt x="376" y="482"/>
                    </a:moveTo>
                    <a:lnTo>
                      <a:pt x="374" y="482"/>
                    </a:lnTo>
                    <a:lnTo>
                      <a:pt x="374" y="480"/>
                    </a:lnTo>
                    <a:lnTo>
                      <a:pt x="376" y="482"/>
                    </a:lnTo>
                    <a:close/>
                    <a:moveTo>
                      <a:pt x="392" y="477"/>
                    </a:moveTo>
                    <a:lnTo>
                      <a:pt x="392" y="478"/>
                    </a:lnTo>
                    <a:lnTo>
                      <a:pt x="390" y="478"/>
                    </a:lnTo>
                    <a:lnTo>
                      <a:pt x="388" y="480"/>
                    </a:lnTo>
                    <a:lnTo>
                      <a:pt x="388" y="478"/>
                    </a:lnTo>
                    <a:lnTo>
                      <a:pt x="388" y="480"/>
                    </a:lnTo>
                    <a:lnTo>
                      <a:pt x="388" y="478"/>
                    </a:lnTo>
                    <a:lnTo>
                      <a:pt x="388" y="480"/>
                    </a:lnTo>
                    <a:lnTo>
                      <a:pt x="386" y="478"/>
                    </a:lnTo>
                    <a:lnTo>
                      <a:pt x="388" y="480"/>
                    </a:lnTo>
                    <a:lnTo>
                      <a:pt x="388" y="478"/>
                    </a:lnTo>
                    <a:lnTo>
                      <a:pt x="386" y="478"/>
                    </a:lnTo>
                    <a:lnTo>
                      <a:pt x="388" y="478"/>
                    </a:lnTo>
                    <a:lnTo>
                      <a:pt x="388" y="477"/>
                    </a:lnTo>
                    <a:lnTo>
                      <a:pt x="390" y="477"/>
                    </a:lnTo>
                    <a:lnTo>
                      <a:pt x="392" y="477"/>
                    </a:lnTo>
                    <a:close/>
                    <a:moveTo>
                      <a:pt x="403" y="471"/>
                    </a:moveTo>
                    <a:lnTo>
                      <a:pt x="403" y="473"/>
                    </a:lnTo>
                    <a:lnTo>
                      <a:pt x="401" y="473"/>
                    </a:lnTo>
                    <a:lnTo>
                      <a:pt x="399" y="471"/>
                    </a:lnTo>
                    <a:lnTo>
                      <a:pt x="401" y="471"/>
                    </a:lnTo>
                    <a:lnTo>
                      <a:pt x="403" y="471"/>
                    </a:lnTo>
                    <a:close/>
                    <a:moveTo>
                      <a:pt x="367" y="484"/>
                    </a:moveTo>
                    <a:lnTo>
                      <a:pt x="365" y="484"/>
                    </a:lnTo>
                    <a:lnTo>
                      <a:pt x="367" y="484"/>
                    </a:lnTo>
                    <a:lnTo>
                      <a:pt x="365" y="484"/>
                    </a:lnTo>
                    <a:lnTo>
                      <a:pt x="367" y="484"/>
                    </a:lnTo>
                    <a:lnTo>
                      <a:pt x="365" y="484"/>
                    </a:lnTo>
                    <a:lnTo>
                      <a:pt x="367" y="484"/>
                    </a:lnTo>
                    <a:close/>
                    <a:moveTo>
                      <a:pt x="367" y="482"/>
                    </a:moveTo>
                    <a:lnTo>
                      <a:pt x="368" y="482"/>
                    </a:lnTo>
                    <a:lnTo>
                      <a:pt x="368" y="484"/>
                    </a:lnTo>
                    <a:lnTo>
                      <a:pt x="367" y="484"/>
                    </a:lnTo>
                    <a:lnTo>
                      <a:pt x="367" y="482"/>
                    </a:lnTo>
                    <a:close/>
                    <a:moveTo>
                      <a:pt x="399" y="473"/>
                    </a:moveTo>
                    <a:lnTo>
                      <a:pt x="397" y="473"/>
                    </a:lnTo>
                    <a:lnTo>
                      <a:pt x="399" y="473"/>
                    </a:lnTo>
                    <a:close/>
                    <a:moveTo>
                      <a:pt x="382" y="477"/>
                    </a:moveTo>
                    <a:lnTo>
                      <a:pt x="384" y="477"/>
                    </a:lnTo>
                    <a:lnTo>
                      <a:pt x="384" y="478"/>
                    </a:lnTo>
                    <a:lnTo>
                      <a:pt x="384" y="480"/>
                    </a:lnTo>
                    <a:lnTo>
                      <a:pt x="382" y="480"/>
                    </a:lnTo>
                    <a:lnTo>
                      <a:pt x="382" y="478"/>
                    </a:lnTo>
                    <a:lnTo>
                      <a:pt x="380" y="478"/>
                    </a:lnTo>
                    <a:lnTo>
                      <a:pt x="378" y="480"/>
                    </a:lnTo>
                    <a:lnTo>
                      <a:pt x="378" y="478"/>
                    </a:lnTo>
                    <a:lnTo>
                      <a:pt x="380" y="478"/>
                    </a:lnTo>
                    <a:lnTo>
                      <a:pt x="382" y="478"/>
                    </a:lnTo>
                    <a:lnTo>
                      <a:pt x="382" y="477"/>
                    </a:lnTo>
                    <a:close/>
                    <a:moveTo>
                      <a:pt x="405" y="471"/>
                    </a:moveTo>
                    <a:lnTo>
                      <a:pt x="407" y="471"/>
                    </a:lnTo>
                    <a:lnTo>
                      <a:pt x="405" y="471"/>
                    </a:lnTo>
                    <a:lnTo>
                      <a:pt x="407" y="471"/>
                    </a:lnTo>
                    <a:lnTo>
                      <a:pt x="405" y="471"/>
                    </a:lnTo>
                    <a:lnTo>
                      <a:pt x="403" y="471"/>
                    </a:lnTo>
                    <a:lnTo>
                      <a:pt x="405" y="471"/>
                    </a:lnTo>
                    <a:lnTo>
                      <a:pt x="403" y="471"/>
                    </a:lnTo>
                    <a:lnTo>
                      <a:pt x="401" y="471"/>
                    </a:lnTo>
                    <a:lnTo>
                      <a:pt x="403" y="471"/>
                    </a:lnTo>
                    <a:lnTo>
                      <a:pt x="405" y="469"/>
                    </a:lnTo>
                    <a:lnTo>
                      <a:pt x="407" y="469"/>
                    </a:lnTo>
                    <a:lnTo>
                      <a:pt x="407" y="471"/>
                    </a:lnTo>
                    <a:lnTo>
                      <a:pt x="405" y="471"/>
                    </a:lnTo>
                    <a:close/>
                    <a:moveTo>
                      <a:pt x="365" y="484"/>
                    </a:moveTo>
                    <a:lnTo>
                      <a:pt x="363" y="484"/>
                    </a:lnTo>
                    <a:lnTo>
                      <a:pt x="365" y="484"/>
                    </a:lnTo>
                    <a:close/>
                    <a:moveTo>
                      <a:pt x="370" y="480"/>
                    </a:moveTo>
                    <a:lnTo>
                      <a:pt x="370" y="482"/>
                    </a:lnTo>
                    <a:lnTo>
                      <a:pt x="368" y="482"/>
                    </a:lnTo>
                    <a:lnTo>
                      <a:pt x="370" y="482"/>
                    </a:lnTo>
                    <a:lnTo>
                      <a:pt x="370" y="480"/>
                    </a:lnTo>
                    <a:close/>
                    <a:moveTo>
                      <a:pt x="405" y="469"/>
                    </a:moveTo>
                    <a:lnTo>
                      <a:pt x="407" y="469"/>
                    </a:lnTo>
                    <a:lnTo>
                      <a:pt x="405" y="469"/>
                    </a:lnTo>
                    <a:close/>
                    <a:moveTo>
                      <a:pt x="380" y="478"/>
                    </a:moveTo>
                    <a:lnTo>
                      <a:pt x="378" y="478"/>
                    </a:lnTo>
                    <a:lnTo>
                      <a:pt x="380" y="478"/>
                    </a:lnTo>
                    <a:close/>
                    <a:moveTo>
                      <a:pt x="397" y="473"/>
                    </a:moveTo>
                    <a:lnTo>
                      <a:pt x="399" y="473"/>
                    </a:lnTo>
                    <a:lnTo>
                      <a:pt x="397" y="473"/>
                    </a:lnTo>
                    <a:lnTo>
                      <a:pt x="395" y="473"/>
                    </a:lnTo>
                    <a:lnTo>
                      <a:pt x="397" y="473"/>
                    </a:lnTo>
                    <a:close/>
                    <a:moveTo>
                      <a:pt x="330" y="496"/>
                    </a:moveTo>
                    <a:lnTo>
                      <a:pt x="332" y="496"/>
                    </a:lnTo>
                    <a:lnTo>
                      <a:pt x="334" y="496"/>
                    </a:lnTo>
                    <a:lnTo>
                      <a:pt x="334" y="498"/>
                    </a:lnTo>
                    <a:lnTo>
                      <a:pt x="334" y="500"/>
                    </a:lnTo>
                    <a:lnTo>
                      <a:pt x="332" y="502"/>
                    </a:lnTo>
                    <a:lnTo>
                      <a:pt x="332" y="500"/>
                    </a:lnTo>
                    <a:lnTo>
                      <a:pt x="330" y="500"/>
                    </a:lnTo>
                    <a:lnTo>
                      <a:pt x="330" y="502"/>
                    </a:lnTo>
                    <a:lnTo>
                      <a:pt x="328" y="502"/>
                    </a:lnTo>
                    <a:lnTo>
                      <a:pt x="328" y="500"/>
                    </a:lnTo>
                    <a:lnTo>
                      <a:pt x="330" y="500"/>
                    </a:lnTo>
                    <a:lnTo>
                      <a:pt x="328" y="498"/>
                    </a:lnTo>
                    <a:lnTo>
                      <a:pt x="328" y="500"/>
                    </a:lnTo>
                    <a:lnTo>
                      <a:pt x="326" y="500"/>
                    </a:lnTo>
                    <a:lnTo>
                      <a:pt x="326" y="498"/>
                    </a:lnTo>
                    <a:lnTo>
                      <a:pt x="326" y="496"/>
                    </a:lnTo>
                    <a:lnTo>
                      <a:pt x="328" y="496"/>
                    </a:lnTo>
                    <a:lnTo>
                      <a:pt x="330" y="496"/>
                    </a:lnTo>
                    <a:close/>
                    <a:moveTo>
                      <a:pt x="361" y="486"/>
                    </a:moveTo>
                    <a:lnTo>
                      <a:pt x="361" y="484"/>
                    </a:lnTo>
                    <a:lnTo>
                      <a:pt x="363" y="484"/>
                    </a:lnTo>
                    <a:lnTo>
                      <a:pt x="361" y="486"/>
                    </a:lnTo>
                    <a:close/>
                    <a:moveTo>
                      <a:pt x="374" y="482"/>
                    </a:moveTo>
                    <a:lnTo>
                      <a:pt x="372" y="482"/>
                    </a:lnTo>
                    <a:lnTo>
                      <a:pt x="370" y="484"/>
                    </a:lnTo>
                    <a:lnTo>
                      <a:pt x="372" y="482"/>
                    </a:lnTo>
                    <a:lnTo>
                      <a:pt x="370" y="484"/>
                    </a:lnTo>
                    <a:lnTo>
                      <a:pt x="370" y="482"/>
                    </a:lnTo>
                    <a:lnTo>
                      <a:pt x="372" y="482"/>
                    </a:lnTo>
                    <a:lnTo>
                      <a:pt x="372" y="480"/>
                    </a:lnTo>
                    <a:lnTo>
                      <a:pt x="374" y="480"/>
                    </a:lnTo>
                    <a:lnTo>
                      <a:pt x="374" y="482"/>
                    </a:lnTo>
                    <a:close/>
                    <a:moveTo>
                      <a:pt x="405" y="469"/>
                    </a:moveTo>
                    <a:lnTo>
                      <a:pt x="403" y="469"/>
                    </a:lnTo>
                    <a:lnTo>
                      <a:pt x="403" y="471"/>
                    </a:lnTo>
                    <a:lnTo>
                      <a:pt x="403" y="469"/>
                    </a:lnTo>
                    <a:lnTo>
                      <a:pt x="405" y="469"/>
                    </a:lnTo>
                    <a:lnTo>
                      <a:pt x="407" y="469"/>
                    </a:lnTo>
                    <a:lnTo>
                      <a:pt x="405" y="469"/>
                    </a:lnTo>
                    <a:close/>
                    <a:moveTo>
                      <a:pt x="351" y="488"/>
                    </a:moveTo>
                    <a:lnTo>
                      <a:pt x="351" y="490"/>
                    </a:lnTo>
                    <a:lnTo>
                      <a:pt x="351" y="492"/>
                    </a:lnTo>
                    <a:lnTo>
                      <a:pt x="349" y="492"/>
                    </a:lnTo>
                    <a:lnTo>
                      <a:pt x="349" y="490"/>
                    </a:lnTo>
                    <a:lnTo>
                      <a:pt x="349" y="488"/>
                    </a:lnTo>
                    <a:lnTo>
                      <a:pt x="351" y="488"/>
                    </a:lnTo>
                    <a:close/>
                    <a:moveTo>
                      <a:pt x="388" y="475"/>
                    </a:moveTo>
                    <a:lnTo>
                      <a:pt x="388" y="477"/>
                    </a:lnTo>
                    <a:lnTo>
                      <a:pt x="388" y="475"/>
                    </a:lnTo>
                    <a:close/>
                    <a:moveTo>
                      <a:pt x="382" y="477"/>
                    </a:moveTo>
                    <a:lnTo>
                      <a:pt x="382" y="478"/>
                    </a:lnTo>
                    <a:lnTo>
                      <a:pt x="380" y="478"/>
                    </a:lnTo>
                    <a:lnTo>
                      <a:pt x="380" y="477"/>
                    </a:lnTo>
                    <a:lnTo>
                      <a:pt x="382" y="477"/>
                    </a:lnTo>
                    <a:close/>
                    <a:moveTo>
                      <a:pt x="378" y="478"/>
                    </a:moveTo>
                    <a:lnTo>
                      <a:pt x="378" y="480"/>
                    </a:lnTo>
                    <a:lnTo>
                      <a:pt x="376" y="480"/>
                    </a:lnTo>
                    <a:lnTo>
                      <a:pt x="376" y="478"/>
                    </a:lnTo>
                    <a:lnTo>
                      <a:pt x="378" y="478"/>
                    </a:lnTo>
                    <a:close/>
                    <a:moveTo>
                      <a:pt x="407" y="469"/>
                    </a:moveTo>
                    <a:lnTo>
                      <a:pt x="407" y="467"/>
                    </a:lnTo>
                    <a:lnTo>
                      <a:pt x="407" y="469"/>
                    </a:lnTo>
                    <a:close/>
                    <a:moveTo>
                      <a:pt x="399" y="471"/>
                    </a:moveTo>
                    <a:lnTo>
                      <a:pt x="397" y="471"/>
                    </a:lnTo>
                    <a:lnTo>
                      <a:pt x="399" y="471"/>
                    </a:lnTo>
                    <a:close/>
                    <a:moveTo>
                      <a:pt x="301" y="503"/>
                    </a:moveTo>
                    <a:lnTo>
                      <a:pt x="303" y="503"/>
                    </a:lnTo>
                    <a:lnTo>
                      <a:pt x="301" y="503"/>
                    </a:lnTo>
                    <a:close/>
                    <a:moveTo>
                      <a:pt x="382" y="477"/>
                    </a:moveTo>
                    <a:lnTo>
                      <a:pt x="380" y="477"/>
                    </a:lnTo>
                    <a:lnTo>
                      <a:pt x="382" y="477"/>
                    </a:lnTo>
                    <a:lnTo>
                      <a:pt x="380" y="477"/>
                    </a:lnTo>
                    <a:lnTo>
                      <a:pt x="380" y="478"/>
                    </a:lnTo>
                    <a:lnTo>
                      <a:pt x="380" y="477"/>
                    </a:lnTo>
                    <a:lnTo>
                      <a:pt x="382" y="477"/>
                    </a:lnTo>
                    <a:close/>
                    <a:moveTo>
                      <a:pt x="397" y="471"/>
                    </a:moveTo>
                    <a:lnTo>
                      <a:pt x="397" y="473"/>
                    </a:lnTo>
                    <a:lnTo>
                      <a:pt x="395" y="473"/>
                    </a:lnTo>
                    <a:lnTo>
                      <a:pt x="395" y="471"/>
                    </a:lnTo>
                    <a:lnTo>
                      <a:pt x="397" y="471"/>
                    </a:lnTo>
                    <a:close/>
                    <a:moveTo>
                      <a:pt x="384" y="475"/>
                    </a:moveTo>
                    <a:lnTo>
                      <a:pt x="384" y="477"/>
                    </a:lnTo>
                    <a:lnTo>
                      <a:pt x="384" y="475"/>
                    </a:lnTo>
                    <a:close/>
                    <a:moveTo>
                      <a:pt x="301" y="503"/>
                    </a:moveTo>
                    <a:lnTo>
                      <a:pt x="299" y="503"/>
                    </a:lnTo>
                    <a:lnTo>
                      <a:pt x="301" y="503"/>
                    </a:lnTo>
                    <a:close/>
                    <a:moveTo>
                      <a:pt x="407" y="467"/>
                    </a:moveTo>
                    <a:lnTo>
                      <a:pt x="407" y="469"/>
                    </a:lnTo>
                    <a:lnTo>
                      <a:pt x="405" y="469"/>
                    </a:lnTo>
                    <a:lnTo>
                      <a:pt x="405" y="467"/>
                    </a:lnTo>
                    <a:lnTo>
                      <a:pt x="407" y="467"/>
                    </a:lnTo>
                    <a:close/>
                    <a:moveTo>
                      <a:pt x="386" y="475"/>
                    </a:moveTo>
                    <a:lnTo>
                      <a:pt x="388" y="477"/>
                    </a:lnTo>
                    <a:lnTo>
                      <a:pt x="386" y="477"/>
                    </a:lnTo>
                    <a:lnTo>
                      <a:pt x="388" y="477"/>
                    </a:lnTo>
                    <a:lnTo>
                      <a:pt x="386" y="477"/>
                    </a:lnTo>
                    <a:lnTo>
                      <a:pt x="386" y="478"/>
                    </a:lnTo>
                    <a:lnTo>
                      <a:pt x="384" y="477"/>
                    </a:lnTo>
                    <a:lnTo>
                      <a:pt x="382" y="477"/>
                    </a:lnTo>
                    <a:lnTo>
                      <a:pt x="384" y="477"/>
                    </a:lnTo>
                    <a:lnTo>
                      <a:pt x="386" y="477"/>
                    </a:lnTo>
                    <a:lnTo>
                      <a:pt x="386" y="475"/>
                    </a:lnTo>
                    <a:lnTo>
                      <a:pt x="386" y="477"/>
                    </a:lnTo>
                    <a:lnTo>
                      <a:pt x="386" y="475"/>
                    </a:lnTo>
                    <a:close/>
                    <a:moveTo>
                      <a:pt x="401" y="471"/>
                    </a:moveTo>
                    <a:lnTo>
                      <a:pt x="399" y="471"/>
                    </a:lnTo>
                    <a:lnTo>
                      <a:pt x="401" y="469"/>
                    </a:lnTo>
                    <a:lnTo>
                      <a:pt x="401" y="471"/>
                    </a:lnTo>
                    <a:close/>
                    <a:moveTo>
                      <a:pt x="309" y="502"/>
                    </a:moveTo>
                    <a:lnTo>
                      <a:pt x="307" y="502"/>
                    </a:lnTo>
                    <a:lnTo>
                      <a:pt x="309" y="502"/>
                    </a:lnTo>
                    <a:close/>
                    <a:moveTo>
                      <a:pt x="403" y="467"/>
                    </a:moveTo>
                    <a:lnTo>
                      <a:pt x="403" y="469"/>
                    </a:lnTo>
                    <a:lnTo>
                      <a:pt x="403" y="467"/>
                    </a:lnTo>
                    <a:lnTo>
                      <a:pt x="405" y="467"/>
                    </a:lnTo>
                    <a:lnTo>
                      <a:pt x="407" y="467"/>
                    </a:lnTo>
                    <a:lnTo>
                      <a:pt x="405" y="467"/>
                    </a:lnTo>
                    <a:lnTo>
                      <a:pt x="405" y="469"/>
                    </a:lnTo>
                    <a:lnTo>
                      <a:pt x="403" y="469"/>
                    </a:lnTo>
                    <a:lnTo>
                      <a:pt x="403" y="467"/>
                    </a:lnTo>
                    <a:close/>
                    <a:moveTo>
                      <a:pt x="405" y="467"/>
                    </a:moveTo>
                    <a:lnTo>
                      <a:pt x="407" y="467"/>
                    </a:lnTo>
                    <a:lnTo>
                      <a:pt x="405" y="467"/>
                    </a:lnTo>
                    <a:close/>
                    <a:moveTo>
                      <a:pt x="399" y="469"/>
                    </a:moveTo>
                    <a:lnTo>
                      <a:pt x="401" y="469"/>
                    </a:lnTo>
                    <a:lnTo>
                      <a:pt x="399" y="469"/>
                    </a:lnTo>
                    <a:close/>
                    <a:moveTo>
                      <a:pt x="399" y="471"/>
                    </a:moveTo>
                    <a:lnTo>
                      <a:pt x="401" y="471"/>
                    </a:lnTo>
                    <a:lnTo>
                      <a:pt x="401" y="469"/>
                    </a:lnTo>
                    <a:lnTo>
                      <a:pt x="403" y="469"/>
                    </a:lnTo>
                    <a:lnTo>
                      <a:pt x="403" y="471"/>
                    </a:lnTo>
                    <a:lnTo>
                      <a:pt x="401" y="471"/>
                    </a:lnTo>
                    <a:lnTo>
                      <a:pt x="399" y="471"/>
                    </a:lnTo>
                    <a:lnTo>
                      <a:pt x="397" y="471"/>
                    </a:lnTo>
                    <a:lnTo>
                      <a:pt x="399" y="471"/>
                    </a:lnTo>
                    <a:close/>
                    <a:moveTo>
                      <a:pt x="388" y="473"/>
                    </a:moveTo>
                    <a:lnTo>
                      <a:pt x="388" y="475"/>
                    </a:lnTo>
                    <a:lnTo>
                      <a:pt x="386" y="475"/>
                    </a:lnTo>
                    <a:lnTo>
                      <a:pt x="386" y="473"/>
                    </a:lnTo>
                    <a:lnTo>
                      <a:pt x="388" y="473"/>
                    </a:lnTo>
                    <a:close/>
                    <a:moveTo>
                      <a:pt x="247" y="519"/>
                    </a:moveTo>
                    <a:lnTo>
                      <a:pt x="247" y="521"/>
                    </a:lnTo>
                    <a:lnTo>
                      <a:pt x="246" y="521"/>
                    </a:lnTo>
                    <a:lnTo>
                      <a:pt x="246" y="519"/>
                    </a:lnTo>
                    <a:lnTo>
                      <a:pt x="247" y="519"/>
                    </a:lnTo>
                    <a:close/>
                    <a:moveTo>
                      <a:pt x="363" y="484"/>
                    </a:moveTo>
                    <a:lnTo>
                      <a:pt x="363" y="482"/>
                    </a:lnTo>
                    <a:lnTo>
                      <a:pt x="363" y="484"/>
                    </a:lnTo>
                    <a:close/>
                    <a:moveTo>
                      <a:pt x="390" y="473"/>
                    </a:moveTo>
                    <a:lnTo>
                      <a:pt x="392" y="473"/>
                    </a:lnTo>
                    <a:lnTo>
                      <a:pt x="390" y="473"/>
                    </a:lnTo>
                    <a:lnTo>
                      <a:pt x="392" y="473"/>
                    </a:lnTo>
                    <a:lnTo>
                      <a:pt x="390" y="473"/>
                    </a:lnTo>
                    <a:lnTo>
                      <a:pt x="392" y="473"/>
                    </a:lnTo>
                    <a:lnTo>
                      <a:pt x="393" y="473"/>
                    </a:lnTo>
                    <a:lnTo>
                      <a:pt x="395" y="473"/>
                    </a:lnTo>
                    <a:lnTo>
                      <a:pt x="397" y="473"/>
                    </a:lnTo>
                    <a:lnTo>
                      <a:pt x="397" y="475"/>
                    </a:lnTo>
                    <a:lnTo>
                      <a:pt x="395" y="475"/>
                    </a:lnTo>
                    <a:lnTo>
                      <a:pt x="395" y="473"/>
                    </a:lnTo>
                    <a:lnTo>
                      <a:pt x="395" y="475"/>
                    </a:lnTo>
                    <a:lnTo>
                      <a:pt x="397" y="475"/>
                    </a:lnTo>
                    <a:lnTo>
                      <a:pt x="399" y="475"/>
                    </a:lnTo>
                    <a:lnTo>
                      <a:pt x="397" y="475"/>
                    </a:lnTo>
                    <a:lnTo>
                      <a:pt x="395" y="477"/>
                    </a:lnTo>
                    <a:lnTo>
                      <a:pt x="395" y="475"/>
                    </a:lnTo>
                    <a:lnTo>
                      <a:pt x="395" y="477"/>
                    </a:lnTo>
                    <a:lnTo>
                      <a:pt x="393" y="477"/>
                    </a:lnTo>
                    <a:lnTo>
                      <a:pt x="393" y="475"/>
                    </a:lnTo>
                    <a:lnTo>
                      <a:pt x="392" y="475"/>
                    </a:lnTo>
                    <a:lnTo>
                      <a:pt x="390" y="475"/>
                    </a:lnTo>
                    <a:lnTo>
                      <a:pt x="392" y="475"/>
                    </a:lnTo>
                    <a:lnTo>
                      <a:pt x="392" y="477"/>
                    </a:lnTo>
                    <a:lnTo>
                      <a:pt x="390" y="477"/>
                    </a:lnTo>
                    <a:lnTo>
                      <a:pt x="390" y="475"/>
                    </a:lnTo>
                    <a:lnTo>
                      <a:pt x="388" y="475"/>
                    </a:lnTo>
                    <a:lnTo>
                      <a:pt x="388" y="473"/>
                    </a:lnTo>
                    <a:lnTo>
                      <a:pt x="390" y="473"/>
                    </a:lnTo>
                    <a:close/>
                    <a:moveTo>
                      <a:pt x="390" y="473"/>
                    </a:moveTo>
                    <a:lnTo>
                      <a:pt x="388" y="473"/>
                    </a:lnTo>
                    <a:lnTo>
                      <a:pt x="390" y="473"/>
                    </a:lnTo>
                    <a:close/>
                    <a:moveTo>
                      <a:pt x="397" y="469"/>
                    </a:moveTo>
                    <a:lnTo>
                      <a:pt x="399" y="469"/>
                    </a:lnTo>
                    <a:lnTo>
                      <a:pt x="401" y="469"/>
                    </a:lnTo>
                    <a:lnTo>
                      <a:pt x="403" y="469"/>
                    </a:lnTo>
                    <a:lnTo>
                      <a:pt x="401" y="469"/>
                    </a:lnTo>
                    <a:lnTo>
                      <a:pt x="399" y="469"/>
                    </a:lnTo>
                    <a:lnTo>
                      <a:pt x="397" y="469"/>
                    </a:lnTo>
                    <a:lnTo>
                      <a:pt x="397" y="471"/>
                    </a:lnTo>
                    <a:lnTo>
                      <a:pt x="395" y="469"/>
                    </a:lnTo>
                    <a:lnTo>
                      <a:pt x="397" y="469"/>
                    </a:lnTo>
                    <a:close/>
                    <a:moveTo>
                      <a:pt x="328" y="492"/>
                    </a:moveTo>
                    <a:lnTo>
                      <a:pt x="328" y="494"/>
                    </a:lnTo>
                    <a:lnTo>
                      <a:pt x="328" y="492"/>
                    </a:lnTo>
                    <a:close/>
                    <a:moveTo>
                      <a:pt x="401" y="467"/>
                    </a:moveTo>
                    <a:lnTo>
                      <a:pt x="403" y="467"/>
                    </a:lnTo>
                    <a:lnTo>
                      <a:pt x="405" y="467"/>
                    </a:lnTo>
                    <a:lnTo>
                      <a:pt x="403" y="467"/>
                    </a:lnTo>
                    <a:lnTo>
                      <a:pt x="403" y="469"/>
                    </a:lnTo>
                    <a:lnTo>
                      <a:pt x="401" y="469"/>
                    </a:lnTo>
                    <a:lnTo>
                      <a:pt x="399" y="469"/>
                    </a:lnTo>
                    <a:lnTo>
                      <a:pt x="397" y="469"/>
                    </a:lnTo>
                    <a:lnTo>
                      <a:pt x="395" y="469"/>
                    </a:lnTo>
                    <a:lnTo>
                      <a:pt x="397" y="469"/>
                    </a:lnTo>
                    <a:lnTo>
                      <a:pt x="399" y="469"/>
                    </a:lnTo>
                    <a:lnTo>
                      <a:pt x="399" y="467"/>
                    </a:lnTo>
                    <a:lnTo>
                      <a:pt x="401" y="467"/>
                    </a:lnTo>
                    <a:close/>
                    <a:moveTo>
                      <a:pt x="363" y="480"/>
                    </a:moveTo>
                    <a:lnTo>
                      <a:pt x="365" y="480"/>
                    </a:lnTo>
                    <a:lnTo>
                      <a:pt x="363" y="480"/>
                    </a:lnTo>
                    <a:lnTo>
                      <a:pt x="363" y="482"/>
                    </a:lnTo>
                    <a:lnTo>
                      <a:pt x="363" y="480"/>
                    </a:lnTo>
                    <a:lnTo>
                      <a:pt x="363" y="482"/>
                    </a:lnTo>
                    <a:lnTo>
                      <a:pt x="363" y="480"/>
                    </a:lnTo>
                    <a:close/>
                    <a:moveTo>
                      <a:pt x="63" y="561"/>
                    </a:moveTo>
                    <a:lnTo>
                      <a:pt x="63" y="559"/>
                    </a:lnTo>
                    <a:lnTo>
                      <a:pt x="63" y="561"/>
                    </a:lnTo>
                    <a:lnTo>
                      <a:pt x="61" y="561"/>
                    </a:lnTo>
                    <a:lnTo>
                      <a:pt x="61" y="559"/>
                    </a:lnTo>
                    <a:lnTo>
                      <a:pt x="61" y="561"/>
                    </a:lnTo>
                    <a:lnTo>
                      <a:pt x="63" y="561"/>
                    </a:lnTo>
                    <a:close/>
                    <a:moveTo>
                      <a:pt x="367" y="478"/>
                    </a:moveTo>
                    <a:lnTo>
                      <a:pt x="367" y="480"/>
                    </a:lnTo>
                    <a:lnTo>
                      <a:pt x="367" y="478"/>
                    </a:lnTo>
                    <a:close/>
                    <a:moveTo>
                      <a:pt x="393" y="469"/>
                    </a:moveTo>
                    <a:lnTo>
                      <a:pt x="395" y="469"/>
                    </a:lnTo>
                    <a:lnTo>
                      <a:pt x="395" y="471"/>
                    </a:lnTo>
                    <a:lnTo>
                      <a:pt x="395" y="469"/>
                    </a:lnTo>
                    <a:lnTo>
                      <a:pt x="393" y="471"/>
                    </a:lnTo>
                    <a:lnTo>
                      <a:pt x="395" y="471"/>
                    </a:lnTo>
                    <a:lnTo>
                      <a:pt x="397" y="471"/>
                    </a:lnTo>
                    <a:lnTo>
                      <a:pt x="395" y="471"/>
                    </a:lnTo>
                    <a:lnTo>
                      <a:pt x="393" y="471"/>
                    </a:lnTo>
                    <a:lnTo>
                      <a:pt x="395" y="471"/>
                    </a:lnTo>
                    <a:lnTo>
                      <a:pt x="397" y="471"/>
                    </a:lnTo>
                    <a:lnTo>
                      <a:pt x="395" y="471"/>
                    </a:lnTo>
                    <a:lnTo>
                      <a:pt x="395" y="473"/>
                    </a:lnTo>
                    <a:lnTo>
                      <a:pt x="393" y="473"/>
                    </a:lnTo>
                    <a:lnTo>
                      <a:pt x="395" y="473"/>
                    </a:lnTo>
                    <a:lnTo>
                      <a:pt x="393" y="473"/>
                    </a:lnTo>
                    <a:lnTo>
                      <a:pt x="392" y="471"/>
                    </a:lnTo>
                    <a:lnTo>
                      <a:pt x="390" y="471"/>
                    </a:lnTo>
                    <a:lnTo>
                      <a:pt x="392" y="471"/>
                    </a:lnTo>
                    <a:lnTo>
                      <a:pt x="393" y="471"/>
                    </a:lnTo>
                    <a:lnTo>
                      <a:pt x="393" y="469"/>
                    </a:lnTo>
                    <a:close/>
                    <a:moveTo>
                      <a:pt x="388" y="473"/>
                    </a:moveTo>
                    <a:lnTo>
                      <a:pt x="388" y="471"/>
                    </a:lnTo>
                    <a:lnTo>
                      <a:pt x="390" y="471"/>
                    </a:lnTo>
                    <a:lnTo>
                      <a:pt x="388" y="473"/>
                    </a:lnTo>
                    <a:lnTo>
                      <a:pt x="386" y="473"/>
                    </a:lnTo>
                    <a:lnTo>
                      <a:pt x="388" y="473"/>
                    </a:lnTo>
                    <a:lnTo>
                      <a:pt x="388" y="471"/>
                    </a:lnTo>
                    <a:lnTo>
                      <a:pt x="388" y="473"/>
                    </a:lnTo>
                    <a:close/>
                    <a:moveTo>
                      <a:pt x="61" y="559"/>
                    </a:moveTo>
                    <a:lnTo>
                      <a:pt x="61" y="561"/>
                    </a:lnTo>
                    <a:lnTo>
                      <a:pt x="61" y="559"/>
                    </a:lnTo>
                    <a:close/>
                    <a:moveTo>
                      <a:pt x="405" y="465"/>
                    </a:moveTo>
                    <a:lnTo>
                      <a:pt x="407" y="465"/>
                    </a:lnTo>
                    <a:lnTo>
                      <a:pt x="405" y="465"/>
                    </a:lnTo>
                    <a:close/>
                    <a:moveTo>
                      <a:pt x="363" y="480"/>
                    </a:moveTo>
                    <a:lnTo>
                      <a:pt x="363" y="482"/>
                    </a:lnTo>
                    <a:lnTo>
                      <a:pt x="361" y="482"/>
                    </a:lnTo>
                    <a:lnTo>
                      <a:pt x="361" y="480"/>
                    </a:lnTo>
                    <a:lnTo>
                      <a:pt x="363" y="480"/>
                    </a:lnTo>
                    <a:close/>
                    <a:moveTo>
                      <a:pt x="407" y="465"/>
                    </a:moveTo>
                    <a:lnTo>
                      <a:pt x="405" y="465"/>
                    </a:lnTo>
                    <a:lnTo>
                      <a:pt x="407" y="465"/>
                    </a:lnTo>
                    <a:lnTo>
                      <a:pt x="405" y="465"/>
                    </a:lnTo>
                    <a:lnTo>
                      <a:pt x="407" y="465"/>
                    </a:lnTo>
                    <a:close/>
                    <a:moveTo>
                      <a:pt x="359" y="482"/>
                    </a:moveTo>
                    <a:lnTo>
                      <a:pt x="357" y="482"/>
                    </a:lnTo>
                    <a:lnTo>
                      <a:pt x="357" y="484"/>
                    </a:lnTo>
                    <a:lnTo>
                      <a:pt x="359" y="484"/>
                    </a:lnTo>
                    <a:lnTo>
                      <a:pt x="357" y="484"/>
                    </a:lnTo>
                    <a:lnTo>
                      <a:pt x="357" y="482"/>
                    </a:lnTo>
                    <a:lnTo>
                      <a:pt x="359" y="482"/>
                    </a:lnTo>
                    <a:lnTo>
                      <a:pt x="359" y="480"/>
                    </a:lnTo>
                    <a:lnTo>
                      <a:pt x="359" y="482"/>
                    </a:lnTo>
                    <a:lnTo>
                      <a:pt x="361" y="482"/>
                    </a:lnTo>
                    <a:lnTo>
                      <a:pt x="361" y="484"/>
                    </a:lnTo>
                    <a:lnTo>
                      <a:pt x="359" y="486"/>
                    </a:lnTo>
                    <a:lnTo>
                      <a:pt x="361" y="486"/>
                    </a:lnTo>
                    <a:lnTo>
                      <a:pt x="361" y="484"/>
                    </a:lnTo>
                    <a:lnTo>
                      <a:pt x="361" y="486"/>
                    </a:lnTo>
                    <a:lnTo>
                      <a:pt x="359" y="486"/>
                    </a:lnTo>
                    <a:lnTo>
                      <a:pt x="361" y="486"/>
                    </a:lnTo>
                    <a:lnTo>
                      <a:pt x="359" y="486"/>
                    </a:lnTo>
                    <a:lnTo>
                      <a:pt x="357" y="486"/>
                    </a:lnTo>
                    <a:lnTo>
                      <a:pt x="357" y="488"/>
                    </a:lnTo>
                    <a:lnTo>
                      <a:pt x="357" y="490"/>
                    </a:lnTo>
                    <a:lnTo>
                      <a:pt x="355" y="490"/>
                    </a:lnTo>
                    <a:lnTo>
                      <a:pt x="355" y="492"/>
                    </a:lnTo>
                    <a:lnTo>
                      <a:pt x="353" y="492"/>
                    </a:lnTo>
                    <a:lnTo>
                      <a:pt x="353" y="490"/>
                    </a:lnTo>
                    <a:lnTo>
                      <a:pt x="351" y="490"/>
                    </a:lnTo>
                    <a:lnTo>
                      <a:pt x="351" y="488"/>
                    </a:lnTo>
                    <a:lnTo>
                      <a:pt x="351" y="486"/>
                    </a:lnTo>
                    <a:lnTo>
                      <a:pt x="353" y="486"/>
                    </a:lnTo>
                    <a:lnTo>
                      <a:pt x="353" y="488"/>
                    </a:lnTo>
                    <a:lnTo>
                      <a:pt x="355" y="488"/>
                    </a:lnTo>
                    <a:lnTo>
                      <a:pt x="355" y="486"/>
                    </a:lnTo>
                    <a:lnTo>
                      <a:pt x="355" y="484"/>
                    </a:lnTo>
                    <a:lnTo>
                      <a:pt x="355" y="482"/>
                    </a:lnTo>
                    <a:lnTo>
                      <a:pt x="355" y="484"/>
                    </a:lnTo>
                    <a:lnTo>
                      <a:pt x="357" y="482"/>
                    </a:lnTo>
                    <a:lnTo>
                      <a:pt x="357" y="480"/>
                    </a:lnTo>
                    <a:lnTo>
                      <a:pt x="359" y="480"/>
                    </a:lnTo>
                    <a:lnTo>
                      <a:pt x="357" y="482"/>
                    </a:lnTo>
                    <a:lnTo>
                      <a:pt x="359" y="482"/>
                    </a:lnTo>
                    <a:close/>
                    <a:moveTo>
                      <a:pt x="401" y="465"/>
                    </a:moveTo>
                    <a:lnTo>
                      <a:pt x="401" y="467"/>
                    </a:lnTo>
                    <a:lnTo>
                      <a:pt x="401" y="465"/>
                    </a:lnTo>
                    <a:close/>
                    <a:moveTo>
                      <a:pt x="382" y="473"/>
                    </a:moveTo>
                    <a:lnTo>
                      <a:pt x="380" y="473"/>
                    </a:lnTo>
                    <a:lnTo>
                      <a:pt x="382" y="473"/>
                    </a:lnTo>
                    <a:close/>
                    <a:moveTo>
                      <a:pt x="386" y="473"/>
                    </a:moveTo>
                    <a:lnTo>
                      <a:pt x="386" y="475"/>
                    </a:lnTo>
                    <a:lnTo>
                      <a:pt x="386" y="473"/>
                    </a:lnTo>
                    <a:lnTo>
                      <a:pt x="384" y="473"/>
                    </a:lnTo>
                    <a:lnTo>
                      <a:pt x="386" y="473"/>
                    </a:lnTo>
                    <a:lnTo>
                      <a:pt x="386" y="475"/>
                    </a:lnTo>
                    <a:lnTo>
                      <a:pt x="384" y="475"/>
                    </a:lnTo>
                    <a:lnTo>
                      <a:pt x="384" y="477"/>
                    </a:lnTo>
                    <a:lnTo>
                      <a:pt x="382" y="477"/>
                    </a:lnTo>
                    <a:lnTo>
                      <a:pt x="382" y="475"/>
                    </a:lnTo>
                    <a:lnTo>
                      <a:pt x="382" y="477"/>
                    </a:lnTo>
                    <a:lnTo>
                      <a:pt x="380" y="477"/>
                    </a:lnTo>
                    <a:lnTo>
                      <a:pt x="382" y="475"/>
                    </a:lnTo>
                    <a:lnTo>
                      <a:pt x="382" y="473"/>
                    </a:lnTo>
                    <a:lnTo>
                      <a:pt x="384" y="473"/>
                    </a:lnTo>
                    <a:lnTo>
                      <a:pt x="382" y="473"/>
                    </a:lnTo>
                    <a:lnTo>
                      <a:pt x="384" y="473"/>
                    </a:lnTo>
                    <a:lnTo>
                      <a:pt x="386" y="473"/>
                    </a:lnTo>
                    <a:close/>
                    <a:moveTo>
                      <a:pt x="405" y="465"/>
                    </a:moveTo>
                    <a:lnTo>
                      <a:pt x="403" y="465"/>
                    </a:lnTo>
                    <a:lnTo>
                      <a:pt x="405" y="465"/>
                    </a:lnTo>
                    <a:close/>
                    <a:moveTo>
                      <a:pt x="397" y="467"/>
                    </a:moveTo>
                    <a:lnTo>
                      <a:pt x="399" y="467"/>
                    </a:lnTo>
                    <a:lnTo>
                      <a:pt x="397" y="467"/>
                    </a:lnTo>
                    <a:lnTo>
                      <a:pt x="399" y="467"/>
                    </a:lnTo>
                    <a:lnTo>
                      <a:pt x="397" y="467"/>
                    </a:lnTo>
                    <a:close/>
                    <a:moveTo>
                      <a:pt x="378" y="475"/>
                    </a:moveTo>
                    <a:lnTo>
                      <a:pt x="380" y="475"/>
                    </a:lnTo>
                    <a:lnTo>
                      <a:pt x="382" y="473"/>
                    </a:lnTo>
                    <a:lnTo>
                      <a:pt x="382" y="475"/>
                    </a:lnTo>
                    <a:lnTo>
                      <a:pt x="380" y="477"/>
                    </a:lnTo>
                    <a:lnTo>
                      <a:pt x="378" y="477"/>
                    </a:lnTo>
                    <a:lnTo>
                      <a:pt x="380" y="477"/>
                    </a:lnTo>
                    <a:lnTo>
                      <a:pt x="378" y="478"/>
                    </a:lnTo>
                    <a:lnTo>
                      <a:pt x="376" y="478"/>
                    </a:lnTo>
                    <a:lnTo>
                      <a:pt x="378" y="478"/>
                    </a:lnTo>
                    <a:lnTo>
                      <a:pt x="376" y="478"/>
                    </a:lnTo>
                    <a:lnTo>
                      <a:pt x="374" y="478"/>
                    </a:lnTo>
                    <a:lnTo>
                      <a:pt x="372" y="478"/>
                    </a:lnTo>
                    <a:lnTo>
                      <a:pt x="372" y="480"/>
                    </a:lnTo>
                    <a:lnTo>
                      <a:pt x="370" y="480"/>
                    </a:lnTo>
                    <a:lnTo>
                      <a:pt x="372" y="478"/>
                    </a:lnTo>
                    <a:lnTo>
                      <a:pt x="370" y="478"/>
                    </a:lnTo>
                    <a:lnTo>
                      <a:pt x="370" y="480"/>
                    </a:lnTo>
                    <a:lnTo>
                      <a:pt x="370" y="478"/>
                    </a:lnTo>
                    <a:lnTo>
                      <a:pt x="370" y="480"/>
                    </a:lnTo>
                    <a:lnTo>
                      <a:pt x="368" y="480"/>
                    </a:lnTo>
                    <a:lnTo>
                      <a:pt x="368" y="482"/>
                    </a:lnTo>
                    <a:lnTo>
                      <a:pt x="367" y="482"/>
                    </a:lnTo>
                    <a:lnTo>
                      <a:pt x="365" y="482"/>
                    </a:lnTo>
                    <a:lnTo>
                      <a:pt x="365" y="484"/>
                    </a:lnTo>
                    <a:lnTo>
                      <a:pt x="363" y="484"/>
                    </a:lnTo>
                    <a:lnTo>
                      <a:pt x="363" y="482"/>
                    </a:lnTo>
                    <a:lnTo>
                      <a:pt x="363" y="480"/>
                    </a:lnTo>
                    <a:lnTo>
                      <a:pt x="365" y="480"/>
                    </a:lnTo>
                    <a:lnTo>
                      <a:pt x="367" y="480"/>
                    </a:lnTo>
                    <a:lnTo>
                      <a:pt x="368" y="480"/>
                    </a:lnTo>
                    <a:lnTo>
                      <a:pt x="368" y="478"/>
                    </a:lnTo>
                    <a:lnTo>
                      <a:pt x="370" y="478"/>
                    </a:lnTo>
                    <a:lnTo>
                      <a:pt x="372" y="478"/>
                    </a:lnTo>
                    <a:lnTo>
                      <a:pt x="370" y="478"/>
                    </a:lnTo>
                    <a:lnTo>
                      <a:pt x="372" y="478"/>
                    </a:lnTo>
                    <a:lnTo>
                      <a:pt x="374" y="478"/>
                    </a:lnTo>
                    <a:lnTo>
                      <a:pt x="374" y="477"/>
                    </a:lnTo>
                    <a:lnTo>
                      <a:pt x="376" y="477"/>
                    </a:lnTo>
                    <a:lnTo>
                      <a:pt x="376" y="475"/>
                    </a:lnTo>
                    <a:lnTo>
                      <a:pt x="378" y="475"/>
                    </a:lnTo>
                    <a:lnTo>
                      <a:pt x="380" y="475"/>
                    </a:lnTo>
                    <a:lnTo>
                      <a:pt x="378" y="475"/>
                    </a:lnTo>
                    <a:close/>
                    <a:moveTo>
                      <a:pt x="403" y="465"/>
                    </a:moveTo>
                    <a:lnTo>
                      <a:pt x="405" y="465"/>
                    </a:lnTo>
                    <a:lnTo>
                      <a:pt x="407" y="465"/>
                    </a:lnTo>
                    <a:lnTo>
                      <a:pt x="405" y="465"/>
                    </a:lnTo>
                    <a:lnTo>
                      <a:pt x="403" y="465"/>
                    </a:lnTo>
                    <a:close/>
                    <a:moveTo>
                      <a:pt x="407" y="463"/>
                    </a:moveTo>
                    <a:lnTo>
                      <a:pt x="407" y="465"/>
                    </a:lnTo>
                    <a:lnTo>
                      <a:pt x="405" y="465"/>
                    </a:lnTo>
                    <a:lnTo>
                      <a:pt x="405" y="463"/>
                    </a:lnTo>
                    <a:lnTo>
                      <a:pt x="407" y="463"/>
                    </a:lnTo>
                    <a:close/>
                    <a:moveTo>
                      <a:pt x="405" y="465"/>
                    </a:moveTo>
                    <a:lnTo>
                      <a:pt x="403" y="465"/>
                    </a:lnTo>
                    <a:lnTo>
                      <a:pt x="405" y="465"/>
                    </a:lnTo>
                    <a:close/>
                    <a:moveTo>
                      <a:pt x="359" y="482"/>
                    </a:moveTo>
                    <a:lnTo>
                      <a:pt x="359" y="480"/>
                    </a:lnTo>
                    <a:lnTo>
                      <a:pt x="357" y="480"/>
                    </a:lnTo>
                    <a:lnTo>
                      <a:pt x="359" y="480"/>
                    </a:lnTo>
                    <a:lnTo>
                      <a:pt x="359" y="482"/>
                    </a:lnTo>
                    <a:close/>
                    <a:moveTo>
                      <a:pt x="340" y="486"/>
                    </a:moveTo>
                    <a:lnTo>
                      <a:pt x="342" y="486"/>
                    </a:lnTo>
                    <a:lnTo>
                      <a:pt x="340" y="486"/>
                    </a:lnTo>
                    <a:close/>
                    <a:moveTo>
                      <a:pt x="405" y="463"/>
                    </a:moveTo>
                    <a:lnTo>
                      <a:pt x="405" y="465"/>
                    </a:lnTo>
                    <a:lnTo>
                      <a:pt x="405" y="463"/>
                    </a:lnTo>
                    <a:close/>
                    <a:moveTo>
                      <a:pt x="395" y="467"/>
                    </a:moveTo>
                    <a:lnTo>
                      <a:pt x="397" y="467"/>
                    </a:lnTo>
                    <a:lnTo>
                      <a:pt x="395" y="467"/>
                    </a:lnTo>
                    <a:close/>
                    <a:moveTo>
                      <a:pt x="374" y="475"/>
                    </a:moveTo>
                    <a:lnTo>
                      <a:pt x="376" y="475"/>
                    </a:lnTo>
                    <a:lnTo>
                      <a:pt x="376" y="477"/>
                    </a:lnTo>
                    <a:lnTo>
                      <a:pt x="374" y="477"/>
                    </a:lnTo>
                    <a:lnTo>
                      <a:pt x="372" y="477"/>
                    </a:lnTo>
                    <a:lnTo>
                      <a:pt x="372" y="478"/>
                    </a:lnTo>
                    <a:lnTo>
                      <a:pt x="370" y="478"/>
                    </a:lnTo>
                    <a:lnTo>
                      <a:pt x="370" y="477"/>
                    </a:lnTo>
                    <a:lnTo>
                      <a:pt x="372" y="477"/>
                    </a:lnTo>
                    <a:lnTo>
                      <a:pt x="372" y="475"/>
                    </a:lnTo>
                    <a:lnTo>
                      <a:pt x="372" y="477"/>
                    </a:lnTo>
                    <a:lnTo>
                      <a:pt x="372" y="475"/>
                    </a:lnTo>
                    <a:lnTo>
                      <a:pt x="374" y="475"/>
                    </a:lnTo>
                    <a:close/>
                    <a:moveTo>
                      <a:pt x="361" y="478"/>
                    </a:moveTo>
                    <a:lnTo>
                      <a:pt x="363" y="478"/>
                    </a:lnTo>
                    <a:lnTo>
                      <a:pt x="365" y="478"/>
                    </a:lnTo>
                    <a:lnTo>
                      <a:pt x="367" y="478"/>
                    </a:lnTo>
                    <a:lnTo>
                      <a:pt x="365" y="480"/>
                    </a:lnTo>
                    <a:lnTo>
                      <a:pt x="363" y="480"/>
                    </a:lnTo>
                    <a:lnTo>
                      <a:pt x="361" y="480"/>
                    </a:lnTo>
                    <a:lnTo>
                      <a:pt x="361" y="478"/>
                    </a:lnTo>
                    <a:close/>
                    <a:moveTo>
                      <a:pt x="295" y="502"/>
                    </a:moveTo>
                    <a:lnTo>
                      <a:pt x="295" y="500"/>
                    </a:lnTo>
                    <a:lnTo>
                      <a:pt x="295" y="502"/>
                    </a:lnTo>
                    <a:close/>
                    <a:moveTo>
                      <a:pt x="405" y="465"/>
                    </a:moveTo>
                    <a:lnTo>
                      <a:pt x="403" y="465"/>
                    </a:lnTo>
                    <a:lnTo>
                      <a:pt x="403" y="463"/>
                    </a:lnTo>
                    <a:lnTo>
                      <a:pt x="405" y="463"/>
                    </a:lnTo>
                    <a:lnTo>
                      <a:pt x="405" y="465"/>
                    </a:lnTo>
                    <a:close/>
                    <a:moveTo>
                      <a:pt x="393" y="467"/>
                    </a:moveTo>
                    <a:lnTo>
                      <a:pt x="395" y="467"/>
                    </a:lnTo>
                    <a:lnTo>
                      <a:pt x="395" y="469"/>
                    </a:lnTo>
                    <a:lnTo>
                      <a:pt x="393" y="469"/>
                    </a:lnTo>
                    <a:lnTo>
                      <a:pt x="392" y="469"/>
                    </a:lnTo>
                    <a:lnTo>
                      <a:pt x="390" y="469"/>
                    </a:lnTo>
                    <a:lnTo>
                      <a:pt x="392" y="469"/>
                    </a:lnTo>
                    <a:lnTo>
                      <a:pt x="393" y="467"/>
                    </a:lnTo>
                    <a:close/>
                    <a:moveTo>
                      <a:pt x="399" y="465"/>
                    </a:moveTo>
                    <a:lnTo>
                      <a:pt x="401" y="465"/>
                    </a:lnTo>
                    <a:lnTo>
                      <a:pt x="399" y="465"/>
                    </a:lnTo>
                    <a:lnTo>
                      <a:pt x="397" y="465"/>
                    </a:lnTo>
                    <a:lnTo>
                      <a:pt x="399" y="465"/>
                    </a:lnTo>
                    <a:close/>
                    <a:moveTo>
                      <a:pt x="393" y="467"/>
                    </a:moveTo>
                    <a:lnTo>
                      <a:pt x="395" y="467"/>
                    </a:lnTo>
                    <a:lnTo>
                      <a:pt x="393" y="467"/>
                    </a:lnTo>
                    <a:close/>
                    <a:moveTo>
                      <a:pt x="386" y="471"/>
                    </a:moveTo>
                    <a:lnTo>
                      <a:pt x="388" y="471"/>
                    </a:lnTo>
                    <a:lnTo>
                      <a:pt x="390" y="471"/>
                    </a:lnTo>
                    <a:lnTo>
                      <a:pt x="390" y="469"/>
                    </a:lnTo>
                    <a:lnTo>
                      <a:pt x="392" y="469"/>
                    </a:lnTo>
                    <a:lnTo>
                      <a:pt x="393" y="469"/>
                    </a:lnTo>
                    <a:lnTo>
                      <a:pt x="395" y="469"/>
                    </a:lnTo>
                    <a:lnTo>
                      <a:pt x="395" y="467"/>
                    </a:lnTo>
                    <a:lnTo>
                      <a:pt x="397" y="467"/>
                    </a:lnTo>
                    <a:lnTo>
                      <a:pt x="397" y="469"/>
                    </a:lnTo>
                    <a:lnTo>
                      <a:pt x="395" y="469"/>
                    </a:lnTo>
                    <a:lnTo>
                      <a:pt x="397" y="469"/>
                    </a:lnTo>
                    <a:lnTo>
                      <a:pt x="397" y="467"/>
                    </a:lnTo>
                    <a:lnTo>
                      <a:pt x="397" y="469"/>
                    </a:lnTo>
                    <a:lnTo>
                      <a:pt x="397" y="467"/>
                    </a:lnTo>
                    <a:lnTo>
                      <a:pt x="399" y="467"/>
                    </a:lnTo>
                    <a:lnTo>
                      <a:pt x="401" y="467"/>
                    </a:lnTo>
                    <a:lnTo>
                      <a:pt x="403" y="467"/>
                    </a:lnTo>
                    <a:lnTo>
                      <a:pt x="405" y="467"/>
                    </a:lnTo>
                    <a:lnTo>
                      <a:pt x="403" y="467"/>
                    </a:lnTo>
                    <a:lnTo>
                      <a:pt x="405" y="467"/>
                    </a:lnTo>
                    <a:lnTo>
                      <a:pt x="403" y="467"/>
                    </a:lnTo>
                    <a:lnTo>
                      <a:pt x="401" y="467"/>
                    </a:lnTo>
                    <a:lnTo>
                      <a:pt x="399" y="467"/>
                    </a:lnTo>
                    <a:lnTo>
                      <a:pt x="399" y="469"/>
                    </a:lnTo>
                    <a:lnTo>
                      <a:pt x="397" y="469"/>
                    </a:lnTo>
                    <a:lnTo>
                      <a:pt x="395" y="469"/>
                    </a:lnTo>
                    <a:lnTo>
                      <a:pt x="393" y="469"/>
                    </a:lnTo>
                    <a:lnTo>
                      <a:pt x="390" y="471"/>
                    </a:lnTo>
                    <a:lnTo>
                      <a:pt x="388" y="471"/>
                    </a:lnTo>
                    <a:lnTo>
                      <a:pt x="386" y="473"/>
                    </a:lnTo>
                    <a:lnTo>
                      <a:pt x="384" y="473"/>
                    </a:lnTo>
                    <a:lnTo>
                      <a:pt x="384" y="471"/>
                    </a:lnTo>
                    <a:lnTo>
                      <a:pt x="386" y="471"/>
                    </a:lnTo>
                    <a:close/>
                    <a:moveTo>
                      <a:pt x="363" y="477"/>
                    </a:moveTo>
                    <a:lnTo>
                      <a:pt x="365" y="477"/>
                    </a:lnTo>
                    <a:lnTo>
                      <a:pt x="365" y="478"/>
                    </a:lnTo>
                    <a:lnTo>
                      <a:pt x="363" y="478"/>
                    </a:lnTo>
                    <a:lnTo>
                      <a:pt x="363" y="477"/>
                    </a:lnTo>
                    <a:close/>
                    <a:moveTo>
                      <a:pt x="403" y="463"/>
                    </a:moveTo>
                    <a:lnTo>
                      <a:pt x="405" y="463"/>
                    </a:lnTo>
                    <a:lnTo>
                      <a:pt x="407" y="463"/>
                    </a:lnTo>
                    <a:lnTo>
                      <a:pt x="405" y="463"/>
                    </a:lnTo>
                    <a:lnTo>
                      <a:pt x="407" y="463"/>
                    </a:lnTo>
                    <a:lnTo>
                      <a:pt x="405" y="463"/>
                    </a:lnTo>
                    <a:lnTo>
                      <a:pt x="403" y="463"/>
                    </a:lnTo>
                    <a:lnTo>
                      <a:pt x="405" y="463"/>
                    </a:lnTo>
                    <a:lnTo>
                      <a:pt x="403" y="463"/>
                    </a:lnTo>
                    <a:close/>
                    <a:moveTo>
                      <a:pt x="397" y="467"/>
                    </a:moveTo>
                    <a:lnTo>
                      <a:pt x="397" y="465"/>
                    </a:lnTo>
                    <a:lnTo>
                      <a:pt x="397" y="467"/>
                    </a:lnTo>
                    <a:lnTo>
                      <a:pt x="395" y="467"/>
                    </a:lnTo>
                    <a:lnTo>
                      <a:pt x="393" y="467"/>
                    </a:lnTo>
                    <a:lnTo>
                      <a:pt x="395" y="467"/>
                    </a:lnTo>
                    <a:lnTo>
                      <a:pt x="397" y="467"/>
                    </a:lnTo>
                    <a:close/>
                    <a:moveTo>
                      <a:pt x="361" y="480"/>
                    </a:moveTo>
                    <a:lnTo>
                      <a:pt x="361" y="478"/>
                    </a:lnTo>
                    <a:lnTo>
                      <a:pt x="363" y="478"/>
                    </a:lnTo>
                    <a:lnTo>
                      <a:pt x="361" y="478"/>
                    </a:lnTo>
                    <a:lnTo>
                      <a:pt x="361" y="480"/>
                    </a:lnTo>
                    <a:close/>
                    <a:moveTo>
                      <a:pt x="282" y="503"/>
                    </a:moveTo>
                    <a:lnTo>
                      <a:pt x="280" y="505"/>
                    </a:lnTo>
                    <a:lnTo>
                      <a:pt x="278" y="505"/>
                    </a:lnTo>
                    <a:lnTo>
                      <a:pt x="280" y="505"/>
                    </a:lnTo>
                    <a:lnTo>
                      <a:pt x="282" y="503"/>
                    </a:lnTo>
                    <a:close/>
                    <a:moveTo>
                      <a:pt x="399" y="465"/>
                    </a:moveTo>
                    <a:lnTo>
                      <a:pt x="401" y="465"/>
                    </a:lnTo>
                    <a:lnTo>
                      <a:pt x="399" y="465"/>
                    </a:lnTo>
                    <a:lnTo>
                      <a:pt x="397" y="465"/>
                    </a:lnTo>
                    <a:lnTo>
                      <a:pt x="399" y="465"/>
                    </a:lnTo>
                    <a:lnTo>
                      <a:pt x="397" y="465"/>
                    </a:lnTo>
                    <a:lnTo>
                      <a:pt x="399" y="465"/>
                    </a:lnTo>
                    <a:close/>
                    <a:moveTo>
                      <a:pt x="370" y="475"/>
                    </a:moveTo>
                    <a:lnTo>
                      <a:pt x="370" y="477"/>
                    </a:lnTo>
                    <a:lnTo>
                      <a:pt x="370" y="475"/>
                    </a:lnTo>
                    <a:close/>
                    <a:moveTo>
                      <a:pt x="359" y="480"/>
                    </a:moveTo>
                    <a:lnTo>
                      <a:pt x="361" y="480"/>
                    </a:lnTo>
                    <a:lnTo>
                      <a:pt x="361" y="482"/>
                    </a:lnTo>
                    <a:lnTo>
                      <a:pt x="359" y="480"/>
                    </a:lnTo>
                    <a:lnTo>
                      <a:pt x="357" y="480"/>
                    </a:lnTo>
                    <a:lnTo>
                      <a:pt x="357" y="478"/>
                    </a:lnTo>
                    <a:lnTo>
                      <a:pt x="359" y="478"/>
                    </a:lnTo>
                    <a:lnTo>
                      <a:pt x="359" y="480"/>
                    </a:lnTo>
                    <a:close/>
                    <a:moveTo>
                      <a:pt x="399" y="465"/>
                    </a:moveTo>
                    <a:lnTo>
                      <a:pt x="401" y="465"/>
                    </a:lnTo>
                    <a:lnTo>
                      <a:pt x="399" y="465"/>
                    </a:lnTo>
                    <a:lnTo>
                      <a:pt x="401" y="463"/>
                    </a:lnTo>
                    <a:lnTo>
                      <a:pt x="401" y="465"/>
                    </a:lnTo>
                    <a:lnTo>
                      <a:pt x="399" y="465"/>
                    </a:lnTo>
                    <a:close/>
                    <a:moveTo>
                      <a:pt x="355" y="480"/>
                    </a:moveTo>
                    <a:lnTo>
                      <a:pt x="357" y="480"/>
                    </a:lnTo>
                    <a:lnTo>
                      <a:pt x="355" y="480"/>
                    </a:lnTo>
                    <a:close/>
                    <a:moveTo>
                      <a:pt x="405" y="463"/>
                    </a:moveTo>
                    <a:lnTo>
                      <a:pt x="403" y="463"/>
                    </a:lnTo>
                    <a:lnTo>
                      <a:pt x="405" y="463"/>
                    </a:lnTo>
                    <a:close/>
                    <a:moveTo>
                      <a:pt x="372" y="475"/>
                    </a:moveTo>
                    <a:lnTo>
                      <a:pt x="372" y="477"/>
                    </a:lnTo>
                    <a:lnTo>
                      <a:pt x="370" y="475"/>
                    </a:lnTo>
                    <a:lnTo>
                      <a:pt x="372" y="475"/>
                    </a:lnTo>
                    <a:close/>
                    <a:moveTo>
                      <a:pt x="286" y="502"/>
                    </a:moveTo>
                    <a:lnTo>
                      <a:pt x="286" y="503"/>
                    </a:lnTo>
                    <a:lnTo>
                      <a:pt x="284" y="503"/>
                    </a:lnTo>
                    <a:lnTo>
                      <a:pt x="282" y="503"/>
                    </a:lnTo>
                    <a:lnTo>
                      <a:pt x="284" y="503"/>
                    </a:lnTo>
                    <a:lnTo>
                      <a:pt x="286" y="502"/>
                    </a:lnTo>
                    <a:close/>
                    <a:moveTo>
                      <a:pt x="393" y="467"/>
                    </a:moveTo>
                    <a:lnTo>
                      <a:pt x="392" y="467"/>
                    </a:lnTo>
                    <a:lnTo>
                      <a:pt x="393" y="467"/>
                    </a:lnTo>
                    <a:close/>
                    <a:moveTo>
                      <a:pt x="242" y="515"/>
                    </a:moveTo>
                    <a:lnTo>
                      <a:pt x="240" y="515"/>
                    </a:lnTo>
                    <a:lnTo>
                      <a:pt x="242" y="515"/>
                    </a:lnTo>
                    <a:close/>
                    <a:moveTo>
                      <a:pt x="374" y="473"/>
                    </a:moveTo>
                    <a:lnTo>
                      <a:pt x="376" y="475"/>
                    </a:lnTo>
                    <a:lnTo>
                      <a:pt x="374" y="475"/>
                    </a:lnTo>
                    <a:lnTo>
                      <a:pt x="372" y="475"/>
                    </a:lnTo>
                    <a:lnTo>
                      <a:pt x="372" y="473"/>
                    </a:lnTo>
                    <a:lnTo>
                      <a:pt x="374" y="473"/>
                    </a:lnTo>
                    <a:close/>
                    <a:moveTo>
                      <a:pt x="392" y="467"/>
                    </a:moveTo>
                    <a:lnTo>
                      <a:pt x="393" y="467"/>
                    </a:lnTo>
                    <a:lnTo>
                      <a:pt x="392" y="469"/>
                    </a:lnTo>
                    <a:lnTo>
                      <a:pt x="390" y="469"/>
                    </a:lnTo>
                    <a:lnTo>
                      <a:pt x="390" y="467"/>
                    </a:lnTo>
                    <a:lnTo>
                      <a:pt x="390" y="469"/>
                    </a:lnTo>
                    <a:lnTo>
                      <a:pt x="390" y="467"/>
                    </a:lnTo>
                    <a:lnTo>
                      <a:pt x="392" y="467"/>
                    </a:lnTo>
                    <a:close/>
                    <a:moveTo>
                      <a:pt x="368" y="477"/>
                    </a:moveTo>
                    <a:lnTo>
                      <a:pt x="368" y="475"/>
                    </a:lnTo>
                    <a:lnTo>
                      <a:pt x="368" y="477"/>
                    </a:lnTo>
                    <a:close/>
                    <a:moveTo>
                      <a:pt x="397" y="465"/>
                    </a:moveTo>
                    <a:lnTo>
                      <a:pt x="395" y="465"/>
                    </a:lnTo>
                    <a:lnTo>
                      <a:pt x="397" y="465"/>
                    </a:lnTo>
                    <a:close/>
                    <a:moveTo>
                      <a:pt x="372" y="475"/>
                    </a:moveTo>
                    <a:lnTo>
                      <a:pt x="372" y="473"/>
                    </a:lnTo>
                    <a:lnTo>
                      <a:pt x="372" y="475"/>
                    </a:lnTo>
                    <a:close/>
                    <a:moveTo>
                      <a:pt x="397" y="465"/>
                    </a:moveTo>
                    <a:lnTo>
                      <a:pt x="395" y="465"/>
                    </a:lnTo>
                    <a:lnTo>
                      <a:pt x="397" y="465"/>
                    </a:lnTo>
                    <a:close/>
                    <a:moveTo>
                      <a:pt x="401" y="463"/>
                    </a:moveTo>
                    <a:lnTo>
                      <a:pt x="399" y="463"/>
                    </a:lnTo>
                    <a:lnTo>
                      <a:pt x="399" y="465"/>
                    </a:lnTo>
                    <a:lnTo>
                      <a:pt x="397" y="465"/>
                    </a:lnTo>
                    <a:lnTo>
                      <a:pt x="399" y="465"/>
                    </a:lnTo>
                    <a:lnTo>
                      <a:pt x="401" y="463"/>
                    </a:lnTo>
                    <a:close/>
                    <a:moveTo>
                      <a:pt x="395" y="465"/>
                    </a:moveTo>
                    <a:lnTo>
                      <a:pt x="397" y="465"/>
                    </a:lnTo>
                    <a:lnTo>
                      <a:pt x="395" y="465"/>
                    </a:lnTo>
                    <a:close/>
                    <a:moveTo>
                      <a:pt x="395" y="465"/>
                    </a:moveTo>
                    <a:lnTo>
                      <a:pt x="395" y="467"/>
                    </a:lnTo>
                    <a:lnTo>
                      <a:pt x="393" y="467"/>
                    </a:lnTo>
                    <a:lnTo>
                      <a:pt x="393" y="465"/>
                    </a:lnTo>
                    <a:lnTo>
                      <a:pt x="395" y="465"/>
                    </a:lnTo>
                    <a:close/>
                    <a:moveTo>
                      <a:pt x="403" y="463"/>
                    </a:moveTo>
                    <a:lnTo>
                      <a:pt x="401" y="463"/>
                    </a:lnTo>
                    <a:lnTo>
                      <a:pt x="403" y="463"/>
                    </a:lnTo>
                    <a:lnTo>
                      <a:pt x="403" y="461"/>
                    </a:lnTo>
                    <a:lnTo>
                      <a:pt x="403" y="463"/>
                    </a:lnTo>
                    <a:close/>
                    <a:moveTo>
                      <a:pt x="294" y="502"/>
                    </a:moveTo>
                    <a:lnTo>
                      <a:pt x="295" y="502"/>
                    </a:lnTo>
                    <a:lnTo>
                      <a:pt x="294" y="502"/>
                    </a:lnTo>
                    <a:lnTo>
                      <a:pt x="292" y="502"/>
                    </a:lnTo>
                    <a:lnTo>
                      <a:pt x="294" y="502"/>
                    </a:lnTo>
                    <a:lnTo>
                      <a:pt x="292" y="502"/>
                    </a:lnTo>
                    <a:lnTo>
                      <a:pt x="290" y="502"/>
                    </a:lnTo>
                    <a:lnTo>
                      <a:pt x="288" y="502"/>
                    </a:lnTo>
                    <a:lnTo>
                      <a:pt x="288" y="500"/>
                    </a:lnTo>
                    <a:lnTo>
                      <a:pt x="290" y="500"/>
                    </a:lnTo>
                    <a:lnTo>
                      <a:pt x="292" y="502"/>
                    </a:lnTo>
                    <a:lnTo>
                      <a:pt x="294" y="502"/>
                    </a:lnTo>
                    <a:close/>
                    <a:moveTo>
                      <a:pt x="393" y="465"/>
                    </a:moveTo>
                    <a:lnTo>
                      <a:pt x="395" y="465"/>
                    </a:lnTo>
                    <a:lnTo>
                      <a:pt x="393" y="465"/>
                    </a:lnTo>
                    <a:close/>
                    <a:moveTo>
                      <a:pt x="357" y="482"/>
                    </a:moveTo>
                    <a:lnTo>
                      <a:pt x="355" y="482"/>
                    </a:lnTo>
                    <a:lnTo>
                      <a:pt x="355" y="480"/>
                    </a:lnTo>
                    <a:lnTo>
                      <a:pt x="357" y="480"/>
                    </a:lnTo>
                    <a:lnTo>
                      <a:pt x="357" y="478"/>
                    </a:lnTo>
                    <a:lnTo>
                      <a:pt x="359" y="478"/>
                    </a:lnTo>
                    <a:lnTo>
                      <a:pt x="357" y="478"/>
                    </a:lnTo>
                    <a:lnTo>
                      <a:pt x="357" y="480"/>
                    </a:lnTo>
                    <a:lnTo>
                      <a:pt x="357" y="482"/>
                    </a:lnTo>
                    <a:close/>
                    <a:moveTo>
                      <a:pt x="392" y="467"/>
                    </a:moveTo>
                    <a:lnTo>
                      <a:pt x="393" y="465"/>
                    </a:lnTo>
                    <a:lnTo>
                      <a:pt x="393" y="467"/>
                    </a:lnTo>
                    <a:lnTo>
                      <a:pt x="392" y="467"/>
                    </a:lnTo>
                    <a:lnTo>
                      <a:pt x="390" y="467"/>
                    </a:lnTo>
                    <a:lnTo>
                      <a:pt x="392" y="467"/>
                    </a:lnTo>
                    <a:close/>
                    <a:moveTo>
                      <a:pt x="355" y="478"/>
                    </a:moveTo>
                    <a:lnTo>
                      <a:pt x="355" y="480"/>
                    </a:lnTo>
                    <a:lnTo>
                      <a:pt x="355" y="478"/>
                    </a:lnTo>
                    <a:close/>
                    <a:moveTo>
                      <a:pt x="374" y="473"/>
                    </a:moveTo>
                    <a:lnTo>
                      <a:pt x="376" y="473"/>
                    </a:lnTo>
                    <a:lnTo>
                      <a:pt x="374" y="473"/>
                    </a:lnTo>
                    <a:lnTo>
                      <a:pt x="372" y="473"/>
                    </a:lnTo>
                    <a:lnTo>
                      <a:pt x="374" y="473"/>
                    </a:lnTo>
                    <a:close/>
                    <a:moveTo>
                      <a:pt x="370" y="473"/>
                    </a:moveTo>
                    <a:lnTo>
                      <a:pt x="372" y="473"/>
                    </a:lnTo>
                    <a:lnTo>
                      <a:pt x="370" y="475"/>
                    </a:lnTo>
                    <a:lnTo>
                      <a:pt x="370" y="477"/>
                    </a:lnTo>
                    <a:lnTo>
                      <a:pt x="368" y="477"/>
                    </a:lnTo>
                    <a:lnTo>
                      <a:pt x="370" y="477"/>
                    </a:lnTo>
                    <a:lnTo>
                      <a:pt x="370" y="478"/>
                    </a:lnTo>
                    <a:lnTo>
                      <a:pt x="368" y="478"/>
                    </a:lnTo>
                    <a:lnTo>
                      <a:pt x="367" y="478"/>
                    </a:lnTo>
                    <a:lnTo>
                      <a:pt x="367" y="477"/>
                    </a:lnTo>
                    <a:lnTo>
                      <a:pt x="368" y="477"/>
                    </a:lnTo>
                    <a:lnTo>
                      <a:pt x="368" y="475"/>
                    </a:lnTo>
                    <a:lnTo>
                      <a:pt x="370" y="473"/>
                    </a:lnTo>
                    <a:close/>
                    <a:moveTo>
                      <a:pt x="401" y="461"/>
                    </a:moveTo>
                    <a:lnTo>
                      <a:pt x="401" y="463"/>
                    </a:lnTo>
                    <a:lnTo>
                      <a:pt x="401" y="461"/>
                    </a:lnTo>
                    <a:lnTo>
                      <a:pt x="403" y="461"/>
                    </a:lnTo>
                    <a:lnTo>
                      <a:pt x="401" y="461"/>
                    </a:lnTo>
                    <a:close/>
                    <a:moveTo>
                      <a:pt x="382" y="469"/>
                    </a:moveTo>
                    <a:lnTo>
                      <a:pt x="380" y="471"/>
                    </a:lnTo>
                    <a:lnTo>
                      <a:pt x="380" y="469"/>
                    </a:lnTo>
                    <a:lnTo>
                      <a:pt x="382" y="469"/>
                    </a:lnTo>
                    <a:lnTo>
                      <a:pt x="380" y="469"/>
                    </a:lnTo>
                    <a:lnTo>
                      <a:pt x="382" y="469"/>
                    </a:lnTo>
                    <a:close/>
                    <a:moveTo>
                      <a:pt x="59" y="557"/>
                    </a:moveTo>
                    <a:lnTo>
                      <a:pt x="57" y="557"/>
                    </a:lnTo>
                    <a:lnTo>
                      <a:pt x="57" y="555"/>
                    </a:lnTo>
                    <a:lnTo>
                      <a:pt x="59" y="555"/>
                    </a:lnTo>
                    <a:lnTo>
                      <a:pt x="59" y="557"/>
                    </a:lnTo>
                    <a:close/>
                    <a:moveTo>
                      <a:pt x="382" y="473"/>
                    </a:moveTo>
                    <a:lnTo>
                      <a:pt x="380" y="473"/>
                    </a:lnTo>
                    <a:lnTo>
                      <a:pt x="380" y="475"/>
                    </a:lnTo>
                    <a:lnTo>
                      <a:pt x="380" y="473"/>
                    </a:lnTo>
                    <a:lnTo>
                      <a:pt x="382" y="473"/>
                    </a:lnTo>
                    <a:lnTo>
                      <a:pt x="382" y="471"/>
                    </a:lnTo>
                    <a:lnTo>
                      <a:pt x="380" y="471"/>
                    </a:lnTo>
                    <a:lnTo>
                      <a:pt x="382" y="471"/>
                    </a:lnTo>
                    <a:lnTo>
                      <a:pt x="380" y="473"/>
                    </a:lnTo>
                    <a:lnTo>
                      <a:pt x="380" y="471"/>
                    </a:lnTo>
                    <a:lnTo>
                      <a:pt x="380" y="473"/>
                    </a:lnTo>
                    <a:lnTo>
                      <a:pt x="378" y="473"/>
                    </a:lnTo>
                    <a:lnTo>
                      <a:pt x="378" y="475"/>
                    </a:lnTo>
                    <a:lnTo>
                      <a:pt x="378" y="473"/>
                    </a:lnTo>
                    <a:lnTo>
                      <a:pt x="378" y="475"/>
                    </a:lnTo>
                    <a:lnTo>
                      <a:pt x="376" y="475"/>
                    </a:lnTo>
                    <a:lnTo>
                      <a:pt x="374" y="475"/>
                    </a:lnTo>
                    <a:lnTo>
                      <a:pt x="376" y="473"/>
                    </a:lnTo>
                    <a:lnTo>
                      <a:pt x="378" y="473"/>
                    </a:lnTo>
                    <a:lnTo>
                      <a:pt x="378" y="471"/>
                    </a:lnTo>
                    <a:lnTo>
                      <a:pt x="380" y="471"/>
                    </a:lnTo>
                    <a:lnTo>
                      <a:pt x="382" y="471"/>
                    </a:lnTo>
                    <a:lnTo>
                      <a:pt x="382" y="469"/>
                    </a:lnTo>
                    <a:lnTo>
                      <a:pt x="384" y="469"/>
                    </a:lnTo>
                    <a:lnTo>
                      <a:pt x="382" y="469"/>
                    </a:lnTo>
                    <a:lnTo>
                      <a:pt x="382" y="471"/>
                    </a:lnTo>
                    <a:lnTo>
                      <a:pt x="382" y="469"/>
                    </a:lnTo>
                    <a:lnTo>
                      <a:pt x="382" y="471"/>
                    </a:lnTo>
                    <a:lnTo>
                      <a:pt x="382" y="469"/>
                    </a:lnTo>
                    <a:lnTo>
                      <a:pt x="384" y="469"/>
                    </a:lnTo>
                    <a:lnTo>
                      <a:pt x="386" y="469"/>
                    </a:lnTo>
                    <a:lnTo>
                      <a:pt x="384" y="469"/>
                    </a:lnTo>
                    <a:lnTo>
                      <a:pt x="386" y="469"/>
                    </a:lnTo>
                    <a:lnTo>
                      <a:pt x="388" y="469"/>
                    </a:lnTo>
                    <a:lnTo>
                      <a:pt x="390" y="469"/>
                    </a:lnTo>
                    <a:lnTo>
                      <a:pt x="392" y="469"/>
                    </a:lnTo>
                    <a:lnTo>
                      <a:pt x="390" y="469"/>
                    </a:lnTo>
                    <a:lnTo>
                      <a:pt x="388" y="471"/>
                    </a:lnTo>
                    <a:lnTo>
                      <a:pt x="386" y="471"/>
                    </a:lnTo>
                    <a:lnTo>
                      <a:pt x="384" y="471"/>
                    </a:lnTo>
                    <a:lnTo>
                      <a:pt x="384" y="473"/>
                    </a:lnTo>
                    <a:lnTo>
                      <a:pt x="382" y="473"/>
                    </a:lnTo>
                    <a:close/>
                    <a:moveTo>
                      <a:pt x="228" y="517"/>
                    </a:moveTo>
                    <a:lnTo>
                      <a:pt x="230" y="517"/>
                    </a:lnTo>
                    <a:lnTo>
                      <a:pt x="232" y="517"/>
                    </a:lnTo>
                    <a:lnTo>
                      <a:pt x="230" y="517"/>
                    </a:lnTo>
                    <a:lnTo>
                      <a:pt x="228" y="517"/>
                    </a:lnTo>
                    <a:lnTo>
                      <a:pt x="226" y="517"/>
                    </a:lnTo>
                    <a:lnTo>
                      <a:pt x="228" y="517"/>
                    </a:lnTo>
                    <a:close/>
                    <a:moveTo>
                      <a:pt x="405" y="461"/>
                    </a:moveTo>
                    <a:lnTo>
                      <a:pt x="403" y="461"/>
                    </a:lnTo>
                    <a:lnTo>
                      <a:pt x="403" y="463"/>
                    </a:lnTo>
                    <a:lnTo>
                      <a:pt x="401" y="463"/>
                    </a:lnTo>
                    <a:lnTo>
                      <a:pt x="403" y="461"/>
                    </a:lnTo>
                    <a:lnTo>
                      <a:pt x="405" y="461"/>
                    </a:lnTo>
                    <a:close/>
                    <a:moveTo>
                      <a:pt x="272" y="503"/>
                    </a:moveTo>
                    <a:lnTo>
                      <a:pt x="274" y="505"/>
                    </a:lnTo>
                    <a:lnTo>
                      <a:pt x="276" y="505"/>
                    </a:lnTo>
                    <a:lnTo>
                      <a:pt x="274" y="505"/>
                    </a:lnTo>
                    <a:lnTo>
                      <a:pt x="276" y="505"/>
                    </a:lnTo>
                    <a:lnTo>
                      <a:pt x="274" y="505"/>
                    </a:lnTo>
                    <a:lnTo>
                      <a:pt x="272" y="505"/>
                    </a:lnTo>
                    <a:lnTo>
                      <a:pt x="271" y="505"/>
                    </a:lnTo>
                    <a:lnTo>
                      <a:pt x="272" y="503"/>
                    </a:lnTo>
                    <a:close/>
                    <a:moveTo>
                      <a:pt x="393" y="465"/>
                    </a:moveTo>
                    <a:lnTo>
                      <a:pt x="395" y="465"/>
                    </a:lnTo>
                    <a:lnTo>
                      <a:pt x="395" y="463"/>
                    </a:lnTo>
                    <a:lnTo>
                      <a:pt x="395" y="465"/>
                    </a:lnTo>
                    <a:lnTo>
                      <a:pt x="395" y="463"/>
                    </a:lnTo>
                    <a:lnTo>
                      <a:pt x="397" y="463"/>
                    </a:lnTo>
                    <a:lnTo>
                      <a:pt x="395" y="465"/>
                    </a:lnTo>
                    <a:lnTo>
                      <a:pt x="397" y="463"/>
                    </a:lnTo>
                    <a:lnTo>
                      <a:pt x="399" y="463"/>
                    </a:lnTo>
                    <a:lnTo>
                      <a:pt x="399" y="465"/>
                    </a:lnTo>
                    <a:lnTo>
                      <a:pt x="397" y="465"/>
                    </a:lnTo>
                    <a:lnTo>
                      <a:pt x="395" y="465"/>
                    </a:lnTo>
                    <a:lnTo>
                      <a:pt x="393" y="465"/>
                    </a:lnTo>
                    <a:lnTo>
                      <a:pt x="392" y="465"/>
                    </a:lnTo>
                    <a:lnTo>
                      <a:pt x="393" y="465"/>
                    </a:lnTo>
                    <a:close/>
                    <a:moveTo>
                      <a:pt x="269" y="505"/>
                    </a:moveTo>
                    <a:lnTo>
                      <a:pt x="271" y="505"/>
                    </a:lnTo>
                    <a:lnTo>
                      <a:pt x="272" y="505"/>
                    </a:lnTo>
                    <a:lnTo>
                      <a:pt x="271" y="505"/>
                    </a:lnTo>
                    <a:lnTo>
                      <a:pt x="269" y="505"/>
                    </a:lnTo>
                    <a:lnTo>
                      <a:pt x="267" y="505"/>
                    </a:lnTo>
                    <a:lnTo>
                      <a:pt x="269" y="505"/>
                    </a:lnTo>
                    <a:close/>
                    <a:moveTo>
                      <a:pt x="395" y="463"/>
                    </a:moveTo>
                    <a:lnTo>
                      <a:pt x="395" y="465"/>
                    </a:lnTo>
                    <a:lnTo>
                      <a:pt x="393" y="465"/>
                    </a:lnTo>
                    <a:lnTo>
                      <a:pt x="393" y="463"/>
                    </a:lnTo>
                    <a:lnTo>
                      <a:pt x="395" y="463"/>
                    </a:lnTo>
                    <a:close/>
                    <a:moveTo>
                      <a:pt x="384" y="469"/>
                    </a:moveTo>
                    <a:lnTo>
                      <a:pt x="382" y="469"/>
                    </a:lnTo>
                    <a:lnTo>
                      <a:pt x="384" y="469"/>
                    </a:lnTo>
                    <a:close/>
                    <a:moveTo>
                      <a:pt x="240" y="513"/>
                    </a:moveTo>
                    <a:lnTo>
                      <a:pt x="238" y="513"/>
                    </a:lnTo>
                    <a:lnTo>
                      <a:pt x="240" y="513"/>
                    </a:lnTo>
                    <a:close/>
                    <a:moveTo>
                      <a:pt x="370" y="473"/>
                    </a:moveTo>
                    <a:lnTo>
                      <a:pt x="368" y="473"/>
                    </a:lnTo>
                    <a:lnTo>
                      <a:pt x="370" y="473"/>
                    </a:lnTo>
                    <a:close/>
                    <a:moveTo>
                      <a:pt x="59" y="555"/>
                    </a:moveTo>
                    <a:lnTo>
                      <a:pt x="61" y="555"/>
                    </a:lnTo>
                    <a:lnTo>
                      <a:pt x="59" y="557"/>
                    </a:lnTo>
                    <a:lnTo>
                      <a:pt x="59" y="555"/>
                    </a:lnTo>
                    <a:lnTo>
                      <a:pt x="57" y="555"/>
                    </a:lnTo>
                    <a:lnTo>
                      <a:pt x="59" y="555"/>
                    </a:lnTo>
                    <a:lnTo>
                      <a:pt x="57" y="555"/>
                    </a:lnTo>
                    <a:lnTo>
                      <a:pt x="59" y="555"/>
                    </a:lnTo>
                    <a:close/>
                    <a:moveTo>
                      <a:pt x="401" y="461"/>
                    </a:moveTo>
                    <a:lnTo>
                      <a:pt x="403" y="461"/>
                    </a:lnTo>
                    <a:lnTo>
                      <a:pt x="401" y="461"/>
                    </a:lnTo>
                    <a:lnTo>
                      <a:pt x="401" y="463"/>
                    </a:lnTo>
                    <a:lnTo>
                      <a:pt x="399" y="463"/>
                    </a:lnTo>
                    <a:lnTo>
                      <a:pt x="397" y="463"/>
                    </a:lnTo>
                    <a:lnTo>
                      <a:pt x="395" y="463"/>
                    </a:lnTo>
                    <a:lnTo>
                      <a:pt x="397" y="463"/>
                    </a:lnTo>
                    <a:lnTo>
                      <a:pt x="397" y="461"/>
                    </a:lnTo>
                    <a:lnTo>
                      <a:pt x="399" y="461"/>
                    </a:lnTo>
                    <a:lnTo>
                      <a:pt x="401" y="461"/>
                    </a:lnTo>
                    <a:close/>
                    <a:moveTo>
                      <a:pt x="403" y="459"/>
                    </a:moveTo>
                    <a:lnTo>
                      <a:pt x="403" y="461"/>
                    </a:lnTo>
                    <a:lnTo>
                      <a:pt x="401" y="461"/>
                    </a:lnTo>
                    <a:lnTo>
                      <a:pt x="403" y="461"/>
                    </a:lnTo>
                    <a:lnTo>
                      <a:pt x="401" y="461"/>
                    </a:lnTo>
                    <a:lnTo>
                      <a:pt x="403" y="459"/>
                    </a:lnTo>
                    <a:close/>
                    <a:moveTo>
                      <a:pt x="269" y="503"/>
                    </a:moveTo>
                    <a:lnTo>
                      <a:pt x="269" y="505"/>
                    </a:lnTo>
                    <a:lnTo>
                      <a:pt x="267" y="505"/>
                    </a:lnTo>
                    <a:lnTo>
                      <a:pt x="267" y="503"/>
                    </a:lnTo>
                    <a:lnTo>
                      <a:pt x="269" y="503"/>
                    </a:lnTo>
                    <a:close/>
                    <a:moveTo>
                      <a:pt x="388" y="465"/>
                    </a:moveTo>
                    <a:lnTo>
                      <a:pt x="386" y="465"/>
                    </a:lnTo>
                    <a:lnTo>
                      <a:pt x="388" y="465"/>
                    </a:lnTo>
                    <a:close/>
                    <a:moveTo>
                      <a:pt x="272" y="503"/>
                    </a:moveTo>
                    <a:lnTo>
                      <a:pt x="271" y="503"/>
                    </a:lnTo>
                    <a:lnTo>
                      <a:pt x="272" y="503"/>
                    </a:lnTo>
                    <a:lnTo>
                      <a:pt x="271" y="503"/>
                    </a:lnTo>
                    <a:lnTo>
                      <a:pt x="272" y="503"/>
                    </a:lnTo>
                    <a:lnTo>
                      <a:pt x="272" y="502"/>
                    </a:lnTo>
                    <a:lnTo>
                      <a:pt x="272" y="503"/>
                    </a:lnTo>
                    <a:close/>
                    <a:moveTo>
                      <a:pt x="265" y="505"/>
                    </a:moveTo>
                    <a:lnTo>
                      <a:pt x="263" y="505"/>
                    </a:lnTo>
                    <a:lnTo>
                      <a:pt x="265" y="505"/>
                    </a:lnTo>
                    <a:close/>
                    <a:moveTo>
                      <a:pt x="342" y="484"/>
                    </a:moveTo>
                    <a:lnTo>
                      <a:pt x="340" y="484"/>
                    </a:lnTo>
                    <a:lnTo>
                      <a:pt x="340" y="486"/>
                    </a:lnTo>
                    <a:lnTo>
                      <a:pt x="342" y="486"/>
                    </a:lnTo>
                    <a:lnTo>
                      <a:pt x="340" y="486"/>
                    </a:lnTo>
                    <a:lnTo>
                      <a:pt x="342" y="486"/>
                    </a:lnTo>
                    <a:lnTo>
                      <a:pt x="340" y="486"/>
                    </a:lnTo>
                    <a:lnTo>
                      <a:pt x="340" y="488"/>
                    </a:lnTo>
                    <a:lnTo>
                      <a:pt x="340" y="486"/>
                    </a:lnTo>
                    <a:lnTo>
                      <a:pt x="338" y="486"/>
                    </a:lnTo>
                    <a:lnTo>
                      <a:pt x="340" y="486"/>
                    </a:lnTo>
                    <a:lnTo>
                      <a:pt x="340" y="484"/>
                    </a:lnTo>
                    <a:lnTo>
                      <a:pt x="338" y="484"/>
                    </a:lnTo>
                    <a:lnTo>
                      <a:pt x="338" y="482"/>
                    </a:lnTo>
                    <a:lnTo>
                      <a:pt x="340" y="482"/>
                    </a:lnTo>
                    <a:lnTo>
                      <a:pt x="342" y="482"/>
                    </a:lnTo>
                    <a:lnTo>
                      <a:pt x="342" y="484"/>
                    </a:lnTo>
                    <a:close/>
                    <a:moveTo>
                      <a:pt x="401" y="459"/>
                    </a:moveTo>
                    <a:lnTo>
                      <a:pt x="401" y="461"/>
                    </a:lnTo>
                    <a:lnTo>
                      <a:pt x="399" y="461"/>
                    </a:lnTo>
                    <a:lnTo>
                      <a:pt x="401" y="461"/>
                    </a:lnTo>
                    <a:lnTo>
                      <a:pt x="401" y="459"/>
                    </a:lnTo>
                    <a:close/>
                    <a:moveTo>
                      <a:pt x="405" y="459"/>
                    </a:moveTo>
                    <a:lnTo>
                      <a:pt x="403" y="459"/>
                    </a:lnTo>
                    <a:lnTo>
                      <a:pt x="405" y="459"/>
                    </a:lnTo>
                    <a:close/>
                    <a:moveTo>
                      <a:pt x="359" y="475"/>
                    </a:moveTo>
                    <a:lnTo>
                      <a:pt x="361" y="475"/>
                    </a:lnTo>
                    <a:lnTo>
                      <a:pt x="361" y="477"/>
                    </a:lnTo>
                    <a:lnTo>
                      <a:pt x="361" y="475"/>
                    </a:lnTo>
                    <a:lnTo>
                      <a:pt x="361" y="477"/>
                    </a:lnTo>
                    <a:lnTo>
                      <a:pt x="361" y="478"/>
                    </a:lnTo>
                    <a:lnTo>
                      <a:pt x="359" y="478"/>
                    </a:lnTo>
                    <a:lnTo>
                      <a:pt x="357" y="478"/>
                    </a:lnTo>
                    <a:lnTo>
                      <a:pt x="355" y="478"/>
                    </a:lnTo>
                    <a:lnTo>
                      <a:pt x="355" y="477"/>
                    </a:lnTo>
                    <a:lnTo>
                      <a:pt x="357" y="477"/>
                    </a:lnTo>
                    <a:lnTo>
                      <a:pt x="359" y="475"/>
                    </a:lnTo>
                    <a:close/>
                    <a:moveTo>
                      <a:pt x="403" y="459"/>
                    </a:moveTo>
                    <a:lnTo>
                      <a:pt x="401" y="459"/>
                    </a:lnTo>
                    <a:lnTo>
                      <a:pt x="403" y="459"/>
                    </a:lnTo>
                    <a:lnTo>
                      <a:pt x="403" y="457"/>
                    </a:lnTo>
                    <a:lnTo>
                      <a:pt x="403" y="459"/>
                    </a:lnTo>
                    <a:close/>
                    <a:moveTo>
                      <a:pt x="397" y="459"/>
                    </a:moveTo>
                    <a:lnTo>
                      <a:pt x="399" y="459"/>
                    </a:lnTo>
                    <a:lnTo>
                      <a:pt x="397" y="459"/>
                    </a:lnTo>
                    <a:lnTo>
                      <a:pt x="399" y="459"/>
                    </a:lnTo>
                    <a:lnTo>
                      <a:pt x="401" y="459"/>
                    </a:lnTo>
                    <a:lnTo>
                      <a:pt x="399" y="459"/>
                    </a:lnTo>
                    <a:lnTo>
                      <a:pt x="397" y="461"/>
                    </a:lnTo>
                    <a:lnTo>
                      <a:pt x="397" y="459"/>
                    </a:lnTo>
                    <a:close/>
                    <a:moveTo>
                      <a:pt x="359" y="475"/>
                    </a:moveTo>
                    <a:lnTo>
                      <a:pt x="357" y="475"/>
                    </a:lnTo>
                    <a:lnTo>
                      <a:pt x="359" y="475"/>
                    </a:lnTo>
                    <a:lnTo>
                      <a:pt x="357" y="475"/>
                    </a:lnTo>
                    <a:lnTo>
                      <a:pt x="357" y="477"/>
                    </a:lnTo>
                    <a:lnTo>
                      <a:pt x="357" y="475"/>
                    </a:lnTo>
                    <a:lnTo>
                      <a:pt x="359" y="475"/>
                    </a:lnTo>
                    <a:close/>
                    <a:moveTo>
                      <a:pt x="403" y="457"/>
                    </a:moveTo>
                    <a:lnTo>
                      <a:pt x="403" y="459"/>
                    </a:lnTo>
                    <a:lnTo>
                      <a:pt x="401" y="459"/>
                    </a:lnTo>
                    <a:lnTo>
                      <a:pt x="401" y="457"/>
                    </a:lnTo>
                    <a:lnTo>
                      <a:pt x="403" y="457"/>
                    </a:lnTo>
                    <a:close/>
                    <a:moveTo>
                      <a:pt x="278" y="502"/>
                    </a:moveTo>
                    <a:lnTo>
                      <a:pt x="280" y="502"/>
                    </a:lnTo>
                    <a:lnTo>
                      <a:pt x="282" y="502"/>
                    </a:lnTo>
                    <a:lnTo>
                      <a:pt x="284" y="502"/>
                    </a:lnTo>
                    <a:lnTo>
                      <a:pt x="282" y="502"/>
                    </a:lnTo>
                    <a:lnTo>
                      <a:pt x="282" y="503"/>
                    </a:lnTo>
                    <a:lnTo>
                      <a:pt x="280" y="503"/>
                    </a:lnTo>
                    <a:lnTo>
                      <a:pt x="278" y="505"/>
                    </a:lnTo>
                    <a:lnTo>
                      <a:pt x="276" y="505"/>
                    </a:lnTo>
                    <a:lnTo>
                      <a:pt x="276" y="503"/>
                    </a:lnTo>
                    <a:lnTo>
                      <a:pt x="278" y="503"/>
                    </a:lnTo>
                    <a:lnTo>
                      <a:pt x="278" y="502"/>
                    </a:lnTo>
                    <a:lnTo>
                      <a:pt x="278" y="503"/>
                    </a:lnTo>
                    <a:lnTo>
                      <a:pt x="276" y="503"/>
                    </a:lnTo>
                    <a:lnTo>
                      <a:pt x="274" y="505"/>
                    </a:lnTo>
                    <a:lnTo>
                      <a:pt x="274" y="503"/>
                    </a:lnTo>
                    <a:lnTo>
                      <a:pt x="272" y="503"/>
                    </a:lnTo>
                    <a:lnTo>
                      <a:pt x="272" y="502"/>
                    </a:lnTo>
                    <a:lnTo>
                      <a:pt x="274" y="502"/>
                    </a:lnTo>
                    <a:lnTo>
                      <a:pt x="276" y="502"/>
                    </a:lnTo>
                    <a:lnTo>
                      <a:pt x="274" y="500"/>
                    </a:lnTo>
                    <a:lnTo>
                      <a:pt x="276" y="500"/>
                    </a:lnTo>
                    <a:lnTo>
                      <a:pt x="276" y="502"/>
                    </a:lnTo>
                    <a:lnTo>
                      <a:pt x="278" y="502"/>
                    </a:lnTo>
                    <a:close/>
                    <a:moveTo>
                      <a:pt x="363" y="473"/>
                    </a:moveTo>
                    <a:lnTo>
                      <a:pt x="365" y="471"/>
                    </a:lnTo>
                    <a:lnTo>
                      <a:pt x="365" y="473"/>
                    </a:lnTo>
                    <a:lnTo>
                      <a:pt x="365" y="475"/>
                    </a:lnTo>
                    <a:lnTo>
                      <a:pt x="363" y="475"/>
                    </a:lnTo>
                    <a:lnTo>
                      <a:pt x="365" y="475"/>
                    </a:lnTo>
                    <a:lnTo>
                      <a:pt x="363" y="475"/>
                    </a:lnTo>
                    <a:lnTo>
                      <a:pt x="365" y="475"/>
                    </a:lnTo>
                    <a:lnTo>
                      <a:pt x="365" y="477"/>
                    </a:lnTo>
                    <a:lnTo>
                      <a:pt x="363" y="477"/>
                    </a:lnTo>
                    <a:lnTo>
                      <a:pt x="363" y="478"/>
                    </a:lnTo>
                    <a:lnTo>
                      <a:pt x="363" y="477"/>
                    </a:lnTo>
                    <a:lnTo>
                      <a:pt x="363" y="478"/>
                    </a:lnTo>
                    <a:lnTo>
                      <a:pt x="361" y="478"/>
                    </a:lnTo>
                    <a:lnTo>
                      <a:pt x="361" y="477"/>
                    </a:lnTo>
                    <a:lnTo>
                      <a:pt x="361" y="475"/>
                    </a:lnTo>
                    <a:lnTo>
                      <a:pt x="363" y="475"/>
                    </a:lnTo>
                    <a:lnTo>
                      <a:pt x="363" y="473"/>
                    </a:lnTo>
                    <a:lnTo>
                      <a:pt x="361" y="473"/>
                    </a:lnTo>
                    <a:lnTo>
                      <a:pt x="363" y="473"/>
                    </a:lnTo>
                    <a:lnTo>
                      <a:pt x="363" y="471"/>
                    </a:lnTo>
                    <a:lnTo>
                      <a:pt x="363" y="473"/>
                    </a:lnTo>
                    <a:close/>
                    <a:moveTo>
                      <a:pt x="397" y="459"/>
                    </a:moveTo>
                    <a:lnTo>
                      <a:pt x="399" y="459"/>
                    </a:lnTo>
                    <a:lnTo>
                      <a:pt x="401" y="459"/>
                    </a:lnTo>
                    <a:lnTo>
                      <a:pt x="399" y="459"/>
                    </a:lnTo>
                    <a:lnTo>
                      <a:pt x="397" y="459"/>
                    </a:lnTo>
                    <a:lnTo>
                      <a:pt x="395" y="461"/>
                    </a:lnTo>
                    <a:lnTo>
                      <a:pt x="395" y="459"/>
                    </a:lnTo>
                    <a:lnTo>
                      <a:pt x="397" y="459"/>
                    </a:lnTo>
                    <a:close/>
                    <a:moveTo>
                      <a:pt x="336" y="480"/>
                    </a:moveTo>
                    <a:lnTo>
                      <a:pt x="338" y="480"/>
                    </a:lnTo>
                    <a:lnTo>
                      <a:pt x="338" y="482"/>
                    </a:lnTo>
                    <a:lnTo>
                      <a:pt x="340" y="482"/>
                    </a:lnTo>
                    <a:lnTo>
                      <a:pt x="338" y="482"/>
                    </a:lnTo>
                    <a:lnTo>
                      <a:pt x="336" y="480"/>
                    </a:lnTo>
                    <a:close/>
                    <a:moveTo>
                      <a:pt x="401" y="457"/>
                    </a:moveTo>
                    <a:lnTo>
                      <a:pt x="401" y="459"/>
                    </a:lnTo>
                    <a:lnTo>
                      <a:pt x="399" y="459"/>
                    </a:lnTo>
                    <a:lnTo>
                      <a:pt x="399" y="457"/>
                    </a:lnTo>
                    <a:lnTo>
                      <a:pt x="401" y="457"/>
                    </a:lnTo>
                    <a:close/>
                    <a:moveTo>
                      <a:pt x="365" y="471"/>
                    </a:moveTo>
                    <a:lnTo>
                      <a:pt x="363" y="471"/>
                    </a:lnTo>
                    <a:lnTo>
                      <a:pt x="365" y="471"/>
                    </a:lnTo>
                    <a:close/>
                    <a:moveTo>
                      <a:pt x="359" y="473"/>
                    </a:moveTo>
                    <a:lnTo>
                      <a:pt x="361" y="473"/>
                    </a:lnTo>
                    <a:lnTo>
                      <a:pt x="363" y="471"/>
                    </a:lnTo>
                    <a:lnTo>
                      <a:pt x="363" y="473"/>
                    </a:lnTo>
                    <a:lnTo>
                      <a:pt x="361" y="473"/>
                    </a:lnTo>
                    <a:lnTo>
                      <a:pt x="363" y="473"/>
                    </a:lnTo>
                    <a:lnTo>
                      <a:pt x="361" y="475"/>
                    </a:lnTo>
                    <a:lnTo>
                      <a:pt x="359" y="475"/>
                    </a:lnTo>
                    <a:lnTo>
                      <a:pt x="359" y="473"/>
                    </a:lnTo>
                    <a:close/>
                    <a:moveTo>
                      <a:pt x="401" y="457"/>
                    </a:moveTo>
                    <a:lnTo>
                      <a:pt x="399" y="457"/>
                    </a:lnTo>
                    <a:lnTo>
                      <a:pt x="401" y="457"/>
                    </a:lnTo>
                    <a:close/>
                    <a:moveTo>
                      <a:pt x="280" y="498"/>
                    </a:moveTo>
                    <a:lnTo>
                      <a:pt x="278" y="498"/>
                    </a:lnTo>
                    <a:lnTo>
                      <a:pt x="280" y="498"/>
                    </a:lnTo>
                    <a:close/>
                    <a:moveTo>
                      <a:pt x="278" y="498"/>
                    </a:moveTo>
                    <a:lnTo>
                      <a:pt x="280" y="498"/>
                    </a:lnTo>
                    <a:lnTo>
                      <a:pt x="278" y="498"/>
                    </a:lnTo>
                    <a:close/>
                    <a:moveTo>
                      <a:pt x="219" y="515"/>
                    </a:moveTo>
                    <a:lnTo>
                      <a:pt x="221" y="515"/>
                    </a:lnTo>
                    <a:lnTo>
                      <a:pt x="222" y="515"/>
                    </a:lnTo>
                    <a:lnTo>
                      <a:pt x="221" y="515"/>
                    </a:lnTo>
                    <a:lnTo>
                      <a:pt x="219" y="515"/>
                    </a:lnTo>
                    <a:close/>
                    <a:moveTo>
                      <a:pt x="221" y="515"/>
                    </a:moveTo>
                    <a:lnTo>
                      <a:pt x="219" y="515"/>
                    </a:lnTo>
                    <a:lnTo>
                      <a:pt x="221" y="515"/>
                    </a:lnTo>
                    <a:close/>
                    <a:moveTo>
                      <a:pt x="393" y="459"/>
                    </a:moveTo>
                    <a:lnTo>
                      <a:pt x="395" y="459"/>
                    </a:lnTo>
                    <a:lnTo>
                      <a:pt x="397" y="459"/>
                    </a:lnTo>
                    <a:lnTo>
                      <a:pt x="397" y="457"/>
                    </a:lnTo>
                    <a:lnTo>
                      <a:pt x="399" y="457"/>
                    </a:lnTo>
                    <a:lnTo>
                      <a:pt x="397" y="459"/>
                    </a:lnTo>
                    <a:lnTo>
                      <a:pt x="399" y="457"/>
                    </a:lnTo>
                    <a:lnTo>
                      <a:pt x="399" y="459"/>
                    </a:lnTo>
                    <a:lnTo>
                      <a:pt x="397" y="459"/>
                    </a:lnTo>
                    <a:lnTo>
                      <a:pt x="395" y="459"/>
                    </a:lnTo>
                    <a:lnTo>
                      <a:pt x="395" y="461"/>
                    </a:lnTo>
                    <a:lnTo>
                      <a:pt x="393" y="461"/>
                    </a:lnTo>
                    <a:lnTo>
                      <a:pt x="392" y="461"/>
                    </a:lnTo>
                    <a:lnTo>
                      <a:pt x="392" y="459"/>
                    </a:lnTo>
                    <a:lnTo>
                      <a:pt x="393" y="459"/>
                    </a:lnTo>
                    <a:lnTo>
                      <a:pt x="392" y="459"/>
                    </a:lnTo>
                    <a:lnTo>
                      <a:pt x="393" y="459"/>
                    </a:lnTo>
                    <a:close/>
                    <a:moveTo>
                      <a:pt x="267" y="502"/>
                    </a:moveTo>
                    <a:lnTo>
                      <a:pt x="269" y="502"/>
                    </a:lnTo>
                    <a:lnTo>
                      <a:pt x="271" y="502"/>
                    </a:lnTo>
                    <a:lnTo>
                      <a:pt x="272" y="502"/>
                    </a:lnTo>
                    <a:lnTo>
                      <a:pt x="271" y="503"/>
                    </a:lnTo>
                    <a:lnTo>
                      <a:pt x="271" y="502"/>
                    </a:lnTo>
                    <a:lnTo>
                      <a:pt x="269" y="502"/>
                    </a:lnTo>
                    <a:lnTo>
                      <a:pt x="267" y="502"/>
                    </a:lnTo>
                    <a:lnTo>
                      <a:pt x="265" y="502"/>
                    </a:lnTo>
                    <a:lnTo>
                      <a:pt x="267" y="502"/>
                    </a:lnTo>
                    <a:close/>
                    <a:moveTo>
                      <a:pt x="59" y="552"/>
                    </a:moveTo>
                    <a:lnTo>
                      <a:pt x="57" y="552"/>
                    </a:lnTo>
                    <a:lnTo>
                      <a:pt x="59" y="552"/>
                    </a:lnTo>
                    <a:close/>
                    <a:moveTo>
                      <a:pt x="363" y="471"/>
                    </a:moveTo>
                    <a:lnTo>
                      <a:pt x="365" y="469"/>
                    </a:lnTo>
                    <a:lnTo>
                      <a:pt x="365" y="471"/>
                    </a:lnTo>
                    <a:lnTo>
                      <a:pt x="363" y="471"/>
                    </a:lnTo>
                    <a:close/>
                    <a:moveTo>
                      <a:pt x="274" y="500"/>
                    </a:moveTo>
                    <a:lnTo>
                      <a:pt x="272" y="502"/>
                    </a:lnTo>
                    <a:lnTo>
                      <a:pt x="271" y="502"/>
                    </a:lnTo>
                    <a:lnTo>
                      <a:pt x="269" y="502"/>
                    </a:lnTo>
                    <a:lnTo>
                      <a:pt x="271" y="500"/>
                    </a:lnTo>
                    <a:lnTo>
                      <a:pt x="272" y="500"/>
                    </a:lnTo>
                    <a:lnTo>
                      <a:pt x="274" y="500"/>
                    </a:lnTo>
                    <a:close/>
                    <a:moveTo>
                      <a:pt x="267" y="502"/>
                    </a:moveTo>
                    <a:lnTo>
                      <a:pt x="269" y="502"/>
                    </a:lnTo>
                    <a:lnTo>
                      <a:pt x="271" y="503"/>
                    </a:lnTo>
                    <a:lnTo>
                      <a:pt x="271" y="505"/>
                    </a:lnTo>
                    <a:lnTo>
                      <a:pt x="269" y="505"/>
                    </a:lnTo>
                    <a:lnTo>
                      <a:pt x="269" y="503"/>
                    </a:lnTo>
                    <a:lnTo>
                      <a:pt x="267" y="503"/>
                    </a:lnTo>
                    <a:lnTo>
                      <a:pt x="267" y="505"/>
                    </a:lnTo>
                    <a:lnTo>
                      <a:pt x="265" y="505"/>
                    </a:lnTo>
                    <a:lnTo>
                      <a:pt x="265" y="503"/>
                    </a:lnTo>
                    <a:lnTo>
                      <a:pt x="267" y="503"/>
                    </a:lnTo>
                    <a:lnTo>
                      <a:pt x="267" y="505"/>
                    </a:lnTo>
                    <a:lnTo>
                      <a:pt x="265" y="503"/>
                    </a:lnTo>
                    <a:lnTo>
                      <a:pt x="263" y="503"/>
                    </a:lnTo>
                    <a:lnTo>
                      <a:pt x="263" y="502"/>
                    </a:lnTo>
                    <a:lnTo>
                      <a:pt x="265" y="502"/>
                    </a:lnTo>
                    <a:lnTo>
                      <a:pt x="267" y="502"/>
                    </a:lnTo>
                    <a:close/>
                    <a:moveTo>
                      <a:pt x="259" y="505"/>
                    </a:moveTo>
                    <a:lnTo>
                      <a:pt x="257" y="505"/>
                    </a:lnTo>
                    <a:lnTo>
                      <a:pt x="255" y="505"/>
                    </a:lnTo>
                    <a:lnTo>
                      <a:pt x="255" y="503"/>
                    </a:lnTo>
                    <a:lnTo>
                      <a:pt x="257" y="503"/>
                    </a:lnTo>
                    <a:lnTo>
                      <a:pt x="259" y="503"/>
                    </a:lnTo>
                    <a:lnTo>
                      <a:pt x="259" y="505"/>
                    </a:lnTo>
                    <a:close/>
                    <a:moveTo>
                      <a:pt x="253" y="505"/>
                    </a:moveTo>
                    <a:lnTo>
                      <a:pt x="253" y="503"/>
                    </a:lnTo>
                    <a:lnTo>
                      <a:pt x="253" y="505"/>
                    </a:lnTo>
                    <a:close/>
                    <a:moveTo>
                      <a:pt x="397" y="457"/>
                    </a:moveTo>
                    <a:lnTo>
                      <a:pt x="395" y="459"/>
                    </a:lnTo>
                    <a:lnTo>
                      <a:pt x="395" y="457"/>
                    </a:lnTo>
                    <a:lnTo>
                      <a:pt x="397" y="457"/>
                    </a:lnTo>
                    <a:close/>
                    <a:moveTo>
                      <a:pt x="399" y="457"/>
                    </a:moveTo>
                    <a:lnTo>
                      <a:pt x="401" y="457"/>
                    </a:lnTo>
                    <a:lnTo>
                      <a:pt x="399" y="457"/>
                    </a:lnTo>
                    <a:lnTo>
                      <a:pt x="397" y="457"/>
                    </a:lnTo>
                    <a:lnTo>
                      <a:pt x="397" y="459"/>
                    </a:lnTo>
                    <a:lnTo>
                      <a:pt x="395" y="459"/>
                    </a:lnTo>
                    <a:lnTo>
                      <a:pt x="397" y="457"/>
                    </a:lnTo>
                    <a:lnTo>
                      <a:pt x="399" y="457"/>
                    </a:lnTo>
                    <a:close/>
                    <a:moveTo>
                      <a:pt x="367" y="469"/>
                    </a:moveTo>
                    <a:lnTo>
                      <a:pt x="367" y="467"/>
                    </a:lnTo>
                    <a:lnTo>
                      <a:pt x="368" y="467"/>
                    </a:lnTo>
                    <a:lnTo>
                      <a:pt x="368" y="469"/>
                    </a:lnTo>
                    <a:lnTo>
                      <a:pt x="367" y="469"/>
                    </a:lnTo>
                    <a:lnTo>
                      <a:pt x="368" y="469"/>
                    </a:lnTo>
                    <a:lnTo>
                      <a:pt x="368" y="471"/>
                    </a:lnTo>
                    <a:lnTo>
                      <a:pt x="368" y="469"/>
                    </a:lnTo>
                    <a:lnTo>
                      <a:pt x="367" y="469"/>
                    </a:lnTo>
                    <a:lnTo>
                      <a:pt x="368" y="469"/>
                    </a:lnTo>
                    <a:lnTo>
                      <a:pt x="368" y="467"/>
                    </a:lnTo>
                    <a:lnTo>
                      <a:pt x="370" y="467"/>
                    </a:lnTo>
                    <a:lnTo>
                      <a:pt x="372" y="469"/>
                    </a:lnTo>
                    <a:lnTo>
                      <a:pt x="370" y="469"/>
                    </a:lnTo>
                    <a:lnTo>
                      <a:pt x="370" y="471"/>
                    </a:lnTo>
                    <a:lnTo>
                      <a:pt x="372" y="471"/>
                    </a:lnTo>
                    <a:lnTo>
                      <a:pt x="370" y="471"/>
                    </a:lnTo>
                    <a:lnTo>
                      <a:pt x="370" y="473"/>
                    </a:lnTo>
                    <a:lnTo>
                      <a:pt x="368" y="473"/>
                    </a:lnTo>
                    <a:lnTo>
                      <a:pt x="368" y="475"/>
                    </a:lnTo>
                    <a:lnTo>
                      <a:pt x="367" y="475"/>
                    </a:lnTo>
                    <a:lnTo>
                      <a:pt x="367" y="477"/>
                    </a:lnTo>
                    <a:lnTo>
                      <a:pt x="368" y="477"/>
                    </a:lnTo>
                    <a:lnTo>
                      <a:pt x="367" y="477"/>
                    </a:lnTo>
                    <a:lnTo>
                      <a:pt x="367" y="478"/>
                    </a:lnTo>
                    <a:lnTo>
                      <a:pt x="365" y="478"/>
                    </a:lnTo>
                    <a:lnTo>
                      <a:pt x="365" y="477"/>
                    </a:lnTo>
                    <a:lnTo>
                      <a:pt x="365" y="475"/>
                    </a:lnTo>
                    <a:lnTo>
                      <a:pt x="365" y="473"/>
                    </a:lnTo>
                    <a:lnTo>
                      <a:pt x="365" y="475"/>
                    </a:lnTo>
                    <a:lnTo>
                      <a:pt x="365" y="473"/>
                    </a:lnTo>
                    <a:lnTo>
                      <a:pt x="365" y="471"/>
                    </a:lnTo>
                    <a:lnTo>
                      <a:pt x="363" y="471"/>
                    </a:lnTo>
                    <a:lnTo>
                      <a:pt x="365" y="471"/>
                    </a:lnTo>
                    <a:lnTo>
                      <a:pt x="365" y="469"/>
                    </a:lnTo>
                    <a:lnTo>
                      <a:pt x="367" y="469"/>
                    </a:lnTo>
                    <a:close/>
                    <a:moveTo>
                      <a:pt x="249" y="505"/>
                    </a:moveTo>
                    <a:lnTo>
                      <a:pt x="251" y="505"/>
                    </a:lnTo>
                    <a:lnTo>
                      <a:pt x="249" y="505"/>
                    </a:lnTo>
                    <a:close/>
                    <a:moveTo>
                      <a:pt x="303" y="488"/>
                    </a:moveTo>
                    <a:lnTo>
                      <a:pt x="301" y="488"/>
                    </a:lnTo>
                    <a:lnTo>
                      <a:pt x="303" y="488"/>
                    </a:lnTo>
                    <a:close/>
                    <a:moveTo>
                      <a:pt x="367" y="467"/>
                    </a:moveTo>
                    <a:lnTo>
                      <a:pt x="365" y="467"/>
                    </a:lnTo>
                    <a:lnTo>
                      <a:pt x="367" y="467"/>
                    </a:lnTo>
                    <a:close/>
                    <a:moveTo>
                      <a:pt x="265" y="500"/>
                    </a:moveTo>
                    <a:lnTo>
                      <a:pt x="267" y="500"/>
                    </a:lnTo>
                    <a:lnTo>
                      <a:pt x="265" y="502"/>
                    </a:lnTo>
                    <a:lnTo>
                      <a:pt x="263" y="502"/>
                    </a:lnTo>
                    <a:lnTo>
                      <a:pt x="263" y="500"/>
                    </a:lnTo>
                    <a:lnTo>
                      <a:pt x="265" y="500"/>
                    </a:lnTo>
                    <a:lnTo>
                      <a:pt x="263" y="500"/>
                    </a:lnTo>
                    <a:lnTo>
                      <a:pt x="265" y="500"/>
                    </a:lnTo>
                    <a:close/>
                    <a:moveTo>
                      <a:pt x="209" y="515"/>
                    </a:moveTo>
                    <a:lnTo>
                      <a:pt x="207" y="515"/>
                    </a:lnTo>
                    <a:lnTo>
                      <a:pt x="209" y="515"/>
                    </a:lnTo>
                    <a:close/>
                    <a:moveTo>
                      <a:pt x="401" y="453"/>
                    </a:moveTo>
                    <a:lnTo>
                      <a:pt x="401" y="455"/>
                    </a:lnTo>
                    <a:lnTo>
                      <a:pt x="399" y="455"/>
                    </a:lnTo>
                    <a:lnTo>
                      <a:pt x="401" y="455"/>
                    </a:lnTo>
                    <a:lnTo>
                      <a:pt x="399" y="455"/>
                    </a:lnTo>
                    <a:lnTo>
                      <a:pt x="399" y="453"/>
                    </a:lnTo>
                    <a:lnTo>
                      <a:pt x="401" y="453"/>
                    </a:lnTo>
                    <a:close/>
                    <a:moveTo>
                      <a:pt x="397" y="455"/>
                    </a:moveTo>
                    <a:lnTo>
                      <a:pt x="399" y="455"/>
                    </a:lnTo>
                    <a:lnTo>
                      <a:pt x="397" y="455"/>
                    </a:lnTo>
                    <a:lnTo>
                      <a:pt x="399" y="455"/>
                    </a:lnTo>
                    <a:lnTo>
                      <a:pt x="397" y="455"/>
                    </a:lnTo>
                    <a:close/>
                    <a:moveTo>
                      <a:pt x="370" y="465"/>
                    </a:moveTo>
                    <a:lnTo>
                      <a:pt x="370" y="467"/>
                    </a:lnTo>
                    <a:lnTo>
                      <a:pt x="368" y="467"/>
                    </a:lnTo>
                    <a:lnTo>
                      <a:pt x="370" y="467"/>
                    </a:lnTo>
                    <a:lnTo>
                      <a:pt x="368" y="467"/>
                    </a:lnTo>
                    <a:lnTo>
                      <a:pt x="367" y="467"/>
                    </a:lnTo>
                    <a:lnTo>
                      <a:pt x="365" y="467"/>
                    </a:lnTo>
                    <a:lnTo>
                      <a:pt x="365" y="469"/>
                    </a:lnTo>
                    <a:lnTo>
                      <a:pt x="365" y="467"/>
                    </a:lnTo>
                    <a:lnTo>
                      <a:pt x="367" y="467"/>
                    </a:lnTo>
                    <a:lnTo>
                      <a:pt x="367" y="465"/>
                    </a:lnTo>
                    <a:lnTo>
                      <a:pt x="368" y="465"/>
                    </a:lnTo>
                    <a:lnTo>
                      <a:pt x="370" y="465"/>
                    </a:lnTo>
                    <a:close/>
                    <a:moveTo>
                      <a:pt x="282" y="496"/>
                    </a:moveTo>
                    <a:lnTo>
                      <a:pt x="282" y="494"/>
                    </a:lnTo>
                    <a:lnTo>
                      <a:pt x="284" y="494"/>
                    </a:lnTo>
                    <a:lnTo>
                      <a:pt x="282" y="496"/>
                    </a:lnTo>
                    <a:close/>
                    <a:moveTo>
                      <a:pt x="393" y="455"/>
                    </a:moveTo>
                    <a:lnTo>
                      <a:pt x="395" y="455"/>
                    </a:lnTo>
                    <a:lnTo>
                      <a:pt x="393" y="455"/>
                    </a:lnTo>
                    <a:lnTo>
                      <a:pt x="393" y="457"/>
                    </a:lnTo>
                    <a:lnTo>
                      <a:pt x="392" y="457"/>
                    </a:lnTo>
                    <a:lnTo>
                      <a:pt x="393" y="455"/>
                    </a:lnTo>
                    <a:close/>
                    <a:moveTo>
                      <a:pt x="282" y="492"/>
                    </a:moveTo>
                    <a:lnTo>
                      <a:pt x="282" y="494"/>
                    </a:lnTo>
                    <a:lnTo>
                      <a:pt x="282" y="492"/>
                    </a:lnTo>
                    <a:lnTo>
                      <a:pt x="284" y="492"/>
                    </a:lnTo>
                    <a:lnTo>
                      <a:pt x="282" y="492"/>
                    </a:lnTo>
                    <a:close/>
                    <a:moveTo>
                      <a:pt x="390" y="457"/>
                    </a:moveTo>
                    <a:lnTo>
                      <a:pt x="392" y="457"/>
                    </a:lnTo>
                    <a:lnTo>
                      <a:pt x="390" y="457"/>
                    </a:lnTo>
                    <a:lnTo>
                      <a:pt x="390" y="459"/>
                    </a:lnTo>
                    <a:lnTo>
                      <a:pt x="388" y="459"/>
                    </a:lnTo>
                    <a:lnTo>
                      <a:pt x="390" y="457"/>
                    </a:lnTo>
                    <a:close/>
                    <a:moveTo>
                      <a:pt x="403" y="453"/>
                    </a:moveTo>
                    <a:lnTo>
                      <a:pt x="401" y="453"/>
                    </a:lnTo>
                    <a:lnTo>
                      <a:pt x="403" y="452"/>
                    </a:lnTo>
                    <a:lnTo>
                      <a:pt x="403" y="453"/>
                    </a:lnTo>
                    <a:close/>
                    <a:moveTo>
                      <a:pt x="392" y="457"/>
                    </a:moveTo>
                    <a:lnTo>
                      <a:pt x="390" y="457"/>
                    </a:lnTo>
                    <a:lnTo>
                      <a:pt x="392" y="457"/>
                    </a:lnTo>
                    <a:close/>
                    <a:moveTo>
                      <a:pt x="340" y="475"/>
                    </a:moveTo>
                    <a:lnTo>
                      <a:pt x="342" y="475"/>
                    </a:lnTo>
                    <a:lnTo>
                      <a:pt x="340" y="475"/>
                    </a:lnTo>
                    <a:lnTo>
                      <a:pt x="340" y="477"/>
                    </a:lnTo>
                    <a:lnTo>
                      <a:pt x="338" y="477"/>
                    </a:lnTo>
                    <a:lnTo>
                      <a:pt x="338" y="478"/>
                    </a:lnTo>
                    <a:lnTo>
                      <a:pt x="338" y="480"/>
                    </a:lnTo>
                    <a:lnTo>
                      <a:pt x="340" y="480"/>
                    </a:lnTo>
                    <a:lnTo>
                      <a:pt x="338" y="480"/>
                    </a:lnTo>
                    <a:lnTo>
                      <a:pt x="336" y="480"/>
                    </a:lnTo>
                    <a:lnTo>
                      <a:pt x="336" y="478"/>
                    </a:lnTo>
                    <a:lnTo>
                      <a:pt x="338" y="478"/>
                    </a:lnTo>
                    <a:lnTo>
                      <a:pt x="338" y="477"/>
                    </a:lnTo>
                    <a:lnTo>
                      <a:pt x="340" y="475"/>
                    </a:lnTo>
                    <a:close/>
                    <a:moveTo>
                      <a:pt x="376" y="461"/>
                    </a:moveTo>
                    <a:lnTo>
                      <a:pt x="376" y="463"/>
                    </a:lnTo>
                    <a:lnTo>
                      <a:pt x="376" y="461"/>
                    </a:lnTo>
                    <a:lnTo>
                      <a:pt x="376" y="463"/>
                    </a:lnTo>
                    <a:lnTo>
                      <a:pt x="374" y="463"/>
                    </a:lnTo>
                    <a:lnTo>
                      <a:pt x="376" y="461"/>
                    </a:lnTo>
                    <a:close/>
                    <a:moveTo>
                      <a:pt x="269" y="496"/>
                    </a:moveTo>
                    <a:lnTo>
                      <a:pt x="267" y="498"/>
                    </a:lnTo>
                    <a:lnTo>
                      <a:pt x="267" y="496"/>
                    </a:lnTo>
                    <a:lnTo>
                      <a:pt x="269" y="496"/>
                    </a:lnTo>
                    <a:close/>
                    <a:moveTo>
                      <a:pt x="242" y="503"/>
                    </a:moveTo>
                    <a:lnTo>
                      <a:pt x="244" y="503"/>
                    </a:lnTo>
                    <a:lnTo>
                      <a:pt x="246" y="503"/>
                    </a:lnTo>
                    <a:lnTo>
                      <a:pt x="244" y="503"/>
                    </a:lnTo>
                    <a:lnTo>
                      <a:pt x="246" y="503"/>
                    </a:lnTo>
                    <a:lnTo>
                      <a:pt x="244" y="503"/>
                    </a:lnTo>
                    <a:lnTo>
                      <a:pt x="242" y="503"/>
                    </a:lnTo>
                    <a:close/>
                    <a:moveTo>
                      <a:pt x="399" y="453"/>
                    </a:moveTo>
                    <a:lnTo>
                      <a:pt x="401" y="453"/>
                    </a:lnTo>
                    <a:lnTo>
                      <a:pt x="401" y="452"/>
                    </a:lnTo>
                    <a:lnTo>
                      <a:pt x="401" y="453"/>
                    </a:lnTo>
                    <a:lnTo>
                      <a:pt x="399" y="453"/>
                    </a:lnTo>
                    <a:lnTo>
                      <a:pt x="397" y="453"/>
                    </a:lnTo>
                    <a:lnTo>
                      <a:pt x="399" y="455"/>
                    </a:lnTo>
                    <a:lnTo>
                      <a:pt x="397" y="455"/>
                    </a:lnTo>
                    <a:lnTo>
                      <a:pt x="395" y="455"/>
                    </a:lnTo>
                    <a:lnTo>
                      <a:pt x="397" y="453"/>
                    </a:lnTo>
                    <a:lnTo>
                      <a:pt x="399" y="453"/>
                    </a:lnTo>
                    <a:close/>
                    <a:moveTo>
                      <a:pt x="403" y="452"/>
                    </a:moveTo>
                    <a:lnTo>
                      <a:pt x="401" y="452"/>
                    </a:lnTo>
                    <a:lnTo>
                      <a:pt x="401" y="453"/>
                    </a:lnTo>
                    <a:lnTo>
                      <a:pt x="401" y="452"/>
                    </a:lnTo>
                    <a:lnTo>
                      <a:pt x="403" y="452"/>
                    </a:lnTo>
                    <a:close/>
                    <a:moveTo>
                      <a:pt x="286" y="490"/>
                    </a:moveTo>
                    <a:lnTo>
                      <a:pt x="284" y="492"/>
                    </a:lnTo>
                    <a:lnTo>
                      <a:pt x="284" y="490"/>
                    </a:lnTo>
                    <a:lnTo>
                      <a:pt x="286" y="490"/>
                    </a:lnTo>
                    <a:close/>
                    <a:moveTo>
                      <a:pt x="259" y="500"/>
                    </a:moveTo>
                    <a:lnTo>
                      <a:pt x="261" y="500"/>
                    </a:lnTo>
                    <a:lnTo>
                      <a:pt x="263" y="500"/>
                    </a:lnTo>
                    <a:lnTo>
                      <a:pt x="263" y="502"/>
                    </a:lnTo>
                    <a:lnTo>
                      <a:pt x="263" y="500"/>
                    </a:lnTo>
                    <a:lnTo>
                      <a:pt x="261" y="500"/>
                    </a:lnTo>
                    <a:lnTo>
                      <a:pt x="259" y="500"/>
                    </a:lnTo>
                    <a:close/>
                    <a:moveTo>
                      <a:pt x="397" y="453"/>
                    </a:moveTo>
                    <a:lnTo>
                      <a:pt x="395" y="453"/>
                    </a:lnTo>
                    <a:lnTo>
                      <a:pt x="397" y="453"/>
                    </a:lnTo>
                    <a:close/>
                    <a:moveTo>
                      <a:pt x="249" y="502"/>
                    </a:moveTo>
                    <a:lnTo>
                      <a:pt x="251" y="502"/>
                    </a:lnTo>
                    <a:lnTo>
                      <a:pt x="251" y="503"/>
                    </a:lnTo>
                    <a:lnTo>
                      <a:pt x="251" y="502"/>
                    </a:lnTo>
                    <a:lnTo>
                      <a:pt x="253" y="502"/>
                    </a:lnTo>
                    <a:lnTo>
                      <a:pt x="251" y="502"/>
                    </a:lnTo>
                    <a:lnTo>
                      <a:pt x="253" y="502"/>
                    </a:lnTo>
                    <a:lnTo>
                      <a:pt x="255" y="502"/>
                    </a:lnTo>
                    <a:lnTo>
                      <a:pt x="257" y="502"/>
                    </a:lnTo>
                    <a:lnTo>
                      <a:pt x="259" y="502"/>
                    </a:lnTo>
                    <a:lnTo>
                      <a:pt x="261" y="502"/>
                    </a:lnTo>
                    <a:lnTo>
                      <a:pt x="263" y="502"/>
                    </a:lnTo>
                    <a:lnTo>
                      <a:pt x="263" y="503"/>
                    </a:lnTo>
                    <a:lnTo>
                      <a:pt x="265" y="503"/>
                    </a:lnTo>
                    <a:lnTo>
                      <a:pt x="267" y="505"/>
                    </a:lnTo>
                    <a:lnTo>
                      <a:pt x="263" y="505"/>
                    </a:lnTo>
                    <a:lnTo>
                      <a:pt x="261" y="505"/>
                    </a:lnTo>
                    <a:lnTo>
                      <a:pt x="261" y="503"/>
                    </a:lnTo>
                    <a:lnTo>
                      <a:pt x="261" y="505"/>
                    </a:lnTo>
                    <a:lnTo>
                      <a:pt x="261" y="503"/>
                    </a:lnTo>
                    <a:lnTo>
                      <a:pt x="259" y="503"/>
                    </a:lnTo>
                    <a:lnTo>
                      <a:pt x="257" y="503"/>
                    </a:lnTo>
                    <a:lnTo>
                      <a:pt x="255" y="503"/>
                    </a:lnTo>
                    <a:lnTo>
                      <a:pt x="253" y="503"/>
                    </a:lnTo>
                    <a:lnTo>
                      <a:pt x="253" y="505"/>
                    </a:lnTo>
                    <a:lnTo>
                      <a:pt x="251" y="505"/>
                    </a:lnTo>
                    <a:lnTo>
                      <a:pt x="251" y="503"/>
                    </a:lnTo>
                    <a:lnTo>
                      <a:pt x="249" y="503"/>
                    </a:lnTo>
                    <a:lnTo>
                      <a:pt x="247" y="505"/>
                    </a:lnTo>
                    <a:lnTo>
                      <a:pt x="247" y="503"/>
                    </a:lnTo>
                    <a:lnTo>
                      <a:pt x="246" y="503"/>
                    </a:lnTo>
                    <a:lnTo>
                      <a:pt x="247" y="503"/>
                    </a:lnTo>
                    <a:lnTo>
                      <a:pt x="247" y="502"/>
                    </a:lnTo>
                    <a:lnTo>
                      <a:pt x="249" y="502"/>
                    </a:lnTo>
                    <a:close/>
                    <a:moveTo>
                      <a:pt x="392" y="455"/>
                    </a:moveTo>
                    <a:lnTo>
                      <a:pt x="390" y="455"/>
                    </a:lnTo>
                    <a:lnTo>
                      <a:pt x="392" y="455"/>
                    </a:lnTo>
                    <a:lnTo>
                      <a:pt x="390" y="455"/>
                    </a:lnTo>
                    <a:lnTo>
                      <a:pt x="392" y="455"/>
                    </a:lnTo>
                    <a:close/>
                    <a:moveTo>
                      <a:pt x="393" y="453"/>
                    </a:moveTo>
                    <a:lnTo>
                      <a:pt x="393" y="455"/>
                    </a:lnTo>
                    <a:lnTo>
                      <a:pt x="392" y="455"/>
                    </a:lnTo>
                    <a:lnTo>
                      <a:pt x="393" y="455"/>
                    </a:lnTo>
                    <a:lnTo>
                      <a:pt x="393" y="453"/>
                    </a:lnTo>
                    <a:close/>
                    <a:moveTo>
                      <a:pt x="63" y="548"/>
                    </a:moveTo>
                    <a:lnTo>
                      <a:pt x="63" y="546"/>
                    </a:lnTo>
                    <a:lnTo>
                      <a:pt x="63" y="548"/>
                    </a:lnTo>
                    <a:close/>
                    <a:moveTo>
                      <a:pt x="292" y="488"/>
                    </a:moveTo>
                    <a:lnTo>
                      <a:pt x="294" y="488"/>
                    </a:lnTo>
                    <a:lnTo>
                      <a:pt x="295" y="488"/>
                    </a:lnTo>
                    <a:lnTo>
                      <a:pt x="297" y="488"/>
                    </a:lnTo>
                    <a:lnTo>
                      <a:pt x="299" y="486"/>
                    </a:lnTo>
                    <a:lnTo>
                      <a:pt x="301" y="486"/>
                    </a:lnTo>
                    <a:lnTo>
                      <a:pt x="303" y="486"/>
                    </a:lnTo>
                    <a:lnTo>
                      <a:pt x="305" y="486"/>
                    </a:lnTo>
                    <a:lnTo>
                      <a:pt x="307" y="486"/>
                    </a:lnTo>
                    <a:lnTo>
                      <a:pt x="307" y="484"/>
                    </a:lnTo>
                    <a:lnTo>
                      <a:pt x="309" y="484"/>
                    </a:lnTo>
                    <a:lnTo>
                      <a:pt x="309" y="482"/>
                    </a:lnTo>
                    <a:lnTo>
                      <a:pt x="311" y="482"/>
                    </a:lnTo>
                    <a:lnTo>
                      <a:pt x="313" y="482"/>
                    </a:lnTo>
                    <a:lnTo>
                      <a:pt x="313" y="484"/>
                    </a:lnTo>
                    <a:lnTo>
                      <a:pt x="315" y="484"/>
                    </a:lnTo>
                    <a:lnTo>
                      <a:pt x="313" y="484"/>
                    </a:lnTo>
                    <a:lnTo>
                      <a:pt x="311" y="484"/>
                    </a:lnTo>
                    <a:lnTo>
                      <a:pt x="309" y="484"/>
                    </a:lnTo>
                    <a:lnTo>
                      <a:pt x="307" y="484"/>
                    </a:lnTo>
                    <a:lnTo>
                      <a:pt x="307" y="486"/>
                    </a:lnTo>
                    <a:lnTo>
                      <a:pt x="305" y="486"/>
                    </a:lnTo>
                    <a:lnTo>
                      <a:pt x="305" y="488"/>
                    </a:lnTo>
                    <a:lnTo>
                      <a:pt x="303" y="488"/>
                    </a:lnTo>
                    <a:lnTo>
                      <a:pt x="303" y="486"/>
                    </a:lnTo>
                    <a:lnTo>
                      <a:pt x="303" y="488"/>
                    </a:lnTo>
                    <a:lnTo>
                      <a:pt x="301" y="488"/>
                    </a:lnTo>
                    <a:lnTo>
                      <a:pt x="299" y="488"/>
                    </a:lnTo>
                    <a:lnTo>
                      <a:pt x="297" y="488"/>
                    </a:lnTo>
                    <a:lnTo>
                      <a:pt x="297" y="490"/>
                    </a:lnTo>
                    <a:lnTo>
                      <a:pt x="295" y="490"/>
                    </a:lnTo>
                    <a:lnTo>
                      <a:pt x="295" y="488"/>
                    </a:lnTo>
                    <a:lnTo>
                      <a:pt x="295" y="490"/>
                    </a:lnTo>
                    <a:lnTo>
                      <a:pt x="295" y="488"/>
                    </a:lnTo>
                    <a:lnTo>
                      <a:pt x="294" y="490"/>
                    </a:lnTo>
                    <a:lnTo>
                      <a:pt x="292" y="490"/>
                    </a:lnTo>
                    <a:lnTo>
                      <a:pt x="292" y="488"/>
                    </a:lnTo>
                    <a:lnTo>
                      <a:pt x="290" y="488"/>
                    </a:lnTo>
                    <a:lnTo>
                      <a:pt x="292" y="488"/>
                    </a:lnTo>
                    <a:close/>
                    <a:moveTo>
                      <a:pt x="251" y="502"/>
                    </a:moveTo>
                    <a:lnTo>
                      <a:pt x="249" y="502"/>
                    </a:lnTo>
                    <a:lnTo>
                      <a:pt x="251" y="502"/>
                    </a:lnTo>
                    <a:lnTo>
                      <a:pt x="251" y="500"/>
                    </a:lnTo>
                    <a:lnTo>
                      <a:pt x="251" y="502"/>
                    </a:lnTo>
                    <a:close/>
                    <a:moveTo>
                      <a:pt x="399" y="453"/>
                    </a:moveTo>
                    <a:lnTo>
                      <a:pt x="397" y="453"/>
                    </a:lnTo>
                    <a:lnTo>
                      <a:pt x="399" y="452"/>
                    </a:lnTo>
                    <a:lnTo>
                      <a:pt x="401" y="452"/>
                    </a:lnTo>
                    <a:lnTo>
                      <a:pt x="401" y="453"/>
                    </a:lnTo>
                    <a:lnTo>
                      <a:pt x="401" y="452"/>
                    </a:lnTo>
                    <a:lnTo>
                      <a:pt x="401" y="453"/>
                    </a:lnTo>
                    <a:lnTo>
                      <a:pt x="399" y="453"/>
                    </a:lnTo>
                    <a:close/>
                    <a:moveTo>
                      <a:pt x="397" y="453"/>
                    </a:moveTo>
                    <a:lnTo>
                      <a:pt x="399" y="452"/>
                    </a:lnTo>
                    <a:lnTo>
                      <a:pt x="397" y="453"/>
                    </a:lnTo>
                    <a:close/>
                    <a:moveTo>
                      <a:pt x="393" y="453"/>
                    </a:moveTo>
                    <a:lnTo>
                      <a:pt x="393" y="455"/>
                    </a:lnTo>
                    <a:lnTo>
                      <a:pt x="393" y="453"/>
                    </a:lnTo>
                    <a:close/>
                    <a:moveTo>
                      <a:pt x="399" y="452"/>
                    </a:moveTo>
                    <a:lnTo>
                      <a:pt x="401" y="452"/>
                    </a:lnTo>
                    <a:lnTo>
                      <a:pt x="399" y="452"/>
                    </a:lnTo>
                    <a:close/>
                    <a:moveTo>
                      <a:pt x="257" y="498"/>
                    </a:moveTo>
                    <a:lnTo>
                      <a:pt x="259" y="500"/>
                    </a:lnTo>
                    <a:lnTo>
                      <a:pt x="257" y="500"/>
                    </a:lnTo>
                    <a:lnTo>
                      <a:pt x="255" y="500"/>
                    </a:lnTo>
                    <a:lnTo>
                      <a:pt x="255" y="498"/>
                    </a:lnTo>
                    <a:lnTo>
                      <a:pt x="257" y="498"/>
                    </a:lnTo>
                    <a:close/>
                    <a:moveTo>
                      <a:pt x="392" y="455"/>
                    </a:moveTo>
                    <a:lnTo>
                      <a:pt x="392" y="453"/>
                    </a:lnTo>
                    <a:lnTo>
                      <a:pt x="392" y="455"/>
                    </a:lnTo>
                    <a:close/>
                    <a:moveTo>
                      <a:pt x="397" y="452"/>
                    </a:moveTo>
                    <a:lnTo>
                      <a:pt x="399" y="452"/>
                    </a:lnTo>
                    <a:lnTo>
                      <a:pt x="397" y="452"/>
                    </a:lnTo>
                    <a:lnTo>
                      <a:pt x="399" y="452"/>
                    </a:lnTo>
                    <a:lnTo>
                      <a:pt x="401" y="452"/>
                    </a:lnTo>
                    <a:lnTo>
                      <a:pt x="399" y="452"/>
                    </a:lnTo>
                    <a:lnTo>
                      <a:pt x="397" y="453"/>
                    </a:lnTo>
                    <a:lnTo>
                      <a:pt x="395" y="453"/>
                    </a:lnTo>
                    <a:lnTo>
                      <a:pt x="397" y="453"/>
                    </a:lnTo>
                    <a:lnTo>
                      <a:pt x="395" y="453"/>
                    </a:lnTo>
                    <a:lnTo>
                      <a:pt x="397" y="452"/>
                    </a:lnTo>
                    <a:close/>
                    <a:moveTo>
                      <a:pt x="392" y="453"/>
                    </a:moveTo>
                    <a:lnTo>
                      <a:pt x="392" y="455"/>
                    </a:lnTo>
                    <a:lnTo>
                      <a:pt x="392" y="453"/>
                    </a:lnTo>
                    <a:lnTo>
                      <a:pt x="392" y="455"/>
                    </a:lnTo>
                    <a:lnTo>
                      <a:pt x="390" y="455"/>
                    </a:lnTo>
                    <a:lnTo>
                      <a:pt x="392" y="453"/>
                    </a:lnTo>
                    <a:close/>
                    <a:moveTo>
                      <a:pt x="63" y="544"/>
                    </a:moveTo>
                    <a:lnTo>
                      <a:pt x="63" y="546"/>
                    </a:lnTo>
                    <a:lnTo>
                      <a:pt x="63" y="544"/>
                    </a:lnTo>
                    <a:close/>
                    <a:moveTo>
                      <a:pt x="288" y="488"/>
                    </a:moveTo>
                    <a:lnTo>
                      <a:pt x="290" y="488"/>
                    </a:lnTo>
                    <a:lnTo>
                      <a:pt x="288" y="488"/>
                    </a:lnTo>
                    <a:lnTo>
                      <a:pt x="288" y="490"/>
                    </a:lnTo>
                    <a:lnTo>
                      <a:pt x="286" y="490"/>
                    </a:lnTo>
                    <a:lnTo>
                      <a:pt x="284" y="490"/>
                    </a:lnTo>
                    <a:lnTo>
                      <a:pt x="286" y="490"/>
                    </a:lnTo>
                    <a:lnTo>
                      <a:pt x="286" y="488"/>
                    </a:lnTo>
                    <a:lnTo>
                      <a:pt x="288" y="488"/>
                    </a:lnTo>
                    <a:close/>
                    <a:moveTo>
                      <a:pt x="267" y="496"/>
                    </a:moveTo>
                    <a:lnTo>
                      <a:pt x="265" y="496"/>
                    </a:lnTo>
                    <a:lnTo>
                      <a:pt x="265" y="494"/>
                    </a:lnTo>
                    <a:lnTo>
                      <a:pt x="267" y="494"/>
                    </a:lnTo>
                    <a:lnTo>
                      <a:pt x="267" y="496"/>
                    </a:lnTo>
                    <a:close/>
                    <a:moveTo>
                      <a:pt x="265" y="496"/>
                    </a:moveTo>
                    <a:lnTo>
                      <a:pt x="263" y="496"/>
                    </a:lnTo>
                    <a:lnTo>
                      <a:pt x="265" y="496"/>
                    </a:lnTo>
                    <a:lnTo>
                      <a:pt x="265" y="494"/>
                    </a:lnTo>
                    <a:lnTo>
                      <a:pt x="265" y="496"/>
                    </a:lnTo>
                    <a:close/>
                    <a:moveTo>
                      <a:pt x="253" y="500"/>
                    </a:moveTo>
                    <a:lnTo>
                      <a:pt x="251" y="500"/>
                    </a:lnTo>
                    <a:lnTo>
                      <a:pt x="253" y="500"/>
                    </a:lnTo>
                    <a:lnTo>
                      <a:pt x="251" y="500"/>
                    </a:lnTo>
                    <a:lnTo>
                      <a:pt x="253" y="500"/>
                    </a:lnTo>
                    <a:lnTo>
                      <a:pt x="251" y="502"/>
                    </a:lnTo>
                    <a:lnTo>
                      <a:pt x="251" y="500"/>
                    </a:lnTo>
                    <a:lnTo>
                      <a:pt x="253" y="498"/>
                    </a:lnTo>
                    <a:lnTo>
                      <a:pt x="253" y="500"/>
                    </a:lnTo>
                    <a:close/>
                    <a:moveTo>
                      <a:pt x="403" y="450"/>
                    </a:moveTo>
                    <a:lnTo>
                      <a:pt x="401" y="450"/>
                    </a:lnTo>
                    <a:lnTo>
                      <a:pt x="403" y="450"/>
                    </a:lnTo>
                    <a:close/>
                    <a:moveTo>
                      <a:pt x="395" y="452"/>
                    </a:moveTo>
                    <a:lnTo>
                      <a:pt x="395" y="453"/>
                    </a:lnTo>
                    <a:lnTo>
                      <a:pt x="393" y="453"/>
                    </a:lnTo>
                    <a:lnTo>
                      <a:pt x="392" y="453"/>
                    </a:lnTo>
                    <a:lnTo>
                      <a:pt x="393" y="453"/>
                    </a:lnTo>
                    <a:lnTo>
                      <a:pt x="393" y="452"/>
                    </a:lnTo>
                    <a:lnTo>
                      <a:pt x="395" y="452"/>
                    </a:lnTo>
                    <a:close/>
                    <a:moveTo>
                      <a:pt x="344" y="471"/>
                    </a:moveTo>
                    <a:lnTo>
                      <a:pt x="342" y="471"/>
                    </a:lnTo>
                    <a:lnTo>
                      <a:pt x="342" y="473"/>
                    </a:lnTo>
                    <a:lnTo>
                      <a:pt x="340" y="475"/>
                    </a:lnTo>
                    <a:lnTo>
                      <a:pt x="338" y="475"/>
                    </a:lnTo>
                    <a:lnTo>
                      <a:pt x="340" y="475"/>
                    </a:lnTo>
                    <a:lnTo>
                      <a:pt x="338" y="475"/>
                    </a:lnTo>
                    <a:lnTo>
                      <a:pt x="338" y="477"/>
                    </a:lnTo>
                    <a:lnTo>
                      <a:pt x="336" y="477"/>
                    </a:lnTo>
                    <a:lnTo>
                      <a:pt x="338" y="477"/>
                    </a:lnTo>
                    <a:lnTo>
                      <a:pt x="338" y="475"/>
                    </a:lnTo>
                    <a:lnTo>
                      <a:pt x="338" y="473"/>
                    </a:lnTo>
                    <a:lnTo>
                      <a:pt x="340" y="473"/>
                    </a:lnTo>
                    <a:lnTo>
                      <a:pt x="342" y="473"/>
                    </a:lnTo>
                    <a:lnTo>
                      <a:pt x="342" y="471"/>
                    </a:lnTo>
                    <a:lnTo>
                      <a:pt x="342" y="473"/>
                    </a:lnTo>
                    <a:lnTo>
                      <a:pt x="340" y="473"/>
                    </a:lnTo>
                    <a:lnTo>
                      <a:pt x="342" y="473"/>
                    </a:lnTo>
                    <a:lnTo>
                      <a:pt x="342" y="471"/>
                    </a:lnTo>
                    <a:lnTo>
                      <a:pt x="342" y="469"/>
                    </a:lnTo>
                    <a:lnTo>
                      <a:pt x="342" y="471"/>
                    </a:lnTo>
                    <a:lnTo>
                      <a:pt x="344" y="471"/>
                    </a:lnTo>
                    <a:close/>
                    <a:moveTo>
                      <a:pt x="263" y="494"/>
                    </a:moveTo>
                    <a:lnTo>
                      <a:pt x="263" y="496"/>
                    </a:lnTo>
                    <a:lnTo>
                      <a:pt x="263" y="494"/>
                    </a:lnTo>
                    <a:close/>
                    <a:moveTo>
                      <a:pt x="246" y="500"/>
                    </a:moveTo>
                    <a:lnTo>
                      <a:pt x="247" y="500"/>
                    </a:lnTo>
                    <a:lnTo>
                      <a:pt x="246" y="500"/>
                    </a:lnTo>
                    <a:close/>
                    <a:moveTo>
                      <a:pt x="207" y="509"/>
                    </a:moveTo>
                    <a:lnTo>
                      <a:pt x="207" y="511"/>
                    </a:lnTo>
                    <a:lnTo>
                      <a:pt x="207" y="509"/>
                    </a:lnTo>
                    <a:lnTo>
                      <a:pt x="207" y="511"/>
                    </a:lnTo>
                    <a:lnTo>
                      <a:pt x="205" y="511"/>
                    </a:lnTo>
                    <a:lnTo>
                      <a:pt x="207" y="509"/>
                    </a:lnTo>
                    <a:close/>
                    <a:moveTo>
                      <a:pt x="344" y="469"/>
                    </a:moveTo>
                    <a:lnTo>
                      <a:pt x="345" y="469"/>
                    </a:lnTo>
                    <a:lnTo>
                      <a:pt x="344" y="469"/>
                    </a:lnTo>
                    <a:lnTo>
                      <a:pt x="345" y="469"/>
                    </a:lnTo>
                    <a:lnTo>
                      <a:pt x="345" y="471"/>
                    </a:lnTo>
                    <a:lnTo>
                      <a:pt x="344" y="471"/>
                    </a:lnTo>
                    <a:lnTo>
                      <a:pt x="344" y="473"/>
                    </a:lnTo>
                    <a:lnTo>
                      <a:pt x="342" y="473"/>
                    </a:lnTo>
                    <a:lnTo>
                      <a:pt x="344" y="473"/>
                    </a:lnTo>
                    <a:lnTo>
                      <a:pt x="342" y="473"/>
                    </a:lnTo>
                    <a:lnTo>
                      <a:pt x="342" y="471"/>
                    </a:lnTo>
                    <a:lnTo>
                      <a:pt x="344" y="471"/>
                    </a:lnTo>
                    <a:lnTo>
                      <a:pt x="344" y="469"/>
                    </a:lnTo>
                    <a:close/>
                    <a:moveTo>
                      <a:pt x="399" y="450"/>
                    </a:moveTo>
                    <a:lnTo>
                      <a:pt x="399" y="452"/>
                    </a:lnTo>
                    <a:lnTo>
                      <a:pt x="397" y="452"/>
                    </a:lnTo>
                    <a:lnTo>
                      <a:pt x="399" y="450"/>
                    </a:lnTo>
                    <a:close/>
                    <a:moveTo>
                      <a:pt x="205" y="509"/>
                    </a:moveTo>
                    <a:lnTo>
                      <a:pt x="207" y="509"/>
                    </a:lnTo>
                    <a:lnTo>
                      <a:pt x="205" y="509"/>
                    </a:lnTo>
                    <a:close/>
                    <a:moveTo>
                      <a:pt x="201" y="511"/>
                    </a:moveTo>
                    <a:lnTo>
                      <a:pt x="203" y="511"/>
                    </a:lnTo>
                    <a:lnTo>
                      <a:pt x="201" y="511"/>
                    </a:lnTo>
                    <a:close/>
                    <a:moveTo>
                      <a:pt x="261" y="496"/>
                    </a:moveTo>
                    <a:lnTo>
                      <a:pt x="259" y="496"/>
                    </a:lnTo>
                    <a:lnTo>
                      <a:pt x="259" y="494"/>
                    </a:lnTo>
                    <a:lnTo>
                      <a:pt x="261" y="496"/>
                    </a:lnTo>
                    <a:close/>
                    <a:moveTo>
                      <a:pt x="261" y="494"/>
                    </a:moveTo>
                    <a:lnTo>
                      <a:pt x="261" y="496"/>
                    </a:lnTo>
                    <a:lnTo>
                      <a:pt x="261" y="494"/>
                    </a:lnTo>
                    <a:close/>
                    <a:moveTo>
                      <a:pt x="399" y="450"/>
                    </a:moveTo>
                    <a:lnTo>
                      <a:pt x="399" y="448"/>
                    </a:lnTo>
                    <a:lnTo>
                      <a:pt x="401" y="450"/>
                    </a:lnTo>
                    <a:lnTo>
                      <a:pt x="399" y="450"/>
                    </a:lnTo>
                    <a:close/>
                    <a:moveTo>
                      <a:pt x="384" y="455"/>
                    </a:moveTo>
                    <a:lnTo>
                      <a:pt x="386" y="455"/>
                    </a:lnTo>
                    <a:lnTo>
                      <a:pt x="384" y="457"/>
                    </a:lnTo>
                    <a:lnTo>
                      <a:pt x="382" y="457"/>
                    </a:lnTo>
                    <a:lnTo>
                      <a:pt x="384" y="457"/>
                    </a:lnTo>
                    <a:lnTo>
                      <a:pt x="386" y="457"/>
                    </a:lnTo>
                    <a:lnTo>
                      <a:pt x="384" y="457"/>
                    </a:lnTo>
                    <a:lnTo>
                      <a:pt x="382" y="457"/>
                    </a:lnTo>
                    <a:lnTo>
                      <a:pt x="384" y="455"/>
                    </a:lnTo>
                    <a:lnTo>
                      <a:pt x="386" y="453"/>
                    </a:lnTo>
                    <a:lnTo>
                      <a:pt x="384" y="455"/>
                    </a:lnTo>
                    <a:close/>
                    <a:moveTo>
                      <a:pt x="211" y="509"/>
                    </a:moveTo>
                    <a:lnTo>
                      <a:pt x="209" y="509"/>
                    </a:lnTo>
                    <a:lnTo>
                      <a:pt x="211" y="509"/>
                    </a:lnTo>
                    <a:lnTo>
                      <a:pt x="211" y="507"/>
                    </a:lnTo>
                    <a:lnTo>
                      <a:pt x="211" y="509"/>
                    </a:lnTo>
                    <a:close/>
                    <a:moveTo>
                      <a:pt x="392" y="452"/>
                    </a:moveTo>
                    <a:lnTo>
                      <a:pt x="393" y="452"/>
                    </a:lnTo>
                    <a:lnTo>
                      <a:pt x="392" y="452"/>
                    </a:lnTo>
                    <a:close/>
                    <a:moveTo>
                      <a:pt x="63" y="542"/>
                    </a:moveTo>
                    <a:lnTo>
                      <a:pt x="61" y="542"/>
                    </a:lnTo>
                    <a:lnTo>
                      <a:pt x="63" y="542"/>
                    </a:lnTo>
                    <a:close/>
                    <a:moveTo>
                      <a:pt x="397" y="450"/>
                    </a:moveTo>
                    <a:lnTo>
                      <a:pt x="397" y="448"/>
                    </a:lnTo>
                    <a:lnTo>
                      <a:pt x="397" y="450"/>
                    </a:lnTo>
                    <a:lnTo>
                      <a:pt x="397" y="452"/>
                    </a:lnTo>
                    <a:lnTo>
                      <a:pt x="397" y="450"/>
                    </a:lnTo>
                    <a:close/>
                    <a:moveTo>
                      <a:pt x="253" y="496"/>
                    </a:moveTo>
                    <a:lnTo>
                      <a:pt x="255" y="496"/>
                    </a:lnTo>
                    <a:lnTo>
                      <a:pt x="253" y="496"/>
                    </a:lnTo>
                    <a:lnTo>
                      <a:pt x="255" y="496"/>
                    </a:lnTo>
                    <a:lnTo>
                      <a:pt x="255" y="498"/>
                    </a:lnTo>
                    <a:lnTo>
                      <a:pt x="253" y="498"/>
                    </a:lnTo>
                    <a:lnTo>
                      <a:pt x="253" y="496"/>
                    </a:lnTo>
                    <a:lnTo>
                      <a:pt x="253" y="498"/>
                    </a:lnTo>
                    <a:lnTo>
                      <a:pt x="253" y="496"/>
                    </a:lnTo>
                    <a:close/>
                    <a:moveTo>
                      <a:pt x="349" y="467"/>
                    </a:moveTo>
                    <a:lnTo>
                      <a:pt x="347" y="467"/>
                    </a:lnTo>
                    <a:lnTo>
                      <a:pt x="347" y="469"/>
                    </a:lnTo>
                    <a:lnTo>
                      <a:pt x="347" y="471"/>
                    </a:lnTo>
                    <a:lnTo>
                      <a:pt x="345" y="471"/>
                    </a:lnTo>
                    <a:lnTo>
                      <a:pt x="345" y="469"/>
                    </a:lnTo>
                    <a:lnTo>
                      <a:pt x="345" y="467"/>
                    </a:lnTo>
                    <a:lnTo>
                      <a:pt x="347" y="467"/>
                    </a:lnTo>
                    <a:lnTo>
                      <a:pt x="349" y="467"/>
                    </a:lnTo>
                    <a:close/>
                    <a:moveTo>
                      <a:pt x="247" y="498"/>
                    </a:moveTo>
                    <a:lnTo>
                      <a:pt x="249" y="498"/>
                    </a:lnTo>
                    <a:lnTo>
                      <a:pt x="247" y="498"/>
                    </a:lnTo>
                    <a:lnTo>
                      <a:pt x="249" y="498"/>
                    </a:lnTo>
                    <a:lnTo>
                      <a:pt x="249" y="500"/>
                    </a:lnTo>
                    <a:lnTo>
                      <a:pt x="247" y="500"/>
                    </a:lnTo>
                    <a:lnTo>
                      <a:pt x="246" y="498"/>
                    </a:lnTo>
                    <a:lnTo>
                      <a:pt x="247" y="498"/>
                    </a:lnTo>
                    <a:close/>
                    <a:moveTo>
                      <a:pt x="399" y="448"/>
                    </a:moveTo>
                    <a:lnTo>
                      <a:pt x="399" y="450"/>
                    </a:lnTo>
                    <a:lnTo>
                      <a:pt x="399" y="448"/>
                    </a:lnTo>
                    <a:close/>
                    <a:moveTo>
                      <a:pt x="397" y="450"/>
                    </a:moveTo>
                    <a:lnTo>
                      <a:pt x="395" y="452"/>
                    </a:lnTo>
                    <a:lnTo>
                      <a:pt x="395" y="450"/>
                    </a:lnTo>
                    <a:lnTo>
                      <a:pt x="397" y="450"/>
                    </a:lnTo>
                    <a:lnTo>
                      <a:pt x="397" y="448"/>
                    </a:lnTo>
                    <a:lnTo>
                      <a:pt x="397" y="450"/>
                    </a:lnTo>
                    <a:close/>
                    <a:moveTo>
                      <a:pt x="393" y="450"/>
                    </a:moveTo>
                    <a:lnTo>
                      <a:pt x="392" y="450"/>
                    </a:lnTo>
                    <a:lnTo>
                      <a:pt x="392" y="452"/>
                    </a:lnTo>
                    <a:lnTo>
                      <a:pt x="392" y="453"/>
                    </a:lnTo>
                    <a:lnTo>
                      <a:pt x="390" y="453"/>
                    </a:lnTo>
                    <a:lnTo>
                      <a:pt x="388" y="455"/>
                    </a:lnTo>
                    <a:lnTo>
                      <a:pt x="386" y="455"/>
                    </a:lnTo>
                    <a:lnTo>
                      <a:pt x="386" y="457"/>
                    </a:lnTo>
                    <a:lnTo>
                      <a:pt x="386" y="455"/>
                    </a:lnTo>
                    <a:lnTo>
                      <a:pt x="386" y="453"/>
                    </a:lnTo>
                    <a:lnTo>
                      <a:pt x="388" y="453"/>
                    </a:lnTo>
                    <a:lnTo>
                      <a:pt x="388" y="452"/>
                    </a:lnTo>
                    <a:lnTo>
                      <a:pt x="390" y="452"/>
                    </a:lnTo>
                    <a:lnTo>
                      <a:pt x="392" y="452"/>
                    </a:lnTo>
                    <a:lnTo>
                      <a:pt x="390" y="452"/>
                    </a:lnTo>
                    <a:lnTo>
                      <a:pt x="392" y="452"/>
                    </a:lnTo>
                    <a:lnTo>
                      <a:pt x="393" y="450"/>
                    </a:lnTo>
                    <a:close/>
                    <a:moveTo>
                      <a:pt x="344" y="469"/>
                    </a:moveTo>
                    <a:lnTo>
                      <a:pt x="344" y="471"/>
                    </a:lnTo>
                    <a:lnTo>
                      <a:pt x="342" y="469"/>
                    </a:lnTo>
                    <a:lnTo>
                      <a:pt x="344" y="467"/>
                    </a:lnTo>
                    <a:lnTo>
                      <a:pt x="344" y="469"/>
                    </a:lnTo>
                    <a:close/>
                    <a:moveTo>
                      <a:pt x="263" y="494"/>
                    </a:moveTo>
                    <a:lnTo>
                      <a:pt x="261" y="494"/>
                    </a:lnTo>
                    <a:lnTo>
                      <a:pt x="261" y="492"/>
                    </a:lnTo>
                    <a:lnTo>
                      <a:pt x="263" y="492"/>
                    </a:lnTo>
                    <a:lnTo>
                      <a:pt x="263" y="494"/>
                    </a:lnTo>
                    <a:close/>
                    <a:moveTo>
                      <a:pt x="397" y="448"/>
                    </a:moveTo>
                    <a:lnTo>
                      <a:pt x="397" y="450"/>
                    </a:lnTo>
                    <a:lnTo>
                      <a:pt x="395" y="450"/>
                    </a:lnTo>
                    <a:lnTo>
                      <a:pt x="395" y="448"/>
                    </a:lnTo>
                    <a:lnTo>
                      <a:pt x="397" y="450"/>
                    </a:lnTo>
                    <a:lnTo>
                      <a:pt x="397" y="448"/>
                    </a:lnTo>
                    <a:close/>
                    <a:moveTo>
                      <a:pt x="211" y="507"/>
                    </a:moveTo>
                    <a:lnTo>
                      <a:pt x="209" y="507"/>
                    </a:lnTo>
                    <a:lnTo>
                      <a:pt x="209" y="509"/>
                    </a:lnTo>
                    <a:lnTo>
                      <a:pt x="207" y="509"/>
                    </a:lnTo>
                    <a:lnTo>
                      <a:pt x="209" y="509"/>
                    </a:lnTo>
                    <a:lnTo>
                      <a:pt x="209" y="507"/>
                    </a:lnTo>
                    <a:lnTo>
                      <a:pt x="211" y="507"/>
                    </a:lnTo>
                    <a:lnTo>
                      <a:pt x="209" y="507"/>
                    </a:lnTo>
                    <a:lnTo>
                      <a:pt x="211" y="507"/>
                    </a:lnTo>
                    <a:close/>
                    <a:moveTo>
                      <a:pt x="207" y="507"/>
                    </a:moveTo>
                    <a:lnTo>
                      <a:pt x="207" y="509"/>
                    </a:lnTo>
                    <a:lnTo>
                      <a:pt x="205" y="509"/>
                    </a:lnTo>
                    <a:lnTo>
                      <a:pt x="207" y="509"/>
                    </a:lnTo>
                    <a:lnTo>
                      <a:pt x="205" y="509"/>
                    </a:lnTo>
                    <a:lnTo>
                      <a:pt x="207" y="509"/>
                    </a:lnTo>
                    <a:lnTo>
                      <a:pt x="205" y="509"/>
                    </a:lnTo>
                    <a:lnTo>
                      <a:pt x="205" y="511"/>
                    </a:lnTo>
                    <a:lnTo>
                      <a:pt x="203" y="511"/>
                    </a:lnTo>
                    <a:lnTo>
                      <a:pt x="201" y="511"/>
                    </a:lnTo>
                    <a:lnTo>
                      <a:pt x="203" y="511"/>
                    </a:lnTo>
                    <a:lnTo>
                      <a:pt x="203" y="509"/>
                    </a:lnTo>
                    <a:lnTo>
                      <a:pt x="205" y="509"/>
                    </a:lnTo>
                    <a:lnTo>
                      <a:pt x="205" y="507"/>
                    </a:lnTo>
                    <a:lnTo>
                      <a:pt x="207" y="507"/>
                    </a:lnTo>
                    <a:close/>
                    <a:moveTo>
                      <a:pt x="393" y="452"/>
                    </a:moveTo>
                    <a:lnTo>
                      <a:pt x="393" y="450"/>
                    </a:lnTo>
                    <a:lnTo>
                      <a:pt x="393" y="452"/>
                    </a:lnTo>
                    <a:close/>
                    <a:moveTo>
                      <a:pt x="393" y="448"/>
                    </a:moveTo>
                    <a:lnTo>
                      <a:pt x="393" y="450"/>
                    </a:lnTo>
                    <a:lnTo>
                      <a:pt x="393" y="448"/>
                    </a:lnTo>
                    <a:close/>
                    <a:moveTo>
                      <a:pt x="386" y="452"/>
                    </a:moveTo>
                    <a:lnTo>
                      <a:pt x="386" y="453"/>
                    </a:lnTo>
                    <a:lnTo>
                      <a:pt x="386" y="452"/>
                    </a:lnTo>
                    <a:close/>
                    <a:moveTo>
                      <a:pt x="395" y="452"/>
                    </a:moveTo>
                    <a:lnTo>
                      <a:pt x="393" y="452"/>
                    </a:lnTo>
                    <a:lnTo>
                      <a:pt x="393" y="453"/>
                    </a:lnTo>
                    <a:lnTo>
                      <a:pt x="393" y="452"/>
                    </a:lnTo>
                    <a:lnTo>
                      <a:pt x="393" y="450"/>
                    </a:lnTo>
                    <a:lnTo>
                      <a:pt x="395" y="450"/>
                    </a:lnTo>
                    <a:lnTo>
                      <a:pt x="393" y="450"/>
                    </a:lnTo>
                    <a:lnTo>
                      <a:pt x="393" y="452"/>
                    </a:lnTo>
                    <a:lnTo>
                      <a:pt x="393" y="450"/>
                    </a:lnTo>
                    <a:lnTo>
                      <a:pt x="393" y="452"/>
                    </a:lnTo>
                    <a:lnTo>
                      <a:pt x="393" y="450"/>
                    </a:lnTo>
                    <a:lnTo>
                      <a:pt x="395" y="450"/>
                    </a:lnTo>
                    <a:lnTo>
                      <a:pt x="393" y="450"/>
                    </a:lnTo>
                    <a:lnTo>
                      <a:pt x="395" y="450"/>
                    </a:lnTo>
                    <a:lnTo>
                      <a:pt x="395" y="448"/>
                    </a:lnTo>
                    <a:lnTo>
                      <a:pt x="395" y="450"/>
                    </a:lnTo>
                    <a:lnTo>
                      <a:pt x="393" y="450"/>
                    </a:lnTo>
                    <a:lnTo>
                      <a:pt x="393" y="448"/>
                    </a:lnTo>
                    <a:lnTo>
                      <a:pt x="395" y="448"/>
                    </a:lnTo>
                    <a:lnTo>
                      <a:pt x="397" y="448"/>
                    </a:lnTo>
                    <a:lnTo>
                      <a:pt x="395" y="448"/>
                    </a:lnTo>
                    <a:lnTo>
                      <a:pt x="395" y="450"/>
                    </a:lnTo>
                    <a:lnTo>
                      <a:pt x="393" y="452"/>
                    </a:lnTo>
                    <a:lnTo>
                      <a:pt x="395" y="452"/>
                    </a:lnTo>
                    <a:lnTo>
                      <a:pt x="395" y="450"/>
                    </a:lnTo>
                    <a:lnTo>
                      <a:pt x="395" y="452"/>
                    </a:lnTo>
                    <a:close/>
                    <a:moveTo>
                      <a:pt x="259" y="492"/>
                    </a:moveTo>
                    <a:lnTo>
                      <a:pt x="261" y="492"/>
                    </a:lnTo>
                    <a:lnTo>
                      <a:pt x="261" y="494"/>
                    </a:lnTo>
                    <a:lnTo>
                      <a:pt x="261" y="492"/>
                    </a:lnTo>
                    <a:lnTo>
                      <a:pt x="261" y="494"/>
                    </a:lnTo>
                    <a:lnTo>
                      <a:pt x="259" y="494"/>
                    </a:lnTo>
                    <a:lnTo>
                      <a:pt x="259" y="492"/>
                    </a:lnTo>
                    <a:close/>
                    <a:moveTo>
                      <a:pt x="251" y="494"/>
                    </a:moveTo>
                    <a:lnTo>
                      <a:pt x="251" y="496"/>
                    </a:lnTo>
                    <a:lnTo>
                      <a:pt x="253" y="496"/>
                    </a:lnTo>
                    <a:lnTo>
                      <a:pt x="253" y="498"/>
                    </a:lnTo>
                    <a:lnTo>
                      <a:pt x="251" y="498"/>
                    </a:lnTo>
                    <a:lnTo>
                      <a:pt x="251" y="500"/>
                    </a:lnTo>
                    <a:lnTo>
                      <a:pt x="249" y="500"/>
                    </a:lnTo>
                    <a:lnTo>
                      <a:pt x="249" y="498"/>
                    </a:lnTo>
                    <a:lnTo>
                      <a:pt x="249" y="496"/>
                    </a:lnTo>
                    <a:lnTo>
                      <a:pt x="251" y="496"/>
                    </a:lnTo>
                    <a:lnTo>
                      <a:pt x="249" y="496"/>
                    </a:lnTo>
                    <a:lnTo>
                      <a:pt x="249" y="494"/>
                    </a:lnTo>
                    <a:lnTo>
                      <a:pt x="251" y="494"/>
                    </a:lnTo>
                    <a:close/>
                    <a:moveTo>
                      <a:pt x="249" y="496"/>
                    </a:moveTo>
                    <a:lnTo>
                      <a:pt x="249" y="494"/>
                    </a:lnTo>
                    <a:lnTo>
                      <a:pt x="249" y="496"/>
                    </a:lnTo>
                    <a:close/>
                    <a:moveTo>
                      <a:pt x="376" y="455"/>
                    </a:moveTo>
                    <a:lnTo>
                      <a:pt x="374" y="455"/>
                    </a:lnTo>
                    <a:lnTo>
                      <a:pt x="376" y="453"/>
                    </a:lnTo>
                    <a:lnTo>
                      <a:pt x="376" y="455"/>
                    </a:lnTo>
                    <a:close/>
                    <a:moveTo>
                      <a:pt x="186" y="511"/>
                    </a:moveTo>
                    <a:lnTo>
                      <a:pt x="186" y="513"/>
                    </a:lnTo>
                    <a:lnTo>
                      <a:pt x="186" y="511"/>
                    </a:lnTo>
                    <a:close/>
                    <a:moveTo>
                      <a:pt x="255" y="494"/>
                    </a:moveTo>
                    <a:lnTo>
                      <a:pt x="253" y="494"/>
                    </a:lnTo>
                    <a:lnTo>
                      <a:pt x="255" y="494"/>
                    </a:lnTo>
                    <a:lnTo>
                      <a:pt x="253" y="494"/>
                    </a:lnTo>
                    <a:lnTo>
                      <a:pt x="253" y="496"/>
                    </a:lnTo>
                    <a:lnTo>
                      <a:pt x="253" y="494"/>
                    </a:lnTo>
                    <a:lnTo>
                      <a:pt x="253" y="496"/>
                    </a:lnTo>
                    <a:lnTo>
                      <a:pt x="253" y="494"/>
                    </a:lnTo>
                    <a:lnTo>
                      <a:pt x="253" y="496"/>
                    </a:lnTo>
                    <a:lnTo>
                      <a:pt x="253" y="494"/>
                    </a:lnTo>
                    <a:lnTo>
                      <a:pt x="253" y="496"/>
                    </a:lnTo>
                    <a:lnTo>
                      <a:pt x="253" y="494"/>
                    </a:lnTo>
                    <a:lnTo>
                      <a:pt x="255" y="494"/>
                    </a:lnTo>
                    <a:close/>
                    <a:moveTo>
                      <a:pt x="257" y="492"/>
                    </a:moveTo>
                    <a:lnTo>
                      <a:pt x="257" y="494"/>
                    </a:lnTo>
                    <a:lnTo>
                      <a:pt x="255" y="494"/>
                    </a:lnTo>
                    <a:lnTo>
                      <a:pt x="255" y="492"/>
                    </a:lnTo>
                    <a:lnTo>
                      <a:pt x="257" y="492"/>
                    </a:lnTo>
                    <a:close/>
                    <a:moveTo>
                      <a:pt x="380" y="453"/>
                    </a:moveTo>
                    <a:lnTo>
                      <a:pt x="380" y="452"/>
                    </a:lnTo>
                    <a:lnTo>
                      <a:pt x="380" y="453"/>
                    </a:lnTo>
                    <a:close/>
                    <a:moveTo>
                      <a:pt x="395" y="448"/>
                    </a:moveTo>
                    <a:lnTo>
                      <a:pt x="393" y="448"/>
                    </a:lnTo>
                    <a:lnTo>
                      <a:pt x="395" y="448"/>
                    </a:lnTo>
                    <a:close/>
                    <a:moveTo>
                      <a:pt x="209" y="507"/>
                    </a:moveTo>
                    <a:lnTo>
                      <a:pt x="207" y="507"/>
                    </a:lnTo>
                    <a:lnTo>
                      <a:pt x="207" y="505"/>
                    </a:lnTo>
                    <a:lnTo>
                      <a:pt x="209" y="505"/>
                    </a:lnTo>
                    <a:lnTo>
                      <a:pt x="209" y="507"/>
                    </a:lnTo>
                    <a:close/>
                    <a:moveTo>
                      <a:pt x="209" y="505"/>
                    </a:moveTo>
                    <a:lnTo>
                      <a:pt x="207" y="505"/>
                    </a:lnTo>
                    <a:lnTo>
                      <a:pt x="209" y="505"/>
                    </a:lnTo>
                    <a:close/>
                    <a:moveTo>
                      <a:pt x="388" y="450"/>
                    </a:moveTo>
                    <a:lnTo>
                      <a:pt x="386" y="450"/>
                    </a:lnTo>
                    <a:lnTo>
                      <a:pt x="388" y="450"/>
                    </a:lnTo>
                    <a:lnTo>
                      <a:pt x="386" y="450"/>
                    </a:lnTo>
                    <a:lnTo>
                      <a:pt x="386" y="452"/>
                    </a:lnTo>
                    <a:lnTo>
                      <a:pt x="386" y="450"/>
                    </a:lnTo>
                    <a:lnTo>
                      <a:pt x="388" y="450"/>
                    </a:lnTo>
                    <a:close/>
                    <a:moveTo>
                      <a:pt x="278" y="486"/>
                    </a:moveTo>
                    <a:lnTo>
                      <a:pt x="278" y="484"/>
                    </a:lnTo>
                    <a:lnTo>
                      <a:pt x="278" y="486"/>
                    </a:lnTo>
                    <a:close/>
                    <a:moveTo>
                      <a:pt x="392" y="448"/>
                    </a:moveTo>
                    <a:lnTo>
                      <a:pt x="393" y="448"/>
                    </a:lnTo>
                    <a:lnTo>
                      <a:pt x="393" y="450"/>
                    </a:lnTo>
                    <a:lnTo>
                      <a:pt x="393" y="448"/>
                    </a:lnTo>
                    <a:lnTo>
                      <a:pt x="392" y="448"/>
                    </a:lnTo>
                    <a:close/>
                    <a:moveTo>
                      <a:pt x="393" y="446"/>
                    </a:moveTo>
                    <a:lnTo>
                      <a:pt x="393" y="448"/>
                    </a:lnTo>
                    <a:lnTo>
                      <a:pt x="393" y="446"/>
                    </a:lnTo>
                    <a:close/>
                    <a:moveTo>
                      <a:pt x="192" y="509"/>
                    </a:moveTo>
                    <a:lnTo>
                      <a:pt x="194" y="509"/>
                    </a:lnTo>
                    <a:lnTo>
                      <a:pt x="196" y="509"/>
                    </a:lnTo>
                    <a:lnTo>
                      <a:pt x="194" y="509"/>
                    </a:lnTo>
                    <a:lnTo>
                      <a:pt x="196" y="509"/>
                    </a:lnTo>
                    <a:lnTo>
                      <a:pt x="196" y="511"/>
                    </a:lnTo>
                    <a:lnTo>
                      <a:pt x="194" y="511"/>
                    </a:lnTo>
                    <a:lnTo>
                      <a:pt x="196" y="513"/>
                    </a:lnTo>
                    <a:lnTo>
                      <a:pt x="194" y="513"/>
                    </a:lnTo>
                    <a:lnTo>
                      <a:pt x="196" y="513"/>
                    </a:lnTo>
                    <a:lnTo>
                      <a:pt x="194" y="513"/>
                    </a:lnTo>
                    <a:lnTo>
                      <a:pt x="194" y="511"/>
                    </a:lnTo>
                    <a:lnTo>
                      <a:pt x="192" y="511"/>
                    </a:lnTo>
                    <a:lnTo>
                      <a:pt x="192" y="509"/>
                    </a:lnTo>
                    <a:close/>
                    <a:moveTo>
                      <a:pt x="192" y="509"/>
                    </a:moveTo>
                    <a:lnTo>
                      <a:pt x="190" y="509"/>
                    </a:lnTo>
                    <a:lnTo>
                      <a:pt x="192" y="509"/>
                    </a:lnTo>
                    <a:lnTo>
                      <a:pt x="192" y="511"/>
                    </a:lnTo>
                    <a:lnTo>
                      <a:pt x="192" y="509"/>
                    </a:lnTo>
                    <a:lnTo>
                      <a:pt x="192" y="511"/>
                    </a:lnTo>
                    <a:lnTo>
                      <a:pt x="190" y="511"/>
                    </a:lnTo>
                    <a:lnTo>
                      <a:pt x="188" y="511"/>
                    </a:lnTo>
                    <a:lnTo>
                      <a:pt x="188" y="509"/>
                    </a:lnTo>
                    <a:lnTo>
                      <a:pt x="190" y="509"/>
                    </a:lnTo>
                    <a:lnTo>
                      <a:pt x="192" y="509"/>
                    </a:lnTo>
                    <a:close/>
                    <a:moveTo>
                      <a:pt x="276" y="484"/>
                    </a:moveTo>
                    <a:lnTo>
                      <a:pt x="276" y="486"/>
                    </a:lnTo>
                    <a:lnTo>
                      <a:pt x="276" y="484"/>
                    </a:lnTo>
                    <a:close/>
                    <a:moveTo>
                      <a:pt x="384" y="455"/>
                    </a:moveTo>
                    <a:lnTo>
                      <a:pt x="384" y="453"/>
                    </a:lnTo>
                    <a:lnTo>
                      <a:pt x="384" y="452"/>
                    </a:lnTo>
                    <a:lnTo>
                      <a:pt x="384" y="450"/>
                    </a:lnTo>
                    <a:lnTo>
                      <a:pt x="386" y="450"/>
                    </a:lnTo>
                    <a:lnTo>
                      <a:pt x="386" y="448"/>
                    </a:lnTo>
                    <a:lnTo>
                      <a:pt x="386" y="450"/>
                    </a:lnTo>
                    <a:lnTo>
                      <a:pt x="386" y="448"/>
                    </a:lnTo>
                    <a:lnTo>
                      <a:pt x="386" y="450"/>
                    </a:lnTo>
                    <a:lnTo>
                      <a:pt x="388" y="450"/>
                    </a:lnTo>
                    <a:lnTo>
                      <a:pt x="386" y="450"/>
                    </a:lnTo>
                    <a:lnTo>
                      <a:pt x="386" y="452"/>
                    </a:lnTo>
                    <a:lnTo>
                      <a:pt x="386" y="453"/>
                    </a:lnTo>
                    <a:lnTo>
                      <a:pt x="384" y="453"/>
                    </a:lnTo>
                    <a:lnTo>
                      <a:pt x="384" y="455"/>
                    </a:lnTo>
                    <a:close/>
                    <a:moveTo>
                      <a:pt x="388" y="448"/>
                    </a:moveTo>
                    <a:lnTo>
                      <a:pt x="388" y="450"/>
                    </a:lnTo>
                    <a:lnTo>
                      <a:pt x="388" y="448"/>
                    </a:lnTo>
                    <a:close/>
                    <a:moveTo>
                      <a:pt x="276" y="484"/>
                    </a:moveTo>
                    <a:lnTo>
                      <a:pt x="276" y="486"/>
                    </a:lnTo>
                    <a:lnTo>
                      <a:pt x="274" y="486"/>
                    </a:lnTo>
                    <a:lnTo>
                      <a:pt x="274" y="484"/>
                    </a:lnTo>
                    <a:lnTo>
                      <a:pt x="276" y="484"/>
                    </a:lnTo>
                    <a:close/>
                    <a:moveTo>
                      <a:pt x="188" y="509"/>
                    </a:moveTo>
                    <a:lnTo>
                      <a:pt x="188" y="511"/>
                    </a:lnTo>
                    <a:lnTo>
                      <a:pt x="186" y="511"/>
                    </a:lnTo>
                    <a:lnTo>
                      <a:pt x="188" y="511"/>
                    </a:lnTo>
                    <a:lnTo>
                      <a:pt x="186" y="511"/>
                    </a:lnTo>
                    <a:lnTo>
                      <a:pt x="188" y="511"/>
                    </a:lnTo>
                    <a:lnTo>
                      <a:pt x="186" y="511"/>
                    </a:lnTo>
                    <a:lnTo>
                      <a:pt x="184" y="511"/>
                    </a:lnTo>
                    <a:lnTo>
                      <a:pt x="184" y="509"/>
                    </a:lnTo>
                    <a:lnTo>
                      <a:pt x="186" y="509"/>
                    </a:lnTo>
                    <a:lnTo>
                      <a:pt x="188" y="509"/>
                    </a:lnTo>
                    <a:lnTo>
                      <a:pt x="186" y="509"/>
                    </a:lnTo>
                    <a:lnTo>
                      <a:pt x="188" y="509"/>
                    </a:lnTo>
                    <a:close/>
                    <a:moveTo>
                      <a:pt x="390" y="446"/>
                    </a:moveTo>
                    <a:lnTo>
                      <a:pt x="392" y="446"/>
                    </a:lnTo>
                    <a:lnTo>
                      <a:pt x="392" y="448"/>
                    </a:lnTo>
                    <a:lnTo>
                      <a:pt x="393" y="448"/>
                    </a:lnTo>
                    <a:lnTo>
                      <a:pt x="393" y="450"/>
                    </a:lnTo>
                    <a:lnTo>
                      <a:pt x="392" y="450"/>
                    </a:lnTo>
                    <a:lnTo>
                      <a:pt x="393" y="450"/>
                    </a:lnTo>
                    <a:lnTo>
                      <a:pt x="392" y="450"/>
                    </a:lnTo>
                    <a:lnTo>
                      <a:pt x="392" y="452"/>
                    </a:lnTo>
                    <a:lnTo>
                      <a:pt x="390" y="452"/>
                    </a:lnTo>
                    <a:lnTo>
                      <a:pt x="388" y="452"/>
                    </a:lnTo>
                    <a:lnTo>
                      <a:pt x="388" y="453"/>
                    </a:lnTo>
                    <a:lnTo>
                      <a:pt x="388" y="452"/>
                    </a:lnTo>
                    <a:lnTo>
                      <a:pt x="388" y="453"/>
                    </a:lnTo>
                    <a:lnTo>
                      <a:pt x="388" y="452"/>
                    </a:lnTo>
                    <a:lnTo>
                      <a:pt x="388" y="453"/>
                    </a:lnTo>
                    <a:lnTo>
                      <a:pt x="388" y="452"/>
                    </a:lnTo>
                    <a:lnTo>
                      <a:pt x="388" y="450"/>
                    </a:lnTo>
                    <a:lnTo>
                      <a:pt x="388" y="448"/>
                    </a:lnTo>
                    <a:lnTo>
                      <a:pt x="390" y="448"/>
                    </a:lnTo>
                    <a:lnTo>
                      <a:pt x="390" y="446"/>
                    </a:lnTo>
                    <a:close/>
                    <a:moveTo>
                      <a:pt x="205" y="503"/>
                    </a:moveTo>
                    <a:lnTo>
                      <a:pt x="205" y="505"/>
                    </a:lnTo>
                    <a:lnTo>
                      <a:pt x="203" y="505"/>
                    </a:lnTo>
                    <a:lnTo>
                      <a:pt x="205" y="503"/>
                    </a:lnTo>
                    <a:close/>
                    <a:moveTo>
                      <a:pt x="384" y="450"/>
                    </a:moveTo>
                    <a:lnTo>
                      <a:pt x="382" y="450"/>
                    </a:lnTo>
                    <a:lnTo>
                      <a:pt x="382" y="452"/>
                    </a:lnTo>
                    <a:lnTo>
                      <a:pt x="380" y="452"/>
                    </a:lnTo>
                    <a:lnTo>
                      <a:pt x="380" y="450"/>
                    </a:lnTo>
                    <a:lnTo>
                      <a:pt x="382" y="450"/>
                    </a:lnTo>
                    <a:lnTo>
                      <a:pt x="384" y="450"/>
                    </a:lnTo>
                    <a:lnTo>
                      <a:pt x="384" y="448"/>
                    </a:lnTo>
                    <a:lnTo>
                      <a:pt x="384" y="450"/>
                    </a:lnTo>
                    <a:close/>
                    <a:moveTo>
                      <a:pt x="203" y="503"/>
                    </a:moveTo>
                    <a:lnTo>
                      <a:pt x="205" y="503"/>
                    </a:lnTo>
                    <a:lnTo>
                      <a:pt x="203" y="503"/>
                    </a:lnTo>
                    <a:close/>
                    <a:moveTo>
                      <a:pt x="386" y="448"/>
                    </a:moveTo>
                    <a:lnTo>
                      <a:pt x="386" y="450"/>
                    </a:lnTo>
                    <a:lnTo>
                      <a:pt x="384" y="450"/>
                    </a:lnTo>
                    <a:lnTo>
                      <a:pt x="384" y="452"/>
                    </a:lnTo>
                    <a:lnTo>
                      <a:pt x="384" y="450"/>
                    </a:lnTo>
                    <a:lnTo>
                      <a:pt x="384" y="448"/>
                    </a:lnTo>
                    <a:lnTo>
                      <a:pt x="386" y="448"/>
                    </a:lnTo>
                    <a:close/>
                    <a:moveTo>
                      <a:pt x="388" y="446"/>
                    </a:moveTo>
                    <a:lnTo>
                      <a:pt x="388" y="448"/>
                    </a:lnTo>
                    <a:lnTo>
                      <a:pt x="388" y="446"/>
                    </a:lnTo>
                    <a:lnTo>
                      <a:pt x="388" y="448"/>
                    </a:lnTo>
                    <a:lnTo>
                      <a:pt x="388" y="446"/>
                    </a:lnTo>
                    <a:lnTo>
                      <a:pt x="388" y="448"/>
                    </a:lnTo>
                    <a:lnTo>
                      <a:pt x="386" y="448"/>
                    </a:lnTo>
                    <a:lnTo>
                      <a:pt x="388" y="448"/>
                    </a:lnTo>
                    <a:lnTo>
                      <a:pt x="388" y="446"/>
                    </a:lnTo>
                    <a:close/>
                    <a:moveTo>
                      <a:pt x="174" y="511"/>
                    </a:moveTo>
                    <a:lnTo>
                      <a:pt x="176" y="511"/>
                    </a:lnTo>
                    <a:lnTo>
                      <a:pt x="174" y="511"/>
                    </a:lnTo>
                    <a:close/>
                    <a:moveTo>
                      <a:pt x="190" y="507"/>
                    </a:moveTo>
                    <a:lnTo>
                      <a:pt x="188" y="507"/>
                    </a:lnTo>
                    <a:lnTo>
                      <a:pt x="190" y="507"/>
                    </a:lnTo>
                    <a:close/>
                    <a:moveTo>
                      <a:pt x="90" y="530"/>
                    </a:moveTo>
                    <a:lnTo>
                      <a:pt x="88" y="530"/>
                    </a:lnTo>
                    <a:lnTo>
                      <a:pt x="90" y="530"/>
                    </a:lnTo>
                    <a:close/>
                    <a:moveTo>
                      <a:pt x="201" y="503"/>
                    </a:moveTo>
                    <a:lnTo>
                      <a:pt x="203" y="503"/>
                    </a:lnTo>
                    <a:lnTo>
                      <a:pt x="203" y="505"/>
                    </a:lnTo>
                    <a:lnTo>
                      <a:pt x="201" y="505"/>
                    </a:lnTo>
                    <a:lnTo>
                      <a:pt x="203" y="505"/>
                    </a:lnTo>
                    <a:lnTo>
                      <a:pt x="201" y="505"/>
                    </a:lnTo>
                    <a:lnTo>
                      <a:pt x="201" y="503"/>
                    </a:lnTo>
                    <a:lnTo>
                      <a:pt x="201" y="505"/>
                    </a:lnTo>
                    <a:lnTo>
                      <a:pt x="199" y="505"/>
                    </a:lnTo>
                    <a:lnTo>
                      <a:pt x="199" y="503"/>
                    </a:lnTo>
                    <a:lnTo>
                      <a:pt x="201" y="503"/>
                    </a:lnTo>
                    <a:close/>
                    <a:moveTo>
                      <a:pt x="198" y="503"/>
                    </a:moveTo>
                    <a:lnTo>
                      <a:pt x="198" y="505"/>
                    </a:lnTo>
                    <a:lnTo>
                      <a:pt x="199" y="505"/>
                    </a:lnTo>
                    <a:lnTo>
                      <a:pt x="199" y="507"/>
                    </a:lnTo>
                    <a:lnTo>
                      <a:pt x="198" y="507"/>
                    </a:lnTo>
                    <a:lnTo>
                      <a:pt x="198" y="505"/>
                    </a:lnTo>
                    <a:lnTo>
                      <a:pt x="198" y="503"/>
                    </a:lnTo>
                    <a:close/>
                    <a:moveTo>
                      <a:pt x="190" y="505"/>
                    </a:moveTo>
                    <a:lnTo>
                      <a:pt x="190" y="507"/>
                    </a:lnTo>
                    <a:lnTo>
                      <a:pt x="190" y="505"/>
                    </a:lnTo>
                    <a:lnTo>
                      <a:pt x="190" y="507"/>
                    </a:lnTo>
                    <a:lnTo>
                      <a:pt x="190" y="505"/>
                    </a:lnTo>
                    <a:close/>
                    <a:moveTo>
                      <a:pt x="198" y="503"/>
                    </a:moveTo>
                    <a:lnTo>
                      <a:pt x="198" y="505"/>
                    </a:lnTo>
                    <a:lnTo>
                      <a:pt x="196" y="505"/>
                    </a:lnTo>
                    <a:lnTo>
                      <a:pt x="196" y="503"/>
                    </a:lnTo>
                    <a:lnTo>
                      <a:pt x="198" y="503"/>
                    </a:lnTo>
                    <a:close/>
                    <a:moveTo>
                      <a:pt x="198" y="503"/>
                    </a:moveTo>
                    <a:lnTo>
                      <a:pt x="199" y="503"/>
                    </a:lnTo>
                    <a:lnTo>
                      <a:pt x="199" y="505"/>
                    </a:lnTo>
                    <a:lnTo>
                      <a:pt x="198" y="505"/>
                    </a:lnTo>
                    <a:lnTo>
                      <a:pt x="198" y="503"/>
                    </a:lnTo>
                    <a:close/>
                    <a:moveTo>
                      <a:pt x="194" y="505"/>
                    </a:moveTo>
                    <a:lnTo>
                      <a:pt x="194" y="507"/>
                    </a:lnTo>
                    <a:lnTo>
                      <a:pt x="194" y="505"/>
                    </a:lnTo>
                    <a:lnTo>
                      <a:pt x="194" y="507"/>
                    </a:lnTo>
                    <a:lnTo>
                      <a:pt x="194" y="505"/>
                    </a:lnTo>
                    <a:lnTo>
                      <a:pt x="192" y="505"/>
                    </a:lnTo>
                    <a:lnTo>
                      <a:pt x="194" y="505"/>
                    </a:lnTo>
                    <a:close/>
                    <a:moveTo>
                      <a:pt x="374" y="450"/>
                    </a:moveTo>
                    <a:lnTo>
                      <a:pt x="376" y="450"/>
                    </a:lnTo>
                    <a:lnTo>
                      <a:pt x="374" y="450"/>
                    </a:lnTo>
                    <a:close/>
                    <a:moveTo>
                      <a:pt x="194" y="505"/>
                    </a:moveTo>
                    <a:lnTo>
                      <a:pt x="194" y="503"/>
                    </a:lnTo>
                    <a:lnTo>
                      <a:pt x="194" y="505"/>
                    </a:lnTo>
                    <a:close/>
                    <a:moveTo>
                      <a:pt x="386" y="444"/>
                    </a:moveTo>
                    <a:lnTo>
                      <a:pt x="388" y="444"/>
                    </a:lnTo>
                    <a:lnTo>
                      <a:pt x="388" y="446"/>
                    </a:lnTo>
                    <a:lnTo>
                      <a:pt x="386" y="446"/>
                    </a:lnTo>
                    <a:lnTo>
                      <a:pt x="386" y="448"/>
                    </a:lnTo>
                    <a:lnTo>
                      <a:pt x="386" y="446"/>
                    </a:lnTo>
                    <a:lnTo>
                      <a:pt x="384" y="448"/>
                    </a:lnTo>
                    <a:lnTo>
                      <a:pt x="384" y="446"/>
                    </a:lnTo>
                    <a:lnTo>
                      <a:pt x="386" y="446"/>
                    </a:lnTo>
                    <a:lnTo>
                      <a:pt x="386" y="444"/>
                    </a:lnTo>
                    <a:lnTo>
                      <a:pt x="388" y="444"/>
                    </a:lnTo>
                    <a:lnTo>
                      <a:pt x="386" y="444"/>
                    </a:lnTo>
                    <a:close/>
                    <a:moveTo>
                      <a:pt x="192" y="503"/>
                    </a:moveTo>
                    <a:lnTo>
                      <a:pt x="192" y="505"/>
                    </a:lnTo>
                    <a:lnTo>
                      <a:pt x="192" y="503"/>
                    </a:lnTo>
                    <a:close/>
                    <a:moveTo>
                      <a:pt x="367" y="452"/>
                    </a:moveTo>
                    <a:lnTo>
                      <a:pt x="367" y="453"/>
                    </a:lnTo>
                    <a:lnTo>
                      <a:pt x="367" y="455"/>
                    </a:lnTo>
                    <a:lnTo>
                      <a:pt x="365" y="455"/>
                    </a:lnTo>
                    <a:lnTo>
                      <a:pt x="365" y="457"/>
                    </a:lnTo>
                    <a:lnTo>
                      <a:pt x="367" y="457"/>
                    </a:lnTo>
                    <a:lnTo>
                      <a:pt x="365" y="457"/>
                    </a:lnTo>
                    <a:lnTo>
                      <a:pt x="365" y="459"/>
                    </a:lnTo>
                    <a:lnTo>
                      <a:pt x="363" y="457"/>
                    </a:lnTo>
                    <a:lnTo>
                      <a:pt x="363" y="459"/>
                    </a:lnTo>
                    <a:lnTo>
                      <a:pt x="361" y="459"/>
                    </a:lnTo>
                    <a:lnTo>
                      <a:pt x="363" y="459"/>
                    </a:lnTo>
                    <a:lnTo>
                      <a:pt x="363" y="457"/>
                    </a:lnTo>
                    <a:lnTo>
                      <a:pt x="365" y="457"/>
                    </a:lnTo>
                    <a:lnTo>
                      <a:pt x="365" y="455"/>
                    </a:lnTo>
                    <a:lnTo>
                      <a:pt x="367" y="455"/>
                    </a:lnTo>
                    <a:lnTo>
                      <a:pt x="367" y="453"/>
                    </a:lnTo>
                    <a:lnTo>
                      <a:pt x="365" y="453"/>
                    </a:lnTo>
                    <a:lnTo>
                      <a:pt x="367" y="452"/>
                    </a:lnTo>
                    <a:close/>
                    <a:moveTo>
                      <a:pt x="194" y="503"/>
                    </a:moveTo>
                    <a:lnTo>
                      <a:pt x="194" y="505"/>
                    </a:lnTo>
                    <a:lnTo>
                      <a:pt x="192" y="503"/>
                    </a:lnTo>
                    <a:lnTo>
                      <a:pt x="194" y="503"/>
                    </a:lnTo>
                    <a:close/>
                    <a:moveTo>
                      <a:pt x="386" y="444"/>
                    </a:moveTo>
                    <a:lnTo>
                      <a:pt x="386" y="446"/>
                    </a:lnTo>
                    <a:lnTo>
                      <a:pt x="384" y="446"/>
                    </a:lnTo>
                    <a:lnTo>
                      <a:pt x="386" y="446"/>
                    </a:lnTo>
                    <a:lnTo>
                      <a:pt x="386" y="444"/>
                    </a:lnTo>
                    <a:close/>
                    <a:moveTo>
                      <a:pt x="340" y="459"/>
                    </a:moveTo>
                    <a:lnTo>
                      <a:pt x="342" y="459"/>
                    </a:lnTo>
                    <a:lnTo>
                      <a:pt x="342" y="461"/>
                    </a:lnTo>
                    <a:lnTo>
                      <a:pt x="340" y="461"/>
                    </a:lnTo>
                    <a:lnTo>
                      <a:pt x="340" y="459"/>
                    </a:lnTo>
                    <a:close/>
                    <a:moveTo>
                      <a:pt x="349" y="457"/>
                    </a:moveTo>
                    <a:lnTo>
                      <a:pt x="349" y="455"/>
                    </a:lnTo>
                    <a:lnTo>
                      <a:pt x="349" y="457"/>
                    </a:lnTo>
                    <a:close/>
                    <a:moveTo>
                      <a:pt x="372" y="448"/>
                    </a:moveTo>
                    <a:lnTo>
                      <a:pt x="370" y="450"/>
                    </a:lnTo>
                    <a:lnTo>
                      <a:pt x="372" y="450"/>
                    </a:lnTo>
                    <a:lnTo>
                      <a:pt x="372" y="448"/>
                    </a:lnTo>
                    <a:lnTo>
                      <a:pt x="374" y="448"/>
                    </a:lnTo>
                    <a:lnTo>
                      <a:pt x="372" y="448"/>
                    </a:lnTo>
                    <a:lnTo>
                      <a:pt x="374" y="448"/>
                    </a:lnTo>
                    <a:lnTo>
                      <a:pt x="374" y="450"/>
                    </a:lnTo>
                    <a:lnTo>
                      <a:pt x="372" y="450"/>
                    </a:lnTo>
                    <a:lnTo>
                      <a:pt x="372" y="452"/>
                    </a:lnTo>
                    <a:lnTo>
                      <a:pt x="370" y="452"/>
                    </a:lnTo>
                    <a:lnTo>
                      <a:pt x="368" y="453"/>
                    </a:lnTo>
                    <a:lnTo>
                      <a:pt x="368" y="455"/>
                    </a:lnTo>
                    <a:lnTo>
                      <a:pt x="367" y="455"/>
                    </a:lnTo>
                    <a:lnTo>
                      <a:pt x="367" y="453"/>
                    </a:lnTo>
                    <a:lnTo>
                      <a:pt x="367" y="452"/>
                    </a:lnTo>
                    <a:lnTo>
                      <a:pt x="368" y="452"/>
                    </a:lnTo>
                    <a:lnTo>
                      <a:pt x="368" y="450"/>
                    </a:lnTo>
                    <a:lnTo>
                      <a:pt x="370" y="450"/>
                    </a:lnTo>
                    <a:lnTo>
                      <a:pt x="370" y="448"/>
                    </a:lnTo>
                    <a:lnTo>
                      <a:pt x="372" y="448"/>
                    </a:lnTo>
                    <a:close/>
                    <a:moveTo>
                      <a:pt x="349" y="455"/>
                    </a:moveTo>
                    <a:lnTo>
                      <a:pt x="349" y="453"/>
                    </a:lnTo>
                    <a:lnTo>
                      <a:pt x="351" y="453"/>
                    </a:lnTo>
                    <a:lnTo>
                      <a:pt x="351" y="455"/>
                    </a:lnTo>
                    <a:lnTo>
                      <a:pt x="349" y="455"/>
                    </a:lnTo>
                    <a:close/>
                    <a:moveTo>
                      <a:pt x="376" y="446"/>
                    </a:moveTo>
                    <a:lnTo>
                      <a:pt x="376" y="444"/>
                    </a:lnTo>
                    <a:lnTo>
                      <a:pt x="376" y="446"/>
                    </a:lnTo>
                    <a:lnTo>
                      <a:pt x="374" y="446"/>
                    </a:lnTo>
                    <a:lnTo>
                      <a:pt x="376" y="446"/>
                    </a:lnTo>
                    <a:close/>
                    <a:moveTo>
                      <a:pt x="380" y="442"/>
                    </a:moveTo>
                    <a:lnTo>
                      <a:pt x="380" y="444"/>
                    </a:lnTo>
                    <a:lnTo>
                      <a:pt x="380" y="442"/>
                    </a:lnTo>
                    <a:close/>
                    <a:moveTo>
                      <a:pt x="53" y="530"/>
                    </a:moveTo>
                    <a:lnTo>
                      <a:pt x="55" y="530"/>
                    </a:lnTo>
                    <a:lnTo>
                      <a:pt x="55" y="532"/>
                    </a:lnTo>
                    <a:lnTo>
                      <a:pt x="53" y="532"/>
                    </a:lnTo>
                    <a:lnTo>
                      <a:pt x="53" y="530"/>
                    </a:lnTo>
                    <a:close/>
                    <a:moveTo>
                      <a:pt x="372" y="446"/>
                    </a:moveTo>
                    <a:lnTo>
                      <a:pt x="374" y="446"/>
                    </a:lnTo>
                    <a:lnTo>
                      <a:pt x="374" y="448"/>
                    </a:lnTo>
                    <a:lnTo>
                      <a:pt x="372" y="448"/>
                    </a:lnTo>
                    <a:lnTo>
                      <a:pt x="370" y="448"/>
                    </a:lnTo>
                    <a:lnTo>
                      <a:pt x="370" y="450"/>
                    </a:lnTo>
                    <a:lnTo>
                      <a:pt x="368" y="448"/>
                    </a:lnTo>
                    <a:lnTo>
                      <a:pt x="370" y="448"/>
                    </a:lnTo>
                    <a:lnTo>
                      <a:pt x="370" y="446"/>
                    </a:lnTo>
                    <a:lnTo>
                      <a:pt x="372" y="446"/>
                    </a:lnTo>
                    <a:close/>
                    <a:moveTo>
                      <a:pt x="376" y="444"/>
                    </a:moveTo>
                    <a:lnTo>
                      <a:pt x="378" y="444"/>
                    </a:lnTo>
                    <a:lnTo>
                      <a:pt x="376" y="444"/>
                    </a:lnTo>
                    <a:close/>
                    <a:moveTo>
                      <a:pt x="374" y="444"/>
                    </a:moveTo>
                    <a:lnTo>
                      <a:pt x="372" y="444"/>
                    </a:lnTo>
                    <a:lnTo>
                      <a:pt x="374" y="444"/>
                    </a:lnTo>
                    <a:close/>
                    <a:moveTo>
                      <a:pt x="338" y="457"/>
                    </a:moveTo>
                    <a:lnTo>
                      <a:pt x="336" y="457"/>
                    </a:lnTo>
                    <a:lnTo>
                      <a:pt x="338" y="457"/>
                    </a:lnTo>
                    <a:close/>
                    <a:moveTo>
                      <a:pt x="378" y="442"/>
                    </a:moveTo>
                    <a:lnTo>
                      <a:pt x="380" y="442"/>
                    </a:lnTo>
                    <a:lnTo>
                      <a:pt x="378" y="442"/>
                    </a:lnTo>
                    <a:lnTo>
                      <a:pt x="380" y="442"/>
                    </a:lnTo>
                    <a:lnTo>
                      <a:pt x="378" y="442"/>
                    </a:lnTo>
                    <a:lnTo>
                      <a:pt x="380" y="442"/>
                    </a:lnTo>
                    <a:lnTo>
                      <a:pt x="378" y="442"/>
                    </a:lnTo>
                    <a:lnTo>
                      <a:pt x="378" y="444"/>
                    </a:lnTo>
                    <a:lnTo>
                      <a:pt x="378" y="442"/>
                    </a:lnTo>
                    <a:close/>
                    <a:moveTo>
                      <a:pt x="76" y="525"/>
                    </a:moveTo>
                    <a:lnTo>
                      <a:pt x="76" y="527"/>
                    </a:lnTo>
                    <a:lnTo>
                      <a:pt x="76" y="525"/>
                    </a:lnTo>
                    <a:close/>
                    <a:moveTo>
                      <a:pt x="376" y="442"/>
                    </a:moveTo>
                    <a:lnTo>
                      <a:pt x="378" y="442"/>
                    </a:lnTo>
                    <a:lnTo>
                      <a:pt x="376" y="442"/>
                    </a:lnTo>
                    <a:lnTo>
                      <a:pt x="376" y="444"/>
                    </a:lnTo>
                    <a:lnTo>
                      <a:pt x="376" y="442"/>
                    </a:lnTo>
                    <a:lnTo>
                      <a:pt x="376" y="444"/>
                    </a:lnTo>
                    <a:lnTo>
                      <a:pt x="374" y="444"/>
                    </a:lnTo>
                    <a:lnTo>
                      <a:pt x="374" y="442"/>
                    </a:lnTo>
                    <a:lnTo>
                      <a:pt x="376" y="442"/>
                    </a:lnTo>
                    <a:lnTo>
                      <a:pt x="376" y="444"/>
                    </a:lnTo>
                    <a:lnTo>
                      <a:pt x="376" y="442"/>
                    </a:lnTo>
                    <a:close/>
                    <a:moveTo>
                      <a:pt x="63" y="528"/>
                    </a:moveTo>
                    <a:lnTo>
                      <a:pt x="61" y="528"/>
                    </a:lnTo>
                    <a:lnTo>
                      <a:pt x="63" y="528"/>
                    </a:lnTo>
                    <a:close/>
                    <a:moveTo>
                      <a:pt x="75" y="525"/>
                    </a:moveTo>
                    <a:lnTo>
                      <a:pt x="73" y="525"/>
                    </a:lnTo>
                    <a:lnTo>
                      <a:pt x="75" y="525"/>
                    </a:lnTo>
                    <a:close/>
                    <a:moveTo>
                      <a:pt x="374" y="442"/>
                    </a:moveTo>
                    <a:lnTo>
                      <a:pt x="374" y="444"/>
                    </a:lnTo>
                    <a:lnTo>
                      <a:pt x="372" y="444"/>
                    </a:lnTo>
                    <a:lnTo>
                      <a:pt x="372" y="446"/>
                    </a:lnTo>
                    <a:lnTo>
                      <a:pt x="372" y="444"/>
                    </a:lnTo>
                    <a:lnTo>
                      <a:pt x="372" y="442"/>
                    </a:lnTo>
                    <a:lnTo>
                      <a:pt x="374" y="442"/>
                    </a:lnTo>
                    <a:close/>
                    <a:moveTo>
                      <a:pt x="69" y="525"/>
                    </a:moveTo>
                    <a:lnTo>
                      <a:pt x="67" y="525"/>
                    </a:lnTo>
                    <a:lnTo>
                      <a:pt x="69" y="525"/>
                    </a:lnTo>
                    <a:close/>
                    <a:moveTo>
                      <a:pt x="71" y="525"/>
                    </a:moveTo>
                    <a:lnTo>
                      <a:pt x="69" y="525"/>
                    </a:lnTo>
                    <a:lnTo>
                      <a:pt x="71" y="525"/>
                    </a:lnTo>
                    <a:close/>
                    <a:moveTo>
                      <a:pt x="267" y="477"/>
                    </a:moveTo>
                    <a:lnTo>
                      <a:pt x="267" y="478"/>
                    </a:lnTo>
                    <a:lnTo>
                      <a:pt x="269" y="478"/>
                    </a:lnTo>
                    <a:lnTo>
                      <a:pt x="269" y="480"/>
                    </a:lnTo>
                    <a:lnTo>
                      <a:pt x="269" y="482"/>
                    </a:lnTo>
                    <a:lnTo>
                      <a:pt x="269" y="480"/>
                    </a:lnTo>
                    <a:lnTo>
                      <a:pt x="267" y="478"/>
                    </a:lnTo>
                    <a:lnTo>
                      <a:pt x="267" y="477"/>
                    </a:lnTo>
                    <a:close/>
                    <a:moveTo>
                      <a:pt x="372" y="440"/>
                    </a:moveTo>
                    <a:lnTo>
                      <a:pt x="374" y="440"/>
                    </a:lnTo>
                    <a:lnTo>
                      <a:pt x="374" y="442"/>
                    </a:lnTo>
                    <a:lnTo>
                      <a:pt x="374" y="440"/>
                    </a:lnTo>
                    <a:lnTo>
                      <a:pt x="374" y="442"/>
                    </a:lnTo>
                    <a:lnTo>
                      <a:pt x="372" y="442"/>
                    </a:lnTo>
                    <a:lnTo>
                      <a:pt x="372" y="440"/>
                    </a:lnTo>
                    <a:close/>
                    <a:moveTo>
                      <a:pt x="367" y="446"/>
                    </a:moveTo>
                    <a:lnTo>
                      <a:pt x="368" y="444"/>
                    </a:lnTo>
                    <a:lnTo>
                      <a:pt x="368" y="442"/>
                    </a:lnTo>
                    <a:lnTo>
                      <a:pt x="370" y="442"/>
                    </a:lnTo>
                    <a:lnTo>
                      <a:pt x="370" y="440"/>
                    </a:lnTo>
                    <a:lnTo>
                      <a:pt x="372" y="440"/>
                    </a:lnTo>
                    <a:lnTo>
                      <a:pt x="374" y="440"/>
                    </a:lnTo>
                    <a:lnTo>
                      <a:pt x="372" y="440"/>
                    </a:lnTo>
                    <a:lnTo>
                      <a:pt x="372" y="442"/>
                    </a:lnTo>
                    <a:lnTo>
                      <a:pt x="370" y="444"/>
                    </a:lnTo>
                    <a:lnTo>
                      <a:pt x="372" y="442"/>
                    </a:lnTo>
                    <a:lnTo>
                      <a:pt x="372" y="444"/>
                    </a:lnTo>
                    <a:lnTo>
                      <a:pt x="370" y="444"/>
                    </a:lnTo>
                    <a:lnTo>
                      <a:pt x="372" y="444"/>
                    </a:lnTo>
                    <a:lnTo>
                      <a:pt x="370" y="446"/>
                    </a:lnTo>
                    <a:lnTo>
                      <a:pt x="368" y="446"/>
                    </a:lnTo>
                    <a:lnTo>
                      <a:pt x="368" y="448"/>
                    </a:lnTo>
                    <a:lnTo>
                      <a:pt x="367" y="448"/>
                    </a:lnTo>
                    <a:lnTo>
                      <a:pt x="367" y="450"/>
                    </a:lnTo>
                    <a:lnTo>
                      <a:pt x="365" y="450"/>
                    </a:lnTo>
                    <a:lnTo>
                      <a:pt x="363" y="450"/>
                    </a:lnTo>
                    <a:lnTo>
                      <a:pt x="363" y="452"/>
                    </a:lnTo>
                    <a:lnTo>
                      <a:pt x="363" y="450"/>
                    </a:lnTo>
                    <a:lnTo>
                      <a:pt x="361" y="450"/>
                    </a:lnTo>
                    <a:lnTo>
                      <a:pt x="363" y="450"/>
                    </a:lnTo>
                    <a:lnTo>
                      <a:pt x="363" y="448"/>
                    </a:lnTo>
                    <a:lnTo>
                      <a:pt x="365" y="448"/>
                    </a:lnTo>
                    <a:lnTo>
                      <a:pt x="367" y="446"/>
                    </a:lnTo>
                    <a:lnTo>
                      <a:pt x="368" y="446"/>
                    </a:lnTo>
                    <a:lnTo>
                      <a:pt x="368" y="444"/>
                    </a:lnTo>
                    <a:lnTo>
                      <a:pt x="370" y="444"/>
                    </a:lnTo>
                    <a:lnTo>
                      <a:pt x="368" y="444"/>
                    </a:lnTo>
                    <a:lnTo>
                      <a:pt x="367" y="446"/>
                    </a:lnTo>
                    <a:close/>
                    <a:moveTo>
                      <a:pt x="171" y="503"/>
                    </a:moveTo>
                    <a:lnTo>
                      <a:pt x="169" y="503"/>
                    </a:lnTo>
                    <a:lnTo>
                      <a:pt x="169" y="502"/>
                    </a:lnTo>
                    <a:lnTo>
                      <a:pt x="171" y="502"/>
                    </a:lnTo>
                    <a:lnTo>
                      <a:pt x="171" y="500"/>
                    </a:lnTo>
                    <a:lnTo>
                      <a:pt x="173" y="500"/>
                    </a:lnTo>
                    <a:lnTo>
                      <a:pt x="173" y="502"/>
                    </a:lnTo>
                    <a:lnTo>
                      <a:pt x="171" y="503"/>
                    </a:lnTo>
                    <a:close/>
                    <a:moveTo>
                      <a:pt x="367" y="442"/>
                    </a:moveTo>
                    <a:lnTo>
                      <a:pt x="365" y="442"/>
                    </a:lnTo>
                    <a:lnTo>
                      <a:pt x="367" y="442"/>
                    </a:lnTo>
                    <a:close/>
                    <a:moveTo>
                      <a:pt x="65" y="525"/>
                    </a:moveTo>
                    <a:lnTo>
                      <a:pt x="63" y="525"/>
                    </a:lnTo>
                    <a:lnTo>
                      <a:pt x="63" y="523"/>
                    </a:lnTo>
                    <a:lnTo>
                      <a:pt x="65" y="525"/>
                    </a:lnTo>
                    <a:close/>
                    <a:moveTo>
                      <a:pt x="367" y="446"/>
                    </a:moveTo>
                    <a:lnTo>
                      <a:pt x="365" y="446"/>
                    </a:lnTo>
                    <a:lnTo>
                      <a:pt x="365" y="448"/>
                    </a:lnTo>
                    <a:lnTo>
                      <a:pt x="363" y="448"/>
                    </a:lnTo>
                    <a:lnTo>
                      <a:pt x="365" y="448"/>
                    </a:lnTo>
                    <a:lnTo>
                      <a:pt x="365" y="446"/>
                    </a:lnTo>
                    <a:lnTo>
                      <a:pt x="365" y="444"/>
                    </a:lnTo>
                    <a:lnTo>
                      <a:pt x="367" y="442"/>
                    </a:lnTo>
                    <a:lnTo>
                      <a:pt x="368" y="440"/>
                    </a:lnTo>
                    <a:lnTo>
                      <a:pt x="370" y="440"/>
                    </a:lnTo>
                    <a:lnTo>
                      <a:pt x="368" y="442"/>
                    </a:lnTo>
                    <a:lnTo>
                      <a:pt x="368" y="444"/>
                    </a:lnTo>
                    <a:lnTo>
                      <a:pt x="367" y="446"/>
                    </a:lnTo>
                    <a:close/>
                    <a:moveTo>
                      <a:pt x="367" y="440"/>
                    </a:moveTo>
                    <a:lnTo>
                      <a:pt x="367" y="442"/>
                    </a:lnTo>
                    <a:lnTo>
                      <a:pt x="367" y="440"/>
                    </a:lnTo>
                    <a:close/>
                    <a:moveTo>
                      <a:pt x="367" y="440"/>
                    </a:moveTo>
                    <a:lnTo>
                      <a:pt x="367" y="442"/>
                    </a:lnTo>
                    <a:lnTo>
                      <a:pt x="365" y="442"/>
                    </a:lnTo>
                    <a:lnTo>
                      <a:pt x="367" y="442"/>
                    </a:lnTo>
                    <a:lnTo>
                      <a:pt x="367" y="440"/>
                    </a:lnTo>
                    <a:close/>
                    <a:moveTo>
                      <a:pt x="351" y="446"/>
                    </a:moveTo>
                    <a:lnTo>
                      <a:pt x="353" y="446"/>
                    </a:lnTo>
                    <a:lnTo>
                      <a:pt x="353" y="448"/>
                    </a:lnTo>
                    <a:lnTo>
                      <a:pt x="351" y="448"/>
                    </a:lnTo>
                    <a:lnTo>
                      <a:pt x="349" y="448"/>
                    </a:lnTo>
                    <a:lnTo>
                      <a:pt x="349" y="446"/>
                    </a:lnTo>
                    <a:lnTo>
                      <a:pt x="351" y="446"/>
                    </a:lnTo>
                    <a:close/>
                    <a:moveTo>
                      <a:pt x="330" y="455"/>
                    </a:moveTo>
                    <a:lnTo>
                      <a:pt x="328" y="453"/>
                    </a:lnTo>
                    <a:lnTo>
                      <a:pt x="330" y="453"/>
                    </a:lnTo>
                    <a:lnTo>
                      <a:pt x="330" y="452"/>
                    </a:lnTo>
                    <a:lnTo>
                      <a:pt x="330" y="453"/>
                    </a:lnTo>
                    <a:lnTo>
                      <a:pt x="330" y="455"/>
                    </a:lnTo>
                    <a:close/>
                    <a:moveTo>
                      <a:pt x="367" y="440"/>
                    </a:moveTo>
                    <a:lnTo>
                      <a:pt x="365" y="440"/>
                    </a:lnTo>
                    <a:lnTo>
                      <a:pt x="365" y="442"/>
                    </a:lnTo>
                    <a:lnTo>
                      <a:pt x="365" y="444"/>
                    </a:lnTo>
                    <a:lnTo>
                      <a:pt x="363" y="444"/>
                    </a:lnTo>
                    <a:lnTo>
                      <a:pt x="365" y="444"/>
                    </a:lnTo>
                    <a:lnTo>
                      <a:pt x="363" y="444"/>
                    </a:lnTo>
                    <a:lnTo>
                      <a:pt x="363" y="446"/>
                    </a:lnTo>
                    <a:lnTo>
                      <a:pt x="363" y="444"/>
                    </a:lnTo>
                    <a:lnTo>
                      <a:pt x="363" y="442"/>
                    </a:lnTo>
                    <a:lnTo>
                      <a:pt x="365" y="442"/>
                    </a:lnTo>
                    <a:lnTo>
                      <a:pt x="365" y="440"/>
                    </a:lnTo>
                    <a:lnTo>
                      <a:pt x="367" y="440"/>
                    </a:lnTo>
                    <a:close/>
                    <a:moveTo>
                      <a:pt x="265" y="473"/>
                    </a:moveTo>
                    <a:lnTo>
                      <a:pt x="265" y="475"/>
                    </a:lnTo>
                    <a:lnTo>
                      <a:pt x="265" y="473"/>
                    </a:lnTo>
                    <a:lnTo>
                      <a:pt x="263" y="473"/>
                    </a:lnTo>
                    <a:lnTo>
                      <a:pt x="265" y="473"/>
                    </a:lnTo>
                    <a:close/>
                    <a:moveTo>
                      <a:pt x="332" y="452"/>
                    </a:moveTo>
                    <a:lnTo>
                      <a:pt x="330" y="452"/>
                    </a:lnTo>
                    <a:lnTo>
                      <a:pt x="330" y="453"/>
                    </a:lnTo>
                    <a:lnTo>
                      <a:pt x="330" y="452"/>
                    </a:lnTo>
                    <a:lnTo>
                      <a:pt x="332" y="452"/>
                    </a:lnTo>
                    <a:close/>
                    <a:moveTo>
                      <a:pt x="367" y="438"/>
                    </a:moveTo>
                    <a:lnTo>
                      <a:pt x="368" y="438"/>
                    </a:lnTo>
                    <a:lnTo>
                      <a:pt x="368" y="440"/>
                    </a:lnTo>
                    <a:lnTo>
                      <a:pt x="368" y="438"/>
                    </a:lnTo>
                    <a:lnTo>
                      <a:pt x="368" y="440"/>
                    </a:lnTo>
                    <a:lnTo>
                      <a:pt x="367" y="440"/>
                    </a:lnTo>
                    <a:lnTo>
                      <a:pt x="367" y="438"/>
                    </a:lnTo>
                    <a:close/>
                    <a:moveTo>
                      <a:pt x="359" y="442"/>
                    </a:moveTo>
                    <a:lnTo>
                      <a:pt x="357" y="442"/>
                    </a:lnTo>
                    <a:lnTo>
                      <a:pt x="359" y="442"/>
                    </a:lnTo>
                    <a:close/>
                    <a:moveTo>
                      <a:pt x="367" y="438"/>
                    </a:moveTo>
                    <a:lnTo>
                      <a:pt x="367" y="440"/>
                    </a:lnTo>
                    <a:lnTo>
                      <a:pt x="367" y="438"/>
                    </a:lnTo>
                    <a:lnTo>
                      <a:pt x="367" y="440"/>
                    </a:lnTo>
                    <a:lnTo>
                      <a:pt x="365" y="440"/>
                    </a:lnTo>
                    <a:lnTo>
                      <a:pt x="365" y="438"/>
                    </a:lnTo>
                    <a:lnTo>
                      <a:pt x="367" y="438"/>
                    </a:lnTo>
                    <a:close/>
                    <a:moveTo>
                      <a:pt x="367" y="438"/>
                    </a:moveTo>
                    <a:lnTo>
                      <a:pt x="365" y="438"/>
                    </a:lnTo>
                    <a:lnTo>
                      <a:pt x="365" y="440"/>
                    </a:lnTo>
                    <a:lnTo>
                      <a:pt x="365" y="438"/>
                    </a:lnTo>
                    <a:lnTo>
                      <a:pt x="367" y="438"/>
                    </a:lnTo>
                    <a:close/>
                    <a:moveTo>
                      <a:pt x="169" y="498"/>
                    </a:moveTo>
                    <a:lnTo>
                      <a:pt x="171" y="498"/>
                    </a:lnTo>
                    <a:lnTo>
                      <a:pt x="171" y="500"/>
                    </a:lnTo>
                    <a:lnTo>
                      <a:pt x="169" y="500"/>
                    </a:lnTo>
                    <a:lnTo>
                      <a:pt x="169" y="498"/>
                    </a:lnTo>
                    <a:close/>
                    <a:moveTo>
                      <a:pt x="365" y="440"/>
                    </a:moveTo>
                    <a:lnTo>
                      <a:pt x="363" y="440"/>
                    </a:lnTo>
                    <a:lnTo>
                      <a:pt x="365" y="440"/>
                    </a:lnTo>
                    <a:lnTo>
                      <a:pt x="363" y="440"/>
                    </a:lnTo>
                    <a:lnTo>
                      <a:pt x="365" y="438"/>
                    </a:lnTo>
                    <a:lnTo>
                      <a:pt x="365" y="440"/>
                    </a:lnTo>
                    <a:close/>
                    <a:moveTo>
                      <a:pt x="670" y="302"/>
                    </a:moveTo>
                    <a:lnTo>
                      <a:pt x="670" y="304"/>
                    </a:lnTo>
                    <a:lnTo>
                      <a:pt x="670" y="302"/>
                    </a:lnTo>
                    <a:lnTo>
                      <a:pt x="670" y="304"/>
                    </a:lnTo>
                    <a:lnTo>
                      <a:pt x="670" y="302"/>
                    </a:lnTo>
                    <a:close/>
                    <a:moveTo>
                      <a:pt x="363" y="438"/>
                    </a:moveTo>
                    <a:lnTo>
                      <a:pt x="365" y="438"/>
                    </a:lnTo>
                    <a:lnTo>
                      <a:pt x="363" y="438"/>
                    </a:lnTo>
                    <a:lnTo>
                      <a:pt x="365" y="438"/>
                    </a:lnTo>
                    <a:lnTo>
                      <a:pt x="363" y="438"/>
                    </a:lnTo>
                    <a:lnTo>
                      <a:pt x="363" y="440"/>
                    </a:lnTo>
                    <a:lnTo>
                      <a:pt x="361" y="440"/>
                    </a:lnTo>
                    <a:lnTo>
                      <a:pt x="361" y="442"/>
                    </a:lnTo>
                    <a:lnTo>
                      <a:pt x="359" y="442"/>
                    </a:lnTo>
                    <a:lnTo>
                      <a:pt x="359" y="444"/>
                    </a:lnTo>
                    <a:lnTo>
                      <a:pt x="357" y="444"/>
                    </a:lnTo>
                    <a:lnTo>
                      <a:pt x="359" y="442"/>
                    </a:lnTo>
                    <a:lnTo>
                      <a:pt x="361" y="440"/>
                    </a:lnTo>
                    <a:lnTo>
                      <a:pt x="363" y="440"/>
                    </a:lnTo>
                    <a:lnTo>
                      <a:pt x="363" y="438"/>
                    </a:lnTo>
                    <a:lnTo>
                      <a:pt x="363" y="440"/>
                    </a:lnTo>
                    <a:lnTo>
                      <a:pt x="361" y="440"/>
                    </a:lnTo>
                    <a:lnTo>
                      <a:pt x="363" y="440"/>
                    </a:lnTo>
                    <a:lnTo>
                      <a:pt x="363" y="438"/>
                    </a:lnTo>
                    <a:close/>
                    <a:moveTo>
                      <a:pt x="263" y="471"/>
                    </a:moveTo>
                    <a:lnTo>
                      <a:pt x="265" y="471"/>
                    </a:lnTo>
                    <a:lnTo>
                      <a:pt x="263" y="471"/>
                    </a:lnTo>
                    <a:close/>
                    <a:moveTo>
                      <a:pt x="171" y="496"/>
                    </a:moveTo>
                    <a:lnTo>
                      <a:pt x="171" y="498"/>
                    </a:lnTo>
                    <a:lnTo>
                      <a:pt x="169" y="498"/>
                    </a:lnTo>
                    <a:lnTo>
                      <a:pt x="169" y="496"/>
                    </a:lnTo>
                    <a:lnTo>
                      <a:pt x="171" y="496"/>
                    </a:lnTo>
                    <a:lnTo>
                      <a:pt x="171" y="494"/>
                    </a:lnTo>
                    <a:lnTo>
                      <a:pt x="171" y="496"/>
                    </a:lnTo>
                    <a:close/>
                    <a:moveTo>
                      <a:pt x="334" y="448"/>
                    </a:moveTo>
                    <a:lnTo>
                      <a:pt x="336" y="448"/>
                    </a:lnTo>
                    <a:lnTo>
                      <a:pt x="334" y="448"/>
                    </a:lnTo>
                    <a:lnTo>
                      <a:pt x="334" y="450"/>
                    </a:lnTo>
                    <a:lnTo>
                      <a:pt x="334" y="448"/>
                    </a:lnTo>
                    <a:lnTo>
                      <a:pt x="336" y="450"/>
                    </a:lnTo>
                    <a:lnTo>
                      <a:pt x="336" y="452"/>
                    </a:lnTo>
                    <a:lnTo>
                      <a:pt x="334" y="452"/>
                    </a:lnTo>
                    <a:lnTo>
                      <a:pt x="332" y="452"/>
                    </a:lnTo>
                    <a:lnTo>
                      <a:pt x="332" y="450"/>
                    </a:lnTo>
                    <a:lnTo>
                      <a:pt x="332" y="448"/>
                    </a:lnTo>
                    <a:lnTo>
                      <a:pt x="332" y="450"/>
                    </a:lnTo>
                    <a:lnTo>
                      <a:pt x="332" y="448"/>
                    </a:lnTo>
                    <a:lnTo>
                      <a:pt x="334" y="448"/>
                    </a:lnTo>
                    <a:close/>
                    <a:moveTo>
                      <a:pt x="361" y="438"/>
                    </a:moveTo>
                    <a:lnTo>
                      <a:pt x="361" y="440"/>
                    </a:lnTo>
                    <a:lnTo>
                      <a:pt x="361" y="438"/>
                    </a:lnTo>
                    <a:lnTo>
                      <a:pt x="363" y="438"/>
                    </a:lnTo>
                    <a:lnTo>
                      <a:pt x="361" y="438"/>
                    </a:lnTo>
                    <a:lnTo>
                      <a:pt x="363" y="438"/>
                    </a:lnTo>
                    <a:lnTo>
                      <a:pt x="361" y="438"/>
                    </a:lnTo>
                    <a:lnTo>
                      <a:pt x="363" y="438"/>
                    </a:lnTo>
                    <a:lnTo>
                      <a:pt x="361" y="438"/>
                    </a:lnTo>
                    <a:lnTo>
                      <a:pt x="363" y="438"/>
                    </a:lnTo>
                    <a:lnTo>
                      <a:pt x="363" y="440"/>
                    </a:lnTo>
                    <a:lnTo>
                      <a:pt x="361" y="440"/>
                    </a:lnTo>
                    <a:lnTo>
                      <a:pt x="359" y="440"/>
                    </a:lnTo>
                    <a:lnTo>
                      <a:pt x="361" y="440"/>
                    </a:lnTo>
                    <a:lnTo>
                      <a:pt x="359" y="440"/>
                    </a:lnTo>
                    <a:lnTo>
                      <a:pt x="359" y="442"/>
                    </a:lnTo>
                    <a:lnTo>
                      <a:pt x="357" y="442"/>
                    </a:lnTo>
                    <a:lnTo>
                      <a:pt x="357" y="440"/>
                    </a:lnTo>
                    <a:lnTo>
                      <a:pt x="359" y="440"/>
                    </a:lnTo>
                    <a:lnTo>
                      <a:pt x="359" y="438"/>
                    </a:lnTo>
                    <a:lnTo>
                      <a:pt x="361" y="438"/>
                    </a:lnTo>
                    <a:close/>
                    <a:moveTo>
                      <a:pt x="361" y="438"/>
                    </a:moveTo>
                    <a:lnTo>
                      <a:pt x="359" y="438"/>
                    </a:lnTo>
                    <a:lnTo>
                      <a:pt x="361" y="438"/>
                    </a:lnTo>
                    <a:close/>
                    <a:moveTo>
                      <a:pt x="359" y="438"/>
                    </a:moveTo>
                    <a:lnTo>
                      <a:pt x="357" y="438"/>
                    </a:lnTo>
                    <a:lnTo>
                      <a:pt x="359" y="438"/>
                    </a:lnTo>
                    <a:close/>
                    <a:moveTo>
                      <a:pt x="351" y="440"/>
                    </a:moveTo>
                    <a:lnTo>
                      <a:pt x="349" y="440"/>
                    </a:lnTo>
                    <a:lnTo>
                      <a:pt x="349" y="442"/>
                    </a:lnTo>
                    <a:lnTo>
                      <a:pt x="349" y="440"/>
                    </a:lnTo>
                    <a:lnTo>
                      <a:pt x="351" y="440"/>
                    </a:lnTo>
                    <a:close/>
                    <a:moveTo>
                      <a:pt x="353" y="440"/>
                    </a:moveTo>
                    <a:lnTo>
                      <a:pt x="355" y="440"/>
                    </a:lnTo>
                    <a:lnTo>
                      <a:pt x="357" y="440"/>
                    </a:lnTo>
                    <a:lnTo>
                      <a:pt x="355" y="440"/>
                    </a:lnTo>
                    <a:lnTo>
                      <a:pt x="357" y="440"/>
                    </a:lnTo>
                    <a:lnTo>
                      <a:pt x="357" y="438"/>
                    </a:lnTo>
                    <a:lnTo>
                      <a:pt x="357" y="440"/>
                    </a:lnTo>
                    <a:lnTo>
                      <a:pt x="357" y="438"/>
                    </a:lnTo>
                    <a:lnTo>
                      <a:pt x="359" y="438"/>
                    </a:lnTo>
                    <a:lnTo>
                      <a:pt x="357" y="440"/>
                    </a:lnTo>
                    <a:lnTo>
                      <a:pt x="357" y="442"/>
                    </a:lnTo>
                    <a:lnTo>
                      <a:pt x="357" y="444"/>
                    </a:lnTo>
                    <a:lnTo>
                      <a:pt x="355" y="444"/>
                    </a:lnTo>
                    <a:lnTo>
                      <a:pt x="355" y="446"/>
                    </a:lnTo>
                    <a:lnTo>
                      <a:pt x="353" y="446"/>
                    </a:lnTo>
                    <a:lnTo>
                      <a:pt x="353" y="444"/>
                    </a:lnTo>
                    <a:lnTo>
                      <a:pt x="353" y="442"/>
                    </a:lnTo>
                    <a:lnTo>
                      <a:pt x="353" y="444"/>
                    </a:lnTo>
                    <a:lnTo>
                      <a:pt x="353" y="446"/>
                    </a:lnTo>
                    <a:lnTo>
                      <a:pt x="351" y="446"/>
                    </a:lnTo>
                    <a:lnTo>
                      <a:pt x="351" y="444"/>
                    </a:lnTo>
                    <a:lnTo>
                      <a:pt x="349" y="444"/>
                    </a:lnTo>
                    <a:lnTo>
                      <a:pt x="351" y="444"/>
                    </a:lnTo>
                    <a:lnTo>
                      <a:pt x="349" y="444"/>
                    </a:lnTo>
                    <a:lnTo>
                      <a:pt x="351" y="444"/>
                    </a:lnTo>
                    <a:lnTo>
                      <a:pt x="351" y="442"/>
                    </a:lnTo>
                    <a:lnTo>
                      <a:pt x="349" y="442"/>
                    </a:lnTo>
                    <a:lnTo>
                      <a:pt x="351" y="442"/>
                    </a:lnTo>
                    <a:lnTo>
                      <a:pt x="349" y="442"/>
                    </a:lnTo>
                    <a:lnTo>
                      <a:pt x="351" y="442"/>
                    </a:lnTo>
                    <a:lnTo>
                      <a:pt x="349" y="442"/>
                    </a:lnTo>
                    <a:lnTo>
                      <a:pt x="351" y="442"/>
                    </a:lnTo>
                    <a:lnTo>
                      <a:pt x="351" y="440"/>
                    </a:lnTo>
                    <a:lnTo>
                      <a:pt x="351" y="442"/>
                    </a:lnTo>
                    <a:lnTo>
                      <a:pt x="353" y="442"/>
                    </a:lnTo>
                    <a:lnTo>
                      <a:pt x="351" y="440"/>
                    </a:lnTo>
                    <a:lnTo>
                      <a:pt x="353" y="440"/>
                    </a:lnTo>
                    <a:close/>
                    <a:moveTo>
                      <a:pt x="315" y="452"/>
                    </a:moveTo>
                    <a:lnTo>
                      <a:pt x="315" y="453"/>
                    </a:lnTo>
                    <a:lnTo>
                      <a:pt x="313" y="453"/>
                    </a:lnTo>
                    <a:lnTo>
                      <a:pt x="313" y="452"/>
                    </a:lnTo>
                    <a:lnTo>
                      <a:pt x="315" y="452"/>
                    </a:lnTo>
                    <a:close/>
                    <a:moveTo>
                      <a:pt x="359" y="436"/>
                    </a:moveTo>
                    <a:lnTo>
                      <a:pt x="359" y="438"/>
                    </a:lnTo>
                    <a:lnTo>
                      <a:pt x="359" y="436"/>
                    </a:lnTo>
                    <a:close/>
                    <a:moveTo>
                      <a:pt x="359" y="436"/>
                    </a:moveTo>
                    <a:lnTo>
                      <a:pt x="359" y="438"/>
                    </a:lnTo>
                    <a:lnTo>
                      <a:pt x="359" y="436"/>
                    </a:lnTo>
                    <a:lnTo>
                      <a:pt x="361" y="436"/>
                    </a:lnTo>
                    <a:lnTo>
                      <a:pt x="361" y="438"/>
                    </a:lnTo>
                    <a:lnTo>
                      <a:pt x="359" y="438"/>
                    </a:lnTo>
                    <a:lnTo>
                      <a:pt x="359" y="436"/>
                    </a:lnTo>
                    <a:close/>
                    <a:moveTo>
                      <a:pt x="666" y="300"/>
                    </a:moveTo>
                    <a:lnTo>
                      <a:pt x="668" y="302"/>
                    </a:lnTo>
                    <a:lnTo>
                      <a:pt x="670" y="302"/>
                    </a:lnTo>
                    <a:lnTo>
                      <a:pt x="668" y="302"/>
                    </a:lnTo>
                    <a:lnTo>
                      <a:pt x="670" y="302"/>
                    </a:lnTo>
                    <a:lnTo>
                      <a:pt x="668" y="302"/>
                    </a:lnTo>
                    <a:lnTo>
                      <a:pt x="670" y="302"/>
                    </a:lnTo>
                    <a:lnTo>
                      <a:pt x="668" y="302"/>
                    </a:lnTo>
                    <a:lnTo>
                      <a:pt x="668" y="300"/>
                    </a:lnTo>
                    <a:lnTo>
                      <a:pt x="666" y="300"/>
                    </a:lnTo>
                    <a:close/>
                    <a:moveTo>
                      <a:pt x="351" y="438"/>
                    </a:moveTo>
                    <a:lnTo>
                      <a:pt x="351" y="440"/>
                    </a:lnTo>
                    <a:lnTo>
                      <a:pt x="349" y="440"/>
                    </a:lnTo>
                    <a:lnTo>
                      <a:pt x="349" y="438"/>
                    </a:lnTo>
                    <a:lnTo>
                      <a:pt x="351" y="438"/>
                    </a:lnTo>
                    <a:close/>
                    <a:moveTo>
                      <a:pt x="340" y="442"/>
                    </a:moveTo>
                    <a:lnTo>
                      <a:pt x="340" y="444"/>
                    </a:lnTo>
                    <a:lnTo>
                      <a:pt x="338" y="444"/>
                    </a:lnTo>
                    <a:lnTo>
                      <a:pt x="340" y="442"/>
                    </a:lnTo>
                    <a:lnTo>
                      <a:pt x="338" y="442"/>
                    </a:lnTo>
                    <a:lnTo>
                      <a:pt x="340" y="442"/>
                    </a:lnTo>
                    <a:lnTo>
                      <a:pt x="338" y="442"/>
                    </a:lnTo>
                    <a:lnTo>
                      <a:pt x="340" y="442"/>
                    </a:lnTo>
                    <a:close/>
                    <a:moveTo>
                      <a:pt x="353" y="438"/>
                    </a:moveTo>
                    <a:lnTo>
                      <a:pt x="353" y="440"/>
                    </a:lnTo>
                    <a:lnTo>
                      <a:pt x="351" y="440"/>
                    </a:lnTo>
                    <a:lnTo>
                      <a:pt x="351" y="438"/>
                    </a:lnTo>
                    <a:lnTo>
                      <a:pt x="353" y="438"/>
                    </a:lnTo>
                    <a:close/>
                    <a:moveTo>
                      <a:pt x="355" y="436"/>
                    </a:moveTo>
                    <a:lnTo>
                      <a:pt x="357" y="436"/>
                    </a:lnTo>
                    <a:lnTo>
                      <a:pt x="359" y="436"/>
                    </a:lnTo>
                    <a:lnTo>
                      <a:pt x="359" y="438"/>
                    </a:lnTo>
                    <a:lnTo>
                      <a:pt x="357" y="438"/>
                    </a:lnTo>
                    <a:lnTo>
                      <a:pt x="355" y="438"/>
                    </a:lnTo>
                    <a:lnTo>
                      <a:pt x="355" y="440"/>
                    </a:lnTo>
                    <a:lnTo>
                      <a:pt x="353" y="440"/>
                    </a:lnTo>
                    <a:lnTo>
                      <a:pt x="353" y="438"/>
                    </a:lnTo>
                    <a:lnTo>
                      <a:pt x="353" y="436"/>
                    </a:lnTo>
                    <a:lnTo>
                      <a:pt x="355" y="436"/>
                    </a:lnTo>
                    <a:close/>
                    <a:moveTo>
                      <a:pt x="342" y="442"/>
                    </a:moveTo>
                    <a:lnTo>
                      <a:pt x="342" y="440"/>
                    </a:lnTo>
                    <a:lnTo>
                      <a:pt x="342" y="442"/>
                    </a:lnTo>
                    <a:close/>
                    <a:moveTo>
                      <a:pt x="261" y="465"/>
                    </a:moveTo>
                    <a:lnTo>
                      <a:pt x="261" y="467"/>
                    </a:lnTo>
                    <a:lnTo>
                      <a:pt x="263" y="467"/>
                    </a:lnTo>
                    <a:lnTo>
                      <a:pt x="263" y="469"/>
                    </a:lnTo>
                    <a:lnTo>
                      <a:pt x="261" y="469"/>
                    </a:lnTo>
                    <a:lnTo>
                      <a:pt x="263" y="469"/>
                    </a:lnTo>
                    <a:lnTo>
                      <a:pt x="263" y="471"/>
                    </a:lnTo>
                    <a:lnTo>
                      <a:pt x="261" y="469"/>
                    </a:lnTo>
                    <a:lnTo>
                      <a:pt x="261" y="467"/>
                    </a:lnTo>
                    <a:lnTo>
                      <a:pt x="261" y="465"/>
                    </a:lnTo>
                    <a:close/>
                    <a:moveTo>
                      <a:pt x="311" y="448"/>
                    </a:moveTo>
                    <a:lnTo>
                      <a:pt x="311" y="450"/>
                    </a:lnTo>
                    <a:lnTo>
                      <a:pt x="311" y="448"/>
                    </a:lnTo>
                    <a:lnTo>
                      <a:pt x="311" y="450"/>
                    </a:lnTo>
                    <a:lnTo>
                      <a:pt x="311" y="448"/>
                    </a:lnTo>
                    <a:close/>
                    <a:moveTo>
                      <a:pt x="261" y="463"/>
                    </a:moveTo>
                    <a:lnTo>
                      <a:pt x="263" y="463"/>
                    </a:lnTo>
                    <a:lnTo>
                      <a:pt x="263" y="465"/>
                    </a:lnTo>
                    <a:lnTo>
                      <a:pt x="261" y="465"/>
                    </a:lnTo>
                    <a:lnTo>
                      <a:pt x="261" y="463"/>
                    </a:lnTo>
                    <a:close/>
                    <a:moveTo>
                      <a:pt x="305" y="450"/>
                    </a:moveTo>
                    <a:lnTo>
                      <a:pt x="303" y="450"/>
                    </a:lnTo>
                    <a:lnTo>
                      <a:pt x="305" y="450"/>
                    </a:lnTo>
                    <a:close/>
                    <a:moveTo>
                      <a:pt x="263" y="463"/>
                    </a:moveTo>
                    <a:lnTo>
                      <a:pt x="263" y="461"/>
                    </a:lnTo>
                    <a:lnTo>
                      <a:pt x="265" y="461"/>
                    </a:lnTo>
                    <a:lnTo>
                      <a:pt x="263" y="461"/>
                    </a:lnTo>
                    <a:lnTo>
                      <a:pt x="265" y="461"/>
                    </a:lnTo>
                    <a:lnTo>
                      <a:pt x="263" y="463"/>
                    </a:lnTo>
                    <a:close/>
                    <a:moveTo>
                      <a:pt x="305" y="448"/>
                    </a:moveTo>
                    <a:lnTo>
                      <a:pt x="303" y="448"/>
                    </a:lnTo>
                    <a:lnTo>
                      <a:pt x="305" y="448"/>
                    </a:lnTo>
                    <a:close/>
                    <a:moveTo>
                      <a:pt x="614" y="321"/>
                    </a:moveTo>
                    <a:lnTo>
                      <a:pt x="614" y="323"/>
                    </a:lnTo>
                    <a:lnTo>
                      <a:pt x="614" y="321"/>
                    </a:lnTo>
                    <a:lnTo>
                      <a:pt x="612" y="321"/>
                    </a:lnTo>
                    <a:lnTo>
                      <a:pt x="614" y="321"/>
                    </a:lnTo>
                    <a:close/>
                    <a:moveTo>
                      <a:pt x="90" y="503"/>
                    </a:moveTo>
                    <a:lnTo>
                      <a:pt x="88" y="503"/>
                    </a:lnTo>
                    <a:lnTo>
                      <a:pt x="88" y="505"/>
                    </a:lnTo>
                    <a:lnTo>
                      <a:pt x="88" y="503"/>
                    </a:lnTo>
                    <a:lnTo>
                      <a:pt x="90" y="503"/>
                    </a:lnTo>
                    <a:close/>
                    <a:moveTo>
                      <a:pt x="614" y="319"/>
                    </a:moveTo>
                    <a:lnTo>
                      <a:pt x="614" y="321"/>
                    </a:lnTo>
                    <a:lnTo>
                      <a:pt x="616" y="321"/>
                    </a:lnTo>
                    <a:lnTo>
                      <a:pt x="614" y="321"/>
                    </a:lnTo>
                    <a:lnTo>
                      <a:pt x="614" y="319"/>
                    </a:lnTo>
                    <a:lnTo>
                      <a:pt x="614" y="321"/>
                    </a:lnTo>
                    <a:lnTo>
                      <a:pt x="614" y="319"/>
                    </a:lnTo>
                    <a:close/>
                    <a:moveTo>
                      <a:pt x="311" y="444"/>
                    </a:moveTo>
                    <a:lnTo>
                      <a:pt x="313" y="444"/>
                    </a:lnTo>
                    <a:lnTo>
                      <a:pt x="311" y="444"/>
                    </a:lnTo>
                    <a:lnTo>
                      <a:pt x="311" y="446"/>
                    </a:lnTo>
                    <a:lnTo>
                      <a:pt x="311" y="444"/>
                    </a:lnTo>
                    <a:close/>
                    <a:moveTo>
                      <a:pt x="317" y="444"/>
                    </a:moveTo>
                    <a:lnTo>
                      <a:pt x="315" y="444"/>
                    </a:lnTo>
                    <a:lnTo>
                      <a:pt x="315" y="446"/>
                    </a:lnTo>
                    <a:lnTo>
                      <a:pt x="315" y="448"/>
                    </a:lnTo>
                    <a:lnTo>
                      <a:pt x="315" y="450"/>
                    </a:lnTo>
                    <a:lnTo>
                      <a:pt x="317" y="450"/>
                    </a:lnTo>
                    <a:lnTo>
                      <a:pt x="317" y="452"/>
                    </a:lnTo>
                    <a:lnTo>
                      <a:pt x="317" y="450"/>
                    </a:lnTo>
                    <a:lnTo>
                      <a:pt x="317" y="452"/>
                    </a:lnTo>
                    <a:lnTo>
                      <a:pt x="315" y="452"/>
                    </a:lnTo>
                    <a:lnTo>
                      <a:pt x="315" y="450"/>
                    </a:lnTo>
                    <a:lnTo>
                      <a:pt x="315" y="452"/>
                    </a:lnTo>
                    <a:lnTo>
                      <a:pt x="313" y="450"/>
                    </a:lnTo>
                    <a:lnTo>
                      <a:pt x="311" y="450"/>
                    </a:lnTo>
                    <a:lnTo>
                      <a:pt x="313" y="450"/>
                    </a:lnTo>
                    <a:lnTo>
                      <a:pt x="313" y="448"/>
                    </a:lnTo>
                    <a:lnTo>
                      <a:pt x="315" y="446"/>
                    </a:lnTo>
                    <a:lnTo>
                      <a:pt x="313" y="444"/>
                    </a:lnTo>
                    <a:lnTo>
                      <a:pt x="315" y="444"/>
                    </a:lnTo>
                    <a:lnTo>
                      <a:pt x="313" y="444"/>
                    </a:lnTo>
                    <a:lnTo>
                      <a:pt x="315" y="444"/>
                    </a:lnTo>
                    <a:lnTo>
                      <a:pt x="317" y="444"/>
                    </a:lnTo>
                    <a:close/>
                    <a:moveTo>
                      <a:pt x="303" y="446"/>
                    </a:moveTo>
                    <a:lnTo>
                      <a:pt x="305" y="446"/>
                    </a:lnTo>
                    <a:lnTo>
                      <a:pt x="305" y="448"/>
                    </a:lnTo>
                    <a:lnTo>
                      <a:pt x="303" y="448"/>
                    </a:lnTo>
                    <a:lnTo>
                      <a:pt x="305" y="448"/>
                    </a:lnTo>
                    <a:lnTo>
                      <a:pt x="303" y="448"/>
                    </a:lnTo>
                    <a:lnTo>
                      <a:pt x="303" y="446"/>
                    </a:lnTo>
                    <a:close/>
                    <a:moveTo>
                      <a:pt x="614" y="319"/>
                    </a:moveTo>
                    <a:lnTo>
                      <a:pt x="616" y="319"/>
                    </a:lnTo>
                    <a:lnTo>
                      <a:pt x="614" y="319"/>
                    </a:lnTo>
                    <a:close/>
                    <a:moveTo>
                      <a:pt x="614" y="319"/>
                    </a:moveTo>
                    <a:lnTo>
                      <a:pt x="614" y="321"/>
                    </a:lnTo>
                    <a:lnTo>
                      <a:pt x="614" y="319"/>
                    </a:lnTo>
                    <a:lnTo>
                      <a:pt x="614" y="321"/>
                    </a:lnTo>
                    <a:lnTo>
                      <a:pt x="612" y="321"/>
                    </a:lnTo>
                    <a:lnTo>
                      <a:pt x="614" y="321"/>
                    </a:lnTo>
                    <a:lnTo>
                      <a:pt x="612" y="321"/>
                    </a:lnTo>
                    <a:lnTo>
                      <a:pt x="612" y="319"/>
                    </a:lnTo>
                    <a:lnTo>
                      <a:pt x="614" y="321"/>
                    </a:lnTo>
                    <a:lnTo>
                      <a:pt x="612" y="319"/>
                    </a:lnTo>
                    <a:lnTo>
                      <a:pt x="614" y="319"/>
                    </a:lnTo>
                    <a:close/>
                    <a:moveTo>
                      <a:pt x="614" y="317"/>
                    </a:moveTo>
                    <a:lnTo>
                      <a:pt x="616" y="317"/>
                    </a:lnTo>
                    <a:lnTo>
                      <a:pt x="616" y="319"/>
                    </a:lnTo>
                    <a:lnTo>
                      <a:pt x="616" y="317"/>
                    </a:lnTo>
                    <a:lnTo>
                      <a:pt x="614" y="317"/>
                    </a:lnTo>
                    <a:close/>
                    <a:moveTo>
                      <a:pt x="265" y="457"/>
                    </a:moveTo>
                    <a:lnTo>
                      <a:pt x="263" y="457"/>
                    </a:lnTo>
                    <a:lnTo>
                      <a:pt x="263" y="459"/>
                    </a:lnTo>
                    <a:lnTo>
                      <a:pt x="263" y="457"/>
                    </a:lnTo>
                    <a:lnTo>
                      <a:pt x="265" y="457"/>
                    </a:lnTo>
                    <a:close/>
                    <a:moveTo>
                      <a:pt x="612" y="319"/>
                    </a:moveTo>
                    <a:lnTo>
                      <a:pt x="614" y="319"/>
                    </a:lnTo>
                    <a:lnTo>
                      <a:pt x="612" y="319"/>
                    </a:lnTo>
                    <a:close/>
                    <a:moveTo>
                      <a:pt x="319" y="442"/>
                    </a:moveTo>
                    <a:lnTo>
                      <a:pt x="317" y="442"/>
                    </a:lnTo>
                    <a:lnTo>
                      <a:pt x="317" y="440"/>
                    </a:lnTo>
                    <a:lnTo>
                      <a:pt x="319" y="442"/>
                    </a:lnTo>
                    <a:close/>
                    <a:moveTo>
                      <a:pt x="614" y="317"/>
                    </a:moveTo>
                    <a:lnTo>
                      <a:pt x="614" y="319"/>
                    </a:lnTo>
                    <a:lnTo>
                      <a:pt x="614" y="317"/>
                    </a:lnTo>
                    <a:lnTo>
                      <a:pt x="614" y="319"/>
                    </a:lnTo>
                    <a:lnTo>
                      <a:pt x="612" y="317"/>
                    </a:lnTo>
                    <a:lnTo>
                      <a:pt x="614" y="317"/>
                    </a:lnTo>
                    <a:close/>
                    <a:moveTo>
                      <a:pt x="612" y="319"/>
                    </a:moveTo>
                    <a:lnTo>
                      <a:pt x="614" y="319"/>
                    </a:lnTo>
                    <a:lnTo>
                      <a:pt x="612" y="319"/>
                    </a:lnTo>
                    <a:lnTo>
                      <a:pt x="612" y="317"/>
                    </a:lnTo>
                    <a:lnTo>
                      <a:pt x="612" y="319"/>
                    </a:lnTo>
                    <a:close/>
                    <a:moveTo>
                      <a:pt x="265" y="457"/>
                    </a:moveTo>
                    <a:lnTo>
                      <a:pt x="265" y="455"/>
                    </a:lnTo>
                    <a:lnTo>
                      <a:pt x="265" y="457"/>
                    </a:lnTo>
                    <a:close/>
                    <a:moveTo>
                      <a:pt x="614" y="317"/>
                    </a:moveTo>
                    <a:lnTo>
                      <a:pt x="616" y="317"/>
                    </a:lnTo>
                    <a:lnTo>
                      <a:pt x="614" y="317"/>
                    </a:lnTo>
                    <a:lnTo>
                      <a:pt x="616" y="317"/>
                    </a:lnTo>
                    <a:lnTo>
                      <a:pt x="614" y="317"/>
                    </a:lnTo>
                    <a:close/>
                    <a:moveTo>
                      <a:pt x="274" y="453"/>
                    </a:moveTo>
                    <a:lnTo>
                      <a:pt x="272" y="453"/>
                    </a:lnTo>
                    <a:lnTo>
                      <a:pt x="274" y="453"/>
                    </a:lnTo>
                    <a:close/>
                    <a:moveTo>
                      <a:pt x="263" y="455"/>
                    </a:moveTo>
                    <a:lnTo>
                      <a:pt x="261" y="457"/>
                    </a:lnTo>
                    <a:lnTo>
                      <a:pt x="261" y="459"/>
                    </a:lnTo>
                    <a:lnTo>
                      <a:pt x="261" y="461"/>
                    </a:lnTo>
                    <a:lnTo>
                      <a:pt x="261" y="463"/>
                    </a:lnTo>
                    <a:lnTo>
                      <a:pt x="261" y="461"/>
                    </a:lnTo>
                    <a:lnTo>
                      <a:pt x="261" y="459"/>
                    </a:lnTo>
                    <a:lnTo>
                      <a:pt x="261" y="457"/>
                    </a:lnTo>
                    <a:lnTo>
                      <a:pt x="261" y="455"/>
                    </a:lnTo>
                    <a:lnTo>
                      <a:pt x="263" y="455"/>
                    </a:lnTo>
                    <a:close/>
                    <a:moveTo>
                      <a:pt x="272" y="455"/>
                    </a:moveTo>
                    <a:lnTo>
                      <a:pt x="274" y="457"/>
                    </a:lnTo>
                    <a:lnTo>
                      <a:pt x="272" y="457"/>
                    </a:lnTo>
                    <a:lnTo>
                      <a:pt x="272" y="459"/>
                    </a:lnTo>
                    <a:lnTo>
                      <a:pt x="271" y="459"/>
                    </a:lnTo>
                    <a:lnTo>
                      <a:pt x="272" y="457"/>
                    </a:lnTo>
                    <a:lnTo>
                      <a:pt x="271" y="457"/>
                    </a:lnTo>
                    <a:lnTo>
                      <a:pt x="271" y="455"/>
                    </a:lnTo>
                    <a:lnTo>
                      <a:pt x="272" y="455"/>
                    </a:lnTo>
                    <a:lnTo>
                      <a:pt x="272" y="457"/>
                    </a:lnTo>
                    <a:lnTo>
                      <a:pt x="272" y="455"/>
                    </a:lnTo>
                    <a:lnTo>
                      <a:pt x="272" y="453"/>
                    </a:lnTo>
                    <a:lnTo>
                      <a:pt x="274" y="453"/>
                    </a:lnTo>
                    <a:lnTo>
                      <a:pt x="274" y="455"/>
                    </a:lnTo>
                    <a:lnTo>
                      <a:pt x="272" y="455"/>
                    </a:lnTo>
                    <a:close/>
                    <a:moveTo>
                      <a:pt x="267" y="455"/>
                    </a:moveTo>
                    <a:lnTo>
                      <a:pt x="265" y="455"/>
                    </a:lnTo>
                    <a:lnTo>
                      <a:pt x="267" y="455"/>
                    </a:lnTo>
                    <a:close/>
                    <a:moveTo>
                      <a:pt x="292" y="446"/>
                    </a:moveTo>
                    <a:lnTo>
                      <a:pt x="292" y="448"/>
                    </a:lnTo>
                    <a:lnTo>
                      <a:pt x="292" y="446"/>
                    </a:lnTo>
                    <a:close/>
                    <a:moveTo>
                      <a:pt x="269" y="453"/>
                    </a:moveTo>
                    <a:lnTo>
                      <a:pt x="267" y="453"/>
                    </a:lnTo>
                    <a:lnTo>
                      <a:pt x="269" y="453"/>
                    </a:lnTo>
                    <a:close/>
                    <a:moveTo>
                      <a:pt x="288" y="446"/>
                    </a:moveTo>
                    <a:lnTo>
                      <a:pt x="286" y="448"/>
                    </a:lnTo>
                    <a:lnTo>
                      <a:pt x="286" y="446"/>
                    </a:lnTo>
                    <a:lnTo>
                      <a:pt x="288" y="446"/>
                    </a:lnTo>
                    <a:close/>
                    <a:moveTo>
                      <a:pt x="265" y="453"/>
                    </a:moveTo>
                    <a:lnTo>
                      <a:pt x="265" y="455"/>
                    </a:lnTo>
                    <a:lnTo>
                      <a:pt x="263" y="455"/>
                    </a:lnTo>
                    <a:lnTo>
                      <a:pt x="265" y="455"/>
                    </a:lnTo>
                    <a:lnTo>
                      <a:pt x="263" y="455"/>
                    </a:lnTo>
                    <a:lnTo>
                      <a:pt x="265" y="453"/>
                    </a:lnTo>
                    <a:close/>
                    <a:moveTo>
                      <a:pt x="278" y="450"/>
                    </a:moveTo>
                    <a:lnTo>
                      <a:pt x="280" y="450"/>
                    </a:lnTo>
                    <a:lnTo>
                      <a:pt x="278" y="450"/>
                    </a:lnTo>
                    <a:lnTo>
                      <a:pt x="278" y="448"/>
                    </a:lnTo>
                    <a:lnTo>
                      <a:pt x="280" y="448"/>
                    </a:lnTo>
                    <a:lnTo>
                      <a:pt x="278" y="448"/>
                    </a:lnTo>
                    <a:lnTo>
                      <a:pt x="278" y="450"/>
                    </a:lnTo>
                    <a:close/>
                    <a:moveTo>
                      <a:pt x="272" y="450"/>
                    </a:moveTo>
                    <a:lnTo>
                      <a:pt x="272" y="452"/>
                    </a:lnTo>
                    <a:lnTo>
                      <a:pt x="271" y="452"/>
                    </a:lnTo>
                    <a:lnTo>
                      <a:pt x="272" y="452"/>
                    </a:lnTo>
                    <a:lnTo>
                      <a:pt x="271" y="453"/>
                    </a:lnTo>
                    <a:lnTo>
                      <a:pt x="269" y="453"/>
                    </a:lnTo>
                    <a:lnTo>
                      <a:pt x="271" y="453"/>
                    </a:lnTo>
                    <a:lnTo>
                      <a:pt x="269" y="453"/>
                    </a:lnTo>
                    <a:lnTo>
                      <a:pt x="271" y="453"/>
                    </a:lnTo>
                    <a:lnTo>
                      <a:pt x="269" y="453"/>
                    </a:lnTo>
                    <a:lnTo>
                      <a:pt x="269" y="452"/>
                    </a:lnTo>
                    <a:lnTo>
                      <a:pt x="271" y="452"/>
                    </a:lnTo>
                    <a:lnTo>
                      <a:pt x="269" y="452"/>
                    </a:lnTo>
                    <a:lnTo>
                      <a:pt x="271" y="452"/>
                    </a:lnTo>
                    <a:lnTo>
                      <a:pt x="271" y="450"/>
                    </a:lnTo>
                    <a:lnTo>
                      <a:pt x="272" y="450"/>
                    </a:lnTo>
                    <a:close/>
                    <a:moveTo>
                      <a:pt x="280" y="448"/>
                    </a:moveTo>
                    <a:lnTo>
                      <a:pt x="280" y="446"/>
                    </a:lnTo>
                    <a:lnTo>
                      <a:pt x="280" y="448"/>
                    </a:lnTo>
                    <a:close/>
                    <a:moveTo>
                      <a:pt x="278" y="448"/>
                    </a:moveTo>
                    <a:lnTo>
                      <a:pt x="276" y="448"/>
                    </a:lnTo>
                    <a:lnTo>
                      <a:pt x="278" y="448"/>
                    </a:lnTo>
                    <a:close/>
                    <a:moveTo>
                      <a:pt x="280" y="446"/>
                    </a:moveTo>
                    <a:lnTo>
                      <a:pt x="280" y="448"/>
                    </a:lnTo>
                    <a:lnTo>
                      <a:pt x="278" y="448"/>
                    </a:lnTo>
                    <a:lnTo>
                      <a:pt x="278" y="446"/>
                    </a:lnTo>
                    <a:lnTo>
                      <a:pt x="280" y="446"/>
                    </a:lnTo>
                    <a:close/>
                    <a:moveTo>
                      <a:pt x="286" y="444"/>
                    </a:moveTo>
                    <a:lnTo>
                      <a:pt x="286" y="446"/>
                    </a:lnTo>
                    <a:lnTo>
                      <a:pt x="284" y="446"/>
                    </a:lnTo>
                    <a:lnTo>
                      <a:pt x="284" y="444"/>
                    </a:lnTo>
                    <a:lnTo>
                      <a:pt x="286" y="444"/>
                    </a:lnTo>
                    <a:close/>
                    <a:moveTo>
                      <a:pt x="286" y="444"/>
                    </a:moveTo>
                    <a:lnTo>
                      <a:pt x="286" y="446"/>
                    </a:lnTo>
                    <a:lnTo>
                      <a:pt x="286" y="444"/>
                    </a:lnTo>
                    <a:lnTo>
                      <a:pt x="286" y="446"/>
                    </a:lnTo>
                    <a:lnTo>
                      <a:pt x="286" y="444"/>
                    </a:lnTo>
                    <a:close/>
                    <a:moveTo>
                      <a:pt x="276" y="448"/>
                    </a:moveTo>
                    <a:lnTo>
                      <a:pt x="276" y="446"/>
                    </a:lnTo>
                    <a:lnTo>
                      <a:pt x="276" y="448"/>
                    </a:lnTo>
                    <a:close/>
                    <a:moveTo>
                      <a:pt x="274" y="448"/>
                    </a:moveTo>
                    <a:lnTo>
                      <a:pt x="276" y="448"/>
                    </a:lnTo>
                    <a:lnTo>
                      <a:pt x="276" y="450"/>
                    </a:lnTo>
                    <a:lnTo>
                      <a:pt x="274" y="450"/>
                    </a:lnTo>
                    <a:lnTo>
                      <a:pt x="274" y="452"/>
                    </a:lnTo>
                    <a:lnTo>
                      <a:pt x="274" y="450"/>
                    </a:lnTo>
                    <a:lnTo>
                      <a:pt x="276" y="450"/>
                    </a:lnTo>
                    <a:lnTo>
                      <a:pt x="276" y="452"/>
                    </a:lnTo>
                    <a:lnTo>
                      <a:pt x="274" y="452"/>
                    </a:lnTo>
                    <a:lnTo>
                      <a:pt x="276" y="452"/>
                    </a:lnTo>
                    <a:lnTo>
                      <a:pt x="278" y="452"/>
                    </a:lnTo>
                    <a:lnTo>
                      <a:pt x="276" y="453"/>
                    </a:lnTo>
                    <a:lnTo>
                      <a:pt x="278" y="453"/>
                    </a:lnTo>
                    <a:lnTo>
                      <a:pt x="276" y="453"/>
                    </a:lnTo>
                    <a:lnTo>
                      <a:pt x="276" y="452"/>
                    </a:lnTo>
                    <a:lnTo>
                      <a:pt x="276" y="453"/>
                    </a:lnTo>
                    <a:lnTo>
                      <a:pt x="276" y="455"/>
                    </a:lnTo>
                    <a:lnTo>
                      <a:pt x="274" y="455"/>
                    </a:lnTo>
                    <a:lnTo>
                      <a:pt x="274" y="453"/>
                    </a:lnTo>
                    <a:lnTo>
                      <a:pt x="274" y="452"/>
                    </a:lnTo>
                    <a:lnTo>
                      <a:pt x="272" y="452"/>
                    </a:lnTo>
                    <a:lnTo>
                      <a:pt x="272" y="450"/>
                    </a:lnTo>
                    <a:lnTo>
                      <a:pt x="274" y="450"/>
                    </a:lnTo>
                    <a:lnTo>
                      <a:pt x="272" y="450"/>
                    </a:lnTo>
                    <a:lnTo>
                      <a:pt x="272" y="448"/>
                    </a:lnTo>
                    <a:lnTo>
                      <a:pt x="274" y="448"/>
                    </a:lnTo>
                    <a:close/>
                    <a:moveTo>
                      <a:pt x="271" y="448"/>
                    </a:moveTo>
                    <a:lnTo>
                      <a:pt x="269" y="450"/>
                    </a:lnTo>
                    <a:lnTo>
                      <a:pt x="269" y="448"/>
                    </a:lnTo>
                    <a:lnTo>
                      <a:pt x="271" y="448"/>
                    </a:lnTo>
                    <a:close/>
                    <a:moveTo>
                      <a:pt x="286" y="442"/>
                    </a:moveTo>
                    <a:lnTo>
                      <a:pt x="288" y="442"/>
                    </a:lnTo>
                    <a:lnTo>
                      <a:pt x="286" y="442"/>
                    </a:lnTo>
                    <a:close/>
                    <a:moveTo>
                      <a:pt x="271" y="446"/>
                    </a:moveTo>
                    <a:lnTo>
                      <a:pt x="271" y="448"/>
                    </a:lnTo>
                    <a:lnTo>
                      <a:pt x="271" y="446"/>
                    </a:lnTo>
                    <a:lnTo>
                      <a:pt x="269" y="448"/>
                    </a:lnTo>
                    <a:lnTo>
                      <a:pt x="271" y="448"/>
                    </a:lnTo>
                    <a:lnTo>
                      <a:pt x="269" y="448"/>
                    </a:lnTo>
                    <a:lnTo>
                      <a:pt x="271" y="448"/>
                    </a:lnTo>
                    <a:lnTo>
                      <a:pt x="269" y="448"/>
                    </a:lnTo>
                    <a:lnTo>
                      <a:pt x="271" y="448"/>
                    </a:lnTo>
                    <a:lnTo>
                      <a:pt x="269" y="448"/>
                    </a:lnTo>
                    <a:lnTo>
                      <a:pt x="269" y="446"/>
                    </a:lnTo>
                    <a:lnTo>
                      <a:pt x="271" y="446"/>
                    </a:lnTo>
                    <a:close/>
                    <a:moveTo>
                      <a:pt x="271" y="446"/>
                    </a:moveTo>
                    <a:lnTo>
                      <a:pt x="272" y="446"/>
                    </a:lnTo>
                    <a:lnTo>
                      <a:pt x="271" y="446"/>
                    </a:lnTo>
                    <a:close/>
                    <a:moveTo>
                      <a:pt x="288" y="442"/>
                    </a:moveTo>
                    <a:lnTo>
                      <a:pt x="288" y="440"/>
                    </a:lnTo>
                    <a:lnTo>
                      <a:pt x="288" y="442"/>
                    </a:lnTo>
                    <a:close/>
                    <a:moveTo>
                      <a:pt x="255" y="450"/>
                    </a:moveTo>
                    <a:lnTo>
                      <a:pt x="255" y="452"/>
                    </a:lnTo>
                    <a:lnTo>
                      <a:pt x="257" y="452"/>
                    </a:lnTo>
                    <a:lnTo>
                      <a:pt x="257" y="450"/>
                    </a:lnTo>
                    <a:lnTo>
                      <a:pt x="257" y="452"/>
                    </a:lnTo>
                    <a:lnTo>
                      <a:pt x="257" y="450"/>
                    </a:lnTo>
                    <a:lnTo>
                      <a:pt x="257" y="452"/>
                    </a:lnTo>
                    <a:lnTo>
                      <a:pt x="255" y="452"/>
                    </a:lnTo>
                    <a:lnTo>
                      <a:pt x="255" y="450"/>
                    </a:lnTo>
                    <a:close/>
                    <a:moveTo>
                      <a:pt x="290" y="438"/>
                    </a:moveTo>
                    <a:lnTo>
                      <a:pt x="290" y="440"/>
                    </a:lnTo>
                    <a:lnTo>
                      <a:pt x="288" y="440"/>
                    </a:lnTo>
                    <a:lnTo>
                      <a:pt x="288" y="438"/>
                    </a:lnTo>
                    <a:lnTo>
                      <a:pt x="290" y="438"/>
                    </a:lnTo>
                    <a:close/>
                    <a:moveTo>
                      <a:pt x="290" y="438"/>
                    </a:moveTo>
                    <a:lnTo>
                      <a:pt x="288" y="438"/>
                    </a:lnTo>
                    <a:lnTo>
                      <a:pt x="290" y="438"/>
                    </a:lnTo>
                    <a:close/>
                    <a:moveTo>
                      <a:pt x="255" y="448"/>
                    </a:moveTo>
                    <a:lnTo>
                      <a:pt x="257" y="448"/>
                    </a:lnTo>
                    <a:lnTo>
                      <a:pt x="255" y="448"/>
                    </a:lnTo>
                    <a:lnTo>
                      <a:pt x="255" y="450"/>
                    </a:lnTo>
                    <a:lnTo>
                      <a:pt x="255" y="448"/>
                    </a:lnTo>
                    <a:lnTo>
                      <a:pt x="255" y="450"/>
                    </a:lnTo>
                    <a:lnTo>
                      <a:pt x="255" y="448"/>
                    </a:lnTo>
                    <a:close/>
                    <a:moveTo>
                      <a:pt x="290" y="436"/>
                    </a:moveTo>
                    <a:lnTo>
                      <a:pt x="292" y="436"/>
                    </a:lnTo>
                    <a:lnTo>
                      <a:pt x="294" y="438"/>
                    </a:lnTo>
                    <a:lnTo>
                      <a:pt x="292" y="438"/>
                    </a:lnTo>
                    <a:lnTo>
                      <a:pt x="290" y="438"/>
                    </a:lnTo>
                    <a:lnTo>
                      <a:pt x="290" y="436"/>
                    </a:lnTo>
                    <a:close/>
                    <a:moveTo>
                      <a:pt x="286" y="438"/>
                    </a:moveTo>
                    <a:lnTo>
                      <a:pt x="284" y="438"/>
                    </a:lnTo>
                    <a:lnTo>
                      <a:pt x="286" y="438"/>
                    </a:lnTo>
                    <a:lnTo>
                      <a:pt x="284" y="438"/>
                    </a:lnTo>
                    <a:lnTo>
                      <a:pt x="286" y="438"/>
                    </a:lnTo>
                    <a:close/>
                    <a:moveTo>
                      <a:pt x="290" y="436"/>
                    </a:moveTo>
                    <a:lnTo>
                      <a:pt x="290" y="438"/>
                    </a:lnTo>
                    <a:lnTo>
                      <a:pt x="288" y="436"/>
                    </a:lnTo>
                    <a:lnTo>
                      <a:pt x="290" y="436"/>
                    </a:lnTo>
                    <a:close/>
                    <a:moveTo>
                      <a:pt x="288" y="438"/>
                    </a:moveTo>
                    <a:lnTo>
                      <a:pt x="288" y="440"/>
                    </a:lnTo>
                    <a:lnTo>
                      <a:pt x="286" y="440"/>
                    </a:lnTo>
                    <a:lnTo>
                      <a:pt x="286" y="442"/>
                    </a:lnTo>
                    <a:lnTo>
                      <a:pt x="288" y="442"/>
                    </a:lnTo>
                    <a:lnTo>
                      <a:pt x="286" y="442"/>
                    </a:lnTo>
                    <a:lnTo>
                      <a:pt x="286" y="444"/>
                    </a:lnTo>
                    <a:lnTo>
                      <a:pt x="284" y="444"/>
                    </a:lnTo>
                    <a:lnTo>
                      <a:pt x="284" y="442"/>
                    </a:lnTo>
                    <a:lnTo>
                      <a:pt x="284" y="440"/>
                    </a:lnTo>
                    <a:lnTo>
                      <a:pt x="284" y="442"/>
                    </a:lnTo>
                    <a:lnTo>
                      <a:pt x="284" y="440"/>
                    </a:lnTo>
                    <a:lnTo>
                      <a:pt x="284" y="442"/>
                    </a:lnTo>
                    <a:lnTo>
                      <a:pt x="284" y="444"/>
                    </a:lnTo>
                    <a:lnTo>
                      <a:pt x="282" y="444"/>
                    </a:lnTo>
                    <a:lnTo>
                      <a:pt x="280" y="444"/>
                    </a:lnTo>
                    <a:lnTo>
                      <a:pt x="280" y="442"/>
                    </a:lnTo>
                    <a:lnTo>
                      <a:pt x="280" y="444"/>
                    </a:lnTo>
                    <a:lnTo>
                      <a:pt x="278" y="442"/>
                    </a:lnTo>
                    <a:lnTo>
                      <a:pt x="278" y="444"/>
                    </a:lnTo>
                    <a:lnTo>
                      <a:pt x="278" y="442"/>
                    </a:lnTo>
                    <a:lnTo>
                      <a:pt x="280" y="442"/>
                    </a:lnTo>
                    <a:lnTo>
                      <a:pt x="282" y="440"/>
                    </a:lnTo>
                    <a:lnTo>
                      <a:pt x="284" y="440"/>
                    </a:lnTo>
                    <a:lnTo>
                      <a:pt x="284" y="438"/>
                    </a:lnTo>
                    <a:lnTo>
                      <a:pt x="284" y="440"/>
                    </a:lnTo>
                    <a:lnTo>
                      <a:pt x="284" y="438"/>
                    </a:lnTo>
                    <a:lnTo>
                      <a:pt x="286" y="440"/>
                    </a:lnTo>
                    <a:lnTo>
                      <a:pt x="286" y="438"/>
                    </a:lnTo>
                    <a:lnTo>
                      <a:pt x="286" y="440"/>
                    </a:lnTo>
                    <a:lnTo>
                      <a:pt x="288" y="440"/>
                    </a:lnTo>
                    <a:lnTo>
                      <a:pt x="288" y="438"/>
                    </a:lnTo>
                    <a:lnTo>
                      <a:pt x="286" y="438"/>
                    </a:lnTo>
                    <a:lnTo>
                      <a:pt x="288" y="438"/>
                    </a:lnTo>
                    <a:lnTo>
                      <a:pt x="286" y="438"/>
                    </a:lnTo>
                    <a:lnTo>
                      <a:pt x="288" y="438"/>
                    </a:lnTo>
                    <a:lnTo>
                      <a:pt x="288" y="436"/>
                    </a:lnTo>
                    <a:lnTo>
                      <a:pt x="288" y="438"/>
                    </a:lnTo>
                    <a:lnTo>
                      <a:pt x="290" y="438"/>
                    </a:lnTo>
                    <a:lnTo>
                      <a:pt x="288" y="438"/>
                    </a:lnTo>
                    <a:close/>
                    <a:moveTo>
                      <a:pt x="288" y="436"/>
                    </a:moveTo>
                    <a:lnTo>
                      <a:pt x="286" y="436"/>
                    </a:lnTo>
                    <a:lnTo>
                      <a:pt x="286" y="438"/>
                    </a:lnTo>
                    <a:lnTo>
                      <a:pt x="284" y="438"/>
                    </a:lnTo>
                    <a:lnTo>
                      <a:pt x="282" y="438"/>
                    </a:lnTo>
                    <a:lnTo>
                      <a:pt x="284" y="438"/>
                    </a:lnTo>
                    <a:lnTo>
                      <a:pt x="282" y="440"/>
                    </a:lnTo>
                    <a:lnTo>
                      <a:pt x="280" y="440"/>
                    </a:lnTo>
                    <a:lnTo>
                      <a:pt x="282" y="440"/>
                    </a:lnTo>
                    <a:lnTo>
                      <a:pt x="282" y="438"/>
                    </a:lnTo>
                    <a:lnTo>
                      <a:pt x="284" y="438"/>
                    </a:lnTo>
                    <a:lnTo>
                      <a:pt x="286" y="436"/>
                    </a:lnTo>
                    <a:lnTo>
                      <a:pt x="288" y="436"/>
                    </a:lnTo>
                    <a:close/>
                    <a:moveTo>
                      <a:pt x="255" y="446"/>
                    </a:moveTo>
                    <a:lnTo>
                      <a:pt x="257" y="446"/>
                    </a:lnTo>
                    <a:lnTo>
                      <a:pt x="255" y="446"/>
                    </a:lnTo>
                    <a:close/>
                    <a:moveTo>
                      <a:pt x="605" y="305"/>
                    </a:moveTo>
                    <a:lnTo>
                      <a:pt x="605" y="307"/>
                    </a:lnTo>
                    <a:lnTo>
                      <a:pt x="605" y="305"/>
                    </a:lnTo>
                    <a:close/>
                    <a:moveTo>
                      <a:pt x="255" y="444"/>
                    </a:moveTo>
                    <a:lnTo>
                      <a:pt x="255" y="446"/>
                    </a:lnTo>
                    <a:lnTo>
                      <a:pt x="253" y="446"/>
                    </a:lnTo>
                    <a:lnTo>
                      <a:pt x="253" y="444"/>
                    </a:lnTo>
                    <a:lnTo>
                      <a:pt x="255" y="444"/>
                    </a:lnTo>
                    <a:close/>
                    <a:moveTo>
                      <a:pt x="2" y="486"/>
                    </a:moveTo>
                    <a:lnTo>
                      <a:pt x="0" y="486"/>
                    </a:lnTo>
                    <a:lnTo>
                      <a:pt x="0" y="484"/>
                    </a:lnTo>
                    <a:lnTo>
                      <a:pt x="2" y="484"/>
                    </a:lnTo>
                    <a:lnTo>
                      <a:pt x="2" y="486"/>
                    </a:lnTo>
                    <a:close/>
                    <a:moveTo>
                      <a:pt x="105" y="465"/>
                    </a:moveTo>
                    <a:lnTo>
                      <a:pt x="105" y="463"/>
                    </a:lnTo>
                    <a:lnTo>
                      <a:pt x="105" y="465"/>
                    </a:lnTo>
                    <a:close/>
                    <a:moveTo>
                      <a:pt x="103" y="463"/>
                    </a:moveTo>
                    <a:lnTo>
                      <a:pt x="105" y="463"/>
                    </a:lnTo>
                    <a:lnTo>
                      <a:pt x="103" y="463"/>
                    </a:lnTo>
                    <a:lnTo>
                      <a:pt x="101" y="463"/>
                    </a:lnTo>
                    <a:lnTo>
                      <a:pt x="101" y="465"/>
                    </a:lnTo>
                    <a:lnTo>
                      <a:pt x="101" y="467"/>
                    </a:lnTo>
                    <a:lnTo>
                      <a:pt x="103" y="467"/>
                    </a:lnTo>
                    <a:lnTo>
                      <a:pt x="101" y="467"/>
                    </a:lnTo>
                    <a:lnTo>
                      <a:pt x="100" y="465"/>
                    </a:lnTo>
                    <a:lnTo>
                      <a:pt x="101" y="465"/>
                    </a:lnTo>
                    <a:lnTo>
                      <a:pt x="101" y="463"/>
                    </a:lnTo>
                    <a:lnTo>
                      <a:pt x="103" y="463"/>
                    </a:lnTo>
                    <a:close/>
                    <a:moveTo>
                      <a:pt x="48" y="473"/>
                    </a:moveTo>
                    <a:lnTo>
                      <a:pt x="48" y="475"/>
                    </a:lnTo>
                    <a:lnTo>
                      <a:pt x="48" y="473"/>
                    </a:lnTo>
                    <a:lnTo>
                      <a:pt x="48" y="475"/>
                    </a:lnTo>
                    <a:lnTo>
                      <a:pt x="48" y="473"/>
                    </a:lnTo>
                    <a:close/>
                    <a:moveTo>
                      <a:pt x="34" y="459"/>
                    </a:moveTo>
                    <a:lnTo>
                      <a:pt x="36" y="459"/>
                    </a:lnTo>
                    <a:lnTo>
                      <a:pt x="36" y="461"/>
                    </a:lnTo>
                    <a:lnTo>
                      <a:pt x="34" y="463"/>
                    </a:lnTo>
                    <a:lnTo>
                      <a:pt x="34" y="461"/>
                    </a:lnTo>
                    <a:lnTo>
                      <a:pt x="34" y="463"/>
                    </a:lnTo>
                    <a:lnTo>
                      <a:pt x="34" y="461"/>
                    </a:lnTo>
                    <a:lnTo>
                      <a:pt x="34" y="459"/>
                    </a:lnTo>
                    <a:lnTo>
                      <a:pt x="34" y="461"/>
                    </a:lnTo>
                    <a:lnTo>
                      <a:pt x="34" y="459"/>
                    </a:lnTo>
                    <a:close/>
                    <a:moveTo>
                      <a:pt x="622" y="248"/>
                    </a:moveTo>
                    <a:lnTo>
                      <a:pt x="620" y="248"/>
                    </a:lnTo>
                    <a:lnTo>
                      <a:pt x="622" y="248"/>
                    </a:lnTo>
                    <a:lnTo>
                      <a:pt x="620" y="248"/>
                    </a:lnTo>
                    <a:lnTo>
                      <a:pt x="622" y="248"/>
                    </a:lnTo>
                    <a:close/>
                    <a:moveTo>
                      <a:pt x="568" y="271"/>
                    </a:moveTo>
                    <a:lnTo>
                      <a:pt x="566" y="271"/>
                    </a:lnTo>
                    <a:lnTo>
                      <a:pt x="568" y="271"/>
                    </a:lnTo>
                    <a:close/>
                    <a:moveTo>
                      <a:pt x="601" y="252"/>
                    </a:moveTo>
                    <a:lnTo>
                      <a:pt x="599" y="254"/>
                    </a:lnTo>
                    <a:lnTo>
                      <a:pt x="601" y="254"/>
                    </a:lnTo>
                    <a:lnTo>
                      <a:pt x="601" y="252"/>
                    </a:lnTo>
                    <a:close/>
                    <a:moveTo>
                      <a:pt x="605" y="252"/>
                    </a:moveTo>
                    <a:lnTo>
                      <a:pt x="603" y="252"/>
                    </a:lnTo>
                    <a:lnTo>
                      <a:pt x="605" y="252"/>
                    </a:lnTo>
                    <a:close/>
                    <a:moveTo>
                      <a:pt x="630" y="230"/>
                    </a:moveTo>
                    <a:lnTo>
                      <a:pt x="630" y="232"/>
                    </a:lnTo>
                    <a:lnTo>
                      <a:pt x="630" y="230"/>
                    </a:lnTo>
                    <a:close/>
                    <a:moveTo>
                      <a:pt x="639" y="225"/>
                    </a:moveTo>
                    <a:lnTo>
                      <a:pt x="641" y="225"/>
                    </a:lnTo>
                    <a:lnTo>
                      <a:pt x="641" y="227"/>
                    </a:lnTo>
                    <a:lnTo>
                      <a:pt x="641" y="225"/>
                    </a:lnTo>
                    <a:lnTo>
                      <a:pt x="641" y="227"/>
                    </a:lnTo>
                    <a:lnTo>
                      <a:pt x="639" y="227"/>
                    </a:lnTo>
                    <a:lnTo>
                      <a:pt x="641" y="225"/>
                    </a:lnTo>
                    <a:lnTo>
                      <a:pt x="639" y="227"/>
                    </a:lnTo>
                    <a:lnTo>
                      <a:pt x="639" y="225"/>
                    </a:lnTo>
                    <a:close/>
                    <a:moveTo>
                      <a:pt x="639" y="227"/>
                    </a:moveTo>
                    <a:lnTo>
                      <a:pt x="641" y="227"/>
                    </a:lnTo>
                    <a:lnTo>
                      <a:pt x="639" y="227"/>
                    </a:lnTo>
                    <a:lnTo>
                      <a:pt x="641" y="227"/>
                    </a:lnTo>
                    <a:lnTo>
                      <a:pt x="639" y="227"/>
                    </a:lnTo>
                    <a:lnTo>
                      <a:pt x="641" y="227"/>
                    </a:lnTo>
                    <a:lnTo>
                      <a:pt x="639" y="227"/>
                    </a:lnTo>
                    <a:lnTo>
                      <a:pt x="639" y="229"/>
                    </a:lnTo>
                    <a:lnTo>
                      <a:pt x="639" y="227"/>
                    </a:lnTo>
                    <a:close/>
                    <a:moveTo>
                      <a:pt x="568" y="227"/>
                    </a:moveTo>
                    <a:lnTo>
                      <a:pt x="570" y="227"/>
                    </a:lnTo>
                    <a:lnTo>
                      <a:pt x="570" y="229"/>
                    </a:lnTo>
                    <a:lnTo>
                      <a:pt x="568" y="227"/>
                    </a:lnTo>
                    <a:close/>
                    <a:moveTo>
                      <a:pt x="570" y="227"/>
                    </a:moveTo>
                    <a:lnTo>
                      <a:pt x="568" y="227"/>
                    </a:lnTo>
                    <a:lnTo>
                      <a:pt x="570" y="227"/>
                    </a:lnTo>
                    <a:close/>
                    <a:moveTo>
                      <a:pt x="505" y="254"/>
                    </a:moveTo>
                    <a:lnTo>
                      <a:pt x="507" y="254"/>
                    </a:lnTo>
                    <a:lnTo>
                      <a:pt x="507" y="255"/>
                    </a:lnTo>
                    <a:lnTo>
                      <a:pt x="505" y="255"/>
                    </a:lnTo>
                    <a:lnTo>
                      <a:pt x="503" y="255"/>
                    </a:lnTo>
                    <a:lnTo>
                      <a:pt x="505" y="255"/>
                    </a:lnTo>
                    <a:lnTo>
                      <a:pt x="503" y="255"/>
                    </a:lnTo>
                    <a:lnTo>
                      <a:pt x="505" y="255"/>
                    </a:lnTo>
                    <a:lnTo>
                      <a:pt x="505" y="254"/>
                    </a:lnTo>
                    <a:close/>
                    <a:moveTo>
                      <a:pt x="507" y="254"/>
                    </a:moveTo>
                    <a:lnTo>
                      <a:pt x="505" y="254"/>
                    </a:lnTo>
                    <a:lnTo>
                      <a:pt x="507" y="254"/>
                    </a:lnTo>
                    <a:close/>
                    <a:moveTo>
                      <a:pt x="570" y="209"/>
                    </a:moveTo>
                    <a:lnTo>
                      <a:pt x="570" y="207"/>
                    </a:lnTo>
                    <a:lnTo>
                      <a:pt x="570" y="209"/>
                    </a:lnTo>
                    <a:close/>
                    <a:moveTo>
                      <a:pt x="563" y="207"/>
                    </a:moveTo>
                    <a:lnTo>
                      <a:pt x="564" y="207"/>
                    </a:lnTo>
                    <a:lnTo>
                      <a:pt x="564" y="209"/>
                    </a:lnTo>
                    <a:lnTo>
                      <a:pt x="563" y="209"/>
                    </a:lnTo>
                    <a:lnTo>
                      <a:pt x="563" y="211"/>
                    </a:lnTo>
                    <a:lnTo>
                      <a:pt x="561" y="211"/>
                    </a:lnTo>
                    <a:lnTo>
                      <a:pt x="561" y="209"/>
                    </a:lnTo>
                    <a:lnTo>
                      <a:pt x="563" y="209"/>
                    </a:lnTo>
                    <a:lnTo>
                      <a:pt x="563" y="207"/>
                    </a:lnTo>
                    <a:close/>
                    <a:moveTo>
                      <a:pt x="526" y="225"/>
                    </a:moveTo>
                    <a:lnTo>
                      <a:pt x="526" y="227"/>
                    </a:lnTo>
                    <a:lnTo>
                      <a:pt x="526" y="225"/>
                    </a:lnTo>
                    <a:close/>
                    <a:moveTo>
                      <a:pt x="768" y="84"/>
                    </a:moveTo>
                    <a:lnTo>
                      <a:pt x="766" y="84"/>
                    </a:lnTo>
                    <a:lnTo>
                      <a:pt x="766" y="86"/>
                    </a:lnTo>
                    <a:lnTo>
                      <a:pt x="768" y="84"/>
                    </a:lnTo>
                    <a:lnTo>
                      <a:pt x="768" y="86"/>
                    </a:lnTo>
                    <a:lnTo>
                      <a:pt x="768" y="84"/>
                    </a:lnTo>
                    <a:lnTo>
                      <a:pt x="768" y="86"/>
                    </a:lnTo>
                    <a:lnTo>
                      <a:pt x="770" y="88"/>
                    </a:lnTo>
                    <a:lnTo>
                      <a:pt x="768" y="90"/>
                    </a:lnTo>
                    <a:lnTo>
                      <a:pt x="768" y="88"/>
                    </a:lnTo>
                    <a:lnTo>
                      <a:pt x="768" y="90"/>
                    </a:lnTo>
                    <a:lnTo>
                      <a:pt x="766" y="90"/>
                    </a:lnTo>
                    <a:lnTo>
                      <a:pt x="764" y="90"/>
                    </a:lnTo>
                    <a:lnTo>
                      <a:pt x="764" y="88"/>
                    </a:lnTo>
                    <a:lnTo>
                      <a:pt x="764" y="86"/>
                    </a:lnTo>
                    <a:lnTo>
                      <a:pt x="766" y="86"/>
                    </a:lnTo>
                    <a:lnTo>
                      <a:pt x="768" y="84"/>
                    </a:lnTo>
                    <a:close/>
                    <a:moveTo>
                      <a:pt x="516" y="227"/>
                    </a:moveTo>
                    <a:lnTo>
                      <a:pt x="516" y="229"/>
                    </a:lnTo>
                    <a:lnTo>
                      <a:pt x="516" y="227"/>
                    </a:lnTo>
                    <a:lnTo>
                      <a:pt x="518" y="227"/>
                    </a:lnTo>
                    <a:lnTo>
                      <a:pt x="516" y="227"/>
                    </a:lnTo>
                    <a:close/>
                    <a:moveTo>
                      <a:pt x="835" y="2"/>
                    </a:moveTo>
                    <a:lnTo>
                      <a:pt x="837" y="2"/>
                    </a:lnTo>
                    <a:lnTo>
                      <a:pt x="837" y="0"/>
                    </a:lnTo>
                    <a:lnTo>
                      <a:pt x="837" y="2"/>
                    </a:lnTo>
                    <a:lnTo>
                      <a:pt x="835" y="2"/>
                    </a:lnTo>
                    <a:close/>
                    <a:moveTo>
                      <a:pt x="807" y="7"/>
                    </a:moveTo>
                    <a:lnTo>
                      <a:pt x="805" y="9"/>
                    </a:lnTo>
                    <a:lnTo>
                      <a:pt x="803" y="9"/>
                    </a:lnTo>
                    <a:lnTo>
                      <a:pt x="805" y="9"/>
                    </a:lnTo>
                    <a:lnTo>
                      <a:pt x="805" y="7"/>
                    </a:lnTo>
                    <a:lnTo>
                      <a:pt x="803" y="7"/>
                    </a:lnTo>
                    <a:lnTo>
                      <a:pt x="805" y="7"/>
                    </a:lnTo>
                    <a:lnTo>
                      <a:pt x="805" y="6"/>
                    </a:lnTo>
                    <a:lnTo>
                      <a:pt x="807" y="6"/>
                    </a:lnTo>
                    <a:lnTo>
                      <a:pt x="807"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8" name="Freeform 108"/>
              <p:cNvSpPr>
                <a:spLocks noEditPoints="1"/>
              </p:cNvSpPr>
              <p:nvPr/>
            </p:nvSpPr>
            <p:spPr bwMode="auto">
              <a:xfrm>
                <a:off x="6296771" y="624454"/>
                <a:ext cx="1952910" cy="1488342"/>
              </a:xfrm>
              <a:custGeom>
                <a:avLst/>
                <a:gdLst>
                  <a:gd name="T0" fmla="*/ 434 w 1135"/>
                  <a:gd name="T1" fmla="*/ 842 h 865"/>
                  <a:gd name="T2" fmla="*/ 463 w 1135"/>
                  <a:gd name="T3" fmla="*/ 803 h 865"/>
                  <a:gd name="T4" fmla="*/ 440 w 1135"/>
                  <a:gd name="T5" fmla="*/ 790 h 865"/>
                  <a:gd name="T6" fmla="*/ 422 w 1135"/>
                  <a:gd name="T7" fmla="*/ 778 h 865"/>
                  <a:gd name="T8" fmla="*/ 407 w 1135"/>
                  <a:gd name="T9" fmla="*/ 769 h 865"/>
                  <a:gd name="T10" fmla="*/ 393 w 1135"/>
                  <a:gd name="T11" fmla="*/ 746 h 865"/>
                  <a:gd name="T12" fmla="*/ 376 w 1135"/>
                  <a:gd name="T13" fmla="*/ 715 h 865"/>
                  <a:gd name="T14" fmla="*/ 830 w 1135"/>
                  <a:gd name="T15" fmla="*/ 511 h 865"/>
                  <a:gd name="T16" fmla="*/ 357 w 1135"/>
                  <a:gd name="T17" fmla="*/ 684 h 865"/>
                  <a:gd name="T18" fmla="*/ 334 w 1135"/>
                  <a:gd name="T19" fmla="*/ 651 h 865"/>
                  <a:gd name="T20" fmla="*/ 826 w 1135"/>
                  <a:gd name="T21" fmla="*/ 428 h 865"/>
                  <a:gd name="T22" fmla="*/ 372 w 1135"/>
                  <a:gd name="T23" fmla="*/ 609 h 865"/>
                  <a:gd name="T24" fmla="*/ 1097 w 1135"/>
                  <a:gd name="T25" fmla="*/ 201 h 865"/>
                  <a:gd name="T26" fmla="*/ 841 w 1135"/>
                  <a:gd name="T27" fmla="*/ 357 h 865"/>
                  <a:gd name="T28" fmla="*/ 1085 w 1135"/>
                  <a:gd name="T29" fmla="*/ 186 h 865"/>
                  <a:gd name="T30" fmla="*/ 411 w 1135"/>
                  <a:gd name="T31" fmla="*/ 538 h 865"/>
                  <a:gd name="T32" fmla="*/ 845 w 1135"/>
                  <a:gd name="T33" fmla="*/ 315 h 865"/>
                  <a:gd name="T34" fmla="*/ 1114 w 1135"/>
                  <a:gd name="T35" fmla="*/ 101 h 865"/>
                  <a:gd name="T36" fmla="*/ 830 w 1135"/>
                  <a:gd name="T37" fmla="*/ 292 h 865"/>
                  <a:gd name="T38" fmla="*/ 1112 w 1135"/>
                  <a:gd name="T39" fmla="*/ 92 h 865"/>
                  <a:gd name="T40" fmla="*/ 1093 w 1135"/>
                  <a:gd name="T41" fmla="*/ 103 h 865"/>
                  <a:gd name="T42" fmla="*/ 340 w 1135"/>
                  <a:gd name="T43" fmla="*/ 492 h 865"/>
                  <a:gd name="T44" fmla="*/ 1056 w 1135"/>
                  <a:gd name="T45" fmla="*/ 101 h 865"/>
                  <a:gd name="T46" fmla="*/ 499 w 1135"/>
                  <a:gd name="T47" fmla="*/ 399 h 865"/>
                  <a:gd name="T48" fmla="*/ 355 w 1135"/>
                  <a:gd name="T49" fmla="*/ 448 h 865"/>
                  <a:gd name="T50" fmla="*/ 797 w 1135"/>
                  <a:gd name="T51" fmla="*/ 228 h 865"/>
                  <a:gd name="T52" fmla="*/ 885 w 1135"/>
                  <a:gd name="T53" fmla="*/ 169 h 865"/>
                  <a:gd name="T54" fmla="*/ 974 w 1135"/>
                  <a:gd name="T55" fmla="*/ 94 h 865"/>
                  <a:gd name="T56" fmla="*/ 466 w 1135"/>
                  <a:gd name="T57" fmla="*/ 367 h 865"/>
                  <a:gd name="T58" fmla="*/ 576 w 1135"/>
                  <a:gd name="T59" fmla="*/ 307 h 865"/>
                  <a:gd name="T60" fmla="*/ 835 w 1135"/>
                  <a:gd name="T61" fmla="*/ 159 h 865"/>
                  <a:gd name="T62" fmla="*/ 526 w 1135"/>
                  <a:gd name="T63" fmla="*/ 319 h 865"/>
                  <a:gd name="T64" fmla="*/ 388 w 1135"/>
                  <a:gd name="T65" fmla="*/ 369 h 865"/>
                  <a:gd name="T66" fmla="*/ 730 w 1135"/>
                  <a:gd name="T67" fmla="*/ 190 h 865"/>
                  <a:gd name="T68" fmla="*/ 370 w 1135"/>
                  <a:gd name="T69" fmla="*/ 348 h 865"/>
                  <a:gd name="T70" fmla="*/ 368 w 1135"/>
                  <a:gd name="T71" fmla="*/ 344 h 865"/>
                  <a:gd name="T72" fmla="*/ 365 w 1135"/>
                  <a:gd name="T73" fmla="*/ 344 h 865"/>
                  <a:gd name="T74" fmla="*/ 349 w 1135"/>
                  <a:gd name="T75" fmla="*/ 342 h 865"/>
                  <a:gd name="T76" fmla="*/ 728 w 1135"/>
                  <a:gd name="T77" fmla="*/ 167 h 865"/>
                  <a:gd name="T78" fmla="*/ 716 w 1135"/>
                  <a:gd name="T79" fmla="*/ 169 h 865"/>
                  <a:gd name="T80" fmla="*/ 355 w 1135"/>
                  <a:gd name="T81" fmla="*/ 330 h 865"/>
                  <a:gd name="T82" fmla="*/ 616 w 1135"/>
                  <a:gd name="T83" fmla="*/ 217 h 865"/>
                  <a:gd name="T84" fmla="*/ 222 w 1135"/>
                  <a:gd name="T85" fmla="*/ 367 h 865"/>
                  <a:gd name="T86" fmla="*/ 666 w 1135"/>
                  <a:gd name="T87" fmla="*/ 184 h 865"/>
                  <a:gd name="T88" fmla="*/ 313 w 1135"/>
                  <a:gd name="T89" fmla="*/ 332 h 865"/>
                  <a:gd name="T90" fmla="*/ 378 w 1135"/>
                  <a:gd name="T91" fmla="*/ 305 h 865"/>
                  <a:gd name="T92" fmla="*/ 340 w 1135"/>
                  <a:gd name="T93" fmla="*/ 315 h 865"/>
                  <a:gd name="T94" fmla="*/ 236 w 1135"/>
                  <a:gd name="T95" fmla="*/ 342 h 865"/>
                  <a:gd name="T96" fmla="*/ 157 w 1135"/>
                  <a:gd name="T97" fmla="*/ 359 h 865"/>
                  <a:gd name="T98" fmla="*/ 357 w 1135"/>
                  <a:gd name="T99" fmla="*/ 290 h 865"/>
                  <a:gd name="T100" fmla="*/ 347 w 1135"/>
                  <a:gd name="T101" fmla="*/ 286 h 865"/>
                  <a:gd name="T102" fmla="*/ 142 w 1135"/>
                  <a:gd name="T103" fmla="*/ 344 h 865"/>
                  <a:gd name="T104" fmla="*/ 645 w 1135"/>
                  <a:gd name="T105" fmla="*/ 148 h 865"/>
                  <a:gd name="T106" fmla="*/ 315 w 1135"/>
                  <a:gd name="T107" fmla="*/ 292 h 865"/>
                  <a:gd name="T108" fmla="*/ 297 w 1135"/>
                  <a:gd name="T109" fmla="*/ 296 h 865"/>
                  <a:gd name="T110" fmla="*/ 593 w 1135"/>
                  <a:gd name="T111" fmla="*/ 163 h 865"/>
                  <a:gd name="T112" fmla="*/ 591 w 1135"/>
                  <a:gd name="T113" fmla="*/ 161 h 865"/>
                  <a:gd name="T114" fmla="*/ 263 w 1135"/>
                  <a:gd name="T115" fmla="*/ 288 h 865"/>
                  <a:gd name="T116" fmla="*/ 480 w 1135"/>
                  <a:gd name="T117" fmla="*/ 194 h 865"/>
                  <a:gd name="T118" fmla="*/ 599 w 1135"/>
                  <a:gd name="T119" fmla="*/ 88 h 865"/>
                  <a:gd name="T120" fmla="*/ 624 w 1135"/>
                  <a:gd name="T121" fmla="*/ 67 h 865"/>
                  <a:gd name="T122" fmla="*/ 572 w 1135"/>
                  <a:gd name="T123" fmla="*/ 57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5" h="865">
                    <a:moveTo>
                      <a:pt x="526" y="830"/>
                    </a:moveTo>
                    <a:lnTo>
                      <a:pt x="526" y="832"/>
                    </a:lnTo>
                    <a:lnTo>
                      <a:pt x="526" y="830"/>
                    </a:lnTo>
                    <a:close/>
                    <a:moveTo>
                      <a:pt x="520" y="828"/>
                    </a:moveTo>
                    <a:lnTo>
                      <a:pt x="520" y="830"/>
                    </a:lnTo>
                    <a:lnTo>
                      <a:pt x="520" y="828"/>
                    </a:lnTo>
                    <a:close/>
                    <a:moveTo>
                      <a:pt x="520" y="828"/>
                    </a:moveTo>
                    <a:lnTo>
                      <a:pt x="520" y="830"/>
                    </a:lnTo>
                    <a:lnTo>
                      <a:pt x="520" y="828"/>
                    </a:lnTo>
                    <a:close/>
                    <a:moveTo>
                      <a:pt x="518" y="828"/>
                    </a:moveTo>
                    <a:lnTo>
                      <a:pt x="516" y="828"/>
                    </a:lnTo>
                    <a:lnTo>
                      <a:pt x="518" y="828"/>
                    </a:lnTo>
                    <a:close/>
                    <a:moveTo>
                      <a:pt x="514" y="828"/>
                    </a:moveTo>
                    <a:lnTo>
                      <a:pt x="516" y="828"/>
                    </a:lnTo>
                    <a:lnTo>
                      <a:pt x="514" y="828"/>
                    </a:lnTo>
                    <a:close/>
                    <a:moveTo>
                      <a:pt x="513" y="824"/>
                    </a:moveTo>
                    <a:lnTo>
                      <a:pt x="511" y="824"/>
                    </a:lnTo>
                    <a:lnTo>
                      <a:pt x="513" y="824"/>
                    </a:lnTo>
                    <a:close/>
                    <a:moveTo>
                      <a:pt x="451" y="844"/>
                    </a:moveTo>
                    <a:lnTo>
                      <a:pt x="451" y="845"/>
                    </a:lnTo>
                    <a:lnTo>
                      <a:pt x="449" y="845"/>
                    </a:lnTo>
                    <a:lnTo>
                      <a:pt x="451" y="844"/>
                    </a:lnTo>
                    <a:close/>
                    <a:moveTo>
                      <a:pt x="380" y="865"/>
                    </a:moveTo>
                    <a:lnTo>
                      <a:pt x="378" y="865"/>
                    </a:lnTo>
                    <a:lnTo>
                      <a:pt x="380" y="865"/>
                    </a:lnTo>
                    <a:close/>
                    <a:moveTo>
                      <a:pt x="382" y="863"/>
                    </a:moveTo>
                    <a:lnTo>
                      <a:pt x="384" y="863"/>
                    </a:lnTo>
                    <a:lnTo>
                      <a:pt x="382" y="863"/>
                    </a:lnTo>
                    <a:close/>
                    <a:moveTo>
                      <a:pt x="392" y="861"/>
                    </a:moveTo>
                    <a:lnTo>
                      <a:pt x="390" y="861"/>
                    </a:lnTo>
                    <a:lnTo>
                      <a:pt x="392" y="861"/>
                    </a:lnTo>
                    <a:close/>
                    <a:moveTo>
                      <a:pt x="505" y="820"/>
                    </a:moveTo>
                    <a:lnTo>
                      <a:pt x="505" y="822"/>
                    </a:lnTo>
                    <a:lnTo>
                      <a:pt x="505" y="820"/>
                    </a:lnTo>
                    <a:close/>
                    <a:moveTo>
                      <a:pt x="434" y="844"/>
                    </a:moveTo>
                    <a:lnTo>
                      <a:pt x="434" y="842"/>
                    </a:lnTo>
                    <a:lnTo>
                      <a:pt x="434" y="844"/>
                    </a:lnTo>
                    <a:close/>
                    <a:moveTo>
                      <a:pt x="501" y="817"/>
                    </a:moveTo>
                    <a:lnTo>
                      <a:pt x="503" y="817"/>
                    </a:lnTo>
                    <a:lnTo>
                      <a:pt x="501" y="817"/>
                    </a:lnTo>
                    <a:close/>
                    <a:moveTo>
                      <a:pt x="405" y="847"/>
                    </a:moveTo>
                    <a:lnTo>
                      <a:pt x="403" y="847"/>
                    </a:lnTo>
                    <a:lnTo>
                      <a:pt x="405" y="847"/>
                    </a:lnTo>
                    <a:close/>
                    <a:moveTo>
                      <a:pt x="424" y="842"/>
                    </a:moveTo>
                    <a:lnTo>
                      <a:pt x="424" y="840"/>
                    </a:lnTo>
                    <a:lnTo>
                      <a:pt x="424" y="842"/>
                    </a:lnTo>
                    <a:close/>
                    <a:moveTo>
                      <a:pt x="472" y="824"/>
                    </a:moveTo>
                    <a:lnTo>
                      <a:pt x="472" y="822"/>
                    </a:lnTo>
                    <a:lnTo>
                      <a:pt x="472" y="824"/>
                    </a:lnTo>
                    <a:close/>
                    <a:moveTo>
                      <a:pt x="497" y="815"/>
                    </a:moveTo>
                    <a:lnTo>
                      <a:pt x="495" y="815"/>
                    </a:lnTo>
                    <a:lnTo>
                      <a:pt x="497" y="815"/>
                    </a:lnTo>
                    <a:close/>
                    <a:moveTo>
                      <a:pt x="493" y="817"/>
                    </a:moveTo>
                    <a:lnTo>
                      <a:pt x="491" y="817"/>
                    </a:lnTo>
                    <a:lnTo>
                      <a:pt x="493" y="817"/>
                    </a:lnTo>
                    <a:close/>
                    <a:moveTo>
                      <a:pt x="491" y="815"/>
                    </a:moveTo>
                    <a:lnTo>
                      <a:pt x="491" y="817"/>
                    </a:lnTo>
                    <a:lnTo>
                      <a:pt x="491" y="815"/>
                    </a:lnTo>
                    <a:close/>
                    <a:moveTo>
                      <a:pt x="486" y="813"/>
                    </a:moveTo>
                    <a:lnTo>
                      <a:pt x="486" y="811"/>
                    </a:lnTo>
                    <a:lnTo>
                      <a:pt x="486" y="813"/>
                    </a:lnTo>
                    <a:close/>
                    <a:moveTo>
                      <a:pt x="488" y="809"/>
                    </a:moveTo>
                    <a:lnTo>
                      <a:pt x="488" y="811"/>
                    </a:lnTo>
                    <a:lnTo>
                      <a:pt x="488" y="809"/>
                    </a:lnTo>
                    <a:close/>
                    <a:moveTo>
                      <a:pt x="478" y="807"/>
                    </a:moveTo>
                    <a:lnTo>
                      <a:pt x="476" y="807"/>
                    </a:lnTo>
                    <a:lnTo>
                      <a:pt x="478" y="807"/>
                    </a:lnTo>
                    <a:close/>
                    <a:moveTo>
                      <a:pt x="478" y="807"/>
                    </a:moveTo>
                    <a:lnTo>
                      <a:pt x="478" y="805"/>
                    </a:lnTo>
                    <a:lnTo>
                      <a:pt x="478" y="807"/>
                    </a:lnTo>
                    <a:close/>
                    <a:moveTo>
                      <a:pt x="463" y="801"/>
                    </a:moveTo>
                    <a:lnTo>
                      <a:pt x="463" y="803"/>
                    </a:lnTo>
                    <a:lnTo>
                      <a:pt x="463" y="801"/>
                    </a:lnTo>
                    <a:close/>
                    <a:moveTo>
                      <a:pt x="461" y="799"/>
                    </a:moveTo>
                    <a:lnTo>
                      <a:pt x="463" y="799"/>
                    </a:lnTo>
                    <a:lnTo>
                      <a:pt x="461" y="799"/>
                    </a:lnTo>
                    <a:close/>
                    <a:moveTo>
                      <a:pt x="465" y="799"/>
                    </a:moveTo>
                    <a:lnTo>
                      <a:pt x="463" y="799"/>
                    </a:lnTo>
                    <a:lnTo>
                      <a:pt x="465" y="799"/>
                    </a:lnTo>
                    <a:close/>
                    <a:moveTo>
                      <a:pt x="457" y="797"/>
                    </a:moveTo>
                    <a:lnTo>
                      <a:pt x="457" y="795"/>
                    </a:lnTo>
                    <a:lnTo>
                      <a:pt x="457" y="797"/>
                    </a:lnTo>
                    <a:close/>
                    <a:moveTo>
                      <a:pt x="440" y="801"/>
                    </a:moveTo>
                    <a:lnTo>
                      <a:pt x="438" y="801"/>
                    </a:lnTo>
                    <a:lnTo>
                      <a:pt x="440" y="801"/>
                    </a:lnTo>
                    <a:close/>
                    <a:moveTo>
                      <a:pt x="443" y="797"/>
                    </a:moveTo>
                    <a:lnTo>
                      <a:pt x="443" y="799"/>
                    </a:lnTo>
                    <a:lnTo>
                      <a:pt x="443" y="797"/>
                    </a:lnTo>
                    <a:close/>
                    <a:moveTo>
                      <a:pt x="445" y="797"/>
                    </a:moveTo>
                    <a:lnTo>
                      <a:pt x="443" y="797"/>
                    </a:lnTo>
                    <a:lnTo>
                      <a:pt x="445" y="797"/>
                    </a:lnTo>
                    <a:close/>
                    <a:moveTo>
                      <a:pt x="438" y="795"/>
                    </a:moveTo>
                    <a:lnTo>
                      <a:pt x="440" y="795"/>
                    </a:lnTo>
                    <a:lnTo>
                      <a:pt x="438" y="795"/>
                    </a:lnTo>
                    <a:close/>
                    <a:moveTo>
                      <a:pt x="443" y="795"/>
                    </a:moveTo>
                    <a:lnTo>
                      <a:pt x="443" y="794"/>
                    </a:lnTo>
                    <a:lnTo>
                      <a:pt x="443" y="795"/>
                    </a:lnTo>
                    <a:close/>
                    <a:moveTo>
                      <a:pt x="438" y="795"/>
                    </a:moveTo>
                    <a:lnTo>
                      <a:pt x="438" y="794"/>
                    </a:lnTo>
                    <a:lnTo>
                      <a:pt x="438" y="795"/>
                    </a:lnTo>
                    <a:close/>
                    <a:moveTo>
                      <a:pt x="434" y="795"/>
                    </a:moveTo>
                    <a:lnTo>
                      <a:pt x="432" y="795"/>
                    </a:lnTo>
                    <a:lnTo>
                      <a:pt x="434" y="795"/>
                    </a:lnTo>
                    <a:close/>
                    <a:moveTo>
                      <a:pt x="443" y="792"/>
                    </a:moveTo>
                    <a:lnTo>
                      <a:pt x="441" y="792"/>
                    </a:lnTo>
                    <a:lnTo>
                      <a:pt x="443" y="792"/>
                    </a:lnTo>
                    <a:close/>
                    <a:moveTo>
                      <a:pt x="440" y="792"/>
                    </a:moveTo>
                    <a:lnTo>
                      <a:pt x="440" y="790"/>
                    </a:lnTo>
                    <a:lnTo>
                      <a:pt x="440" y="792"/>
                    </a:lnTo>
                    <a:close/>
                    <a:moveTo>
                      <a:pt x="441" y="792"/>
                    </a:moveTo>
                    <a:lnTo>
                      <a:pt x="441" y="790"/>
                    </a:lnTo>
                    <a:lnTo>
                      <a:pt x="441" y="792"/>
                    </a:lnTo>
                    <a:close/>
                    <a:moveTo>
                      <a:pt x="426" y="794"/>
                    </a:moveTo>
                    <a:lnTo>
                      <a:pt x="428" y="794"/>
                    </a:lnTo>
                    <a:lnTo>
                      <a:pt x="426" y="794"/>
                    </a:lnTo>
                    <a:close/>
                    <a:moveTo>
                      <a:pt x="436" y="790"/>
                    </a:moveTo>
                    <a:lnTo>
                      <a:pt x="434" y="790"/>
                    </a:lnTo>
                    <a:lnTo>
                      <a:pt x="436" y="790"/>
                    </a:lnTo>
                    <a:close/>
                    <a:moveTo>
                      <a:pt x="428" y="790"/>
                    </a:moveTo>
                    <a:lnTo>
                      <a:pt x="428" y="792"/>
                    </a:lnTo>
                    <a:lnTo>
                      <a:pt x="428" y="790"/>
                    </a:lnTo>
                    <a:close/>
                    <a:moveTo>
                      <a:pt x="432" y="788"/>
                    </a:moveTo>
                    <a:lnTo>
                      <a:pt x="430" y="788"/>
                    </a:lnTo>
                    <a:lnTo>
                      <a:pt x="432" y="788"/>
                    </a:lnTo>
                    <a:close/>
                    <a:moveTo>
                      <a:pt x="426" y="790"/>
                    </a:moveTo>
                    <a:lnTo>
                      <a:pt x="426" y="788"/>
                    </a:lnTo>
                    <a:lnTo>
                      <a:pt x="426" y="790"/>
                    </a:lnTo>
                    <a:close/>
                    <a:moveTo>
                      <a:pt x="428" y="784"/>
                    </a:moveTo>
                    <a:lnTo>
                      <a:pt x="428" y="786"/>
                    </a:lnTo>
                    <a:lnTo>
                      <a:pt x="428" y="784"/>
                    </a:lnTo>
                    <a:close/>
                    <a:moveTo>
                      <a:pt x="426" y="784"/>
                    </a:moveTo>
                    <a:lnTo>
                      <a:pt x="424" y="784"/>
                    </a:lnTo>
                    <a:lnTo>
                      <a:pt x="426" y="784"/>
                    </a:lnTo>
                    <a:close/>
                    <a:moveTo>
                      <a:pt x="424" y="780"/>
                    </a:moveTo>
                    <a:lnTo>
                      <a:pt x="424" y="782"/>
                    </a:lnTo>
                    <a:lnTo>
                      <a:pt x="424" y="780"/>
                    </a:lnTo>
                    <a:lnTo>
                      <a:pt x="422" y="780"/>
                    </a:lnTo>
                    <a:lnTo>
                      <a:pt x="424" y="780"/>
                    </a:lnTo>
                    <a:close/>
                    <a:moveTo>
                      <a:pt x="426" y="776"/>
                    </a:moveTo>
                    <a:lnTo>
                      <a:pt x="426" y="778"/>
                    </a:lnTo>
                    <a:lnTo>
                      <a:pt x="426" y="776"/>
                    </a:lnTo>
                    <a:close/>
                    <a:moveTo>
                      <a:pt x="422" y="778"/>
                    </a:moveTo>
                    <a:lnTo>
                      <a:pt x="420" y="778"/>
                    </a:lnTo>
                    <a:lnTo>
                      <a:pt x="422" y="778"/>
                    </a:lnTo>
                    <a:close/>
                    <a:moveTo>
                      <a:pt x="418" y="778"/>
                    </a:moveTo>
                    <a:lnTo>
                      <a:pt x="418" y="776"/>
                    </a:lnTo>
                    <a:lnTo>
                      <a:pt x="418" y="778"/>
                    </a:lnTo>
                    <a:close/>
                    <a:moveTo>
                      <a:pt x="411" y="780"/>
                    </a:moveTo>
                    <a:lnTo>
                      <a:pt x="411" y="778"/>
                    </a:lnTo>
                    <a:lnTo>
                      <a:pt x="411" y="780"/>
                    </a:lnTo>
                    <a:close/>
                    <a:moveTo>
                      <a:pt x="430" y="772"/>
                    </a:moveTo>
                    <a:lnTo>
                      <a:pt x="428" y="772"/>
                    </a:lnTo>
                    <a:lnTo>
                      <a:pt x="430" y="772"/>
                    </a:lnTo>
                    <a:close/>
                    <a:moveTo>
                      <a:pt x="418" y="776"/>
                    </a:moveTo>
                    <a:lnTo>
                      <a:pt x="418" y="774"/>
                    </a:lnTo>
                    <a:lnTo>
                      <a:pt x="418" y="776"/>
                    </a:lnTo>
                    <a:close/>
                    <a:moveTo>
                      <a:pt x="436" y="769"/>
                    </a:moveTo>
                    <a:lnTo>
                      <a:pt x="434" y="769"/>
                    </a:lnTo>
                    <a:lnTo>
                      <a:pt x="436" y="769"/>
                    </a:lnTo>
                    <a:close/>
                    <a:moveTo>
                      <a:pt x="415" y="774"/>
                    </a:moveTo>
                    <a:lnTo>
                      <a:pt x="413" y="774"/>
                    </a:lnTo>
                    <a:lnTo>
                      <a:pt x="415" y="774"/>
                    </a:lnTo>
                    <a:close/>
                    <a:moveTo>
                      <a:pt x="416" y="772"/>
                    </a:moveTo>
                    <a:lnTo>
                      <a:pt x="416" y="774"/>
                    </a:lnTo>
                    <a:lnTo>
                      <a:pt x="415" y="772"/>
                    </a:lnTo>
                    <a:lnTo>
                      <a:pt x="416" y="772"/>
                    </a:lnTo>
                    <a:close/>
                    <a:moveTo>
                      <a:pt x="415" y="772"/>
                    </a:moveTo>
                    <a:lnTo>
                      <a:pt x="413" y="772"/>
                    </a:lnTo>
                    <a:lnTo>
                      <a:pt x="415" y="772"/>
                    </a:lnTo>
                    <a:close/>
                    <a:moveTo>
                      <a:pt x="407" y="774"/>
                    </a:moveTo>
                    <a:lnTo>
                      <a:pt x="405" y="774"/>
                    </a:lnTo>
                    <a:lnTo>
                      <a:pt x="407" y="774"/>
                    </a:lnTo>
                    <a:close/>
                    <a:moveTo>
                      <a:pt x="407" y="774"/>
                    </a:moveTo>
                    <a:lnTo>
                      <a:pt x="407" y="772"/>
                    </a:lnTo>
                    <a:lnTo>
                      <a:pt x="407" y="774"/>
                    </a:lnTo>
                    <a:close/>
                    <a:moveTo>
                      <a:pt x="407" y="771"/>
                    </a:moveTo>
                    <a:lnTo>
                      <a:pt x="407" y="772"/>
                    </a:lnTo>
                    <a:lnTo>
                      <a:pt x="407" y="771"/>
                    </a:lnTo>
                    <a:close/>
                    <a:moveTo>
                      <a:pt x="407" y="771"/>
                    </a:moveTo>
                    <a:lnTo>
                      <a:pt x="407" y="769"/>
                    </a:lnTo>
                    <a:lnTo>
                      <a:pt x="407" y="771"/>
                    </a:lnTo>
                    <a:close/>
                    <a:moveTo>
                      <a:pt x="403" y="765"/>
                    </a:moveTo>
                    <a:lnTo>
                      <a:pt x="403" y="763"/>
                    </a:lnTo>
                    <a:lnTo>
                      <a:pt x="403" y="765"/>
                    </a:lnTo>
                    <a:close/>
                    <a:moveTo>
                      <a:pt x="395" y="767"/>
                    </a:moveTo>
                    <a:lnTo>
                      <a:pt x="395" y="765"/>
                    </a:lnTo>
                    <a:lnTo>
                      <a:pt x="395" y="767"/>
                    </a:lnTo>
                    <a:close/>
                    <a:moveTo>
                      <a:pt x="401" y="761"/>
                    </a:moveTo>
                    <a:lnTo>
                      <a:pt x="403" y="761"/>
                    </a:lnTo>
                    <a:lnTo>
                      <a:pt x="401" y="761"/>
                    </a:lnTo>
                    <a:close/>
                    <a:moveTo>
                      <a:pt x="403" y="761"/>
                    </a:moveTo>
                    <a:lnTo>
                      <a:pt x="403" y="759"/>
                    </a:lnTo>
                    <a:lnTo>
                      <a:pt x="403" y="761"/>
                    </a:lnTo>
                    <a:close/>
                    <a:moveTo>
                      <a:pt x="395" y="763"/>
                    </a:moveTo>
                    <a:lnTo>
                      <a:pt x="395" y="761"/>
                    </a:lnTo>
                    <a:lnTo>
                      <a:pt x="395" y="763"/>
                    </a:lnTo>
                    <a:close/>
                    <a:moveTo>
                      <a:pt x="401" y="759"/>
                    </a:moveTo>
                    <a:lnTo>
                      <a:pt x="401" y="761"/>
                    </a:lnTo>
                    <a:lnTo>
                      <a:pt x="401" y="759"/>
                    </a:lnTo>
                    <a:close/>
                    <a:moveTo>
                      <a:pt x="397" y="761"/>
                    </a:moveTo>
                    <a:lnTo>
                      <a:pt x="397" y="759"/>
                    </a:lnTo>
                    <a:lnTo>
                      <a:pt x="397" y="761"/>
                    </a:lnTo>
                    <a:close/>
                    <a:moveTo>
                      <a:pt x="849" y="572"/>
                    </a:moveTo>
                    <a:lnTo>
                      <a:pt x="849" y="571"/>
                    </a:lnTo>
                    <a:lnTo>
                      <a:pt x="849" y="572"/>
                    </a:lnTo>
                    <a:close/>
                    <a:moveTo>
                      <a:pt x="399" y="757"/>
                    </a:moveTo>
                    <a:lnTo>
                      <a:pt x="399" y="759"/>
                    </a:lnTo>
                    <a:lnTo>
                      <a:pt x="399" y="757"/>
                    </a:lnTo>
                    <a:close/>
                    <a:moveTo>
                      <a:pt x="395" y="757"/>
                    </a:moveTo>
                    <a:lnTo>
                      <a:pt x="395" y="755"/>
                    </a:lnTo>
                    <a:lnTo>
                      <a:pt x="395" y="757"/>
                    </a:lnTo>
                    <a:close/>
                    <a:moveTo>
                      <a:pt x="393" y="755"/>
                    </a:moveTo>
                    <a:lnTo>
                      <a:pt x="395" y="757"/>
                    </a:lnTo>
                    <a:lnTo>
                      <a:pt x="393" y="755"/>
                    </a:lnTo>
                    <a:close/>
                    <a:moveTo>
                      <a:pt x="395" y="746"/>
                    </a:moveTo>
                    <a:lnTo>
                      <a:pt x="393" y="746"/>
                    </a:lnTo>
                    <a:lnTo>
                      <a:pt x="395" y="746"/>
                    </a:lnTo>
                    <a:close/>
                    <a:moveTo>
                      <a:pt x="386" y="730"/>
                    </a:moveTo>
                    <a:lnTo>
                      <a:pt x="388" y="730"/>
                    </a:lnTo>
                    <a:lnTo>
                      <a:pt x="386" y="730"/>
                    </a:lnTo>
                    <a:close/>
                    <a:moveTo>
                      <a:pt x="386" y="730"/>
                    </a:moveTo>
                    <a:lnTo>
                      <a:pt x="388" y="730"/>
                    </a:lnTo>
                    <a:lnTo>
                      <a:pt x="386" y="730"/>
                    </a:lnTo>
                    <a:close/>
                    <a:moveTo>
                      <a:pt x="424" y="719"/>
                    </a:moveTo>
                    <a:lnTo>
                      <a:pt x="424" y="717"/>
                    </a:lnTo>
                    <a:lnTo>
                      <a:pt x="424" y="719"/>
                    </a:lnTo>
                    <a:close/>
                    <a:moveTo>
                      <a:pt x="434" y="711"/>
                    </a:moveTo>
                    <a:lnTo>
                      <a:pt x="434" y="713"/>
                    </a:lnTo>
                    <a:lnTo>
                      <a:pt x="434" y="711"/>
                    </a:lnTo>
                    <a:close/>
                    <a:moveTo>
                      <a:pt x="386" y="726"/>
                    </a:moveTo>
                    <a:lnTo>
                      <a:pt x="384" y="726"/>
                    </a:lnTo>
                    <a:lnTo>
                      <a:pt x="386" y="726"/>
                    </a:lnTo>
                    <a:close/>
                    <a:moveTo>
                      <a:pt x="399" y="719"/>
                    </a:moveTo>
                    <a:lnTo>
                      <a:pt x="399" y="721"/>
                    </a:lnTo>
                    <a:lnTo>
                      <a:pt x="399" y="719"/>
                    </a:lnTo>
                    <a:close/>
                    <a:moveTo>
                      <a:pt x="382" y="724"/>
                    </a:moveTo>
                    <a:lnTo>
                      <a:pt x="384" y="724"/>
                    </a:lnTo>
                    <a:lnTo>
                      <a:pt x="382" y="724"/>
                    </a:lnTo>
                    <a:close/>
                    <a:moveTo>
                      <a:pt x="378" y="724"/>
                    </a:moveTo>
                    <a:lnTo>
                      <a:pt x="378" y="726"/>
                    </a:lnTo>
                    <a:lnTo>
                      <a:pt x="378" y="724"/>
                    </a:lnTo>
                    <a:close/>
                    <a:moveTo>
                      <a:pt x="378" y="721"/>
                    </a:moveTo>
                    <a:lnTo>
                      <a:pt x="378" y="722"/>
                    </a:lnTo>
                    <a:lnTo>
                      <a:pt x="378" y="721"/>
                    </a:lnTo>
                    <a:close/>
                    <a:moveTo>
                      <a:pt x="374" y="721"/>
                    </a:moveTo>
                    <a:lnTo>
                      <a:pt x="372" y="721"/>
                    </a:lnTo>
                    <a:lnTo>
                      <a:pt x="374" y="721"/>
                    </a:lnTo>
                    <a:close/>
                    <a:moveTo>
                      <a:pt x="380" y="717"/>
                    </a:moveTo>
                    <a:lnTo>
                      <a:pt x="378" y="717"/>
                    </a:lnTo>
                    <a:lnTo>
                      <a:pt x="380" y="717"/>
                    </a:lnTo>
                    <a:close/>
                    <a:moveTo>
                      <a:pt x="378" y="715"/>
                    </a:moveTo>
                    <a:lnTo>
                      <a:pt x="376" y="715"/>
                    </a:lnTo>
                    <a:lnTo>
                      <a:pt x="378" y="715"/>
                    </a:lnTo>
                    <a:close/>
                    <a:moveTo>
                      <a:pt x="374" y="715"/>
                    </a:moveTo>
                    <a:lnTo>
                      <a:pt x="372" y="715"/>
                    </a:lnTo>
                    <a:lnTo>
                      <a:pt x="374" y="715"/>
                    </a:lnTo>
                    <a:close/>
                    <a:moveTo>
                      <a:pt x="372" y="715"/>
                    </a:moveTo>
                    <a:lnTo>
                      <a:pt x="370" y="715"/>
                    </a:lnTo>
                    <a:lnTo>
                      <a:pt x="372" y="715"/>
                    </a:lnTo>
                    <a:close/>
                    <a:moveTo>
                      <a:pt x="837" y="521"/>
                    </a:moveTo>
                    <a:lnTo>
                      <a:pt x="837" y="523"/>
                    </a:lnTo>
                    <a:lnTo>
                      <a:pt x="837" y="521"/>
                    </a:lnTo>
                    <a:close/>
                    <a:moveTo>
                      <a:pt x="374" y="711"/>
                    </a:moveTo>
                    <a:lnTo>
                      <a:pt x="374" y="713"/>
                    </a:lnTo>
                    <a:lnTo>
                      <a:pt x="374" y="711"/>
                    </a:lnTo>
                    <a:lnTo>
                      <a:pt x="374" y="713"/>
                    </a:lnTo>
                    <a:lnTo>
                      <a:pt x="374" y="711"/>
                    </a:lnTo>
                    <a:close/>
                    <a:moveTo>
                      <a:pt x="370" y="709"/>
                    </a:moveTo>
                    <a:lnTo>
                      <a:pt x="368" y="709"/>
                    </a:lnTo>
                    <a:lnTo>
                      <a:pt x="370" y="709"/>
                    </a:lnTo>
                    <a:close/>
                    <a:moveTo>
                      <a:pt x="370" y="709"/>
                    </a:moveTo>
                    <a:lnTo>
                      <a:pt x="368" y="709"/>
                    </a:lnTo>
                    <a:lnTo>
                      <a:pt x="370" y="709"/>
                    </a:lnTo>
                    <a:close/>
                    <a:moveTo>
                      <a:pt x="372" y="709"/>
                    </a:moveTo>
                    <a:lnTo>
                      <a:pt x="372" y="707"/>
                    </a:lnTo>
                    <a:lnTo>
                      <a:pt x="372" y="709"/>
                    </a:lnTo>
                    <a:close/>
                    <a:moveTo>
                      <a:pt x="365" y="705"/>
                    </a:moveTo>
                    <a:lnTo>
                      <a:pt x="367" y="705"/>
                    </a:lnTo>
                    <a:lnTo>
                      <a:pt x="365" y="705"/>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13"/>
                    </a:lnTo>
                    <a:lnTo>
                      <a:pt x="830" y="511"/>
                    </a:lnTo>
                    <a:close/>
                    <a:moveTo>
                      <a:pt x="830" y="511"/>
                    </a:moveTo>
                    <a:lnTo>
                      <a:pt x="830" y="509"/>
                    </a:lnTo>
                    <a:lnTo>
                      <a:pt x="830" y="511"/>
                    </a:lnTo>
                    <a:close/>
                    <a:moveTo>
                      <a:pt x="828" y="509"/>
                    </a:moveTo>
                    <a:lnTo>
                      <a:pt x="830" y="509"/>
                    </a:lnTo>
                    <a:lnTo>
                      <a:pt x="828" y="509"/>
                    </a:lnTo>
                    <a:close/>
                    <a:moveTo>
                      <a:pt x="826" y="507"/>
                    </a:moveTo>
                    <a:lnTo>
                      <a:pt x="828" y="507"/>
                    </a:lnTo>
                    <a:lnTo>
                      <a:pt x="826" y="507"/>
                    </a:lnTo>
                    <a:close/>
                    <a:moveTo>
                      <a:pt x="824" y="507"/>
                    </a:moveTo>
                    <a:lnTo>
                      <a:pt x="824" y="505"/>
                    </a:lnTo>
                    <a:lnTo>
                      <a:pt x="824" y="507"/>
                    </a:lnTo>
                    <a:close/>
                    <a:moveTo>
                      <a:pt x="824" y="505"/>
                    </a:moveTo>
                    <a:lnTo>
                      <a:pt x="822" y="505"/>
                    </a:lnTo>
                    <a:lnTo>
                      <a:pt x="824" y="505"/>
                    </a:lnTo>
                    <a:close/>
                    <a:moveTo>
                      <a:pt x="359" y="696"/>
                    </a:moveTo>
                    <a:lnTo>
                      <a:pt x="357" y="696"/>
                    </a:lnTo>
                    <a:lnTo>
                      <a:pt x="359" y="696"/>
                    </a:lnTo>
                    <a:close/>
                    <a:moveTo>
                      <a:pt x="812" y="499"/>
                    </a:moveTo>
                    <a:lnTo>
                      <a:pt x="812" y="498"/>
                    </a:lnTo>
                    <a:lnTo>
                      <a:pt x="812" y="499"/>
                    </a:lnTo>
                    <a:close/>
                    <a:moveTo>
                      <a:pt x="357" y="682"/>
                    </a:moveTo>
                    <a:lnTo>
                      <a:pt x="357" y="684"/>
                    </a:lnTo>
                    <a:lnTo>
                      <a:pt x="357" y="682"/>
                    </a:lnTo>
                    <a:close/>
                    <a:moveTo>
                      <a:pt x="357" y="684"/>
                    </a:moveTo>
                    <a:lnTo>
                      <a:pt x="357" y="682"/>
                    </a:lnTo>
                    <a:lnTo>
                      <a:pt x="357" y="684"/>
                    </a:lnTo>
                    <a:close/>
                    <a:moveTo>
                      <a:pt x="810" y="496"/>
                    </a:moveTo>
                    <a:lnTo>
                      <a:pt x="810" y="498"/>
                    </a:lnTo>
                    <a:lnTo>
                      <a:pt x="810" y="496"/>
                    </a:lnTo>
                    <a:close/>
                    <a:moveTo>
                      <a:pt x="351" y="682"/>
                    </a:moveTo>
                    <a:lnTo>
                      <a:pt x="351" y="680"/>
                    </a:lnTo>
                    <a:lnTo>
                      <a:pt x="351" y="682"/>
                    </a:lnTo>
                    <a:close/>
                    <a:moveTo>
                      <a:pt x="805" y="488"/>
                    </a:moveTo>
                    <a:lnTo>
                      <a:pt x="803" y="488"/>
                    </a:lnTo>
                    <a:lnTo>
                      <a:pt x="805" y="488"/>
                    </a:lnTo>
                    <a:close/>
                    <a:moveTo>
                      <a:pt x="799" y="484"/>
                    </a:moveTo>
                    <a:lnTo>
                      <a:pt x="799" y="482"/>
                    </a:lnTo>
                    <a:lnTo>
                      <a:pt x="799" y="484"/>
                    </a:lnTo>
                    <a:close/>
                    <a:moveTo>
                      <a:pt x="799" y="484"/>
                    </a:moveTo>
                    <a:lnTo>
                      <a:pt x="799" y="482"/>
                    </a:lnTo>
                    <a:lnTo>
                      <a:pt x="799" y="484"/>
                    </a:lnTo>
                    <a:close/>
                    <a:moveTo>
                      <a:pt x="347" y="667"/>
                    </a:moveTo>
                    <a:lnTo>
                      <a:pt x="345" y="667"/>
                    </a:lnTo>
                    <a:lnTo>
                      <a:pt x="347" y="667"/>
                    </a:lnTo>
                    <a:close/>
                    <a:moveTo>
                      <a:pt x="343" y="659"/>
                    </a:moveTo>
                    <a:lnTo>
                      <a:pt x="342" y="659"/>
                    </a:lnTo>
                    <a:lnTo>
                      <a:pt x="343" y="659"/>
                    </a:lnTo>
                    <a:close/>
                    <a:moveTo>
                      <a:pt x="351" y="653"/>
                    </a:moveTo>
                    <a:lnTo>
                      <a:pt x="349" y="655"/>
                    </a:lnTo>
                    <a:lnTo>
                      <a:pt x="349" y="653"/>
                    </a:lnTo>
                    <a:lnTo>
                      <a:pt x="351" y="653"/>
                    </a:lnTo>
                    <a:close/>
                    <a:moveTo>
                      <a:pt x="353" y="653"/>
                    </a:moveTo>
                    <a:lnTo>
                      <a:pt x="351" y="653"/>
                    </a:lnTo>
                    <a:lnTo>
                      <a:pt x="353" y="653"/>
                    </a:lnTo>
                    <a:close/>
                    <a:moveTo>
                      <a:pt x="343" y="657"/>
                    </a:moveTo>
                    <a:lnTo>
                      <a:pt x="342" y="657"/>
                    </a:lnTo>
                    <a:lnTo>
                      <a:pt x="343" y="657"/>
                    </a:lnTo>
                    <a:close/>
                    <a:moveTo>
                      <a:pt x="336" y="653"/>
                    </a:moveTo>
                    <a:lnTo>
                      <a:pt x="334" y="653"/>
                    </a:lnTo>
                    <a:lnTo>
                      <a:pt x="336" y="653"/>
                    </a:lnTo>
                    <a:close/>
                    <a:moveTo>
                      <a:pt x="334" y="653"/>
                    </a:moveTo>
                    <a:lnTo>
                      <a:pt x="334" y="651"/>
                    </a:lnTo>
                    <a:lnTo>
                      <a:pt x="334" y="653"/>
                    </a:lnTo>
                    <a:close/>
                    <a:moveTo>
                      <a:pt x="791" y="457"/>
                    </a:moveTo>
                    <a:lnTo>
                      <a:pt x="791" y="455"/>
                    </a:lnTo>
                    <a:lnTo>
                      <a:pt x="791" y="457"/>
                    </a:lnTo>
                    <a:close/>
                    <a:moveTo>
                      <a:pt x="328" y="644"/>
                    </a:moveTo>
                    <a:lnTo>
                      <a:pt x="330" y="644"/>
                    </a:lnTo>
                    <a:lnTo>
                      <a:pt x="328" y="644"/>
                    </a:lnTo>
                    <a:close/>
                    <a:moveTo>
                      <a:pt x="795" y="453"/>
                    </a:moveTo>
                    <a:lnTo>
                      <a:pt x="793" y="453"/>
                    </a:lnTo>
                    <a:lnTo>
                      <a:pt x="795" y="453"/>
                    </a:lnTo>
                    <a:close/>
                    <a:moveTo>
                      <a:pt x="814" y="438"/>
                    </a:moveTo>
                    <a:lnTo>
                      <a:pt x="812" y="438"/>
                    </a:lnTo>
                    <a:lnTo>
                      <a:pt x="814" y="438"/>
                    </a:lnTo>
                    <a:close/>
                    <a:moveTo>
                      <a:pt x="799" y="446"/>
                    </a:moveTo>
                    <a:lnTo>
                      <a:pt x="797" y="446"/>
                    </a:lnTo>
                    <a:lnTo>
                      <a:pt x="799" y="446"/>
                    </a:lnTo>
                    <a:close/>
                    <a:moveTo>
                      <a:pt x="820" y="434"/>
                    </a:moveTo>
                    <a:lnTo>
                      <a:pt x="818" y="434"/>
                    </a:lnTo>
                    <a:lnTo>
                      <a:pt x="820" y="434"/>
                    </a:lnTo>
                    <a:close/>
                    <a:moveTo>
                      <a:pt x="818" y="434"/>
                    </a:moveTo>
                    <a:lnTo>
                      <a:pt x="820" y="434"/>
                    </a:lnTo>
                    <a:lnTo>
                      <a:pt x="818" y="434"/>
                    </a:lnTo>
                    <a:close/>
                    <a:moveTo>
                      <a:pt x="818" y="434"/>
                    </a:moveTo>
                    <a:lnTo>
                      <a:pt x="820" y="432"/>
                    </a:lnTo>
                    <a:lnTo>
                      <a:pt x="820" y="434"/>
                    </a:lnTo>
                    <a:lnTo>
                      <a:pt x="818" y="434"/>
                    </a:lnTo>
                    <a:close/>
                    <a:moveTo>
                      <a:pt x="357" y="628"/>
                    </a:moveTo>
                    <a:lnTo>
                      <a:pt x="355" y="628"/>
                    </a:lnTo>
                    <a:lnTo>
                      <a:pt x="357" y="628"/>
                    </a:lnTo>
                    <a:close/>
                    <a:moveTo>
                      <a:pt x="801" y="442"/>
                    </a:moveTo>
                    <a:lnTo>
                      <a:pt x="801" y="444"/>
                    </a:lnTo>
                    <a:lnTo>
                      <a:pt x="801" y="442"/>
                    </a:lnTo>
                    <a:close/>
                    <a:moveTo>
                      <a:pt x="826" y="428"/>
                    </a:moveTo>
                    <a:lnTo>
                      <a:pt x="826" y="430"/>
                    </a:lnTo>
                    <a:lnTo>
                      <a:pt x="826" y="428"/>
                    </a:lnTo>
                    <a:close/>
                    <a:moveTo>
                      <a:pt x="826" y="428"/>
                    </a:moveTo>
                    <a:lnTo>
                      <a:pt x="826" y="430"/>
                    </a:lnTo>
                    <a:lnTo>
                      <a:pt x="826" y="428"/>
                    </a:lnTo>
                    <a:close/>
                    <a:moveTo>
                      <a:pt x="826" y="428"/>
                    </a:moveTo>
                    <a:lnTo>
                      <a:pt x="826" y="430"/>
                    </a:lnTo>
                    <a:lnTo>
                      <a:pt x="826" y="428"/>
                    </a:lnTo>
                    <a:close/>
                    <a:moveTo>
                      <a:pt x="820" y="430"/>
                    </a:moveTo>
                    <a:lnTo>
                      <a:pt x="820" y="432"/>
                    </a:lnTo>
                    <a:lnTo>
                      <a:pt x="820" y="430"/>
                    </a:lnTo>
                    <a:close/>
                    <a:moveTo>
                      <a:pt x="822" y="430"/>
                    </a:moveTo>
                    <a:lnTo>
                      <a:pt x="820" y="430"/>
                    </a:lnTo>
                    <a:lnTo>
                      <a:pt x="822" y="430"/>
                    </a:lnTo>
                    <a:close/>
                    <a:moveTo>
                      <a:pt x="828" y="428"/>
                    </a:moveTo>
                    <a:lnTo>
                      <a:pt x="826" y="428"/>
                    </a:lnTo>
                    <a:lnTo>
                      <a:pt x="828" y="428"/>
                    </a:lnTo>
                    <a:close/>
                    <a:moveTo>
                      <a:pt x="820" y="432"/>
                    </a:moveTo>
                    <a:lnTo>
                      <a:pt x="820" y="430"/>
                    </a:lnTo>
                    <a:lnTo>
                      <a:pt x="820" y="432"/>
                    </a:lnTo>
                    <a:close/>
                    <a:moveTo>
                      <a:pt x="805" y="440"/>
                    </a:moveTo>
                    <a:lnTo>
                      <a:pt x="803" y="440"/>
                    </a:lnTo>
                    <a:lnTo>
                      <a:pt x="805" y="440"/>
                    </a:lnTo>
                    <a:close/>
                    <a:moveTo>
                      <a:pt x="820" y="430"/>
                    </a:moveTo>
                    <a:lnTo>
                      <a:pt x="820" y="432"/>
                    </a:lnTo>
                    <a:lnTo>
                      <a:pt x="820" y="430"/>
                    </a:lnTo>
                    <a:lnTo>
                      <a:pt x="820" y="432"/>
                    </a:lnTo>
                    <a:lnTo>
                      <a:pt x="820" y="430"/>
                    </a:lnTo>
                    <a:close/>
                    <a:moveTo>
                      <a:pt x="330" y="634"/>
                    </a:moveTo>
                    <a:lnTo>
                      <a:pt x="328" y="634"/>
                    </a:lnTo>
                    <a:lnTo>
                      <a:pt x="328" y="632"/>
                    </a:lnTo>
                    <a:lnTo>
                      <a:pt x="330" y="634"/>
                    </a:lnTo>
                    <a:close/>
                    <a:moveTo>
                      <a:pt x="822" y="423"/>
                    </a:moveTo>
                    <a:lnTo>
                      <a:pt x="820" y="423"/>
                    </a:lnTo>
                    <a:lnTo>
                      <a:pt x="822" y="423"/>
                    </a:lnTo>
                    <a:close/>
                    <a:moveTo>
                      <a:pt x="828" y="413"/>
                    </a:moveTo>
                    <a:lnTo>
                      <a:pt x="828" y="415"/>
                    </a:lnTo>
                    <a:lnTo>
                      <a:pt x="828" y="413"/>
                    </a:lnTo>
                    <a:close/>
                    <a:moveTo>
                      <a:pt x="372" y="609"/>
                    </a:moveTo>
                    <a:lnTo>
                      <a:pt x="370" y="609"/>
                    </a:lnTo>
                    <a:lnTo>
                      <a:pt x="372" y="609"/>
                    </a:lnTo>
                    <a:close/>
                    <a:moveTo>
                      <a:pt x="322" y="621"/>
                    </a:moveTo>
                    <a:lnTo>
                      <a:pt x="322" y="619"/>
                    </a:lnTo>
                    <a:lnTo>
                      <a:pt x="322" y="621"/>
                    </a:lnTo>
                    <a:close/>
                    <a:moveTo>
                      <a:pt x="797" y="421"/>
                    </a:moveTo>
                    <a:lnTo>
                      <a:pt x="799" y="423"/>
                    </a:lnTo>
                    <a:lnTo>
                      <a:pt x="797" y="421"/>
                    </a:lnTo>
                    <a:close/>
                    <a:moveTo>
                      <a:pt x="595" y="517"/>
                    </a:moveTo>
                    <a:lnTo>
                      <a:pt x="595" y="519"/>
                    </a:lnTo>
                    <a:lnTo>
                      <a:pt x="595" y="517"/>
                    </a:lnTo>
                    <a:close/>
                    <a:moveTo>
                      <a:pt x="330" y="611"/>
                    </a:moveTo>
                    <a:lnTo>
                      <a:pt x="328" y="611"/>
                    </a:lnTo>
                    <a:lnTo>
                      <a:pt x="330" y="611"/>
                    </a:lnTo>
                    <a:close/>
                    <a:moveTo>
                      <a:pt x="1074" y="242"/>
                    </a:moveTo>
                    <a:lnTo>
                      <a:pt x="1074" y="240"/>
                    </a:lnTo>
                    <a:lnTo>
                      <a:pt x="1074" y="242"/>
                    </a:lnTo>
                    <a:close/>
                    <a:moveTo>
                      <a:pt x="1100" y="213"/>
                    </a:moveTo>
                    <a:lnTo>
                      <a:pt x="1100" y="211"/>
                    </a:lnTo>
                    <a:lnTo>
                      <a:pt x="1100" y="213"/>
                    </a:lnTo>
                    <a:close/>
                    <a:moveTo>
                      <a:pt x="1083" y="225"/>
                    </a:moveTo>
                    <a:lnTo>
                      <a:pt x="1081" y="225"/>
                    </a:lnTo>
                    <a:lnTo>
                      <a:pt x="1083" y="225"/>
                    </a:lnTo>
                    <a:close/>
                    <a:moveTo>
                      <a:pt x="1099" y="207"/>
                    </a:moveTo>
                    <a:lnTo>
                      <a:pt x="1100" y="209"/>
                    </a:lnTo>
                    <a:lnTo>
                      <a:pt x="1099" y="209"/>
                    </a:lnTo>
                    <a:lnTo>
                      <a:pt x="1100" y="209"/>
                    </a:lnTo>
                    <a:lnTo>
                      <a:pt x="1099" y="209"/>
                    </a:lnTo>
                    <a:lnTo>
                      <a:pt x="1099" y="207"/>
                    </a:lnTo>
                    <a:close/>
                    <a:moveTo>
                      <a:pt x="1099" y="207"/>
                    </a:moveTo>
                    <a:lnTo>
                      <a:pt x="1100" y="207"/>
                    </a:lnTo>
                    <a:lnTo>
                      <a:pt x="1099" y="207"/>
                    </a:lnTo>
                    <a:close/>
                    <a:moveTo>
                      <a:pt x="1099" y="205"/>
                    </a:moveTo>
                    <a:lnTo>
                      <a:pt x="1099" y="207"/>
                    </a:lnTo>
                    <a:lnTo>
                      <a:pt x="1099" y="205"/>
                    </a:lnTo>
                    <a:close/>
                    <a:moveTo>
                      <a:pt x="1097" y="201"/>
                    </a:moveTo>
                    <a:lnTo>
                      <a:pt x="1097" y="203"/>
                    </a:lnTo>
                    <a:lnTo>
                      <a:pt x="1097" y="201"/>
                    </a:lnTo>
                    <a:close/>
                    <a:moveTo>
                      <a:pt x="1097" y="200"/>
                    </a:moveTo>
                    <a:lnTo>
                      <a:pt x="1097" y="201"/>
                    </a:lnTo>
                    <a:lnTo>
                      <a:pt x="1097" y="200"/>
                    </a:lnTo>
                    <a:close/>
                    <a:moveTo>
                      <a:pt x="1095" y="196"/>
                    </a:moveTo>
                    <a:lnTo>
                      <a:pt x="1095" y="198"/>
                    </a:lnTo>
                    <a:lnTo>
                      <a:pt x="1095" y="196"/>
                    </a:lnTo>
                    <a:close/>
                    <a:moveTo>
                      <a:pt x="1093" y="196"/>
                    </a:moveTo>
                    <a:lnTo>
                      <a:pt x="1093" y="198"/>
                    </a:lnTo>
                    <a:lnTo>
                      <a:pt x="1093" y="196"/>
                    </a:lnTo>
                    <a:close/>
                    <a:moveTo>
                      <a:pt x="587" y="490"/>
                    </a:moveTo>
                    <a:lnTo>
                      <a:pt x="587" y="492"/>
                    </a:lnTo>
                    <a:lnTo>
                      <a:pt x="586" y="490"/>
                    </a:lnTo>
                    <a:lnTo>
                      <a:pt x="587" y="490"/>
                    </a:lnTo>
                    <a:close/>
                    <a:moveTo>
                      <a:pt x="584" y="490"/>
                    </a:moveTo>
                    <a:lnTo>
                      <a:pt x="584" y="492"/>
                    </a:lnTo>
                    <a:lnTo>
                      <a:pt x="584" y="490"/>
                    </a:lnTo>
                    <a:close/>
                    <a:moveTo>
                      <a:pt x="1093" y="194"/>
                    </a:moveTo>
                    <a:lnTo>
                      <a:pt x="1093" y="196"/>
                    </a:lnTo>
                    <a:lnTo>
                      <a:pt x="1093" y="194"/>
                    </a:lnTo>
                    <a:close/>
                    <a:moveTo>
                      <a:pt x="793" y="386"/>
                    </a:moveTo>
                    <a:lnTo>
                      <a:pt x="795" y="386"/>
                    </a:lnTo>
                    <a:lnTo>
                      <a:pt x="793" y="386"/>
                    </a:lnTo>
                    <a:close/>
                    <a:moveTo>
                      <a:pt x="1093" y="192"/>
                    </a:moveTo>
                    <a:lnTo>
                      <a:pt x="1091" y="192"/>
                    </a:lnTo>
                    <a:lnTo>
                      <a:pt x="1093" y="192"/>
                    </a:lnTo>
                    <a:close/>
                    <a:moveTo>
                      <a:pt x="584" y="488"/>
                    </a:moveTo>
                    <a:lnTo>
                      <a:pt x="582" y="488"/>
                    </a:lnTo>
                    <a:lnTo>
                      <a:pt x="584" y="488"/>
                    </a:lnTo>
                    <a:close/>
                    <a:moveTo>
                      <a:pt x="791" y="386"/>
                    </a:moveTo>
                    <a:lnTo>
                      <a:pt x="793" y="386"/>
                    </a:lnTo>
                    <a:lnTo>
                      <a:pt x="791" y="386"/>
                    </a:lnTo>
                    <a:close/>
                    <a:moveTo>
                      <a:pt x="841" y="357"/>
                    </a:moveTo>
                    <a:lnTo>
                      <a:pt x="843" y="357"/>
                    </a:lnTo>
                    <a:lnTo>
                      <a:pt x="841" y="357"/>
                    </a:lnTo>
                    <a:close/>
                    <a:moveTo>
                      <a:pt x="1091" y="192"/>
                    </a:moveTo>
                    <a:lnTo>
                      <a:pt x="1089" y="192"/>
                    </a:lnTo>
                    <a:lnTo>
                      <a:pt x="1091" y="192"/>
                    </a:lnTo>
                    <a:close/>
                    <a:moveTo>
                      <a:pt x="538" y="505"/>
                    </a:moveTo>
                    <a:lnTo>
                      <a:pt x="536" y="505"/>
                    </a:lnTo>
                    <a:lnTo>
                      <a:pt x="538" y="505"/>
                    </a:lnTo>
                    <a:close/>
                    <a:moveTo>
                      <a:pt x="839" y="357"/>
                    </a:moveTo>
                    <a:lnTo>
                      <a:pt x="841" y="357"/>
                    </a:lnTo>
                    <a:lnTo>
                      <a:pt x="839" y="357"/>
                    </a:lnTo>
                    <a:close/>
                    <a:moveTo>
                      <a:pt x="332" y="578"/>
                    </a:moveTo>
                    <a:lnTo>
                      <a:pt x="332" y="576"/>
                    </a:lnTo>
                    <a:lnTo>
                      <a:pt x="332" y="578"/>
                    </a:lnTo>
                    <a:close/>
                    <a:moveTo>
                      <a:pt x="1089" y="192"/>
                    </a:moveTo>
                    <a:lnTo>
                      <a:pt x="1089" y="190"/>
                    </a:lnTo>
                    <a:lnTo>
                      <a:pt x="1089" y="192"/>
                    </a:lnTo>
                    <a:close/>
                    <a:moveTo>
                      <a:pt x="582" y="486"/>
                    </a:moveTo>
                    <a:lnTo>
                      <a:pt x="580" y="486"/>
                    </a:lnTo>
                    <a:lnTo>
                      <a:pt x="582" y="486"/>
                    </a:lnTo>
                    <a:close/>
                    <a:moveTo>
                      <a:pt x="1106" y="175"/>
                    </a:moveTo>
                    <a:lnTo>
                      <a:pt x="1108" y="175"/>
                    </a:lnTo>
                    <a:lnTo>
                      <a:pt x="1106" y="175"/>
                    </a:lnTo>
                    <a:close/>
                    <a:moveTo>
                      <a:pt x="1100" y="178"/>
                    </a:moveTo>
                    <a:lnTo>
                      <a:pt x="1099" y="178"/>
                    </a:lnTo>
                    <a:lnTo>
                      <a:pt x="1100" y="178"/>
                    </a:lnTo>
                    <a:close/>
                    <a:moveTo>
                      <a:pt x="1074" y="198"/>
                    </a:moveTo>
                    <a:lnTo>
                      <a:pt x="1072" y="198"/>
                    </a:lnTo>
                    <a:lnTo>
                      <a:pt x="1074" y="198"/>
                    </a:lnTo>
                    <a:close/>
                    <a:moveTo>
                      <a:pt x="1099" y="176"/>
                    </a:moveTo>
                    <a:lnTo>
                      <a:pt x="1099" y="178"/>
                    </a:lnTo>
                    <a:lnTo>
                      <a:pt x="1099" y="176"/>
                    </a:lnTo>
                    <a:close/>
                    <a:moveTo>
                      <a:pt x="1085" y="188"/>
                    </a:moveTo>
                    <a:lnTo>
                      <a:pt x="1083" y="188"/>
                    </a:lnTo>
                    <a:lnTo>
                      <a:pt x="1085" y="188"/>
                    </a:lnTo>
                    <a:close/>
                    <a:moveTo>
                      <a:pt x="1085" y="186"/>
                    </a:moveTo>
                    <a:lnTo>
                      <a:pt x="1085" y="188"/>
                    </a:lnTo>
                    <a:lnTo>
                      <a:pt x="1085" y="186"/>
                    </a:lnTo>
                    <a:close/>
                    <a:moveTo>
                      <a:pt x="553" y="490"/>
                    </a:moveTo>
                    <a:lnTo>
                      <a:pt x="553" y="492"/>
                    </a:lnTo>
                    <a:lnTo>
                      <a:pt x="553" y="490"/>
                    </a:lnTo>
                    <a:close/>
                    <a:moveTo>
                      <a:pt x="1135" y="148"/>
                    </a:moveTo>
                    <a:lnTo>
                      <a:pt x="1135" y="146"/>
                    </a:lnTo>
                    <a:lnTo>
                      <a:pt x="1135" y="148"/>
                    </a:lnTo>
                    <a:close/>
                    <a:moveTo>
                      <a:pt x="551" y="490"/>
                    </a:moveTo>
                    <a:lnTo>
                      <a:pt x="549" y="490"/>
                    </a:lnTo>
                    <a:lnTo>
                      <a:pt x="551" y="490"/>
                    </a:lnTo>
                    <a:close/>
                    <a:moveTo>
                      <a:pt x="397" y="546"/>
                    </a:moveTo>
                    <a:lnTo>
                      <a:pt x="395" y="546"/>
                    </a:lnTo>
                    <a:lnTo>
                      <a:pt x="397" y="546"/>
                    </a:lnTo>
                    <a:close/>
                    <a:moveTo>
                      <a:pt x="386" y="549"/>
                    </a:moveTo>
                    <a:lnTo>
                      <a:pt x="386" y="547"/>
                    </a:lnTo>
                    <a:lnTo>
                      <a:pt x="386" y="549"/>
                    </a:lnTo>
                    <a:close/>
                    <a:moveTo>
                      <a:pt x="399" y="542"/>
                    </a:moveTo>
                    <a:lnTo>
                      <a:pt x="399" y="544"/>
                    </a:lnTo>
                    <a:lnTo>
                      <a:pt x="399" y="542"/>
                    </a:lnTo>
                    <a:close/>
                    <a:moveTo>
                      <a:pt x="401" y="542"/>
                    </a:moveTo>
                    <a:lnTo>
                      <a:pt x="399" y="542"/>
                    </a:lnTo>
                    <a:lnTo>
                      <a:pt x="401" y="542"/>
                    </a:lnTo>
                    <a:close/>
                    <a:moveTo>
                      <a:pt x="1077" y="186"/>
                    </a:moveTo>
                    <a:lnTo>
                      <a:pt x="1075" y="186"/>
                    </a:lnTo>
                    <a:lnTo>
                      <a:pt x="1077" y="186"/>
                    </a:lnTo>
                    <a:close/>
                    <a:moveTo>
                      <a:pt x="405" y="540"/>
                    </a:moveTo>
                    <a:lnTo>
                      <a:pt x="405" y="542"/>
                    </a:lnTo>
                    <a:lnTo>
                      <a:pt x="405" y="540"/>
                    </a:lnTo>
                    <a:close/>
                    <a:moveTo>
                      <a:pt x="332" y="565"/>
                    </a:moveTo>
                    <a:lnTo>
                      <a:pt x="330" y="565"/>
                    </a:lnTo>
                    <a:lnTo>
                      <a:pt x="332" y="565"/>
                    </a:lnTo>
                    <a:close/>
                    <a:moveTo>
                      <a:pt x="411" y="538"/>
                    </a:moveTo>
                    <a:lnTo>
                      <a:pt x="409" y="538"/>
                    </a:lnTo>
                    <a:lnTo>
                      <a:pt x="411" y="538"/>
                    </a:lnTo>
                    <a:close/>
                    <a:moveTo>
                      <a:pt x="411" y="538"/>
                    </a:moveTo>
                    <a:lnTo>
                      <a:pt x="409" y="538"/>
                    </a:lnTo>
                    <a:lnTo>
                      <a:pt x="411" y="538"/>
                    </a:lnTo>
                    <a:close/>
                    <a:moveTo>
                      <a:pt x="1079" y="182"/>
                    </a:moveTo>
                    <a:lnTo>
                      <a:pt x="1077" y="182"/>
                    </a:lnTo>
                    <a:lnTo>
                      <a:pt x="1079" y="182"/>
                    </a:lnTo>
                    <a:close/>
                    <a:moveTo>
                      <a:pt x="568" y="473"/>
                    </a:moveTo>
                    <a:lnTo>
                      <a:pt x="568" y="474"/>
                    </a:lnTo>
                    <a:lnTo>
                      <a:pt x="568" y="473"/>
                    </a:lnTo>
                    <a:close/>
                    <a:moveTo>
                      <a:pt x="568" y="473"/>
                    </a:moveTo>
                    <a:lnTo>
                      <a:pt x="566" y="473"/>
                    </a:lnTo>
                    <a:lnTo>
                      <a:pt x="568" y="473"/>
                    </a:lnTo>
                    <a:close/>
                    <a:moveTo>
                      <a:pt x="568" y="473"/>
                    </a:moveTo>
                    <a:lnTo>
                      <a:pt x="566" y="473"/>
                    </a:lnTo>
                    <a:lnTo>
                      <a:pt x="568" y="473"/>
                    </a:lnTo>
                    <a:close/>
                    <a:moveTo>
                      <a:pt x="566" y="473"/>
                    </a:moveTo>
                    <a:lnTo>
                      <a:pt x="568" y="473"/>
                    </a:lnTo>
                    <a:lnTo>
                      <a:pt x="566" y="473"/>
                    </a:lnTo>
                    <a:close/>
                    <a:moveTo>
                      <a:pt x="330" y="561"/>
                    </a:moveTo>
                    <a:lnTo>
                      <a:pt x="330" y="559"/>
                    </a:lnTo>
                    <a:lnTo>
                      <a:pt x="330" y="561"/>
                    </a:lnTo>
                    <a:close/>
                    <a:moveTo>
                      <a:pt x="566" y="471"/>
                    </a:moveTo>
                    <a:lnTo>
                      <a:pt x="566" y="469"/>
                    </a:lnTo>
                    <a:lnTo>
                      <a:pt x="566" y="471"/>
                    </a:lnTo>
                    <a:close/>
                    <a:moveTo>
                      <a:pt x="566" y="465"/>
                    </a:moveTo>
                    <a:lnTo>
                      <a:pt x="566" y="463"/>
                    </a:lnTo>
                    <a:lnTo>
                      <a:pt x="566" y="465"/>
                    </a:lnTo>
                    <a:close/>
                    <a:moveTo>
                      <a:pt x="1125" y="126"/>
                    </a:moveTo>
                    <a:lnTo>
                      <a:pt x="1125" y="128"/>
                    </a:lnTo>
                    <a:lnTo>
                      <a:pt x="1125" y="126"/>
                    </a:lnTo>
                    <a:close/>
                    <a:moveTo>
                      <a:pt x="564" y="459"/>
                    </a:moveTo>
                    <a:lnTo>
                      <a:pt x="564" y="461"/>
                    </a:lnTo>
                    <a:lnTo>
                      <a:pt x="564" y="459"/>
                    </a:lnTo>
                    <a:close/>
                    <a:moveTo>
                      <a:pt x="563" y="459"/>
                    </a:moveTo>
                    <a:lnTo>
                      <a:pt x="563" y="461"/>
                    </a:lnTo>
                    <a:lnTo>
                      <a:pt x="563" y="459"/>
                    </a:lnTo>
                    <a:close/>
                    <a:moveTo>
                      <a:pt x="845" y="315"/>
                    </a:moveTo>
                    <a:lnTo>
                      <a:pt x="845" y="313"/>
                    </a:lnTo>
                    <a:lnTo>
                      <a:pt x="845" y="315"/>
                    </a:lnTo>
                    <a:close/>
                    <a:moveTo>
                      <a:pt x="359" y="532"/>
                    </a:moveTo>
                    <a:lnTo>
                      <a:pt x="357" y="532"/>
                    </a:lnTo>
                    <a:lnTo>
                      <a:pt x="359" y="532"/>
                    </a:lnTo>
                    <a:close/>
                    <a:moveTo>
                      <a:pt x="563" y="455"/>
                    </a:moveTo>
                    <a:lnTo>
                      <a:pt x="563" y="453"/>
                    </a:lnTo>
                    <a:lnTo>
                      <a:pt x="563" y="455"/>
                    </a:lnTo>
                    <a:close/>
                    <a:moveTo>
                      <a:pt x="563" y="453"/>
                    </a:moveTo>
                    <a:lnTo>
                      <a:pt x="561" y="453"/>
                    </a:lnTo>
                    <a:lnTo>
                      <a:pt x="563" y="453"/>
                    </a:lnTo>
                    <a:close/>
                    <a:moveTo>
                      <a:pt x="561" y="453"/>
                    </a:moveTo>
                    <a:lnTo>
                      <a:pt x="563" y="453"/>
                    </a:lnTo>
                    <a:lnTo>
                      <a:pt x="561" y="453"/>
                    </a:lnTo>
                    <a:close/>
                    <a:moveTo>
                      <a:pt x="1116" y="121"/>
                    </a:moveTo>
                    <a:lnTo>
                      <a:pt x="1118" y="121"/>
                    </a:lnTo>
                    <a:lnTo>
                      <a:pt x="1116" y="121"/>
                    </a:lnTo>
                    <a:close/>
                    <a:moveTo>
                      <a:pt x="561" y="453"/>
                    </a:moveTo>
                    <a:lnTo>
                      <a:pt x="561" y="451"/>
                    </a:lnTo>
                    <a:lnTo>
                      <a:pt x="561" y="453"/>
                    </a:lnTo>
                    <a:close/>
                    <a:moveTo>
                      <a:pt x="561" y="449"/>
                    </a:moveTo>
                    <a:lnTo>
                      <a:pt x="561" y="448"/>
                    </a:lnTo>
                    <a:lnTo>
                      <a:pt x="561" y="449"/>
                    </a:lnTo>
                    <a:close/>
                    <a:moveTo>
                      <a:pt x="351" y="526"/>
                    </a:moveTo>
                    <a:lnTo>
                      <a:pt x="349" y="526"/>
                    </a:lnTo>
                    <a:lnTo>
                      <a:pt x="349" y="524"/>
                    </a:lnTo>
                    <a:lnTo>
                      <a:pt x="351" y="526"/>
                    </a:lnTo>
                    <a:close/>
                    <a:moveTo>
                      <a:pt x="559" y="448"/>
                    </a:moveTo>
                    <a:lnTo>
                      <a:pt x="559" y="446"/>
                    </a:lnTo>
                    <a:lnTo>
                      <a:pt x="559" y="448"/>
                    </a:lnTo>
                    <a:close/>
                    <a:moveTo>
                      <a:pt x="561" y="440"/>
                    </a:moveTo>
                    <a:lnTo>
                      <a:pt x="561" y="442"/>
                    </a:lnTo>
                    <a:lnTo>
                      <a:pt x="561" y="440"/>
                    </a:lnTo>
                    <a:close/>
                    <a:moveTo>
                      <a:pt x="1114" y="109"/>
                    </a:moveTo>
                    <a:lnTo>
                      <a:pt x="1112" y="109"/>
                    </a:lnTo>
                    <a:lnTo>
                      <a:pt x="1112" y="107"/>
                    </a:lnTo>
                    <a:lnTo>
                      <a:pt x="1114" y="109"/>
                    </a:lnTo>
                    <a:close/>
                    <a:moveTo>
                      <a:pt x="1114" y="101"/>
                    </a:moveTo>
                    <a:lnTo>
                      <a:pt x="1114" y="103"/>
                    </a:lnTo>
                    <a:lnTo>
                      <a:pt x="1114" y="101"/>
                    </a:lnTo>
                    <a:close/>
                    <a:moveTo>
                      <a:pt x="1114" y="101"/>
                    </a:moveTo>
                    <a:lnTo>
                      <a:pt x="1112" y="101"/>
                    </a:lnTo>
                    <a:lnTo>
                      <a:pt x="1114" y="101"/>
                    </a:lnTo>
                    <a:close/>
                    <a:moveTo>
                      <a:pt x="561" y="432"/>
                    </a:moveTo>
                    <a:lnTo>
                      <a:pt x="561" y="434"/>
                    </a:lnTo>
                    <a:lnTo>
                      <a:pt x="561" y="432"/>
                    </a:lnTo>
                    <a:lnTo>
                      <a:pt x="561" y="434"/>
                    </a:lnTo>
                    <a:lnTo>
                      <a:pt x="561" y="432"/>
                    </a:lnTo>
                    <a:close/>
                    <a:moveTo>
                      <a:pt x="336" y="517"/>
                    </a:moveTo>
                    <a:lnTo>
                      <a:pt x="336" y="515"/>
                    </a:lnTo>
                    <a:lnTo>
                      <a:pt x="336" y="517"/>
                    </a:lnTo>
                    <a:close/>
                    <a:moveTo>
                      <a:pt x="1102" y="107"/>
                    </a:moveTo>
                    <a:lnTo>
                      <a:pt x="1102" y="109"/>
                    </a:lnTo>
                    <a:lnTo>
                      <a:pt x="1102" y="107"/>
                    </a:lnTo>
                    <a:close/>
                    <a:moveTo>
                      <a:pt x="1102" y="107"/>
                    </a:moveTo>
                    <a:lnTo>
                      <a:pt x="1102" y="109"/>
                    </a:lnTo>
                    <a:lnTo>
                      <a:pt x="1102" y="107"/>
                    </a:lnTo>
                    <a:lnTo>
                      <a:pt x="1102" y="109"/>
                    </a:lnTo>
                    <a:lnTo>
                      <a:pt x="1102" y="107"/>
                    </a:lnTo>
                    <a:close/>
                    <a:moveTo>
                      <a:pt x="1102" y="103"/>
                    </a:moveTo>
                    <a:lnTo>
                      <a:pt x="1104" y="103"/>
                    </a:lnTo>
                    <a:lnTo>
                      <a:pt x="1102" y="103"/>
                    </a:lnTo>
                    <a:lnTo>
                      <a:pt x="1104" y="103"/>
                    </a:lnTo>
                    <a:lnTo>
                      <a:pt x="1102" y="103"/>
                    </a:lnTo>
                    <a:close/>
                    <a:moveTo>
                      <a:pt x="1099" y="105"/>
                    </a:moveTo>
                    <a:lnTo>
                      <a:pt x="1099" y="107"/>
                    </a:lnTo>
                    <a:lnTo>
                      <a:pt x="1099" y="105"/>
                    </a:lnTo>
                    <a:close/>
                    <a:moveTo>
                      <a:pt x="1099" y="107"/>
                    </a:moveTo>
                    <a:lnTo>
                      <a:pt x="1097" y="107"/>
                    </a:lnTo>
                    <a:lnTo>
                      <a:pt x="1099" y="107"/>
                    </a:lnTo>
                    <a:close/>
                    <a:moveTo>
                      <a:pt x="1104" y="101"/>
                    </a:moveTo>
                    <a:lnTo>
                      <a:pt x="1102" y="101"/>
                    </a:lnTo>
                    <a:lnTo>
                      <a:pt x="1104" y="101"/>
                    </a:lnTo>
                    <a:close/>
                    <a:moveTo>
                      <a:pt x="830" y="292"/>
                    </a:moveTo>
                    <a:lnTo>
                      <a:pt x="828" y="292"/>
                    </a:lnTo>
                    <a:lnTo>
                      <a:pt x="830" y="292"/>
                    </a:lnTo>
                    <a:close/>
                    <a:moveTo>
                      <a:pt x="1100" y="103"/>
                    </a:moveTo>
                    <a:lnTo>
                      <a:pt x="1102" y="103"/>
                    </a:lnTo>
                    <a:lnTo>
                      <a:pt x="1100" y="103"/>
                    </a:lnTo>
                    <a:lnTo>
                      <a:pt x="1102" y="103"/>
                    </a:lnTo>
                    <a:lnTo>
                      <a:pt x="1100" y="103"/>
                    </a:lnTo>
                    <a:close/>
                    <a:moveTo>
                      <a:pt x="1099" y="105"/>
                    </a:moveTo>
                    <a:lnTo>
                      <a:pt x="1097" y="105"/>
                    </a:lnTo>
                    <a:lnTo>
                      <a:pt x="1099" y="105"/>
                    </a:lnTo>
                    <a:close/>
                    <a:moveTo>
                      <a:pt x="1108" y="98"/>
                    </a:moveTo>
                    <a:lnTo>
                      <a:pt x="1108" y="96"/>
                    </a:lnTo>
                    <a:lnTo>
                      <a:pt x="1108" y="98"/>
                    </a:lnTo>
                    <a:close/>
                    <a:moveTo>
                      <a:pt x="1104" y="100"/>
                    </a:moveTo>
                    <a:lnTo>
                      <a:pt x="1102" y="100"/>
                    </a:lnTo>
                    <a:lnTo>
                      <a:pt x="1104" y="100"/>
                    </a:lnTo>
                    <a:close/>
                    <a:moveTo>
                      <a:pt x="338" y="509"/>
                    </a:moveTo>
                    <a:lnTo>
                      <a:pt x="336" y="509"/>
                    </a:lnTo>
                    <a:lnTo>
                      <a:pt x="338" y="509"/>
                    </a:lnTo>
                    <a:close/>
                    <a:moveTo>
                      <a:pt x="1114" y="92"/>
                    </a:moveTo>
                    <a:lnTo>
                      <a:pt x="1114" y="90"/>
                    </a:lnTo>
                    <a:lnTo>
                      <a:pt x="1114" y="92"/>
                    </a:lnTo>
                    <a:lnTo>
                      <a:pt x="1114" y="90"/>
                    </a:lnTo>
                    <a:lnTo>
                      <a:pt x="1114" y="92"/>
                    </a:lnTo>
                    <a:close/>
                    <a:moveTo>
                      <a:pt x="1114" y="90"/>
                    </a:moveTo>
                    <a:lnTo>
                      <a:pt x="1116" y="90"/>
                    </a:lnTo>
                    <a:lnTo>
                      <a:pt x="1114" y="90"/>
                    </a:lnTo>
                    <a:close/>
                    <a:moveTo>
                      <a:pt x="1112" y="94"/>
                    </a:moveTo>
                    <a:lnTo>
                      <a:pt x="1110" y="94"/>
                    </a:lnTo>
                    <a:lnTo>
                      <a:pt x="1112" y="94"/>
                    </a:lnTo>
                    <a:close/>
                    <a:moveTo>
                      <a:pt x="1114" y="90"/>
                    </a:moveTo>
                    <a:lnTo>
                      <a:pt x="1116" y="90"/>
                    </a:lnTo>
                    <a:lnTo>
                      <a:pt x="1114" y="90"/>
                    </a:lnTo>
                    <a:close/>
                    <a:moveTo>
                      <a:pt x="1112" y="92"/>
                    </a:moveTo>
                    <a:lnTo>
                      <a:pt x="1112" y="94"/>
                    </a:lnTo>
                    <a:lnTo>
                      <a:pt x="1112" y="92"/>
                    </a:lnTo>
                    <a:close/>
                    <a:moveTo>
                      <a:pt x="1106" y="96"/>
                    </a:moveTo>
                    <a:lnTo>
                      <a:pt x="1106" y="98"/>
                    </a:lnTo>
                    <a:lnTo>
                      <a:pt x="1106" y="96"/>
                    </a:lnTo>
                    <a:close/>
                    <a:moveTo>
                      <a:pt x="1083" y="115"/>
                    </a:moveTo>
                    <a:lnTo>
                      <a:pt x="1081" y="115"/>
                    </a:lnTo>
                    <a:lnTo>
                      <a:pt x="1083" y="115"/>
                    </a:lnTo>
                    <a:close/>
                    <a:moveTo>
                      <a:pt x="1110" y="92"/>
                    </a:moveTo>
                    <a:lnTo>
                      <a:pt x="1110" y="94"/>
                    </a:lnTo>
                    <a:lnTo>
                      <a:pt x="1110" y="92"/>
                    </a:lnTo>
                    <a:close/>
                    <a:moveTo>
                      <a:pt x="1081" y="115"/>
                    </a:moveTo>
                    <a:lnTo>
                      <a:pt x="1083" y="115"/>
                    </a:lnTo>
                    <a:lnTo>
                      <a:pt x="1081" y="115"/>
                    </a:lnTo>
                    <a:close/>
                    <a:moveTo>
                      <a:pt x="1112" y="90"/>
                    </a:moveTo>
                    <a:lnTo>
                      <a:pt x="1112" y="92"/>
                    </a:lnTo>
                    <a:lnTo>
                      <a:pt x="1112" y="90"/>
                    </a:lnTo>
                    <a:close/>
                    <a:moveTo>
                      <a:pt x="564" y="423"/>
                    </a:moveTo>
                    <a:lnTo>
                      <a:pt x="563" y="423"/>
                    </a:lnTo>
                    <a:lnTo>
                      <a:pt x="564" y="423"/>
                    </a:lnTo>
                    <a:close/>
                    <a:moveTo>
                      <a:pt x="1108" y="92"/>
                    </a:moveTo>
                    <a:lnTo>
                      <a:pt x="1110" y="92"/>
                    </a:lnTo>
                    <a:lnTo>
                      <a:pt x="1108" y="92"/>
                    </a:lnTo>
                    <a:close/>
                    <a:moveTo>
                      <a:pt x="1087" y="109"/>
                    </a:moveTo>
                    <a:lnTo>
                      <a:pt x="1087" y="111"/>
                    </a:lnTo>
                    <a:lnTo>
                      <a:pt x="1087" y="109"/>
                    </a:lnTo>
                    <a:close/>
                    <a:moveTo>
                      <a:pt x="1112" y="88"/>
                    </a:moveTo>
                    <a:lnTo>
                      <a:pt x="1112" y="90"/>
                    </a:lnTo>
                    <a:lnTo>
                      <a:pt x="1112" y="88"/>
                    </a:lnTo>
                    <a:close/>
                    <a:moveTo>
                      <a:pt x="1083" y="113"/>
                    </a:moveTo>
                    <a:lnTo>
                      <a:pt x="1083" y="111"/>
                    </a:lnTo>
                    <a:lnTo>
                      <a:pt x="1083" y="113"/>
                    </a:lnTo>
                    <a:close/>
                    <a:moveTo>
                      <a:pt x="1083" y="113"/>
                    </a:moveTo>
                    <a:lnTo>
                      <a:pt x="1081" y="113"/>
                    </a:lnTo>
                    <a:lnTo>
                      <a:pt x="1083" y="113"/>
                    </a:lnTo>
                    <a:close/>
                    <a:moveTo>
                      <a:pt x="1091" y="105"/>
                    </a:moveTo>
                    <a:lnTo>
                      <a:pt x="1091" y="103"/>
                    </a:lnTo>
                    <a:lnTo>
                      <a:pt x="1093" y="103"/>
                    </a:lnTo>
                    <a:lnTo>
                      <a:pt x="1091" y="105"/>
                    </a:lnTo>
                    <a:close/>
                    <a:moveTo>
                      <a:pt x="1077" y="113"/>
                    </a:moveTo>
                    <a:lnTo>
                      <a:pt x="1075" y="113"/>
                    </a:lnTo>
                    <a:lnTo>
                      <a:pt x="1077" y="113"/>
                    </a:lnTo>
                    <a:close/>
                    <a:moveTo>
                      <a:pt x="1066" y="119"/>
                    </a:moveTo>
                    <a:lnTo>
                      <a:pt x="1066" y="121"/>
                    </a:lnTo>
                    <a:lnTo>
                      <a:pt x="1066" y="119"/>
                    </a:lnTo>
                    <a:close/>
                    <a:moveTo>
                      <a:pt x="1066" y="119"/>
                    </a:moveTo>
                    <a:lnTo>
                      <a:pt x="1068" y="119"/>
                    </a:lnTo>
                    <a:lnTo>
                      <a:pt x="1066" y="119"/>
                    </a:lnTo>
                    <a:close/>
                    <a:moveTo>
                      <a:pt x="1070" y="115"/>
                    </a:moveTo>
                    <a:lnTo>
                      <a:pt x="1070" y="117"/>
                    </a:lnTo>
                    <a:lnTo>
                      <a:pt x="1070" y="115"/>
                    </a:lnTo>
                    <a:close/>
                    <a:moveTo>
                      <a:pt x="824" y="282"/>
                    </a:moveTo>
                    <a:lnTo>
                      <a:pt x="824" y="284"/>
                    </a:lnTo>
                    <a:lnTo>
                      <a:pt x="824" y="282"/>
                    </a:lnTo>
                    <a:close/>
                    <a:moveTo>
                      <a:pt x="1070" y="117"/>
                    </a:moveTo>
                    <a:lnTo>
                      <a:pt x="1068" y="117"/>
                    </a:lnTo>
                    <a:lnTo>
                      <a:pt x="1070" y="117"/>
                    </a:lnTo>
                    <a:close/>
                    <a:moveTo>
                      <a:pt x="1068" y="117"/>
                    </a:moveTo>
                    <a:lnTo>
                      <a:pt x="1066" y="117"/>
                    </a:lnTo>
                    <a:lnTo>
                      <a:pt x="1068" y="117"/>
                    </a:lnTo>
                    <a:close/>
                    <a:moveTo>
                      <a:pt x="1062" y="117"/>
                    </a:moveTo>
                    <a:lnTo>
                      <a:pt x="1064" y="117"/>
                    </a:lnTo>
                    <a:lnTo>
                      <a:pt x="1062" y="117"/>
                    </a:lnTo>
                    <a:close/>
                    <a:moveTo>
                      <a:pt x="1064" y="117"/>
                    </a:moveTo>
                    <a:lnTo>
                      <a:pt x="1062" y="117"/>
                    </a:lnTo>
                    <a:lnTo>
                      <a:pt x="1064" y="117"/>
                    </a:lnTo>
                    <a:close/>
                    <a:moveTo>
                      <a:pt x="343" y="494"/>
                    </a:moveTo>
                    <a:lnTo>
                      <a:pt x="342" y="496"/>
                    </a:lnTo>
                    <a:lnTo>
                      <a:pt x="343" y="494"/>
                    </a:lnTo>
                    <a:close/>
                    <a:moveTo>
                      <a:pt x="568" y="407"/>
                    </a:moveTo>
                    <a:lnTo>
                      <a:pt x="566" y="407"/>
                    </a:lnTo>
                    <a:lnTo>
                      <a:pt x="568" y="405"/>
                    </a:lnTo>
                    <a:lnTo>
                      <a:pt x="568" y="407"/>
                    </a:lnTo>
                    <a:close/>
                    <a:moveTo>
                      <a:pt x="340" y="492"/>
                    </a:moveTo>
                    <a:lnTo>
                      <a:pt x="340" y="490"/>
                    </a:lnTo>
                    <a:lnTo>
                      <a:pt x="340" y="492"/>
                    </a:lnTo>
                    <a:close/>
                    <a:moveTo>
                      <a:pt x="338" y="490"/>
                    </a:moveTo>
                    <a:lnTo>
                      <a:pt x="338" y="492"/>
                    </a:lnTo>
                    <a:lnTo>
                      <a:pt x="338" y="490"/>
                    </a:lnTo>
                    <a:close/>
                    <a:moveTo>
                      <a:pt x="342" y="488"/>
                    </a:moveTo>
                    <a:lnTo>
                      <a:pt x="342" y="490"/>
                    </a:lnTo>
                    <a:lnTo>
                      <a:pt x="342" y="488"/>
                    </a:lnTo>
                    <a:close/>
                    <a:moveTo>
                      <a:pt x="820" y="275"/>
                    </a:moveTo>
                    <a:lnTo>
                      <a:pt x="820" y="273"/>
                    </a:lnTo>
                    <a:lnTo>
                      <a:pt x="820" y="275"/>
                    </a:lnTo>
                    <a:close/>
                    <a:moveTo>
                      <a:pt x="568" y="401"/>
                    </a:moveTo>
                    <a:lnTo>
                      <a:pt x="566" y="401"/>
                    </a:lnTo>
                    <a:lnTo>
                      <a:pt x="568" y="401"/>
                    </a:lnTo>
                    <a:close/>
                    <a:moveTo>
                      <a:pt x="343" y="486"/>
                    </a:moveTo>
                    <a:lnTo>
                      <a:pt x="342" y="486"/>
                    </a:lnTo>
                    <a:lnTo>
                      <a:pt x="343" y="486"/>
                    </a:lnTo>
                    <a:close/>
                    <a:moveTo>
                      <a:pt x="343" y="486"/>
                    </a:moveTo>
                    <a:lnTo>
                      <a:pt x="342" y="486"/>
                    </a:lnTo>
                    <a:lnTo>
                      <a:pt x="343" y="486"/>
                    </a:lnTo>
                    <a:close/>
                    <a:moveTo>
                      <a:pt x="820" y="271"/>
                    </a:moveTo>
                    <a:lnTo>
                      <a:pt x="820" y="273"/>
                    </a:lnTo>
                    <a:lnTo>
                      <a:pt x="820" y="271"/>
                    </a:lnTo>
                    <a:close/>
                    <a:moveTo>
                      <a:pt x="1060" y="105"/>
                    </a:moveTo>
                    <a:lnTo>
                      <a:pt x="1060" y="107"/>
                    </a:lnTo>
                    <a:lnTo>
                      <a:pt x="1060" y="105"/>
                    </a:lnTo>
                    <a:close/>
                    <a:moveTo>
                      <a:pt x="349" y="478"/>
                    </a:moveTo>
                    <a:lnTo>
                      <a:pt x="349" y="480"/>
                    </a:lnTo>
                    <a:lnTo>
                      <a:pt x="349" y="478"/>
                    </a:lnTo>
                    <a:close/>
                    <a:moveTo>
                      <a:pt x="561" y="398"/>
                    </a:moveTo>
                    <a:lnTo>
                      <a:pt x="561" y="399"/>
                    </a:lnTo>
                    <a:lnTo>
                      <a:pt x="561" y="398"/>
                    </a:lnTo>
                    <a:close/>
                    <a:moveTo>
                      <a:pt x="503" y="423"/>
                    </a:moveTo>
                    <a:lnTo>
                      <a:pt x="501" y="423"/>
                    </a:lnTo>
                    <a:lnTo>
                      <a:pt x="503" y="423"/>
                    </a:lnTo>
                    <a:close/>
                    <a:moveTo>
                      <a:pt x="1056" y="101"/>
                    </a:moveTo>
                    <a:lnTo>
                      <a:pt x="1054" y="101"/>
                    </a:lnTo>
                    <a:lnTo>
                      <a:pt x="1056" y="101"/>
                    </a:lnTo>
                    <a:close/>
                    <a:moveTo>
                      <a:pt x="353" y="473"/>
                    </a:moveTo>
                    <a:lnTo>
                      <a:pt x="351" y="473"/>
                    </a:lnTo>
                    <a:lnTo>
                      <a:pt x="353" y="473"/>
                    </a:lnTo>
                    <a:close/>
                    <a:moveTo>
                      <a:pt x="551" y="396"/>
                    </a:moveTo>
                    <a:lnTo>
                      <a:pt x="551" y="394"/>
                    </a:lnTo>
                    <a:lnTo>
                      <a:pt x="551" y="396"/>
                    </a:lnTo>
                    <a:close/>
                    <a:moveTo>
                      <a:pt x="351" y="469"/>
                    </a:moveTo>
                    <a:lnTo>
                      <a:pt x="351" y="471"/>
                    </a:lnTo>
                    <a:lnTo>
                      <a:pt x="351" y="469"/>
                    </a:lnTo>
                    <a:lnTo>
                      <a:pt x="351" y="471"/>
                    </a:lnTo>
                    <a:lnTo>
                      <a:pt x="351" y="469"/>
                    </a:lnTo>
                    <a:close/>
                    <a:moveTo>
                      <a:pt x="551" y="390"/>
                    </a:moveTo>
                    <a:lnTo>
                      <a:pt x="551" y="392"/>
                    </a:lnTo>
                    <a:lnTo>
                      <a:pt x="551" y="390"/>
                    </a:lnTo>
                    <a:close/>
                    <a:moveTo>
                      <a:pt x="347" y="465"/>
                    </a:moveTo>
                    <a:lnTo>
                      <a:pt x="347" y="463"/>
                    </a:lnTo>
                    <a:lnTo>
                      <a:pt x="347" y="465"/>
                    </a:lnTo>
                    <a:close/>
                    <a:moveTo>
                      <a:pt x="343" y="463"/>
                    </a:moveTo>
                    <a:lnTo>
                      <a:pt x="343" y="461"/>
                    </a:lnTo>
                    <a:lnTo>
                      <a:pt x="343" y="463"/>
                    </a:lnTo>
                    <a:close/>
                    <a:moveTo>
                      <a:pt x="551" y="384"/>
                    </a:moveTo>
                    <a:lnTo>
                      <a:pt x="549" y="384"/>
                    </a:lnTo>
                    <a:lnTo>
                      <a:pt x="551" y="384"/>
                    </a:lnTo>
                    <a:close/>
                    <a:moveTo>
                      <a:pt x="343" y="461"/>
                    </a:moveTo>
                    <a:lnTo>
                      <a:pt x="345" y="461"/>
                    </a:lnTo>
                    <a:lnTo>
                      <a:pt x="343" y="461"/>
                    </a:lnTo>
                    <a:close/>
                    <a:moveTo>
                      <a:pt x="351" y="457"/>
                    </a:moveTo>
                    <a:lnTo>
                      <a:pt x="349" y="457"/>
                    </a:lnTo>
                    <a:lnTo>
                      <a:pt x="351" y="457"/>
                    </a:lnTo>
                    <a:close/>
                    <a:moveTo>
                      <a:pt x="803" y="251"/>
                    </a:moveTo>
                    <a:lnTo>
                      <a:pt x="803" y="250"/>
                    </a:lnTo>
                    <a:lnTo>
                      <a:pt x="803" y="251"/>
                    </a:lnTo>
                    <a:close/>
                    <a:moveTo>
                      <a:pt x="501" y="399"/>
                    </a:moveTo>
                    <a:lnTo>
                      <a:pt x="499" y="399"/>
                    </a:lnTo>
                    <a:lnTo>
                      <a:pt x="501" y="399"/>
                    </a:lnTo>
                    <a:close/>
                    <a:moveTo>
                      <a:pt x="1045" y="84"/>
                    </a:moveTo>
                    <a:lnTo>
                      <a:pt x="1043" y="84"/>
                    </a:lnTo>
                    <a:lnTo>
                      <a:pt x="1045" y="84"/>
                    </a:lnTo>
                    <a:close/>
                    <a:moveTo>
                      <a:pt x="1043" y="84"/>
                    </a:moveTo>
                    <a:lnTo>
                      <a:pt x="1043" y="82"/>
                    </a:lnTo>
                    <a:lnTo>
                      <a:pt x="1043" y="84"/>
                    </a:lnTo>
                    <a:close/>
                    <a:moveTo>
                      <a:pt x="345" y="451"/>
                    </a:moveTo>
                    <a:lnTo>
                      <a:pt x="345" y="453"/>
                    </a:lnTo>
                    <a:lnTo>
                      <a:pt x="345" y="451"/>
                    </a:lnTo>
                    <a:close/>
                    <a:moveTo>
                      <a:pt x="363" y="446"/>
                    </a:moveTo>
                    <a:lnTo>
                      <a:pt x="363" y="448"/>
                    </a:lnTo>
                    <a:lnTo>
                      <a:pt x="363" y="446"/>
                    </a:lnTo>
                    <a:close/>
                    <a:moveTo>
                      <a:pt x="345" y="451"/>
                    </a:moveTo>
                    <a:lnTo>
                      <a:pt x="345" y="453"/>
                    </a:lnTo>
                    <a:lnTo>
                      <a:pt x="345" y="451"/>
                    </a:lnTo>
                    <a:close/>
                    <a:moveTo>
                      <a:pt x="351" y="449"/>
                    </a:moveTo>
                    <a:lnTo>
                      <a:pt x="351" y="451"/>
                    </a:lnTo>
                    <a:lnTo>
                      <a:pt x="351" y="449"/>
                    </a:lnTo>
                    <a:close/>
                    <a:moveTo>
                      <a:pt x="347" y="451"/>
                    </a:moveTo>
                    <a:lnTo>
                      <a:pt x="345" y="451"/>
                    </a:lnTo>
                    <a:lnTo>
                      <a:pt x="347" y="451"/>
                    </a:lnTo>
                    <a:close/>
                    <a:moveTo>
                      <a:pt x="349" y="449"/>
                    </a:moveTo>
                    <a:lnTo>
                      <a:pt x="347" y="449"/>
                    </a:lnTo>
                    <a:lnTo>
                      <a:pt x="349" y="449"/>
                    </a:lnTo>
                    <a:close/>
                    <a:moveTo>
                      <a:pt x="353" y="448"/>
                    </a:moveTo>
                    <a:lnTo>
                      <a:pt x="353" y="449"/>
                    </a:lnTo>
                    <a:lnTo>
                      <a:pt x="353" y="448"/>
                    </a:lnTo>
                    <a:close/>
                    <a:moveTo>
                      <a:pt x="357" y="448"/>
                    </a:moveTo>
                    <a:lnTo>
                      <a:pt x="359" y="448"/>
                    </a:lnTo>
                    <a:lnTo>
                      <a:pt x="357" y="448"/>
                    </a:lnTo>
                    <a:close/>
                    <a:moveTo>
                      <a:pt x="353" y="449"/>
                    </a:moveTo>
                    <a:lnTo>
                      <a:pt x="353" y="448"/>
                    </a:lnTo>
                    <a:lnTo>
                      <a:pt x="353" y="449"/>
                    </a:lnTo>
                    <a:close/>
                    <a:moveTo>
                      <a:pt x="357" y="448"/>
                    </a:moveTo>
                    <a:lnTo>
                      <a:pt x="355" y="448"/>
                    </a:lnTo>
                    <a:lnTo>
                      <a:pt x="357" y="448"/>
                    </a:lnTo>
                    <a:close/>
                    <a:moveTo>
                      <a:pt x="555" y="363"/>
                    </a:moveTo>
                    <a:lnTo>
                      <a:pt x="555" y="365"/>
                    </a:lnTo>
                    <a:lnTo>
                      <a:pt x="555" y="363"/>
                    </a:lnTo>
                    <a:close/>
                    <a:moveTo>
                      <a:pt x="822" y="225"/>
                    </a:moveTo>
                    <a:lnTo>
                      <a:pt x="822" y="223"/>
                    </a:lnTo>
                    <a:lnTo>
                      <a:pt x="822" y="225"/>
                    </a:lnTo>
                    <a:close/>
                    <a:moveTo>
                      <a:pt x="551" y="365"/>
                    </a:moveTo>
                    <a:lnTo>
                      <a:pt x="549" y="365"/>
                    </a:lnTo>
                    <a:lnTo>
                      <a:pt x="551" y="365"/>
                    </a:lnTo>
                    <a:close/>
                    <a:moveTo>
                      <a:pt x="559" y="361"/>
                    </a:moveTo>
                    <a:lnTo>
                      <a:pt x="557" y="361"/>
                    </a:lnTo>
                    <a:lnTo>
                      <a:pt x="559" y="361"/>
                    </a:lnTo>
                    <a:close/>
                    <a:moveTo>
                      <a:pt x="559" y="359"/>
                    </a:moveTo>
                    <a:lnTo>
                      <a:pt x="559" y="361"/>
                    </a:lnTo>
                    <a:lnTo>
                      <a:pt x="559" y="359"/>
                    </a:lnTo>
                    <a:close/>
                    <a:moveTo>
                      <a:pt x="420" y="415"/>
                    </a:moveTo>
                    <a:lnTo>
                      <a:pt x="420" y="413"/>
                    </a:lnTo>
                    <a:lnTo>
                      <a:pt x="420" y="415"/>
                    </a:lnTo>
                    <a:close/>
                    <a:moveTo>
                      <a:pt x="820" y="221"/>
                    </a:moveTo>
                    <a:lnTo>
                      <a:pt x="822" y="221"/>
                    </a:lnTo>
                    <a:lnTo>
                      <a:pt x="820" y="221"/>
                    </a:lnTo>
                    <a:close/>
                    <a:moveTo>
                      <a:pt x="820" y="221"/>
                    </a:moveTo>
                    <a:lnTo>
                      <a:pt x="820" y="219"/>
                    </a:lnTo>
                    <a:lnTo>
                      <a:pt x="820" y="221"/>
                    </a:lnTo>
                    <a:close/>
                    <a:moveTo>
                      <a:pt x="1024" y="78"/>
                    </a:moveTo>
                    <a:lnTo>
                      <a:pt x="1026" y="78"/>
                    </a:lnTo>
                    <a:lnTo>
                      <a:pt x="1024" y="78"/>
                    </a:lnTo>
                    <a:close/>
                    <a:moveTo>
                      <a:pt x="420" y="411"/>
                    </a:moveTo>
                    <a:lnTo>
                      <a:pt x="420" y="413"/>
                    </a:lnTo>
                    <a:lnTo>
                      <a:pt x="420" y="411"/>
                    </a:lnTo>
                    <a:close/>
                    <a:moveTo>
                      <a:pt x="563" y="351"/>
                    </a:moveTo>
                    <a:lnTo>
                      <a:pt x="561" y="351"/>
                    </a:lnTo>
                    <a:lnTo>
                      <a:pt x="563" y="351"/>
                    </a:lnTo>
                    <a:close/>
                    <a:moveTo>
                      <a:pt x="799" y="228"/>
                    </a:moveTo>
                    <a:lnTo>
                      <a:pt x="797" y="228"/>
                    </a:lnTo>
                    <a:lnTo>
                      <a:pt x="799" y="228"/>
                    </a:lnTo>
                    <a:close/>
                    <a:moveTo>
                      <a:pt x="822" y="215"/>
                    </a:moveTo>
                    <a:lnTo>
                      <a:pt x="822" y="213"/>
                    </a:lnTo>
                    <a:lnTo>
                      <a:pt x="822" y="215"/>
                    </a:lnTo>
                    <a:close/>
                    <a:moveTo>
                      <a:pt x="893" y="167"/>
                    </a:moveTo>
                    <a:lnTo>
                      <a:pt x="893" y="169"/>
                    </a:lnTo>
                    <a:lnTo>
                      <a:pt x="893" y="167"/>
                    </a:lnTo>
                    <a:close/>
                    <a:moveTo>
                      <a:pt x="899" y="163"/>
                    </a:moveTo>
                    <a:lnTo>
                      <a:pt x="899" y="165"/>
                    </a:lnTo>
                    <a:lnTo>
                      <a:pt x="899" y="163"/>
                    </a:lnTo>
                    <a:close/>
                    <a:moveTo>
                      <a:pt x="899" y="165"/>
                    </a:moveTo>
                    <a:lnTo>
                      <a:pt x="899" y="163"/>
                    </a:lnTo>
                    <a:lnTo>
                      <a:pt x="899" y="165"/>
                    </a:lnTo>
                    <a:close/>
                    <a:moveTo>
                      <a:pt x="903" y="161"/>
                    </a:moveTo>
                    <a:lnTo>
                      <a:pt x="904" y="161"/>
                    </a:lnTo>
                    <a:lnTo>
                      <a:pt x="903" y="161"/>
                    </a:lnTo>
                    <a:close/>
                    <a:moveTo>
                      <a:pt x="904" y="161"/>
                    </a:moveTo>
                    <a:lnTo>
                      <a:pt x="904" y="159"/>
                    </a:lnTo>
                    <a:lnTo>
                      <a:pt x="904" y="161"/>
                    </a:lnTo>
                    <a:close/>
                    <a:moveTo>
                      <a:pt x="904" y="159"/>
                    </a:moveTo>
                    <a:lnTo>
                      <a:pt x="904" y="161"/>
                    </a:lnTo>
                    <a:lnTo>
                      <a:pt x="903" y="161"/>
                    </a:lnTo>
                    <a:lnTo>
                      <a:pt x="904" y="159"/>
                    </a:lnTo>
                    <a:close/>
                    <a:moveTo>
                      <a:pt x="1014" y="80"/>
                    </a:moveTo>
                    <a:lnTo>
                      <a:pt x="1014" y="78"/>
                    </a:lnTo>
                    <a:lnTo>
                      <a:pt x="1014" y="80"/>
                    </a:lnTo>
                    <a:close/>
                    <a:moveTo>
                      <a:pt x="885" y="169"/>
                    </a:moveTo>
                    <a:lnTo>
                      <a:pt x="883" y="171"/>
                    </a:lnTo>
                    <a:lnTo>
                      <a:pt x="883" y="169"/>
                    </a:lnTo>
                    <a:lnTo>
                      <a:pt x="885" y="169"/>
                    </a:lnTo>
                    <a:close/>
                    <a:moveTo>
                      <a:pt x="885" y="169"/>
                    </a:moveTo>
                    <a:lnTo>
                      <a:pt x="883" y="169"/>
                    </a:lnTo>
                    <a:lnTo>
                      <a:pt x="885" y="169"/>
                    </a:lnTo>
                    <a:close/>
                    <a:moveTo>
                      <a:pt x="885" y="169"/>
                    </a:moveTo>
                    <a:lnTo>
                      <a:pt x="885" y="167"/>
                    </a:lnTo>
                    <a:lnTo>
                      <a:pt x="885" y="169"/>
                    </a:lnTo>
                    <a:close/>
                    <a:moveTo>
                      <a:pt x="422" y="401"/>
                    </a:moveTo>
                    <a:lnTo>
                      <a:pt x="420" y="401"/>
                    </a:lnTo>
                    <a:lnTo>
                      <a:pt x="422" y="401"/>
                    </a:lnTo>
                    <a:close/>
                    <a:moveTo>
                      <a:pt x="489" y="374"/>
                    </a:moveTo>
                    <a:lnTo>
                      <a:pt x="488" y="374"/>
                    </a:lnTo>
                    <a:lnTo>
                      <a:pt x="489" y="374"/>
                    </a:lnTo>
                    <a:close/>
                    <a:moveTo>
                      <a:pt x="420" y="401"/>
                    </a:moveTo>
                    <a:lnTo>
                      <a:pt x="422" y="401"/>
                    </a:lnTo>
                    <a:lnTo>
                      <a:pt x="420" y="401"/>
                    </a:lnTo>
                    <a:lnTo>
                      <a:pt x="422" y="401"/>
                    </a:lnTo>
                    <a:lnTo>
                      <a:pt x="420" y="401"/>
                    </a:lnTo>
                    <a:close/>
                    <a:moveTo>
                      <a:pt x="1004" y="82"/>
                    </a:moveTo>
                    <a:lnTo>
                      <a:pt x="1002" y="82"/>
                    </a:lnTo>
                    <a:lnTo>
                      <a:pt x="1004" y="82"/>
                    </a:lnTo>
                    <a:close/>
                    <a:moveTo>
                      <a:pt x="1002" y="82"/>
                    </a:moveTo>
                    <a:lnTo>
                      <a:pt x="1004" y="82"/>
                    </a:lnTo>
                    <a:lnTo>
                      <a:pt x="1002" y="82"/>
                    </a:lnTo>
                    <a:close/>
                    <a:moveTo>
                      <a:pt x="924" y="138"/>
                    </a:moveTo>
                    <a:lnTo>
                      <a:pt x="924" y="140"/>
                    </a:lnTo>
                    <a:lnTo>
                      <a:pt x="924" y="138"/>
                    </a:lnTo>
                    <a:close/>
                    <a:moveTo>
                      <a:pt x="422" y="399"/>
                    </a:moveTo>
                    <a:lnTo>
                      <a:pt x="422" y="398"/>
                    </a:lnTo>
                    <a:lnTo>
                      <a:pt x="422" y="399"/>
                    </a:lnTo>
                    <a:close/>
                    <a:moveTo>
                      <a:pt x="422" y="396"/>
                    </a:moveTo>
                    <a:lnTo>
                      <a:pt x="422" y="398"/>
                    </a:lnTo>
                    <a:lnTo>
                      <a:pt x="422" y="396"/>
                    </a:lnTo>
                    <a:close/>
                    <a:moveTo>
                      <a:pt x="422" y="396"/>
                    </a:moveTo>
                    <a:lnTo>
                      <a:pt x="424" y="396"/>
                    </a:lnTo>
                    <a:lnTo>
                      <a:pt x="422" y="396"/>
                    </a:lnTo>
                    <a:close/>
                    <a:moveTo>
                      <a:pt x="830" y="194"/>
                    </a:moveTo>
                    <a:lnTo>
                      <a:pt x="830" y="196"/>
                    </a:lnTo>
                    <a:lnTo>
                      <a:pt x="830" y="194"/>
                    </a:lnTo>
                    <a:close/>
                    <a:moveTo>
                      <a:pt x="981" y="90"/>
                    </a:moveTo>
                    <a:lnTo>
                      <a:pt x="981" y="92"/>
                    </a:lnTo>
                    <a:lnTo>
                      <a:pt x="981" y="90"/>
                    </a:lnTo>
                    <a:close/>
                    <a:moveTo>
                      <a:pt x="974" y="94"/>
                    </a:moveTo>
                    <a:lnTo>
                      <a:pt x="976" y="94"/>
                    </a:lnTo>
                    <a:lnTo>
                      <a:pt x="974" y="94"/>
                    </a:lnTo>
                    <a:close/>
                    <a:moveTo>
                      <a:pt x="874" y="163"/>
                    </a:moveTo>
                    <a:lnTo>
                      <a:pt x="874" y="165"/>
                    </a:lnTo>
                    <a:lnTo>
                      <a:pt x="874" y="163"/>
                    </a:lnTo>
                    <a:close/>
                    <a:moveTo>
                      <a:pt x="868" y="169"/>
                    </a:moveTo>
                    <a:lnTo>
                      <a:pt x="866" y="169"/>
                    </a:lnTo>
                    <a:lnTo>
                      <a:pt x="868" y="169"/>
                    </a:lnTo>
                    <a:close/>
                    <a:moveTo>
                      <a:pt x="420" y="392"/>
                    </a:moveTo>
                    <a:lnTo>
                      <a:pt x="420" y="394"/>
                    </a:lnTo>
                    <a:lnTo>
                      <a:pt x="420" y="392"/>
                    </a:lnTo>
                    <a:close/>
                    <a:moveTo>
                      <a:pt x="416" y="394"/>
                    </a:moveTo>
                    <a:lnTo>
                      <a:pt x="418" y="394"/>
                    </a:lnTo>
                    <a:lnTo>
                      <a:pt x="416" y="394"/>
                    </a:lnTo>
                    <a:close/>
                    <a:moveTo>
                      <a:pt x="424" y="390"/>
                    </a:moveTo>
                    <a:lnTo>
                      <a:pt x="424" y="392"/>
                    </a:lnTo>
                    <a:lnTo>
                      <a:pt x="424" y="390"/>
                    </a:lnTo>
                    <a:close/>
                    <a:moveTo>
                      <a:pt x="968" y="100"/>
                    </a:moveTo>
                    <a:lnTo>
                      <a:pt x="966" y="100"/>
                    </a:lnTo>
                    <a:lnTo>
                      <a:pt x="968" y="100"/>
                    </a:lnTo>
                    <a:close/>
                    <a:moveTo>
                      <a:pt x="424" y="390"/>
                    </a:moveTo>
                    <a:lnTo>
                      <a:pt x="424" y="392"/>
                    </a:lnTo>
                    <a:lnTo>
                      <a:pt x="424" y="390"/>
                    </a:lnTo>
                    <a:close/>
                    <a:moveTo>
                      <a:pt x="553" y="338"/>
                    </a:moveTo>
                    <a:lnTo>
                      <a:pt x="551" y="338"/>
                    </a:lnTo>
                    <a:lnTo>
                      <a:pt x="553" y="338"/>
                    </a:lnTo>
                    <a:close/>
                    <a:moveTo>
                      <a:pt x="418" y="392"/>
                    </a:moveTo>
                    <a:lnTo>
                      <a:pt x="418" y="390"/>
                    </a:lnTo>
                    <a:lnTo>
                      <a:pt x="418" y="392"/>
                    </a:lnTo>
                    <a:close/>
                    <a:moveTo>
                      <a:pt x="461" y="373"/>
                    </a:moveTo>
                    <a:lnTo>
                      <a:pt x="461" y="374"/>
                    </a:lnTo>
                    <a:lnTo>
                      <a:pt x="461" y="373"/>
                    </a:lnTo>
                    <a:close/>
                    <a:moveTo>
                      <a:pt x="866" y="159"/>
                    </a:moveTo>
                    <a:lnTo>
                      <a:pt x="866" y="161"/>
                    </a:lnTo>
                    <a:lnTo>
                      <a:pt x="866" y="159"/>
                    </a:lnTo>
                    <a:close/>
                    <a:moveTo>
                      <a:pt x="466" y="367"/>
                    </a:moveTo>
                    <a:lnTo>
                      <a:pt x="466" y="365"/>
                    </a:lnTo>
                    <a:lnTo>
                      <a:pt x="466" y="367"/>
                    </a:lnTo>
                    <a:close/>
                    <a:moveTo>
                      <a:pt x="843" y="175"/>
                    </a:moveTo>
                    <a:lnTo>
                      <a:pt x="841" y="173"/>
                    </a:lnTo>
                    <a:lnTo>
                      <a:pt x="843" y="173"/>
                    </a:lnTo>
                    <a:lnTo>
                      <a:pt x="843" y="175"/>
                    </a:lnTo>
                    <a:close/>
                    <a:moveTo>
                      <a:pt x="409" y="384"/>
                    </a:moveTo>
                    <a:lnTo>
                      <a:pt x="409" y="386"/>
                    </a:lnTo>
                    <a:lnTo>
                      <a:pt x="409" y="384"/>
                    </a:lnTo>
                    <a:close/>
                    <a:moveTo>
                      <a:pt x="407" y="384"/>
                    </a:moveTo>
                    <a:lnTo>
                      <a:pt x="409" y="384"/>
                    </a:lnTo>
                    <a:lnTo>
                      <a:pt x="407" y="384"/>
                    </a:lnTo>
                    <a:close/>
                    <a:moveTo>
                      <a:pt x="409" y="384"/>
                    </a:moveTo>
                    <a:lnTo>
                      <a:pt x="407" y="384"/>
                    </a:lnTo>
                    <a:lnTo>
                      <a:pt x="409" y="384"/>
                    </a:lnTo>
                    <a:close/>
                    <a:moveTo>
                      <a:pt x="409" y="384"/>
                    </a:moveTo>
                    <a:lnTo>
                      <a:pt x="407" y="384"/>
                    </a:lnTo>
                    <a:lnTo>
                      <a:pt x="409" y="384"/>
                    </a:lnTo>
                    <a:close/>
                    <a:moveTo>
                      <a:pt x="578" y="311"/>
                    </a:moveTo>
                    <a:lnTo>
                      <a:pt x="578" y="313"/>
                    </a:lnTo>
                    <a:lnTo>
                      <a:pt x="578" y="311"/>
                    </a:lnTo>
                    <a:close/>
                    <a:moveTo>
                      <a:pt x="595" y="303"/>
                    </a:moveTo>
                    <a:lnTo>
                      <a:pt x="593" y="303"/>
                    </a:lnTo>
                    <a:lnTo>
                      <a:pt x="595" y="303"/>
                    </a:lnTo>
                    <a:close/>
                    <a:moveTo>
                      <a:pt x="520" y="338"/>
                    </a:moveTo>
                    <a:lnTo>
                      <a:pt x="520" y="336"/>
                    </a:lnTo>
                    <a:lnTo>
                      <a:pt x="520" y="338"/>
                    </a:lnTo>
                    <a:close/>
                    <a:moveTo>
                      <a:pt x="580" y="309"/>
                    </a:moveTo>
                    <a:lnTo>
                      <a:pt x="578" y="309"/>
                    </a:lnTo>
                    <a:lnTo>
                      <a:pt x="580" y="309"/>
                    </a:lnTo>
                    <a:close/>
                    <a:moveTo>
                      <a:pt x="520" y="334"/>
                    </a:moveTo>
                    <a:lnTo>
                      <a:pt x="518" y="334"/>
                    </a:lnTo>
                    <a:lnTo>
                      <a:pt x="520" y="334"/>
                    </a:lnTo>
                    <a:close/>
                    <a:moveTo>
                      <a:pt x="576" y="307"/>
                    </a:moveTo>
                    <a:lnTo>
                      <a:pt x="576" y="309"/>
                    </a:lnTo>
                    <a:lnTo>
                      <a:pt x="576" y="307"/>
                    </a:lnTo>
                    <a:close/>
                    <a:moveTo>
                      <a:pt x="518" y="332"/>
                    </a:moveTo>
                    <a:lnTo>
                      <a:pt x="516" y="332"/>
                    </a:lnTo>
                    <a:lnTo>
                      <a:pt x="518" y="332"/>
                    </a:lnTo>
                    <a:close/>
                    <a:moveTo>
                      <a:pt x="845" y="159"/>
                    </a:moveTo>
                    <a:lnTo>
                      <a:pt x="843" y="159"/>
                    </a:lnTo>
                    <a:lnTo>
                      <a:pt x="845" y="159"/>
                    </a:lnTo>
                    <a:close/>
                    <a:moveTo>
                      <a:pt x="847" y="157"/>
                    </a:moveTo>
                    <a:lnTo>
                      <a:pt x="845" y="157"/>
                    </a:lnTo>
                    <a:lnTo>
                      <a:pt x="847" y="157"/>
                    </a:lnTo>
                    <a:close/>
                    <a:moveTo>
                      <a:pt x="847" y="155"/>
                    </a:moveTo>
                    <a:lnTo>
                      <a:pt x="847" y="157"/>
                    </a:lnTo>
                    <a:lnTo>
                      <a:pt x="847" y="155"/>
                    </a:lnTo>
                    <a:close/>
                    <a:moveTo>
                      <a:pt x="847" y="157"/>
                    </a:moveTo>
                    <a:lnTo>
                      <a:pt x="845" y="157"/>
                    </a:lnTo>
                    <a:lnTo>
                      <a:pt x="845" y="155"/>
                    </a:lnTo>
                    <a:lnTo>
                      <a:pt x="847" y="157"/>
                    </a:lnTo>
                    <a:close/>
                    <a:moveTo>
                      <a:pt x="586" y="301"/>
                    </a:moveTo>
                    <a:lnTo>
                      <a:pt x="584" y="301"/>
                    </a:lnTo>
                    <a:lnTo>
                      <a:pt x="586" y="301"/>
                    </a:lnTo>
                    <a:close/>
                    <a:moveTo>
                      <a:pt x="547" y="317"/>
                    </a:moveTo>
                    <a:lnTo>
                      <a:pt x="549" y="317"/>
                    </a:lnTo>
                    <a:lnTo>
                      <a:pt x="547" y="317"/>
                    </a:lnTo>
                    <a:close/>
                    <a:moveTo>
                      <a:pt x="584" y="299"/>
                    </a:moveTo>
                    <a:lnTo>
                      <a:pt x="584" y="301"/>
                    </a:lnTo>
                    <a:lnTo>
                      <a:pt x="584" y="299"/>
                    </a:lnTo>
                    <a:close/>
                    <a:moveTo>
                      <a:pt x="843" y="157"/>
                    </a:moveTo>
                    <a:lnTo>
                      <a:pt x="841" y="157"/>
                    </a:lnTo>
                    <a:lnTo>
                      <a:pt x="843" y="157"/>
                    </a:lnTo>
                    <a:close/>
                    <a:moveTo>
                      <a:pt x="401" y="376"/>
                    </a:moveTo>
                    <a:lnTo>
                      <a:pt x="399" y="376"/>
                    </a:lnTo>
                    <a:lnTo>
                      <a:pt x="401" y="376"/>
                    </a:lnTo>
                    <a:close/>
                    <a:moveTo>
                      <a:pt x="826" y="167"/>
                    </a:moveTo>
                    <a:lnTo>
                      <a:pt x="826" y="169"/>
                    </a:lnTo>
                    <a:lnTo>
                      <a:pt x="826" y="167"/>
                    </a:lnTo>
                    <a:close/>
                    <a:moveTo>
                      <a:pt x="837" y="159"/>
                    </a:moveTo>
                    <a:lnTo>
                      <a:pt x="835" y="159"/>
                    </a:lnTo>
                    <a:lnTo>
                      <a:pt x="837" y="159"/>
                    </a:lnTo>
                    <a:close/>
                    <a:moveTo>
                      <a:pt x="837" y="157"/>
                    </a:moveTo>
                    <a:lnTo>
                      <a:pt x="837" y="159"/>
                    </a:lnTo>
                    <a:lnTo>
                      <a:pt x="837" y="157"/>
                    </a:lnTo>
                    <a:close/>
                    <a:moveTo>
                      <a:pt x="831" y="159"/>
                    </a:moveTo>
                    <a:lnTo>
                      <a:pt x="833" y="159"/>
                    </a:lnTo>
                    <a:lnTo>
                      <a:pt x="831" y="159"/>
                    </a:lnTo>
                    <a:close/>
                    <a:moveTo>
                      <a:pt x="563" y="305"/>
                    </a:moveTo>
                    <a:lnTo>
                      <a:pt x="561" y="305"/>
                    </a:lnTo>
                    <a:lnTo>
                      <a:pt x="563" y="305"/>
                    </a:lnTo>
                    <a:close/>
                    <a:moveTo>
                      <a:pt x="555" y="307"/>
                    </a:moveTo>
                    <a:lnTo>
                      <a:pt x="557" y="307"/>
                    </a:lnTo>
                    <a:lnTo>
                      <a:pt x="555" y="307"/>
                    </a:lnTo>
                    <a:close/>
                    <a:moveTo>
                      <a:pt x="413" y="367"/>
                    </a:moveTo>
                    <a:lnTo>
                      <a:pt x="415" y="367"/>
                    </a:lnTo>
                    <a:lnTo>
                      <a:pt x="413" y="367"/>
                    </a:lnTo>
                    <a:close/>
                    <a:moveTo>
                      <a:pt x="559" y="307"/>
                    </a:moveTo>
                    <a:lnTo>
                      <a:pt x="557" y="307"/>
                    </a:lnTo>
                    <a:lnTo>
                      <a:pt x="559" y="307"/>
                    </a:lnTo>
                    <a:close/>
                    <a:moveTo>
                      <a:pt x="564" y="303"/>
                    </a:moveTo>
                    <a:lnTo>
                      <a:pt x="563" y="303"/>
                    </a:lnTo>
                    <a:lnTo>
                      <a:pt x="564" y="303"/>
                    </a:lnTo>
                    <a:close/>
                    <a:moveTo>
                      <a:pt x="563" y="303"/>
                    </a:moveTo>
                    <a:lnTo>
                      <a:pt x="561" y="303"/>
                    </a:lnTo>
                    <a:lnTo>
                      <a:pt x="563" y="303"/>
                    </a:lnTo>
                    <a:close/>
                    <a:moveTo>
                      <a:pt x="547" y="309"/>
                    </a:moveTo>
                    <a:lnTo>
                      <a:pt x="547" y="311"/>
                    </a:lnTo>
                    <a:lnTo>
                      <a:pt x="547" y="309"/>
                    </a:lnTo>
                    <a:close/>
                    <a:moveTo>
                      <a:pt x="828" y="159"/>
                    </a:moveTo>
                    <a:lnTo>
                      <a:pt x="826" y="161"/>
                    </a:lnTo>
                    <a:lnTo>
                      <a:pt x="826" y="159"/>
                    </a:lnTo>
                    <a:lnTo>
                      <a:pt x="828" y="159"/>
                    </a:lnTo>
                    <a:close/>
                    <a:moveTo>
                      <a:pt x="618" y="275"/>
                    </a:moveTo>
                    <a:lnTo>
                      <a:pt x="618" y="276"/>
                    </a:lnTo>
                    <a:lnTo>
                      <a:pt x="618" y="275"/>
                    </a:lnTo>
                    <a:close/>
                    <a:moveTo>
                      <a:pt x="526" y="319"/>
                    </a:moveTo>
                    <a:lnTo>
                      <a:pt x="524" y="319"/>
                    </a:lnTo>
                    <a:lnTo>
                      <a:pt x="526" y="319"/>
                    </a:lnTo>
                    <a:close/>
                    <a:moveTo>
                      <a:pt x="578" y="294"/>
                    </a:moveTo>
                    <a:lnTo>
                      <a:pt x="578" y="296"/>
                    </a:lnTo>
                    <a:lnTo>
                      <a:pt x="576" y="296"/>
                    </a:lnTo>
                    <a:lnTo>
                      <a:pt x="578" y="296"/>
                    </a:lnTo>
                    <a:lnTo>
                      <a:pt x="576" y="296"/>
                    </a:lnTo>
                    <a:lnTo>
                      <a:pt x="578" y="294"/>
                    </a:lnTo>
                    <a:close/>
                    <a:moveTo>
                      <a:pt x="555" y="305"/>
                    </a:moveTo>
                    <a:lnTo>
                      <a:pt x="553" y="305"/>
                    </a:lnTo>
                    <a:lnTo>
                      <a:pt x="555" y="305"/>
                    </a:lnTo>
                    <a:close/>
                    <a:moveTo>
                      <a:pt x="826" y="157"/>
                    </a:moveTo>
                    <a:lnTo>
                      <a:pt x="826" y="159"/>
                    </a:lnTo>
                    <a:lnTo>
                      <a:pt x="826" y="157"/>
                    </a:lnTo>
                    <a:close/>
                    <a:moveTo>
                      <a:pt x="797" y="176"/>
                    </a:moveTo>
                    <a:lnTo>
                      <a:pt x="795" y="176"/>
                    </a:lnTo>
                    <a:lnTo>
                      <a:pt x="797" y="176"/>
                    </a:lnTo>
                    <a:close/>
                    <a:moveTo>
                      <a:pt x="576" y="294"/>
                    </a:moveTo>
                    <a:lnTo>
                      <a:pt x="576" y="296"/>
                    </a:lnTo>
                    <a:lnTo>
                      <a:pt x="576" y="294"/>
                    </a:lnTo>
                    <a:close/>
                    <a:moveTo>
                      <a:pt x="528" y="317"/>
                    </a:moveTo>
                    <a:lnTo>
                      <a:pt x="526" y="317"/>
                    </a:lnTo>
                    <a:lnTo>
                      <a:pt x="528" y="317"/>
                    </a:lnTo>
                    <a:close/>
                    <a:moveTo>
                      <a:pt x="822" y="159"/>
                    </a:moveTo>
                    <a:lnTo>
                      <a:pt x="822" y="161"/>
                    </a:lnTo>
                    <a:lnTo>
                      <a:pt x="822" y="159"/>
                    </a:lnTo>
                    <a:close/>
                    <a:moveTo>
                      <a:pt x="826" y="159"/>
                    </a:moveTo>
                    <a:lnTo>
                      <a:pt x="826" y="157"/>
                    </a:lnTo>
                    <a:lnTo>
                      <a:pt x="826" y="159"/>
                    </a:lnTo>
                    <a:close/>
                    <a:moveTo>
                      <a:pt x="820" y="161"/>
                    </a:moveTo>
                    <a:lnTo>
                      <a:pt x="822" y="161"/>
                    </a:lnTo>
                    <a:lnTo>
                      <a:pt x="820" y="161"/>
                    </a:lnTo>
                    <a:close/>
                    <a:moveTo>
                      <a:pt x="820" y="161"/>
                    </a:moveTo>
                    <a:lnTo>
                      <a:pt x="820" y="159"/>
                    </a:lnTo>
                    <a:lnTo>
                      <a:pt x="820" y="161"/>
                    </a:lnTo>
                    <a:close/>
                    <a:moveTo>
                      <a:pt x="388" y="369"/>
                    </a:moveTo>
                    <a:lnTo>
                      <a:pt x="388" y="371"/>
                    </a:lnTo>
                    <a:lnTo>
                      <a:pt x="388" y="369"/>
                    </a:lnTo>
                    <a:close/>
                    <a:moveTo>
                      <a:pt x="799" y="173"/>
                    </a:moveTo>
                    <a:lnTo>
                      <a:pt x="799" y="171"/>
                    </a:lnTo>
                    <a:lnTo>
                      <a:pt x="799" y="173"/>
                    </a:lnTo>
                    <a:close/>
                    <a:moveTo>
                      <a:pt x="820" y="159"/>
                    </a:moveTo>
                    <a:lnTo>
                      <a:pt x="818" y="159"/>
                    </a:lnTo>
                    <a:lnTo>
                      <a:pt x="820" y="159"/>
                    </a:lnTo>
                    <a:close/>
                    <a:moveTo>
                      <a:pt x="390" y="365"/>
                    </a:moveTo>
                    <a:lnTo>
                      <a:pt x="390" y="367"/>
                    </a:lnTo>
                    <a:lnTo>
                      <a:pt x="390" y="365"/>
                    </a:lnTo>
                    <a:close/>
                    <a:moveTo>
                      <a:pt x="597" y="280"/>
                    </a:moveTo>
                    <a:lnTo>
                      <a:pt x="597" y="278"/>
                    </a:lnTo>
                    <a:lnTo>
                      <a:pt x="597" y="280"/>
                    </a:lnTo>
                    <a:close/>
                    <a:moveTo>
                      <a:pt x="611" y="267"/>
                    </a:moveTo>
                    <a:lnTo>
                      <a:pt x="612" y="267"/>
                    </a:lnTo>
                    <a:lnTo>
                      <a:pt x="611" y="267"/>
                    </a:lnTo>
                    <a:close/>
                    <a:moveTo>
                      <a:pt x="347" y="373"/>
                    </a:moveTo>
                    <a:lnTo>
                      <a:pt x="349" y="373"/>
                    </a:lnTo>
                    <a:lnTo>
                      <a:pt x="347" y="373"/>
                    </a:lnTo>
                    <a:close/>
                    <a:moveTo>
                      <a:pt x="595" y="273"/>
                    </a:moveTo>
                    <a:lnTo>
                      <a:pt x="593" y="273"/>
                    </a:lnTo>
                    <a:lnTo>
                      <a:pt x="595" y="273"/>
                    </a:lnTo>
                    <a:close/>
                    <a:moveTo>
                      <a:pt x="468" y="324"/>
                    </a:moveTo>
                    <a:lnTo>
                      <a:pt x="466" y="324"/>
                    </a:lnTo>
                    <a:lnTo>
                      <a:pt x="468" y="324"/>
                    </a:lnTo>
                    <a:close/>
                    <a:moveTo>
                      <a:pt x="712" y="203"/>
                    </a:moveTo>
                    <a:lnTo>
                      <a:pt x="714" y="203"/>
                    </a:lnTo>
                    <a:lnTo>
                      <a:pt x="712" y="203"/>
                    </a:lnTo>
                    <a:close/>
                    <a:moveTo>
                      <a:pt x="730" y="192"/>
                    </a:moveTo>
                    <a:lnTo>
                      <a:pt x="728" y="192"/>
                    </a:lnTo>
                    <a:lnTo>
                      <a:pt x="730" y="192"/>
                    </a:lnTo>
                    <a:close/>
                    <a:moveTo>
                      <a:pt x="728" y="192"/>
                    </a:moveTo>
                    <a:lnTo>
                      <a:pt x="730" y="192"/>
                    </a:lnTo>
                    <a:lnTo>
                      <a:pt x="728" y="192"/>
                    </a:lnTo>
                    <a:close/>
                    <a:moveTo>
                      <a:pt x="730" y="190"/>
                    </a:moveTo>
                    <a:lnTo>
                      <a:pt x="728" y="190"/>
                    </a:lnTo>
                    <a:lnTo>
                      <a:pt x="730" y="190"/>
                    </a:lnTo>
                    <a:close/>
                    <a:moveTo>
                      <a:pt x="272" y="386"/>
                    </a:moveTo>
                    <a:lnTo>
                      <a:pt x="270" y="386"/>
                    </a:lnTo>
                    <a:lnTo>
                      <a:pt x="272" y="386"/>
                    </a:lnTo>
                    <a:close/>
                    <a:moveTo>
                      <a:pt x="726" y="188"/>
                    </a:moveTo>
                    <a:lnTo>
                      <a:pt x="726" y="190"/>
                    </a:lnTo>
                    <a:lnTo>
                      <a:pt x="726" y="188"/>
                    </a:lnTo>
                    <a:close/>
                    <a:moveTo>
                      <a:pt x="726" y="188"/>
                    </a:moveTo>
                    <a:lnTo>
                      <a:pt x="726" y="190"/>
                    </a:lnTo>
                    <a:lnTo>
                      <a:pt x="726" y="188"/>
                    </a:lnTo>
                    <a:close/>
                    <a:moveTo>
                      <a:pt x="334" y="365"/>
                    </a:moveTo>
                    <a:lnTo>
                      <a:pt x="332" y="365"/>
                    </a:lnTo>
                    <a:lnTo>
                      <a:pt x="334" y="365"/>
                    </a:lnTo>
                    <a:close/>
                    <a:moveTo>
                      <a:pt x="368" y="351"/>
                    </a:moveTo>
                    <a:lnTo>
                      <a:pt x="370" y="351"/>
                    </a:lnTo>
                    <a:lnTo>
                      <a:pt x="368" y="351"/>
                    </a:lnTo>
                    <a:close/>
                    <a:moveTo>
                      <a:pt x="386" y="346"/>
                    </a:moveTo>
                    <a:lnTo>
                      <a:pt x="388" y="346"/>
                    </a:lnTo>
                    <a:lnTo>
                      <a:pt x="386" y="346"/>
                    </a:lnTo>
                    <a:close/>
                    <a:moveTo>
                      <a:pt x="376" y="349"/>
                    </a:moveTo>
                    <a:lnTo>
                      <a:pt x="374" y="349"/>
                    </a:lnTo>
                    <a:lnTo>
                      <a:pt x="376" y="349"/>
                    </a:lnTo>
                    <a:close/>
                    <a:moveTo>
                      <a:pt x="332" y="363"/>
                    </a:moveTo>
                    <a:lnTo>
                      <a:pt x="330" y="363"/>
                    </a:lnTo>
                    <a:lnTo>
                      <a:pt x="332" y="363"/>
                    </a:lnTo>
                    <a:close/>
                    <a:moveTo>
                      <a:pt x="382" y="346"/>
                    </a:moveTo>
                    <a:lnTo>
                      <a:pt x="380" y="346"/>
                    </a:lnTo>
                    <a:lnTo>
                      <a:pt x="382" y="346"/>
                    </a:lnTo>
                    <a:close/>
                    <a:moveTo>
                      <a:pt x="386" y="344"/>
                    </a:moveTo>
                    <a:lnTo>
                      <a:pt x="384" y="344"/>
                    </a:lnTo>
                    <a:lnTo>
                      <a:pt x="386" y="344"/>
                    </a:lnTo>
                    <a:close/>
                    <a:moveTo>
                      <a:pt x="370" y="348"/>
                    </a:moveTo>
                    <a:lnTo>
                      <a:pt x="370" y="349"/>
                    </a:lnTo>
                    <a:lnTo>
                      <a:pt x="370" y="348"/>
                    </a:lnTo>
                    <a:close/>
                    <a:moveTo>
                      <a:pt x="370" y="348"/>
                    </a:moveTo>
                    <a:lnTo>
                      <a:pt x="370" y="349"/>
                    </a:lnTo>
                    <a:lnTo>
                      <a:pt x="370" y="348"/>
                    </a:lnTo>
                    <a:lnTo>
                      <a:pt x="370" y="349"/>
                    </a:lnTo>
                    <a:lnTo>
                      <a:pt x="370" y="348"/>
                    </a:lnTo>
                    <a:close/>
                    <a:moveTo>
                      <a:pt x="393" y="338"/>
                    </a:moveTo>
                    <a:lnTo>
                      <a:pt x="393" y="340"/>
                    </a:lnTo>
                    <a:lnTo>
                      <a:pt x="393" y="338"/>
                    </a:lnTo>
                    <a:close/>
                    <a:moveTo>
                      <a:pt x="368" y="346"/>
                    </a:moveTo>
                    <a:lnTo>
                      <a:pt x="368" y="348"/>
                    </a:lnTo>
                    <a:lnTo>
                      <a:pt x="368" y="346"/>
                    </a:lnTo>
                    <a:close/>
                    <a:moveTo>
                      <a:pt x="732" y="180"/>
                    </a:moveTo>
                    <a:lnTo>
                      <a:pt x="730" y="180"/>
                    </a:lnTo>
                    <a:lnTo>
                      <a:pt x="732" y="180"/>
                    </a:lnTo>
                    <a:close/>
                    <a:moveTo>
                      <a:pt x="376" y="344"/>
                    </a:moveTo>
                    <a:lnTo>
                      <a:pt x="374" y="344"/>
                    </a:lnTo>
                    <a:lnTo>
                      <a:pt x="376" y="344"/>
                    </a:lnTo>
                    <a:close/>
                    <a:moveTo>
                      <a:pt x="368" y="346"/>
                    </a:moveTo>
                    <a:lnTo>
                      <a:pt x="367" y="346"/>
                    </a:lnTo>
                    <a:lnTo>
                      <a:pt x="368" y="346"/>
                    </a:lnTo>
                    <a:close/>
                    <a:moveTo>
                      <a:pt x="372" y="344"/>
                    </a:moveTo>
                    <a:lnTo>
                      <a:pt x="370" y="344"/>
                    </a:lnTo>
                    <a:lnTo>
                      <a:pt x="372" y="344"/>
                    </a:lnTo>
                    <a:close/>
                    <a:moveTo>
                      <a:pt x="370" y="346"/>
                    </a:moveTo>
                    <a:lnTo>
                      <a:pt x="368" y="346"/>
                    </a:lnTo>
                    <a:lnTo>
                      <a:pt x="370" y="346"/>
                    </a:lnTo>
                    <a:close/>
                    <a:moveTo>
                      <a:pt x="368" y="344"/>
                    </a:moveTo>
                    <a:lnTo>
                      <a:pt x="368" y="346"/>
                    </a:lnTo>
                    <a:lnTo>
                      <a:pt x="368" y="344"/>
                    </a:lnTo>
                    <a:lnTo>
                      <a:pt x="370" y="344"/>
                    </a:lnTo>
                    <a:lnTo>
                      <a:pt x="368" y="346"/>
                    </a:lnTo>
                    <a:lnTo>
                      <a:pt x="368" y="344"/>
                    </a:lnTo>
                    <a:close/>
                    <a:moveTo>
                      <a:pt x="370" y="344"/>
                    </a:moveTo>
                    <a:lnTo>
                      <a:pt x="368" y="344"/>
                    </a:lnTo>
                    <a:lnTo>
                      <a:pt x="370" y="344"/>
                    </a:lnTo>
                    <a:close/>
                    <a:moveTo>
                      <a:pt x="370" y="344"/>
                    </a:moveTo>
                    <a:lnTo>
                      <a:pt x="368" y="344"/>
                    </a:lnTo>
                    <a:lnTo>
                      <a:pt x="370" y="344"/>
                    </a:lnTo>
                    <a:close/>
                    <a:moveTo>
                      <a:pt x="368" y="344"/>
                    </a:moveTo>
                    <a:lnTo>
                      <a:pt x="370" y="344"/>
                    </a:lnTo>
                    <a:lnTo>
                      <a:pt x="368" y="344"/>
                    </a:lnTo>
                    <a:close/>
                    <a:moveTo>
                      <a:pt x="370" y="342"/>
                    </a:moveTo>
                    <a:lnTo>
                      <a:pt x="370" y="344"/>
                    </a:lnTo>
                    <a:lnTo>
                      <a:pt x="370" y="342"/>
                    </a:lnTo>
                    <a:close/>
                    <a:moveTo>
                      <a:pt x="382" y="340"/>
                    </a:moveTo>
                    <a:lnTo>
                      <a:pt x="382" y="338"/>
                    </a:lnTo>
                    <a:lnTo>
                      <a:pt x="382" y="340"/>
                    </a:lnTo>
                    <a:close/>
                    <a:moveTo>
                      <a:pt x="367" y="344"/>
                    </a:moveTo>
                    <a:lnTo>
                      <a:pt x="368" y="344"/>
                    </a:lnTo>
                    <a:lnTo>
                      <a:pt x="367" y="344"/>
                    </a:lnTo>
                    <a:close/>
                    <a:moveTo>
                      <a:pt x="370" y="344"/>
                    </a:moveTo>
                    <a:lnTo>
                      <a:pt x="370" y="342"/>
                    </a:lnTo>
                    <a:lnTo>
                      <a:pt x="370" y="344"/>
                    </a:lnTo>
                    <a:close/>
                    <a:moveTo>
                      <a:pt x="370" y="342"/>
                    </a:moveTo>
                    <a:lnTo>
                      <a:pt x="368" y="342"/>
                    </a:lnTo>
                    <a:lnTo>
                      <a:pt x="370" y="342"/>
                    </a:lnTo>
                    <a:close/>
                    <a:moveTo>
                      <a:pt x="388" y="336"/>
                    </a:moveTo>
                    <a:lnTo>
                      <a:pt x="390" y="336"/>
                    </a:lnTo>
                    <a:lnTo>
                      <a:pt x="388" y="336"/>
                    </a:lnTo>
                    <a:close/>
                    <a:moveTo>
                      <a:pt x="370" y="342"/>
                    </a:moveTo>
                    <a:lnTo>
                      <a:pt x="372" y="342"/>
                    </a:lnTo>
                    <a:lnTo>
                      <a:pt x="370" y="342"/>
                    </a:lnTo>
                    <a:close/>
                    <a:moveTo>
                      <a:pt x="374" y="340"/>
                    </a:moveTo>
                    <a:lnTo>
                      <a:pt x="372" y="342"/>
                    </a:lnTo>
                    <a:lnTo>
                      <a:pt x="374" y="340"/>
                    </a:lnTo>
                    <a:close/>
                    <a:moveTo>
                      <a:pt x="388" y="334"/>
                    </a:moveTo>
                    <a:lnTo>
                      <a:pt x="388" y="336"/>
                    </a:lnTo>
                    <a:lnTo>
                      <a:pt x="388" y="334"/>
                    </a:lnTo>
                    <a:close/>
                    <a:moveTo>
                      <a:pt x="368" y="342"/>
                    </a:moveTo>
                    <a:lnTo>
                      <a:pt x="367" y="342"/>
                    </a:lnTo>
                    <a:lnTo>
                      <a:pt x="368" y="342"/>
                    </a:lnTo>
                    <a:close/>
                    <a:moveTo>
                      <a:pt x="367" y="344"/>
                    </a:moveTo>
                    <a:lnTo>
                      <a:pt x="365" y="344"/>
                    </a:lnTo>
                    <a:lnTo>
                      <a:pt x="367" y="344"/>
                    </a:lnTo>
                    <a:close/>
                    <a:moveTo>
                      <a:pt x="741" y="169"/>
                    </a:moveTo>
                    <a:lnTo>
                      <a:pt x="741" y="171"/>
                    </a:lnTo>
                    <a:lnTo>
                      <a:pt x="741" y="169"/>
                    </a:lnTo>
                    <a:close/>
                    <a:moveTo>
                      <a:pt x="392" y="334"/>
                    </a:moveTo>
                    <a:lnTo>
                      <a:pt x="392" y="332"/>
                    </a:lnTo>
                    <a:lnTo>
                      <a:pt x="392" y="334"/>
                    </a:lnTo>
                    <a:close/>
                    <a:moveTo>
                      <a:pt x="780" y="146"/>
                    </a:moveTo>
                    <a:lnTo>
                      <a:pt x="782" y="146"/>
                    </a:lnTo>
                    <a:lnTo>
                      <a:pt x="780" y="146"/>
                    </a:lnTo>
                    <a:close/>
                    <a:moveTo>
                      <a:pt x="392" y="332"/>
                    </a:moveTo>
                    <a:lnTo>
                      <a:pt x="392" y="334"/>
                    </a:lnTo>
                    <a:lnTo>
                      <a:pt x="392" y="332"/>
                    </a:lnTo>
                    <a:close/>
                    <a:moveTo>
                      <a:pt x="392" y="332"/>
                    </a:moveTo>
                    <a:lnTo>
                      <a:pt x="392" y="334"/>
                    </a:lnTo>
                    <a:lnTo>
                      <a:pt x="392" y="332"/>
                    </a:lnTo>
                    <a:close/>
                    <a:moveTo>
                      <a:pt x="390" y="334"/>
                    </a:moveTo>
                    <a:lnTo>
                      <a:pt x="388" y="334"/>
                    </a:lnTo>
                    <a:lnTo>
                      <a:pt x="390" y="334"/>
                    </a:lnTo>
                    <a:close/>
                    <a:moveTo>
                      <a:pt x="687" y="200"/>
                    </a:moveTo>
                    <a:lnTo>
                      <a:pt x="687" y="198"/>
                    </a:lnTo>
                    <a:lnTo>
                      <a:pt x="687" y="200"/>
                    </a:lnTo>
                    <a:close/>
                    <a:moveTo>
                      <a:pt x="388" y="332"/>
                    </a:moveTo>
                    <a:lnTo>
                      <a:pt x="388" y="334"/>
                    </a:lnTo>
                    <a:lnTo>
                      <a:pt x="388" y="332"/>
                    </a:lnTo>
                    <a:close/>
                    <a:moveTo>
                      <a:pt x="390" y="332"/>
                    </a:moveTo>
                    <a:lnTo>
                      <a:pt x="388" y="332"/>
                    </a:lnTo>
                    <a:lnTo>
                      <a:pt x="390" y="332"/>
                    </a:lnTo>
                    <a:close/>
                    <a:moveTo>
                      <a:pt x="737" y="163"/>
                    </a:moveTo>
                    <a:lnTo>
                      <a:pt x="737" y="165"/>
                    </a:lnTo>
                    <a:lnTo>
                      <a:pt x="737" y="163"/>
                    </a:lnTo>
                    <a:close/>
                    <a:moveTo>
                      <a:pt x="368" y="336"/>
                    </a:moveTo>
                    <a:lnTo>
                      <a:pt x="367" y="336"/>
                    </a:lnTo>
                    <a:lnTo>
                      <a:pt x="368" y="336"/>
                    </a:lnTo>
                    <a:close/>
                    <a:moveTo>
                      <a:pt x="351" y="342"/>
                    </a:moveTo>
                    <a:lnTo>
                      <a:pt x="349" y="342"/>
                    </a:lnTo>
                    <a:lnTo>
                      <a:pt x="351" y="342"/>
                    </a:lnTo>
                    <a:close/>
                    <a:moveTo>
                      <a:pt x="737" y="163"/>
                    </a:moveTo>
                    <a:lnTo>
                      <a:pt x="737" y="165"/>
                    </a:lnTo>
                    <a:lnTo>
                      <a:pt x="737" y="163"/>
                    </a:lnTo>
                    <a:close/>
                    <a:moveTo>
                      <a:pt x="737" y="163"/>
                    </a:moveTo>
                    <a:lnTo>
                      <a:pt x="735" y="163"/>
                    </a:lnTo>
                    <a:lnTo>
                      <a:pt x="737" y="163"/>
                    </a:lnTo>
                    <a:close/>
                    <a:moveTo>
                      <a:pt x="388" y="328"/>
                    </a:moveTo>
                    <a:lnTo>
                      <a:pt x="388" y="326"/>
                    </a:lnTo>
                    <a:lnTo>
                      <a:pt x="388" y="328"/>
                    </a:lnTo>
                    <a:close/>
                    <a:moveTo>
                      <a:pt x="388" y="326"/>
                    </a:moveTo>
                    <a:lnTo>
                      <a:pt x="388" y="328"/>
                    </a:lnTo>
                    <a:lnTo>
                      <a:pt x="388" y="326"/>
                    </a:lnTo>
                    <a:close/>
                    <a:moveTo>
                      <a:pt x="388" y="326"/>
                    </a:moveTo>
                    <a:lnTo>
                      <a:pt x="388" y="328"/>
                    </a:lnTo>
                    <a:lnTo>
                      <a:pt x="388" y="326"/>
                    </a:lnTo>
                    <a:close/>
                    <a:moveTo>
                      <a:pt x="370" y="334"/>
                    </a:moveTo>
                    <a:lnTo>
                      <a:pt x="368" y="334"/>
                    </a:lnTo>
                    <a:lnTo>
                      <a:pt x="370" y="334"/>
                    </a:lnTo>
                    <a:close/>
                    <a:moveTo>
                      <a:pt x="388" y="326"/>
                    </a:moveTo>
                    <a:lnTo>
                      <a:pt x="390" y="326"/>
                    </a:lnTo>
                    <a:lnTo>
                      <a:pt x="388" y="326"/>
                    </a:lnTo>
                    <a:close/>
                    <a:moveTo>
                      <a:pt x="730" y="165"/>
                    </a:moveTo>
                    <a:lnTo>
                      <a:pt x="730" y="167"/>
                    </a:lnTo>
                    <a:lnTo>
                      <a:pt x="730" y="165"/>
                    </a:lnTo>
                    <a:close/>
                    <a:moveTo>
                      <a:pt x="730" y="165"/>
                    </a:moveTo>
                    <a:lnTo>
                      <a:pt x="730" y="167"/>
                    </a:lnTo>
                    <a:lnTo>
                      <a:pt x="730" y="165"/>
                    </a:lnTo>
                    <a:close/>
                    <a:moveTo>
                      <a:pt x="728" y="165"/>
                    </a:moveTo>
                    <a:lnTo>
                      <a:pt x="730" y="167"/>
                    </a:lnTo>
                    <a:lnTo>
                      <a:pt x="730" y="165"/>
                    </a:lnTo>
                    <a:lnTo>
                      <a:pt x="728" y="165"/>
                    </a:lnTo>
                    <a:close/>
                    <a:moveTo>
                      <a:pt x="728" y="165"/>
                    </a:moveTo>
                    <a:lnTo>
                      <a:pt x="728" y="167"/>
                    </a:lnTo>
                    <a:lnTo>
                      <a:pt x="728" y="165"/>
                    </a:lnTo>
                    <a:close/>
                    <a:moveTo>
                      <a:pt x="728" y="167"/>
                    </a:moveTo>
                    <a:lnTo>
                      <a:pt x="728" y="165"/>
                    </a:lnTo>
                    <a:lnTo>
                      <a:pt x="728" y="167"/>
                    </a:lnTo>
                    <a:close/>
                    <a:moveTo>
                      <a:pt x="728" y="165"/>
                    </a:moveTo>
                    <a:lnTo>
                      <a:pt x="728" y="167"/>
                    </a:lnTo>
                    <a:lnTo>
                      <a:pt x="728" y="165"/>
                    </a:lnTo>
                    <a:close/>
                    <a:moveTo>
                      <a:pt x="728" y="167"/>
                    </a:moveTo>
                    <a:lnTo>
                      <a:pt x="726" y="167"/>
                    </a:lnTo>
                    <a:lnTo>
                      <a:pt x="728" y="167"/>
                    </a:lnTo>
                    <a:close/>
                    <a:moveTo>
                      <a:pt x="386" y="326"/>
                    </a:moveTo>
                    <a:lnTo>
                      <a:pt x="384" y="326"/>
                    </a:lnTo>
                    <a:lnTo>
                      <a:pt x="386" y="326"/>
                    </a:lnTo>
                    <a:close/>
                    <a:moveTo>
                      <a:pt x="301" y="353"/>
                    </a:moveTo>
                    <a:lnTo>
                      <a:pt x="301" y="355"/>
                    </a:lnTo>
                    <a:lnTo>
                      <a:pt x="301" y="353"/>
                    </a:lnTo>
                    <a:close/>
                    <a:moveTo>
                      <a:pt x="722" y="167"/>
                    </a:moveTo>
                    <a:lnTo>
                      <a:pt x="724" y="167"/>
                    </a:lnTo>
                    <a:lnTo>
                      <a:pt x="722" y="167"/>
                    </a:lnTo>
                    <a:close/>
                    <a:moveTo>
                      <a:pt x="720" y="167"/>
                    </a:moveTo>
                    <a:lnTo>
                      <a:pt x="718" y="167"/>
                    </a:lnTo>
                    <a:lnTo>
                      <a:pt x="720" y="167"/>
                    </a:lnTo>
                    <a:close/>
                    <a:moveTo>
                      <a:pt x="370" y="328"/>
                    </a:moveTo>
                    <a:lnTo>
                      <a:pt x="368" y="328"/>
                    </a:lnTo>
                    <a:lnTo>
                      <a:pt x="370" y="328"/>
                    </a:lnTo>
                    <a:close/>
                    <a:moveTo>
                      <a:pt x="370" y="328"/>
                    </a:moveTo>
                    <a:lnTo>
                      <a:pt x="368" y="328"/>
                    </a:lnTo>
                    <a:lnTo>
                      <a:pt x="370" y="328"/>
                    </a:lnTo>
                    <a:close/>
                    <a:moveTo>
                      <a:pt x="718" y="167"/>
                    </a:moveTo>
                    <a:lnTo>
                      <a:pt x="718" y="169"/>
                    </a:lnTo>
                    <a:lnTo>
                      <a:pt x="718" y="167"/>
                    </a:lnTo>
                    <a:close/>
                    <a:moveTo>
                      <a:pt x="376" y="324"/>
                    </a:moveTo>
                    <a:lnTo>
                      <a:pt x="376" y="326"/>
                    </a:lnTo>
                    <a:lnTo>
                      <a:pt x="376" y="324"/>
                    </a:lnTo>
                    <a:close/>
                    <a:moveTo>
                      <a:pt x="319" y="346"/>
                    </a:moveTo>
                    <a:lnTo>
                      <a:pt x="317" y="346"/>
                    </a:lnTo>
                    <a:lnTo>
                      <a:pt x="319" y="346"/>
                    </a:lnTo>
                    <a:close/>
                    <a:moveTo>
                      <a:pt x="716" y="169"/>
                    </a:moveTo>
                    <a:lnTo>
                      <a:pt x="714" y="169"/>
                    </a:lnTo>
                    <a:lnTo>
                      <a:pt x="716" y="169"/>
                    </a:lnTo>
                    <a:close/>
                    <a:moveTo>
                      <a:pt x="714" y="169"/>
                    </a:moveTo>
                    <a:lnTo>
                      <a:pt x="716" y="169"/>
                    </a:lnTo>
                    <a:lnTo>
                      <a:pt x="714" y="169"/>
                    </a:lnTo>
                    <a:close/>
                    <a:moveTo>
                      <a:pt x="317" y="346"/>
                    </a:moveTo>
                    <a:lnTo>
                      <a:pt x="315" y="346"/>
                    </a:lnTo>
                    <a:lnTo>
                      <a:pt x="317" y="346"/>
                    </a:lnTo>
                    <a:close/>
                    <a:moveTo>
                      <a:pt x="342" y="334"/>
                    </a:moveTo>
                    <a:lnTo>
                      <a:pt x="342" y="336"/>
                    </a:lnTo>
                    <a:lnTo>
                      <a:pt x="342" y="334"/>
                    </a:lnTo>
                    <a:close/>
                    <a:moveTo>
                      <a:pt x="374" y="324"/>
                    </a:moveTo>
                    <a:lnTo>
                      <a:pt x="372" y="324"/>
                    </a:lnTo>
                    <a:lnTo>
                      <a:pt x="374" y="324"/>
                    </a:lnTo>
                    <a:close/>
                    <a:moveTo>
                      <a:pt x="374" y="323"/>
                    </a:moveTo>
                    <a:lnTo>
                      <a:pt x="372" y="323"/>
                    </a:lnTo>
                    <a:lnTo>
                      <a:pt x="374" y="323"/>
                    </a:lnTo>
                    <a:close/>
                    <a:moveTo>
                      <a:pt x="353" y="330"/>
                    </a:moveTo>
                    <a:lnTo>
                      <a:pt x="351" y="330"/>
                    </a:lnTo>
                    <a:lnTo>
                      <a:pt x="353" y="330"/>
                    </a:lnTo>
                    <a:close/>
                    <a:moveTo>
                      <a:pt x="705" y="171"/>
                    </a:moveTo>
                    <a:lnTo>
                      <a:pt x="707" y="171"/>
                    </a:lnTo>
                    <a:lnTo>
                      <a:pt x="705" y="171"/>
                    </a:lnTo>
                    <a:close/>
                    <a:moveTo>
                      <a:pt x="328" y="338"/>
                    </a:moveTo>
                    <a:lnTo>
                      <a:pt x="328" y="340"/>
                    </a:lnTo>
                    <a:lnTo>
                      <a:pt x="328" y="338"/>
                    </a:lnTo>
                    <a:close/>
                    <a:moveTo>
                      <a:pt x="322" y="340"/>
                    </a:moveTo>
                    <a:lnTo>
                      <a:pt x="322" y="342"/>
                    </a:lnTo>
                    <a:lnTo>
                      <a:pt x="322" y="340"/>
                    </a:lnTo>
                    <a:close/>
                    <a:moveTo>
                      <a:pt x="322" y="340"/>
                    </a:moveTo>
                    <a:lnTo>
                      <a:pt x="320" y="340"/>
                    </a:lnTo>
                    <a:lnTo>
                      <a:pt x="322" y="340"/>
                    </a:lnTo>
                    <a:close/>
                    <a:moveTo>
                      <a:pt x="320" y="340"/>
                    </a:moveTo>
                    <a:lnTo>
                      <a:pt x="320" y="342"/>
                    </a:lnTo>
                    <a:lnTo>
                      <a:pt x="320" y="340"/>
                    </a:lnTo>
                    <a:close/>
                    <a:moveTo>
                      <a:pt x="355" y="330"/>
                    </a:moveTo>
                    <a:lnTo>
                      <a:pt x="355" y="328"/>
                    </a:lnTo>
                    <a:lnTo>
                      <a:pt x="355" y="330"/>
                    </a:lnTo>
                    <a:close/>
                    <a:moveTo>
                      <a:pt x="320" y="340"/>
                    </a:moveTo>
                    <a:lnTo>
                      <a:pt x="320" y="342"/>
                    </a:lnTo>
                    <a:lnTo>
                      <a:pt x="320" y="340"/>
                    </a:lnTo>
                    <a:close/>
                    <a:moveTo>
                      <a:pt x="605" y="223"/>
                    </a:moveTo>
                    <a:lnTo>
                      <a:pt x="605" y="225"/>
                    </a:lnTo>
                    <a:lnTo>
                      <a:pt x="605" y="223"/>
                    </a:lnTo>
                    <a:close/>
                    <a:moveTo>
                      <a:pt x="370" y="323"/>
                    </a:moveTo>
                    <a:lnTo>
                      <a:pt x="372" y="323"/>
                    </a:lnTo>
                    <a:lnTo>
                      <a:pt x="370" y="323"/>
                    </a:lnTo>
                    <a:close/>
                    <a:moveTo>
                      <a:pt x="290" y="349"/>
                    </a:moveTo>
                    <a:lnTo>
                      <a:pt x="290" y="351"/>
                    </a:lnTo>
                    <a:lnTo>
                      <a:pt x="290" y="349"/>
                    </a:lnTo>
                    <a:close/>
                    <a:moveTo>
                      <a:pt x="359" y="328"/>
                    </a:moveTo>
                    <a:lnTo>
                      <a:pt x="357" y="328"/>
                    </a:lnTo>
                    <a:lnTo>
                      <a:pt x="359" y="328"/>
                    </a:lnTo>
                    <a:close/>
                    <a:moveTo>
                      <a:pt x="294" y="349"/>
                    </a:moveTo>
                    <a:lnTo>
                      <a:pt x="292" y="349"/>
                    </a:lnTo>
                    <a:lnTo>
                      <a:pt x="294" y="349"/>
                    </a:lnTo>
                    <a:close/>
                    <a:moveTo>
                      <a:pt x="319" y="340"/>
                    </a:moveTo>
                    <a:lnTo>
                      <a:pt x="319" y="342"/>
                    </a:lnTo>
                    <a:lnTo>
                      <a:pt x="319" y="340"/>
                    </a:lnTo>
                    <a:close/>
                    <a:moveTo>
                      <a:pt x="372" y="323"/>
                    </a:moveTo>
                    <a:lnTo>
                      <a:pt x="370" y="323"/>
                    </a:lnTo>
                    <a:lnTo>
                      <a:pt x="372" y="323"/>
                    </a:lnTo>
                    <a:close/>
                    <a:moveTo>
                      <a:pt x="697" y="173"/>
                    </a:moveTo>
                    <a:lnTo>
                      <a:pt x="697" y="175"/>
                    </a:lnTo>
                    <a:lnTo>
                      <a:pt x="697" y="173"/>
                    </a:lnTo>
                    <a:close/>
                    <a:moveTo>
                      <a:pt x="376" y="321"/>
                    </a:moveTo>
                    <a:lnTo>
                      <a:pt x="374" y="321"/>
                    </a:lnTo>
                    <a:lnTo>
                      <a:pt x="376" y="321"/>
                    </a:lnTo>
                    <a:close/>
                    <a:moveTo>
                      <a:pt x="53" y="409"/>
                    </a:moveTo>
                    <a:lnTo>
                      <a:pt x="55" y="409"/>
                    </a:lnTo>
                    <a:lnTo>
                      <a:pt x="53" y="409"/>
                    </a:lnTo>
                    <a:close/>
                    <a:moveTo>
                      <a:pt x="616" y="217"/>
                    </a:moveTo>
                    <a:lnTo>
                      <a:pt x="614" y="217"/>
                    </a:lnTo>
                    <a:lnTo>
                      <a:pt x="616" y="217"/>
                    </a:lnTo>
                    <a:close/>
                    <a:moveTo>
                      <a:pt x="695" y="175"/>
                    </a:moveTo>
                    <a:lnTo>
                      <a:pt x="693" y="175"/>
                    </a:lnTo>
                    <a:lnTo>
                      <a:pt x="695" y="175"/>
                    </a:lnTo>
                    <a:close/>
                    <a:moveTo>
                      <a:pt x="355" y="326"/>
                    </a:moveTo>
                    <a:lnTo>
                      <a:pt x="357" y="326"/>
                    </a:lnTo>
                    <a:lnTo>
                      <a:pt x="355" y="326"/>
                    </a:lnTo>
                    <a:close/>
                    <a:moveTo>
                      <a:pt x="343" y="330"/>
                    </a:moveTo>
                    <a:lnTo>
                      <a:pt x="342" y="330"/>
                    </a:lnTo>
                    <a:lnTo>
                      <a:pt x="343" y="330"/>
                    </a:lnTo>
                    <a:close/>
                    <a:moveTo>
                      <a:pt x="691" y="175"/>
                    </a:moveTo>
                    <a:lnTo>
                      <a:pt x="689" y="176"/>
                    </a:lnTo>
                    <a:lnTo>
                      <a:pt x="691" y="175"/>
                    </a:lnTo>
                    <a:close/>
                    <a:moveTo>
                      <a:pt x="689" y="175"/>
                    </a:moveTo>
                    <a:lnTo>
                      <a:pt x="689" y="176"/>
                    </a:lnTo>
                    <a:lnTo>
                      <a:pt x="689" y="175"/>
                    </a:lnTo>
                    <a:close/>
                    <a:moveTo>
                      <a:pt x="317" y="338"/>
                    </a:moveTo>
                    <a:lnTo>
                      <a:pt x="319" y="338"/>
                    </a:lnTo>
                    <a:lnTo>
                      <a:pt x="317" y="338"/>
                    </a:lnTo>
                    <a:lnTo>
                      <a:pt x="319" y="338"/>
                    </a:lnTo>
                    <a:lnTo>
                      <a:pt x="317" y="338"/>
                    </a:lnTo>
                    <a:close/>
                    <a:moveTo>
                      <a:pt x="284" y="349"/>
                    </a:moveTo>
                    <a:lnTo>
                      <a:pt x="282" y="349"/>
                    </a:lnTo>
                    <a:lnTo>
                      <a:pt x="284" y="349"/>
                    </a:lnTo>
                    <a:close/>
                    <a:moveTo>
                      <a:pt x="284" y="348"/>
                    </a:moveTo>
                    <a:lnTo>
                      <a:pt x="284" y="349"/>
                    </a:lnTo>
                    <a:lnTo>
                      <a:pt x="284" y="348"/>
                    </a:lnTo>
                    <a:close/>
                    <a:moveTo>
                      <a:pt x="351" y="326"/>
                    </a:moveTo>
                    <a:lnTo>
                      <a:pt x="349" y="326"/>
                    </a:lnTo>
                    <a:lnTo>
                      <a:pt x="351" y="326"/>
                    </a:lnTo>
                    <a:close/>
                    <a:moveTo>
                      <a:pt x="342" y="330"/>
                    </a:moveTo>
                    <a:lnTo>
                      <a:pt x="342" y="328"/>
                    </a:lnTo>
                    <a:lnTo>
                      <a:pt x="342" y="330"/>
                    </a:lnTo>
                    <a:close/>
                    <a:moveTo>
                      <a:pt x="222" y="365"/>
                    </a:moveTo>
                    <a:lnTo>
                      <a:pt x="222" y="367"/>
                    </a:lnTo>
                    <a:lnTo>
                      <a:pt x="222" y="365"/>
                    </a:lnTo>
                    <a:close/>
                    <a:moveTo>
                      <a:pt x="349" y="326"/>
                    </a:moveTo>
                    <a:lnTo>
                      <a:pt x="351" y="326"/>
                    </a:lnTo>
                    <a:lnTo>
                      <a:pt x="349" y="326"/>
                    </a:lnTo>
                    <a:close/>
                    <a:moveTo>
                      <a:pt x="42" y="409"/>
                    </a:moveTo>
                    <a:lnTo>
                      <a:pt x="42" y="407"/>
                    </a:lnTo>
                    <a:lnTo>
                      <a:pt x="42" y="409"/>
                    </a:lnTo>
                    <a:close/>
                    <a:moveTo>
                      <a:pt x="42" y="409"/>
                    </a:moveTo>
                    <a:lnTo>
                      <a:pt x="42" y="407"/>
                    </a:lnTo>
                    <a:lnTo>
                      <a:pt x="42" y="409"/>
                    </a:lnTo>
                    <a:close/>
                    <a:moveTo>
                      <a:pt x="326" y="332"/>
                    </a:moveTo>
                    <a:lnTo>
                      <a:pt x="326" y="334"/>
                    </a:lnTo>
                    <a:lnTo>
                      <a:pt x="326" y="332"/>
                    </a:lnTo>
                    <a:close/>
                    <a:moveTo>
                      <a:pt x="326" y="332"/>
                    </a:moveTo>
                    <a:lnTo>
                      <a:pt x="326" y="334"/>
                    </a:lnTo>
                    <a:lnTo>
                      <a:pt x="326" y="332"/>
                    </a:lnTo>
                    <a:close/>
                    <a:moveTo>
                      <a:pt x="363" y="321"/>
                    </a:moveTo>
                    <a:lnTo>
                      <a:pt x="361" y="321"/>
                    </a:lnTo>
                    <a:lnTo>
                      <a:pt x="363" y="321"/>
                    </a:lnTo>
                    <a:close/>
                    <a:moveTo>
                      <a:pt x="367" y="319"/>
                    </a:moveTo>
                    <a:lnTo>
                      <a:pt x="368" y="319"/>
                    </a:lnTo>
                    <a:lnTo>
                      <a:pt x="367" y="319"/>
                    </a:lnTo>
                    <a:lnTo>
                      <a:pt x="368" y="319"/>
                    </a:lnTo>
                    <a:lnTo>
                      <a:pt x="367" y="319"/>
                    </a:lnTo>
                    <a:close/>
                    <a:moveTo>
                      <a:pt x="328" y="332"/>
                    </a:moveTo>
                    <a:lnTo>
                      <a:pt x="326" y="332"/>
                    </a:lnTo>
                    <a:lnTo>
                      <a:pt x="328" y="332"/>
                    </a:lnTo>
                    <a:close/>
                    <a:moveTo>
                      <a:pt x="363" y="319"/>
                    </a:moveTo>
                    <a:lnTo>
                      <a:pt x="363" y="321"/>
                    </a:lnTo>
                    <a:lnTo>
                      <a:pt x="363" y="319"/>
                    </a:lnTo>
                    <a:close/>
                    <a:moveTo>
                      <a:pt x="343" y="324"/>
                    </a:moveTo>
                    <a:lnTo>
                      <a:pt x="343" y="326"/>
                    </a:lnTo>
                    <a:lnTo>
                      <a:pt x="343" y="324"/>
                    </a:lnTo>
                    <a:close/>
                    <a:moveTo>
                      <a:pt x="666" y="184"/>
                    </a:moveTo>
                    <a:lnTo>
                      <a:pt x="664" y="184"/>
                    </a:lnTo>
                    <a:lnTo>
                      <a:pt x="666" y="184"/>
                    </a:lnTo>
                    <a:close/>
                    <a:moveTo>
                      <a:pt x="326" y="330"/>
                    </a:moveTo>
                    <a:lnTo>
                      <a:pt x="326" y="332"/>
                    </a:lnTo>
                    <a:lnTo>
                      <a:pt x="326" y="330"/>
                    </a:lnTo>
                    <a:close/>
                    <a:moveTo>
                      <a:pt x="342" y="326"/>
                    </a:moveTo>
                    <a:lnTo>
                      <a:pt x="340" y="326"/>
                    </a:lnTo>
                    <a:lnTo>
                      <a:pt x="342" y="326"/>
                    </a:lnTo>
                    <a:close/>
                    <a:moveTo>
                      <a:pt x="342" y="326"/>
                    </a:moveTo>
                    <a:lnTo>
                      <a:pt x="340" y="326"/>
                    </a:lnTo>
                    <a:lnTo>
                      <a:pt x="342" y="326"/>
                    </a:lnTo>
                    <a:close/>
                    <a:moveTo>
                      <a:pt x="326" y="328"/>
                    </a:moveTo>
                    <a:lnTo>
                      <a:pt x="326" y="330"/>
                    </a:lnTo>
                    <a:lnTo>
                      <a:pt x="326" y="328"/>
                    </a:lnTo>
                    <a:close/>
                    <a:moveTo>
                      <a:pt x="269" y="348"/>
                    </a:moveTo>
                    <a:lnTo>
                      <a:pt x="267" y="348"/>
                    </a:lnTo>
                    <a:lnTo>
                      <a:pt x="269" y="348"/>
                    </a:lnTo>
                    <a:close/>
                    <a:moveTo>
                      <a:pt x="317" y="332"/>
                    </a:moveTo>
                    <a:lnTo>
                      <a:pt x="315" y="332"/>
                    </a:lnTo>
                    <a:lnTo>
                      <a:pt x="317" y="332"/>
                    </a:lnTo>
                    <a:close/>
                    <a:moveTo>
                      <a:pt x="34" y="403"/>
                    </a:moveTo>
                    <a:lnTo>
                      <a:pt x="34" y="405"/>
                    </a:lnTo>
                    <a:lnTo>
                      <a:pt x="34" y="403"/>
                    </a:lnTo>
                    <a:close/>
                    <a:moveTo>
                      <a:pt x="217" y="361"/>
                    </a:moveTo>
                    <a:lnTo>
                      <a:pt x="217" y="363"/>
                    </a:lnTo>
                    <a:lnTo>
                      <a:pt x="217" y="361"/>
                    </a:lnTo>
                    <a:close/>
                    <a:moveTo>
                      <a:pt x="330" y="326"/>
                    </a:moveTo>
                    <a:lnTo>
                      <a:pt x="330" y="324"/>
                    </a:lnTo>
                    <a:lnTo>
                      <a:pt x="330" y="326"/>
                    </a:lnTo>
                    <a:close/>
                    <a:moveTo>
                      <a:pt x="363" y="315"/>
                    </a:moveTo>
                    <a:lnTo>
                      <a:pt x="365" y="315"/>
                    </a:lnTo>
                    <a:lnTo>
                      <a:pt x="363" y="315"/>
                    </a:lnTo>
                    <a:close/>
                    <a:moveTo>
                      <a:pt x="363" y="313"/>
                    </a:moveTo>
                    <a:lnTo>
                      <a:pt x="363" y="315"/>
                    </a:lnTo>
                    <a:lnTo>
                      <a:pt x="363" y="313"/>
                    </a:lnTo>
                    <a:close/>
                    <a:moveTo>
                      <a:pt x="313" y="332"/>
                    </a:moveTo>
                    <a:lnTo>
                      <a:pt x="311" y="332"/>
                    </a:lnTo>
                    <a:lnTo>
                      <a:pt x="313" y="332"/>
                    </a:lnTo>
                    <a:close/>
                    <a:moveTo>
                      <a:pt x="36" y="403"/>
                    </a:moveTo>
                    <a:lnTo>
                      <a:pt x="34" y="403"/>
                    </a:lnTo>
                    <a:lnTo>
                      <a:pt x="36" y="403"/>
                    </a:lnTo>
                    <a:close/>
                    <a:moveTo>
                      <a:pt x="367" y="311"/>
                    </a:moveTo>
                    <a:lnTo>
                      <a:pt x="368" y="311"/>
                    </a:lnTo>
                    <a:lnTo>
                      <a:pt x="368" y="313"/>
                    </a:lnTo>
                    <a:lnTo>
                      <a:pt x="367" y="313"/>
                    </a:lnTo>
                    <a:lnTo>
                      <a:pt x="367" y="311"/>
                    </a:lnTo>
                    <a:close/>
                    <a:moveTo>
                      <a:pt x="32" y="401"/>
                    </a:moveTo>
                    <a:lnTo>
                      <a:pt x="32" y="403"/>
                    </a:lnTo>
                    <a:lnTo>
                      <a:pt x="32" y="401"/>
                    </a:lnTo>
                    <a:close/>
                    <a:moveTo>
                      <a:pt x="34" y="401"/>
                    </a:moveTo>
                    <a:lnTo>
                      <a:pt x="36" y="401"/>
                    </a:lnTo>
                    <a:lnTo>
                      <a:pt x="34" y="401"/>
                    </a:lnTo>
                    <a:close/>
                    <a:moveTo>
                      <a:pt x="361" y="313"/>
                    </a:moveTo>
                    <a:lnTo>
                      <a:pt x="359" y="313"/>
                    </a:lnTo>
                    <a:lnTo>
                      <a:pt x="361" y="313"/>
                    </a:lnTo>
                    <a:close/>
                    <a:moveTo>
                      <a:pt x="370" y="311"/>
                    </a:moveTo>
                    <a:lnTo>
                      <a:pt x="368" y="311"/>
                    </a:lnTo>
                    <a:lnTo>
                      <a:pt x="370" y="311"/>
                    </a:lnTo>
                    <a:close/>
                    <a:moveTo>
                      <a:pt x="353" y="315"/>
                    </a:moveTo>
                    <a:lnTo>
                      <a:pt x="353" y="317"/>
                    </a:lnTo>
                    <a:lnTo>
                      <a:pt x="353" y="315"/>
                    </a:lnTo>
                    <a:close/>
                    <a:moveTo>
                      <a:pt x="359" y="313"/>
                    </a:moveTo>
                    <a:lnTo>
                      <a:pt x="359" y="315"/>
                    </a:lnTo>
                    <a:lnTo>
                      <a:pt x="359" y="313"/>
                    </a:lnTo>
                    <a:close/>
                    <a:moveTo>
                      <a:pt x="353" y="315"/>
                    </a:moveTo>
                    <a:lnTo>
                      <a:pt x="353" y="317"/>
                    </a:lnTo>
                    <a:lnTo>
                      <a:pt x="353" y="315"/>
                    </a:lnTo>
                    <a:close/>
                    <a:moveTo>
                      <a:pt x="336" y="321"/>
                    </a:moveTo>
                    <a:lnTo>
                      <a:pt x="336" y="323"/>
                    </a:lnTo>
                    <a:lnTo>
                      <a:pt x="336" y="321"/>
                    </a:lnTo>
                    <a:close/>
                    <a:moveTo>
                      <a:pt x="378" y="305"/>
                    </a:moveTo>
                    <a:lnTo>
                      <a:pt x="376" y="305"/>
                    </a:lnTo>
                    <a:lnTo>
                      <a:pt x="378" y="305"/>
                    </a:lnTo>
                    <a:close/>
                    <a:moveTo>
                      <a:pt x="378" y="305"/>
                    </a:moveTo>
                    <a:lnTo>
                      <a:pt x="376" y="305"/>
                    </a:lnTo>
                    <a:lnTo>
                      <a:pt x="378" y="305"/>
                    </a:lnTo>
                    <a:close/>
                    <a:moveTo>
                      <a:pt x="320" y="324"/>
                    </a:moveTo>
                    <a:lnTo>
                      <a:pt x="320" y="326"/>
                    </a:lnTo>
                    <a:lnTo>
                      <a:pt x="320" y="324"/>
                    </a:lnTo>
                    <a:close/>
                    <a:moveTo>
                      <a:pt x="332" y="323"/>
                    </a:moveTo>
                    <a:lnTo>
                      <a:pt x="332" y="321"/>
                    </a:lnTo>
                    <a:lnTo>
                      <a:pt x="332" y="323"/>
                    </a:lnTo>
                    <a:close/>
                    <a:moveTo>
                      <a:pt x="313" y="326"/>
                    </a:moveTo>
                    <a:lnTo>
                      <a:pt x="315" y="326"/>
                    </a:lnTo>
                    <a:lnTo>
                      <a:pt x="313" y="326"/>
                    </a:lnTo>
                    <a:close/>
                    <a:moveTo>
                      <a:pt x="338" y="317"/>
                    </a:moveTo>
                    <a:lnTo>
                      <a:pt x="336" y="317"/>
                    </a:lnTo>
                    <a:lnTo>
                      <a:pt x="338" y="317"/>
                    </a:lnTo>
                    <a:close/>
                    <a:moveTo>
                      <a:pt x="240" y="348"/>
                    </a:moveTo>
                    <a:lnTo>
                      <a:pt x="242" y="348"/>
                    </a:lnTo>
                    <a:lnTo>
                      <a:pt x="240" y="348"/>
                    </a:lnTo>
                    <a:close/>
                    <a:moveTo>
                      <a:pt x="319" y="324"/>
                    </a:moveTo>
                    <a:lnTo>
                      <a:pt x="319" y="323"/>
                    </a:lnTo>
                    <a:lnTo>
                      <a:pt x="319" y="324"/>
                    </a:lnTo>
                    <a:close/>
                    <a:moveTo>
                      <a:pt x="228" y="351"/>
                    </a:moveTo>
                    <a:lnTo>
                      <a:pt x="226" y="351"/>
                    </a:lnTo>
                    <a:lnTo>
                      <a:pt x="228" y="351"/>
                    </a:lnTo>
                    <a:close/>
                    <a:moveTo>
                      <a:pt x="224" y="351"/>
                    </a:moveTo>
                    <a:lnTo>
                      <a:pt x="222" y="351"/>
                    </a:lnTo>
                    <a:lnTo>
                      <a:pt x="224" y="351"/>
                    </a:lnTo>
                    <a:close/>
                    <a:moveTo>
                      <a:pt x="319" y="321"/>
                    </a:moveTo>
                    <a:lnTo>
                      <a:pt x="319" y="323"/>
                    </a:lnTo>
                    <a:lnTo>
                      <a:pt x="319" y="321"/>
                    </a:lnTo>
                    <a:close/>
                    <a:moveTo>
                      <a:pt x="342" y="313"/>
                    </a:moveTo>
                    <a:lnTo>
                      <a:pt x="342" y="315"/>
                    </a:lnTo>
                    <a:lnTo>
                      <a:pt x="342" y="313"/>
                    </a:lnTo>
                    <a:close/>
                    <a:moveTo>
                      <a:pt x="342" y="313"/>
                    </a:moveTo>
                    <a:lnTo>
                      <a:pt x="342" y="315"/>
                    </a:lnTo>
                    <a:lnTo>
                      <a:pt x="342" y="313"/>
                    </a:lnTo>
                    <a:close/>
                    <a:moveTo>
                      <a:pt x="340" y="315"/>
                    </a:moveTo>
                    <a:lnTo>
                      <a:pt x="342" y="315"/>
                    </a:lnTo>
                    <a:lnTo>
                      <a:pt x="340" y="315"/>
                    </a:lnTo>
                    <a:close/>
                    <a:moveTo>
                      <a:pt x="376" y="301"/>
                    </a:moveTo>
                    <a:lnTo>
                      <a:pt x="374" y="301"/>
                    </a:lnTo>
                    <a:lnTo>
                      <a:pt x="376" y="301"/>
                    </a:lnTo>
                    <a:close/>
                    <a:moveTo>
                      <a:pt x="221" y="349"/>
                    </a:moveTo>
                    <a:lnTo>
                      <a:pt x="221" y="351"/>
                    </a:lnTo>
                    <a:lnTo>
                      <a:pt x="221" y="349"/>
                    </a:lnTo>
                    <a:close/>
                    <a:moveTo>
                      <a:pt x="221" y="349"/>
                    </a:moveTo>
                    <a:lnTo>
                      <a:pt x="221" y="351"/>
                    </a:lnTo>
                    <a:lnTo>
                      <a:pt x="221" y="349"/>
                    </a:lnTo>
                    <a:close/>
                    <a:moveTo>
                      <a:pt x="357" y="305"/>
                    </a:moveTo>
                    <a:lnTo>
                      <a:pt x="359" y="305"/>
                    </a:lnTo>
                    <a:lnTo>
                      <a:pt x="357" y="305"/>
                    </a:lnTo>
                    <a:close/>
                    <a:moveTo>
                      <a:pt x="219" y="351"/>
                    </a:moveTo>
                    <a:lnTo>
                      <a:pt x="219" y="349"/>
                    </a:lnTo>
                    <a:lnTo>
                      <a:pt x="219" y="351"/>
                    </a:lnTo>
                    <a:close/>
                    <a:moveTo>
                      <a:pt x="219" y="349"/>
                    </a:moveTo>
                    <a:lnTo>
                      <a:pt x="217" y="349"/>
                    </a:lnTo>
                    <a:lnTo>
                      <a:pt x="219" y="349"/>
                    </a:lnTo>
                    <a:close/>
                    <a:moveTo>
                      <a:pt x="217" y="349"/>
                    </a:moveTo>
                    <a:lnTo>
                      <a:pt x="215" y="349"/>
                    </a:lnTo>
                    <a:lnTo>
                      <a:pt x="217" y="349"/>
                    </a:lnTo>
                    <a:close/>
                    <a:moveTo>
                      <a:pt x="75" y="384"/>
                    </a:moveTo>
                    <a:lnTo>
                      <a:pt x="73" y="384"/>
                    </a:lnTo>
                    <a:lnTo>
                      <a:pt x="75" y="384"/>
                    </a:lnTo>
                    <a:close/>
                    <a:moveTo>
                      <a:pt x="76" y="382"/>
                    </a:moveTo>
                    <a:lnTo>
                      <a:pt x="75" y="382"/>
                    </a:lnTo>
                    <a:lnTo>
                      <a:pt x="76" y="382"/>
                    </a:lnTo>
                    <a:close/>
                    <a:moveTo>
                      <a:pt x="378" y="296"/>
                    </a:moveTo>
                    <a:lnTo>
                      <a:pt x="376" y="296"/>
                    </a:lnTo>
                    <a:lnTo>
                      <a:pt x="378" y="296"/>
                    </a:lnTo>
                    <a:close/>
                    <a:moveTo>
                      <a:pt x="372" y="298"/>
                    </a:moveTo>
                    <a:lnTo>
                      <a:pt x="370" y="298"/>
                    </a:lnTo>
                    <a:lnTo>
                      <a:pt x="372" y="298"/>
                    </a:lnTo>
                    <a:close/>
                    <a:moveTo>
                      <a:pt x="236" y="342"/>
                    </a:moveTo>
                    <a:lnTo>
                      <a:pt x="234" y="342"/>
                    </a:lnTo>
                    <a:lnTo>
                      <a:pt x="236" y="342"/>
                    </a:lnTo>
                    <a:close/>
                    <a:moveTo>
                      <a:pt x="228" y="342"/>
                    </a:moveTo>
                    <a:lnTo>
                      <a:pt x="228" y="344"/>
                    </a:lnTo>
                    <a:lnTo>
                      <a:pt x="228" y="342"/>
                    </a:lnTo>
                    <a:close/>
                    <a:moveTo>
                      <a:pt x="374" y="296"/>
                    </a:moveTo>
                    <a:lnTo>
                      <a:pt x="374" y="294"/>
                    </a:lnTo>
                    <a:lnTo>
                      <a:pt x="374" y="296"/>
                    </a:lnTo>
                    <a:close/>
                    <a:moveTo>
                      <a:pt x="372" y="296"/>
                    </a:moveTo>
                    <a:lnTo>
                      <a:pt x="370" y="296"/>
                    </a:lnTo>
                    <a:lnTo>
                      <a:pt x="372" y="296"/>
                    </a:lnTo>
                    <a:close/>
                    <a:moveTo>
                      <a:pt x="317" y="313"/>
                    </a:moveTo>
                    <a:lnTo>
                      <a:pt x="319" y="313"/>
                    </a:lnTo>
                    <a:lnTo>
                      <a:pt x="317" y="313"/>
                    </a:lnTo>
                    <a:close/>
                    <a:moveTo>
                      <a:pt x="222" y="344"/>
                    </a:moveTo>
                    <a:lnTo>
                      <a:pt x="222" y="342"/>
                    </a:lnTo>
                    <a:lnTo>
                      <a:pt x="222" y="344"/>
                    </a:lnTo>
                    <a:close/>
                    <a:moveTo>
                      <a:pt x="224" y="344"/>
                    </a:moveTo>
                    <a:lnTo>
                      <a:pt x="222" y="344"/>
                    </a:lnTo>
                    <a:lnTo>
                      <a:pt x="222" y="342"/>
                    </a:lnTo>
                    <a:lnTo>
                      <a:pt x="224" y="344"/>
                    </a:lnTo>
                    <a:close/>
                    <a:moveTo>
                      <a:pt x="372" y="294"/>
                    </a:moveTo>
                    <a:lnTo>
                      <a:pt x="370" y="294"/>
                    </a:lnTo>
                    <a:lnTo>
                      <a:pt x="372" y="294"/>
                    </a:lnTo>
                    <a:close/>
                    <a:moveTo>
                      <a:pt x="372" y="294"/>
                    </a:moveTo>
                    <a:lnTo>
                      <a:pt x="370" y="294"/>
                    </a:lnTo>
                    <a:lnTo>
                      <a:pt x="372" y="294"/>
                    </a:lnTo>
                    <a:close/>
                    <a:moveTo>
                      <a:pt x="228" y="340"/>
                    </a:moveTo>
                    <a:lnTo>
                      <a:pt x="226" y="340"/>
                    </a:lnTo>
                    <a:lnTo>
                      <a:pt x="228" y="340"/>
                    </a:lnTo>
                    <a:close/>
                    <a:moveTo>
                      <a:pt x="361" y="298"/>
                    </a:moveTo>
                    <a:lnTo>
                      <a:pt x="361" y="296"/>
                    </a:lnTo>
                    <a:lnTo>
                      <a:pt x="361" y="298"/>
                    </a:lnTo>
                    <a:close/>
                    <a:moveTo>
                      <a:pt x="157" y="359"/>
                    </a:moveTo>
                    <a:lnTo>
                      <a:pt x="159" y="359"/>
                    </a:lnTo>
                    <a:lnTo>
                      <a:pt x="157" y="359"/>
                    </a:lnTo>
                    <a:lnTo>
                      <a:pt x="157" y="357"/>
                    </a:lnTo>
                    <a:lnTo>
                      <a:pt x="157" y="359"/>
                    </a:lnTo>
                    <a:close/>
                    <a:moveTo>
                      <a:pt x="174" y="353"/>
                    </a:moveTo>
                    <a:lnTo>
                      <a:pt x="176" y="353"/>
                    </a:lnTo>
                    <a:lnTo>
                      <a:pt x="174" y="353"/>
                    </a:lnTo>
                    <a:close/>
                    <a:moveTo>
                      <a:pt x="253" y="330"/>
                    </a:moveTo>
                    <a:lnTo>
                      <a:pt x="251" y="330"/>
                    </a:lnTo>
                    <a:lnTo>
                      <a:pt x="253" y="330"/>
                    </a:lnTo>
                    <a:close/>
                    <a:moveTo>
                      <a:pt x="249" y="332"/>
                    </a:moveTo>
                    <a:lnTo>
                      <a:pt x="247" y="332"/>
                    </a:lnTo>
                    <a:lnTo>
                      <a:pt x="249" y="332"/>
                    </a:lnTo>
                    <a:close/>
                    <a:moveTo>
                      <a:pt x="343" y="301"/>
                    </a:moveTo>
                    <a:lnTo>
                      <a:pt x="342" y="301"/>
                    </a:lnTo>
                    <a:lnTo>
                      <a:pt x="343" y="301"/>
                    </a:lnTo>
                    <a:close/>
                    <a:moveTo>
                      <a:pt x="363" y="292"/>
                    </a:moveTo>
                    <a:lnTo>
                      <a:pt x="361" y="292"/>
                    </a:lnTo>
                    <a:lnTo>
                      <a:pt x="363" y="292"/>
                    </a:lnTo>
                    <a:close/>
                    <a:moveTo>
                      <a:pt x="247" y="330"/>
                    </a:moveTo>
                    <a:lnTo>
                      <a:pt x="246" y="330"/>
                    </a:lnTo>
                    <a:lnTo>
                      <a:pt x="247" y="330"/>
                    </a:lnTo>
                    <a:close/>
                    <a:moveTo>
                      <a:pt x="361" y="292"/>
                    </a:moveTo>
                    <a:lnTo>
                      <a:pt x="361" y="290"/>
                    </a:lnTo>
                    <a:lnTo>
                      <a:pt x="361" y="292"/>
                    </a:lnTo>
                    <a:close/>
                    <a:moveTo>
                      <a:pt x="361" y="290"/>
                    </a:moveTo>
                    <a:lnTo>
                      <a:pt x="359" y="290"/>
                    </a:lnTo>
                    <a:lnTo>
                      <a:pt x="361" y="290"/>
                    </a:lnTo>
                    <a:close/>
                    <a:moveTo>
                      <a:pt x="307" y="307"/>
                    </a:moveTo>
                    <a:lnTo>
                      <a:pt x="305" y="307"/>
                    </a:lnTo>
                    <a:lnTo>
                      <a:pt x="307" y="307"/>
                    </a:lnTo>
                    <a:close/>
                    <a:moveTo>
                      <a:pt x="307" y="307"/>
                    </a:moveTo>
                    <a:lnTo>
                      <a:pt x="305" y="307"/>
                    </a:lnTo>
                    <a:lnTo>
                      <a:pt x="307" y="307"/>
                    </a:lnTo>
                    <a:close/>
                    <a:moveTo>
                      <a:pt x="357" y="288"/>
                    </a:moveTo>
                    <a:lnTo>
                      <a:pt x="357" y="290"/>
                    </a:lnTo>
                    <a:lnTo>
                      <a:pt x="357" y="288"/>
                    </a:lnTo>
                    <a:lnTo>
                      <a:pt x="357" y="290"/>
                    </a:lnTo>
                    <a:lnTo>
                      <a:pt x="357" y="288"/>
                    </a:lnTo>
                    <a:close/>
                    <a:moveTo>
                      <a:pt x="355" y="290"/>
                    </a:moveTo>
                    <a:lnTo>
                      <a:pt x="353" y="290"/>
                    </a:lnTo>
                    <a:lnTo>
                      <a:pt x="355" y="290"/>
                    </a:lnTo>
                    <a:close/>
                    <a:moveTo>
                      <a:pt x="355" y="290"/>
                    </a:moveTo>
                    <a:lnTo>
                      <a:pt x="355" y="288"/>
                    </a:lnTo>
                    <a:lnTo>
                      <a:pt x="355" y="290"/>
                    </a:lnTo>
                    <a:close/>
                    <a:moveTo>
                      <a:pt x="30" y="376"/>
                    </a:moveTo>
                    <a:lnTo>
                      <a:pt x="32" y="376"/>
                    </a:lnTo>
                    <a:lnTo>
                      <a:pt x="30" y="376"/>
                    </a:lnTo>
                    <a:close/>
                    <a:moveTo>
                      <a:pt x="355" y="288"/>
                    </a:moveTo>
                    <a:lnTo>
                      <a:pt x="355" y="290"/>
                    </a:lnTo>
                    <a:lnTo>
                      <a:pt x="355" y="288"/>
                    </a:lnTo>
                    <a:lnTo>
                      <a:pt x="355" y="290"/>
                    </a:lnTo>
                    <a:lnTo>
                      <a:pt x="355" y="288"/>
                    </a:lnTo>
                    <a:close/>
                    <a:moveTo>
                      <a:pt x="353" y="288"/>
                    </a:moveTo>
                    <a:lnTo>
                      <a:pt x="355" y="290"/>
                    </a:lnTo>
                    <a:lnTo>
                      <a:pt x="353" y="290"/>
                    </a:lnTo>
                    <a:lnTo>
                      <a:pt x="353" y="288"/>
                    </a:lnTo>
                    <a:close/>
                    <a:moveTo>
                      <a:pt x="353" y="290"/>
                    </a:moveTo>
                    <a:lnTo>
                      <a:pt x="353" y="288"/>
                    </a:lnTo>
                    <a:lnTo>
                      <a:pt x="353" y="290"/>
                    </a:lnTo>
                    <a:close/>
                    <a:moveTo>
                      <a:pt x="353" y="288"/>
                    </a:moveTo>
                    <a:lnTo>
                      <a:pt x="353" y="290"/>
                    </a:lnTo>
                    <a:lnTo>
                      <a:pt x="353" y="288"/>
                    </a:lnTo>
                    <a:close/>
                    <a:moveTo>
                      <a:pt x="320" y="299"/>
                    </a:moveTo>
                    <a:lnTo>
                      <a:pt x="319" y="299"/>
                    </a:lnTo>
                    <a:lnTo>
                      <a:pt x="320" y="299"/>
                    </a:lnTo>
                    <a:close/>
                    <a:moveTo>
                      <a:pt x="317" y="298"/>
                    </a:moveTo>
                    <a:lnTo>
                      <a:pt x="315" y="298"/>
                    </a:lnTo>
                    <a:lnTo>
                      <a:pt x="317" y="298"/>
                    </a:lnTo>
                    <a:close/>
                    <a:moveTo>
                      <a:pt x="347" y="286"/>
                    </a:moveTo>
                    <a:lnTo>
                      <a:pt x="347" y="288"/>
                    </a:lnTo>
                    <a:lnTo>
                      <a:pt x="347" y="286"/>
                    </a:lnTo>
                    <a:close/>
                    <a:moveTo>
                      <a:pt x="349" y="286"/>
                    </a:moveTo>
                    <a:lnTo>
                      <a:pt x="347" y="286"/>
                    </a:lnTo>
                    <a:lnTo>
                      <a:pt x="349" y="286"/>
                    </a:lnTo>
                    <a:close/>
                    <a:moveTo>
                      <a:pt x="342" y="288"/>
                    </a:moveTo>
                    <a:lnTo>
                      <a:pt x="340" y="288"/>
                    </a:lnTo>
                    <a:lnTo>
                      <a:pt x="342" y="288"/>
                    </a:lnTo>
                    <a:close/>
                    <a:moveTo>
                      <a:pt x="343" y="286"/>
                    </a:moveTo>
                    <a:lnTo>
                      <a:pt x="342" y="286"/>
                    </a:lnTo>
                    <a:lnTo>
                      <a:pt x="343" y="286"/>
                    </a:lnTo>
                    <a:close/>
                    <a:moveTo>
                      <a:pt x="345" y="284"/>
                    </a:moveTo>
                    <a:lnTo>
                      <a:pt x="345" y="286"/>
                    </a:lnTo>
                    <a:lnTo>
                      <a:pt x="345" y="284"/>
                    </a:lnTo>
                    <a:close/>
                    <a:moveTo>
                      <a:pt x="311" y="296"/>
                    </a:moveTo>
                    <a:lnTo>
                      <a:pt x="311" y="298"/>
                    </a:lnTo>
                    <a:lnTo>
                      <a:pt x="311" y="296"/>
                    </a:lnTo>
                    <a:close/>
                    <a:moveTo>
                      <a:pt x="343" y="286"/>
                    </a:moveTo>
                    <a:lnTo>
                      <a:pt x="345" y="286"/>
                    </a:lnTo>
                    <a:lnTo>
                      <a:pt x="343" y="286"/>
                    </a:lnTo>
                    <a:close/>
                    <a:moveTo>
                      <a:pt x="332" y="288"/>
                    </a:moveTo>
                    <a:lnTo>
                      <a:pt x="332" y="290"/>
                    </a:lnTo>
                    <a:lnTo>
                      <a:pt x="332" y="288"/>
                    </a:lnTo>
                    <a:close/>
                    <a:moveTo>
                      <a:pt x="332" y="290"/>
                    </a:moveTo>
                    <a:lnTo>
                      <a:pt x="332" y="288"/>
                    </a:lnTo>
                    <a:lnTo>
                      <a:pt x="332" y="290"/>
                    </a:lnTo>
                    <a:close/>
                    <a:moveTo>
                      <a:pt x="647" y="151"/>
                    </a:moveTo>
                    <a:lnTo>
                      <a:pt x="645" y="151"/>
                    </a:lnTo>
                    <a:lnTo>
                      <a:pt x="647" y="151"/>
                    </a:lnTo>
                    <a:close/>
                    <a:moveTo>
                      <a:pt x="340" y="286"/>
                    </a:moveTo>
                    <a:lnTo>
                      <a:pt x="338" y="286"/>
                    </a:lnTo>
                    <a:lnTo>
                      <a:pt x="340" y="286"/>
                    </a:lnTo>
                    <a:close/>
                    <a:moveTo>
                      <a:pt x="315" y="294"/>
                    </a:moveTo>
                    <a:lnTo>
                      <a:pt x="315" y="296"/>
                    </a:lnTo>
                    <a:lnTo>
                      <a:pt x="315" y="294"/>
                    </a:lnTo>
                    <a:close/>
                    <a:moveTo>
                      <a:pt x="645" y="151"/>
                    </a:moveTo>
                    <a:lnTo>
                      <a:pt x="645" y="150"/>
                    </a:lnTo>
                    <a:lnTo>
                      <a:pt x="645" y="151"/>
                    </a:lnTo>
                    <a:close/>
                    <a:moveTo>
                      <a:pt x="144" y="344"/>
                    </a:moveTo>
                    <a:lnTo>
                      <a:pt x="142" y="344"/>
                    </a:lnTo>
                    <a:lnTo>
                      <a:pt x="144" y="344"/>
                    </a:lnTo>
                    <a:close/>
                    <a:moveTo>
                      <a:pt x="342" y="284"/>
                    </a:moveTo>
                    <a:lnTo>
                      <a:pt x="343" y="284"/>
                    </a:lnTo>
                    <a:lnTo>
                      <a:pt x="342" y="284"/>
                    </a:lnTo>
                    <a:close/>
                    <a:moveTo>
                      <a:pt x="307" y="296"/>
                    </a:moveTo>
                    <a:lnTo>
                      <a:pt x="307" y="298"/>
                    </a:lnTo>
                    <a:lnTo>
                      <a:pt x="307" y="296"/>
                    </a:lnTo>
                    <a:close/>
                    <a:moveTo>
                      <a:pt x="340" y="284"/>
                    </a:moveTo>
                    <a:lnTo>
                      <a:pt x="340" y="286"/>
                    </a:lnTo>
                    <a:lnTo>
                      <a:pt x="340" y="284"/>
                    </a:lnTo>
                    <a:close/>
                    <a:moveTo>
                      <a:pt x="144" y="344"/>
                    </a:moveTo>
                    <a:lnTo>
                      <a:pt x="142" y="344"/>
                    </a:lnTo>
                    <a:lnTo>
                      <a:pt x="144" y="344"/>
                    </a:lnTo>
                    <a:close/>
                    <a:moveTo>
                      <a:pt x="305" y="296"/>
                    </a:moveTo>
                    <a:lnTo>
                      <a:pt x="305" y="298"/>
                    </a:lnTo>
                    <a:lnTo>
                      <a:pt x="305" y="296"/>
                    </a:lnTo>
                    <a:close/>
                    <a:moveTo>
                      <a:pt x="342" y="284"/>
                    </a:moveTo>
                    <a:lnTo>
                      <a:pt x="340" y="284"/>
                    </a:lnTo>
                    <a:lnTo>
                      <a:pt x="342" y="284"/>
                    </a:lnTo>
                    <a:close/>
                    <a:moveTo>
                      <a:pt x="328" y="288"/>
                    </a:moveTo>
                    <a:lnTo>
                      <a:pt x="328" y="290"/>
                    </a:lnTo>
                    <a:lnTo>
                      <a:pt x="328" y="288"/>
                    </a:lnTo>
                    <a:close/>
                    <a:moveTo>
                      <a:pt x="311" y="294"/>
                    </a:moveTo>
                    <a:lnTo>
                      <a:pt x="311" y="296"/>
                    </a:lnTo>
                    <a:lnTo>
                      <a:pt x="311" y="294"/>
                    </a:lnTo>
                    <a:close/>
                    <a:moveTo>
                      <a:pt x="342" y="284"/>
                    </a:moveTo>
                    <a:lnTo>
                      <a:pt x="340" y="284"/>
                    </a:lnTo>
                    <a:lnTo>
                      <a:pt x="342" y="284"/>
                    </a:lnTo>
                    <a:close/>
                    <a:moveTo>
                      <a:pt x="340" y="284"/>
                    </a:moveTo>
                    <a:lnTo>
                      <a:pt x="342" y="284"/>
                    </a:lnTo>
                    <a:lnTo>
                      <a:pt x="340" y="284"/>
                    </a:lnTo>
                    <a:close/>
                    <a:moveTo>
                      <a:pt x="340" y="284"/>
                    </a:moveTo>
                    <a:lnTo>
                      <a:pt x="342" y="284"/>
                    </a:lnTo>
                    <a:lnTo>
                      <a:pt x="340" y="284"/>
                    </a:lnTo>
                    <a:close/>
                    <a:moveTo>
                      <a:pt x="645" y="150"/>
                    </a:moveTo>
                    <a:lnTo>
                      <a:pt x="645" y="148"/>
                    </a:lnTo>
                    <a:lnTo>
                      <a:pt x="645" y="150"/>
                    </a:lnTo>
                    <a:close/>
                    <a:moveTo>
                      <a:pt x="295" y="298"/>
                    </a:moveTo>
                    <a:lnTo>
                      <a:pt x="295" y="299"/>
                    </a:lnTo>
                    <a:lnTo>
                      <a:pt x="295" y="298"/>
                    </a:lnTo>
                    <a:close/>
                    <a:moveTo>
                      <a:pt x="342" y="284"/>
                    </a:moveTo>
                    <a:lnTo>
                      <a:pt x="342" y="282"/>
                    </a:lnTo>
                    <a:lnTo>
                      <a:pt x="342" y="284"/>
                    </a:lnTo>
                    <a:close/>
                    <a:moveTo>
                      <a:pt x="342" y="284"/>
                    </a:moveTo>
                    <a:lnTo>
                      <a:pt x="342" y="282"/>
                    </a:lnTo>
                    <a:lnTo>
                      <a:pt x="342" y="284"/>
                    </a:lnTo>
                    <a:close/>
                    <a:moveTo>
                      <a:pt x="295" y="298"/>
                    </a:moveTo>
                    <a:lnTo>
                      <a:pt x="295" y="299"/>
                    </a:lnTo>
                    <a:lnTo>
                      <a:pt x="295" y="298"/>
                    </a:lnTo>
                    <a:close/>
                    <a:moveTo>
                      <a:pt x="148" y="340"/>
                    </a:moveTo>
                    <a:lnTo>
                      <a:pt x="148" y="342"/>
                    </a:lnTo>
                    <a:lnTo>
                      <a:pt x="148" y="340"/>
                    </a:lnTo>
                    <a:close/>
                    <a:moveTo>
                      <a:pt x="338" y="284"/>
                    </a:moveTo>
                    <a:lnTo>
                      <a:pt x="340" y="284"/>
                    </a:lnTo>
                    <a:lnTo>
                      <a:pt x="338" y="284"/>
                    </a:lnTo>
                    <a:close/>
                    <a:moveTo>
                      <a:pt x="338" y="284"/>
                    </a:moveTo>
                    <a:lnTo>
                      <a:pt x="340" y="284"/>
                    </a:lnTo>
                    <a:lnTo>
                      <a:pt x="338" y="284"/>
                    </a:lnTo>
                    <a:close/>
                    <a:moveTo>
                      <a:pt x="148" y="342"/>
                    </a:moveTo>
                    <a:lnTo>
                      <a:pt x="146" y="342"/>
                    </a:lnTo>
                    <a:lnTo>
                      <a:pt x="148" y="342"/>
                    </a:lnTo>
                    <a:close/>
                    <a:moveTo>
                      <a:pt x="148" y="340"/>
                    </a:moveTo>
                    <a:lnTo>
                      <a:pt x="148" y="342"/>
                    </a:lnTo>
                    <a:lnTo>
                      <a:pt x="148" y="340"/>
                    </a:lnTo>
                    <a:close/>
                    <a:moveTo>
                      <a:pt x="317" y="292"/>
                    </a:moveTo>
                    <a:lnTo>
                      <a:pt x="315" y="292"/>
                    </a:lnTo>
                    <a:lnTo>
                      <a:pt x="317" y="292"/>
                    </a:lnTo>
                    <a:close/>
                    <a:moveTo>
                      <a:pt x="340" y="284"/>
                    </a:moveTo>
                    <a:lnTo>
                      <a:pt x="340" y="282"/>
                    </a:lnTo>
                    <a:lnTo>
                      <a:pt x="340" y="284"/>
                    </a:lnTo>
                    <a:close/>
                    <a:moveTo>
                      <a:pt x="317" y="292"/>
                    </a:moveTo>
                    <a:lnTo>
                      <a:pt x="315" y="292"/>
                    </a:lnTo>
                    <a:lnTo>
                      <a:pt x="317" y="292"/>
                    </a:lnTo>
                    <a:close/>
                    <a:moveTo>
                      <a:pt x="338" y="282"/>
                    </a:moveTo>
                    <a:lnTo>
                      <a:pt x="338" y="284"/>
                    </a:lnTo>
                    <a:lnTo>
                      <a:pt x="338" y="282"/>
                    </a:lnTo>
                    <a:close/>
                    <a:moveTo>
                      <a:pt x="338" y="282"/>
                    </a:moveTo>
                    <a:lnTo>
                      <a:pt x="338" y="284"/>
                    </a:lnTo>
                    <a:lnTo>
                      <a:pt x="338" y="282"/>
                    </a:lnTo>
                    <a:close/>
                    <a:moveTo>
                      <a:pt x="338" y="282"/>
                    </a:moveTo>
                    <a:lnTo>
                      <a:pt x="338" y="284"/>
                    </a:lnTo>
                    <a:lnTo>
                      <a:pt x="338" y="282"/>
                    </a:lnTo>
                    <a:close/>
                    <a:moveTo>
                      <a:pt x="645" y="148"/>
                    </a:moveTo>
                    <a:lnTo>
                      <a:pt x="643" y="148"/>
                    </a:lnTo>
                    <a:lnTo>
                      <a:pt x="645" y="148"/>
                    </a:lnTo>
                    <a:lnTo>
                      <a:pt x="643" y="148"/>
                    </a:lnTo>
                    <a:lnTo>
                      <a:pt x="645" y="148"/>
                    </a:lnTo>
                    <a:close/>
                    <a:moveTo>
                      <a:pt x="338" y="284"/>
                    </a:moveTo>
                    <a:lnTo>
                      <a:pt x="338" y="282"/>
                    </a:lnTo>
                    <a:lnTo>
                      <a:pt x="338" y="284"/>
                    </a:lnTo>
                    <a:close/>
                    <a:moveTo>
                      <a:pt x="332" y="284"/>
                    </a:moveTo>
                    <a:lnTo>
                      <a:pt x="332" y="286"/>
                    </a:lnTo>
                    <a:lnTo>
                      <a:pt x="332" y="284"/>
                    </a:lnTo>
                    <a:close/>
                    <a:moveTo>
                      <a:pt x="330" y="284"/>
                    </a:moveTo>
                    <a:lnTo>
                      <a:pt x="330" y="286"/>
                    </a:lnTo>
                    <a:lnTo>
                      <a:pt x="330" y="284"/>
                    </a:lnTo>
                    <a:close/>
                    <a:moveTo>
                      <a:pt x="336" y="284"/>
                    </a:moveTo>
                    <a:lnTo>
                      <a:pt x="336" y="282"/>
                    </a:lnTo>
                    <a:lnTo>
                      <a:pt x="336" y="284"/>
                    </a:lnTo>
                    <a:close/>
                    <a:moveTo>
                      <a:pt x="336" y="282"/>
                    </a:moveTo>
                    <a:lnTo>
                      <a:pt x="336" y="284"/>
                    </a:lnTo>
                    <a:lnTo>
                      <a:pt x="336" y="282"/>
                    </a:lnTo>
                    <a:close/>
                    <a:moveTo>
                      <a:pt x="292" y="298"/>
                    </a:moveTo>
                    <a:lnTo>
                      <a:pt x="290" y="298"/>
                    </a:lnTo>
                    <a:lnTo>
                      <a:pt x="292" y="298"/>
                    </a:lnTo>
                    <a:close/>
                    <a:moveTo>
                      <a:pt x="297" y="296"/>
                    </a:moveTo>
                    <a:lnTo>
                      <a:pt x="295" y="296"/>
                    </a:lnTo>
                    <a:lnTo>
                      <a:pt x="297" y="296"/>
                    </a:lnTo>
                    <a:close/>
                    <a:moveTo>
                      <a:pt x="146" y="340"/>
                    </a:moveTo>
                    <a:lnTo>
                      <a:pt x="144" y="340"/>
                    </a:lnTo>
                    <a:lnTo>
                      <a:pt x="146" y="340"/>
                    </a:lnTo>
                    <a:close/>
                    <a:moveTo>
                      <a:pt x="334" y="282"/>
                    </a:moveTo>
                    <a:lnTo>
                      <a:pt x="332" y="282"/>
                    </a:lnTo>
                    <a:lnTo>
                      <a:pt x="334" y="282"/>
                    </a:lnTo>
                    <a:close/>
                    <a:moveTo>
                      <a:pt x="320" y="286"/>
                    </a:moveTo>
                    <a:lnTo>
                      <a:pt x="319" y="286"/>
                    </a:lnTo>
                    <a:lnTo>
                      <a:pt x="320" y="286"/>
                    </a:lnTo>
                    <a:close/>
                    <a:moveTo>
                      <a:pt x="322" y="286"/>
                    </a:moveTo>
                    <a:lnTo>
                      <a:pt x="320" y="286"/>
                    </a:lnTo>
                    <a:lnTo>
                      <a:pt x="322" y="286"/>
                    </a:lnTo>
                    <a:close/>
                    <a:moveTo>
                      <a:pt x="288" y="298"/>
                    </a:moveTo>
                    <a:lnTo>
                      <a:pt x="286" y="298"/>
                    </a:lnTo>
                    <a:lnTo>
                      <a:pt x="288" y="298"/>
                    </a:lnTo>
                    <a:close/>
                    <a:moveTo>
                      <a:pt x="589" y="167"/>
                    </a:moveTo>
                    <a:lnTo>
                      <a:pt x="589" y="169"/>
                    </a:lnTo>
                    <a:lnTo>
                      <a:pt x="589" y="167"/>
                    </a:lnTo>
                    <a:close/>
                    <a:moveTo>
                      <a:pt x="591" y="167"/>
                    </a:moveTo>
                    <a:lnTo>
                      <a:pt x="589" y="167"/>
                    </a:lnTo>
                    <a:lnTo>
                      <a:pt x="591" y="167"/>
                    </a:lnTo>
                    <a:close/>
                    <a:moveTo>
                      <a:pt x="591" y="167"/>
                    </a:moveTo>
                    <a:lnTo>
                      <a:pt x="589" y="167"/>
                    </a:lnTo>
                    <a:lnTo>
                      <a:pt x="591" y="167"/>
                    </a:lnTo>
                    <a:close/>
                    <a:moveTo>
                      <a:pt x="589" y="167"/>
                    </a:moveTo>
                    <a:lnTo>
                      <a:pt x="587" y="167"/>
                    </a:lnTo>
                    <a:lnTo>
                      <a:pt x="589" y="167"/>
                    </a:lnTo>
                    <a:close/>
                    <a:moveTo>
                      <a:pt x="589" y="167"/>
                    </a:moveTo>
                    <a:lnTo>
                      <a:pt x="587" y="167"/>
                    </a:lnTo>
                    <a:lnTo>
                      <a:pt x="589" y="167"/>
                    </a:lnTo>
                    <a:close/>
                    <a:moveTo>
                      <a:pt x="589" y="167"/>
                    </a:moveTo>
                    <a:lnTo>
                      <a:pt x="587" y="167"/>
                    </a:lnTo>
                    <a:lnTo>
                      <a:pt x="589" y="167"/>
                    </a:lnTo>
                    <a:close/>
                    <a:moveTo>
                      <a:pt x="593" y="163"/>
                    </a:moveTo>
                    <a:lnTo>
                      <a:pt x="593" y="165"/>
                    </a:lnTo>
                    <a:lnTo>
                      <a:pt x="593" y="163"/>
                    </a:lnTo>
                    <a:close/>
                    <a:moveTo>
                      <a:pt x="591" y="165"/>
                    </a:moveTo>
                    <a:lnTo>
                      <a:pt x="593" y="165"/>
                    </a:lnTo>
                    <a:lnTo>
                      <a:pt x="591" y="165"/>
                    </a:lnTo>
                    <a:close/>
                    <a:moveTo>
                      <a:pt x="591" y="163"/>
                    </a:moveTo>
                    <a:lnTo>
                      <a:pt x="591" y="165"/>
                    </a:lnTo>
                    <a:lnTo>
                      <a:pt x="591" y="163"/>
                    </a:lnTo>
                    <a:close/>
                    <a:moveTo>
                      <a:pt x="591" y="165"/>
                    </a:moveTo>
                    <a:lnTo>
                      <a:pt x="589" y="165"/>
                    </a:lnTo>
                    <a:lnTo>
                      <a:pt x="591" y="165"/>
                    </a:lnTo>
                    <a:close/>
                    <a:moveTo>
                      <a:pt x="591" y="163"/>
                    </a:moveTo>
                    <a:lnTo>
                      <a:pt x="591" y="165"/>
                    </a:lnTo>
                    <a:lnTo>
                      <a:pt x="591" y="163"/>
                    </a:lnTo>
                    <a:close/>
                    <a:moveTo>
                      <a:pt x="591" y="163"/>
                    </a:moveTo>
                    <a:lnTo>
                      <a:pt x="591" y="165"/>
                    </a:lnTo>
                    <a:lnTo>
                      <a:pt x="591" y="163"/>
                    </a:lnTo>
                    <a:close/>
                    <a:moveTo>
                      <a:pt x="591" y="163"/>
                    </a:moveTo>
                    <a:lnTo>
                      <a:pt x="591" y="165"/>
                    </a:lnTo>
                    <a:lnTo>
                      <a:pt x="591" y="163"/>
                    </a:lnTo>
                    <a:close/>
                    <a:moveTo>
                      <a:pt x="587" y="165"/>
                    </a:moveTo>
                    <a:lnTo>
                      <a:pt x="589" y="165"/>
                    </a:lnTo>
                    <a:lnTo>
                      <a:pt x="587" y="165"/>
                    </a:lnTo>
                    <a:close/>
                    <a:moveTo>
                      <a:pt x="589" y="165"/>
                    </a:moveTo>
                    <a:lnTo>
                      <a:pt x="589" y="163"/>
                    </a:lnTo>
                    <a:lnTo>
                      <a:pt x="589" y="165"/>
                    </a:lnTo>
                    <a:lnTo>
                      <a:pt x="589" y="163"/>
                    </a:lnTo>
                    <a:lnTo>
                      <a:pt x="589" y="165"/>
                    </a:lnTo>
                    <a:close/>
                    <a:moveTo>
                      <a:pt x="589" y="165"/>
                    </a:moveTo>
                    <a:lnTo>
                      <a:pt x="589" y="163"/>
                    </a:lnTo>
                    <a:lnTo>
                      <a:pt x="589" y="165"/>
                    </a:lnTo>
                    <a:close/>
                    <a:moveTo>
                      <a:pt x="589" y="163"/>
                    </a:moveTo>
                    <a:lnTo>
                      <a:pt x="589" y="165"/>
                    </a:lnTo>
                    <a:lnTo>
                      <a:pt x="589" y="163"/>
                    </a:lnTo>
                    <a:close/>
                    <a:moveTo>
                      <a:pt x="84" y="344"/>
                    </a:moveTo>
                    <a:lnTo>
                      <a:pt x="82" y="344"/>
                    </a:lnTo>
                    <a:lnTo>
                      <a:pt x="84" y="344"/>
                    </a:lnTo>
                    <a:close/>
                    <a:moveTo>
                      <a:pt x="591" y="161"/>
                    </a:moveTo>
                    <a:lnTo>
                      <a:pt x="591" y="163"/>
                    </a:lnTo>
                    <a:lnTo>
                      <a:pt x="591" y="161"/>
                    </a:lnTo>
                    <a:close/>
                    <a:moveTo>
                      <a:pt x="591" y="163"/>
                    </a:moveTo>
                    <a:lnTo>
                      <a:pt x="589" y="163"/>
                    </a:lnTo>
                    <a:lnTo>
                      <a:pt x="591" y="163"/>
                    </a:lnTo>
                    <a:close/>
                    <a:moveTo>
                      <a:pt x="591" y="161"/>
                    </a:moveTo>
                    <a:lnTo>
                      <a:pt x="591" y="163"/>
                    </a:lnTo>
                    <a:lnTo>
                      <a:pt x="591" y="161"/>
                    </a:lnTo>
                    <a:close/>
                    <a:moveTo>
                      <a:pt x="269" y="292"/>
                    </a:moveTo>
                    <a:lnTo>
                      <a:pt x="269" y="294"/>
                    </a:lnTo>
                    <a:lnTo>
                      <a:pt x="269" y="292"/>
                    </a:lnTo>
                    <a:close/>
                    <a:moveTo>
                      <a:pt x="589" y="163"/>
                    </a:moveTo>
                    <a:lnTo>
                      <a:pt x="587" y="163"/>
                    </a:lnTo>
                    <a:lnTo>
                      <a:pt x="589" y="163"/>
                    </a:lnTo>
                    <a:close/>
                    <a:moveTo>
                      <a:pt x="589" y="161"/>
                    </a:moveTo>
                    <a:lnTo>
                      <a:pt x="589" y="163"/>
                    </a:lnTo>
                    <a:lnTo>
                      <a:pt x="589" y="161"/>
                    </a:lnTo>
                    <a:close/>
                    <a:moveTo>
                      <a:pt x="587" y="163"/>
                    </a:moveTo>
                    <a:lnTo>
                      <a:pt x="589" y="163"/>
                    </a:lnTo>
                    <a:lnTo>
                      <a:pt x="589" y="161"/>
                    </a:lnTo>
                    <a:lnTo>
                      <a:pt x="589" y="163"/>
                    </a:lnTo>
                    <a:lnTo>
                      <a:pt x="587" y="163"/>
                    </a:lnTo>
                    <a:lnTo>
                      <a:pt x="587" y="161"/>
                    </a:lnTo>
                    <a:lnTo>
                      <a:pt x="587" y="163"/>
                    </a:lnTo>
                    <a:close/>
                    <a:moveTo>
                      <a:pt x="591" y="161"/>
                    </a:moveTo>
                    <a:lnTo>
                      <a:pt x="589" y="161"/>
                    </a:lnTo>
                    <a:lnTo>
                      <a:pt x="591" y="161"/>
                    </a:lnTo>
                    <a:close/>
                    <a:moveTo>
                      <a:pt x="587" y="161"/>
                    </a:moveTo>
                    <a:lnTo>
                      <a:pt x="587" y="163"/>
                    </a:lnTo>
                    <a:lnTo>
                      <a:pt x="587" y="161"/>
                    </a:lnTo>
                    <a:close/>
                    <a:moveTo>
                      <a:pt x="261" y="290"/>
                    </a:moveTo>
                    <a:lnTo>
                      <a:pt x="259" y="290"/>
                    </a:lnTo>
                    <a:lnTo>
                      <a:pt x="261" y="290"/>
                    </a:lnTo>
                    <a:close/>
                    <a:moveTo>
                      <a:pt x="263" y="288"/>
                    </a:moveTo>
                    <a:lnTo>
                      <a:pt x="261" y="288"/>
                    </a:lnTo>
                    <a:lnTo>
                      <a:pt x="263" y="288"/>
                    </a:lnTo>
                    <a:close/>
                    <a:moveTo>
                      <a:pt x="263" y="288"/>
                    </a:moveTo>
                    <a:lnTo>
                      <a:pt x="261" y="288"/>
                    </a:lnTo>
                    <a:lnTo>
                      <a:pt x="263" y="288"/>
                    </a:lnTo>
                    <a:close/>
                    <a:moveTo>
                      <a:pt x="249" y="290"/>
                    </a:moveTo>
                    <a:lnTo>
                      <a:pt x="249" y="292"/>
                    </a:lnTo>
                    <a:lnTo>
                      <a:pt x="249" y="290"/>
                    </a:lnTo>
                    <a:close/>
                    <a:moveTo>
                      <a:pt x="578" y="157"/>
                    </a:moveTo>
                    <a:lnTo>
                      <a:pt x="576" y="157"/>
                    </a:lnTo>
                    <a:lnTo>
                      <a:pt x="578" y="157"/>
                    </a:lnTo>
                    <a:close/>
                    <a:moveTo>
                      <a:pt x="265" y="282"/>
                    </a:moveTo>
                    <a:lnTo>
                      <a:pt x="265" y="284"/>
                    </a:lnTo>
                    <a:lnTo>
                      <a:pt x="265" y="282"/>
                    </a:lnTo>
                    <a:close/>
                    <a:moveTo>
                      <a:pt x="265" y="282"/>
                    </a:moveTo>
                    <a:lnTo>
                      <a:pt x="265" y="284"/>
                    </a:lnTo>
                    <a:lnTo>
                      <a:pt x="265" y="282"/>
                    </a:lnTo>
                    <a:lnTo>
                      <a:pt x="265" y="284"/>
                    </a:lnTo>
                    <a:lnTo>
                      <a:pt x="265" y="282"/>
                    </a:lnTo>
                    <a:close/>
                    <a:moveTo>
                      <a:pt x="576" y="157"/>
                    </a:moveTo>
                    <a:lnTo>
                      <a:pt x="574" y="157"/>
                    </a:lnTo>
                    <a:lnTo>
                      <a:pt x="576" y="157"/>
                    </a:lnTo>
                    <a:lnTo>
                      <a:pt x="574" y="157"/>
                    </a:lnTo>
                    <a:lnTo>
                      <a:pt x="576" y="157"/>
                    </a:lnTo>
                    <a:close/>
                    <a:moveTo>
                      <a:pt x="578" y="155"/>
                    </a:moveTo>
                    <a:lnTo>
                      <a:pt x="576" y="155"/>
                    </a:lnTo>
                    <a:lnTo>
                      <a:pt x="578" y="155"/>
                    </a:lnTo>
                    <a:close/>
                    <a:moveTo>
                      <a:pt x="576" y="155"/>
                    </a:moveTo>
                    <a:lnTo>
                      <a:pt x="576" y="157"/>
                    </a:lnTo>
                    <a:lnTo>
                      <a:pt x="576" y="155"/>
                    </a:lnTo>
                    <a:close/>
                    <a:moveTo>
                      <a:pt x="491" y="192"/>
                    </a:moveTo>
                    <a:lnTo>
                      <a:pt x="489" y="192"/>
                    </a:lnTo>
                    <a:lnTo>
                      <a:pt x="491" y="192"/>
                    </a:lnTo>
                    <a:close/>
                    <a:moveTo>
                      <a:pt x="482" y="194"/>
                    </a:moveTo>
                    <a:lnTo>
                      <a:pt x="482" y="196"/>
                    </a:lnTo>
                    <a:lnTo>
                      <a:pt x="482" y="194"/>
                    </a:lnTo>
                    <a:close/>
                    <a:moveTo>
                      <a:pt x="478" y="194"/>
                    </a:moveTo>
                    <a:lnTo>
                      <a:pt x="480" y="194"/>
                    </a:lnTo>
                    <a:lnTo>
                      <a:pt x="478" y="194"/>
                    </a:lnTo>
                    <a:close/>
                    <a:moveTo>
                      <a:pt x="478" y="194"/>
                    </a:moveTo>
                    <a:lnTo>
                      <a:pt x="480" y="194"/>
                    </a:lnTo>
                    <a:lnTo>
                      <a:pt x="478" y="194"/>
                    </a:lnTo>
                    <a:close/>
                    <a:moveTo>
                      <a:pt x="2" y="336"/>
                    </a:moveTo>
                    <a:lnTo>
                      <a:pt x="0" y="336"/>
                    </a:lnTo>
                    <a:lnTo>
                      <a:pt x="2" y="336"/>
                    </a:lnTo>
                    <a:close/>
                    <a:moveTo>
                      <a:pt x="580" y="136"/>
                    </a:moveTo>
                    <a:lnTo>
                      <a:pt x="580" y="138"/>
                    </a:lnTo>
                    <a:lnTo>
                      <a:pt x="580" y="136"/>
                    </a:lnTo>
                    <a:close/>
                    <a:moveTo>
                      <a:pt x="578" y="136"/>
                    </a:moveTo>
                    <a:lnTo>
                      <a:pt x="578" y="138"/>
                    </a:lnTo>
                    <a:lnTo>
                      <a:pt x="578" y="136"/>
                    </a:lnTo>
                    <a:close/>
                    <a:moveTo>
                      <a:pt x="23" y="321"/>
                    </a:moveTo>
                    <a:lnTo>
                      <a:pt x="23" y="323"/>
                    </a:lnTo>
                    <a:lnTo>
                      <a:pt x="23" y="321"/>
                    </a:lnTo>
                    <a:close/>
                    <a:moveTo>
                      <a:pt x="23" y="315"/>
                    </a:moveTo>
                    <a:lnTo>
                      <a:pt x="23" y="317"/>
                    </a:lnTo>
                    <a:lnTo>
                      <a:pt x="21" y="317"/>
                    </a:lnTo>
                    <a:lnTo>
                      <a:pt x="23" y="317"/>
                    </a:lnTo>
                    <a:lnTo>
                      <a:pt x="23" y="315"/>
                    </a:lnTo>
                    <a:close/>
                    <a:moveTo>
                      <a:pt x="0" y="315"/>
                    </a:moveTo>
                    <a:lnTo>
                      <a:pt x="2" y="315"/>
                    </a:lnTo>
                    <a:lnTo>
                      <a:pt x="0" y="315"/>
                    </a:lnTo>
                    <a:close/>
                    <a:moveTo>
                      <a:pt x="9" y="305"/>
                    </a:moveTo>
                    <a:lnTo>
                      <a:pt x="9" y="307"/>
                    </a:lnTo>
                    <a:lnTo>
                      <a:pt x="9" y="305"/>
                    </a:lnTo>
                    <a:close/>
                    <a:moveTo>
                      <a:pt x="593" y="98"/>
                    </a:moveTo>
                    <a:lnTo>
                      <a:pt x="595" y="98"/>
                    </a:lnTo>
                    <a:lnTo>
                      <a:pt x="593" y="98"/>
                    </a:lnTo>
                    <a:close/>
                    <a:moveTo>
                      <a:pt x="595" y="94"/>
                    </a:moveTo>
                    <a:lnTo>
                      <a:pt x="595" y="96"/>
                    </a:lnTo>
                    <a:lnTo>
                      <a:pt x="595" y="94"/>
                    </a:lnTo>
                    <a:close/>
                    <a:moveTo>
                      <a:pt x="601" y="88"/>
                    </a:moveTo>
                    <a:lnTo>
                      <a:pt x="601" y="90"/>
                    </a:lnTo>
                    <a:lnTo>
                      <a:pt x="599" y="88"/>
                    </a:lnTo>
                    <a:lnTo>
                      <a:pt x="601" y="88"/>
                    </a:lnTo>
                    <a:close/>
                    <a:moveTo>
                      <a:pt x="539" y="117"/>
                    </a:moveTo>
                    <a:lnTo>
                      <a:pt x="538" y="117"/>
                    </a:lnTo>
                    <a:lnTo>
                      <a:pt x="539" y="117"/>
                    </a:lnTo>
                    <a:close/>
                    <a:moveTo>
                      <a:pt x="616" y="73"/>
                    </a:moveTo>
                    <a:lnTo>
                      <a:pt x="618" y="73"/>
                    </a:lnTo>
                    <a:lnTo>
                      <a:pt x="616" y="73"/>
                    </a:lnTo>
                    <a:close/>
                    <a:moveTo>
                      <a:pt x="616" y="73"/>
                    </a:moveTo>
                    <a:lnTo>
                      <a:pt x="614" y="73"/>
                    </a:lnTo>
                    <a:lnTo>
                      <a:pt x="616" y="73"/>
                    </a:lnTo>
                    <a:close/>
                    <a:moveTo>
                      <a:pt x="618" y="73"/>
                    </a:moveTo>
                    <a:lnTo>
                      <a:pt x="618" y="71"/>
                    </a:lnTo>
                    <a:lnTo>
                      <a:pt x="618" y="73"/>
                    </a:lnTo>
                    <a:close/>
                    <a:moveTo>
                      <a:pt x="616" y="71"/>
                    </a:moveTo>
                    <a:lnTo>
                      <a:pt x="618" y="71"/>
                    </a:lnTo>
                    <a:lnTo>
                      <a:pt x="616" y="71"/>
                    </a:lnTo>
                    <a:close/>
                    <a:moveTo>
                      <a:pt x="616" y="73"/>
                    </a:moveTo>
                    <a:lnTo>
                      <a:pt x="614" y="73"/>
                    </a:lnTo>
                    <a:lnTo>
                      <a:pt x="616" y="73"/>
                    </a:lnTo>
                    <a:close/>
                    <a:moveTo>
                      <a:pt x="614" y="73"/>
                    </a:moveTo>
                    <a:lnTo>
                      <a:pt x="616" y="73"/>
                    </a:lnTo>
                    <a:lnTo>
                      <a:pt x="614" y="73"/>
                    </a:lnTo>
                    <a:close/>
                    <a:moveTo>
                      <a:pt x="616" y="73"/>
                    </a:moveTo>
                    <a:lnTo>
                      <a:pt x="614" y="73"/>
                    </a:lnTo>
                    <a:lnTo>
                      <a:pt x="616" y="73"/>
                    </a:lnTo>
                    <a:close/>
                    <a:moveTo>
                      <a:pt x="622" y="67"/>
                    </a:moveTo>
                    <a:lnTo>
                      <a:pt x="622" y="69"/>
                    </a:lnTo>
                    <a:lnTo>
                      <a:pt x="622" y="67"/>
                    </a:lnTo>
                    <a:close/>
                    <a:moveTo>
                      <a:pt x="622" y="69"/>
                    </a:moveTo>
                    <a:lnTo>
                      <a:pt x="622" y="67"/>
                    </a:lnTo>
                    <a:lnTo>
                      <a:pt x="622" y="69"/>
                    </a:lnTo>
                    <a:close/>
                    <a:moveTo>
                      <a:pt x="624" y="67"/>
                    </a:moveTo>
                    <a:lnTo>
                      <a:pt x="622" y="67"/>
                    </a:lnTo>
                    <a:lnTo>
                      <a:pt x="624" y="67"/>
                    </a:lnTo>
                    <a:close/>
                    <a:moveTo>
                      <a:pt x="624" y="65"/>
                    </a:moveTo>
                    <a:lnTo>
                      <a:pt x="624" y="67"/>
                    </a:lnTo>
                    <a:lnTo>
                      <a:pt x="624" y="65"/>
                    </a:lnTo>
                    <a:close/>
                    <a:moveTo>
                      <a:pt x="624" y="67"/>
                    </a:moveTo>
                    <a:lnTo>
                      <a:pt x="622" y="67"/>
                    </a:lnTo>
                    <a:lnTo>
                      <a:pt x="624" y="67"/>
                    </a:lnTo>
                    <a:close/>
                    <a:moveTo>
                      <a:pt x="732" y="0"/>
                    </a:moveTo>
                    <a:lnTo>
                      <a:pt x="732" y="2"/>
                    </a:lnTo>
                    <a:lnTo>
                      <a:pt x="732" y="0"/>
                    </a:lnTo>
                    <a:close/>
                    <a:moveTo>
                      <a:pt x="689" y="19"/>
                    </a:moveTo>
                    <a:lnTo>
                      <a:pt x="689" y="21"/>
                    </a:lnTo>
                    <a:lnTo>
                      <a:pt x="689" y="19"/>
                    </a:lnTo>
                    <a:close/>
                    <a:moveTo>
                      <a:pt x="626" y="53"/>
                    </a:moveTo>
                    <a:lnTo>
                      <a:pt x="626" y="55"/>
                    </a:lnTo>
                    <a:lnTo>
                      <a:pt x="626" y="53"/>
                    </a:lnTo>
                    <a:close/>
                    <a:moveTo>
                      <a:pt x="693" y="17"/>
                    </a:moveTo>
                    <a:lnTo>
                      <a:pt x="693" y="15"/>
                    </a:lnTo>
                    <a:lnTo>
                      <a:pt x="693" y="17"/>
                    </a:lnTo>
                    <a:close/>
                    <a:moveTo>
                      <a:pt x="624" y="53"/>
                    </a:moveTo>
                    <a:lnTo>
                      <a:pt x="624" y="51"/>
                    </a:lnTo>
                    <a:lnTo>
                      <a:pt x="624" y="53"/>
                    </a:lnTo>
                    <a:close/>
                    <a:moveTo>
                      <a:pt x="624" y="51"/>
                    </a:moveTo>
                    <a:lnTo>
                      <a:pt x="624" y="53"/>
                    </a:lnTo>
                    <a:lnTo>
                      <a:pt x="622" y="53"/>
                    </a:lnTo>
                    <a:lnTo>
                      <a:pt x="622" y="51"/>
                    </a:lnTo>
                    <a:lnTo>
                      <a:pt x="624" y="51"/>
                    </a:lnTo>
                    <a:close/>
                    <a:moveTo>
                      <a:pt x="649" y="36"/>
                    </a:moveTo>
                    <a:lnTo>
                      <a:pt x="647" y="36"/>
                    </a:lnTo>
                    <a:lnTo>
                      <a:pt x="649" y="36"/>
                    </a:lnTo>
                    <a:close/>
                    <a:moveTo>
                      <a:pt x="649" y="26"/>
                    </a:moveTo>
                    <a:lnTo>
                      <a:pt x="649" y="28"/>
                    </a:lnTo>
                    <a:lnTo>
                      <a:pt x="649" y="26"/>
                    </a:lnTo>
                    <a:close/>
                    <a:moveTo>
                      <a:pt x="545" y="73"/>
                    </a:moveTo>
                    <a:lnTo>
                      <a:pt x="545" y="75"/>
                    </a:lnTo>
                    <a:lnTo>
                      <a:pt x="545" y="73"/>
                    </a:lnTo>
                    <a:close/>
                    <a:moveTo>
                      <a:pt x="572" y="57"/>
                    </a:moveTo>
                    <a:lnTo>
                      <a:pt x="572" y="59"/>
                    </a:lnTo>
                    <a:lnTo>
                      <a:pt x="572" y="57"/>
                    </a:lnTo>
                    <a:close/>
                    <a:moveTo>
                      <a:pt x="480" y="101"/>
                    </a:moveTo>
                    <a:lnTo>
                      <a:pt x="478" y="101"/>
                    </a:lnTo>
                    <a:lnTo>
                      <a:pt x="480" y="101"/>
                    </a:lnTo>
                    <a:close/>
                    <a:moveTo>
                      <a:pt x="482" y="100"/>
                    </a:moveTo>
                    <a:lnTo>
                      <a:pt x="480" y="100"/>
                    </a:lnTo>
                    <a:lnTo>
                      <a:pt x="482" y="100"/>
                    </a:lnTo>
                    <a:close/>
                    <a:moveTo>
                      <a:pt x="478" y="98"/>
                    </a:moveTo>
                    <a:lnTo>
                      <a:pt x="478" y="100"/>
                    </a:lnTo>
                    <a:lnTo>
                      <a:pt x="478" y="98"/>
                    </a:lnTo>
                    <a:close/>
                    <a:moveTo>
                      <a:pt x="482" y="86"/>
                    </a:moveTo>
                    <a:lnTo>
                      <a:pt x="484" y="86"/>
                    </a:lnTo>
                    <a:lnTo>
                      <a:pt x="482" y="86"/>
                    </a:lnTo>
                    <a:close/>
                    <a:moveTo>
                      <a:pt x="482" y="86"/>
                    </a:moveTo>
                    <a:lnTo>
                      <a:pt x="484" y="86"/>
                    </a:lnTo>
                    <a:lnTo>
                      <a:pt x="482" y="86"/>
                    </a:lnTo>
                    <a:close/>
                    <a:moveTo>
                      <a:pt x="536" y="57"/>
                    </a:moveTo>
                    <a:lnTo>
                      <a:pt x="538" y="57"/>
                    </a:lnTo>
                    <a:lnTo>
                      <a:pt x="536" y="57"/>
                    </a:lnTo>
                    <a:close/>
                    <a:moveTo>
                      <a:pt x="539" y="53"/>
                    </a:moveTo>
                    <a:lnTo>
                      <a:pt x="539" y="55"/>
                    </a:lnTo>
                    <a:lnTo>
                      <a:pt x="539" y="53"/>
                    </a:lnTo>
                    <a:close/>
                    <a:moveTo>
                      <a:pt x="493" y="71"/>
                    </a:moveTo>
                    <a:lnTo>
                      <a:pt x="493" y="73"/>
                    </a:lnTo>
                    <a:lnTo>
                      <a:pt x="493" y="7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29" name="Freeform 109"/>
              <p:cNvSpPr>
                <a:spLocks/>
              </p:cNvSpPr>
              <p:nvPr/>
            </p:nvSpPr>
            <p:spPr bwMode="auto">
              <a:xfrm>
                <a:off x="403630" y="3908184"/>
                <a:ext cx="141091" cy="125606"/>
              </a:xfrm>
              <a:custGeom>
                <a:avLst/>
                <a:gdLst>
                  <a:gd name="T0" fmla="*/ 76 w 82"/>
                  <a:gd name="T1" fmla="*/ 27 h 73"/>
                  <a:gd name="T2" fmla="*/ 73 w 82"/>
                  <a:gd name="T3" fmla="*/ 23 h 73"/>
                  <a:gd name="T4" fmla="*/ 67 w 82"/>
                  <a:gd name="T5" fmla="*/ 23 h 73"/>
                  <a:gd name="T6" fmla="*/ 63 w 82"/>
                  <a:gd name="T7" fmla="*/ 19 h 73"/>
                  <a:gd name="T8" fmla="*/ 59 w 82"/>
                  <a:gd name="T9" fmla="*/ 23 h 73"/>
                  <a:gd name="T10" fmla="*/ 57 w 82"/>
                  <a:gd name="T11" fmla="*/ 29 h 73"/>
                  <a:gd name="T12" fmla="*/ 59 w 82"/>
                  <a:gd name="T13" fmla="*/ 34 h 73"/>
                  <a:gd name="T14" fmla="*/ 55 w 82"/>
                  <a:gd name="T15" fmla="*/ 44 h 73"/>
                  <a:gd name="T16" fmla="*/ 57 w 82"/>
                  <a:gd name="T17" fmla="*/ 46 h 73"/>
                  <a:gd name="T18" fmla="*/ 59 w 82"/>
                  <a:gd name="T19" fmla="*/ 44 h 73"/>
                  <a:gd name="T20" fmla="*/ 59 w 82"/>
                  <a:gd name="T21" fmla="*/ 46 h 73"/>
                  <a:gd name="T22" fmla="*/ 59 w 82"/>
                  <a:gd name="T23" fmla="*/ 52 h 73"/>
                  <a:gd name="T24" fmla="*/ 61 w 82"/>
                  <a:gd name="T25" fmla="*/ 55 h 73"/>
                  <a:gd name="T26" fmla="*/ 61 w 82"/>
                  <a:gd name="T27" fmla="*/ 61 h 73"/>
                  <a:gd name="T28" fmla="*/ 57 w 82"/>
                  <a:gd name="T29" fmla="*/ 67 h 73"/>
                  <a:gd name="T30" fmla="*/ 52 w 82"/>
                  <a:gd name="T31" fmla="*/ 69 h 73"/>
                  <a:gd name="T32" fmla="*/ 48 w 82"/>
                  <a:gd name="T33" fmla="*/ 69 h 73"/>
                  <a:gd name="T34" fmla="*/ 44 w 82"/>
                  <a:gd name="T35" fmla="*/ 63 h 73"/>
                  <a:gd name="T36" fmla="*/ 42 w 82"/>
                  <a:gd name="T37" fmla="*/ 71 h 73"/>
                  <a:gd name="T38" fmla="*/ 38 w 82"/>
                  <a:gd name="T39" fmla="*/ 69 h 73"/>
                  <a:gd name="T40" fmla="*/ 34 w 82"/>
                  <a:gd name="T41" fmla="*/ 73 h 73"/>
                  <a:gd name="T42" fmla="*/ 30 w 82"/>
                  <a:gd name="T43" fmla="*/ 69 h 73"/>
                  <a:gd name="T44" fmla="*/ 27 w 82"/>
                  <a:gd name="T45" fmla="*/ 69 h 73"/>
                  <a:gd name="T46" fmla="*/ 21 w 82"/>
                  <a:gd name="T47" fmla="*/ 71 h 73"/>
                  <a:gd name="T48" fmla="*/ 15 w 82"/>
                  <a:gd name="T49" fmla="*/ 69 h 73"/>
                  <a:gd name="T50" fmla="*/ 7 w 82"/>
                  <a:gd name="T51" fmla="*/ 69 h 73"/>
                  <a:gd name="T52" fmla="*/ 3 w 82"/>
                  <a:gd name="T53" fmla="*/ 63 h 73"/>
                  <a:gd name="T54" fmla="*/ 2 w 82"/>
                  <a:gd name="T55" fmla="*/ 61 h 73"/>
                  <a:gd name="T56" fmla="*/ 7 w 82"/>
                  <a:gd name="T57" fmla="*/ 57 h 73"/>
                  <a:gd name="T58" fmla="*/ 7 w 82"/>
                  <a:gd name="T59" fmla="*/ 52 h 73"/>
                  <a:gd name="T60" fmla="*/ 5 w 82"/>
                  <a:gd name="T61" fmla="*/ 46 h 73"/>
                  <a:gd name="T62" fmla="*/ 3 w 82"/>
                  <a:gd name="T63" fmla="*/ 40 h 73"/>
                  <a:gd name="T64" fmla="*/ 2 w 82"/>
                  <a:gd name="T65" fmla="*/ 36 h 73"/>
                  <a:gd name="T66" fmla="*/ 7 w 82"/>
                  <a:gd name="T67" fmla="*/ 36 h 73"/>
                  <a:gd name="T68" fmla="*/ 11 w 82"/>
                  <a:gd name="T69" fmla="*/ 36 h 73"/>
                  <a:gd name="T70" fmla="*/ 13 w 82"/>
                  <a:gd name="T71" fmla="*/ 32 h 73"/>
                  <a:gd name="T72" fmla="*/ 21 w 82"/>
                  <a:gd name="T73" fmla="*/ 30 h 73"/>
                  <a:gd name="T74" fmla="*/ 25 w 82"/>
                  <a:gd name="T75" fmla="*/ 27 h 73"/>
                  <a:gd name="T76" fmla="*/ 28 w 82"/>
                  <a:gd name="T77" fmla="*/ 23 h 73"/>
                  <a:gd name="T78" fmla="*/ 30 w 82"/>
                  <a:gd name="T79" fmla="*/ 25 h 73"/>
                  <a:gd name="T80" fmla="*/ 34 w 82"/>
                  <a:gd name="T81" fmla="*/ 29 h 73"/>
                  <a:gd name="T82" fmla="*/ 36 w 82"/>
                  <a:gd name="T83" fmla="*/ 30 h 73"/>
                  <a:gd name="T84" fmla="*/ 40 w 82"/>
                  <a:gd name="T85" fmla="*/ 23 h 73"/>
                  <a:gd name="T86" fmla="*/ 46 w 82"/>
                  <a:gd name="T87" fmla="*/ 19 h 73"/>
                  <a:gd name="T88" fmla="*/ 44 w 82"/>
                  <a:gd name="T89" fmla="*/ 25 h 73"/>
                  <a:gd name="T90" fmla="*/ 52 w 82"/>
                  <a:gd name="T91" fmla="*/ 23 h 73"/>
                  <a:gd name="T92" fmla="*/ 53 w 82"/>
                  <a:gd name="T93" fmla="*/ 27 h 73"/>
                  <a:gd name="T94" fmla="*/ 55 w 82"/>
                  <a:gd name="T95" fmla="*/ 27 h 73"/>
                  <a:gd name="T96" fmla="*/ 59 w 82"/>
                  <a:gd name="T97" fmla="*/ 21 h 73"/>
                  <a:gd name="T98" fmla="*/ 63 w 82"/>
                  <a:gd name="T99" fmla="*/ 15 h 73"/>
                  <a:gd name="T100" fmla="*/ 63 w 82"/>
                  <a:gd name="T101" fmla="*/ 11 h 73"/>
                  <a:gd name="T102" fmla="*/ 63 w 82"/>
                  <a:gd name="T103" fmla="*/ 11 h 73"/>
                  <a:gd name="T104" fmla="*/ 59 w 82"/>
                  <a:gd name="T105" fmla="*/ 7 h 73"/>
                  <a:gd name="T106" fmla="*/ 63 w 82"/>
                  <a:gd name="T107" fmla="*/ 2 h 73"/>
                  <a:gd name="T108" fmla="*/ 73 w 82"/>
                  <a:gd name="T109" fmla="*/ 5 h 73"/>
                  <a:gd name="T110" fmla="*/ 78 w 82"/>
                  <a:gd name="T111" fmla="*/ 7 h 73"/>
                  <a:gd name="T112" fmla="*/ 78 w 82"/>
                  <a:gd name="T113" fmla="*/ 17 h 73"/>
                  <a:gd name="T114" fmla="*/ 80 w 82"/>
                  <a:gd name="T115" fmla="*/ 19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 h="73">
                    <a:moveTo>
                      <a:pt x="78" y="19"/>
                    </a:moveTo>
                    <a:lnTo>
                      <a:pt x="78" y="21"/>
                    </a:lnTo>
                    <a:lnTo>
                      <a:pt x="76" y="25"/>
                    </a:lnTo>
                    <a:lnTo>
                      <a:pt x="76" y="27"/>
                    </a:lnTo>
                    <a:lnTo>
                      <a:pt x="76" y="25"/>
                    </a:lnTo>
                    <a:lnTo>
                      <a:pt x="75" y="27"/>
                    </a:lnTo>
                    <a:lnTo>
                      <a:pt x="75" y="25"/>
                    </a:lnTo>
                    <a:lnTo>
                      <a:pt x="73" y="23"/>
                    </a:lnTo>
                    <a:lnTo>
                      <a:pt x="71" y="23"/>
                    </a:lnTo>
                    <a:lnTo>
                      <a:pt x="71" y="25"/>
                    </a:lnTo>
                    <a:lnTo>
                      <a:pt x="69" y="25"/>
                    </a:lnTo>
                    <a:lnTo>
                      <a:pt x="67" y="23"/>
                    </a:lnTo>
                    <a:lnTo>
                      <a:pt x="69" y="21"/>
                    </a:lnTo>
                    <a:lnTo>
                      <a:pt x="69" y="19"/>
                    </a:lnTo>
                    <a:lnTo>
                      <a:pt x="65" y="19"/>
                    </a:lnTo>
                    <a:lnTo>
                      <a:pt x="63" y="19"/>
                    </a:lnTo>
                    <a:lnTo>
                      <a:pt x="63" y="21"/>
                    </a:lnTo>
                    <a:lnTo>
                      <a:pt x="63" y="23"/>
                    </a:lnTo>
                    <a:lnTo>
                      <a:pt x="61" y="23"/>
                    </a:lnTo>
                    <a:lnTo>
                      <a:pt x="59" y="23"/>
                    </a:lnTo>
                    <a:lnTo>
                      <a:pt x="61" y="25"/>
                    </a:lnTo>
                    <a:lnTo>
                      <a:pt x="59" y="25"/>
                    </a:lnTo>
                    <a:lnTo>
                      <a:pt x="59" y="27"/>
                    </a:lnTo>
                    <a:lnTo>
                      <a:pt x="57" y="29"/>
                    </a:lnTo>
                    <a:lnTo>
                      <a:pt x="57" y="30"/>
                    </a:lnTo>
                    <a:lnTo>
                      <a:pt x="59" y="30"/>
                    </a:lnTo>
                    <a:lnTo>
                      <a:pt x="61" y="30"/>
                    </a:lnTo>
                    <a:lnTo>
                      <a:pt x="59" y="34"/>
                    </a:lnTo>
                    <a:lnTo>
                      <a:pt x="55" y="38"/>
                    </a:lnTo>
                    <a:lnTo>
                      <a:pt x="53" y="42"/>
                    </a:lnTo>
                    <a:lnTo>
                      <a:pt x="55" y="42"/>
                    </a:lnTo>
                    <a:lnTo>
                      <a:pt x="55" y="44"/>
                    </a:lnTo>
                    <a:lnTo>
                      <a:pt x="55" y="42"/>
                    </a:lnTo>
                    <a:lnTo>
                      <a:pt x="55" y="44"/>
                    </a:lnTo>
                    <a:lnTo>
                      <a:pt x="57" y="44"/>
                    </a:lnTo>
                    <a:lnTo>
                      <a:pt x="57" y="46"/>
                    </a:lnTo>
                    <a:lnTo>
                      <a:pt x="57" y="44"/>
                    </a:lnTo>
                    <a:lnTo>
                      <a:pt x="57" y="46"/>
                    </a:lnTo>
                    <a:lnTo>
                      <a:pt x="59" y="46"/>
                    </a:lnTo>
                    <a:lnTo>
                      <a:pt x="59" y="44"/>
                    </a:lnTo>
                    <a:lnTo>
                      <a:pt x="57" y="44"/>
                    </a:lnTo>
                    <a:lnTo>
                      <a:pt x="59" y="40"/>
                    </a:lnTo>
                    <a:lnTo>
                      <a:pt x="59" y="42"/>
                    </a:lnTo>
                    <a:lnTo>
                      <a:pt x="59" y="46"/>
                    </a:lnTo>
                    <a:lnTo>
                      <a:pt x="59" y="50"/>
                    </a:lnTo>
                    <a:lnTo>
                      <a:pt x="61" y="50"/>
                    </a:lnTo>
                    <a:lnTo>
                      <a:pt x="59" y="50"/>
                    </a:lnTo>
                    <a:lnTo>
                      <a:pt x="59" y="52"/>
                    </a:lnTo>
                    <a:lnTo>
                      <a:pt x="61" y="52"/>
                    </a:lnTo>
                    <a:lnTo>
                      <a:pt x="61" y="54"/>
                    </a:lnTo>
                    <a:lnTo>
                      <a:pt x="59" y="54"/>
                    </a:lnTo>
                    <a:lnTo>
                      <a:pt x="61" y="55"/>
                    </a:lnTo>
                    <a:lnTo>
                      <a:pt x="61" y="57"/>
                    </a:lnTo>
                    <a:lnTo>
                      <a:pt x="61" y="59"/>
                    </a:lnTo>
                    <a:lnTo>
                      <a:pt x="63" y="61"/>
                    </a:lnTo>
                    <a:lnTo>
                      <a:pt x="61" y="61"/>
                    </a:lnTo>
                    <a:lnTo>
                      <a:pt x="59" y="63"/>
                    </a:lnTo>
                    <a:lnTo>
                      <a:pt x="59" y="65"/>
                    </a:lnTo>
                    <a:lnTo>
                      <a:pt x="59" y="67"/>
                    </a:lnTo>
                    <a:lnTo>
                      <a:pt x="57" y="67"/>
                    </a:lnTo>
                    <a:lnTo>
                      <a:pt x="55" y="67"/>
                    </a:lnTo>
                    <a:lnTo>
                      <a:pt x="53" y="69"/>
                    </a:lnTo>
                    <a:lnTo>
                      <a:pt x="52" y="71"/>
                    </a:lnTo>
                    <a:lnTo>
                      <a:pt x="52" y="69"/>
                    </a:lnTo>
                    <a:lnTo>
                      <a:pt x="52" y="71"/>
                    </a:lnTo>
                    <a:lnTo>
                      <a:pt x="50" y="71"/>
                    </a:lnTo>
                    <a:lnTo>
                      <a:pt x="50" y="69"/>
                    </a:lnTo>
                    <a:lnTo>
                      <a:pt x="48" y="69"/>
                    </a:lnTo>
                    <a:lnTo>
                      <a:pt x="48" y="67"/>
                    </a:lnTo>
                    <a:lnTo>
                      <a:pt x="46" y="67"/>
                    </a:lnTo>
                    <a:lnTo>
                      <a:pt x="46" y="65"/>
                    </a:lnTo>
                    <a:lnTo>
                      <a:pt x="44" y="63"/>
                    </a:lnTo>
                    <a:lnTo>
                      <a:pt x="44" y="65"/>
                    </a:lnTo>
                    <a:lnTo>
                      <a:pt x="44" y="67"/>
                    </a:lnTo>
                    <a:lnTo>
                      <a:pt x="44" y="69"/>
                    </a:lnTo>
                    <a:lnTo>
                      <a:pt x="42" y="71"/>
                    </a:lnTo>
                    <a:lnTo>
                      <a:pt x="42" y="73"/>
                    </a:lnTo>
                    <a:lnTo>
                      <a:pt x="40" y="73"/>
                    </a:lnTo>
                    <a:lnTo>
                      <a:pt x="38" y="71"/>
                    </a:lnTo>
                    <a:lnTo>
                      <a:pt x="38" y="69"/>
                    </a:lnTo>
                    <a:lnTo>
                      <a:pt x="36" y="69"/>
                    </a:lnTo>
                    <a:lnTo>
                      <a:pt x="36" y="71"/>
                    </a:lnTo>
                    <a:lnTo>
                      <a:pt x="34" y="71"/>
                    </a:lnTo>
                    <a:lnTo>
                      <a:pt x="34" y="73"/>
                    </a:lnTo>
                    <a:lnTo>
                      <a:pt x="32" y="71"/>
                    </a:lnTo>
                    <a:lnTo>
                      <a:pt x="30" y="69"/>
                    </a:lnTo>
                    <a:lnTo>
                      <a:pt x="30" y="71"/>
                    </a:lnTo>
                    <a:lnTo>
                      <a:pt x="30" y="69"/>
                    </a:lnTo>
                    <a:lnTo>
                      <a:pt x="28" y="69"/>
                    </a:lnTo>
                    <a:lnTo>
                      <a:pt x="28" y="67"/>
                    </a:lnTo>
                    <a:lnTo>
                      <a:pt x="27" y="67"/>
                    </a:lnTo>
                    <a:lnTo>
                      <a:pt x="27" y="69"/>
                    </a:lnTo>
                    <a:lnTo>
                      <a:pt x="25" y="69"/>
                    </a:lnTo>
                    <a:lnTo>
                      <a:pt x="23" y="69"/>
                    </a:lnTo>
                    <a:lnTo>
                      <a:pt x="23" y="71"/>
                    </a:lnTo>
                    <a:lnTo>
                      <a:pt x="21" y="71"/>
                    </a:lnTo>
                    <a:lnTo>
                      <a:pt x="19" y="71"/>
                    </a:lnTo>
                    <a:lnTo>
                      <a:pt x="17" y="71"/>
                    </a:lnTo>
                    <a:lnTo>
                      <a:pt x="17" y="69"/>
                    </a:lnTo>
                    <a:lnTo>
                      <a:pt x="15" y="69"/>
                    </a:lnTo>
                    <a:lnTo>
                      <a:pt x="13" y="69"/>
                    </a:lnTo>
                    <a:lnTo>
                      <a:pt x="11" y="69"/>
                    </a:lnTo>
                    <a:lnTo>
                      <a:pt x="9" y="71"/>
                    </a:lnTo>
                    <a:lnTo>
                      <a:pt x="7" y="69"/>
                    </a:lnTo>
                    <a:lnTo>
                      <a:pt x="7" y="67"/>
                    </a:lnTo>
                    <a:lnTo>
                      <a:pt x="7" y="65"/>
                    </a:lnTo>
                    <a:lnTo>
                      <a:pt x="5" y="65"/>
                    </a:lnTo>
                    <a:lnTo>
                      <a:pt x="3" y="63"/>
                    </a:lnTo>
                    <a:lnTo>
                      <a:pt x="3" y="65"/>
                    </a:lnTo>
                    <a:lnTo>
                      <a:pt x="3" y="63"/>
                    </a:lnTo>
                    <a:lnTo>
                      <a:pt x="3" y="61"/>
                    </a:lnTo>
                    <a:lnTo>
                      <a:pt x="2" y="61"/>
                    </a:lnTo>
                    <a:lnTo>
                      <a:pt x="2" y="59"/>
                    </a:lnTo>
                    <a:lnTo>
                      <a:pt x="3" y="59"/>
                    </a:lnTo>
                    <a:lnTo>
                      <a:pt x="5" y="59"/>
                    </a:lnTo>
                    <a:lnTo>
                      <a:pt x="7" y="57"/>
                    </a:lnTo>
                    <a:lnTo>
                      <a:pt x="9" y="57"/>
                    </a:lnTo>
                    <a:lnTo>
                      <a:pt x="9" y="55"/>
                    </a:lnTo>
                    <a:lnTo>
                      <a:pt x="9" y="54"/>
                    </a:lnTo>
                    <a:lnTo>
                      <a:pt x="7" y="52"/>
                    </a:lnTo>
                    <a:lnTo>
                      <a:pt x="7" y="50"/>
                    </a:lnTo>
                    <a:lnTo>
                      <a:pt x="5" y="50"/>
                    </a:lnTo>
                    <a:lnTo>
                      <a:pt x="5" y="48"/>
                    </a:lnTo>
                    <a:lnTo>
                      <a:pt x="5" y="46"/>
                    </a:lnTo>
                    <a:lnTo>
                      <a:pt x="5" y="44"/>
                    </a:lnTo>
                    <a:lnTo>
                      <a:pt x="5" y="42"/>
                    </a:lnTo>
                    <a:lnTo>
                      <a:pt x="3" y="42"/>
                    </a:lnTo>
                    <a:lnTo>
                      <a:pt x="3" y="40"/>
                    </a:lnTo>
                    <a:lnTo>
                      <a:pt x="2" y="40"/>
                    </a:lnTo>
                    <a:lnTo>
                      <a:pt x="2" y="38"/>
                    </a:lnTo>
                    <a:lnTo>
                      <a:pt x="0" y="38"/>
                    </a:lnTo>
                    <a:lnTo>
                      <a:pt x="2" y="36"/>
                    </a:lnTo>
                    <a:lnTo>
                      <a:pt x="3" y="34"/>
                    </a:lnTo>
                    <a:lnTo>
                      <a:pt x="5" y="34"/>
                    </a:lnTo>
                    <a:lnTo>
                      <a:pt x="5" y="36"/>
                    </a:lnTo>
                    <a:lnTo>
                      <a:pt x="7" y="36"/>
                    </a:lnTo>
                    <a:lnTo>
                      <a:pt x="7" y="38"/>
                    </a:lnTo>
                    <a:lnTo>
                      <a:pt x="9" y="38"/>
                    </a:lnTo>
                    <a:lnTo>
                      <a:pt x="9" y="36"/>
                    </a:lnTo>
                    <a:lnTo>
                      <a:pt x="11" y="36"/>
                    </a:lnTo>
                    <a:lnTo>
                      <a:pt x="13" y="34"/>
                    </a:lnTo>
                    <a:lnTo>
                      <a:pt x="13" y="32"/>
                    </a:lnTo>
                    <a:lnTo>
                      <a:pt x="13" y="34"/>
                    </a:lnTo>
                    <a:lnTo>
                      <a:pt x="13" y="32"/>
                    </a:lnTo>
                    <a:lnTo>
                      <a:pt x="15" y="32"/>
                    </a:lnTo>
                    <a:lnTo>
                      <a:pt x="17" y="30"/>
                    </a:lnTo>
                    <a:lnTo>
                      <a:pt x="19" y="30"/>
                    </a:lnTo>
                    <a:lnTo>
                      <a:pt x="21" y="30"/>
                    </a:lnTo>
                    <a:lnTo>
                      <a:pt x="23" y="29"/>
                    </a:lnTo>
                    <a:lnTo>
                      <a:pt x="21" y="29"/>
                    </a:lnTo>
                    <a:lnTo>
                      <a:pt x="23" y="27"/>
                    </a:lnTo>
                    <a:lnTo>
                      <a:pt x="25" y="27"/>
                    </a:lnTo>
                    <a:lnTo>
                      <a:pt x="25" y="25"/>
                    </a:lnTo>
                    <a:lnTo>
                      <a:pt x="27" y="25"/>
                    </a:lnTo>
                    <a:lnTo>
                      <a:pt x="27" y="23"/>
                    </a:lnTo>
                    <a:lnTo>
                      <a:pt x="28" y="23"/>
                    </a:lnTo>
                    <a:lnTo>
                      <a:pt x="28" y="21"/>
                    </a:lnTo>
                    <a:lnTo>
                      <a:pt x="30" y="21"/>
                    </a:lnTo>
                    <a:lnTo>
                      <a:pt x="30" y="23"/>
                    </a:lnTo>
                    <a:lnTo>
                      <a:pt x="30" y="25"/>
                    </a:lnTo>
                    <a:lnTo>
                      <a:pt x="30" y="27"/>
                    </a:lnTo>
                    <a:lnTo>
                      <a:pt x="32" y="27"/>
                    </a:lnTo>
                    <a:lnTo>
                      <a:pt x="34" y="25"/>
                    </a:lnTo>
                    <a:lnTo>
                      <a:pt x="34" y="29"/>
                    </a:lnTo>
                    <a:lnTo>
                      <a:pt x="32" y="29"/>
                    </a:lnTo>
                    <a:lnTo>
                      <a:pt x="32" y="32"/>
                    </a:lnTo>
                    <a:lnTo>
                      <a:pt x="34" y="30"/>
                    </a:lnTo>
                    <a:lnTo>
                      <a:pt x="36" y="30"/>
                    </a:lnTo>
                    <a:lnTo>
                      <a:pt x="38" y="30"/>
                    </a:lnTo>
                    <a:lnTo>
                      <a:pt x="38" y="29"/>
                    </a:lnTo>
                    <a:lnTo>
                      <a:pt x="38" y="23"/>
                    </a:lnTo>
                    <a:lnTo>
                      <a:pt x="40" y="23"/>
                    </a:lnTo>
                    <a:lnTo>
                      <a:pt x="42" y="21"/>
                    </a:lnTo>
                    <a:lnTo>
                      <a:pt x="44" y="21"/>
                    </a:lnTo>
                    <a:lnTo>
                      <a:pt x="44" y="19"/>
                    </a:lnTo>
                    <a:lnTo>
                      <a:pt x="46" y="19"/>
                    </a:lnTo>
                    <a:lnTo>
                      <a:pt x="46" y="21"/>
                    </a:lnTo>
                    <a:lnTo>
                      <a:pt x="46" y="23"/>
                    </a:lnTo>
                    <a:lnTo>
                      <a:pt x="46" y="25"/>
                    </a:lnTo>
                    <a:lnTo>
                      <a:pt x="44" y="25"/>
                    </a:lnTo>
                    <a:lnTo>
                      <a:pt x="44" y="27"/>
                    </a:lnTo>
                    <a:lnTo>
                      <a:pt x="48" y="25"/>
                    </a:lnTo>
                    <a:lnTo>
                      <a:pt x="50" y="25"/>
                    </a:lnTo>
                    <a:lnTo>
                      <a:pt x="52" y="23"/>
                    </a:lnTo>
                    <a:lnTo>
                      <a:pt x="53" y="23"/>
                    </a:lnTo>
                    <a:lnTo>
                      <a:pt x="53" y="25"/>
                    </a:lnTo>
                    <a:lnTo>
                      <a:pt x="52" y="27"/>
                    </a:lnTo>
                    <a:lnTo>
                      <a:pt x="53" y="27"/>
                    </a:lnTo>
                    <a:lnTo>
                      <a:pt x="52" y="29"/>
                    </a:lnTo>
                    <a:lnTo>
                      <a:pt x="53" y="29"/>
                    </a:lnTo>
                    <a:lnTo>
                      <a:pt x="53" y="27"/>
                    </a:lnTo>
                    <a:lnTo>
                      <a:pt x="55" y="27"/>
                    </a:lnTo>
                    <a:lnTo>
                      <a:pt x="55" y="25"/>
                    </a:lnTo>
                    <a:lnTo>
                      <a:pt x="57" y="25"/>
                    </a:lnTo>
                    <a:lnTo>
                      <a:pt x="59" y="23"/>
                    </a:lnTo>
                    <a:lnTo>
                      <a:pt x="59" y="21"/>
                    </a:lnTo>
                    <a:lnTo>
                      <a:pt x="61" y="21"/>
                    </a:lnTo>
                    <a:lnTo>
                      <a:pt x="61" y="19"/>
                    </a:lnTo>
                    <a:lnTo>
                      <a:pt x="61" y="17"/>
                    </a:lnTo>
                    <a:lnTo>
                      <a:pt x="63" y="15"/>
                    </a:lnTo>
                    <a:lnTo>
                      <a:pt x="63" y="13"/>
                    </a:lnTo>
                    <a:lnTo>
                      <a:pt x="65" y="13"/>
                    </a:lnTo>
                    <a:lnTo>
                      <a:pt x="65" y="11"/>
                    </a:lnTo>
                    <a:lnTo>
                      <a:pt x="63" y="11"/>
                    </a:lnTo>
                    <a:lnTo>
                      <a:pt x="63" y="9"/>
                    </a:lnTo>
                    <a:lnTo>
                      <a:pt x="63" y="11"/>
                    </a:lnTo>
                    <a:lnTo>
                      <a:pt x="63" y="9"/>
                    </a:lnTo>
                    <a:lnTo>
                      <a:pt x="63" y="11"/>
                    </a:lnTo>
                    <a:lnTo>
                      <a:pt x="61" y="11"/>
                    </a:lnTo>
                    <a:lnTo>
                      <a:pt x="61" y="9"/>
                    </a:lnTo>
                    <a:lnTo>
                      <a:pt x="59" y="9"/>
                    </a:lnTo>
                    <a:lnTo>
                      <a:pt x="59" y="7"/>
                    </a:lnTo>
                    <a:lnTo>
                      <a:pt x="61" y="5"/>
                    </a:lnTo>
                    <a:lnTo>
                      <a:pt x="61" y="4"/>
                    </a:lnTo>
                    <a:lnTo>
                      <a:pt x="63" y="0"/>
                    </a:lnTo>
                    <a:lnTo>
                      <a:pt x="63" y="2"/>
                    </a:lnTo>
                    <a:lnTo>
                      <a:pt x="65" y="2"/>
                    </a:lnTo>
                    <a:lnTo>
                      <a:pt x="67" y="4"/>
                    </a:lnTo>
                    <a:lnTo>
                      <a:pt x="71" y="5"/>
                    </a:lnTo>
                    <a:lnTo>
                      <a:pt x="73" y="5"/>
                    </a:lnTo>
                    <a:lnTo>
                      <a:pt x="75" y="5"/>
                    </a:lnTo>
                    <a:lnTo>
                      <a:pt x="76" y="5"/>
                    </a:lnTo>
                    <a:lnTo>
                      <a:pt x="76" y="7"/>
                    </a:lnTo>
                    <a:lnTo>
                      <a:pt x="78" y="7"/>
                    </a:lnTo>
                    <a:lnTo>
                      <a:pt x="80" y="7"/>
                    </a:lnTo>
                    <a:lnTo>
                      <a:pt x="78" y="9"/>
                    </a:lnTo>
                    <a:lnTo>
                      <a:pt x="82" y="11"/>
                    </a:lnTo>
                    <a:lnTo>
                      <a:pt x="78" y="17"/>
                    </a:lnTo>
                    <a:lnTo>
                      <a:pt x="80" y="17"/>
                    </a:lnTo>
                    <a:lnTo>
                      <a:pt x="80" y="19"/>
                    </a:lnTo>
                    <a:lnTo>
                      <a:pt x="80" y="17"/>
                    </a:lnTo>
                    <a:lnTo>
                      <a:pt x="80" y="19"/>
                    </a:lnTo>
                    <a:lnTo>
                      <a:pt x="78"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0" name="Freeform 110"/>
              <p:cNvSpPr>
                <a:spLocks/>
              </p:cNvSpPr>
              <p:nvPr/>
            </p:nvSpPr>
            <p:spPr bwMode="auto">
              <a:xfrm>
                <a:off x="1301795" y="2732997"/>
                <a:ext cx="416391" cy="364773"/>
              </a:xfrm>
              <a:custGeom>
                <a:avLst/>
                <a:gdLst>
                  <a:gd name="T0" fmla="*/ 163 w 242"/>
                  <a:gd name="T1" fmla="*/ 60 h 212"/>
                  <a:gd name="T2" fmla="*/ 175 w 242"/>
                  <a:gd name="T3" fmla="*/ 64 h 212"/>
                  <a:gd name="T4" fmla="*/ 183 w 242"/>
                  <a:gd name="T5" fmla="*/ 71 h 212"/>
                  <a:gd name="T6" fmla="*/ 190 w 242"/>
                  <a:gd name="T7" fmla="*/ 66 h 212"/>
                  <a:gd name="T8" fmla="*/ 202 w 242"/>
                  <a:gd name="T9" fmla="*/ 73 h 212"/>
                  <a:gd name="T10" fmla="*/ 213 w 242"/>
                  <a:gd name="T11" fmla="*/ 69 h 212"/>
                  <a:gd name="T12" fmla="*/ 212 w 242"/>
                  <a:gd name="T13" fmla="*/ 58 h 212"/>
                  <a:gd name="T14" fmla="*/ 223 w 242"/>
                  <a:gd name="T15" fmla="*/ 48 h 212"/>
                  <a:gd name="T16" fmla="*/ 223 w 242"/>
                  <a:gd name="T17" fmla="*/ 58 h 212"/>
                  <a:gd name="T18" fmla="*/ 217 w 242"/>
                  <a:gd name="T19" fmla="*/ 68 h 212"/>
                  <a:gd name="T20" fmla="*/ 221 w 242"/>
                  <a:gd name="T21" fmla="*/ 75 h 212"/>
                  <a:gd name="T22" fmla="*/ 231 w 242"/>
                  <a:gd name="T23" fmla="*/ 69 h 212"/>
                  <a:gd name="T24" fmla="*/ 229 w 242"/>
                  <a:gd name="T25" fmla="*/ 81 h 212"/>
                  <a:gd name="T26" fmla="*/ 217 w 242"/>
                  <a:gd name="T27" fmla="*/ 91 h 212"/>
                  <a:gd name="T28" fmla="*/ 235 w 242"/>
                  <a:gd name="T29" fmla="*/ 100 h 212"/>
                  <a:gd name="T30" fmla="*/ 236 w 242"/>
                  <a:gd name="T31" fmla="*/ 110 h 212"/>
                  <a:gd name="T32" fmla="*/ 238 w 242"/>
                  <a:gd name="T33" fmla="*/ 118 h 212"/>
                  <a:gd name="T34" fmla="*/ 221 w 242"/>
                  <a:gd name="T35" fmla="*/ 129 h 212"/>
                  <a:gd name="T36" fmla="*/ 202 w 242"/>
                  <a:gd name="T37" fmla="*/ 135 h 212"/>
                  <a:gd name="T38" fmla="*/ 196 w 242"/>
                  <a:gd name="T39" fmla="*/ 146 h 212"/>
                  <a:gd name="T40" fmla="*/ 200 w 242"/>
                  <a:gd name="T41" fmla="*/ 158 h 212"/>
                  <a:gd name="T42" fmla="*/ 192 w 242"/>
                  <a:gd name="T43" fmla="*/ 171 h 212"/>
                  <a:gd name="T44" fmla="*/ 181 w 242"/>
                  <a:gd name="T45" fmla="*/ 181 h 212"/>
                  <a:gd name="T46" fmla="*/ 175 w 242"/>
                  <a:gd name="T47" fmla="*/ 202 h 212"/>
                  <a:gd name="T48" fmla="*/ 165 w 242"/>
                  <a:gd name="T49" fmla="*/ 200 h 212"/>
                  <a:gd name="T50" fmla="*/ 162 w 242"/>
                  <a:gd name="T51" fmla="*/ 189 h 212"/>
                  <a:gd name="T52" fmla="*/ 165 w 242"/>
                  <a:gd name="T53" fmla="*/ 187 h 212"/>
                  <a:gd name="T54" fmla="*/ 150 w 242"/>
                  <a:gd name="T55" fmla="*/ 173 h 212"/>
                  <a:gd name="T56" fmla="*/ 142 w 242"/>
                  <a:gd name="T57" fmla="*/ 169 h 212"/>
                  <a:gd name="T58" fmla="*/ 135 w 242"/>
                  <a:gd name="T59" fmla="*/ 164 h 212"/>
                  <a:gd name="T60" fmla="*/ 133 w 242"/>
                  <a:gd name="T61" fmla="*/ 152 h 212"/>
                  <a:gd name="T62" fmla="*/ 125 w 242"/>
                  <a:gd name="T63" fmla="*/ 141 h 212"/>
                  <a:gd name="T64" fmla="*/ 106 w 242"/>
                  <a:gd name="T65" fmla="*/ 148 h 212"/>
                  <a:gd name="T66" fmla="*/ 90 w 242"/>
                  <a:gd name="T67" fmla="*/ 148 h 212"/>
                  <a:gd name="T68" fmla="*/ 81 w 242"/>
                  <a:gd name="T69" fmla="*/ 131 h 212"/>
                  <a:gd name="T70" fmla="*/ 69 w 242"/>
                  <a:gd name="T71" fmla="*/ 112 h 212"/>
                  <a:gd name="T72" fmla="*/ 69 w 242"/>
                  <a:gd name="T73" fmla="*/ 98 h 212"/>
                  <a:gd name="T74" fmla="*/ 48 w 242"/>
                  <a:gd name="T75" fmla="*/ 106 h 212"/>
                  <a:gd name="T76" fmla="*/ 27 w 242"/>
                  <a:gd name="T77" fmla="*/ 87 h 212"/>
                  <a:gd name="T78" fmla="*/ 16 w 242"/>
                  <a:gd name="T79" fmla="*/ 81 h 212"/>
                  <a:gd name="T80" fmla="*/ 0 w 242"/>
                  <a:gd name="T81" fmla="*/ 87 h 212"/>
                  <a:gd name="T82" fmla="*/ 12 w 242"/>
                  <a:gd name="T83" fmla="*/ 69 h 212"/>
                  <a:gd name="T84" fmla="*/ 21 w 242"/>
                  <a:gd name="T85" fmla="*/ 73 h 212"/>
                  <a:gd name="T86" fmla="*/ 31 w 242"/>
                  <a:gd name="T87" fmla="*/ 71 h 212"/>
                  <a:gd name="T88" fmla="*/ 39 w 242"/>
                  <a:gd name="T89" fmla="*/ 62 h 212"/>
                  <a:gd name="T90" fmla="*/ 37 w 242"/>
                  <a:gd name="T91" fmla="*/ 52 h 212"/>
                  <a:gd name="T92" fmla="*/ 37 w 242"/>
                  <a:gd name="T93" fmla="*/ 43 h 212"/>
                  <a:gd name="T94" fmla="*/ 50 w 242"/>
                  <a:gd name="T95" fmla="*/ 37 h 212"/>
                  <a:gd name="T96" fmla="*/ 58 w 242"/>
                  <a:gd name="T97" fmla="*/ 29 h 212"/>
                  <a:gd name="T98" fmla="*/ 71 w 242"/>
                  <a:gd name="T99" fmla="*/ 25 h 212"/>
                  <a:gd name="T100" fmla="*/ 87 w 242"/>
                  <a:gd name="T101" fmla="*/ 16 h 212"/>
                  <a:gd name="T102" fmla="*/ 100 w 242"/>
                  <a:gd name="T103" fmla="*/ 8 h 212"/>
                  <a:gd name="T104" fmla="*/ 114 w 242"/>
                  <a:gd name="T105" fmla="*/ 6 h 212"/>
                  <a:gd name="T106" fmla="*/ 121 w 242"/>
                  <a:gd name="T107" fmla="*/ 2 h 212"/>
                  <a:gd name="T108" fmla="*/ 133 w 242"/>
                  <a:gd name="T109" fmla="*/ 10 h 212"/>
                  <a:gd name="T110" fmla="*/ 144 w 242"/>
                  <a:gd name="T111" fmla="*/ 8 h 212"/>
                  <a:gd name="T112" fmla="*/ 154 w 242"/>
                  <a:gd name="T113" fmla="*/ 2 h 212"/>
                  <a:gd name="T114" fmla="*/ 154 w 242"/>
                  <a:gd name="T115" fmla="*/ 14 h 212"/>
                  <a:gd name="T116" fmla="*/ 158 w 242"/>
                  <a:gd name="T117" fmla="*/ 27 h 212"/>
                  <a:gd name="T118" fmla="*/ 158 w 242"/>
                  <a:gd name="T119" fmla="*/ 43 h 212"/>
                  <a:gd name="T120" fmla="*/ 167 w 242"/>
                  <a:gd name="T121" fmla="*/ 5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2" h="212">
                    <a:moveTo>
                      <a:pt x="169" y="50"/>
                    </a:moveTo>
                    <a:lnTo>
                      <a:pt x="173" y="52"/>
                    </a:lnTo>
                    <a:lnTo>
                      <a:pt x="175" y="52"/>
                    </a:lnTo>
                    <a:lnTo>
                      <a:pt x="175" y="54"/>
                    </a:lnTo>
                    <a:lnTo>
                      <a:pt x="175" y="56"/>
                    </a:lnTo>
                    <a:lnTo>
                      <a:pt x="173" y="56"/>
                    </a:lnTo>
                    <a:lnTo>
                      <a:pt x="171" y="56"/>
                    </a:lnTo>
                    <a:lnTo>
                      <a:pt x="171" y="54"/>
                    </a:lnTo>
                    <a:lnTo>
                      <a:pt x="171" y="56"/>
                    </a:lnTo>
                    <a:lnTo>
                      <a:pt x="169" y="54"/>
                    </a:lnTo>
                    <a:lnTo>
                      <a:pt x="169" y="56"/>
                    </a:lnTo>
                    <a:lnTo>
                      <a:pt x="167" y="56"/>
                    </a:lnTo>
                    <a:lnTo>
                      <a:pt x="165" y="56"/>
                    </a:lnTo>
                    <a:lnTo>
                      <a:pt x="165" y="58"/>
                    </a:lnTo>
                    <a:lnTo>
                      <a:pt x="165" y="60"/>
                    </a:lnTo>
                    <a:lnTo>
                      <a:pt x="163" y="60"/>
                    </a:lnTo>
                    <a:lnTo>
                      <a:pt x="163" y="62"/>
                    </a:lnTo>
                    <a:lnTo>
                      <a:pt x="165" y="62"/>
                    </a:lnTo>
                    <a:lnTo>
                      <a:pt x="165" y="64"/>
                    </a:lnTo>
                    <a:lnTo>
                      <a:pt x="167" y="64"/>
                    </a:lnTo>
                    <a:lnTo>
                      <a:pt x="167" y="62"/>
                    </a:lnTo>
                    <a:lnTo>
                      <a:pt x="169" y="62"/>
                    </a:lnTo>
                    <a:lnTo>
                      <a:pt x="169" y="64"/>
                    </a:lnTo>
                    <a:lnTo>
                      <a:pt x="171" y="64"/>
                    </a:lnTo>
                    <a:lnTo>
                      <a:pt x="171" y="62"/>
                    </a:lnTo>
                    <a:lnTo>
                      <a:pt x="171" y="64"/>
                    </a:lnTo>
                    <a:lnTo>
                      <a:pt x="171" y="62"/>
                    </a:lnTo>
                    <a:lnTo>
                      <a:pt x="171" y="64"/>
                    </a:lnTo>
                    <a:lnTo>
                      <a:pt x="171" y="66"/>
                    </a:lnTo>
                    <a:lnTo>
                      <a:pt x="173" y="66"/>
                    </a:lnTo>
                    <a:lnTo>
                      <a:pt x="173" y="64"/>
                    </a:lnTo>
                    <a:lnTo>
                      <a:pt x="175" y="64"/>
                    </a:lnTo>
                    <a:lnTo>
                      <a:pt x="175" y="66"/>
                    </a:lnTo>
                    <a:lnTo>
                      <a:pt x="173" y="66"/>
                    </a:lnTo>
                    <a:lnTo>
                      <a:pt x="173" y="68"/>
                    </a:lnTo>
                    <a:lnTo>
                      <a:pt x="175" y="68"/>
                    </a:lnTo>
                    <a:lnTo>
                      <a:pt x="173" y="68"/>
                    </a:lnTo>
                    <a:lnTo>
                      <a:pt x="173" y="69"/>
                    </a:lnTo>
                    <a:lnTo>
                      <a:pt x="175" y="69"/>
                    </a:lnTo>
                    <a:lnTo>
                      <a:pt x="175" y="68"/>
                    </a:lnTo>
                    <a:lnTo>
                      <a:pt x="177" y="68"/>
                    </a:lnTo>
                    <a:lnTo>
                      <a:pt x="177" y="69"/>
                    </a:lnTo>
                    <a:lnTo>
                      <a:pt x="179" y="68"/>
                    </a:lnTo>
                    <a:lnTo>
                      <a:pt x="181" y="66"/>
                    </a:lnTo>
                    <a:lnTo>
                      <a:pt x="181" y="68"/>
                    </a:lnTo>
                    <a:lnTo>
                      <a:pt x="183" y="68"/>
                    </a:lnTo>
                    <a:lnTo>
                      <a:pt x="183" y="69"/>
                    </a:lnTo>
                    <a:lnTo>
                      <a:pt x="183" y="71"/>
                    </a:lnTo>
                    <a:lnTo>
                      <a:pt x="181" y="73"/>
                    </a:lnTo>
                    <a:lnTo>
                      <a:pt x="183" y="73"/>
                    </a:lnTo>
                    <a:lnTo>
                      <a:pt x="185" y="75"/>
                    </a:lnTo>
                    <a:lnTo>
                      <a:pt x="185" y="73"/>
                    </a:lnTo>
                    <a:lnTo>
                      <a:pt x="187" y="73"/>
                    </a:lnTo>
                    <a:lnTo>
                      <a:pt x="187" y="71"/>
                    </a:lnTo>
                    <a:lnTo>
                      <a:pt x="188" y="73"/>
                    </a:lnTo>
                    <a:lnTo>
                      <a:pt x="188" y="71"/>
                    </a:lnTo>
                    <a:lnTo>
                      <a:pt x="188" y="69"/>
                    </a:lnTo>
                    <a:lnTo>
                      <a:pt x="188" y="68"/>
                    </a:lnTo>
                    <a:lnTo>
                      <a:pt x="190" y="68"/>
                    </a:lnTo>
                    <a:lnTo>
                      <a:pt x="192" y="68"/>
                    </a:lnTo>
                    <a:lnTo>
                      <a:pt x="190" y="68"/>
                    </a:lnTo>
                    <a:lnTo>
                      <a:pt x="192" y="68"/>
                    </a:lnTo>
                    <a:lnTo>
                      <a:pt x="192" y="66"/>
                    </a:lnTo>
                    <a:lnTo>
                      <a:pt x="190" y="66"/>
                    </a:lnTo>
                    <a:lnTo>
                      <a:pt x="190" y="64"/>
                    </a:lnTo>
                    <a:lnTo>
                      <a:pt x="190" y="66"/>
                    </a:lnTo>
                    <a:lnTo>
                      <a:pt x="192" y="64"/>
                    </a:lnTo>
                    <a:lnTo>
                      <a:pt x="192" y="66"/>
                    </a:lnTo>
                    <a:lnTo>
                      <a:pt x="194" y="66"/>
                    </a:lnTo>
                    <a:lnTo>
                      <a:pt x="194" y="68"/>
                    </a:lnTo>
                    <a:lnTo>
                      <a:pt x="194" y="69"/>
                    </a:lnTo>
                    <a:lnTo>
                      <a:pt x="196" y="69"/>
                    </a:lnTo>
                    <a:lnTo>
                      <a:pt x="196" y="71"/>
                    </a:lnTo>
                    <a:lnTo>
                      <a:pt x="198" y="71"/>
                    </a:lnTo>
                    <a:lnTo>
                      <a:pt x="198" y="69"/>
                    </a:lnTo>
                    <a:lnTo>
                      <a:pt x="198" y="68"/>
                    </a:lnTo>
                    <a:lnTo>
                      <a:pt x="200" y="68"/>
                    </a:lnTo>
                    <a:lnTo>
                      <a:pt x="200" y="69"/>
                    </a:lnTo>
                    <a:lnTo>
                      <a:pt x="202" y="71"/>
                    </a:lnTo>
                    <a:lnTo>
                      <a:pt x="202" y="73"/>
                    </a:lnTo>
                    <a:lnTo>
                      <a:pt x="204" y="75"/>
                    </a:lnTo>
                    <a:lnTo>
                      <a:pt x="204" y="77"/>
                    </a:lnTo>
                    <a:lnTo>
                      <a:pt x="206" y="77"/>
                    </a:lnTo>
                    <a:lnTo>
                      <a:pt x="206" y="75"/>
                    </a:lnTo>
                    <a:lnTo>
                      <a:pt x="208" y="73"/>
                    </a:lnTo>
                    <a:lnTo>
                      <a:pt x="208" y="71"/>
                    </a:lnTo>
                    <a:lnTo>
                      <a:pt x="208" y="69"/>
                    </a:lnTo>
                    <a:lnTo>
                      <a:pt x="208" y="68"/>
                    </a:lnTo>
                    <a:lnTo>
                      <a:pt x="208" y="69"/>
                    </a:lnTo>
                    <a:lnTo>
                      <a:pt x="210" y="69"/>
                    </a:lnTo>
                    <a:lnTo>
                      <a:pt x="210" y="71"/>
                    </a:lnTo>
                    <a:lnTo>
                      <a:pt x="210" y="73"/>
                    </a:lnTo>
                    <a:lnTo>
                      <a:pt x="212" y="71"/>
                    </a:lnTo>
                    <a:lnTo>
                      <a:pt x="210" y="69"/>
                    </a:lnTo>
                    <a:lnTo>
                      <a:pt x="212" y="69"/>
                    </a:lnTo>
                    <a:lnTo>
                      <a:pt x="213" y="69"/>
                    </a:lnTo>
                    <a:lnTo>
                      <a:pt x="213" y="68"/>
                    </a:lnTo>
                    <a:lnTo>
                      <a:pt x="212" y="68"/>
                    </a:lnTo>
                    <a:lnTo>
                      <a:pt x="212" y="66"/>
                    </a:lnTo>
                    <a:lnTo>
                      <a:pt x="213" y="66"/>
                    </a:lnTo>
                    <a:lnTo>
                      <a:pt x="212" y="64"/>
                    </a:lnTo>
                    <a:lnTo>
                      <a:pt x="212" y="62"/>
                    </a:lnTo>
                    <a:lnTo>
                      <a:pt x="210" y="62"/>
                    </a:lnTo>
                    <a:lnTo>
                      <a:pt x="208" y="62"/>
                    </a:lnTo>
                    <a:lnTo>
                      <a:pt x="206" y="60"/>
                    </a:lnTo>
                    <a:lnTo>
                      <a:pt x="208" y="58"/>
                    </a:lnTo>
                    <a:lnTo>
                      <a:pt x="208" y="56"/>
                    </a:lnTo>
                    <a:lnTo>
                      <a:pt x="210" y="56"/>
                    </a:lnTo>
                    <a:lnTo>
                      <a:pt x="210" y="58"/>
                    </a:lnTo>
                    <a:lnTo>
                      <a:pt x="210" y="56"/>
                    </a:lnTo>
                    <a:lnTo>
                      <a:pt x="212" y="56"/>
                    </a:lnTo>
                    <a:lnTo>
                      <a:pt x="212" y="58"/>
                    </a:lnTo>
                    <a:lnTo>
                      <a:pt x="212" y="56"/>
                    </a:lnTo>
                    <a:lnTo>
                      <a:pt x="213" y="56"/>
                    </a:lnTo>
                    <a:lnTo>
                      <a:pt x="215" y="54"/>
                    </a:lnTo>
                    <a:lnTo>
                      <a:pt x="215" y="52"/>
                    </a:lnTo>
                    <a:lnTo>
                      <a:pt x="217" y="54"/>
                    </a:lnTo>
                    <a:lnTo>
                      <a:pt x="217" y="52"/>
                    </a:lnTo>
                    <a:lnTo>
                      <a:pt x="217" y="54"/>
                    </a:lnTo>
                    <a:lnTo>
                      <a:pt x="219" y="54"/>
                    </a:lnTo>
                    <a:lnTo>
                      <a:pt x="221" y="54"/>
                    </a:lnTo>
                    <a:lnTo>
                      <a:pt x="223" y="52"/>
                    </a:lnTo>
                    <a:lnTo>
                      <a:pt x="225" y="52"/>
                    </a:lnTo>
                    <a:lnTo>
                      <a:pt x="225" y="50"/>
                    </a:lnTo>
                    <a:lnTo>
                      <a:pt x="223" y="50"/>
                    </a:lnTo>
                    <a:lnTo>
                      <a:pt x="225" y="50"/>
                    </a:lnTo>
                    <a:lnTo>
                      <a:pt x="225" y="48"/>
                    </a:lnTo>
                    <a:lnTo>
                      <a:pt x="223" y="48"/>
                    </a:lnTo>
                    <a:lnTo>
                      <a:pt x="223" y="46"/>
                    </a:lnTo>
                    <a:lnTo>
                      <a:pt x="223" y="48"/>
                    </a:lnTo>
                    <a:lnTo>
                      <a:pt x="225" y="48"/>
                    </a:lnTo>
                    <a:lnTo>
                      <a:pt x="227" y="48"/>
                    </a:lnTo>
                    <a:lnTo>
                      <a:pt x="227" y="46"/>
                    </a:lnTo>
                    <a:lnTo>
                      <a:pt x="229" y="48"/>
                    </a:lnTo>
                    <a:lnTo>
                      <a:pt x="231" y="48"/>
                    </a:lnTo>
                    <a:lnTo>
                      <a:pt x="231" y="50"/>
                    </a:lnTo>
                    <a:lnTo>
                      <a:pt x="229" y="50"/>
                    </a:lnTo>
                    <a:lnTo>
                      <a:pt x="229" y="52"/>
                    </a:lnTo>
                    <a:lnTo>
                      <a:pt x="227" y="52"/>
                    </a:lnTo>
                    <a:lnTo>
                      <a:pt x="227" y="54"/>
                    </a:lnTo>
                    <a:lnTo>
                      <a:pt x="225" y="52"/>
                    </a:lnTo>
                    <a:lnTo>
                      <a:pt x="225" y="54"/>
                    </a:lnTo>
                    <a:lnTo>
                      <a:pt x="223" y="56"/>
                    </a:lnTo>
                    <a:lnTo>
                      <a:pt x="223" y="58"/>
                    </a:lnTo>
                    <a:lnTo>
                      <a:pt x="221" y="58"/>
                    </a:lnTo>
                    <a:lnTo>
                      <a:pt x="221" y="60"/>
                    </a:lnTo>
                    <a:lnTo>
                      <a:pt x="219" y="60"/>
                    </a:lnTo>
                    <a:lnTo>
                      <a:pt x="219" y="62"/>
                    </a:lnTo>
                    <a:lnTo>
                      <a:pt x="221" y="62"/>
                    </a:lnTo>
                    <a:lnTo>
                      <a:pt x="219" y="62"/>
                    </a:lnTo>
                    <a:lnTo>
                      <a:pt x="219" y="64"/>
                    </a:lnTo>
                    <a:lnTo>
                      <a:pt x="219" y="62"/>
                    </a:lnTo>
                    <a:lnTo>
                      <a:pt x="219" y="64"/>
                    </a:lnTo>
                    <a:lnTo>
                      <a:pt x="217" y="64"/>
                    </a:lnTo>
                    <a:lnTo>
                      <a:pt x="217" y="66"/>
                    </a:lnTo>
                    <a:lnTo>
                      <a:pt x="219" y="66"/>
                    </a:lnTo>
                    <a:lnTo>
                      <a:pt x="217" y="66"/>
                    </a:lnTo>
                    <a:lnTo>
                      <a:pt x="217" y="68"/>
                    </a:lnTo>
                    <a:lnTo>
                      <a:pt x="219" y="68"/>
                    </a:lnTo>
                    <a:lnTo>
                      <a:pt x="217" y="68"/>
                    </a:lnTo>
                    <a:lnTo>
                      <a:pt x="217" y="69"/>
                    </a:lnTo>
                    <a:lnTo>
                      <a:pt x="219" y="69"/>
                    </a:lnTo>
                    <a:lnTo>
                      <a:pt x="219" y="68"/>
                    </a:lnTo>
                    <a:lnTo>
                      <a:pt x="219" y="69"/>
                    </a:lnTo>
                    <a:lnTo>
                      <a:pt x="221" y="69"/>
                    </a:lnTo>
                    <a:lnTo>
                      <a:pt x="221" y="71"/>
                    </a:lnTo>
                    <a:lnTo>
                      <a:pt x="219" y="71"/>
                    </a:lnTo>
                    <a:lnTo>
                      <a:pt x="217" y="73"/>
                    </a:lnTo>
                    <a:lnTo>
                      <a:pt x="219" y="75"/>
                    </a:lnTo>
                    <a:lnTo>
                      <a:pt x="219" y="73"/>
                    </a:lnTo>
                    <a:lnTo>
                      <a:pt x="221" y="73"/>
                    </a:lnTo>
                    <a:lnTo>
                      <a:pt x="221" y="71"/>
                    </a:lnTo>
                    <a:lnTo>
                      <a:pt x="221" y="73"/>
                    </a:lnTo>
                    <a:lnTo>
                      <a:pt x="221" y="75"/>
                    </a:lnTo>
                    <a:lnTo>
                      <a:pt x="221" y="77"/>
                    </a:lnTo>
                    <a:lnTo>
                      <a:pt x="221" y="75"/>
                    </a:lnTo>
                    <a:lnTo>
                      <a:pt x="221" y="77"/>
                    </a:lnTo>
                    <a:lnTo>
                      <a:pt x="223" y="77"/>
                    </a:lnTo>
                    <a:lnTo>
                      <a:pt x="223" y="79"/>
                    </a:lnTo>
                    <a:lnTo>
                      <a:pt x="225" y="81"/>
                    </a:lnTo>
                    <a:lnTo>
                      <a:pt x="225" y="79"/>
                    </a:lnTo>
                    <a:lnTo>
                      <a:pt x="227" y="79"/>
                    </a:lnTo>
                    <a:lnTo>
                      <a:pt x="225" y="77"/>
                    </a:lnTo>
                    <a:lnTo>
                      <a:pt x="227" y="77"/>
                    </a:lnTo>
                    <a:lnTo>
                      <a:pt x="227" y="75"/>
                    </a:lnTo>
                    <a:lnTo>
                      <a:pt x="227" y="71"/>
                    </a:lnTo>
                    <a:lnTo>
                      <a:pt x="227" y="69"/>
                    </a:lnTo>
                    <a:lnTo>
                      <a:pt x="227" y="68"/>
                    </a:lnTo>
                    <a:lnTo>
                      <a:pt x="229" y="68"/>
                    </a:lnTo>
                    <a:lnTo>
                      <a:pt x="229" y="69"/>
                    </a:lnTo>
                    <a:lnTo>
                      <a:pt x="231" y="68"/>
                    </a:lnTo>
                    <a:lnTo>
                      <a:pt x="231" y="69"/>
                    </a:lnTo>
                    <a:lnTo>
                      <a:pt x="233" y="68"/>
                    </a:lnTo>
                    <a:lnTo>
                      <a:pt x="233" y="69"/>
                    </a:lnTo>
                    <a:lnTo>
                      <a:pt x="235" y="69"/>
                    </a:lnTo>
                    <a:lnTo>
                      <a:pt x="233" y="69"/>
                    </a:lnTo>
                    <a:lnTo>
                      <a:pt x="233" y="71"/>
                    </a:lnTo>
                    <a:lnTo>
                      <a:pt x="235" y="71"/>
                    </a:lnTo>
                    <a:lnTo>
                      <a:pt x="235" y="73"/>
                    </a:lnTo>
                    <a:lnTo>
                      <a:pt x="236" y="73"/>
                    </a:lnTo>
                    <a:lnTo>
                      <a:pt x="235" y="73"/>
                    </a:lnTo>
                    <a:lnTo>
                      <a:pt x="235" y="75"/>
                    </a:lnTo>
                    <a:lnTo>
                      <a:pt x="235" y="77"/>
                    </a:lnTo>
                    <a:lnTo>
                      <a:pt x="233" y="79"/>
                    </a:lnTo>
                    <a:lnTo>
                      <a:pt x="233" y="81"/>
                    </a:lnTo>
                    <a:lnTo>
                      <a:pt x="231" y="79"/>
                    </a:lnTo>
                    <a:lnTo>
                      <a:pt x="229" y="79"/>
                    </a:lnTo>
                    <a:lnTo>
                      <a:pt x="229" y="81"/>
                    </a:lnTo>
                    <a:lnTo>
                      <a:pt x="227" y="81"/>
                    </a:lnTo>
                    <a:lnTo>
                      <a:pt x="227" y="83"/>
                    </a:lnTo>
                    <a:lnTo>
                      <a:pt x="227" y="85"/>
                    </a:lnTo>
                    <a:lnTo>
                      <a:pt x="225" y="85"/>
                    </a:lnTo>
                    <a:lnTo>
                      <a:pt x="223" y="85"/>
                    </a:lnTo>
                    <a:lnTo>
                      <a:pt x="225" y="85"/>
                    </a:lnTo>
                    <a:lnTo>
                      <a:pt x="223" y="85"/>
                    </a:lnTo>
                    <a:lnTo>
                      <a:pt x="223" y="87"/>
                    </a:lnTo>
                    <a:lnTo>
                      <a:pt x="221" y="85"/>
                    </a:lnTo>
                    <a:lnTo>
                      <a:pt x="221" y="87"/>
                    </a:lnTo>
                    <a:lnTo>
                      <a:pt x="219" y="87"/>
                    </a:lnTo>
                    <a:lnTo>
                      <a:pt x="219" y="89"/>
                    </a:lnTo>
                    <a:lnTo>
                      <a:pt x="217" y="87"/>
                    </a:lnTo>
                    <a:lnTo>
                      <a:pt x="215" y="87"/>
                    </a:lnTo>
                    <a:lnTo>
                      <a:pt x="215" y="89"/>
                    </a:lnTo>
                    <a:lnTo>
                      <a:pt x="217" y="91"/>
                    </a:lnTo>
                    <a:lnTo>
                      <a:pt x="215" y="91"/>
                    </a:lnTo>
                    <a:lnTo>
                      <a:pt x="217" y="93"/>
                    </a:lnTo>
                    <a:lnTo>
                      <a:pt x="219" y="94"/>
                    </a:lnTo>
                    <a:lnTo>
                      <a:pt x="221" y="94"/>
                    </a:lnTo>
                    <a:lnTo>
                      <a:pt x="223" y="94"/>
                    </a:lnTo>
                    <a:lnTo>
                      <a:pt x="225" y="94"/>
                    </a:lnTo>
                    <a:lnTo>
                      <a:pt x="227" y="93"/>
                    </a:lnTo>
                    <a:lnTo>
                      <a:pt x="229" y="94"/>
                    </a:lnTo>
                    <a:lnTo>
                      <a:pt x="231" y="94"/>
                    </a:lnTo>
                    <a:lnTo>
                      <a:pt x="233" y="94"/>
                    </a:lnTo>
                    <a:lnTo>
                      <a:pt x="231" y="94"/>
                    </a:lnTo>
                    <a:lnTo>
                      <a:pt x="231" y="96"/>
                    </a:lnTo>
                    <a:lnTo>
                      <a:pt x="233" y="96"/>
                    </a:lnTo>
                    <a:lnTo>
                      <a:pt x="233" y="98"/>
                    </a:lnTo>
                    <a:lnTo>
                      <a:pt x="235" y="98"/>
                    </a:lnTo>
                    <a:lnTo>
                      <a:pt x="235" y="100"/>
                    </a:lnTo>
                    <a:lnTo>
                      <a:pt x="235" y="98"/>
                    </a:lnTo>
                    <a:lnTo>
                      <a:pt x="236" y="98"/>
                    </a:lnTo>
                    <a:lnTo>
                      <a:pt x="236" y="100"/>
                    </a:lnTo>
                    <a:lnTo>
                      <a:pt x="235" y="100"/>
                    </a:lnTo>
                    <a:lnTo>
                      <a:pt x="236" y="102"/>
                    </a:lnTo>
                    <a:lnTo>
                      <a:pt x="238" y="102"/>
                    </a:lnTo>
                    <a:lnTo>
                      <a:pt x="238" y="104"/>
                    </a:lnTo>
                    <a:lnTo>
                      <a:pt x="236" y="104"/>
                    </a:lnTo>
                    <a:lnTo>
                      <a:pt x="235" y="104"/>
                    </a:lnTo>
                    <a:lnTo>
                      <a:pt x="235" y="106"/>
                    </a:lnTo>
                    <a:lnTo>
                      <a:pt x="235" y="108"/>
                    </a:lnTo>
                    <a:lnTo>
                      <a:pt x="236" y="106"/>
                    </a:lnTo>
                    <a:lnTo>
                      <a:pt x="238" y="106"/>
                    </a:lnTo>
                    <a:lnTo>
                      <a:pt x="238" y="108"/>
                    </a:lnTo>
                    <a:lnTo>
                      <a:pt x="236" y="108"/>
                    </a:lnTo>
                    <a:lnTo>
                      <a:pt x="236" y="110"/>
                    </a:lnTo>
                    <a:lnTo>
                      <a:pt x="238" y="108"/>
                    </a:lnTo>
                    <a:lnTo>
                      <a:pt x="238" y="110"/>
                    </a:lnTo>
                    <a:lnTo>
                      <a:pt x="240" y="110"/>
                    </a:lnTo>
                    <a:lnTo>
                      <a:pt x="240" y="108"/>
                    </a:lnTo>
                    <a:lnTo>
                      <a:pt x="240" y="110"/>
                    </a:lnTo>
                    <a:lnTo>
                      <a:pt x="238" y="110"/>
                    </a:lnTo>
                    <a:lnTo>
                      <a:pt x="240" y="112"/>
                    </a:lnTo>
                    <a:lnTo>
                      <a:pt x="240" y="114"/>
                    </a:lnTo>
                    <a:lnTo>
                      <a:pt x="240" y="116"/>
                    </a:lnTo>
                    <a:lnTo>
                      <a:pt x="242" y="116"/>
                    </a:lnTo>
                    <a:lnTo>
                      <a:pt x="242" y="118"/>
                    </a:lnTo>
                    <a:lnTo>
                      <a:pt x="240" y="116"/>
                    </a:lnTo>
                    <a:lnTo>
                      <a:pt x="240" y="118"/>
                    </a:lnTo>
                    <a:lnTo>
                      <a:pt x="240" y="116"/>
                    </a:lnTo>
                    <a:lnTo>
                      <a:pt x="240" y="118"/>
                    </a:lnTo>
                    <a:lnTo>
                      <a:pt x="238" y="118"/>
                    </a:lnTo>
                    <a:lnTo>
                      <a:pt x="238" y="119"/>
                    </a:lnTo>
                    <a:lnTo>
                      <a:pt x="236" y="119"/>
                    </a:lnTo>
                    <a:lnTo>
                      <a:pt x="235" y="119"/>
                    </a:lnTo>
                    <a:lnTo>
                      <a:pt x="235" y="121"/>
                    </a:lnTo>
                    <a:lnTo>
                      <a:pt x="233" y="121"/>
                    </a:lnTo>
                    <a:lnTo>
                      <a:pt x="231" y="121"/>
                    </a:lnTo>
                    <a:lnTo>
                      <a:pt x="229" y="121"/>
                    </a:lnTo>
                    <a:lnTo>
                      <a:pt x="229" y="123"/>
                    </a:lnTo>
                    <a:lnTo>
                      <a:pt x="227" y="125"/>
                    </a:lnTo>
                    <a:lnTo>
                      <a:pt x="229" y="125"/>
                    </a:lnTo>
                    <a:lnTo>
                      <a:pt x="227" y="125"/>
                    </a:lnTo>
                    <a:lnTo>
                      <a:pt x="227" y="127"/>
                    </a:lnTo>
                    <a:lnTo>
                      <a:pt x="225" y="127"/>
                    </a:lnTo>
                    <a:lnTo>
                      <a:pt x="223" y="127"/>
                    </a:lnTo>
                    <a:lnTo>
                      <a:pt x="223" y="129"/>
                    </a:lnTo>
                    <a:lnTo>
                      <a:pt x="221" y="129"/>
                    </a:lnTo>
                    <a:lnTo>
                      <a:pt x="221" y="131"/>
                    </a:lnTo>
                    <a:lnTo>
                      <a:pt x="219" y="131"/>
                    </a:lnTo>
                    <a:lnTo>
                      <a:pt x="217" y="131"/>
                    </a:lnTo>
                    <a:lnTo>
                      <a:pt x="215" y="131"/>
                    </a:lnTo>
                    <a:lnTo>
                      <a:pt x="213" y="133"/>
                    </a:lnTo>
                    <a:lnTo>
                      <a:pt x="212" y="133"/>
                    </a:lnTo>
                    <a:lnTo>
                      <a:pt x="210" y="135"/>
                    </a:lnTo>
                    <a:lnTo>
                      <a:pt x="210" y="137"/>
                    </a:lnTo>
                    <a:lnTo>
                      <a:pt x="208" y="137"/>
                    </a:lnTo>
                    <a:lnTo>
                      <a:pt x="206" y="137"/>
                    </a:lnTo>
                    <a:lnTo>
                      <a:pt x="206" y="135"/>
                    </a:lnTo>
                    <a:lnTo>
                      <a:pt x="204" y="135"/>
                    </a:lnTo>
                    <a:lnTo>
                      <a:pt x="204" y="133"/>
                    </a:lnTo>
                    <a:lnTo>
                      <a:pt x="204" y="135"/>
                    </a:lnTo>
                    <a:lnTo>
                      <a:pt x="204" y="133"/>
                    </a:lnTo>
                    <a:lnTo>
                      <a:pt x="202" y="135"/>
                    </a:lnTo>
                    <a:lnTo>
                      <a:pt x="200" y="135"/>
                    </a:lnTo>
                    <a:lnTo>
                      <a:pt x="202" y="135"/>
                    </a:lnTo>
                    <a:lnTo>
                      <a:pt x="200" y="137"/>
                    </a:lnTo>
                    <a:lnTo>
                      <a:pt x="198" y="137"/>
                    </a:lnTo>
                    <a:lnTo>
                      <a:pt x="198" y="135"/>
                    </a:lnTo>
                    <a:lnTo>
                      <a:pt x="196" y="135"/>
                    </a:lnTo>
                    <a:lnTo>
                      <a:pt x="194" y="135"/>
                    </a:lnTo>
                    <a:lnTo>
                      <a:pt x="192" y="135"/>
                    </a:lnTo>
                    <a:lnTo>
                      <a:pt x="192" y="137"/>
                    </a:lnTo>
                    <a:lnTo>
                      <a:pt x="192" y="139"/>
                    </a:lnTo>
                    <a:lnTo>
                      <a:pt x="194" y="139"/>
                    </a:lnTo>
                    <a:lnTo>
                      <a:pt x="194" y="141"/>
                    </a:lnTo>
                    <a:lnTo>
                      <a:pt x="194" y="143"/>
                    </a:lnTo>
                    <a:lnTo>
                      <a:pt x="194" y="144"/>
                    </a:lnTo>
                    <a:lnTo>
                      <a:pt x="194" y="146"/>
                    </a:lnTo>
                    <a:lnTo>
                      <a:pt x="196" y="146"/>
                    </a:lnTo>
                    <a:lnTo>
                      <a:pt x="196" y="148"/>
                    </a:lnTo>
                    <a:lnTo>
                      <a:pt x="198" y="148"/>
                    </a:lnTo>
                    <a:lnTo>
                      <a:pt x="196" y="148"/>
                    </a:lnTo>
                    <a:lnTo>
                      <a:pt x="196" y="150"/>
                    </a:lnTo>
                    <a:lnTo>
                      <a:pt x="198" y="150"/>
                    </a:lnTo>
                    <a:lnTo>
                      <a:pt x="198" y="152"/>
                    </a:lnTo>
                    <a:lnTo>
                      <a:pt x="198" y="150"/>
                    </a:lnTo>
                    <a:lnTo>
                      <a:pt x="198" y="152"/>
                    </a:lnTo>
                    <a:lnTo>
                      <a:pt x="198" y="154"/>
                    </a:lnTo>
                    <a:lnTo>
                      <a:pt x="198" y="156"/>
                    </a:lnTo>
                    <a:lnTo>
                      <a:pt x="198" y="158"/>
                    </a:lnTo>
                    <a:lnTo>
                      <a:pt x="200" y="158"/>
                    </a:lnTo>
                    <a:lnTo>
                      <a:pt x="200" y="156"/>
                    </a:lnTo>
                    <a:lnTo>
                      <a:pt x="202" y="156"/>
                    </a:lnTo>
                    <a:lnTo>
                      <a:pt x="202" y="158"/>
                    </a:lnTo>
                    <a:lnTo>
                      <a:pt x="200" y="158"/>
                    </a:lnTo>
                    <a:lnTo>
                      <a:pt x="198" y="160"/>
                    </a:lnTo>
                    <a:lnTo>
                      <a:pt x="198" y="162"/>
                    </a:lnTo>
                    <a:lnTo>
                      <a:pt x="196" y="162"/>
                    </a:lnTo>
                    <a:lnTo>
                      <a:pt x="198" y="162"/>
                    </a:lnTo>
                    <a:lnTo>
                      <a:pt x="198" y="164"/>
                    </a:lnTo>
                    <a:lnTo>
                      <a:pt x="196" y="164"/>
                    </a:lnTo>
                    <a:lnTo>
                      <a:pt x="196" y="166"/>
                    </a:lnTo>
                    <a:lnTo>
                      <a:pt x="196" y="167"/>
                    </a:lnTo>
                    <a:lnTo>
                      <a:pt x="196" y="169"/>
                    </a:lnTo>
                    <a:lnTo>
                      <a:pt x="194" y="169"/>
                    </a:lnTo>
                    <a:lnTo>
                      <a:pt x="192" y="169"/>
                    </a:lnTo>
                    <a:lnTo>
                      <a:pt x="192" y="171"/>
                    </a:lnTo>
                    <a:lnTo>
                      <a:pt x="192" y="169"/>
                    </a:lnTo>
                    <a:lnTo>
                      <a:pt x="192" y="171"/>
                    </a:lnTo>
                    <a:lnTo>
                      <a:pt x="192" y="169"/>
                    </a:lnTo>
                    <a:lnTo>
                      <a:pt x="192" y="171"/>
                    </a:lnTo>
                    <a:lnTo>
                      <a:pt x="192" y="173"/>
                    </a:lnTo>
                    <a:lnTo>
                      <a:pt x="190" y="173"/>
                    </a:lnTo>
                    <a:lnTo>
                      <a:pt x="188" y="173"/>
                    </a:lnTo>
                    <a:lnTo>
                      <a:pt x="188" y="175"/>
                    </a:lnTo>
                    <a:lnTo>
                      <a:pt x="187" y="175"/>
                    </a:lnTo>
                    <a:lnTo>
                      <a:pt x="185" y="175"/>
                    </a:lnTo>
                    <a:lnTo>
                      <a:pt x="185" y="177"/>
                    </a:lnTo>
                    <a:lnTo>
                      <a:pt x="183" y="177"/>
                    </a:lnTo>
                    <a:lnTo>
                      <a:pt x="185" y="179"/>
                    </a:lnTo>
                    <a:lnTo>
                      <a:pt x="183" y="179"/>
                    </a:lnTo>
                    <a:lnTo>
                      <a:pt x="183" y="181"/>
                    </a:lnTo>
                    <a:lnTo>
                      <a:pt x="181" y="181"/>
                    </a:lnTo>
                    <a:lnTo>
                      <a:pt x="183" y="181"/>
                    </a:lnTo>
                    <a:lnTo>
                      <a:pt x="183" y="183"/>
                    </a:lnTo>
                    <a:lnTo>
                      <a:pt x="181" y="183"/>
                    </a:lnTo>
                    <a:lnTo>
                      <a:pt x="181" y="181"/>
                    </a:lnTo>
                    <a:lnTo>
                      <a:pt x="181" y="183"/>
                    </a:lnTo>
                    <a:lnTo>
                      <a:pt x="179" y="183"/>
                    </a:lnTo>
                    <a:lnTo>
                      <a:pt x="179" y="185"/>
                    </a:lnTo>
                    <a:lnTo>
                      <a:pt x="179" y="187"/>
                    </a:lnTo>
                    <a:lnTo>
                      <a:pt x="179" y="189"/>
                    </a:lnTo>
                    <a:lnTo>
                      <a:pt x="179" y="191"/>
                    </a:lnTo>
                    <a:lnTo>
                      <a:pt x="179" y="192"/>
                    </a:lnTo>
                    <a:lnTo>
                      <a:pt x="177" y="192"/>
                    </a:lnTo>
                    <a:lnTo>
                      <a:pt x="177" y="194"/>
                    </a:lnTo>
                    <a:lnTo>
                      <a:pt x="175" y="194"/>
                    </a:lnTo>
                    <a:lnTo>
                      <a:pt x="177" y="194"/>
                    </a:lnTo>
                    <a:lnTo>
                      <a:pt x="177" y="196"/>
                    </a:lnTo>
                    <a:lnTo>
                      <a:pt x="175" y="196"/>
                    </a:lnTo>
                    <a:lnTo>
                      <a:pt x="175" y="198"/>
                    </a:lnTo>
                    <a:lnTo>
                      <a:pt x="175" y="200"/>
                    </a:lnTo>
                    <a:lnTo>
                      <a:pt x="175" y="202"/>
                    </a:lnTo>
                    <a:lnTo>
                      <a:pt x="173" y="202"/>
                    </a:lnTo>
                    <a:lnTo>
                      <a:pt x="173" y="204"/>
                    </a:lnTo>
                    <a:lnTo>
                      <a:pt x="173" y="206"/>
                    </a:lnTo>
                    <a:lnTo>
                      <a:pt x="173" y="208"/>
                    </a:lnTo>
                    <a:lnTo>
                      <a:pt x="171" y="208"/>
                    </a:lnTo>
                    <a:lnTo>
                      <a:pt x="169" y="208"/>
                    </a:lnTo>
                    <a:lnTo>
                      <a:pt x="167" y="210"/>
                    </a:lnTo>
                    <a:lnTo>
                      <a:pt x="167" y="212"/>
                    </a:lnTo>
                    <a:lnTo>
                      <a:pt x="165" y="212"/>
                    </a:lnTo>
                    <a:lnTo>
                      <a:pt x="165" y="210"/>
                    </a:lnTo>
                    <a:lnTo>
                      <a:pt x="167" y="210"/>
                    </a:lnTo>
                    <a:lnTo>
                      <a:pt x="165" y="208"/>
                    </a:lnTo>
                    <a:lnTo>
                      <a:pt x="165" y="206"/>
                    </a:lnTo>
                    <a:lnTo>
                      <a:pt x="167" y="204"/>
                    </a:lnTo>
                    <a:lnTo>
                      <a:pt x="165" y="202"/>
                    </a:lnTo>
                    <a:lnTo>
                      <a:pt x="165" y="200"/>
                    </a:lnTo>
                    <a:lnTo>
                      <a:pt x="165" y="202"/>
                    </a:lnTo>
                    <a:lnTo>
                      <a:pt x="163" y="202"/>
                    </a:lnTo>
                    <a:lnTo>
                      <a:pt x="162" y="202"/>
                    </a:lnTo>
                    <a:lnTo>
                      <a:pt x="162" y="200"/>
                    </a:lnTo>
                    <a:lnTo>
                      <a:pt x="160" y="202"/>
                    </a:lnTo>
                    <a:lnTo>
                      <a:pt x="160" y="200"/>
                    </a:lnTo>
                    <a:lnTo>
                      <a:pt x="162" y="200"/>
                    </a:lnTo>
                    <a:lnTo>
                      <a:pt x="162" y="198"/>
                    </a:lnTo>
                    <a:lnTo>
                      <a:pt x="162" y="196"/>
                    </a:lnTo>
                    <a:lnTo>
                      <a:pt x="162" y="194"/>
                    </a:lnTo>
                    <a:lnTo>
                      <a:pt x="160" y="194"/>
                    </a:lnTo>
                    <a:lnTo>
                      <a:pt x="160" y="192"/>
                    </a:lnTo>
                    <a:lnTo>
                      <a:pt x="160" y="191"/>
                    </a:lnTo>
                    <a:lnTo>
                      <a:pt x="162" y="191"/>
                    </a:lnTo>
                    <a:lnTo>
                      <a:pt x="160" y="191"/>
                    </a:lnTo>
                    <a:lnTo>
                      <a:pt x="162" y="189"/>
                    </a:lnTo>
                    <a:lnTo>
                      <a:pt x="162" y="191"/>
                    </a:lnTo>
                    <a:lnTo>
                      <a:pt x="163" y="191"/>
                    </a:lnTo>
                    <a:lnTo>
                      <a:pt x="162" y="191"/>
                    </a:lnTo>
                    <a:lnTo>
                      <a:pt x="163" y="191"/>
                    </a:lnTo>
                    <a:lnTo>
                      <a:pt x="163" y="192"/>
                    </a:lnTo>
                    <a:lnTo>
                      <a:pt x="163" y="191"/>
                    </a:lnTo>
                    <a:lnTo>
                      <a:pt x="165" y="191"/>
                    </a:lnTo>
                    <a:lnTo>
                      <a:pt x="167" y="191"/>
                    </a:lnTo>
                    <a:lnTo>
                      <a:pt x="167" y="189"/>
                    </a:lnTo>
                    <a:lnTo>
                      <a:pt x="169" y="189"/>
                    </a:lnTo>
                    <a:lnTo>
                      <a:pt x="167" y="189"/>
                    </a:lnTo>
                    <a:lnTo>
                      <a:pt x="167" y="187"/>
                    </a:lnTo>
                    <a:lnTo>
                      <a:pt x="167" y="185"/>
                    </a:lnTo>
                    <a:lnTo>
                      <a:pt x="167" y="183"/>
                    </a:lnTo>
                    <a:lnTo>
                      <a:pt x="165" y="185"/>
                    </a:lnTo>
                    <a:lnTo>
                      <a:pt x="165" y="187"/>
                    </a:lnTo>
                    <a:lnTo>
                      <a:pt x="163" y="187"/>
                    </a:lnTo>
                    <a:lnTo>
                      <a:pt x="162" y="187"/>
                    </a:lnTo>
                    <a:lnTo>
                      <a:pt x="160" y="187"/>
                    </a:lnTo>
                    <a:lnTo>
                      <a:pt x="160" y="185"/>
                    </a:lnTo>
                    <a:lnTo>
                      <a:pt x="162" y="185"/>
                    </a:lnTo>
                    <a:lnTo>
                      <a:pt x="162" y="183"/>
                    </a:lnTo>
                    <a:lnTo>
                      <a:pt x="160" y="183"/>
                    </a:lnTo>
                    <a:lnTo>
                      <a:pt x="160" y="181"/>
                    </a:lnTo>
                    <a:lnTo>
                      <a:pt x="158" y="179"/>
                    </a:lnTo>
                    <a:lnTo>
                      <a:pt x="156" y="179"/>
                    </a:lnTo>
                    <a:lnTo>
                      <a:pt x="156" y="177"/>
                    </a:lnTo>
                    <a:lnTo>
                      <a:pt x="154" y="179"/>
                    </a:lnTo>
                    <a:lnTo>
                      <a:pt x="154" y="177"/>
                    </a:lnTo>
                    <a:lnTo>
                      <a:pt x="152" y="177"/>
                    </a:lnTo>
                    <a:lnTo>
                      <a:pt x="152" y="175"/>
                    </a:lnTo>
                    <a:lnTo>
                      <a:pt x="150" y="173"/>
                    </a:lnTo>
                    <a:lnTo>
                      <a:pt x="152" y="173"/>
                    </a:lnTo>
                    <a:lnTo>
                      <a:pt x="152" y="169"/>
                    </a:lnTo>
                    <a:lnTo>
                      <a:pt x="154" y="169"/>
                    </a:lnTo>
                    <a:lnTo>
                      <a:pt x="154" y="167"/>
                    </a:lnTo>
                    <a:lnTo>
                      <a:pt x="152" y="167"/>
                    </a:lnTo>
                    <a:lnTo>
                      <a:pt x="150" y="167"/>
                    </a:lnTo>
                    <a:lnTo>
                      <a:pt x="150" y="169"/>
                    </a:lnTo>
                    <a:lnTo>
                      <a:pt x="148" y="169"/>
                    </a:lnTo>
                    <a:lnTo>
                      <a:pt x="148" y="171"/>
                    </a:lnTo>
                    <a:lnTo>
                      <a:pt x="148" y="169"/>
                    </a:lnTo>
                    <a:lnTo>
                      <a:pt x="148" y="167"/>
                    </a:lnTo>
                    <a:lnTo>
                      <a:pt x="146" y="167"/>
                    </a:lnTo>
                    <a:lnTo>
                      <a:pt x="144" y="166"/>
                    </a:lnTo>
                    <a:lnTo>
                      <a:pt x="144" y="167"/>
                    </a:lnTo>
                    <a:lnTo>
                      <a:pt x="142" y="167"/>
                    </a:lnTo>
                    <a:lnTo>
                      <a:pt x="142" y="169"/>
                    </a:lnTo>
                    <a:lnTo>
                      <a:pt x="140" y="169"/>
                    </a:lnTo>
                    <a:lnTo>
                      <a:pt x="139" y="169"/>
                    </a:lnTo>
                    <a:lnTo>
                      <a:pt x="140" y="169"/>
                    </a:lnTo>
                    <a:lnTo>
                      <a:pt x="140" y="167"/>
                    </a:lnTo>
                    <a:lnTo>
                      <a:pt x="139" y="167"/>
                    </a:lnTo>
                    <a:lnTo>
                      <a:pt x="139" y="169"/>
                    </a:lnTo>
                    <a:lnTo>
                      <a:pt x="137" y="171"/>
                    </a:lnTo>
                    <a:lnTo>
                      <a:pt x="137" y="169"/>
                    </a:lnTo>
                    <a:lnTo>
                      <a:pt x="137" y="167"/>
                    </a:lnTo>
                    <a:lnTo>
                      <a:pt x="139" y="166"/>
                    </a:lnTo>
                    <a:lnTo>
                      <a:pt x="139" y="164"/>
                    </a:lnTo>
                    <a:lnTo>
                      <a:pt x="139" y="166"/>
                    </a:lnTo>
                    <a:lnTo>
                      <a:pt x="137" y="166"/>
                    </a:lnTo>
                    <a:lnTo>
                      <a:pt x="137" y="164"/>
                    </a:lnTo>
                    <a:lnTo>
                      <a:pt x="135" y="166"/>
                    </a:lnTo>
                    <a:lnTo>
                      <a:pt x="135" y="164"/>
                    </a:lnTo>
                    <a:lnTo>
                      <a:pt x="137" y="164"/>
                    </a:lnTo>
                    <a:lnTo>
                      <a:pt x="135" y="164"/>
                    </a:lnTo>
                    <a:lnTo>
                      <a:pt x="133" y="164"/>
                    </a:lnTo>
                    <a:lnTo>
                      <a:pt x="135" y="164"/>
                    </a:lnTo>
                    <a:lnTo>
                      <a:pt x="135" y="162"/>
                    </a:lnTo>
                    <a:lnTo>
                      <a:pt x="137" y="162"/>
                    </a:lnTo>
                    <a:lnTo>
                      <a:pt x="137" y="160"/>
                    </a:lnTo>
                    <a:lnTo>
                      <a:pt x="139" y="158"/>
                    </a:lnTo>
                    <a:lnTo>
                      <a:pt x="137" y="156"/>
                    </a:lnTo>
                    <a:lnTo>
                      <a:pt x="139" y="156"/>
                    </a:lnTo>
                    <a:lnTo>
                      <a:pt x="137" y="156"/>
                    </a:lnTo>
                    <a:lnTo>
                      <a:pt x="137" y="154"/>
                    </a:lnTo>
                    <a:lnTo>
                      <a:pt x="135" y="154"/>
                    </a:lnTo>
                    <a:lnTo>
                      <a:pt x="133" y="154"/>
                    </a:lnTo>
                    <a:lnTo>
                      <a:pt x="135" y="152"/>
                    </a:lnTo>
                    <a:lnTo>
                      <a:pt x="133" y="152"/>
                    </a:lnTo>
                    <a:lnTo>
                      <a:pt x="131" y="152"/>
                    </a:lnTo>
                    <a:lnTo>
                      <a:pt x="131" y="150"/>
                    </a:lnTo>
                    <a:lnTo>
                      <a:pt x="129" y="150"/>
                    </a:lnTo>
                    <a:lnTo>
                      <a:pt x="129" y="148"/>
                    </a:lnTo>
                    <a:lnTo>
                      <a:pt x="129" y="146"/>
                    </a:lnTo>
                    <a:lnTo>
                      <a:pt x="131" y="146"/>
                    </a:lnTo>
                    <a:lnTo>
                      <a:pt x="131" y="144"/>
                    </a:lnTo>
                    <a:lnTo>
                      <a:pt x="129" y="144"/>
                    </a:lnTo>
                    <a:lnTo>
                      <a:pt x="129" y="143"/>
                    </a:lnTo>
                    <a:lnTo>
                      <a:pt x="127" y="146"/>
                    </a:lnTo>
                    <a:lnTo>
                      <a:pt x="123" y="144"/>
                    </a:lnTo>
                    <a:lnTo>
                      <a:pt x="123" y="143"/>
                    </a:lnTo>
                    <a:lnTo>
                      <a:pt x="125" y="143"/>
                    </a:lnTo>
                    <a:lnTo>
                      <a:pt x="125" y="141"/>
                    </a:lnTo>
                    <a:lnTo>
                      <a:pt x="125" y="139"/>
                    </a:lnTo>
                    <a:lnTo>
                      <a:pt x="125" y="141"/>
                    </a:lnTo>
                    <a:lnTo>
                      <a:pt x="123" y="141"/>
                    </a:lnTo>
                    <a:lnTo>
                      <a:pt x="121" y="141"/>
                    </a:lnTo>
                    <a:lnTo>
                      <a:pt x="119" y="141"/>
                    </a:lnTo>
                    <a:lnTo>
                      <a:pt x="119" y="139"/>
                    </a:lnTo>
                    <a:lnTo>
                      <a:pt x="119" y="137"/>
                    </a:lnTo>
                    <a:lnTo>
                      <a:pt x="117" y="139"/>
                    </a:lnTo>
                    <a:lnTo>
                      <a:pt x="117" y="141"/>
                    </a:lnTo>
                    <a:lnTo>
                      <a:pt x="115" y="141"/>
                    </a:lnTo>
                    <a:lnTo>
                      <a:pt x="114" y="141"/>
                    </a:lnTo>
                    <a:lnTo>
                      <a:pt x="114" y="143"/>
                    </a:lnTo>
                    <a:lnTo>
                      <a:pt x="112" y="143"/>
                    </a:lnTo>
                    <a:lnTo>
                      <a:pt x="110" y="143"/>
                    </a:lnTo>
                    <a:lnTo>
                      <a:pt x="108" y="144"/>
                    </a:lnTo>
                    <a:lnTo>
                      <a:pt x="108" y="146"/>
                    </a:lnTo>
                    <a:lnTo>
                      <a:pt x="108" y="148"/>
                    </a:lnTo>
                    <a:lnTo>
                      <a:pt x="106" y="148"/>
                    </a:lnTo>
                    <a:lnTo>
                      <a:pt x="106" y="150"/>
                    </a:lnTo>
                    <a:lnTo>
                      <a:pt x="104" y="150"/>
                    </a:lnTo>
                    <a:lnTo>
                      <a:pt x="104" y="152"/>
                    </a:lnTo>
                    <a:lnTo>
                      <a:pt x="102" y="154"/>
                    </a:lnTo>
                    <a:lnTo>
                      <a:pt x="100" y="152"/>
                    </a:lnTo>
                    <a:lnTo>
                      <a:pt x="102" y="152"/>
                    </a:lnTo>
                    <a:lnTo>
                      <a:pt x="102" y="150"/>
                    </a:lnTo>
                    <a:lnTo>
                      <a:pt x="100" y="150"/>
                    </a:lnTo>
                    <a:lnTo>
                      <a:pt x="98" y="150"/>
                    </a:lnTo>
                    <a:lnTo>
                      <a:pt x="98" y="148"/>
                    </a:lnTo>
                    <a:lnTo>
                      <a:pt x="98" y="146"/>
                    </a:lnTo>
                    <a:lnTo>
                      <a:pt x="96" y="146"/>
                    </a:lnTo>
                    <a:lnTo>
                      <a:pt x="94" y="146"/>
                    </a:lnTo>
                    <a:lnTo>
                      <a:pt x="92" y="146"/>
                    </a:lnTo>
                    <a:lnTo>
                      <a:pt x="92" y="148"/>
                    </a:lnTo>
                    <a:lnTo>
                      <a:pt x="90" y="148"/>
                    </a:lnTo>
                    <a:lnTo>
                      <a:pt x="89" y="148"/>
                    </a:lnTo>
                    <a:lnTo>
                      <a:pt x="89" y="146"/>
                    </a:lnTo>
                    <a:lnTo>
                      <a:pt x="89" y="144"/>
                    </a:lnTo>
                    <a:lnTo>
                      <a:pt x="90" y="143"/>
                    </a:lnTo>
                    <a:lnTo>
                      <a:pt x="90" y="141"/>
                    </a:lnTo>
                    <a:lnTo>
                      <a:pt x="89" y="141"/>
                    </a:lnTo>
                    <a:lnTo>
                      <a:pt x="89" y="137"/>
                    </a:lnTo>
                    <a:lnTo>
                      <a:pt x="87" y="137"/>
                    </a:lnTo>
                    <a:lnTo>
                      <a:pt x="85" y="137"/>
                    </a:lnTo>
                    <a:lnTo>
                      <a:pt x="85" y="139"/>
                    </a:lnTo>
                    <a:lnTo>
                      <a:pt x="85" y="137"/>
                    </a:lnTo>
                    <a:lnTo>
                      <a:pt x="83" y="137"/>
                    </a:lnTo>
                    <a:lnTo>
                      <a:pt x="85" y="135"/>
                    </a:lnTo>
                    <a:lnTo>
                      <a:pt x="85" y="133"/>
                    </a:lnTo>
                    <a:lnTo>
                      <a:pt x="83" y="131"/>
                    </a:lnTo>
                    <a:lnTo>
                      <a:pt x="81" y="131"/>
                    </a:lnTo>
                    <a:lnTo>
                      <a:pt x="79" y="129"/>
                    </a:lnTo>
                    <a:lnTo>
                      <a:pt x="77" y="129"/>
                    </a:lnTo>
                    <a:lnTo>
                      <a:pt x="77" y="127"/>
                    </a:lnTo>
                    <a:lnTo>
                      <a:pt x="75" y="125"/>
                    </a:lnTo>
                    <a:lnTo>
                      <a:pt x="73" y="123"/>
                    </a:lnTo>
                    <a:lnTo>
                      <a:pt x="73" y="121"/>
                    </a:lnTo>
                    <a:lnTo>
                      <a:pt x="71" y="121"/>
                    </a:lnTo>
                    <a:lnTo>
                      <a:pt x="69" y="119"/>
                    </a:lnTo>
                    <a:lnTo>
                      <a:pt x="69" y="121"/>
                    </a:lnTo>
                    <a:lnTo>
                      <a:pt x="67" y="119"/>
                    </a:lnTo>
                    <a:lnTo>
                      <a:pt x="67" y="118"/>
                    </a:lnTo>
                    <a:lnTo>
                      <a:pt x="69" y="118"/>
                    </a:lnTo>
                    <a:lnTo>
                      <a:pt x="69" y="116"/>
                    </a:lnTo>
                    <a:lnTo>
                      <a:pt x="67" y="116"/>
                    </a:lnTo>
                    <a:lnTo>
                      <a:pt x="69" y="114"/>
                    </a:lnTo>
                    <a:lnTo>
                      <a:pt x="69" y="112"/>
                    </a:lnTo>
                    <a:lnTo>
                      <a:pt x="69" y="110"/>
                    </a:lnTo>
                    <a:lnTo>
                      <a:pt x="69" y="112"/>
                    </a:lnTo>
                    <a:lnTo>
                      <a:pt x="69" y="110"/>
                    </a:lnTo>
                    <a:lnTo>
                      <a:pt x="67" y="110"/>
                    </a:lnTo>
                    <a:lnTo>
                      <a:pt x="69" y="110"/>
                    </a:lnTo>
                    <a:lnTo>
                      <a:pt x="71" y="110"/>
                    </a:lnTo>
                    <a:lnTo>
                      <a:pt x="71" y="108"/>
                    </a:lnTo>
                    <a:lnTo>
                      <a:pt x="69" y="108"/>
                    </a:lnTo>
                    <a:lnTo>
                      <a:pt x="69" y="106"/>
                    </a:lnTo>
                    <a:lnTo>
                      <a:pt x="71" y="106"/>
                    </a:lnTo>
                    <a:lnTo>
                      <a:pt x="71" y="104"/>
                    </a:lnTo>
                    <a:lnTo>
                      <a:pt x="71" y="102"/>
                    </a:lnTo>
                    <a:lnTo>
                      <a:pt x="69" y="100"/>
                    </a:lnTo>
                    <a:lnTo>
                      <a:pt x="71" y="100"/>
                    </a:lnTo>
                    <a:lnTo>
                      <a:pt x="69" y="100"/>
                    </a:lnTo>
                    <a:lnTo>
                      <a:pt x="69" y="98"/>
                    </a:lnTo>
                    <a:lnTo>
                      <a:pt x="69" y="96"/>
                    </a:lnTo>
                    <a:lnTo>
                      <a:pt x="69" y="94"/>
                    </a:lnTo>
                    <a:lnTo>
                      <a:pt x="67" y="94"/>
                    </a:lnTo>
                    <a:lnTo>
                      <a:pt x="67" y="96"/>
                    </a:lnTo>
                    <a:lnTo>
                      <a:pt x="66" y="98"/>
                    </a:lnTo>
                    <a:lnTo>
                      <a:pt x="66" y="96"/>
                    </a:lnTo>
                    <a:lnTo>
                      <a:pt x="64" y="96"/>
                    </a:lnTo>
                    <a:lnTo>
                      <a:pt x="62" y="96"/>
                    </a:lnTo>
                    <a:lnTo>
                      <a:pt x="62" y="98"/>
                    </a:lnTo>
                    <a:lnTo>
                      <a:pt x="60" y="98"/>
                    </a:lnTo>
                    <a:lnTo>
                      <a:pt x="58" y="98"/>
                    </a:lnTo>
                    <a:lnTo>
                      <a:pt x="60" y="98"/>
                    </a:lnTo>
                    <a:lnTo>
                      <a:pt x="58" y="96"/>
                    </a:lnTo>
                    <a:lnTo>
                      <a:pt x="54" y="94"/>
                    </a:lnTo>
                    <a:lnTo>
                      <a:pt x="50" y="102"/>
                    </a:lnTo>
                    <a:lnTo>
                      <a:pt x="48" y="106"/>
                    </a:lnTo>
                    <a:lnTo>
                      <a:pt x="37" y="98"/>
                    </a:lnTo>
                    <a:lnTo>
                      <a:pt x="35" y="96"/>
                    </a:lnTo>
                    <a:lnTo>
                      <a:pt x="33" y="94"/>
                    </a:lnTo>
                    <a:lnTo>
                      <a:pt x="35" y="94"/>
                    </a:lnTo>
                    <a:lnTo>
                      <a:pt x="35" y="93"/>
                    </a:lnTo>
                    <a:lnTo>
                      <a:pt x="31" y="94"/>
                    </a:lnTo>
                    <a:lnTo>
                      <a:pt x="31" y="91"/>
                    </a:lnTo>
                    <a:lnTo>
                      <a:pt x="33" y="91"/>
                    </a:lnTo>
                    <a:lnTo>
                      <a:pt x="33" y="89"/>
                    </a:lnTo>
                    <a:lnTo>
                      <a:pt x="33" y="91"/>
                    </a:lnTo>
                    <a:lnTo>
                      <a:pt x="33" y="89"/>
                    </a:lnTo>
                    <a:lnTo>
                      <a:pt x="33" y="91"/>
                    </a:lnTo>
                    <a:lnTo>
                      <a:pt x="31" y="89"/>
                    </a:lnTo>
                    <a:lnTo>
                      <a:pt x="29" y="87"/>
                    </a:lnTo>
                    <a:lnTo>
                      <a:pt x="29" y="85"/>
                    </a:lnTo>
                    <a:lnTo>
                      <a:pt x="27" y="87"/>
                    </a:lnTo>
                    <a:lnTo>
                      <a:pt x="25" y="87"/>
                    </a:lnTo>
                    <a:lnTo>
                      <a:pt x="25" y="85"/>
                    </a:lnTo>
                    <a:lnTo>
                      <a:pt x="25" y="87"/>
                    </a:lnTo>
                    <a:lnTo>
                      <a:pt x="23" y="87"/>
                    </a:lnTo>
                    <a:lnTo>
                      <a:pt x="23" y="85"/>
                    </a:lnTo>
                    <a:lnTo>
                      <a:pt x="21" y="87"/>
                    </a:lnTo>
                    <a:lnTo>
                      <a:pt x="19" y="87"/>
                    </a:lnTo>
                    <a:lnTo>
                      <a:pt x="21" y="89"/>
                    </a:lnTo>
                    <a:lnTo>
                      <a:pt x="19" y="89"/>
                    </a:lnTo>
                    <a:lnTo>
                      <a:pt x="17" y="89"/>
                    </a:lnTo>
                    <a:lnTo>
                      <a:pt x="17" y="87"/>
                    </a:lnTo>
                    <a:lnTo>
                      <a:pt x="17" y="85"/>
                    </a:lnTo>
                    <a:lnTo>
                      <a:pt x="19" y="85"/>
                    </a:lnTo>
                    <a:lnTo>
                      <a:pt x="19" y="83"/>
                    </a:lnTo>
                    <a:lnTo>
                      <a:pt x="17" y="81"/>
                    </a:lnTo>
                    <a:lnTo>
                      <a:pt x="16" y="81"/>
                    </a:lnTo>
                    <a:lnTo>
                      <a:pt x="16" y="83"/>
                    </a:lnTo>
                    <a:lnTo>
                      <a:pt x="14" y="83"/>
                    </a:lnTo>
                    <a:lnTo>
                      <a:pt x="14" y="85"/>
                    </a:lnTo>
                    <a:lnTo>
                      <a:pt x="12" y="87"/>
                    </a:lnTo>
                    <a:lnTo>
                      <a:pt x="10" y="87"/>
                    </a:lnTo>
                    <a:lnTo>
                      <a:pt x="10" y="89"/>
                    </a:lnTo>
                    <a:lnTo>
                      <a:pt x="8" y="89"/>
                    </a:lnTo>
                    <a:lnTo>
                      <a:pt x="6" y="91"/>
                    </a:lnTo>
                    <a:lnTo>
                      <a:pt x="4" y="89"/>
                    </a:lnTo>
                    <a:lnTo>
                      <a:pt x="4" y="87"/>
                    </a:lnTo>
                    <a:lnTo>
                      <a:pt x="2" y="87"/>
                    </a:lnTo>
                    <a:lnTo>
                      <a:pt x="2" y="89"/>
                    </a:lnTo>
                    <a:lnTo>
                      <a:pt x="0" y="89"/>
                    </a:lnTo>
                    <a:lnTo>
                      <a:pt x="0" y="91"/>
                    </a:lnTo>
                    <a:lnTo>
                      <a:pt x="0" y="89"/>
                    </a:lnTo>
                    <a:lnTo>
                      <a:pt x="0" y="87"/>
                    </a:lnTo>
                    <a:lnTo>
                      <a:pt x="0" y="85"/>
                    </a:lnTo>
                    <a:lnTo>
                      <a:pt x="2" y="83"/>
                    </a:lnTo>
                    <a:lnTo>
                      <a:pt x="2" y="81"/>
                    </a:lnTo>
                    <a:lnTo>
                      <a:pt x="2" y="79"/>
                    </a:lnTo>
                    <a:lnTo>
                      <a:pt x="4" y="79"/>
                    </a:lnTo>
                    <a:lnTo>
                      <a:pt x="2" y="79"/>
                    </a:lnTo>
                    <a:lnTo>
                      <a:pt x="2" y="77"/>
                    </a:lnTo>
                    <a:lnTo>
                      <a:pt x="2" y="75"/>
                    </a:lnTo>
                    <a:lnTo>
                      <a:pt x="4" y="75"/>
                    </a:lnTo>
                    <a:lnTo>
                      <a:pt x="6" y="75"/>
                    </a:lnTo>
                    <a:lnTo>
                      <a:pt x="8" y="75"/>
                    </a:lnTo>
                    <a:lnTo>
                      <a:pt x="8" y="73"/>
                    </a:lnTo>
                    <a:lnTo>
                      <a:pt x="8" y="71"/>
                    </a:lnTo>
                    <a:lnTo>
                      <a:pt x="10" y="71"/>
                    </a:lnTo>
                    <a:lnTo>
                      <a:pt x="10" y="69"/>
                    </a:lnTo>
                    <a:lnTo>
                      <a:pt x="12" y="69"/>
                    </a:lnTo>
                    <a:lnTo>
                      <a:pt x="12" y="68"/>
                    </a:lnTo>
                    <a:lnTo>
                      <a:pt x="12" y="66"/>
                    </a:lnTo>
                    <a:lnTo>
                      <a:pt x="12" y="68"/>
                    </a:lnTo>
                    <a:lnTo>
                      <a:pt x="14" y="68"/>
                    </a:lnTo>
                    <a:lnTo>
                      <a:pt x="14" y="69"/>
                    </a:lnTo>
                    <a:lnTo>
                      <a:pt x="16" y="71"/>
                    </a:lnTo>
                    <a:lnTo>
                      <a:pt x="16" y="73"/>
                    </a:lnTo>
                    <a:lnTo>
                      <a:pt x="17" y="73"/>
                    </a:lnTo>
                    <a:lnTo>
                      <a:pt x="17" y="71"/>
                    </a:lnTo>
                    <a:lnTo>
                      <a:pt x="19" y="71"/>
                    </a:lnTo>
                    <a:lnTo>
                      <a:pt x="19" y="73"/>
                    </a:lnTo>
                    <a:lnTo>
                      <a:pt x="19" y="75"/>
                    </a:lnTo>
                    <a:lnTo>
                      <a:pt x="19" y="77"/>
                    </a:lnTo>
                    <a:lnTo>
                      <a:pt x="21" y="75"/>
                    </a:lnTo>
                    <a:lnTo>
                      <a:pt x="19" y="73"/>
                    </a:lnTo>
                    <a:lnTo>
                      <a:pt x="21" y="73"/>
                    </a:lnTo>
                    <a:lnTo>
                      <a:pt x="21" y="71"/>
                    </a:lnTo>
                    <a:lnTo>
                      <a:pt x="23" y="71"/>
                    </a:lnTo>
                    <a:lnTo>
                      <a:pt x="21" y="77"/>
                    </a:lnTo>
                    <a:lnTo>
                      <a:pt x="21" y="79"/>
                    </a:lnTo>
                    <a:lnTo>
                      <a:pt x="23" y="77"/>
                    </a:lnTo>
                    <a:lnTo>
                      <a:pt x="23" y="75"/>
                    </a:lnTo>
                    <a:lnTo>
                      <a:pt x="23" y="73"/>
                    </a:lnTo>
                    <a:lnTo>
                      <a:pt x="23" y="71"/>
                    </a:lnTo>
                    <a:lnTo>
                      <a:pt x="25" y="69"/>
                    </a:lnTo>
                    <a:lnTo>
                      <a:pt x="25" y="68"/>
                    </a:lnTo>
                    <a:lnTo>
                      <a:pt x="27" y="68"/>
                    </a:lnTo>
                    <a:lnTo>
                      <a:pt x="27" y="69"/>
                    </a:lnTo>
                    <a:lnTo>
                      <a:pt x="29" y="69"/>
                    </a:lnTo>
                    <a:lnTo>
                      <a:pt x="27" y="71"/>
                    </a:lnTo>
                    <a:lnTo>
                      <a:pt x="29" y="71"/>
                    </a:lnTo>
                    <a:lnTo>
                      <a:pt x="31" y="71"/>
                    </a:lnTo>
                    <a:lnTo>
                      <a:pt x="33" y="71"/>
                    </a:lnTo>
                    <a:lnTo>
                      <a:pt x="33" y="69"/>
                    </a:lnTo>
                    <a:lnTo>
                      <a:pt x="35" y="69"/>
                    </a:lnTo>
                    <a:lnTo>
                      <a:pt x="35" y="68"/>
                    </a:lnTo>
                    <a:lnTo>
                      <a:pt x="35" y="66"/>
                    </a:lnTo>
                    <a:lnTo>
                      <a:pt x="35" y="64"/>
                    </a:lnTo>
                    <a:lnTo>
                      <a:pt x="33" y="66"/>
                    </a:lnTo>
                    <a:lnTo>
                      <a:pt x="33" y="64"/>
                    </a:lnTo>
                    <a:lnTo>
                      <a:pt x="33" y="62"/>
                    </a:lnTo>
                    <a:lnTo>
                      <a:pt x="35" y="62"/>
                    </a:lnTo>
                    <a:lnTo>
                      <a:pt x="37" y="62"/>
                    </a:lnTo>
                    <a:lnTo>
                      <a:pt x="37" y="64"/>
                    </a:lnTo>
                    <a:lnTo>
                      <a:pt x="37" y="62"/>
                    </a:lnTo>
                    <a:lnTo>
                      <a:pt x="37" y="64"/>
                    </a:lnTo>
                    <a:lnTo>
                      <a:pt x="37" y="62"/>
                    </a:lnTo>
                    <a:lnTo>
                      <a:pt x="39" y="62"/>
                    </a:lnTo>
                    <a:lnTo>
                      <a:pt x="39" y="64"/>
                    </a:lnTo>
                    <a:lnTo>
                      <a:pt x="39" y="66"/>
                    </a:lnTo>
                    <a:lnTo>
                      <a:pt x="39" y="64"/>
                    </a:lnTo>
                    <a:lnTo>
                      <a:pt x="39" y="62"/>
                    </a:lnTo>
                    <a:lnTo>
                      <a:pt x="41" y="62"/>
                    </a:lnTo>
                    <a:lnTo>
                      <a:pt x="41" y="60"/>
                    </a:lnTo>
                    <a:lnTo>
                      <a:pt x="42" y="56"/>
                    </a:lnTo>
                    <a:lnTo>
                      <a:pt x="41" y="54"/>
                    </a:lnTo>
                    <a:lnTo>
                      <a:pt x="42" y="54"/>
                    </a:lnTo>
                    <a:lnTo>
                      <a:pt x="42" y="52"/>
                    </a:lnTo>
                    <a:lnTo>
                      <a:pt x="42" y="50"/>
                    </a:lnTo>
                    <a:lnTo>
                      <a:pt x="41" y="48"/>
                    </a:lnTo>
                    <a:lnTo>
                      <a:pt x="39" y="48"/>
                    </a:lnTo>
                    <a:lnTo>
                      <a:pt x="39" y="50"/>
                    </a:lnTo>
                    <a:lnTo>
                      <a:pt x="39" y="52"/>
                    </a:lnTo>
                    <a:lnTo>
                      <a:pt x="37" y="52"/>
                    </a:lnTo>
                    <a:lnTo>
                      <a:pt x="39" y="50"/>
                    </a:lnTo>
                    <a:lnTo>
                      <a:pt x="37" y="50"/>
                    </a:lnTo>
                    <a:lnTo>
                      <a:pt x="37" y="48"/>
                    </a:lnTo>
                    <a:lnTo>
                      <a:pt x="35" y="48"/>
                    </a:lnTo>
                    <a:lnTo>
                      <a:pt x="35" y="50"/>
                    </a:lnTo>
                    <a:lnTo>
                      <a:pt x="33" y="50"/>
                    </a:lnTo>
                    <a:lnTo>
                      <a:pt x="31" y="52"/>
                    </a:lnTo>
                    <a:lnTo>
                      <a:pt x="31" y="50"/>
                    </a:lnTo>
                    <a:lnTo>
                      <a:pt x="33" y="48"/>
                    </a:lnTo>
                    <a:lnTo>
                      <a:pt x="33" y="46"/>
                    </a:lnTo>
                    <a:lnTo>
                      <a:pt x="33" y="44"/>
                    </a:lnTo>
                    <a:lnTo>
                      <a:pt x="35" y="44"/>
                    </a:lnTo>
                    <a:lnTo>
                      <a:pt x="35" y="43"/>
                    </a:lnTo>
                    <a:lnTo>
                      <a:pt x="33" y="43"/>
                    </a:lnTo>
                    <a:lnTo>
                      <a:pt x="35" y="43"/>
                    </a:lnTo>
                    <a:lnTo>
                      <a:pt x="37" y="43"/>
                    </a:lnTo>
                    <a:lnTo>
                      <a:pt x="35" y="43"/>
                    </a:lnTo>
                    <a:lnTo>
                      <a:pt x="37" y="43"/>
                    </a:lnTo>
                    <a:lnTo>
                      <a:pt x="37" y="44"/>
                    </a:lnTo>
                    <a:lnTo>
                      <a:pt x="39" y="44"/>
                    </a:lnTo>
                    <a:lnTo>
                      <a:pt x="41" y="44"/>
                    </a:lnTo>
                    <a:lnTo>
                      <a:pt x="41" y="43"/>
                    </a:lnTo>
                    <a:lnTo>
                      <a:pt x="42" y="43"/>
                    </a:lnTo>
                    <a:lnTo>
                      <a:pt x="44" y="43"/>
                    </a:lnTo>
                    <a:lnTo>
                      <a:pt x="44" y="41"/>
                    </a:lnTo>
                    <a:lnTo>
                      <a:pt x="46" y="41"/>
                    </a:lnTo>
                    <a:lnTo>
                      <a:pt x="46" y="39"/>
                    </a:lnTo>
                    <a:lnTo>
                      <a:pt x="46" y="41"/>
                    </a:lnTo>
                    <a:lnTo>
                      <a:pt x="46" y="39"/>
                    </a:lnTo>
                    <a:lnTo>
                      <a:pt x="48" y="39"/>
                    </a:lnTo>
                    <a:lnTo>
                      <a:pt x="48" y="37"/>
                    </a:lnTo>
                    <a:lnTo>
                      <a:pt x="50" y="37"/>
                    </a:lnTo>
                    <a:lnTo>
                      <a:pt x="52" y="39"/>
                    </a:lnTo>
                    <a:lnTo>
                      <a:pt x="50" y="39"/>
                    </a:lnTo>
                    <a:lnTo>
                      <a:pt x="52" y="39"/>
                    </a:lnTo>
                    <a:lnTo>
                      <a:pt x="54" y="39"/>
                    </a:lnTo>
                    <a:lnTo>
                      <a:pt x="54" y="37"/>
                    </a:lnTo>
                    <a:lnTo>
                      <a:pt x="56" y="37"/>
                    </a:lnTo>
                    <a:lnTo>
                      <a:pt x="54" y="37"/>
                    </a:lnTo>
                    <a:lnTo>
                      <a:pt x="54" y="35"/>
                    </a:lnTo>
                    <a:lnTo>
                      <a:pt x="54" y="33"/>
                    </a:lnTo>
                    <a:lnTo>
                      <a:pt x="56" y="33"/>
                    </a:lnTo>
                    <a:lnTo>
                      <a:pt x="54" y="33"/>
                    </a:lnTo>
                    <a:lnTo>
                      <a:pt x="52" y="33"/>
                    </a:lnTo>
                    <a:lnTo>
                      <a:pt x="54" y="31"/>
                    </a:lnTo>
                    <a:lnTo>
                      <a:pt x="56" y="29"/>
                    </a:lnTo>
                    <a:lnTo>
                      <a:pt x="56" y="31"/>
                    </a:lnTo>
                    <a:lnTo>
                      <a:pt x="58" y="29"/>
                    </a:lnTo>
                    <a:lnTo>
                      <a:pt x="58" y="27"/>
                    </a:lnTo>
                    <a:lnTo>
                      <a:pt x="58" y="29"/>
                    </a:lnTo>
                    <a:lnTo>
                      <a:pt x="58" y="31"/>
                    </a:lnTo>
                    <a:lnTo>
                      <a:pt x="58" y="29"/>
                    </a:lnTo>
                    <a:lnTo>
                      <a:pt x="60" y="29"/>
                    </a:lnTo>
                    <a:lnTo>
                      <a:pt x="62" y="31"/>
                    </a:lnTo>
                    <a:lnTo>
                      <a:pt x="62" y="29"/>
                    </a:lnTo>
                    <a:lnTo>
                      <a:pt x="64" y="29"/>
                    </a:lnTo>
                    <a:lnTo>
                      <a:pt x="64" y="27"/>
                    </a:lnTo>
                    <a:lnTo>
                      <a:pt x="66" y="27"/>
                    </a:lnTo>
                    <a:lnTo>
                      <a:pt x="66" y="25"/>
                    </a:lnTo>
                    <a:lnTo>
                      <a:pt x="67" y="25"/>
                    </a:lnTo>
                    <a:lnTo>
                      <a:pt x="67" y="27"/>
                    </a:lnTo>
                    <a:lnTo>
                      <a:pt x="69" y="27"/>
                    </a:lnTo>
                    <a:lnTo>
                      <a:pt x="71" y="27"/>
                    </a:lnTo>
                    <a:lnTo>
                      <a:pt x="71" y="25"/>
                    </a:lnTo>
                    <a:lnTo>
                      <a:pt x="71" y="23"/>
                    </a:lnTo>
                    <a:lnTo>
                      <a:pt x="71" y="21"/>
                    </a:lnTo>
                    <a:lnTo>
                      <a:pt x="73" y="21"/>
                    </a:lnTo>
                    <a:lnTo>
                      <a:pt x="75" y="19"/>
                    </a:lnTo>
                    <a:lnTo>
                      <a:pt x="77" y="19"/>
                    </a:lnTo>
                    <a:lnTo>
                      <a:pt x="77" y="21"/>
                    </a:lnTo>
                    <a:lnTo>
                      <a:pt x="79" y="19"/>
                    </a:lnTo>
                    <a:lnTo>
                      <a:pt x="81" y="21"/>
                    </a:lnTo>
                    <a:lnTo>
                      <a:pt x="83" y="21"/>
                    </a:lnTo>
                    <a:lnTo>
                      <a:pt x="85" y="21"/>
                    </a:lnTo>
                    <a:lnTo>
                      <a:pt x="85" y="19"/>
                    </a:lnTo>
                    <a:lnTo>
                      <a:pt x="87" y="19"/>
                    </a:lnTo>
                    <a:lnTo>
                      <a:pt x="87" y="18"/>
                    </a:lnTo>
                    <a:lnTo>
                      <a:pt x="85" y="18"/>
                    </a:lnTo>
                    <a:lnTo>
                      <a:pt x="85" y="16"/>
                    </a:lnTo>
                    <a:lnTo>
                      <a:pt x="87" y="16"/>
                    </a:lnTo>
                    <a:lnTo>
                      <a:pt x="89" y="14"/>
                    </a:lnTo>
                    <a:lnTo>
                      <a:pt x="89" y="16"/>
                    </a:lnTo>
                    <a:lnTo>
                      <a:pt x="89" y="18"/>
                    </a:lnTo>
                    <a:lnTo>
                      <a:pt x="89" y="16"/>
                    </a:lnTo>
                    <a:lnTo>
                      <a:pt x="90" y="18"/>
                    </a:lnTo>
                    <a:lnTo>
                      <a:pt x="92" y="16"/>
                    </a:lnTo>
                    <a:lnTo>
                      <a:pt x="92" y="14"/>
                    </a:lnTo>
                    <a:lnTo>
                      <a:pt x="94" y="14"/>
                    </a:lnTo>
                    <a:lnTo>
                      <a:pt x="96" y="14"/>
                    </a:lnTo>
                    <a:lnTo>
                      <a:pt x="98" y="12"/>
                    </a:lnTo>
                    <a:lnTo>
                      <a:pt x="98" y="14"/>
                    </a:lnTo>
                    <a:lnTo>
                      <a:pt x="100" y="12"/>
                    </a:lnTo>
                    <a:lnTo>
                      <a:pt x="102" y="12"/>
                    </a:lnTo>
                    <a:lnTo>
                      <a:pt x="102" y="10"/>
                    </a:lnTo>
                    <a:lnTo>
                      <a:pt x="100" y="10"/>
                    </a:lnTo>
                    <a:lnTo>
                      <a:pt x="100" y="8"/>
                    </a:lnTo>
                    <a:lnTo>
                      <a:pt x="100" y="6"/>
                    </a:lnTo>
                    <a:lnTo>
                      <a:pt x="102" y="6"/>
                    </a:lnTo>
                    <a:lnTo>
                      <a:pt x="104" y="6"/>
                    </a:lnTo>
                    <a:lnTo>
                      <a:pt x="106" y="4"/>
                    </a:lnTo>
                    <a:lnTo>
                      <a:pt x="106" y="2"/>
                    </a:lnTo>
                    <a:lnTo>
                      <a:pt x="108" y="2"/>
                    </a:lnTo>
                    <a:lnTo>
                      <a:pt x="106" y="4"/>
                    </a:lnTo>
                    <a:lnTo>
                      <a:pt x="108" y="4"/>
                    </a:lnTo>
                    <a:lnTo>
                      <a:pt x="108" y="2"/>
                    </a:lnTo>
                    <a:lnTo>
                      <a:pt x="110" y="2"/>
                    </a:lnTo>
                    <a:lnTo>
                      <a:pt x="110" y="4"/>
                    </a:lnTo>
                    <a:lnTo>
                      <a:pt x="112" y="4"/>
                    </a:lnTo>
                    <a:lnTo>
                      <a:pt x="112" y="2"/>
                    </a:lnTo>
                    <a:lnTo>
                      <a:pt x="112" y="4"/>
                    </a:lnTo>
                    <a:lnTo>
                      <a:pt x="112" y="6"/>
                    </a:lnTo>
                    <a:lnTo>
                      <a:pt x="114" y="6"/>
                    </a:lnTo>
                    <a:lnTo>
                      <a:pt x="114" y="8"/>
                    </a:lnTo>
                    <a:lnTo>
                      <a:pt x="115" y="8"/>
                    </a:lnTo>
                    <a:lnTo>
                      <a:pt x="115" y="6"/>
                    </a:lnTo>
                    <a:lnTo>
                      <a:pt x="115" y="8"/>
                    </a:lnTo>
                    <a:lnTo>
                      <a:pt x="117" y="8"/>
                    </a:lnTo>
                    <a:lnTo>
                      <a:pt x="117" y="6"/>
                    </a:lnTo>
                    <a:lnTo>
                      <a:pt x="117" y="4"/>
                    </a:lnTo>
                    <a:lnTo>
                      <a:pt x="119" y="4"/>
                    </a:lnTo>
                    <a:lnTo>
                      <a:pt x="117" y="4"/>
                    </a:lnTo>
                    <a:lnTo>
                      <a:pt x="119" y="4"/>
                    </a:lnTo>
                    <a:lnTo>
                      <a:pt x="119" y="2"/>
                    </a:lnTo>
                    <a:lnTo>
                      <a:pt x="121" y="2"/>
                    </a:lnTo>
                    <a:lnTo>
                      <a:pt x="121" y="0"/>
                    </a:lnTo>
                    <a:lnTo>
                      <a:pt x="123" y="0"/>
                    </a:lnTo>
                    <a:lnTo>
                      <a:pt x="123" y="2"/>
                    </a:lnTo>
                    <a:lnTo>
                      <a:pt x="121" y="2"/>
                    </a:lnTo>
                    <a:lnTo>
                      <a:pt x="121" y="4"/>
                    </a:lnTo>
                    <a:lnTo>
                      <a:pt x="123" y="4"/>
                    </a:lnTo>
                    <a:lnTo>
                      <a:pt x="125" y="4"/>
                    </a:lnTo>
                    <a:lnTo>
                      <a:pt x="125" y="2"/>
                    </a:lnTo>
                    <a:lnTo>
                      <a:pt x="127" y="0"/>
                    </a:lnTo>
                    <a:lnTo>
                      <a:pt x="127" y="2"/>
                    </a:lnTo>
                    <a:lnTo>
                      <a:pt x="127" y="0"/>
                    </a:lnTo>
                    <a:lnTo>
                      <a:pt x="129" y="0"/>
                    </a:lnTo>
                    <a:lnTo>
                      <a:pt x="129" y="2"/>
                    </a:lnTo>
                    <a:lnTo>
                      <a:pt x="131" y="2"/>
                    </a:lnTo>
                    <a:lnTo>
                      <a:pt x="133" y="2"/>
                    </a:lnTo>
                    <a:lnTo>
                      <a:pt x="133" y="4"/>
                    </a:lnTo>
                    <a:lnTo>
                      <a:pt x="133" y="6"/>
                    </a:lnTo>
                    <a:lnTo>
                      <a:pt x="131" y="6"/>
                    </a:lnTo>
                    <a:lnTo>
                      <a:pt x="131" y="8"/>
                    </a:lnTo>
                    <a:lnTo>
                      <a:pt x="133" y="10"/>
                    </a:lnTo>
                    <a:lnTo>
                      <a:pt x="133" y="8"/>
                    </a:lnTo>
                    <a:lnTo>
                      <a:pt x="135" y="10"/>
                    </a:lnTo>
                    <a:lnTo>
                      <a:pt x="135" y="8"/>
                    </a:lnTo>
                    <a:lnTo>
                      <a:pt x="137" y="6"/>
                    </a:lnTo>
                    <a:lnTo>
                      <a:pt x="139" y="8"/>
                    </a:lnTo>
                    <a:lnTo>
                      <a:pt x="137" y="8"/>
                    </a:lnTo>
                    <a:lnTo>
                      <a:pt x="137" y="10"/>
                    </a:lnTo>
                    <a:lnTo>
                      <a:pt x="135" y="8"/>
                    </a:lnTo>
                    <a:lnTo>
                      <a:pt x="135" y="10"/>
                    </a:lnTo>
                    <a:lnTo>
                      <a:pt x="135" y="12"/>
                    </a:lnTo>
                    <a:lnTo>
                      <a:pt x="137" y="10"/>
                    </a:lnTo>
                    <a:lnTo>
                      <a:pt x="139" y="10"/>
                    </a:lnTo>
                    <a:lnTo>
                      <a:pt x="139" y="8"/>
                    </a:lnTo>
                    <a:lnTo>
                      <a:pt x="140" y="8"/>
                    </a:lnTo>
                    <a:lnTo>
                      <a:pt x="142" y="8"/>
                    </a:lnTo>
                    <a:lnTo>
                      <a:pt x="144" y="8"/>
                    </a:lnTo>
                    <a:lnTo>
                      <a:pt x="146" y="8"/>
                    </a:lnTo>
                    <a:lnTo>
                      <a:pt x="146" y="6"/>
                    </a:lnTo>
                    <a:lnTo>
                      <a:pt x="146" y="4"/>
                    </a:lnTo>
                    <a:lnTo>
                      <a:pt x="142" y="2"/>
                    </a:lnTo>
                    <a:lnTo>
                      <a:pt x="144" y="0"/>
                    </a:lnTo>
                    <a:lnTo>
                      <a:pt x="144" y="2"/>
                    </a:lnTo>
                    <a:lnTo>
                      <a:pt x="146" y="2"/>
                    </a:lnTo>
                    <a:lnTo>
                      <a:pt x="148" y="2"/>
                    </a:lnTo>
                    <a:lnTo>
                      <a:pt x="148" y="0"/>
                    </a:lnTo>
                    <a:lnTo>
                      <a:pt x="150" y="2"/>
                    </a:lnTo>
                    <a:lnTo>
                      <a:pt x="150" y="4"/>
                    </a:lnTo>
                    <a:lnTo>
                      <a:pt x="152" y="4"/>
                    </a:lnTo>
                    <a:lnTo>
                      <a:pt x="152" y="2"/>
                    </a:lnTo>
                    <a:lnTo>
                      <a:pt x="152" y="0"/>
                    </a:lnTo>
                    <a:lnTo>
                      <a:pt x="154" y="0"/>
                    </a:lnTo>
                    <a:lnTo>
                      <a:pt x="154" y="2"/>
                    </a:lnTo>
                    <a:lnTo>
                      <a:pt x="154" y="4"/>
                    </a:lnTo>
                    <a:lnTo>
                      <a:pt x="154" y="6"/>
                    </a:lnTo>
                    <a:lnTo>
                      <a:pt x="154" y="8"/>
                    </a:lnTo>
                    <a:lnTo>
                      <a:pt x="152" y="8"/>
                    </a:lnTo>
                    <a:lnTo>
                      <a:pt x="154" y="8"/>
                    </a:lnTo>
                    <a:lnTo>
                      <a:pt x="156" y="6"/>
                    </a:lnTo>
                    <a:lnTo>
                      <a:pt x="156" y="8"/>
                    </a:lnTo>
                    <a:lnTo>
                      <a:pt x="154" y="10"/>
                    </a:lnTo>
                    <a:lnTo>
                      <a:pt x="152" y="10"/>
                    </a:lnTo>
                    <a:lnTo>
                      <a:pt x="152" y="12"/>
                    </a:lnTo>
                    <a:lnTo>
                      <a:pt x="154" y="12"/>
                    </a:lnTo>
                    <a:lnTo>
                      <a:pt x="152" y="12"/>
                    </a:lnTo>
                    <a:lnTo>
                      <a:pt x="154" y="12"/>
                    </a:lnTo>
                    <a:lnTo>
                      <a:pt x="154" y="14"/>
                    </a:lnTo>
                    <a:lnTo>
                      <a:pt x="154" y="16"/>
                    </a:lnTo>
                    <a:lnTo>
                      <a:pt x="154" y="14"/>
                    </a:lnTo>
                    <a:lnTo>
                      <a:pt x="154" y="16"/>
                    </a:lnTo>
                    <a:lnTo>
                      <a:pt x="152" y="16"/>
                    </a:lnTo>
                    <a:lnTo>
                      <a:pt x="152" y="18"/>
                    </a:lnTo>
                    <a:lnTo>
                      <a:pt x="152" y="19"/>
                    </a:lnTo>
                    <a:lnTo>
                      <a:pt x="152" y="21"/>
                    </a:lnTo>
                    <a:lnTo>
                      <a:pt x="152" y="23"/>
                    </a:lnTo>
                    <a:lnTo>
                      <a:pt x="154" y="21"/>
                    </a:lnTo>
                    <a:lnTo>
                      <a:pt x="154" y="23"/>
                    </a:lnTo>
                    <a:lnTo>
                      <a:pt x="152" y="23"/>
                    </a:lnTo>
                    <a:lnTo>
                      <a:pt x="150" y="25"/>
                    </a:lnTo>
                    <a:lnTo>
                      <a:pt x="152" y="25"/>
                    </a:lnTo>
                    <a:lnTo>
                      <a:pt x="152" y="27"/>
                    </a:lnTo>
                    <a:lnTo>
                      <a:pt x="154" y="27"/>
                    </a:lnTo>
                    <a:lnTo>
                      <a:pt x="156" y="29"/>
                    </a:lnTo>
                    <a:lnTo>
                      <a:pt x="158" y="29"/>
                    </a:lnTo>
                    <a:lnTo>
                      <a:pt x="158" y="27"/>
                    </a:lnTo>
                    <a:lnTo>
                      <a:pt x="158" y="23"/>
                    </a:lnTo>
                    <a:lnTo>
                      <a:pt x="158" y="25"/>
                    </a:lnTo>
                    <a:lnTo>
                      <a:pt x="160" y="25"/>
                    </a:lnTo>
                    <a:lnTo>
                      <a:pt x="160" y="27"/>
                    </a:lnTo>
                    <a:lnTo>
                      <a:pt x="160" y="29"/>
                    </a:lnTo>
                    <a:lnTo>
                      <a:pt x="160" y="31"/>
                    </a:lnTo>
                    <a:lnTo>
                      <a:pt x="160" y="33"/>
                    </a:lnTo>
                    <a:lnTo>
                      <a:pt x="158" y="35"/>
                    </a:lnTo>
                    <a:lnTo>
                      <a:pt x="156" y="35"/>
                    </a:lnTo>
                    <a:lnTo>
                      <a:pt x="156" y="37"/>
                    </a:lnTo>
                    <a:lnTo>
                      <a:pt x="156" y="39"/>
                    </a:lnTo>
                    <a:lnTo>
                      <a:pt x="158" y="39"/>
                    </a:lnTo>
                    <a:lnTo>
                      <a:pt x="158" y="41"/>
                    </a:lnTo>
                    <a:lnTo>
                      <a:pt x="160" y="41"/>
                    </a:lnTo>
                    <a:lnTo>
                      <a:pt x="158" y="41"/>
                    </a:lnTo>
                    <a:lnTo>
                      <a:pt x="158" y="43"/>
                    </a:lnTo>
                    <a:lnTo>
                      <a:pt x="158" y="44"/>
                    </a:lnTo>
                    <a:lnTo>
                      <a:pt x="160" y="44"/>
                    </a:lnTo>
                    <a:lnTo>
                      <a:pt x="158" y="46"/>
                    </a:lnTo>
                    <a:lnTo>
                      <a:pt x="160" y="46"/>
                    </a:lnTo>
                    <a:lnTo>
                      <a:pt x="160" y="44"/>
                    </a:lnTo>
                    <a:lnTo>
                      <a:pt x="160" y="46"/>
                    </a:lnTo>
                    <a:lnTo>
                      <a:pt x="162" y="46"/>
                    </a:lnTo>
                    <a:lnTo>
                      <a:pt x="163" y="48"/>
                    </a:lnTo>
                    <a:lnTo>
                      <a:pt x="162" y="48"/>
                    </a:lnTo>
                    <a:lnTo>
                      <a:pt x="162" y="50"/>
                    </a:lnTo>
                    <a:lnTo>
                      <a:pt x="163" y="50"/>
                    </a:lnTo>
                    <a:lnTo>
                      <a:pt x="165" y="52"/>
                    </a:lnTo>
                    <a:lnTo>
                      <a:pt x="163" y="52"/>
                    </a:lnTo>
                    <a:lnTo>
                      <a:pt x="165" y="52"/>
                    </a:lnTo>
                    <a:lnTo>
                      <a:pt x="167" y="52"/>
                    </a:lnTo>
                    <a:lnTo>
                      <a:pt x="167" y="50"/>
                    </a:lnTo>
                    <a:lnTo>
                      <a:pt x="169" y="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1" name="Freeform 111"/>
              <p:cNvSpPr>
                <a:spLocks/>
              </p:cNvSpPr>
              <p:nvPr/>
            </p:nvSpPr>
            <p:spPr bwMode="auto">
              <a:xfrm>
                <a:off x="3583345" y="3636326"/>
                <a:ext cx="641793" cy="473172"/>
              </a:xfrm>
              <a:custGeom>
                <a:avLst/>
                <a:gdLst>
                  <a:gd name="T0" fmla="*/ 357 w 373"/>
                  <a:gd name="T1" fmla="*/ 60 h 275"/>
                  <a:gd name="T2" fmla="*/ 357 w 373"/>
                  <a:gd name="T3" fmla="*/ 81 h 275"/>
                  <a:gd name="T4" fmla="*/ 353 w 373"/>
                  <a:gd name="T5" fmla="*/ 100 h 275"/>
                  <a:gd name="T6" fmla="*/ 361 w 373"/>
                  <a:gd name="T7" fmla="*/ 108 h 275"/>
                  <a:gd name="T8" fmla="*/ 357 w 373"/>
                  <a:gd name="T9" fmla="*/ 127 h 275"/>
                  <a:gd name="T10" fmla="*/ 342 w 373"/>
                  <a:gd name="T11" fmla="*/ 142 h 275"/>
                  <a:gd name="T12" fmla="*/ 334 w 373"/>
                  <a:gd name="T13" fmla="*/ 156 h 275"/>
                  <a:gd name="T14" fmla="*/ 330 w 373"/>
                  <a:gd name="T15" fmla="*/ 171 h 275"/>
                  <a:gd name="T16" fmla="*/ 326 w 373"/>
                  <a:gd name="T17" fmla="*/ 190 h 275"/>
                  <a:gd name="T18" fmla="*/ 332 w 373"/>
                  <a:gd name="T19" fmla="*/ 206 h 275"/>
                  <a:gd name="T20" fmla="*/ 344 w 373"/>
                  <a:gd name="T21" fmla="*/ 221 h 275"/>
                  <a:gd name="T22" fmla="*/ 342 w 373"/>
                  <a:gd name="T23" fmla="*/ 240 h 275"/>
                  <a:gd name="T24" fmla="*/ 330 w 373"/>
                  <a:gd name="T25" fmla="*/ 260 h 275"/>
                  <a:gd name="T26" fmla="*/ 317 w 373"/>
                  <a:gd name="T27" fmla="*/ 263 h 275"/>
                  <a:gd name="T28" fmla="*/ 301 w 373"/>
                  <a:gd name="T29" fmla="*/ 273 h 275"/>
                  <a:gd name="T30" fmla="*/ 286 w 373"/>
                  <a:gd name="T31" fmla="*/ 265 h 275"/>
                  <a:gd name="T32" fmla="*/ 273 w 373"/>
                  <a:gd name="T33" fmla="*/ 262 h 275"/>
                  <a:gd name="T34" fmla="*/ 255 w 373"/>
                  <a:gd name="T35" fmla="*/ 256 h 275"/>
                  <a:gd name="T36" fmla="*/ 230 w 373"/>
                  <a:gd name="T37" fmla="*/ 262 h 275"/>
                  <a:gd name="T38" fmla="*/ 207 w 373"/>
                  <a:gd name="T39" fmla="*/ 250 h 275"/>
                  <a:gd name="T40" fmla="*/ 196 w 373"/>
                  <a:gd name="T41" fmla="*/ 217 h 275"/>
                  <a:gd name="T42" fmla="*/ 171 w 373"/>
                  <a:gd name="T43" fmla="*/ 217 h 275"/>
                  <a:gd name="T44" fmla="*/ 153 w 373"/>
                  <a:gd name="T45" fmla="*/ 217 h 275"/>
                  <a:gd name="T46" fmla="*/ 142 w 373"/>
                  <a:gd name="T47" fmla="*/ 206 h 275"/>
                  <a:gd name="T48" fmla="*/ 129 w 373"/>
                  <a:gd name="T49" fmla="*/ 196 h 275"/>
                  <a:gd name="T50" fmla="*/ 115 w 373"/>
                  <a:gd name="T51" fmla="*/ 208 h 275"/>
                  <a:gd name="T52" fmla="*/ 92 w 373"/>
                  <a:gd name="T53" fmla="*/ 223 h 275"/>
                  <a:gd name="T54" fmla="*/ 75 w 373"/>
                  <a:gd name="T55" fmla="*/ 227 h 275"/>
                  <a:gd name="T56" fmla="*/ 61 w 373"/>
                  <a:gd name="T57" fmla="*/ 240 h 275"/>
                  <a:gd name="T58" fmla="*/ 40 w 373"/>
                  <a:gd name="T59" fmla="*/ 250 h 275"/>
                  <a:gd name="T60" fmla="*/ 27 w 373"/>
                  <a:gd name="T61" fmla="*/ 258 h 275"/>
                  <a:gd name="T62" fmla="*/ 21 w 373"/>
                  <a:gd name="T63" fmla="*/ 240 h 275"/>
                  <a:gd name="T64" fmla="*/ 21 w 373"/>
                  <a:gd name="T65" fmla="*/ 223 h 275"/>
                  <a:gd name="T66" fmla="*/ 32 w 373"/>
                  <a:gd name="T67" fmla="*/ 215 h 275"/>
                  <a:gd name="T68" fmla="*/ 17 w 373"/>
                  <a:gd name="T69" fmla="*/ 192 h 275"/>
                  <a:gd name="T70" fmla="*/ 7 w 373"/>
                  <a:gd name="T71" fmla="*/ 175 h 275"/>
                  <a:gd name="T72" fmla="*/ 2 w 373"/>
                  <a:gd name="T73" fmla="*/ 146 h 275"/>
                  <a:gd name="T74" fmla="*/ 15 w 373"/>
                  <a:gd name="T75" fmla="*/ 137 h 275"/>
                  <a:gd name="T76" fmla="*/ 29 w 373"/>
                  <a:gd name="T77" fmla="*/ 146 h 275"/>
                  <a:gd name="T78" fmla="*/ 48 w 373"/>
                  <a:gd name="T79" fmla="*/ 133 h 275"/>
                  <a:gd name="T80" fmla="*/ 52 w 373"/>
                  <a:gd name="T81" fmla="*/ 108 h 275"/>
                  <a:gd name="T82" fmla="*/ 69 w 373"/>
                  <a:gd name="T83" fmla="*/ 110 h 275"/>
                  <a:gd name="T84" fmla="*/ 86 w 373"/>
                  <a:gd name="T85" fmla="*/ 123 h 275"/>
                  <a:gd name="T86" fmla="*/ 109 w 373"/>
                  <a:gd name="T87" fmla="*/ 127 h 275"/>
                  <a:gd name="T88" fmla="*/ 129 w 373"/>
                  <a:gd name="T89" fmla="*/ 131 h 275"/>
                  <a:gd name="T90" fmla="*/ 152 w 373"/>
                  <a:gd name="T91" fmla="*/ 125 h 275"/>
                  <a:gd name="T92" fmla="*/ 169 w 373"/>
                  <a:gd name="T93" fmla="*/ 108 h 275"/>
                  <a:gd name="T94" fmla="*/ 180 w 373"/>
                  <a:gd name="T95" fmla="*/ 89 h 275"/>
                  <a:gd name="T96" fmla="*/ 194 w 373"/>
                  <a:gd name="T97" fmla="*/ 67 h 275"/>
                  <a:gd name="T98" fmla="*/ 207 w 373"/>
                  <a:gd name="T99" fmla="*/ 52 h 275"/>
                  <a:gd name="T100" fmla="*/ 213 w 373"/>
                  <a:gd name="T101" fmla="*/ 35 h 275"/>
                  <a:gd name="T102" fmla="*/ 223 w 373"/>
                  <a:gd name="T103" fmla="*/ 25 h 275"/>
                  <a:gd name="T104" fmla="*/ 236 w 373"/>
                  <a:gd name="T105" fmla="*/ 25 h 275"/>
                  <a:gd name="T106" fmla="*/ 255 w 373"/>
                  <a:gd name="T107" fmla="*/ 17 h 275"/>
                  <a:gd name="T108" fmla="*/ 271 w 373"/>
                  <a:gd name="T109" fmla="*/ 10 h 275"/>
                  <a:gd name="T110" fmla="*/ 282 w 373"/>
                  <a:gd name="T111" fmla="*/ 6 h 275"/>
                  <a:gd name="T112" fmla="*/ 300 w 373"/>
                  <a:gd name="T113" fmla="*/ 10 h 275"/>
                  <a:gd name="T114" fmla="*/ 315 w 373"/>
                  <a:gd name="T115" fmla="*/ 25 h 275"/>
                  <a:gd name="T116" fmla="*/ 328 w 373"/>
                  <a:gd name="T117" fmla="*/ 33 h 275"/>
                  <a:gd name="T118" fmla="*/ 342 w 373"/>
                  <a:gd name="T119" fmla="*/ 42 h 275"/>
                  <a:gd name="T120" fmla="*/ 361 w 373"/>
                  <a:gd name="T121"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3" h="275">
                    <a:moveTo>
                      <a:pt x="373" y="52"/>
                    </a:moveTo>
                    <a:lnTo>
                      <a:pt x="371" y="52"/>
                    </a:lnTo>
                    <a:lnTo>
                      <a:pt x="371" y="54"/>
                    </a:lnTo>
                    <a:lnTo>
                      <a:pt x="371" y="56"/>
                    </a:lnTo>
                    <a:lnTo>
                      <a:pt x="371" y="58"/>
                    </a:lnTo>
                    <a:lnTo>
                      <a:pt x="369" y="58"/>
                    </a:lnTo>
                    <a:lnTo>
                      <a:pt x="369" y="56"/>
                    </a:lnTo>
                    <a:lnTo>
                      <a:pt x="367" y="56"/>
                    </a:lnTo>
                    <a:lnTo>
                      <a:pt x="365" y="56"/>
                    </a:lnTo>
                    <a:lnTo>
                      <a:pt x="363" y="54"/>
                    </a:lnTo>
                    <a:lnTo>
                      <a:pt x="361" y="54"/>
                    </a:lnTo>
                    <a:lnTo>
                      <a:pt x="361" y="56"/>
                    </a:lnTo>
                    <a:lnTo>
                      <a:pt x="359" y="58"/>
                    </a:lnTo>
                    <a:lnTo>
                      <a:pt x="359" y="60"/>
                    </a:lnTo>
                    <a:lnTo>
                      <a:pt x="357" y="60"/>
                    </a:lnTo>
                    <a:lnTo>
                      <a:pt x="359" y="62"/>
                    </a:lnTo>
                    <a:lnTo>
                      <a:pt x="359" y="64"/>
                    </a:lnTo>
                    <a:lnTo>
                      <a:pt x="361" y="62"/>
                    </a:lnTo>
                    <a:lnTo>
                      <a:pt x="361" y="64"/>
                    </a:lnTo>
                    <a:lnTo>
                      <a:pt x="361" y="67"/>
                    </a:lnTo>
                    <a:lnTo>
                      <a:pt x="361" y="69"/>
                    </a:lnTo>
                    <a:lnTo>
                      <a:pt x="361" y="71"/>
                    </a:lnTo>
                    <a:lnTo>
                      <a:pt x="361" y="73"/>
                    </a:lnTo>
                    <a:lnTo>
                      <a:pt x="359" y="73"/>
                    </a:lnTo>
                    <a:lnTo>
                      <a:pt x="359" y="71"/>
                    </a:lnTo>
                    <a:lnTo>
                      <a:pt x="359" y="73"/>
                    </a:lnTo>
                    <a:lnTo>
                      <a:pt x="357" y="75"/>
                    </a:lnTo>
                    <a:lnTo>
                      <a:pt x="357" y="77"/>
                    </a:lnTo>
                    <a:lnTo>
                      <a:pt x="357" y="79"/>
                    </a:lnTo>
                    <a:lnTo>
                      <a:pt x="357" y="81"/>
                    </a:lnTo>
                    <a:lnTo>
                      <a:pt x="357" y="83"/>
                    </a:lnTo>
                    <a:lnTo>
                      <a:pt x="355" y="83"/>
                    </a:lnTo>
                    <a:lnTo>
                      <a:pt x="353" y="83"/>
                    </a:lnTo>
                    <a:lnTo>
                      <a:pt x="353" y="85"/>
                    </a:lnTo>
                    <a:lnTo>
                      <a:pt x="355" y="85"/>
                    </a:lnTo>
                    <a:lnTo>
                      <a:pt x="353" y="87"/>
                    </a:lnTo>
                    <a:lnTo>
                      <a:pt x="353" y="89"/>
                    </a:lnTo>
                    <a:lnTo>
                      <a:pt x="351" y="89"/>
                    </a:lnTo>
                    <a:lnTo>
                      <a:pt x="351" y="90"/>
                    </a:lnTo>
                    <a:lnTo>
                      <a:pt x="353" y="92"/>
                    </a:lnTo>
                    <a:lnTo>
                      <a:pt x="353" y="94"/>
                    </a:lnTo>
                    <a:lnTo>
                      <a:pt x="353" y="96"/>
                    </a:lnTo>
                    <a:lnTo>
                      <a:pt x="351" y="96"/>
                    </a:lnTo>
                    <a:lnTo>
                      <a:pt x="351" y="98"/>
                    </a:lnTo>
                    <a:lnTo>
                      <a:pt x="353" y="100"/>
                    </a:lnTo>
                    <a:lnTo>
                      <a:pt x="353" y="98"/>
                    </a:lnTo>
                    <a:lnTo>
                      <a:pt x="355" y="98"/>
                    </a:lnTo>
                    <a:lnTo>
                      <a:pt x="357" y="98"/>
                    </a:lnTo>
                    <a:lnTo>
                      <a:pt x="359" y="98"/>
                    </a:lnTo>
                    <a:lnTo>
                      <a:pt x="359" y="100"/>
                    </a:lnTo>
                    <a:lnTo>
                      <a:pt x="359" y="102"/>
                    </a:lnTo>
                    <a:lnTo>
                      <a:pt x="357" y="104"/>
                    </a:lnTo>
                    <a:lnTo>
                      <a:pt x="359" y="104"/>
                    </a:lnTo>
                    <a:lnTo>
                      <a:pt x="359" y="106"/>
                    </a:lnTo>
                    <a:lnTo>
                      <a:pt x="359" y="104"/>
                    </a:lnTo>
                    <a:lnTo>
                      <a:pt x="361" y="104"/>
                    </a:lnTo>
                    <a:lnTo>
                      <a:pt x="363" y="104"/>
                    </a:lnTo>
                    <a:lnTo>
                      <a:pt x="363" y="106"/>
                    </a:lnTo>
                    <a:lnTo>
                      <a:pt x="363" y="108"/>
                    </a:lnTo>
                    <a:lnTo>
                      <a:pt x="361" y="108"/>
                    </a:lnTo>
                    <a:lnTo>
                      <a:pt x="359" y="110"/>
                    </a:lnTo>
                    <a:lnTo>
                      <a:pt x="361" y="110"/>
                    </a:lnTo>
                    <a:lnTo>
                      <a:pt x="359" y="110"/>
                    </a:lnTo>
                    <a:lnTo>
                      <a:pt x="359" y="112"/>
                    </a:lnTo>
                    <a:lnTo>
                      <a:pt x="359" y="114"/>
                    </a:lnTo>
                    <a:lnTo>
                      <a:pt x="361" y="114"/>
                    </a:lnTo>
                    <a:lnTo>
                      <a:pt x="359" y="114"/>
                    </a:lnTo>
                    <a:lnTo>
                      <a:pt x="359" y="115"/>
                    </a:lnTo>
                    <a:lnTo>
                      <a:pt x="359" y="117"/>
                    </a:lnTo>
                    <a:lnTo>
                      <a:pt x="359" y="119"/>
                    </a:lnTo>
                    <a:lnTo>
                      <a:pt x="359" y="121"/>
                    </a:lnTo>
                    <a:lnTo>
                      <a:pt x="357" y="121"/>
                    </a:lnTo>
                    <a:lnTo>
                      <a:pt x="357" y="123"/>
                    </a:lnTo>
                    <a:lnTo>
                      <a:pt x="357" y="125"/>
                    </a:lnTo>
                    <a:lnTo>
                      <a:pt x="357" y="127"/>
                    </a:lnTo>
                    <a:lnTo>
                      <a:pt x="355" y="129"/>
                    </a:lnTo>
                    <a:lnTo>
                      <a:pt x="353" y="131"/>
                    </a:lnTo>
                    <a:lnTo>
                      <a:pt x="351" y="131"/>
                    </a:lnTo>
                    <a:lnTo>
                      <a:pt x="349" y="131"/>
                    </a:lnTo>
                    <a:lnTo>
                      <a:pt x="349" y="133"/>
                    </a:lnTo>
                    <a:lnTo>
                      <a:pt x="349" y="131"/>
                    </a:lnTo>
                    <a:lnTo>
                      <a:pt x="349" y="133"/>
                    </a:lnTo>
                    <a:lnTo>
                      <a:pt x="349" y="135"/>
                    </a:lnTo>
                    <a:lnTo>
                      <a:pt x="348" y="135"/>
                    </a:lnTo>
                    <a:lnTo>
                      <a:pt x="348" y="137"/>
                    </a:lnTo>
                    <a:lnTo>
                      <a:pt x="344" y="137"/>
                    </a:lnTo>
                    <a:lnTo>
                      <a:pt x="344" y="139"/>
                    </a:lnTo>
                    <a:lnTo>
                      <a:pt x="342" y="139"/>
                    </a:lnTo>
                    <a:lnTo>
                      <a:pt x="342" y="140"/>
                    </a:lnTo>
                    <a:lnTo>
                      <a:pt x="342" y="142"/>
                    </a:lnTo>
                    <a:lnTo>
                      <a:pt x="340" y="144"/>
                    </a:lnTo>
                    <a:lnTo>
                      <a:pt x="340" y="146"/>
                    </a:lnTo>
                    <a:lnTo>
                      <a:pt x="338" y="146"/>
                    </a:lnTo>
                    <a:lnTo>
                      <a:pt x="340" y="146"/>
                    </a:lnTo>
                    <a:lnTo>
                      <a:pt x="340" y="148"/>
                    </a:lnTo>
                    <a:lnTo>
                      <a:pt x="340" y="150"/>
                    </a:lnTo>
                    <a:lnTo>
                      <a:pt x="340" y="152"/>
                    </a:lnTo>
                    <a:lnTo>
                      <a:pt x="340" y="154"/>
                    </a:lnTo>
                    <a:lnTo>
                      <a:pt x="340" y="156"/>
                    </a:lnTo>
                    <a:lnTo>
                      <a:pt x="338" y="156"/>
                    </a:lnTo>
                    <a:lnTo>
                      <a:pt x="336" y="156"/>
                    </a:lnTo>
                    <a:lnTo>
                      <a:pt x="336" y="154"/>
                    </a:lnTo>
                    <a:lnTo>
                      <a:pt x="336" y="156"/>
                    </a:lnTo>
                    <a:lnTo>
                      <a:pt x="336" y="154"/>
                    </a:lnTo>
                    <a:lnTo>
                      <a:pt x="334" y="156"/>
                    </a:lnTo>
                    <a:lnTo>
                      <a:pt x="334" y="154"/>
                    </a:lnTo>
                    <a:lnTo>
                      <a:pt x="334" y="156"/>
                    </a:lnTo>
                    <a:lnTo>
                      <a:pt x="332" y="156"/>
                    </a:lnTo>
                    <a:lnTo>
                      <a:pt x="332" y="158"/>
                    </a:lnTo>
                    <a:lnTo>
                      <a:pt x="332" y="160"/>
                    </a:lnTo>
                    <a:lnTo>
                      <a:pt x="332" y="162"/>
                    </a:lnTo>
                    <a:lnTo>
                      <a:pt x="332" y="160"/>
                    </a:lnTo>
                    <a:lnTo>
                      <a:pt x="330" y="162"/>
                    </a:lnTo>
                    <a:lnTo>
                      <a:pt x="332" y="162"/>
                    </a:lnTo>
                    <a:lnTo>
                      <a:pt x="330" y="162"/>
                    </a:lnTo>
                    <a:lnTo>
                      <a:pt x="330" y="163"/>
                    </a:lnTo>
                    <a:lnTo>
                      <a:pt x="330" y="165"/>
                    </a:lnTo>
                    <a:lnTo>
                      <a:pt x="330" y="167"/>
                    </a:lnTo>
                    <a:lnTo>
                      <a:pt x="330" y="169"/>
                    </a:lnTo>
                    <a:lnTo>
                      <a:pt x="330" y="171"/>
                    </a:lnTo>
                    <a:lnTo>
                      <a:pt x="330" y="173"/>
                    </a:lnTo>
                    <a:lnTo>
                      <a:pt x="328" y="173"/>
                    </a:lnTo>
                    <a:lnTo>
                      <a:pt x="330" y="175"/>
                    </a:lnTo>
                    <a:lnTo>
                      <a:pt x="328" y="175"/>
                    </a:lnTo>
                    <a:lnTo>
                      <a:pt x="328" y="177"/>
                    </a:lnTo>
                    <a:lnTo>
                      <a:pt x="328" y="179"/>
                    </a:lnTo>
                    <a:lnTo>
                      <a:pt x="328" y="181"/>
                    </a:lnTo>
                    <a:lnTo>
                      <a:pt x="328" y="183"/>
                    </a:lnTo>
                    <a:lnTo>
                      <a:pt x="326" y="183"/>
                    </a:lnTo>
                    <a:lnTo>
                      <a:pt x="328" y="183"/>
                    </a:lnTo>
                    <a:lnTo>
                      <a:pt x="326" y="183"/>
                    </a:lnTo>
                    <a:lnTo>
                      <a:pt x="326" y="185"/>
                    </a:lnTo>
                    <a:lnTo>
                      <a:pt x="326" y="187"/>
                    </a:lnTo>
                    <a:lnTo>
                      <a:pt x="326" y="188"/>
                    </a:lnTo>
                    <a:lnTo>
                      <a:pt x="326" y="190"/>
                    </a:lnTo>
                    <a:lnTo>
                      <a:pt x="328" y="190"/>
                    </a:lnTo>
                    <a:lnTo>
                      <a:pt x="328" y="192"/>
                    </a:lnTo>
                    <a:lnTo>
                      <a:pt x="330" y="192"/>
                    </a:lnTo>
                    <a:lnTo>
                      <a:pt x="330" y="194"/>
                    </a:lnTo>
                    <a:lnTo>
                      <a:pt x="330" y="196"/>
                    </a:lnTo>
                    <a:lnTo>
                      <a:pt x="332" y="196"/>
                    </a:lnTo>
                    <a:lnTo>
                      <a:pt x="334" y="196"/>
                    </a:lnTo>
                    <a:lnTo>
                      <a:pt x="334" y="198"/>
                    </a:lnTo>
                    <a:lnTo>
                      <a:pt x="332" y="198"/>
                    </a:lnTo>
                    <a:lnTo>
                      <a:pt x="332" y="200"/>
                    </a:lnTo>
                    <a:lnTo>
                      <a:pt x="330" y="200"/>
                    </a:lnTo>
                    <a:lnTo>
                      <a:pt x="330" y="202"/>
                    </a:lnTo>
                    <a:lnTo>
                      <a:pt x="332" y="202"/>
                    </a:lnTo>
                    <a:lnTo>
                      <a:pt x="332" y="204"/>
                    </a:lnTo>
                    <a:lnTo>
                      <a:pt x="332" y="206"/>
                    </a:lnTo>
                    <a:lnTo>
                      <a:pt x="332" y="208"/>
                    </a:lnTo>
                    <a:lnTo>
                      <a:pt x="332" y="210"/>
                    </a:lnTo>
                    <a:lnTo>
                      <a:pt x="334" y="210"/>
                    </a:lnTo>
                    <a:lnTo>
                      <a:pt x="332" y="210"/>
                    </a:lnTo>
                    <a:lnTo>
                      <a:pt x="334" y="212"/>
                    </a:lnTo>
                    <a:lnTo>
                      <a:pt x="334" y="213"/>
                    </a:lnTo>
                    <a:lnTo>
                      <a:pt x="336" y="213"/>
                    </a:lnTo>
                    <a:lnTo>
                      <a:pt x="336" y="215"/>
                    </a:lnTo>
                    <a:lnTo>
                      <a:pt x="338" y="215"/>
                    </a:lnTo>
                    <a:lnTo>
                      <a:pt x="338" y="217"/>
                    </a:lnTo>
                    <a:lnTo>
                      <a:pt x="340" y="217"/>
                    </a:lnTo>
                    <a:lnTo>
                      <a:pt x="340" y="219"/>
                    </a:lnTo>
                    <a:lnTo>
                      <a:pt x="342" y="219"/>
                    </a:lnTo>
                    <a:lnTo>
                      <a:pt x="344" y="219"/>
                    </a:lnTo>
                    <a:lnTo>
                      <a:pt x="344" y="221"/>
                    </a:lnTo>
                    <a:lnTo>
                      <a:pt x="344" y="223"/>
                    </a:lnTo>
                    <a:lnTo>
                      <a:pt x="346" y="223"/>
                    </a:lnTo>
                    <a:lnTo>
                      <a:pt x="346" y="225"/>
                    </a:lnTo>
                    <a:lnTo>
                      <a:pt x="344" y="225"/>
                    </a:lnTo>
                    <a:lnTo>
                      <a:pt x="344" y="227"/>
                    </a:lnTo>
                    <a:lnTo>
                      <a:pt x="344" y="229"/>
                    </a:lnTo>
                    <a:lnTo>
                      <a:pt x="344" y="231"/>
                    </a:lnTo>
                    <a:lnTo>
                      <a:pt x="344" y="233"/>
                    </a:lnTo>
                    <a:lnTo>
                      <a:pt x="346" y="233"/>
                    </a:lnTo>
                    <a:lnTo>
                      <a:pt x="346" y="235"/>
                    </a:lnTo>
                    <a:lnTo>
                      <a:pt x="344" y="235"/>
                    </a:lnTo>
                    <a:lnTo>
                      <a:pt x="344" y="237"/>
                    </a:lnTo>
                    <a:lnTo>
                      <a:pt x="344" y="238"/>
                    </a:lnTo>
                    <a:lnTo>
                      <a:pt x="342" y="238"/>
                    </a:lnTo>
                    <a:lnTo>
                      <a:pt x="342" y="240"/>
                    </a:lnTo>
                    <a:lnTo>
                      <a:pt x="342" y="242"/>
                    </a:lnTo>
                    <a:lnTo>
                      <a:pt x="340" y="242"/>
                    </a:lnTo>
                    <a:lnTo>
                      <a:pt x="340" y="244"/>
                    </a:lnTo>
                    <a:lnTo>
                      <a:pt x="340" y="246"/>
                    </a:lnTo>
                    <a:lnTo>
                      <a:pt x="340" y="248"/>
                    </a:lnTo>
                    <a:lnTo>
                      <a:pt x="338" y="248"/>
                    </a:lnTo>
                    <a:lnTo>
                      <a:pt x="338" y="250"/>
                    </a:lnTo>
                    <a:lnTo>
                      <a:pt x="338" y="252"/>
                    </a:lnTo>
                    <a:lnTo>
                      <a:pt x="336" y="252"/>
                    </a:lnTo>
                    <a:lnTo>
                      <a:pt x="336" y="254"/>
                    </a:lnTo>
                    <a:lnTo>
                      <a:pt x="334" y="256"/>
                    </a:lnTo>
                    <a:lnTo>
                      <a:pt x="334" y="258"/>
                    </a:lnTo>
                    <a:lnTo>
                      <a:pt x="332" y="258"/>
                    </a:lnTo>
                    <a:lnTo>
                      <a:pt x="330" y="258"/>
                    </a:lnTo>
                    <a:lnTo>
                      <a:pt x="330" y="260"/>
                    </a:lnTo>
                    <a:lnTo>
                      <a:pt x="328" y="260"/>
                    </a:lnTo>
                    <a:lnTo>
                      <a:pt x="330" y="260"/>
                    </a:lnTo>
                    <a:lnTo>
                      <a:pt x="330" y="262"/>
                    </a:lnTo>
                    <a:lnTo>
                      <a:pt x="330" y="263"/>
                    </a:lnTo>
                    <a:lnTo>
                      <a:pt x="328" y="263"/>
                    </a:lnTo>
                    <a:lnTo>
                      <a:pt x="328" y="262"/>
                    </a:lnTo>
                    <a:lnTo>
                      <a:pt x="326" y="262"/>
                    </a:lnTo>
                    <a:lnTo>
                      <a:pt x="326" y="260"/>
                    </a:lnTo>
                    <a:lnTo>
                      <a:pt x="326" y="258"/>
                    </a:lnTo>
                    <a:lnTo>
                      <a:pt x="324" y="258"/>
                    </a:lnTo>
                    <a:lnTo>
                      <a:pt x="324" y="260"/>
                    </a:lnTo>
                    <a:lnTo>
                      <a:pt x="323" y="260"/>
                    </a:lnTo>
                    <a:lnTo>
                      <a:pt x="321" y="262"/>
                    </a:lnTo>
                    <a:lnTo>
                      <a:pt x="319" y="262"/>
                    </a:lnTo>
                    <a:lnTo>
                      <a:pt x="317" y="263"/>
                    </a:lnTo>
                    <a:lnTo>
                      <a:pt x="319" y="263"/>
                    </a:lnTo>
                    <a:lnTo>
                      <a:pt x="319" y="265"/>
                    </a:lnTo>
                    <a:lnTo>
                      <a:pt x="319" y="267"/>
                    </a:lnTo>
                    <a:lnTo>
                      <a:pt x="317" y="267"/>
                    </a:lnTo>
                    <a:lnTo>
                      <a:pt x="317" y="269"/>
                    </a:lnTo>
                    <a:lnTo>
                      <a:pt x="317" y="271"/>
                    </a:lnTo>
                    <a:lnTo>
                      <a:pt x="315" y="271"/>
                    </a:lnTo>
                    <a:lnTo>
                      <a:pt x="313" y="273"/>
                    </a:lnTo>
                    <a:lnTo>
                      <a:pt x="311" y="273"/>
                    </a:lnTo>
                    <a:lnTo>
                      <a:pt x="309" y="273"/>
                    </a:lnTo>
                    <a:lnTo>
                      <a:pt x="309" y="275"/>
                    </a:lnTo>
                    <a:lnTo>
                      <a:pt x="307" y="275"/>
                    </a:lnTo>
                    <a:lnTo>
                      <a:pt x="305" y="275"/>
                    </a:lnTo>
                    <a:lnTo>
                      <a:pt x="303" y="273"/>
                    </a:lnTo>
                    <a:lnTo>
                      <a:pt x="301" y="273"/>
                    </a:lnTo>
                    <a:lnTo>
                      <a:pt x="301" y="271"/>
                    </a:lnTo>
                    <a:lnTo>
                      <a:pt x="300" y="271"/>
                    </a:lnTo>
                    <a:lnTo>
                      <a:pt x="300" y="269"/>
                    </a:lnTo>
                    <a:lnTo>
                      <a:pt x="298" y="269"/>
                    </a:lnTo>
                    <a:lnTo>
                      <a:pt x="298" y="267"/>
                    </a:lnTo>
                    <a:lnTo>
                      <a:pt x="298" y="265"/>
                    </a:lnTo>
                    <a:lnTo>
                      <a:pt x="296" y="265"/>
                    </a:lnTo>
                    <a:lnTo>
                      <a:pt x="294" y="265"/>
                    </a:lnTo>
                    <a:lnTo>
                      <a:pt x="292" y="265"/>
                    </a:lnTo>
                    <a:lnTo>
                      <a:pt x="290" y="265"/>
                    </a:lnTo>
                    <a:lnTo>
                      <a:pt x="290" y="263"/>
                    </a:lnTo>
                    <a:lnTo>
                      <a:pt x="288" y="265"/>
                    </a:lnTo>
                    <a:lnTo>
                      <a:pt x="288" y="263"/>
                    </a:lnTo>
                    <a:lnTo>
                      <a:pt x="286" y="263"/>
                    </a:lnTo>
                    <a:lnTo>
                      <a:pt x="286" y="265"/>
                    </a:lnTo>
                    <a:lnTo>
                      <a:pt x="284" y="265"/>
                    </a:lnTo>
                    <a:lnTo>
                      <a:pt x="284" y="267"/>
                    </a:lnTo>
                    <a:lnTo>
                      <a:pt x="282" y="267"/>
                    </a:lnTo>
                    <a:lnTo>
                      <a:pt x="282" y="265"/>
                    </a:lnTo>
                    <a:lnTo>
                      <a:pt x="280" y="263"/>
                    </a:lnTo>
                    <a:lnTo>
                      <a:pt x="280" y="262"/>
                    </a:lnTo>
                    <a:lnTo>
                      <a:pt x="278" y="262"/>
                    </a:lnTo>
                    <a:lnTo>
                      <a:pt x="278" y="263"/>
                    </a:lnTo>
                    <a:lnTo>
                      <a:pt x="276" y="265"/>
                    </a:lnTo>
                    <a:lnTo>
                      <a:pt x="276" y="267"/>
                    </a:lnTo>
                    <a:lnTo>
                      <a:pt x="275" y="267"/>
                    </a:lnTo>
                    <a:lnTo>
                      <a:pt x="275" y="265"/>
                    </a:lnTo>
                    <a:lnTo>
                      <a:pt x="273" y="265"/>
                    </a:lnTo>
                    <a:lnTo>
                      <a:pt x="273" y="263"/>
                    </a:lnTo>
                    <a:lnTo>
                      <a:pt x="273" y="262"/>
                    </a:lnTo>
                    <a:lnTo>
                      <a:pt x="271" y="262"/>
                    </a:lnTo>
                    <a:lnTo>
                      <a:pt x="271" y="260"/>
                    </a:lnTo>
                    <a:lnTo>
                      <a:pt x="269" y="260"/>
                    </a:lnTo>
                    <a:lnTo>
                      <a:pt x="267" y="260"/>
                    </a:lnTo>
                    <a:lnTo>
                      <a:pt x="265" y="260"/>
                    </a:lnTo>
                    <a:lnTo>
                      <a:pt x="263" y="260"/>
                    </a:lnTo>
                    <a:lnTo>
                      <a:pt x="263" y="258"/>
                    </a:lnTo>
                    <a:lnTo>
                      <a:pt x="261" y="258"/>
                    </a:lnTo>
                    <a:lnTo>
                      <a:pt x="261" y="260"/>
                    </a:lnTo>
                    <a:lnTo>
                      <a:pt x="259" y="260"/>
                    </a:lnTo>
                    <a:lnTo>
                      <a:pt x="259" y="262"/>
                    </a:lnTo>
                    <a:lnTo>
                      <a:pt x="259" y="260"/>
                    </a:lnTo>
                    <a:lnTo>
                      <a:pt x="257" y="260"/>
                    </a:lnTo>
                    <a:lnTo>
                      <a:pt x="257" y="258"/>
                    </a:lnTo>
                    <a:lnTo>
                      <a:pt x="255" y="256"/>
                    </a:lnTo>
                    <a:lnTo>
                      <a:pt x="253" y="256"/>
                    </a:lnTo>
                    <a:lnTo>
                      <a:pt x="251" y="258"/>
                    </a:lnTo>
                    <a:lnTo>
                      <a:pt x="251" y="260"/>
                    </a:lnTo>
                    <a:lnTo>
                      <a:pt x="253" y="262"/>
                    </a:lnTo>
                    <a:lnTo>
                      <a:pt x="251" y="262"/>
                    </a:lnTo>
                    <a:lnTo>
                      <a:pt x="250" y="262"/>
                    </a:lnTo>
                    <a:lnTo>
                      <a:pt x="248" y="262"/>
                    </a:lnTo>
                    <a:lnTo>
                      <a:pt x="246" y="262"/>
                    </a:lnTo>
                    <a:lnTo>
                      <a:pt x="244" y="262"/>
                    </a:lnTo>
                    <a:lnTo>
                      <a:pt x="244" y="265"/>
                    </a:lnTo>
                    <a:lnTo>
                      <a:pt x="242" y="265"/>
                    </a:lnTo>
                    <a:lnTo>
                      <a:pt x="240" y="262"/>
                    </a:lnTo>
                    <a:lnTo>
                      <a:pt x="238" y="262"/>
                    </a:lnTo>
                    <a:lnTo>
                      <a:pt x="234" y="262"/>
                    </a:lnTo>
                    <a:lnTo>
                      <a:pt x="230" y="262"/>
                    </a:lnTo>
                    <a:lnTo>
                      <a:pt x="228" y="262"/>
                    </a:lnTo>
                    <a:lnTo>
                      <a:pt x="226" y="262"/>
                    </a:lnTo>
                    <a:lnTo>
                      <a:pt x="225" y="260"/>
                    </a:lnTo>
                    <a:lnTo>
                      <a:pt x="223" y="260"/>
                    </a:lnTo>
                    <a:lnTo>
                      <a:pt x="223" y="258"/>
                    </a:lnTo>
                    <a:lnTo>
                      <a:pt x="223" y="256"/>
                    </a:lnTo>
                    <a:lnTo>
                      <a:pt x="221" y="256"/>
                    </a:lnTo>
                    <a:lnTo>
                      <a:pt x="219" y="256"/>
                    </a:lnTo>
                    <a:lnTo>
                      <a:pt x="215" y="256"/>
                    </a:lnTo>
                    <a:lnTo>
                      <a:pt x="211" y="256"/>
                    </a:lnTo>
                    <a:lnTo>
                      <a:pt x="209" y="256"/>
                    </a:lnTo>
                    <a:lnTo>
                      <a:pt x="209" y="254"/>
                    </a:lnTo>
                    <a:lnTo>
                      <a:pt x="207" y="254"/>
                    </a:lnTo>
                    <a:lnTo>
                      <a:pt x="207" y="252"/>
                    </a:lnTo>
                    <a:lnTo>
                      <a:pt x="207" y="250"/>
                    </a:lnTo>
                    <a:lnTo>
                      <a:pt x="205" y="250"/>
                    </a:lnTo>
                    <a:lnTo>
                      <a:pt x="205" y="248"/>
                    </a:lnTo>
                    <a:lnTo>
                      <a:pt x="205" y="246"/>
                    </a:lnTo>
                    <a:lnTo>
                      <a:pt x="203" y="246"/>
                    </a:lnTo>
                    <a:lnTo>
                      <a:pt x="202" y="246"/>
                    </a:lnTo>
                    <a:lnTo>
                      <a:pt x="202" y="244"/>
                    </a:lnTo>
                    <a:lnTo>
                      <a:pt x="200" y="244"/>
                    </a:lnTo>
                    <a:lnTo>
                      <a:pt x="200" y="240"/>
                    </a:lnTo>
                    <a:lnTo>
                      <a:pt x="200" y="238"/>
                    </a:lnTo>
                    <a:lnTo>
                      <a:pt x="200" y="235"/>
                    </a:lnTo>
                    <a:lnTo>
                      <a:pt x="200" y="229"/>
                    </a:lnTo>
                    <a:lnTo>
                      <a:pt x="200" y="223"/>
                    </a:lnTo>
                    <a:lnTo>
                      <a:pt x="198" y="223"/>
                    </a:lnTo>
                    <a:lnTo>
                      <a:pt x="198" y="219"/>
                    </a:lnTo>
                    <a:lnTo>
                      <a:pt x="196" y="217"/>
                    </a:lnTo>
                    <a:lnTo>
                      <a:pt x="192" y="217"/>
                    </a:lnTo>
                    <a:lnTo>
                      <a:pt x="190" y="217"/>
                    </a:lnTo>
                    <a:lnTo>
                      <a:pt x="188" y="217"/>
                    </a:lnTo>
                    <a:lnTo>
                      <a:pt x="186" y="217"/>
                    </a:lnTo>
                    <a:lnTo>
                      <a:pt x="184" y="217"/>
                    </a:lnTo>
                    <a:lnTo>
                      <a:pt x="182" y="217"/>
                    </a:lnTo>
                    <a:lnTo>
                      <a:pt x="180" y="217"/>
                    </a:lnTo>
                    <a:lnTo>
                      <a:pt x="178" y="217"/>
                    </a:lnTo>
                    <a:lnTo>
                      <a:pt x="177" y="217"/>
                    </a:lnTo>
                    <a:lnTo>
                      <a:pt x="175" y="217"/>
                    </a:lnTo>
                    <a:lnTo>
                      <a:pt x="173" y="217"/>
                    </a:lnTo>
                    <a:lnTo>
                      <a:pt x="173" y="215"/>
                    </a:lnTo>
                    <a:lnTo>
                      <a:pt x="171" y="217"/>
                    </a:lnTo>
                    <a:lnTo>
                      <a:pt x="171" y="215"/>
                    </a:lnTo>
                    <a:lnTo>
                      <a:pt x="171" y="217"/>
                    </a:lnTo>
                    <a:lnTo>
                      <a:pt x="169" y="215"/>
                    </a:lnTo>
                    <a:lnTo>
                      <a:pt x="169" y="217"/>
                    </a:lnTo>
                    <a:lnTo>
                      <a:pt x="169" y="215"/>
                    </a:lnTo>
                    <a:lnTo>
                      <a:pt x="169" y="217"/>
                    </a:lnTo>
                    <a:lnTo>
                      <a:pt x="169" y="215"/>
                    </a:lnTo>
                    <a:lnTo>
                      <a:pt x="167" y="215"/>
                    </a:lnTo>
                    <a:lnTo>
                      <a:pt x="165" y="215"/>
                    </a:lnTo>
                    <a:lnTo>
                      <a:pt x="163" y="215"/>
                    </a:lnTo>
                    <a:lnTo>
                      <a:pt x="161" y="215"/>
                    </a:lnTo>
                    <a:lnTo>
                      <a:pt x="159" y="215"/>
                    </a:lnTo>
                    <a:lnTo>
                      <a:pt x="159" y="217"/>
                    </a:lnTo>
                    <a:lnTo>
                      <a:pt x="159" y="215"/>
                    </a:lnTo>
                    <a:lnTo>
                      <a:pt x="157" y="217"/>
                    </a:lnTo>
                    <a:lnTo>
                      <a:pt x="155" y="217"/>
                    </a:lnTo>
                    <a:lnTo>
                      <a:pt x="153" y="217"/>
                    </a:lnTo>
                    <a:lnTo>
                      <a:pt x="153" y="215"/>
                    </a:lnTo>
                    <a:lnTo>
                      <a:pt x="152" y="215"/>
                    </a:lnTo>
                    <a:lnTo>
                      <a:pt x="150" y="215"/>
                    </a:lnTo>
                    <a:lnTo>
                      <a:pt x="150" y="212"/>
                    </a:lnTo>
                    <a:lnTo>
                      <a:pt x="152" y="208"/>
                    </a:lnTo>
                    <a:lnTo>
                      <a:pt x="152" y="206"/>
                    </a:lnTo>
                    <a:lnTo>
                      <a:pt x="152" y="204"/>
                    </a:lnTo>
                    <a:lnTo>
                      <a:pt x="150" y="202"/>
                    </a:lnTo>
                    <a:lnTo>
                      <a:pt x="148" y="204"/>
                    </a:lnTo>
                    <a:lnTo>
                      <a:pt x="148" y="202"/>
                    </a:lnTo>
                    <a:lnTo>
                      <a:pt x="146" y="202"/>
                    </a:lnTo>
                    <a:lnTo>
                      <a:pt x="144" y="202"/>
                    </a:lnTo>
                    <a:lnTo>
                      <a:pt x="142" y="202"/>
                    </a:lnTo>
                    <a:lnTo>
                      <a:pt x="142" y="204"/>
                    </a:lnTo>
                    <a:lnTo>
                      <a:pt x="142" y="206"/>
                    </a:lnTo>
                    <a:lnTo>
                      <a:pt x="142" y="208"/>
                    </a:lnTo>
                    <a:lnTo>
                      <a:pt x="140" y="208"/>
                    </a:lnTo>
                    <a:lnTo>
                      <a:pt x="138" y="208"/>
                    </a:lnTo>
                    <a:lnTo>
                      <a:pt x="138" y="210"/>
                    </a:lnTo>
                    <a:lnTo>
                      <a:pt x="136" y="208"/>
                    </a:lnTo>
                    <a:lnTo>
                      <a:pt x="136" y="206"/>
                    </a:lnTo>
                    <a:lnTo>
                      <a:pt x="136" y="204"/>
                    </a:lnTo>
                    <a:lnTo>
                      <a:pt x="136" y="202"/>
                    </a:lnTo>
                    <a:lnTo>
                      <a:pt x="134" y="202"/>
                    </a:lnTo>
                    <a:lnTo>
                      <a:pt x="132" y="204"/>
                    </a:lnTo>
                    <a:lnTo>
                      <a:pt x="130" y="202"/>
                    </a:lnTo>
                    <a:lnTo>
                      <a:pt x="129" y="202"/>
                    </a:lnTo>
                    <a:lnTo>
                      <a:pt x="129" y="200"/>
                    </a:lnTo>
                    <a:lnTo>
                      <a:pt x="129" y="198"/>
                    </a:lnTo>
                    <a:lnTo>
                      <a:pt x="129" y="196"/>
                    </a:lnTo>
                    <a:lnTo>
                      <a:pt x="127" y="196"/>
                    </a:lnTo>
                    <a:lnTo>
                      <a:pt x="125" y="196"/>
                    </a:lnTo>
                    <a:lnTo>
                      <a:pt x="125" y="198"/>
                    </a:lnTo>
                    <a:lnTo>
                      <a:pt x="127" y="200"/>
                    </a:lnTo>
                    <a:lnTo>
                      <a:pt x="125" y="200"/>
                    </a:lnTo>
                    <a:lnTo>
                      <a:pt x="125" y="202"/>
                    </a:lnTo>
                    <a:lnTo>
                      <a:pt x="125" y="204"/>
                    </a:lnTo>
                    <a:lnTo>
                      <a:pt x="125" y="206"/>
                    </a:lnTo>
                    <a:lnTo>
                      <a:pt x="123" y="206"/>
                    </a:lnTo>
                    <a:lnTo>
                      <a:pt x="123" y="208"/>
                    </a:lnTo>
                    <a:lnTo>
                      <a:pt x="121" y="208"/>
                    </a:lnTo>
                    <a:lnTo>
                      <a:pt x="119" y="208"/>
                    </a:lnTo>
                    <a:lnTo>
                      <a:pt x="117" y="208"/>
                    </a:lnTo>
                    <a:lnTo>
                      <a:pt x="117" y="210"/>
                    </a:lnTo>
                    <a:lnTo>
                      <a:pt x="115" y="208"/>
                    </a:lnTo>
                    <a:lnTo>
                      <a:pt x="113" y="208"/>
                    </a:lnTo>
                    <a:lnTo>
                      <a:pt x="109" y="206"/>
                    </a:lnTo>
                    <a:lnTo>
                      <a:pt x="107" y="206"/>
                    </a:lnTo>
                    <a:lnTo>
                      <a:pt x="105" y="208"/>
                    </a:lnTo>
                    <a:lnTo>
                      <a:pt x="104" y="208"/>
                    </a:lnTo>
                    <a:lnTo>
                      <a:pt x="102" y="212"/>
                    </a:lnTo>
                    <a:lnTo>
                      <a:pt x="100" y="215"/>
                    </a:lnTo>
                    <a:lnTo>
                      <a:pt x="98" y="215"/>
                    </a:lnTo>
                    <a:lnTo>
                      <a:pt x="96" y="215"/>
                    </a:lnTo>
                    <a:lnTo>
                      <a:pt x="96" y="217"/>
                    </a:lnTo>
                    <a:lnTo>
                      <a:pt x="94" y="217"/>
                    </a:lnTo>
                    <a:lnTo>
                      <a:pt x="94" y="219"/>
                    </a:lnTo>
                    <a:lnTo>
                      <a:pt x="94" y="221"/>
                    </a:lnTo>
                    <a:lnTo>
                      <a:pt x="92" y="221"/>
                    </a:lnTo>
                    <a:lnTo>
                      <a:pt x="92" y="223"/>
                    </a:lnTo>
                    <a:lnTo>
                      <a:pt x="92" y="225"/>
                    </a:lnTo>
                    <a:lnTo>
                      <a:pt x="90" y="225"/>
                    </a:lnTo>
                    <a:lnTo>
                      <a:pt x="90" y="223"/>
                    </a:lnTo>
                    <a:lnTo>
                      <a:pt x="88" y="223"/>
                    </a:lnTo>
                    <a:lnTo>
                      <a:pt x="86" y="223"/>
                    </a:lnTo>
                    <a:lnTo>
                      <a:pt x="86" y="225"/>
                    </a:lnTo>
                    <a:lnTo>
                      <a:pt x="84" y="225"/>
                    </a:lnTo>
                    <a:lnTo>
                      <a:pt x="82" y="227"/>
                    </a:lnTo>
                    <a:lnTo>
                      <a:pt x="80" y="227"/>
                    </a:lnTo>
                    <a:lnTo>
                      <a:pt x="80" y="225"/>
                    </a:lnTo>
                    <a:lnTo>
                      <a:pt x="79" y="225"/>
                    </a:lnTo>
                    <a:lnTo>
                      <a:pt x="77" y="225"/>
                    </a:lnTo>
                    <a:lnTo>
                      <a:pt x="77" y="227"/>
                    </a:lnTo>
                    <a:lnTo>
                      <a:pt x="75" y="225"/>
                    </a:lnTo>
                    <a:lnTo>
                      <a:pt x="75" y="227"/>
                    </a:lnTo>
                    <a:lnTo>
                      <a:pt x="73" y="227"/>
                    </a:lnTo>
                    <a:lnTo>
                      <a:pt x="73" y="229"/>
                    </a:lnTo>
                    <a:lnTo>
                      <a:pt x="73" y="231"/>
                    </a:lnTo>
                    <a:lnTo>
                      <a:pt x="71" y="231"/>
                    </a:lnTo>
                    <a:lnTo>
                      <a:pt x="69" y="231"/>
                    </a:lnTo>
                    <a:lnTo>
                      <a:pt x="69" y="233"/>
                    </a:lnTo>
                    <a:lnTo>
                      <a:pt x="67" y="233"/>
                    </a:lnTo>
                    <a:lnTo>
                      <a:pt x="67" y="235"/>
                    </a:lnTo>
                    <a:lnTo>
                      <a:pt x="65" y="235"/>
                    </a:lnTo>
                    <a:lnTo>
                      <a:pt x="65" y="233"/>
                    </a:lnTo>
                    <a:lnTo>
                      <a:pt x="65" y="235"/>
                    </a:lnTo>
                    <a:lnTo>
                      <a:pt x="65" y="237"/>
                    </a:lnTo>
                    <a:lnTo>
                      <a:pt x="65" y="238"/>
                    </a:lnTo>
                    <a:lnTo>
                      <a:pt x="63" y="240"/>
                    </a:lnTo>
                    <a:lnTo>
                      <a:pt x="61" y="240"/>
                    </a:lnTo>
                    <a:lnTo>
                      <a:pt x="61" y="238"/>
                    </a:lnTo>
                    <a:lnTo>
                      <a:pt x="59" y="238"/>
                    </a:lnTo>
                    <a:lnTo>
                      <a:pt x="57" y="238"/>
                    </a:lnTo>
                    <a:lnTo>
                      <a:pt x="57" y="240"/>
                    </a:lnTo>
                    <a:lnTo>
                      <a:pt x="56" y="240"/>
                    </a:lnTo>
                    <a:lnTo>
                      <a:pt x="54" y="240"/>
                    </a:lnTo>
                    <a:lnTo>
                      <a:pt x="52" y="242"/>
                    </a:lnTo>
                    <a:lnTo>
                      <a:pt x="52" y="244"/>
                    </a:lnTo>
                    <a:lnTo>
                      <a:pt x="50" y="244"/>
                    </a:lnTo>
                    <a:lnTo>
                      <a:pt x="50" y="246"/>
                    </a:lnTo>
                    <a:lnTo>
                      <a:pt x="48" y="246"/>
                    </a:lnTo>
                    <a:lnTo>
                      <a:pt x="46" y="246"/>
                    </a:lnTo>
                    <a:lnTo>
                      <a:pt x="44" y="246"/>
                    </a:lnTo>
                    <a:lnTo>
                      <a:pt x="42" y="248"/>
                    </a:lnTo>
                    <a:lnTo>
                      <a:pt x="40" y="250"/>
                    </a:lnTo>
                    <a:lnTo>
                      <a:pt x="38" y="250"/>
                    </a:lnTo>
                    <a:lnTo>
                      <a:pt x="38" y="252"/>
                    </a:lnTo>
                    <a:lnTo>
                      <a:pt x="40" y="254"/>
                    </a:lnTo>
                    <a:lnTo>
                      <a:pt x="38" y="254"/>
                    </a:lnTo>
                    <a:lnTo>
                      <a:pt x="38" y="256"/>
                    </a:lnTo>
                    <a:lnTo>
                      <a:pt x="36" y="256"/>
                    </a:lnTo>
                    <a:lnTo>
                      <a:pt x="34" y="256"/>
                    </a:lnTo>
                    <a:lnTo>
                      <a:pt x="34" y="258"/>
                    </a:lnTo>
                    <a:lnTo>
                      <a:pt x="32" y="256"/>
                    </a:lnTo>
                    <a:lnTo>
                      <a:pt x="32" y="258"/>
                    </a:lnTo>
                    <a:lnTo>
                      <a:pt x="32" y="256"/>
                    </a:lnTo>
                    <a:lnTo>
                      <a:pt x="32" y="258"/>
                    </a:lnTo>
                    <a:lnTo>
                      <a:pt x="31" y="258"/>
                    </a:lnTo>
                    <a:lnTo>
                      <a:pt x="29" y="258"/>
                    </a:lnTo>
                    <a:lnTo>
                      <a:pt x="27" y="258"/>
                    </a:lnTo>
                    <a:lnTo>
                      <a:pt x="25" y="258"/>
                    </a:lnTo>
                    <a:lnTo>
                      <a:pt x="23" y="258"/>
                    </a:lnTo>
                    <a:lnTo>
                      <a:pt x="23" y="260"/>
                    </a:lnTo>
                    <a:lnTo>
                      <a:pt x="23" y="258"/>
                    </a:lnTo>
                    <a:lnTo>
                      <a:pt x="23" y="256"/>
                    </a:lnTo>
                    <a:lnTo>
                      <a:pt x="25" y="254"/>
                    </a:lnTo>
                    <a:lnTo>
                      <a:pt x="23" y="252"/>
                    </a:lnTo>
                    <a:lnTo>
                      <a:pt x="21" y="252"/>
                    </a:lnTo>
                    <a:lnTo>
                      <a:pt x="21" y="250"/>
                    </a:lnTo>
                    <a:lnTo>
                      <a:pt x="23" y="248"/>
                    </a:lnTo>
                    <a:lnTo>
                      <a:pt x="23" y="246"/>
                    </a:lnTo>
                    <a:lnTo>
                      <a:pt x="21" y="246"/>
                    </a:lnTo>
                    <a:lnTo>
                      <a:pt x="21" y="244"/>
                    </a:lnTo>
                    <a:lnTo>
                      <a:pt x="21" y="242"/>
                    </a:lnTo>
                    <a:lnTo>
                      <a:pt x="21" y="240"/>
                    </a:lnTo>
                    <a:lnTo>
                      <a:pt x="19" y="238"/>
                    </a:lnTo>
                    <a:lnTo>
                      <a:pt x="17" y="238"/>
                    </a:lnTo>
                    <a:lnTo>
                      <a:pt x="17" y="240"/>
                    </a:lnTo>
                    <a:lnTo>
                      <a:pt x="15" y="240"/>
                    </a:lnTo>
                    <a:lnTo>
                      <a:pt x="15" y="238"/>
                    </a:lnTo>
                    <a:lnTo>
                      <a:pt x="13" y="238"/>
                    </a:lnTo>
                    <a:lnTo>
                      <a:pt x="15" y="237"/>
                    </a:lnTo>
                    <a:lnTo>
                      <a:pt x="15" y="235"/>
                    </a:lnTo>
                    <a:lnTo>
                      <a:pt x="17" y="233"/>
                    </a:lnTo>
                    <a:lnTo>
                      <a:pt x="17" y="231"/>
                    </a:lnTo>
                    <a:lnTo>
                      <a:pt x="17" y="229"/>
                    </a:lnTo>
                    <a:lnTo>
                      <a:pt x="19" y="229"/>
                    </a:lnTo>
                    <a:lnTo>
                      <a:pt x="21" y="227"/>
                    </a:lnTo>
                    <a:lnTo>
                      <a:pt x="21" y="225"/>
                    </a:lnTo>
                    <a:lnTo>
                      <a:pt x="21" y="223"/>
                    </a:lnTo>
                    <a:lnTo>
                      <a:pt x="21" y="221"/>
                    </a:lnTo>
                    <a:lnTo>
                      <a:pt x="23" y="221"/>
                    </a:lnTo>
                    <a:lnTo>
                      <a:pt x="25" y="221"/>
                    </a:lnTo>
                    <a:lnTo>
                      <a:pt x="25" y="223"/>
                    </a:lnTo>
                    <a:lnTo>
                      <a:pt x="25" y="225"/>
                    </a:lnTo>
                    <a:lnTo>
                      <a:pt x="25" y="227"/>
                    </a:lnTo>
                    <a:lnTo>
                      <a:pt x="27" y="227"/>
                    </a:lnTo>
                    <a:lnTo>
                      <a:pt x="29" y="227"/>
                    </a:lnTo>
                    <a:lnTo>
                      <a:pt x="31" y="225"/>
                    </a:lnTo>
                    <a:lnTo>
                      <a:pt x="32" y="225"/>
                    </a:lnTo>
                    <a:lnTo>
                      <a:pt x="34" y="223"/>
                    </a:lnTo>
                    <a:lnTo>
                      <a:pt x="34" y="221"/>
                    </a:lnTo>
                    <a:lnTo>
                      <a:pt x="34" y="219"/>
                    </a:lnTo>
                    <a:lnTo>
                      <a:pt x="34" y="217"/>
                    </a:lnTo>
                    <a:lnTo>
                      <a:pt x="32" y="215"/>
                    </a:lnTo>
                    <a:lnTo>
                      <a:pt x="31" y="213"/>
                    </a:lnTo>
                    <a:lnTo>
                      <a:pt x="29" y="213"/>
                    </a:lnTo>
                    <a:lnTo>
                      <a:pt x="27" y="213"/>
                    </a:lnTo>
                    <a:lnTo>
                      <a:pt x="27" y="212"/>
                    </a:lnTo>
                    <a:lnTo>
                      <a:pt x="27" y="210"/>
                    </a:lnTo>
                    <a:lnTo>
                      <a:pt x="25" y="208"/>
                    </a:lnTo>
                    <a:lnTo>
                      <a:pt x="25" y="206"/>
                    </a:lnTo>
                    <a:lnTo>
                      <a:pt x="23" y="204"/>
                    </a:lnTo>
                    <a:lnTo>
                      <a:pt x="23" y="202"/>
                    </a:lnTo>
                    <a:lnTo>
                      <a:pt x="21" y="200"/>
                    </a:lnTo>
                    <a:lnTo>
                      <a:pt x="21" y="198"/>
                    </a:lnTo>
                    <a:lnTo>
                      <a:pt x="19" y="196"/>
                    </a:lnTo>
                    <a:lnTo>
                      <a:pt x="19" y="194"/>
                    </a:lnTo>
                    <a:lnTo>
                      <a:pt x="19" y="192"/>
                    </a:lnTo>
                    <a:lnTo>
                      <a:pt x="17" y="192"/>
                    </a:lnTo>
                    <a:lnTo>
                      <a:pt x="17" y="190"/>
                    </a:lnTo>
                    <a:lnTo>
                      <a:pt x="15" y="190"/>
                    </a:lnTo>
                    <a:lnTo>
                      <a:pt x="15" y="192"/>
                    </a:lnTo>
                    <a:lnTo>
                      <a:pt x="15" y="190"/>
                    </a:lnTo>
                    <a:lnTo>
                      <a:pt x="15" y="188"/>
                    </a:lnTo>
                    <a:lnTo>
                      <a:pt x="13" y="187"/>
                    </a:lnTo>
                    <a:lnTo>
                      <a:pt x="13" y="185"/>
                    </a:lnTo>
                    <a:lnTo>
                      <a:pt x="11" y="185"/>
                    </a:lnTo>
                    <a:lnTo>
                      <a:pt x="11" y="183"/>
                    </a:lnTo>
                    <a:lnTo>
                      <a:pt x="9" y="183"/>
                    </a:lnTo>
                    <a:lnTo>
                      <a:pt x="9" y="181"/>
                    </a:lnTo>
                    <a:lnTo>
                      <a:pt x="7" y="181"/>
                    </a:lnTo>
                    <a:lnTo>
                      <a:pt x="7" y="179"/>
                    </a:lnTo>
                    <a:lnTo>
                      <a:pt x="7" y="177"/>
                    </a:lnTo>
                    <a:lnTo>
                      <a:pt x="7" y="175"/>
                    </a:lnTo>
                    <a:lnTo>
                      <a:pt x="7" y="173"/>
                    </a:lnTo>
                    <a:lnTo>
                      <a:pt x="7" y="171"/>
                    </a:lnTo>
                    <a:lnTo>
                      <a:pt x="7" y="169"/>
                    </a:lnTo>
                    <a:lnTo>
                      <a:pt x="6" y="169"/>
                    </a:lnTo>
                    <a:lnTo>
                      <a:pt x="6" y="165"/>
                    </a:lnTo>
                    <a:lnTo>
                      <a:pt x="6" y="163"/>
                    </a:lnTo>
                    <a:lnTo>
                      <a:pt x="6" y="162"/>
                    </a:lnTo>
                    <a:lnTo>
                      <a:pt x="7" y="160"/>
                    </a:lnTo>
                    <a:lnTo>
                      <a:pt x="6" y="158"/>
                    </a:lnTo>
                    <a:lnTo>
                      <a:pt x="7" y="156"/>
                    </a:lnTo>
                    <a:lnTo>
                      <a:pt x="6" y="152"/>
                    </a:lnTo>
                    <a:lnTo>
                      <a:pt x="6" y="150"/>
                    </a:lnTo>
                    <a:lnTo>
                      <a:pt x="4" y="150"/>
                    </a:lnTo>
                    <a:lnTo>
                      <a:pt x="2" y="148"/>
                    </a:lnTo>
                    <a:lnTo>
                      <a:pt x="2" y="146"/>
                    </a:lnTo>
                    <a:lnTo>
                      <a:pt x="0" y="144"/>
                    </a:lnTo>
                    <a:lnTo>
                      <a:pt x="0" y="142"/>
                    </a:lnTo>
                    <a:lnTo>
                      <a:pt x="2" y="142"/>
                    </a:lnTo>
                    <a:lnTo>
                      <a:pt x="4" y="144"/>
                    </a:lnTo>
                    <a:lnTo>
                      <a:pt x="4" y="142"/>
                    </a:lnTo>
                    <a:lnTo>
                      <a:pt x="6" y="142"/>
                    </a:lnTo>
                    <a:lnTo>
                      <a:pt x="6" y="144"/>
                    </a:lnTo>
                    <a:lnTo>
                      <a:pt x="7" y="142"/>
                    </a:lnTo>
                    <a:lnTo>
                      <a:pt x="9" y="142"/>
                    </a:lnTo>
                    <a:lnTo>
                      <a:pt x="11" y="142"/>
                    </a:lnTo>
                    <a:lnTo>
                      <a:pt x="11" y="140"/>
                    </a:lnTo>
                    <a:lnTo>
                      <a:pt x="11" y="139"/>
                    </a:lnTo>
                    <a:lnTo>
                      <a:pt x="13" y="139"/>
                    </a:lnTo>
                    <a:lnTo>
                      <a:pt x="15" y="139"/>
                    </a:lnTo>
                    <a:lnTo>
                      <a:pt x="15" y="137"/>
                    </a:lnTo>
                    <a:lnTo>
                      <a:pt x="15" y="139"/>
                    </a:lnTo>
                    <a:lnTo>
                      <a:pt x="17" y="139"/>
                    </a:lnTo>
                    <a:lnTo>
                      <a:pt x="17" y="137"/>
                    </a:lnTo>
                    <a:lnTo>
                      <a:pt x="17" y="139"/>
                    </a:lnTo>
                    <a:lnTo>
                      <a:pt x="17" y="140"/>
                    </a:lnTo>
                    <a:lnTo>
                      <a:pt x="17" y="142"/>
                    </a:lnTo>
                    <a:lnTo>
                      <a:pt x="15" y="144"/>
                    </a:lnTo>
                    <a:lnTo>
                      <a:pt x="17" y="146"/>
                    </a:lnTo>
                    <a:lnTo>
                      <a:pt x="19" y="144"/>
                    </a:lnTo>
                    <a:lnTo>
                      <a:pt x="19" y="142"/>
                    </a:lnTo>
                    <a:lnTo>
                      <a:pt x="21" y="142"/>
                    </a:lnTo>
                    <a:lnTo>
                      <a:pt x="23" y="142"/>
                    </a:lnTo>
                    <a:lnTo>
                      <a:pt x="25" y="142"/>
                    </a:lnTo>
                    <a:lnTo>
                      <a:pt x="27" y="144"/>
                    </a:lnTo>
                    <a:lnTo>
                      <a:pt x="29" y="146"/>
                    </a:lnTo>
                    <a:lnTo>
                      <a:pt x="29" y="148"/>
                    </a:lnTo>
                    <a:lnTo>
                      <a:pt x="31" y="146"/>
                    </a:lnTo>
                    <a:lnTo>
                      <a:pt x="32" y="146"/>
                    </a:lnTo>
                    <a:lnTo>
                      <a:pt x="34" y="144"/>
                    </a:lnTo>
                    <a:lnTo>
                      <a:pt x="36" y="142"/>
                    </a:lnTo>
                    <a:lnTo>
                      <a:pt x="36" y="140"/>
                    </a:lnTo>
                    <a:lnTo>
                      <a:pt x="38" y="139"/>
                    </a:lnTo>
                    <a:lnTo>
                      <a:pt x="38" y="137"/>
                    </a:lnTo>
                    <a:lnTo>
                      <a:pt x="40" y="137"/>
                    </a:lnTo>
                    <a:lnTo>
                      <a:pt x="40" y="135"/>
                    </a:lnTo>
                    <a:lnTo>
                      <a:pt x="42" y="133"/>
                    </a:lnTo>
                    <a:lnTo>
                      <a:pt x="44" y="133"/>
                    </a:lnTo>
                    <a:lnTo>
                      <a:pt x="46" y="133"/>
                    </a:lnTo>
                    <a:lnTo>
                      <a:pt x="48" y="135"/>
                    </a:lnTo>
                    <a:lnTo>
                      <a:pt x="48" y="133"/>
                    </a:lnTo>
                    <a:lnTo>
                      <a:pt x="50" y="133"/>
                    </a:lnTo>
                    <a:lnTo>
                      <a:pt x="48" y="131"/>
                    </a:lnTo>
                    <a:lnTo>
                      <a:pt x="48" y="127"/>
                    </a:lnTo>
                    <a:lnTo>
                      <a:pt x="48" y="125"/>
                    </a:lnTo>
                    <a:lnTo>
                      <a:pt x="48" y="121"/>
                    </a:lnTo>
                    <a:lnTo>
                      <a:pt x="48" y="119"/>
                    </a:lnTo>
                    <a:lnTo>
                      <a:pt x="46" y="119"/>
                    </a:lnTo>
                    <a:lnTo>
                      <a:pt x="46" y="117"/>
                    </a:lnTo>
                    <a:lnTo>
                      <a:pt x="48" y="115"/>
                    </a:lnTo>
                    <a:lnTo>
                      <a:pt x="48" y="114"/>
                    </a:lnTo>
                    <a:lnTo>
                      <a:pt x="50" y="112"/>
                    </a:lnTo>
                    <a:lnTo>
                      <a:pt x="52" y="112"/>
                    </a:lnTo>
                    <a:lnTo>
                      <a:pt x="52" y="110"/>
                    </a:lnTo>
                    <a:lnTo>
                      <a:pt x="50" y="108"/>
                    </a:lnTo>
                    <a:lnTo>
                      <a:pt x="52" y="108"/>
                    </a:lnTo>
                    <a:lnTo>
                      <a:pt x="50" y="106"/>
                    </a:lnTo>
                    <a:lnTo>
                      <a:pt x="52" y="106"/>
                    </a:lnTo>
                    <a:lnTo>
                      <a:pt x="54" y="106"/>
                    </a:lnTo>
                    <a:lnTo>
                      <a:pt x="56" y="104"/>
                    </a:lnTo>
                    <a:lnTo>
                      <a:pt x="57" y="104"/>
                    </a:lnTo>
                    <a:lnTo>
                      <a:pt x="57" y="102"/>
                    </a:lnTo>
                    <a:lnTo>
                      <a:pt x="59" y="102"/>
                    </a:lnTo>
                    <a:lnTo>
                      <a:pt x="59" y="104"/>
                    </a:lnTo>
                    <a:lnTo>
                      <a:pt x="61" y="104"/>
                    </a:lnTo>
                    <a:lnTo>
                      <a:pt x="63" y="104"/>
                    </a:lnTo>
                    <a:lnTo>
                      <a:pt x="65" y="106"/>
                    </a:lnTo>
                    <a:lnTo>
                      <a:pt x="65" y="108"/>
                    </a:lnTo>
                    <a:lnTo>
                      <a:pt x="67" y="108"/>
                    </a:lnTo>
                    <a:lnTo>
                      <a:pt x="67" y="110"/>
                    </a:lnTo>
                    <a:lnTo>
                      <a:pt x="69" y="110"/>
                    </a:lnTo>
                    <a:lnTo>
                      <a:pt x="71" y="112"/>
                    </a:lnTo>
                    <a:lnTo>
                      <a:pt x="73" y="112"/>
                    </a:lnTo>
                    <a:lnTo>
                      <a:pt x="73" y="114"/>
                    </a:lnTo>
                    <a:lnTo>
                      <a:pt x="73" y="115"/>
                    </a:lnTo>
                    <a:lnTo>
                      <a:pt x="73" y="117"/>
                    </a:lnTo>
                    <a:lnTo>
                      <a:pt x="73" y="119"/>
                    </a:lnTo>
                    <a:lnTo>
                      <a:pt x="75" y="119"/>
                    </a:lnTo>
                    <a:lnTo>
                      <a:pt x="75" y="123"/>
                    </a:lnTo>
                    <a:lnTo>
                      <a:pt x="77" y="123"/>
                    </a:lnTo>
                    <a:lnTo>
                      <a:pt x="79" y="123"/>
                    </a:lnTo>
                    <a:lnTo>
                      <a:pt x="79" y="121"/>
                    </a:lnTo>
                    <a:lnTo>
                      <a:pt x="80" y="121"/>
                    </a:lnTo>
                    <a:lnTo>
                      <a:pt x="82" y="121"/>
                    </a:lnTo>
                    <a:lnTo>
                      <a:pt x="84" y="121"/>
                    </a:lnTo>
                    <a:lnTo>
                      <a:pt x="86" y="123"/>
                    </a:lnTo>
                    <a:lnTo>
                      <a:pt x="86" y="125"/>
                    </a:lnTo>
                    <a:lnTo>
                      <a:pt x="88" y="125"/>
                    </a:lnTo>
                    <a:lnTo>
                      <a:pt x="90" y="125"/>
                    </a:lnTo>
                    <a:lnTo>
                      <a:pt x="90" y="127"/>
                    </a:lnTo>
                    <a:lnTo>
                      <a:pt x="90" y="125"/>
                    </a:lnTo>
                    <a:lnTo>
                      <a:pt x="92" y="125"/>
                    </a:lnTo>
                    <a:lnTo>
                      <a:pt x="94" y="125"/>
                    </a:lnTo>
                    <a:lnTo>
                      <a:pt x="96" y="125"/>
                    </a:lnTo>
                    <a:lnTo>
                      <a:pt x="98" y="125"/>
                    </a:lnTo>
                    <a:lnTo>
                      <a:pt x="100" y="125"/>
                    </a:lnTo>
                    <a:lnTo>
                      <a:pt x="102" y="125"/>
                    </a:lnTo>
                    <a:lnTo>
                      <a:pt x="104" y="127"/>
                    </a:lnTo>
                    <a:lnTo>
                      <a:pt x="105" y="127"/>
                    </a:lnTo>
                    <a:lnTo>
                      <a:pt x="107" y="127"/>
                    </a:lnTo>
                    <a:lnTo>
                      <a:pt x="109" y="127"/>
                    </a:lnTo>
                    <a:lnTo>
                      <a:pt x="111" y="127"/>
                    </a:lnTo>
                    <a:lnTo>
                      <a:pt x="113" y="129"/>
                    </a:lnTo>
                    <a:lnTo>
                      <a:pt x="113" y="131"/>
                    </a:lnTo>
                    <a:lnTo>
                      <a:pt x="115" y="131"/>
                    </a:lnTo>
                    <a:lnTo>
                      <a:pt x="115" y="133"/>
                    </a:lnTo>
                    <a:lnTo>
                      <a:pt x="117" y="133"/>
                    </a:lnTo>
                    <a:lnTo>
                      <a:pt x="119" y="135"/>
                    </a:lnTo>
                    <a:lnTo>
                      <a:pt x="119" y="133"/>
                    </a:lnTo>
                    <a:lnTo>
                      <a:pt x="121" y="133"/>
                    </a:lnTo>
                    <a:lnTo>
                      <a:pt x="123" y="133"/>
                    </a:lnTo>
                    <a:lnTo>
                      <a:pt x="125" y="131"/>
                    </a:lnTo>
                    <a:lnTo>
                      <a:pt x="127" y="131"/>
                    </a:lnTo>
                    <a:lnTo>
                      <a:pt x="127" y="133"/>
                    </a:lnTo>
                    <a:lnTo>
                      <a:pt x="127" y="131"/>
                    </a:lnTo>
                    <a:lnTo>
                      <a:pt x="129" y="131"/>
                    </a:lnTo>
                    <a:lnTo>
                      <a:pt x="130" y="133"/>
                    </a:lnTo>
                    <a:lnTo>
                      <a:pt x="132" y="133"/>
                    </a:lnTo>
                    <a:lnTo>
                      <a:pt x="134" y="133"/>
                    </a:lnTo>
                    <a:lnTo>
                      <a:pt x="136" y="133"/>
                    </a:lnTo>
                    <a:lnTo>
                      <a:pt x="138" y="133"/>
                    </a:lnTo>
                    <a:lnTo>
                      <a:pt x="140" y="131"/>
                    </a:lnTo>
                    <a:lnTo>
                      <a:pt x="140" y="129"/>
                    </a:lnTo>
                    <a:lnTo>
                      <a:pt x="142" y="129"/>
                    </a:lnTo>
                    <a:lnTo>
                      <a:pt x="144" y="129"/>
                    </a:lnTo>
                    <a:lnTo>
                      <a:pt x="146" y="131"/>
                    </a:lnTo>
                    <a:lnTo>
                      <a:pt x="148" y="131"/>
                    </a:lnTo>
                    <a:lnTo>
                      <a:pt x="148" y="129"/>
                    </a:lnTo>
                    <a:lnTo>
                      <a:pt x="148" y="127"/>
                    </a:lnTo>
                    <a:lnTo>
                      <a:pt x="150" y="125"/>
                    </a:lnTo>
                    <a:lnTo>
                      <a:pt x="152" y="125"/>
                    </a:lnTo>
                    <a:lnTo>
                      <a:pt x="153" y="125"/>
                    </a:lnTo>
                    <a:lnTo>
                      <a:pt x="153" y="123"/>
                    </a:lnTo>
                    <a:lnTo>
                      <a:pt x="155" y="123"/>
                    </a:lnTo>
                    <a:lnTo>
                      <a:pt x="155" y="121"/>
                    </a:lnTo>
                    <a:lnTo>
                      <a:pt x="157" y="121"/>
                    </a:lnTo>
                    <a:lnTo>
                      <a:pt x="157" y="119"/>
                    </a:lnTo>
                    <a:lnTo>
                      <a:pt x="157" y="117"/>
                    </a:lnTo>
                    <a:lnTo>
                      <a:pt x="159" y="117"/>
                    </a:lnTo>
                    <a:lnTo>
                      <a:pt x="161" y="117"/>
                    </a:lnTo>
                    <a:lnTo>
                      <a:pt x="161" y="114"/>
                    </a:lnTo>
                    <a:lnTo>
                      <a:pt x="163" y="114"/>
                    </a:lnTo>
                    <a:lnTo>
                      <a:pt x="165" y="112"/>
                    </a:lnTo>
                    <a:lnTo>
                      <a:pt x="165" y="110"/>
                    </a:lnTo>
                    <a:lnTo>
                      <a:pt x="167" y="110"/>
                    </a:lnTo>
                    <a:lnTo>
                      <a:pt x="169" y="108"/>
                    </a:lnTo>
                    <a:lnTo>
                      <a:pt x="171" y="108"/>
                    </a:lnTo>
                    <a:lnTo>
                      <a:pt x="173" y="108"/>
                    </a:lnTo>
                    <a:lnTo>
                      <a:pt x="175" y="106"/>
                    </a:lnTo>
                    <a:lnTo>
                      <a:pt x="177" y="106"/>
                    </a:lnTo>
                    <a:lnTo>
                      <a:pt x="177" y="104"/>
                    </a:lnTo>
                    <a:lnTo>
                      <a:pt x="175" y="104"/>
                    </a:lnTo>
                    <a:lnTo>
                      <a:pt x="175" y="102"/>
                    </a:lnTo>
                    <a:lnTo>
                      <a:pt x="177" y="102"/>
                    </a:lnTo>
                    <a:lnTo>
                      <a:pt x="177" y="100"/>
                    </a:lnTo>
                    <a:lnTo>
                      <a:pt x="177" y="98"/>
                    </a:lnTo>
                    <a:lnTo>
                      <a:pt x="178" y="96"/>
                    </a:lnTo>
                    <a:lnTo>
                      <a:pt x="178" y="94"/>
                    </a:lnTo>
                    <a:lnTo>
                      <a:pt x="178" y="92"/>
                    </a:lnTo>
                    <a:lnTo>
                      <a:pt x="178" y="90"/>
                    </a:lnTo>
                    <a:lnTo>
                      <a:pt x="180" y="89"/>
                    </a:lnTo>
                    <a:lnTo>
                      <a:pt x="182" y="87"/>
                    </a:lnTo>
                    <a:lnTo>
                      <a:pt x="182" y="85"/>
                    </a:lnTo>
                    <a:lnTo>
                      <a:pt x="184" y="85"/>
                    </a:lnTo>
                    <a:lnTo>
                      <a:pt x="184" y="83"/>
                    </a:lnTo>
                    <a:lnTo>
                      <a:pt x="186" y="81"/>
                    </a:lnTo>
                    <a:lnTo>
                      <a:pt x="186" y="79"/>
                    </a:lnTo>
                    <a:lnTo>
                      <a:pt x="186" y="77"/>
                    </a:lnTo>
                    <a:lnTo>
                      <a:pt x="188" y="77"/>
                    </a:lnTo>
                    <a:lnTo>
                      <a:pt x="190" y="75"/>
                    </a:lnTo>
                    <a:lnTo>
                      <a:pt x="190" y="73"/>
                    </a:lnTo>
                    <a:lnTo>
                      <a:pt x="192" y="73"/>
                    </a:lnTo>
                    <a:lnTo>
                      <a:pt x="192" y="71"/>
                    </a:lnTo>
                    <a:lnTo>
                      <a:pt x="192" y="69"/>
                    </a:lnTo>
                    <a:lnTo>
                      <a:pt x="192" y="67"/>
                    </a:lnTo>
                    <a:lnTo>
                      <a:pt x="194" y="67"/>
                    </a:lnTo>
                    <a:lnTo>
                      <a:pt x="192" y="65"/>
                    </a:lnTo>
                    <a:lnTo>
                      <a:pt x="194" y="65"/>
                    </a:lnTo>
                    <a:lnTo>
                      <a:pt x="194" y="64"/>
                    </a:lnTo>
                    <a:lnTo>
                      <a:pt x="194" y="62"/>
                    </a:lnTo>
                    <a:lnTo>
                      <a:pt x="196" y="60"/>
                    </a:lnTo>
                    <a:lnTo>
                      <a:pt x="198" y="60"/>
                    </a:lnTo>
                    <a:lnTo>
                      <a:pt x="198" y="58"/>
                    </a:lnTo>
                    <a:lnTo>
                      <a:pt x="200" y="58"/>
                    </a:lnTo>
                    <a:lnTo>
                      <a:pt x="202" y="58"/>
                    </a:lnTo>
                    <a:lnTo>
                      <a:pt x="203" y="58"/>
                    </a:lnTo>
                    <a:lnTo>
                      <a:pt x="205" y="58"/>
                    </a:lnTo>
                    <a:lnTo>
                      <a:pt x="207" y="58"/>
                    </a:lnTo>
                    <a:lnTo>
                      <a:pt x="205" y="56"/>
                    </a:lnTo>
                    <a:lnTo>
                      <a:pt x="207" y="54"/>
                    </a:lnTo>
                    <a:lnTo>
                      <a:pt x="207" y="52"/>
                    </a:lnTo>
                    <a:lnTo>
                      <a:pt x="209" y="52"/>
                    </a:lnTo>
                    <a:lnTo>
                      <a:pt x="207" y="52"/>
                    </a:lnTo>
                    <a:lnTo>
                      <a:pt x="209" y="50"/>
                    </a:lnTo>
                    <a:lnTo>
                      <a:pt x="207" y="50"/>
                    </a:lnTo>
                    <a:lnTo>
                      <a:pt x="209" y="50"/>
                    </a:lnTo>
                    <a:lnTo>
                      <a:pt x="209" y="48"/>
                    </a:lnTo>
                    <a:lnTo>
                      <a:pt x="209" y="46"/>
                    </a:lnTo>
                    <a:lnTo>
                      <a:pt x="209" y="44"/>
                    </a:lnTo>
                    <a:lnTo>
                      <a:pt x="209" y="42"/>
                    </a:lnTo>
                    <a:lnTo>
                      <a:pt x="209" y="40"/>
                    </a:lnTo>
                    <a:lnTo>
                      <a:pt x="209" y="39"/>
                    </a:lnTo>
                    <a:lnTo>
                      <a:pt x="211" y="39"/>
                    </a:lnTo>
                    <a:lnTo>
                      <a:pt x="211" y="37"/>
                    </a:lnTo>
                    <a:lnTo>
                      <a:pt x="213" y="37"/>
                    </a:lnTo>
                    <a:lnTo>
                      <a:pt x="213" y="35"/>
                    </a:lnTo>
                    <a:lnTo>
                      <a:pt x="213" y="33"/>
                    </a:lnTo>
                    <a:lnTo>
                      <a:pt x="211" y="31"/>
                    </a:lnTo>
                    <a:lnTo>
                      <a:pt x="209" y="31"/>
                    </a:lnTo>
                    <a:lnTo>
                      <a:pt x="209" y="29"/>
                    </a:lnTo>
                    <a:lnTo>
                      <a:pt x="211" y="27"/>
                    </a:lnTo>
                    <a:lnTo>
                      <a:pt x="213" y="27"/>
                    </a:lnTo>
                    <a:lnTo>
                      <a:pt x="213" y="25"/>
                    </a:lnTo>
                    <a:lnTo>
                      <a:pt x="215" y="25"/>
                    </a:lnTo>
                    <a:lnTo>
                      <a:pt x="217" y="25"/>
                    </a:lnTo>
                    <a:lnTo>
                      <a:pt x="219" y="23"/>
                    </a:lnTo>
                    <a:lnTo>
                      <a:pt x="221" y="23"/>
                    </a:lnTo>
                    <a:lnTo>
                      <a:pt x="221" y="25"/>
                    </a:lnTo>
                    <a:lnTo>
                      <a:pt x="221" y="23"/>
                    </a:lnTo>
                    <a:lnTo>
                      <a:pt x="223" y="23"/>
                    </a:lnTo>
                    <a:lnTo>
                      <a:pt x="223" y="25"/>
                    </a:lnTo>
                    <a:lnTo>
                      <a:pt x="225" y="25"/>
                    </a:lnTo>
                    <a:lnTo>
                      <a:pt x="225" y="23"/>
                    </a:lnTo>
                    <a:lnTo>
                      <a:pt x="226" y="23"/>
                    </a:lnTo>
                    <a:lnTo>
                      <a:pt x="228" y="23"/>
                    </a:lnTo>
                    <a:lnTo>
                      <a:pt x="228" y="21"/>
                    </a:lnTo>
                    <a:lnTo>
                      <a:pt x="228" y="19"/>
                    </a:lnTo>
                    <a:lnTo>
                      <a:pt x="230" y="19"/>
                    </a:lnTo>
                    <a:lnTo>
                      <a:pt x="232" y="19"/>
                    </a:lnTo>
                    <a:lnTo>
                      <a:pt x="232" y="21"/>
                    </a:lnTo>
                    <a:lnTo>
                      <a:pt x="234" y="21"/>
                    </a:lnTo>
                    <a:lnTo>
                      <a:pt x="234" y="23"/>
                    </a:lnTo>
                    <a:lnTo>
                      <a:pt x="232" y="23"/>
                    </a:lnTo>
                    <a:lnTo>
                      <a:pt x="234" y="23"/>
                    </a:lnTo>
                    <a:lnTo>
                      <a:pt x="234" y="25"/>
                    </a:lnTo>
                    <a:lnTo>
                      <a:pt x="236" y="25"/>
                    </a:lnTo>
                    <a:lnTo>
                      <a:pt x="238" y="25"/>
                    </a:lnTo>
                    <a:lnTo>
                      <a:pt x="238" y="23"/>
                    </a:lnTo>
                    <a:lnTo>
                      <a:pt x="240" y="23"/>
                    </a:lnTo>
                    <a:lnTo>
                      <a:pt x="240" y="21"/>
                    </a:lnTo>
                    <a:lnTo>
                      <a:pt x="242" y="21"/>
                    </a:lnTo>
                    <a:lnTo>
                      <a:pt x="244" y="21"/>
                    </a:lnTo>
                    <a:lnTo>
                      <a:pt x="244" y="19"/>
                    </a:lnTo>
                    <a:lnTo>
                      <a:pt x="246" y="19"/>
                    </a:lnTo>
                    <a:lnTo>
                      <a:pt x="246" y="17"/>
                    </a:lnTo>
                    <a:lnTo>
                      <a:pt x="248" y="15"/>
                    </a:lnTo>
                    <a:lnTo>
                      <a:pt x="250" y="15"/>
                    </a:lnTo>
                    <a:lnTo>
                      <a:pt x="250" y="17"/>
                    </a:lnTo>
                    <a:lnTo>
                      <a:pt x="251" y="17"/>
                    </a:lnTo>
                    <a:lnTo>
                      <a:pt x="253" y="17"/>
                    </a:lnTo>
                    <a:lnTo>
                      <a:pt x="255" y="17"/>
                    </a:lnTo>
                    <a:lnTo>
                      <a:pt x="257" y="17"/>
                    </a:lnTo>
                    <a:lnTo>
                      <a:pt x="259" y="19"/>
                    </a:lnTo>
                    <a:lnTo>
                      <a:pt x="261" y="19"/>
                    </a:lnTo>
                    <a:lnTo>
                      <a:pt x="261" y="17"/>
                    </a:lnTo>
                    <a:lnTo>
                      <a:pt x="261" y="15"/>
                    </a:lnTo>
                    <a:lnTo>
                      <a:pt x="263" y="15"/>
                    </a:lnTo>
                    <a:lnTo>
                      <a:pt x="265" y="15"/>
                    </a:lnTo>
                    <a:lnTo>
                      <a:pt x="267" y="14"/>
                    </a:lnTo>
                    <a:lnTo>
                      <a:pt x="265" y="12"/>
                    </a:lnTo>
                    <a:lnTo>
                      <a:pt x="265" y="10"/>
                    </a:lnTo>
                    <a:lnTo>
                      <a:pt x="265" y="8"/>
                    </a:lnTo>
                    <a:lnTo>
                      <a:pt x="267" y="8"/>
                    </a:lnTo>
                    <a:lnTo>
                      <a:pt x="267" y="10"/>
                    </a:lnTo>
                    <a:lnTo>
                      <a:pt x="269" y="10"/>
                    </a:lnTo>
                    <a:lnTo>
                      <a:pt x="271" y="10"/>
                    </a:lnTo>
                    <a:lnTo>
                      <a:pt x="269" y="12"/>
                    </a:lnTo>
                    <a:lnTo>
                      <a:pt x="271" y="12"/>
                    </a:lnTo>
                    <a:lnTo>
                      <a:pt x="271" y="14"/>
                    </a:lnTo>
                    <a:lnTo>
                      <a:pt x="273" y="14"/>
                    </a:lnTo>
                    <a:lnTo>
                      <a:pt x="273" y="15"/>
                    </a:lnTo>
                    <a:lnTo>
                      <a:pt x="275" y="15"/>
                    </a:lnTo>
                    <a:lnTo>
                      <a:pt x="275" y="14"/>
                    </a:lnTo>
                    <a:lnTo>
                      <a:pt x="276" y="14"/>
                    </a:lnTo>
                    <a:lnTo>
                      <a:pt x="276" y="12"/>
                    </a:lnTo>
                    <a:lnTo>
                      <a:pt x="278" y="12"/>
                    </a:lnTo>
                    <a:lnTo>
                      <a:pt x="280" y="12"/>
                    </a:lnTo>
                    <a:lnTo>
                      <a:pt x="280" y="10"/>
                    </a:lnTo>
                    <a:lnTo>
                      <a:pt x="282" y="8"/>
                    </a:lnTo>
                    <a:lnTo>
                      <a:pt x="280" y="8"/>
                    </a:lnTo>
                    <a:lnTo>
                      <a:pt x="282" y="6"/>
                    </a:lnTo>
                    <a:lnTo>
                      <a:pt x="282" y="4"/>
                    </a:lnTo>
                    <a:lnTo>
                      <a:pt x="282" y="2"/>
                    </a:lnTo>
                    <a:lnTo>
                      <a:pt x="282" y="0"/>
                    </a:lnTo>
                    <a:lnTo>
                      <a:pt x="284" y="0"/>
                    </a:lnTo>
                    <a:lnTo>
                      <a:pt x="286" y="0"/>
                    </a:lnTo>
                    <a:lnTo>
                      <a:pt x="288" y="0"/>
                    </a:lnTo>
                    <a:lnTo>
                      <a:pt x="290" y="2"/>
                    </a:lnTo>
                    <a:lnTo>
                      <a:pt x="292" y="4"/>
                    </a:lnTo>
                    <a:lnTo>
                      <a:pt x="292" y="6"/>
                    </a:lnTo>
                    <a:lnTo>
                      <a:pt x="294" y="6"/>
                    </a:lnTo>
                    <a:lnTo>
                      <a:pt x="296" y="6"/>
                    </a:lnTo>
                    <a:lnTo>
                      <a:pt x="296" y="8"/>
                    </a:lnTo>
                    <a:lnTo>
                      <a:pt x="298" y="8"/>
                    </a:lnTo>
                    <a:lnTo>
                      <a:pt x="300" y="8"/>
                    </a:lnTo>
                    <a:lnTo>
                      <a:pt x="300" y="10"/>
                    </a:lnTo>
                    <a:lnTo>
                      <a:pt x="301" y="10"/>
                    </a:lnTo>
                    <a:lnTo>
                      <a:pt x="303" y="10"/>
                    </a:lnTo>
                    <a:lnTo>
                      <a:pt x="303" y="12"/>
                    </a:lnTo>
                    <a:lnTo>
                      <a:pt x="305" y="12"/>
                    </a:lnTo>
                    <a:lnTo>
                      <a:pt x="305" y="14"/>
                    </a:lnTo>
                    <a:lnTo>
                      <a:pt x="305" y="15"/>
                    </a:lnTo>
                    <a:lnTo>
                      <a:pt x="307" y="15"/>
                    </a:lnTo>
                    <a:lnTo>
                      <a:pt x="307" y="17"/>
                    </a:lnTo>
                    <a:lnTo>
                      <a:pt x="307" y="19"/>
                    </a:lnTo>
                    <a:lnTo>
                      <a:pt x="309" y="19"/>
                    </a:lnTo>
                    <a:lnTo>
                      <a:pt x="311" y="19"/>
                    </a:lnTo>
                    <a:lnTo>
                      <a:pt x="313" y="19"/>
                    </a:lnTo>
                    <a:lnTo>
                      <a:pt x="313" y="21"/>
                    </a:lnTo>
                    <a:lnTo>
                      <a:pt x="313" y="23"/>
                    </a:lnTo>
                    <a:lnTo>
                      <a:pt x="315" y="25"/>
                    </a:lnTo>
                    <a:lnTo>
                      <a:pt x="317" y="25"/>
                    </a:lnTo>
                    <a:lnTo>
                      <a:pt x="317" y="23"/>
                    </a:lnTo>
                    <a:lnTo>
                      <a:pt x="319" y="23"/>
                    </a:lnTo>
                    <a:lnTo>
                      <a:pt x="319" y="25"/>
                    </a:lnTo>
                    <a:lnTo>
                      <a:pt x="321" y="25"/>
                    </a:lnTo>
                    <a:lnTo>
                      <a:pt x="321" y="23"/>
                    </a:lnTo>
                    <a:lnTo>
                      <a:pt x="321" y="25"/>
                    </a:lnTo>
                    <a:lnTo>
                      <a:pt x="323" y="25"/>
                    </a:lnTo>
                    <a:lnTo>
                      <a:pt x="324" y="25"/>
                    </a:lnTo>
                    <a:lnTo>
                      <a:pt x="326" y="25"/>
                    </a:lnTo>
                    <a:lnTo>
                      <a:pt x="326" y="27"/>
                    </a:lnTo>
                    <a:lnTo>
                      <a:pt x="326" y="29"/>
                    </a:lnTo>
                    <a:lnTo>
                      <a:pt x="326" y="31"/>
                    </a:lnTo>
                    <a:lnTo>
                      <a:pt x="328" y="31"/>
                    </a:lnTo>
                    <a:lnTo>
                      <a:pt x="328" y="33"/>
                    </a:lnTo>
                    <a:lnTo>
                      <a:pt x="330" y="33"/>
                    </a:lnTo>
                    <a:lnTo>
                      <a:pt x="332" y="33"/>
                    </a:lnTo>
                    <a:lnTo>
                      <a:pt x="334" y="33"/>
                    </a:lnTo>
                    <a:lnTo>
                      <a:pt x="336" y="33"/>
                    </a:lnTo>
                    <a:lnTo>
                      <a:pt x="336" y="35"/>
                    </a:lnTo>
                    <a:lnTo>
                      <a:pt x="338" y="33"/>
                    </a:lnTo>
                    <a:lnTo>
                      <a:pt x="338" y="35"/>
                    </a:lnTo>
                    <a:lnTo>
                      <a:pt x="338" y="37"/>
                    </a:lnTo>
                    <a:lnTo>
                      <a:pt x="338" y="39"/>
                    </a:lnTo>
                    <a:lnTo>
                      <a:pt x="338" y="40"/>
                    </a:lnTo>
                    <a:lnTo>
                      <a:pt x="338" y="42"/>
                    </a:lnTo>
                    <a:lnTo>
                      <a:pt x="340" y="42"/>
                    </a:lnTo>
                    <a:lnTo>
                      <a:pt x="342" y="42"/>
                    </a:lnTo>
                    <a:lnTo>
                      <a:pt x="342" y="40"/>
                    </a:lnTo>
                    <a:lnTo>
                      <a:pt x="342" y="42"/>
                    </a:lnTo>
                    <a:lnTo>
                      <a:pt x="344" y="42"/>
                    </a:lnTo>
                    <a:lnTo>
                      <a:pt x="346" y="42"/>
                    </a:lnTo>
                    <a:lnTo>
                      <a:pt x="348" y="42"/>
                    </a:lnTo>
                    <a:lnTo>
                      <a:pt x="349" y="42"/>
                    </a:lnTo>
                    <a:lnTo>
                      <a:pt x="349" y="40"/>
                    </a:lnTo>
                    <a:lnTo>
                      <a:pt x="351" y="40"/>
                    </a:lnTo>
                    <a:lnTo>
                      <a:pt x="349" y="40"/>
                    </a:lnTo>
                    <a:lnTo>
                      <a:pt x="351" y="39"/>
                    </a:lnTo>
                    <a:lnTo>
                      <a:pt x="353" y="39"/>
                    </a:lnTo>
                    <a:lnTo>
                      <a:pt x="355" y="39"/>
                    </a:lnTo>
                    <a:lnTo>
                      <a:pt x="355" y="40"/>
                    </a:lnTo>
                    <a:lnTo>
                      <a:pt x="357" y="40"/>
                    </a:lnTo>
                    <a:lnTo>
                      <a:pt x="359" y="40"/>
                    </a:lnTo>
                    <a:lnTo>
                      <a:pt x="359" y="39"/>
                    </a:lnTo>
                    <a:lnTo>
                      <a:pt x="361" y="39"/>
                    </a:lnTo>
                    <a:lnTo>
                      <a:pt x="361" y="40"/>
                    </a:lnTo>
                    <a:lnTo>
                      <a:pt x="363" y="40"/>
                    </a:lnTo>
                    <a:lnTo>
                      <a:pt x="365" y="40"/>
                    </a:lnTo>
                    <a:lnTo>
                      <a:pt x="365" y="42"/>
                    </a:lnTo>
                    <a:lnTo>
                      <a:pt x="363" y="44"/>
                    </a:lnTo>
                    <a:lnTo>
                      <a:pt x="363" y="46"/>
                    </a:lnTo>
                    <a:lnTo>
                      <a:pt x="365" y="48"/>
                    </a:lnTo>
                    <a:lnTo>
                      <a:pt x="367" y="48"/>
                    </a:lnTo>
                    <a:lnTo>
                      <a:pt x="367" y="50"/>
                    </a:lnTo>
                    <a:lnTo>
                      <a:pt x="369" y="48"/>
                    </a:lnTo>
                    <a:lnTo>
                      <a:pt x="369" y="50"/>
                    </a:lnTo>
                    <a:lnTo>
                      <a:pt x="371" y="50"/>
                    </a:lnTo>
                    <a:lnTo>
                      <a:pt x="373" y="5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2" name="Freeform 112"/>
              <p:cNvSpPr>
                <a:spLocks/>
              </p:cNvSpPr>
              <p:nvPr/>
            </p:nvSpPr>
            <p:spPr bwMode="auto">
              <a:xfrm>
                <a:off x="360614" y="3149388"/>
                <a:ext cx="383700" cy="490379"/>
              </a:xfrm>
              <a:custGeom>
                <a:avLst/>
                <a:gdLst>
                  <a:gd name="T0" fmla="*/ 211 w 223"/>
                  <a:gd name="T1" fmla="*/ 212 h 285"/>
                  <a:gd name="T2" fmla="*/ 190 w 223"/>
                  <a:gd name="T3" fmla="*/ 256 h 285"/>
                  <a:gd name="T4" fmla="*/ 171 w 223"/>
                  <a:gd name="T5" fmla="*/ 270 h 285"/>
                  <a:gd name="T6" fmla="*/ 161 w 223"/>
                  <a:gd name="T7" fmla="*/ 279 h 285"/>
                  <a:gd name="T8" fmla="*/ 136 w 223"/>
                  <a:gd name="T9" fmla="*/ 277 h 285"/>
                  <a:gd name="T10" fmla="*/ 119 w 223"/>
                  <a:gd name="T11" fmla="*/ 247 h 285"/>
                  <a:gd name="T12" fmla="*/ 101 w 223"/>
                  <a:gd name="T13" fmla="*/ 243 h 285"/>
                  <a:gd name="T14" fmla="*/ 82 w 223"/>
                  <a:gd name="T15" fmla="*/ 247 h 285"/>
                  <a:gd name="T16" fmla="*/ 71 w 223"/>
                  <a:gd name="T17" fmla="*/ 256 h 285"/>
                  <a:gd name="T18" fmla="*/ 55 w 223"/>
                  <a:gd name="T19" fmla="*/ 235 h 285"/>
                  <a:gd name="T20" fmla="*/ 42 w 223"/>
                  <a:gd name="T21" fmla="*/ 214 h 285"/>
                  <a:gd name="T22" fmla="*/ 42 w 223"/>
                  <a:gd name="T23" fmla="*/ 195 h 285"/>
                  <a:gd name="T24" fmla="*/ 48 w 223"/>
                  <a:gd name="T25" fmla="*/ 177 h 285"/>
                  <a:gd name="T26" fmla="*/ 17 w 223"/>
                  <a:gd name="T27" fmla="*/ 164 h 285"/>
                  <a:gd name="T28" fmla="*/ 5 w 223"/>
                  <a:gd name="T29" fmla="*/ 162 h 285"/>
                  <a:gd name="T30" fmla="*/ 9 w 223"/>
                  <a:gd name="T31" fmla="*/ 143 h 285"/>
                  <a:gd name="T32" fmla="*/ 28 w 223"/>
                  <a:gd name="T33" fmla="*/ 145 h 285"/>
                  <a:gd name="T34" fmla="*/ 40 w 223"/>
                  <a:gd name="T35" fmla="*/ 145 h 285"/>
                  <a:gd name="T36" fmla="*/ 52 w 223"/>
                  <a:gd name="T37" fmla="*/ 145 h 285"/>
                  <a:gd name="T38" fmla="*/ 65 w 223"/>
                  <a:gd name="T39" fmla="*/ 152 h 285"/>
                  <a:gd name="T40" fmla="*/ 82 w 223"/>
                  <a:gd name="T41" fmla="*/ 150 h 285"/>
                  <a:gd name="T42" fmla="*/ 67 w 223"/>
                  <a:gd name="T43" fmla="*/ 150 h 285"/>
                  <a:gd name="T44" fmla="*/ 65 w 223"/>
                  <a:gd name="T45" fmla="*/ 145 h 285"/>
                  <a:gd name="T46" fmla="*/ 48 w 223"/>
                  <a:gd name="T47" fmla="*/ 145 h 285"/>
                  <a:gd name="T48" fmla="*/ 36 w 223"/>
                  <a:gd name="T49" fmla="*/ 135 h 285"/>
                  <a:gd name="T50" fmla="*/ 46 w 223"/>
                  <a:gd name="T51" fmla="*/ 137 h 285"/>
                  <a:gd name="T52" fmla="*/ 40 w 223"/>
                  <a:gd name="T53" fmla="*/ 133 h 285"/>
                  <a:gd name="T54" fmla="*/ 27 w 223"/>
                  <a:gd name="T55" fmla="*/ 127 h 285"/>
                  <a:gd name="T56" fmla="*/ 9 w 223"/>
                  <a:gd name="T57" fmla="*/ 124 h 285"/>
                  <a:gd name="T58" fmla="*/ 5 w 223"/>
                  <a:gd name="T59" fmla="*/ 120 h 285"/>
                  <a:gd name="T60" fmla="*/ 11 w 223"/>
                  <a:gd name="T61" fmla="*/ 110 h 285"/>
                  <a:gd name="T62" fmla="*/ 27 w 223"/>
                  <a:gd name="T63" fmla="*/ 93 h 285"/>
                  <a:gd name="T64" fmla="*/ 46 w 223"/>
                  <a:gd name="T65" fmla="*/ 91 h 285"/>
                  <a:gd name="T66" fmla="*/ 59 w 223"/>
                  <a:gd name="T67" fmla="*/ 97 h 285"/>
                  <a:gd name="T68" fmla="*/ 78 w 223"/>
                  <a:gd name="T69" fmla="*/ 106 h 285"/>
                  <a:gd name="T70" fmla="*/ 92 w 223"/>
                  <a:gd name="T71" fmla="*/ 95 h 285"/>
                  <a:gd name="T72" fmla="*/ 100 w 223"/>
                  <a:gd name="T73" fmla="*/ 81 h 285"/>
                  <a:gd name="T74" fmla="*/ 105 w 223"/>
                  <a:gd name="T75" fmla="*/ 70 h 285"/>
                  <a:gd name="T76" fmla="*/ 105 w 223"/>
                  <a:gd name="T77" fmla="*/ 60 h 285"/>
                  <a:gd name="T78" fmla="*/ 117 w 223"/>
                  <a:gd name="T79" fmla="*/ 50 h 285"/>
                  <a:gd name="T80" fmla="*/ 119 w 223"/>
                  <a:gd name="T81" fmla="*/ 47 h 285"/>
                  <a:gd name="T82" fmla="*/ 125 w 223"/>
                  <a:gd name="T83" fmla="*/ 39 h 285"/>
                  <a:gd name="T84" fmla="*/ 144 w 223"/>
                  <a:gd name="T85" fmla="*/ 33 h 285"/>
                  <a:gd name="T86" fmla="*/ 153 w 223"/>
                  <a:gd name="T87" fmla="*/ 14 h 285"/>
                  <a:gd name="T88" fmla="*/ 171 w 223"/>
                  <a:gd name="T89" fmla="*/ 20 h 285"/>
                  <a:gd name="T90" fmla="*/ 199 w 223"/>
                  <a:gd name="T91" fmla="*/ 10 h 285"/>
                  <a:gd name="T92" fmla="*/ 215 w 223"/>
                  <a:gd name="T93" fmla="*/ 6 h 285"/>
                  <a:gd name="T94" fmla="*/ 221 w 223"/>
                  <a:gd name="T95" fmla="*/ 31 h 285"/>
                  <a:gd name="T96" fmla="*/ 213 w 223"/>
                  <a:gd name="T97" fmla="*/ 56 h 285"/>
                  <a:gd name="T98" fmla="*/ 201 w 223"/>
                  <a:gd name="T99" fmla="*/ 72 h 285"/>
                  <a:gd name="T100" fmla="*/ 209 w 223"/>
                  <a:gd name="T101" fmla="*/ 85 h 285"/>
                  <a:gd name="T102" fmla="*/ 209 w 223"/>
                  <a:gd name="T103" fmla="*/ 104 h 285"/>
                  <a:gd name="T104" fmla="*/ 199 w 223"/>
                  <a:gd name="T105" fmla="*/ 122 h 285"/>
                  <a:gd name="T106" fmla="*/ 190 w 223"/>
                  <a:gd name="T107" fmla="*/ 124 h 285"/>
                  <a:gd name="T108" fmla="*/ 174 w 223"/>
                  <a:gd name="T109" fmla="*/ 124 h 285"/>
                  <a:gd name="T110" fmla="*/ 159 w 223"/>
                  <a:gd name="T111" fmla="*/ 145 h 285"/>
                  <a:gd name="T112" fmla="*/ 173 w 223"/>
                  <a:gd name="T113" fmla="*/ 150 h 285"/>
                  <a:gd name="T114" fmla="*/ 173 w 223"/>
                  <a:gd name="T115" fmla="*/ 181 h 285"/>
                  <a:gd name="T116" fmla="*/ 178 w 223"/>
                  <a:gd name="T117" fmla="*/ 202 h 285"/>
                  <a:gd name="T118" fmla="*/ 194 w 223"/>
                  <a:gd name="T119" fmla="*/ 21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3" h="285">
                    <a:moveTo>
                      <a:pt x="196" y="210"/>
                    </a:moveTo>
                    <a:lnTo>
                      <a:pt x="194" y="216"/>
                    </a:lnTo>
                    <a:lnTo>
                      <a:pt x="194" y="218"/>
                    </a:lnTo>
                    <a:lnTo>
                      <a:pt x="192" y="222"/>
                    </a:lnTo>
                    <a:lnTo>
                      <a:pt x="192" y="223"/>
                    </a:lnTo>
                    <a:lnTo>
                      <a:pt x="196" y="227"/>
                    </a:lnTo>
                    <a:lnTo>
                      <a:pt x="198" y="223"/>
                    </a:lnTo>
                    <a:lnTo>
                      <a:pt x="198" y="222"/>
                    </a:lnTo>
                    <a:lnTo>
                      <a:pt x="199" y="220"/>
                    </a:lnTo>
                    <a:lnTo>
                      <a:pt x="201" y="218"/>
                    </a:lnTo>
                    <a:lnTo>
                      <a:pt x="207" y="220"/>
                    </a:lnTo>
                    <a:lnTo>
                      <a:pt x="207" y="222"/>
                    </a:lnTo>
                    <a:lnTo>
                      <a:pt x="209" y="218"/>
                    </a:lnTo>
                    <a:lnTo>
                      <a:pt x="211" y="212"/>
                    </a:lnTo>
                    <a:lnTo>
                      <a:pt x="213" y="214"/>
                    </a:lnTo>
                    <a:lnTo>
                      <a:pt x="215" y="214"/>
                    </a:lnTo>
                    <a:lnTo>
                      <a:pt x="213" y="220"/>
                    </a:lnTo>
                    <a:lnTo>
                      <a:pt x="215" y="220"/>
                    </a:lnTo>
                    <a:lnTo>
                      <a:pt x="215" y="222"/>
                    </a:lnTo>
                    <a:lnTo>
                      <a:pt x="213" y="223"/>
                    </a:lnTo>
                    <a:lnTo>
                      <a:pt x="213" y="225"/>
                    </a:lnTo>
                    <a:lnTo>
                      <a:pt x="209" y="233"/>
                    </a:lnTo>
                    <a:lnTo>
                      <a:pt x="205" y="241"/>
                    </a:lnTo>
                    <a:lnTo>
                      <a:pt x="199" y="247"/>
                    </a:lnTo>
                    <a:lnTo>
                      <a:pt x="198" y="250"/>
                    </a:lnTo>
                    <a:lnTo>
                      <a:pt x="196" y="252"/>
                    </a:lnTo>
                    <a:lnTo>
                      <a:pt x="194" y="254"/>
                    </a:lnTo>
                    <a:lnTo>
                      <a:pt x="190" y="256"/>
                    </a:lnTo>
                    <a:lnTo>
                      <a:pt x="188" y="256"/>
                    </a:lnTo>
                    <a:lnTo>
                      <a:pt x="186" y="254"/>
                    </a:lnTo>
                    <a:lnTo>
                      <a:pt x="184" y="256"/>
                    </a:lnTo>
                    <a:lnTo>
                      <a:pt x="182" y="258"/>
                    </a:lnTo>
                    <a:lnTo>
                      <a:pt x="180" y="258"/>
                    </a:lnTo>
                    <a:lnTo>
                      <a:pt x="176" y="258"/>
                    </a:lnTo>
                    <a:lnTo>
                      <a:pt x="174" y="258"/>
                    </a:lnTo>
                    <a:lnTo>
                      <a:pt x="174" y="260"/>
                    </a:lnTo>
                    <a:lnTo>
                      <a:pt x="171" y="264"/>
                    </a:lnTo>
                    <a:lnTo>
                      <a:pt x="169" y="264"/>
                    </a:lnTo>
                    <a:lnTo>
                      <a:pt x="167" y="266"/>
                    </a:lnTo>
                    <a:lnTo>
                      <a:pt x="169" y="268"/>
                    </a:lnTo>
                    <a:lnTo>
                      <a:pt x="169" y="270"/>
                    </a:lnTo>
                    <a:lnTo>
                      <a:pt x="171" y="270"/>
                    </a:lnTo>
                    <a:lnTo>
                      <a:pt x="169" y="273"/>
                    </a:lnTo>
                    <a:lnTo>
                      <a:pt x="167" y="273"/>
                    </a:lnTo>
                    <a:lnTo>
                      <a:pt x="167" y="275"/>
                    </a:lnTo>
                    <a:lnTo>
                      <a:pt x="165" y="277"/>
                    </a:lnTo>
                    <a:lnTo>
                      <a:pt x="167" y="277"/>
                    </a:lnTo>
                    <a:lnTo>
                      <a:pt x="165" y="279"/>
                    </a:lnTo>
                    <a:lnTo>
                      <a:pt x="165" y="281"/>
                    </a:lnTo>
                    <a:lnTo>
                      <a:pt x="163" y="283"/>
                    </a:lnTo>
                    <a:lnTo>
                      <a:pt x="161" y="283"/>
                    </a:lnTo>
                    <a:lnTo>
                      <a:pt x="159" y="285"/>
                    </a:lnTo>
                    <a:lnTo>
                      <a:pt x="159" y="283"/>
                    </a:lnTo>
                    <a:lnTo>
                      <a:pt x="161" y="283"/>
                    </a:lnTo>
                    <a:lnTo>
                      <a:pt x="161" y="281"/>
                    </a:lnTo>
                    <a:lnTo>
                      <a:pt x="161" y="279"/>
                    </a:lnTo>
                    <a:lnTo>
                      <a:pt x="161" y="277"/>
                    </a:lnTo>
                    <a:lnTo>
                      <a:pt x="159" y="273"/>
                    </a:lnTo>
                    <a:lnTo>
                      <a:pt x="159" y="275"/>
                    </a:lnTo>
                    <a:lnTo>
                      <a:pt x="157" y="277"/>
                    </a:lnTo>
                    <a:lnTo>
                      <a:pt x="153" y="279"/>
                    </a:lnTo>
                    <a:lnTo>
                      <a:pt x="153" y="281"/>
                    </a:lnTo>
                    <a:lnTo>
                      <a:pt x="151" y="283"/>
                    </a:lnTo>
                    <a:lnTo>
                      <a:pt x="150" y="283"/>
                    </a:lnTo>
                    <a:lnTo>
                      <a:pt x="148" y="285"/>
                    </a:lnTo>
                    <a:lnTo>
                      <a:pt x="146" y="285"/>
                    </a:lnTo>
                    <a:lnTo>
                      <a:pt x="144" y="285"/>
                    </a:lnTo>
                    <a:lnTo>
                      <a:pt x="140" y="283"/>
                    </a:lnTo>
                    <a:lnTo>
                      <a:pt x="138" y="281"/>
                    </a:lnTo>
                    <a:lnTo>
                      <a:pt x="136" y="277"/>
                    </a:lnTo>
                    <a:lnTo>
                      <a:pt x="136" y="270"/>
                    </a:lnTo>
                    <a:lnTo>
                      <a:pt x="134" y="264"/>
                    </a:lnTo>
                    <a:lnTo>
                      <a:pt x="134" y="262"/>
                    </a:lnTo>
                    <a:lnTo>
                      <a:pt x="132" y="256"/>
                    </a:lnTo>
                    <a:lnTo>
                      <a:pt x="130" y="256"/>
                    </a:lnTo>
                    <a:lnTo>
                      <a:pt x="128" y="256"/>
                    </a:lnTo>
                    <a:lnTo>
                      <a:pt x="126" y="254"/>
                    </a:lnTo>
                    <a:lnTo>
                      <a:pt x="126" y="256"/>
                    </a:lnTo>
                    <a:lnTo>
                      <a:pt x="125" y="256"/>
                    </a:lnTo>
                    <a:lnTo>
                      <a:pt x="123" y="256"/>
                    </a:lnTo>
                    <a:lnTo>
                      <a:pt x="121" y="256"/>
                    </a:lnTo>
                    <a:lnTo>
                      <a:pt x="119" y="254"/>
                    </a:lnTo>
                    <a:lnTo>
                      <a:pt x="119" y="250"/>
                    </a:lnTo>
                    <a:lnTo>
                      <a:pt x="119" y="247"/>
                    </a:lnTo>
                    <a:lnTo>
                      <a:pt x="117" y="245"/>
                    </a:lnTo>
                    <a:lnTo>
                      <a:pt x="117" y="243"/>
                    </a:lnTo>
                    <a:lnTo>
                      <a:pt x="117" y="241"/>
                    </a:lnTo>
                    <a:lnTo>
                      <a:pt x="115" y="239"/>
                    </a:lnTo>
                    <a:lnTo>
                      <a:pt x="113" y="237"/>
                    </a:lnTo>
                    <a:lnTo>
                      <a:pt x="113" y="235"/>
                    </a:lnTo>
                    <a:lnTo>
                      <a:pt x="111" y="233"/>
                    </a:lnTo>
                    <a:lnTo>
                      <a:pt x="109" y="233"/>
                    </a:lnTo>
                    <a:lnTo>
                      <a:pt x="107" y="233"/>
                    </a:lnTo>
                    <a:lnTo>
                      <a:pt x="107" y="231"/>
                    </a:lnTo>
                    <a:lnTo>
                      <a:pt x="105" y="233"/>
                    </a:lnTo>
                    <a:lnTo>
                      <a:pt x="105" y="235"/>
                    </a:lnTo>
                    <a:lnTo>
                      <a:pt x="103" y="237"/>
                    </a:lnTo>
                    <a:lnTo>
                      <a:pt x="101" y="243"/>
                    </a:lnTo>
                    <a:lnTo>
                      <a:pt x="103" y="245"/>
                    </a:lnTo>
                    <a:lnTo>
                      <a:pt x="103" y="247"/>
                    </a:lnTo>
                    <a:lnTo>
                      <a:pt x="101" y="248"/>
                    </a:lnTo>
                    <a:lnTo>
                      <a:pt x="100" y="248"/>
                    </a:lnTo>
                    <a:lnTo>
                      <a:pt x="94" y="245"/>
                    </a:lnTo>
                    <a:lnTo>
                      <a:pt x="94" y="247"/>
                    </a:lnTo>
                    <a:lnTo>
                      <a:pt x="92" y="247"/>
                    </a:lnTo>
                    <a:lnTo>
                      <a:pt x="90" y="250"/>
                    </a:lnTo>
                    <a:lnTo>
                      <a:pt x="92" y="250"/>
                    </a:lnTo>
                    <a:lnTo>
                      <a:pt x="90" y="252"/>
                    </a:lnTo>
                    <a:lnTo>
                      <a:pt x="88" y="250"/>
                    </a:lnTo>
                    <a:lnTo>
                      <a:pt x="86" y="252"/>
                    </a:lnTo>
                    <a:lnTo>
                      <a:pt x="84" y="248"/>
                    </a:lnTo>
                    <a:lnTo>
                      <a:pt x="82" y="247"/>
                    </a:lnTo>
                    <a:lnTo>
                      <a:pt x="84" y="247"/>
                    </a:lnTo>
                    <a:lnTo>
                      <a:pt x="82" y="247"/>
                    </a:lnTo>
                    <a:lnTo>
                      <a:pt x="82" y="245"/>
                    </a:lnTo>
                    <a:lnTo>
                      <a:pt x="80" y="245"/>
                    </a:lnTo>
                    <a:lnTo>
                      <a:pt x="80" y="247"/>
                    </a:lnTo>
                    <a:lnTo>
                      <a:pt x="80" y="245"/>
                    </a:lnTo>
                    <a:lnTo>
                      <a:pt x="78" y="245"/>
                    </a:lnTo>
                    <a:lnTo>
                      <a:pt x="78" y="247"/>
                    </a:lnTo>
                    <a:lnTo>
                      <a:pt x="78" y="248"/>
                    </a:lnTo>
                    <a:lnTo>
                      <a:pt x="77" y="254"/>
                    </a:lnTo>
                    <a:lnTo>
                      <a:pt x="77" y="256"/>
                    </a:lnTo>
                    <a:lnTo>
                      <a:pt x="75" y="258"/>
                    </a:lnTo>
                    <a:lnTo>
                      <a:pt x="73" y="258"/>
                    </a:lnTo>
                    <a:lnTo>
                      <a:pt x="71" y="256"/>
                    </a:lnTo>
                    <a:lnTo>
                      <a:pt x="69" y="256"/>
                    </a:lnTo>
                    <a:lnTo>
                      <a:pt x="69" y="254"/>
                    </a:lnTo>
                    <a:lnTo>
                      <a:pt x="67" y="252"/>
                    </a:lnTo>
                    <a:lnTo>
                      <a:pt x="65" y="252"/>
                    </a:lnTo>
                    <a:lnTo>
                      <a:pt x="65" y="250"/>
                    </a:lnTo>
                    <a:lnTo>
                      <a:pt x="63" y="254"/>
                    </a:lnTo>
                    <a:lnTo>
                      <a:pt x="55" y="248"/>
                    </a:lnTo>
                    <a:lnTo>
                      <a:pt x="55" y="247"/>
                    </a:lnTo>
                    <a:lnTo>
                      <a:pt x="55" y="245"/>
                    </a:lnTo>
                    <a:lnTo>
                      <a:pt x="57" y="241"/>
                    </a:lnTo>
                    <a:lnTo>
                      <a:pt x="55" y="239"/>
                    </a:lnTo>
                    <a:lnTo>
                      <a:pt x="57" y="237"/>
                    </a:lnTo>
                    <a:lnTo>
                      <a:pt x="55" y="237"/>
                    </a:lnTo>
                    <a:lnTo>
                      <a:pt x="55" y="235"/>
                    </a:lnTo>
                    <a:lnTo>
                      <a:pt x="57" y="231"/>
                    </a:lnTo>
                    <a:lnTo>
                      <a:pt x="57" y="229"/>
                    </a:lnTo>
                    <a:lnTo>
                      <a:pt x="59" y="231"/>
                    </a:lnTo>
                    <a:lnTo>
                      <a:pt x="61" y="225"/>
                    </a:lnTo>
                    <a:lnTo>
                      <a:pt x="59" y="225"/>
                    </a:lnTo>
                    <a:lnTo>
                      <a:pt x="59" y="223"/>
                    </a:lnTo>
                    <a:lnTo>
                      <a:pt x="57" y="227"/>
                    </a:lnTo>
                    <a:lnTo>
                      <a:pt x="52" y="225"/>
                    </a:lnTo>
                    <a:lnTo>
                      <a:pt x="52" y="223"/>
                    </a:lnTo>
                    <a:lnTo>
                      <a:pt x="53" y="220"/>
                    </a:lnTo>
                    <a:lnTo>
                      <a:pt x="48" y="218"/>
                    </a:lnTo>
                    <a:lnTo>
                      <a:pt x="46" y="218"/>
                    </a:lnTo>
                    <a:lnTo>
                      <a:pt x="44" y="216"/>
                    </a:lnTo>
                    <a:lnTo>
                      <a:pt x="42" y="214"/>
                    </a:lnTo>
                    <a:lnTo>
                      <a:pt x="40" y="214"/>
                    </a:lnTo>
                    <a:lnTo>
                      <a:pt x="40" y="212"/>
                    </a:lnTo>
                    <a:lnTo>
                      <a:pt x="38" y="212"/>
                    </a:lnTo>
                    <a:lnTo>
                      <a:pt x="38" y="210"/>
                    </a:lnTo>
                    <a:lnTo>
                      <a:pt x="40" y="206"/>
                    </a:lnTo>
                    <a:lnTo>
                      <a:pt x="38" y="206"/>
                    </a:lnTo>
                    <a:lnTo>
                      <a:pt x="40" y="206"/>
                    </a:lnTo>
                    <a:lnTo>
                      <a:pt x="40" y="204"/>
                    </a:lnTo>
                    <a:lnTo>
                      <a:pt x="40" y="206"/>
                    </a:lnTo>
                    <a:lnTo>
                      <a:pt x="44" y="200"/>
                    </a:lnTo>
                    <a:lnTo>
                      <a:pt x="42" y="200"/>
                    </a:lnTo>
                    <a:lnTo>
                      <a:pt x="44" y="197"/>
                    </a:lnTo>
                    <a:lnTo>
                      <a:pt x="44" y="195"/>
                    </a:lnTo>
                    <a:lnTo>
                      <a:pt x="42" y="195"/>
                    </a:lnTo>
                    <a:lnTo>
                      <a:pt x="42" y="193"/>
                    </a:lnTo>
                    <a:lnTo>
                      <a:pt x="40" y="193"/>
                    </a:lnTo>
                    <a:lnTo>
                      <a:pt x="40" y="191"/>
                    </a:lnTo>
                    <a:lnTo>
                      <a:pt x="42" y="185"/>
                    </a:lnTo>
                    <a:lnTo>
                      <a:pt x="44" y="185"/>
                    </a:lnTo>
                    <a:lnTo>
                      <a:pt x="44" y="187"/>
                    </a:lnTo>
                    <a:lnTo>
                      <a:pt x="44" y="185"/>
                    </a:lnTo>
                    <a:lnTo>
                      <a:pt x="46" y="187"/>
                    </a:lnTo>
                    <a:lnTo>
                      <a:pt x="48" y="181"/>
                    </a:lnTo>
                    <a:lnTo>
                      <a:pt x="50" y="181"/>
                    </a:lnTo>
                    <a:lnTo>
                      <a:pt x="48" y="181"/>
                    </a:lnTo>
                    <a:lnTo>
                      <a:pt x="46" y="181"/>
                    </a:lnTo>
                    <a:lnTo>
                      <a:pt x="46" y="179"/>
                    </a:lnTo>
                    <a:lnTo>
                      <a:pt x="48" y="177"/>
                    </a:lnTo>
                    <a:lnTo>
                      <a:pt x="40" y="173"/>
                    </a:lnTo>
                    <a:lnTo>
                      <a:pt x="42" y="172"/>
                    </a:lnTo>
                    <a:lnTo>
                      <a:pt x="38" y="170"/>
                    </a:lnTo>
                    <a:lnTo>
                      <a:pt x="36" y="170"/>
                    </a:lnTo>
                    <a:lnTo>
                      <a:pt x="32" y="166"/>
                    </a:lnTo>
                    <a:lnTo>
                      <a:pt x="30" y="164"/>
                    </a:lnTo>
                    <a:lnTo>
                      <a:pt x="30" y="162"/>
                    </a:lnTo>
                    <a:lnTo>
                      <a:pt x="28" y="162"/>
                    </a:lnTo>
                    <a:lnTo>
                      <a:pt x="27" y="162"/>
                    </a:lnTo>
                    <a:lnTo>
                      <a:pt x="25" y="160"/>
                    </a:lnTo>
                    <a:lnTo>
                      <a:pt x="23" y="160"/>
                    </a:lnTo>
                    <a:lnTo>
                      <a:pt x="21" y="162"/>
                    </a:lnTo>
                    <a:lnTo>
                      <a:pt x="19" y="164"/>
                    </a:lnTo>
                    <a:lnTo>
                      <a:pt x="17" y="164"/>
                    </a:lnTo>
                    <a:lnTo>
                      <a:pt x="17" y="166"/>
                    </a:lnTo>
                    <a:lnTo>
                      <a:pt x="13" y="168"/>
                    </a:lnTo>
                    <a:lnTo>
                      <a:pt x="13" y="170"/>
                    </a:lnTo>
                    <a:lnTo>
                      <a:pt x="13" y="168"/>
                    </a:lnTo>
                    <a:lnTo>
                      <a:pt x="11" y="168"/>
                    </a:lnTo>
                    <a:lnTo>
                      <a:pt x="9" y="168"/>
                    </a:lnTo>
                    <a:lnTo>
                      <a:pt x="9" y="166"/>
                    </a:lnTo>
                    <a:lnTo>
                      <a:pt x="9" y="164"/>
                    </a:lnTo>
                    <a:lnTo>
                      <a:pt x="7" y="164"/>
                    </a:lnTo>
                    <a:lnTo>
                      <a:pt x="9" y="164"/>
                    </a:lnTo>
                    <a:lnTo>
                      <a:pt x="9" y="162"/>
                    </a:lnTo>
                    <a:lnTo>
                      <a:pt x="7" y="164"/>
                    </a:lnTo>
                    <a:lnTo>
                      <a:pt x="5" y="164"/>
                    </a:lnTo>
                    <a:lnTo>
                      <a:pt x="5" y="162"/>
                    </a:lnTo>
                    <a:lnTo>
                      <a:pt x="3" y="162"/>
                    </a:lnTo>
                    <a:lnTo>
                      <a:pt x="2" y="166"/>
                    </a:lnTo>
                    <a:lnTo>
                      <a:pt x="0" y="164"/>
                    </a:lnTo>
                    <a:lnTo>
                      <a:pt x="3" y="160"/>
                    </a:lnTo>
                    <a:lnTo>
                      <a:pt x="7" y="154"/>
                    </a:lnTo>
                    <a:lnTo>
                      <a:pt x="7" y="156"/>
                    </a:lnTo>
                    <a:lnTo>
                      <a:pt x="11" y="150"/>
                    </a:lnTo>
                    <a:lnTo>
                      <a:pt x="13" y="150"/>
                    </a:lnTo>
                    <a:lnTo>
                      <a:pt x="11" y="149"/>
                    </a:lnTo>
                    <a:lnTo>
                      <a:pt x="9" y="149"/>
                    </a:lnTo>
                    <a:lnTo>
                      <a:pt x="3" y="145"/>
                    </a:lnTo>
                    <a:lnTo>
                      <a:pt x="5" y="143"/>
                    </a:lnTo>
                    <a:lnTo>
                      <a:pt x="7" y="143"/>
                    </a:lnTo>
                    <a:lnTo>
                      <a:pt x="9" y="143"/>
                    </a:lnTo>
                    <a:lnTo>
                      <a:pt x="11" y="143"/>
                    </a:lnTo>
                    <a:lnTo>
                      <a:pt x="11" y="145"/>
                    </a:lnTo>
                    <a:lnTo>
                      <a:pt x="13" y="145"/>
                    </a:lnTo>
                    <a:lnTo>
                      <a:pt x="13" y="143"/>
                    </a:lnTo>
                    <a:lnTo>
                      <a:pt x="15" y="143"/>
                    </a:lnTo>
                    <a:lnTo>
                      <a:pt x="17" y="141"/>
                    </a:lnTo>
                    <a:lnTo>
                      <a:pt x="17" y="143"/>
                    </a:lnTo>
                    <a:lnTo>
                      <a:pt x="19" y="143"/>
                    </a:lnTo>
                    <a:lnTo>
                      <a:pt x="23" y="143"/>
                    </a:lnTo>
                    <a:lnTo>
                      <a:pt x="25" y="143"/>
                    </a:lnTo>
                    <a:lnTo>
                      <a:pt x="27" y="141"/>
                    </a:lnTo>
                    <a:lnTo>
                      <a:pt x="27" y="143"/>
                    </a:lnTo>
                    <a:lnTo>
                      <a:pt x="28" y="143"/>
                    </a:lnTo>
                    <a:lnTo>
                      <a:pt x="28" y="145"/>
                    </a:lnTo>
                    <a:lnTo>
                      <a:pt x="30" y="145"/>
                    </a:lnTo>
                    <a:lnTo>
                      <a:pt x="30" y="147"/>
                    </a:lnTo>
                    <a:lnTo>
                      <a:pt x="32" y="147"/>
                    </a:lnTo>
                    <a:lnTo>
                      <a:pt x="32" y="145"/>
                    </a:lnTo>
                    <a:lnTo>
                      <a:pt x="34" y="145"/>
                    </a:lnTo>
                    <a:lnTo>
                      <a:pt x="32" y="145"/>
                    </a:lnTo>
                    <a:lnTo>
                      <a:pt x="34" y="145"/>
                    </a:lnTo>
                    <a:lnTo>
                      <a:pt x="34" y="143"/>
                    </a:lnTo>
                    <a:lnTo>
                      <a:pt x="36" y="143"/>
                    </a:lnTo>
                    <a:lnTo>
                      <a:pt x="36" y="141"/>
                    </a:lnTo>
                    <a:lnTo>
                      <a:pt x="36" y="143"/>
                    </a:lnTo>
                    <a:lnTo>
                      <a:pt x="38" y="143"/>
                    </a:lnTo>
                    <a:lnTo>
                      <a:pt x="40" y="143"/>
                    </a:lnTo>
                    <a:lnTo>
                      <a:pt x="40" y="145"/>
                    </a:lnTo>
                    <a:lnTo>
                      <a:pt x="42" y="145"/>
                    </a:lnTo>
                    <a:lnTo>
                      <a:pt x="44" y="145"/>
                    </a:lnTo>
                    <a:lnTo>
                      <a:pt x="46" y="145"/>
                    </a:lnTo>
                    <a:lnTo>
                      <a:pt x="46" y="147"/>
                    </a:lnTo>
                    <a:lnTo>
                      <a:pt x="46" y="149"/>
                    </a:lnTo>
                    <a:lnTo>
                      <a:pt x="48" y="147"/>
                    </a:lnTo>
                    <a:lnTo>
                      <a:pt x="48" y="149"/>
                    </a:lnTo>
                    <a:lnTo>
                      <a:pt x="48" y="147"/>
                    </a:lnTo>
                    <a:lnTo>
                      <a:pt x="46" y="149"/>
                    </a:lnTo>
                    <a:lnTo>
                      <a:pt x="46" y="147"/>
                    </a:lnTo>
                    <a:lnTo>
                      <a:pt x="46" y="145"/>
                    </a:lnTo>
                    <a:lnTo>
                      <a:pt x="48" y="145"/>
                    </a:lnTo>
                    <a:lnTo>
                      <a:pt x="50" y="145"/>
                    </a:lnTo>
                    <a:lnTo>
                      <a:pt x="52" y="145"/>
                    </a:lnTo>
                    <a:lnTo>
                      <a:pt x="53" y="145"/>
                    </a:lnTo>
                    <a:lnTo>
                      <a:pt x="53" y="147"/>
                    </a:lnTo>
                    <a:lnTo>
                      <a:pt x="55" y="147"/>
                    </a:lnTo>
                    <a:lnTo>
                      <a:pt x="57" y="147"/>
                    </a:lnTo>
                    <a:lnTo>
                      <a:pt x="57" y="145"/>
                    </a:lnTo>
                    <a:lnTo>
                      <a:pt x="59" y="145"/>
                    </a:lnTo>
                    <a:lnTo>
                      <a:pt x="59" y="147"/>
                    </a:lnTo>
                    <a:lnTo>
                      <a:pt x="59" y="149"/>
                    </a:lnTo>
                    <a:lnTo>
                      <a:pt x="61" y="149"/>
                    </a:lnTo>
                    <a:lnTo>
                      <a:pt x="63" y="147"/>
                    </a:lnTo>
                    <a:lnTo>
                      <a:pt x="63" y="149"/>
                    </a:lnTo>
                    <a:lnTo>
                      <a:pt x="63" y="150"/>
                    </a:lnTo>
                    <a:lnTo>
                      <a:pt x="65" y="150"/>
                    </a:lnTo>
                    <a:lnTo>
                      <a:pt x="65" y="152"/>
                    </a:lnTo>
                    <a:lnTo>
                      <a:pt x="65" y="150"/>
                    </a:lnTo>
                    <a:lnTo>
                      <a:pt x="67" y="150"/>
                    </a:lnTo>
                    <a:lnTo>
                      <a:pt x="69" y="150"/>
                    </a:lnTo>
                    <a:lnTo>
                      <a:pt x="69" y="152"/>
                    </a:lnTo>
                    <a:lnTo>
                      <a:pt x="69" y="154"/>
                    </a:lnTo>
                    <a:lnTo>
                      <a:pt x="71" y="154"/>
                    </a:lnTo>
                    <a:lnTo>
                      <a:pt x="73" y="152"/>
                    </a:lnTo>
                    <a:lnTo>
                      <a:pt x="75" y="152"/>
                    </a:lnTo>
                    <a:lnTo>
                      <a:pt x="75" y="150"/>
                    </a:lnTo>
                    <a:lnTo>
                      <a:pt x="77" y="150"/>
                    </a:lnTo>
                    <a:lnTo>
                      <a:pt x="78" y="150"/>
                    </a:lnTo>
                    <a:lnTo>
                      <a:pt x="80" y="150"/>
                    </a:lnTo>
                    <a:lnTo>
                      <a:pt x="80" y="149"/>
                    </a:lnTo>
                    <a:lnTo>
                      <a:pt x="82" y="150"/>
                    </a:lnTo>
                    <a:lnTo>
                      <a:pt x="82" y="149"/>
                    </a:lnTo>
                    <a:lnTo>
                      <a:pt x="80" y="149"/>
                    </a:lnTo>
                    <a:lnTo>
                      <a:pt x="80" y="150"/>
                    </a:lnTo>
                    <a:lnTo>
                      <a:pt x="78" y="150"/>
                    </a:lnTo>
                    <a:lnTo>
                      <a:pt x="77" y="150"/>
                    </a:lnTo>
                    <a:lnTo>
                      <a:pt x="75" y="150"/>
                    </a:lnTo>
                    <a:lnTo>
                      <a:pt x="75" y="152"/>
                    </a:lnTo>
                    <a:lnTo>
                      <a:pt x="73" y="152"/>
                    </a:lnTo>
                    <a:lnTo>
                      <a:pt x="71" y="152"/>
                    </a:lnTo>
                    <a:lnTo>
                      <a:pt x="71" y="154"/>
                    </a:lnTo>
                    <a:lnTo>
                      <a:pt x="69" y="154"/>
                    </a:lnTo>
                    <a:lnTo>
                      <a:pt x="69" y="152"/>
                    </a:lnTo>
                    <a:lnTo>
                      <a:pt x="69" y="150"/>
                    </a:lnTo>
                    <a:lnTo>
                      <a:pt x="67" y="150"/>
                    </a:lnTo>
                    <a:lnTo>
                      <a:pt x="65" y="150"/>
                    </a:lnTo>
                    <a:lnTo>
                      <a:pt x="63" y="150"/>
                    </a:lnTo>
                    <a:lnTo>
                      <a:pt x="63" y="149"/>
                    </a:lnTo>
                    <a:lnTo>
                      <a:pt x="63" y="147"/>
                    </a:lnTo>
                    <a:lnTo>
                      <a:pt x="61" y="149"/>
                    </a:lnTo>
                    <a:lnTo>
                      <a:pt x="59" y="147"/>
                    </a:lnTo>
                    <a:lnTo>
                      <a:pt x="59" y="145"/>
                    </a:lnTo>
                    <a:lnTo>
                      <a:pt x="61" y="145"/>
                    </a:lnTo>
                    <a:lnTo>
                      <a:pt x="61" y="147"/>
                    </a:lnTo>
                    <a:lnTo>
                      <a:pt x="61" y="145"/>
                    </a:lnTo>
                    <a:lnTo>
                      <a:pt x="63" y="145"/>
                    </a:lnTo>
                    <a:lnTo>
                      <a:pt x="63" y="147"/>
                    </a:lnTo>
                    <a:lnTo>
                      <a:pt x="63" y="145"/>
                    </a:lnTo>
                    <a:lnTo>
                      <a:pt x="65" y="145"/>
                    </a:lnTo>
                    <a:lnTo>
                      <a:pt x="63" y="145"/>
                    </a:lnTo>
                    <a:lnTo>
                      <a:pt x="63" y="147"/>
                    </a:lnTo>
                    <a:lnTo>
                      <a:pt x="63" y="145"/>
                    </a:lnTo>
                    <a:lnTo>
                      <a:pt x="61" y="145"/>
                    </a:lnTo>
                    <a:lnTo>
                      <a:pt x="61" y="147"/>
                    </a:lnTo>
                    <a:lnTo>
                      <a:pt x="61" y="145"/>
                    </a:lnTo>
                    <a:lnTo>
                      <a:pt x="59" y="145"/>
                    </a:lnTo>
                    <a:lnTo>
                      <a:pt x="57" y="147"/>
                    </a:lnTo>
                    <a:lnTo>
                      <a:pt x="55" y="147"/>
                    </a:lnTo>
                    <a:lnTo>
                      <a:pt x="55" y="145"/>
                    </a:lnTo>
                    <a:lnTo>
                      <a:pt x="53" y="145"/>
                    </a:lnTo>
                    <a:lnTo>
                      <a:pt x="52" y="145"/>
                    </a:lnTo>
                    <a:lnTo>
                      <a:pt x="50" y="145"/>
                    </a:lnTo>
                    <a:lnTo>
                      <a:pt x="48" y="145"/>
                    </a:lnTo>
                    <a:lnTo>
                      <a:pt x="46" y="143"/>
                    </a:lnTo>
                    <a:lnTo>
                      <a:pt x="46" y="145"/>
                    </a:lnTo>
                    <a:lnTo>
                      <a:pt x="46" y="143"/>
                    </a:lnTo>
                    <a:lnTo>
                      <a:pt x="46" y="145"/>
                    </a:lnTo>
                    <a:lnTo>
                      <a:pt x="44" y="145"/>
                    </a:lnTo>
                    <a:lnTo>
                      <a:pt x="42" y="143"/>
                    </a:lnTo>
                    <a:lnTo>
                      <a:pt x="40" y="141"/>
                    </a:lnTo>
                    <a:lnTo>
                      <a:pt x="38" y="141"/>
                    </a:lnTo>
                    <a:lnTo>
                      <a:pt x="38" y="139"/>
                    </a:lnTo>
                    <a:lnTo>
                      <a:pt x="38" y="137"/>
                    </a:lnTo>
                    <a:lnTo>
                      <a:pt x="38" y="135"/>
                    </a:lnTo>
                    <a:lnTo>
                      <a:pt x="38" y="133"/>
                    </a:lnTo>
                    <a:lnTo>
                      <a:pt x="38" y="135"/>
                    </a:lnTo>
                    <a:lnTo>
                      <a:pt x="36" y="135"/>
                    </a:lnTo>
                    <a:lnTo>
                      <a:pt x="36" y="133"/>
                    </a:lnTo>
                    <a:lnTo>
                      <a:pt x="38" y="133"/>
                    </a:lnTo>
                    <a:lnTo>
                      <a:pt x="40" y="133"/>
                    </a:lnTo>
                    <a:lnTo>
                      <a:pt x="38" y="133"/>
                    </a:lnTo>
                    <a:lnTo>
                      <a:pt x="40" y="133"/>
                    </a:lnTo>
                    <a:lnTo>
                      <a:pt x="40" y="131"/>
                    </a:lnTo>
                    <a:lnTo>
                      <a:pt x="40" y="133"/>
                    </a:lnTo>
                    <a:lnTo>
                      <a:pt x="42" y="133"/>
                    </a:lnTo>
                    <a:lnTo>
                      <a:pt x="42" y="135"/>
                    </a:lnTo>
                    <a:lnTo>
                      <a:pt x="42" y="133"/>
                    </a:lnTo>
                    <a:lnTo>
                      <a:pt x="44" y="133"/>
                    </a:lnTo>
                    <a:lnTo>
                      <a:pt x="44" y="135"/>
                    </a:lnTo>
                    <a:lnTo>
                      <a:pt x="46" y="135"/>
                    </a:lnTo>
                    <a:lnTo>
                      <a:pt x="46" y="137"/>
                    </a:lnTo>
                    <a:lnTo>
                      <a:pt x="46" y="139"/>
                    </a:lnTo>
                    <a:lnTo>
                      <a:pt x="48" y="139"/>
                    </a:lnTo>
                    <a:lnTo>
                      <a:pt x="48" y="141"/>
                    </a:lnTo>
                    <a:lnTo>
                      <a:pt x="48" y="143"/>
                    </a:lnTo>
                    <a:lnTo>
                      <a:pt x="48" y="141"/>
                    </a:lnTo>
                    <a:lnTo>
                      <a:pt x="48" y="139"/>
                    </a:lnTo>
                    <a:lnTo>
                      <a:pt x="46" y="139"/>
                    </a:lnTo>
                    <a:lnTo>
                      <a:pt x="46" y="137"/>
                    </a:lnTo>
                    <a:lnTo>
                      <a:pt x="46" y="135"/>
                    </a:lnTo>
                    <a:lnTo>
                      <a:pt x="44" y="135"/>
                    </a:lnTo>
                    <a:lnTo>
                      <a:pt x="44" y="133"/>
                    </a:lnTo>
                    <a:lnTo>
                      <a:pt x="42" y="133"/>
                    </a:lnTo>
                    <a:lnTo>
                      <a:pt x="40" y="131"/>
                    </a:lnTo>
                    <a:lnTo>
                      <a:pt x="40" y="133"/>
                    </a:lnTo>
                    <a:lnTo>
                      <a:pt x="38" y="133"/>
                    </a:lnTo>
                    <a:lnTo>
                      <a:pt x="38" y="131"/>
                    </a:lnTo>
                    <a:lnTo>
                      <a:pt x="38" y="129"/>
                    </a:lnTo>
                    <a:lnTo>
                      <a:pt x="36" y="129"/>
                    </a:lnTo>
                    <a:lnTo>
                      <a:pt x="36" y="127"/>
                    </a:lnTo>
                    <a:lnTo>
                      <a:pt x="34" y="127"/>
                    </a:lnTo>
                    <a:lnTo>
                      <a:pt x="32" y="127"/>
                    </a:lnTo>
                    <a:lnTo>
                      <a:pt x="32" y="125"/>
                    </a:lnTo>
                    <a:lnTo>
                      <a:pt x="30" y="125"/>
                    </a:lnTo>
                    <a:lnTo>
                      <a:pt x="28" y="125"/>
                    </a:lnTo>
                    <a:lnTo>
                      <a:pt x="28" y="127"/>
                    </a:lnTo>
                    <a:lnTo>
                      <a:pt x="28" y="125"/>
                    </a:lnTo>
                    <a:lnTo>
                      <a:pt x="28" y="127"/>
                    </a:lnTo>
                    <a:lnTo>
                      <a:pt x="27" y="127"/>
                    </a:lnTo>
                    <a:lnTo>
                      <a:pt x="27" y="129"/>
                    </a:lnTo>
                    <a:lnTo>
                      <a:pt x="25" y="127"/>
                    </a:lnTo>
                    <a:lnTo>
                      <a:pt x="23" y="129"/>
                    </a:lnTo>
                    <a:lnTo>
                      <a:pt x="23" y="127"/>
                    </a:lnTo>
                    <a:lnTo>
                      <a:pt x="21" y="127"/>
                    </a:lnTo>
                    <a:lnTo>
                      <a:pt x="19" y="127"/>
                    </a:lnTo>
                    <a:lnTo>
                      <a:pt x="17" y="125"/>
                    </a:lnTo>
                    <a:lnTo>
                      <a:pt x="15" y="125"/>
                    </a:lnTo>
                    <a:lnTo>
                      <a:pt x="13" y="125"/>
                    </a:lnTo>
                    <a:lnTo>
                      <a:pt x="11" y="124"/>
                    </a:lnTo>
                    <a:lnTo>
                      <a:pt x="11" y="125"/>
                    </a:lnTo>
                    <a:lnTo>
                      <a:pt x="9" y="124"/>
                    </a:lnTo>
                    <a:lnTo>
                      <a:pt x="9" y="122"/>
                    </a:lnTo>
                    <a:lnTo>
                      <a:pt x="9" y="124"/>
                    </a:lnTo>
                    <a:lnTo>
                      <a:pt x="9" y="122"/>
                    </a:lnTo>
                    <a:lnTo>
                      <a:pt x="9" y="124"/>
                    </a:lnTo>
                    <a:lnTo>
                      <a:pt x="11" y="124"/>
                    </a:lnTo>
                    <a:lnTo>
                      <a:pt x="11" y="122"/>
                    </a:lnTo>
                    <a:lnTo>
                      <a:pt x="13" y="122"/>
                    </a:lnTo>
                    <a:lnTo>
                      <a:pt x="13" y="120"/>
                    </a:lnTo>
                    <a:lnTo>
                      <a:pt x="13" y="122"/>
                    </a:lnTo>
                    <a:lnTo>
                      <a:pt x="11" y="122"/>
                    </a:lnTo>
                    <a:lnTo>
                      <a:pt x="11" y="120"/>
                    </a:lnTo>
                    <a:lnTo>
                      <a:pt x="11" y="122"/>
                    </a:lnTo>
                    <a:lnTo>
                      <a:pt x="9" y="122"/>
                    </a:lnTo>
                    <a:lnTo>
                      <a:pt x="7" y="122"/>
                    </a:lnTo>
                    <a:lnTo>
                      <a:pt x="5" y="122"/>
                    </a:lnTo>
                    <a:lnTo>
                      <a:pt x="5" y="120"/>
                    </a:lnTo>
                    <a:lnTo>
                      <a:pt x="3" y="120"/>
                    </a:lnTo>
                    <a:lnTo>
                      <a:pt x="2" y="120"/>
                    </a:lnTo>
                    <a:lnTo>
                      <a:pt x="2" y="118"/>
                    </a:lnTo>
                    <a:lnTo>
                      <a:pt x="0" y="118"/>
                    </a:lnTo>
                    <a:lnTo>
                      <a:pt x="2" y="118"/>
                    </a:lnTo>
                    <a:lnTo>
                      <a:pt x="3" y="114"/>
                    </a:lnTo>
                    <a:lnTo>
                      <a:pt x="3" y="112"/>
                    </a:lnTo>
                    <a:lnTo>
                      <a:pt x="5" y="112"/>
                    </a:lnTo>
                    <a:lnTo>
                      <a:pt x="7" y="112"/>
                    </a:lnTo>
                    <a:lnTo>
                      <a:pt x="9" y="112"/>
                    </a:lnTo>
                    <a:lnTo>
                      <a:pt x="9" y="110"/>
                    </a:lnTo>
                    <a:lnTo>
                      <a:pt x="11" y="110"/>
                    </a:lnTo>
                    <a:lnTo>
                      <a:pt x="9" y="110"/>
                    </a:lnTo>
                    <a:lnTo>
                      <a:pt x="11" y="110"/>
                    </a:lnTo>
                    <a:lnTo>
                      <a:pt x="7" y="108"/>
                    </a:lnTo>
                    <a:lnTo>
                      <a:pt x="7" y="106"/>
                    </a:lnTo>
                    <a:lnTo>
                      <a:pt x="9" y="106"/>
                    </a:lnTo>
                    <a:lnTo>
                      <a:pt x="9" y="104"/>
                    </a:lnTo>
                    <a:lnTo>
                      <a:pt x="11" y="104"/>
                    </a:lnTo>
                    <a:lnTo>
                      <a:pt x="13" y="104"/>
                    </a:lnTo>
                    <a:lnTo>
                      <a:pt x="17" y="99"/>
                    </a:lnTo>
                    <a:lnTo>
                      <a:pt x="17" y="97"/>
                    </a:lnTo>
                    <a:lnTo>
                      <a:pt x="19" y="95"/>
                    </a:lnTo>
                    <a:lnTo>
                      <a:pt x="21" y="93"/>
                    </a:lnTo>
                    <a:lnTo>
                      <a:pt x="21" y="95"/>
                    </a:lnTo>
                    <a:lnTo>
                      <a:pt x="23" y="93"/>
                    </a:lnTo>
                    <a:lnTo>
                      <a:pt x="27" y="95"/>
                    </a:lnTo>
                    <a:lnTo>
                      <a:pt x="27" y="93"/>
                    </a:lnTo>
                    <a:lnTo>
                      <a:pt x="28" y="93"/>
                    </a:lnTo>
                    <a:lnTo>
                      <a:pt x="32" y="97"/>
                    </a:lnTo>
                    <a:lnTo>
                      <a:pt x="34" y="95"/>
                    </a:lnTo>
                    <a:lnTo>
                      <a:pt x="36" y="97"/>
                    </a:lnTo>
                    <a:lnTo>
                      <a:pt x="36" y="95"/>
                    </a:lnTo>
                    <a:lnTo>
                      <a:pt x="38" y="95"/>
                    </a:lnTo>
                    <a:lnTo>
                      <a:pt x="38" y="97"/>
                    </a:lnTo>
                    <a:lnTo>
                      <a:pt x="40" y="97"/>
                    </a:lnTo>
                    <a:lnTo>
                      <a:pt x="40" y="95"/>
                    </a:lnTo>
                    <a:lnTo>
                      <a:pt x="42" y="95"/>
                    </a:lnTo>
                    <a:lnTo>
                      <a:pt x="44" y="93"/>
                    </a:lnTo>
                    <a:lnTo>
                      <a:pt x="44" y="91"/>
                    </a:lnTo>
                    <a:lnTo>
                      <a:pt x="46" y="89"/>
                    </a:lnTo>
                    <a:lnTo>
                      <a:pt x="46" y="91"/>
                    </a:lnTo>
                    <a:lnTo>
                      <a:pt x="48" y="89"/>
                    </a:lnTo>
                    <a:lnTo>
                      <a:pt x="48" y="87"/>
                    </a:lnTo>
                    <a:lnTo>
                      <a:pt x="50" y="89"/>
                    </a:lnTo>
                    <a:lnTo>
                      <a:pt x="52" y="89"/>
                    </a:lnTo>
                    <a:lnTo>
                      <a:pt x="52" y="91"/>
                    </a:lnTo>
                    <a:lnTo>
                      <a:pt x="53" y="91"/>
                    </a:lnTo>
                    <a:lnTo>
                      <a:pt x="55" y="91"/>
                    </a:lnTo>
                    <a:lnTo>
                      <a:pt x="55" y="93"/>
                    </a:lnTo>
                    <a:lnTo>
                      <a:pt x="57" y="93"/>
                    </a:lnTo>
                    <a:lnTo>
                      <a:pt x="55" y="93"/>
                    </a:lnTo>
                    <a:lnTo>
                      <a:pt x="55" y="95"/>
                    </a:lnTo>
                    <a:lnTo>
                      <a:pt x="57" y="95"/>
                    </a:lnTo>
                    <a:lnTo>
                      <a:pt x="59" y="95"/>
                    </a:lnTo>
                    <a:lnTo>
                      <a:pt x="59" y="97"/>
                    </a:lnTo>
                    <a:lnTo>
                      <a:pt x="61" y="97"/>
                    </a:lnTo>
                    <a:lnTo>
                      <a:pt x="65" y="99"/>
                    </a:lnTo>
                    <a:lnTo>
                      <a:pt x="67" y="99"/>
                    </a:lnTo>
                    <a:lnTo>
                      <a:pt x="65" y="102"/>
                    </a:lnTo>
                    <a:lnTo>
                      <a:pt x="67" y="102"/>
                    </a:lnTo>
                    <a:lnTo>
                      <a:pt x="67" y="100"/>
                    </a:lnTo>
                    <a:lnTo>
                      <a:pt x="69" y="100"/>
                    </a:lnTo>
                    <a:lnTo>
                      <a:pt x="69" y="102"/>
                    </a:lnTo>
                    <a:lnTo>
                      <a:pt x="69" y="104"/>
                    </a:lnTo>
                    <a:lnTo>
                      <a:pt x="71" y="104"/>
                    </a:lnTo>
                    <a:lnTo>
                      <a:pt x="73" y="106"/>
                    </a:lnTo>
                    <a:lnTo>
                      <a:pt x="77" y="108"/>
                    </a:lnTo>
                    <a:lnTo>
                      <a:pt x="78" y="108"/>
                    </a:lnTo>
                    <a:lnTo>
                      <a:pt x="78" y="106"/>
                    </a:lnTo>
                    <a:lnTo>
                      <a:pt x="78" y="108"/>
                    </a:lnTo>
                    <a:lnTo>
                      <a:pt x="80" y="108"/>
                    </a:lnTo>
                    <a:lnTo>
                      <a:pt x="80" y="106"/>
                    </a:lnTo>
                    <a:lnTo>
                      <a:pt x="82" y="104"/>
                    </a:lnTo>
                    <a:lnTo>
                      <a:pt x="82" y="102"/>
                    </a:lnTo>
                    <a:lnTo>
                      <a:pt x="84" y="102"/>
                    </a:lnTo>
                    <a:lnTo>
                      <a:pt x="84" y="100"/>
                    </a:lnTo>
                    <a:lnTo>
                      <a:pt x="84" y="99"/>
                    </a:lnTo>
                    <a:lnTo>
                      <a:pt x="86" y="97"/>
                    </a:lnTo>
                    <a:lnTo>
                      <a:pt x="88" y="99"/>
                    </a:lnTo>
                    <a:lnTo>
                      <a:pt x="90" y="99"/>
                    </a:lnTo>
                    <a:lnTo>
                      <a:pt x="88" y="97"/>
                    </a:lnTo>
                    <a:lnTo>
                      <a:pt x="90" y="97"/>
                    </a:lnTo>
                    <a:lnTo>
                      <a:pt x="92" y="95"/>
                    </a:lnTo>
                    <a:lnTo>
                      <a:pt x="94" y="93"/>
                    </a:lnTo>
                    <a:lnTo>
                      <a:pt x="96" y="91"/>
                    </a:lnTo>
                    <a:lnTo>
                      <a:pt x="96" y="93"/>
                    </a:lnTo>
                    <a:lnTo>
                      <a:pt x="98" y="91"/>
                    </a:lnTo>
                    <a:lnTo>
                      <a:pt x="98" y="89"/>
                    </a:lnTo>
                    <a:lnTo>
                      <a:pt x="100" y="91"/>
                    </a:lnTo>
                    <a:lnTo>
                      <a:pt x="101" y="89"/>
                    </a:lnTo>
                    <a:lnTo>
                      <a:pt x="101" y="87"/>
                    </a:lnTo>
                    <a:lnTo>
                      <a:pt x="101" y="85"/>
                    </a:lnTo>
                    <a:lnTo>
                      <a:pt x="100" y="85"/>
                    </a:lnTo>
                    <a:lnTo>
                      <a:pt x="98" y="85"/>
                    </a:lnTo>
                    <a:lnTo>
                      <a:pt x="98" y="83"/>
                    </a:lnTo>
                    <a:lnTo>
                      <a:pt x="98" y="81"/>
                    </a:lnTo>
                    <a:lnTo>
                      <a:pt x="100" y="81"/>
                    </a:lnTo>
                    <a:lnTo>
                      <a:pt x="101" y="81"/>
                    </a:lnTo>
                    <a:lnTo>
                      <a:pt x="103" y="81"/>
                    </a:lnTo>
                    <a:lnTo>
                      <a:pt x="103" y="79"/>
                    </a:lnTo>
                    <a:lnTo>
                      <a:pt x="103" y="81"/>
                    </a:lnTo>
                    <a:lnTo>
                      <a:pt x="101" y="79"/>
                    </a:lnTo>
                    <a:lnTo>
                      <a:pt x="103" y="79"/>
                    </a:lnTo>
                    <a:lnTo>
                      <a:pt x="101" y="79"/>
                    </a:lnTo>
                    <a:lnTo>
                      <a:pt x="103" y="79"/>
                    </a:lnTo>
                    <a:lnTo>
                      <a:pt x="103" y="77"/>
                    </a:lnTo>
                    <a:lnTo>
                      <a:pt x="103" y="75"/>
                    </a:lnTo>
                    <a:lnTo>
                      <a:pt x="103" y="74"/>
                    </a:lnTo>
                    <a:lnTo>
                      <a:pt x="103" y="72"/>
                    </a:lnTo>
                    <a:lnTo>
                      <a:pt x="105" y="72"/>
                    </a:lnTo>
                    <a:lnTo>
                      <a:pt x="105" y="70"/>
                    </a:lnTo>
                    <a:lnTo>
                      <a:pt x="107" y="70"/>
                    </a:lnTo>
                    <a:lnTo>
                      <a:pt x="107" y="68"/>
                    </a:lnTo>
                    <a:lnTo>
                      <a:pt x="107" y="66"/>
                    </a:lnTo>
                    <a:lnTo>
                      <a:pt x="105" y="64"/>
                    </a:lnTo>
                    <a:lnTo>
                      <a:pt x="103" y="64"/>
                    </a:lnTo>
                    <a:lnTo>
                      <a:pt x="103" y="62"/>
                    </a:lnTo>
                    <a:lnTo>
                      <a:pt x="101" y="62"/>
                    </a:lnTo>
                    <a:lnTo>
                      <a:pt x="103" y="62"/>
                    </a:lnTo>
                    <a:lnTo>
                      <a:pt x="101" y="62"/>
                    </a:lnTo>
                    <a:lnTo>
                      <a:pt x="103" y="62"/>
                    </a:lnTo>
                    <a:lnTo>
                      <a:pt x="101" y="62"/>
                    </a:lnTo>
                    <a:lnTo>
                      <a:pt x="103" y="62"/>
                    </a:lnTo>
                    <a:lnTo>
                      <a:pt x="103" y="60"/>
                    </a:lnTo>
                    <a:lnTo>
                      <a:pt x="105" y="60"/>
                    </a:lnTo>
                    <a:lnTo>
                      <a:pt x="105" y="58"/>
                    </a:lnTo>
                    <a:lnTo>
                      <a:pt x="107" y="58"/>
                    </a:lnTo>
                    <a:lnTo>
                      <a:pt x="105" y="58"/>
                    </a:lnTo>
                    <a:lnTo>
                      <a:pt x="107" y="58"/>
                    </a:lnTo>
                    <a:lnTo>
                      <a:pt x="107" y="56"/>
                    </a:lnTo>
                    <a:lnTo>
                      <a:pt x="109" y="56"/>
                    </a:lnTo>
                    <a:lnTo>
                      <a:pt x="109" y="54"/>
                    </a:lnTo>
                    <a:lnTo>
                      <a:pt x="111" y="54"/>
                    </a:lnTo>
                    <a:lnTo>
                      <a:pt x="113" y="52"/>
                    </a:lnTo>
                    <a:lnTo>
                      <a:pt x="115" y="52"/>
                    </a:lnTo>
                    <a:lnTo>
                      <a:pt x="115" y="50"/>
                    </a:lnTo>
                    <a:lnTo>
                      <a:pt x="117" y="50"/>
                    </a:lnTo>
                    <a:lnTo>
                      <a:pt x="115" y="50"/>
                    </a:lnTo>
                    <a:lnTo>
                      <a:pt x="117" y="50"/>
                    </a:lnTo>
                    <a:lnTo>
                      <a:pt x="117" y="52"/>
                    </a:lnTo>
                    <a:lnTo>
                      <a:pt x="119" y="56"/>
                    </a:lnTo>
                    <a:lnTo>
                      <a:pt x="125" y="54"/>
                    </a:lnTo>
                    <a:lnTo>
                      <a:pt x="126" y="54"/>
                    </a:lnTo>
                    <a:lnTo>
                      <a:pt x="126" y="52"/>
                    </a:lnTo>
                    <a:lnTo>
                      <a:pt x="125" y="50"/>
                    </a:lnTo>
                    <a:lnTo>
                      <a:pt x="123" y="52"/>
                    </a:lnTo>
                    <a:lnTo>
                      <a:pt x="123" y="50"/>
                    </a:lnTo>
                    <a:lnTo>
                      <a:pt x="123" y="49"/>
                    </a:lnTo>
                    <a:lnTo>
                      <a:pt x="121" y="49"/>
                    </a:lnTo>
                    <a:lnTo>
                      <a:pt x="119" y="49"/>
                    </a:lnTo>
                    <a:lnTo>
                      <a:pt x="119" y="47"/>
                    </a:lnTo>
                    <a:lnTo>
                      <a:pt x="119" y="49"/>
                    </a:lnTo>
                    <a:lnTo>
                      <a:pt x="119" y="47"/>
                    </a:lnTo>
                    <a:lnTo>
                      <a:pt x="117" y="47"/>
                    </a:lnTo>
                    <a:lnTo>
                      <a:pt x="117" y="45"/>
                    </a:lnTo>
                    <a:lnTo>
                      <a:pt x="119" y="45"/>
                    </a:lnTo>
                    <a:lnTo>
                      <a:pt x="119" y="43"/>
                    </a:lnTo>
                    <a:lnTo>
                      <a:pt x="119" y="41"/>
                    </a:lnTo>
                    <a:lnTo>
                      <a:pt x="119" y="39"/>
                    </a:lnTo>
                    <a:lnTo>
                      <a:pt x="119" y="37"/>
                    </a:lnTo>
                    <a:lnTo>
                      <a:pt x="119" y="35"/>
                    </a:lnTo>
                    <a:lnTo>
                      <a:pt x="121" y="35"/>
                    </a:lnTo>
                    <a:lnTo>
                      <a:pt x="121" y="37"/>
                    </a:lnTo>
                    <a:lnTo>
                      <a:pt x="123" y="39"/>
                    </a:lnTo>
                    <a:lnTo>
                      <a:pt x="123" y="37"/>
                    </a:lnTo>
                    <a:lnTo>
                      <a:pt x="125" y="37"/>
                    </a:lnTo>
                    <a:lnTo>
                      <a:pt x="125" y="39"/>
                    </a:lnTo>
                    <a:lnTo>
                      <a:pt x="126" y="39"/>
                    </a:lnTo>
                    <a:lnTo>
                      <a:pt x="128" y="41"/>
                    </a:lnTo>
                    <a:lnTo>
                      <a:pt x="128" y="39"/>
                    </a:lnTo>
                    <a:lnTo>
                      <a:pt x="130" y="37"/>
                    </a:lnTo>
                    <a:lnTo>
                      <a:pt x="132" y="37"/>
                    </a:lnTo>
                    <a:lnTo>
                      <a:pt x="134" y="37"/>
                    </a:lnTo>
                    <a:lnTo>
                      <a:pt x="136" y="35"/>
                    </a:lnTo>
                    <a:lnTo>
                      <a:pt x="138" y="35"/>
                    </a:lnTo>
                    <a:lnTo>
                      <a:pt x="140" y="35"/>
                    </a:lnTo>
                    <a:lnTo>
                      <a:pt x="140" y="33"/>
                    </a:lnTo>
                    <a:lnTo>
                      <a:pt x="142" y="33"/>
                    </a:lnTo>
                    <a:lnTo>
                      <a:pt x="142" y="35"/>
                    </a:lnTo>
                    <a:lnTo>
                      <a:pt x="144" y="35"/>
                    </a:lnTo>
                    <a:lnTo>
                      <a:pt x="144" y="33"/>
                    </a:lnTo>
                    <a:lnTo>
                      <a:pt x="144" y="31"/>
                    </a:lnTo>
                    <a:lnTo>
                      <a:pt x="146" y="31"/>
                    </a:lnTo>
                    <a:lnTo>
                      <a:pt x="148" y="29"/>
                    </a:lnTo>
                    <a:lnTo>
                      <a:pt x="148" y="27"/>
                    </a:lnTo>
                    <a:lnTo>
                      <a:pt x="146" y="27"/>
                    </a:lnTo>
                    <a:lnTo>
                      <a:pt x="146" y="25"/>
                    </a:lnTo>
                    <a:lnTo>
                      <a:pt x="146" y="24"/>
                    </a:lnTo>
                    <a:lnTo>
                      <a:pt x="146" y="22"/>
                    </a:lnTo>
                    <a:lnTo>
                      <a:pt x="146" y="20"/>
                    </a:lnTo>
                    <a:lnTo>
                      <a:pt x="146" y="18"/>
                    </a:lnTo>
                    <a:lnTo>
                      <a:pt x="148" y="18"/>
                    </a:lnTo>
                    <a:lnTo>
                      <a:pt x="148" y="16"/>
                    </a:lnTo>
                    <a:lnTo>
                      <a:pt x="150" y="16"/>
                    </a:lnTo>
                    <a:lnTo>
                      <a:pt x="153" y="14"/>
                    </a:lnTo>
                    <a:lnTo>
                      <a:pt x="153" y="16"/>
                    </a:lnTo>
                    <a:lnTo>
                      <a:pt x="153" y="12"/>
                    </a:lnTo>
                    <a:lnTo>
                      <a:pt x="155" y="12"/>
                    </a:lnTo>
                    <a:lnTo>
                      <a:pt x="157" y="10"/>
                    </a:lnTo>
                    <a:lnTo>
                      <a:pt x="157" y="12"/>
                    </a:lnTo>
                    <a:lnTo>
                      <a:pt x="159" y="14"/>
                    </a:lnTo>
                    <a:lnTo>
                      <a:pt x="161" y="18"/>
                    </a:lnTo>
                    <a:lnTo>
                      <a:pt x="163" y="20"/>
                    </a:lnTo>
                    <a:lnTo>
                      <a:pt x="165" y="20"/>
                    </a:lnTo>
                    <a:lnTo>
                      <a:pt x="167" y="22"/>
                    </a:lnTo>
                    <a:lnTo>
                      <a:pt x="169" y="20"/>
                    </a:lnTo>
                    <a:lnTo>
                      <a:pt x="171" y="20"/>
                    </a:lnTo>
                    <a:lnTo>
                      <a:pt x="173" y="20"/>
                    </a:lnTo>
                    <a:lnTo>
                      <a:pt x="171" y="20"/>
                    </a:lnTo>
                    <a:lnTo>
                      <a:pt x="173" y="18"/>
                    </a:lnTo>
                    <a:lnTo>
                      <a:pt x="174" y="20"/>
                    </a:lnTo>
                    <a:lnTo>
                      <a:pt x="176" y="20"/>
                    </a:lnTo>
                    <a:lnTo>
                      <a:pt x="176" y="22"/>
                    </a:lnTo>
                    <a:lnTo>
                      <a:pt x="178" y="20"/>
                    </a:lnTo>
                    <a:lnTo>
                      <a:pt x="182" y="22"/>
                    </a:lnTo>
                    <a:lnTo>
                      <a:pt x="186" y="20"/>
                    </a:lnTo>
                    <a:lnTo>
                      <a:pt x="188" y="20"/>
                    </a:lnTo>
                    <a:lnTo>
                      <a:pt x="190" y="18"/>
                    </a:lnTo>
                    <a:lnTo>
                      <a:pt x="192" y="14"/>
                    </a:lnTo>
                    <a:lnTo>
                      <a:pt x="194" y="14"/>
                    </a:lnTo>
                    <a:lnTo>
                      <a:pt x="196" y="12"/>
                    </a:lnTo>
                    <a:lnTo>
                      <a:pt x="198" y="10"/>
                    </a:lnTo>
                    <a:lnTo>
                      <a:pt x="199" y="10"/>
                    </a:lnTo>
                    <a:lnTo>
                      <a:pt x="201" y="10"/>
                    </a:lnTo>
                    <a:lnTo>
                      <a:pt x="203" y="8"/>
                    </a:lnTo>
                    <a:lnTo>
                      <a:pt x="203" y="10"/>
                    </a:lnTo>
                    <a:lnTo>
                      <a:pt x="207" y="10"/>
                    </a:lnTo>
                    <a:lnTo>
                      <a:pt x="207" y="8"/>
                    </a:lnTo>
                    <a:lnTo>
                      <a:pt x="209" y="10"/>
                    </a:lnTo>
                    <a:lnTo>
                      <a:pt x="209" y="8"/>
                    </a:lnTo>
                    <a:lnTo>
                      <a:pt x="211" y="8"/>
                    </a:lnTo>
                    <a:lnTo>
                      <a:pt x="213" y="6"/>
                    </a:lnTo>
                    <a:lnTo>
                      <a:pt x="213" y="4"/>
                    </a:lnTo>
                    <a:lnTo>
                      <a:pt x="211" y="2"/>
                    </a:lnTo>
                    <a:lnTo>
                      <a:pt x="215" y="0"/>
                    </a:lnTo>
                    <a:lnTo>
                      <a:pt x="217" y="0"/>
                    </a:lnTo>
                    <a:lnTo>
                      <a:pt x="215" y="6"/>
                    </a:lnTo>
                    <a:lnTo>
                      <a:pt x="215" y="8"/>
                    </a:lnTo>
                    <a:lnTo>
                      <a:pt x="215" y="10"/>
                    </a:lnTo>
                    <a:lnTo>
                      <a:pt x="217" y="14"/>
                    </a:lnTo>
                    <a:lnTo>
                      <a:pt x="217" y="16"/>
                    </a:lnTo>
                    <a:lnTo>
                      <a:pt x="215" y="16"/>
                    </a:lnTo>
                    <a:lnTo>
                      <a:pt x="215" y="18"/>
                    </a:lnTo>
                    <a:lnTo>
                      <a:pt x="215" y="20"/>
                    </a:lnTo>
                    <a:lnTo>
                      <a:pt x="217" y="22"/>
                    </a:lnTo>
                    <a:lnTo>
                      <a:pt x="217" y="24"/>
                    </a:lnTo>
                    <a:lnTo>
                      <a:pt x="217" y="25"/>
                    </a:lnTo>
                    <a:lnTo>
                      <a:pt x="219" y="27"/>
                    </a:lnTo>
                    <a:lnTo>
                      <a:pt x="221" y="27"/>
                    </a:lnTo>
                    <a:lnTo>
                      <a:pt x="221" y="29"/>
                    </a:lnTo>
                    <a:lnTo>
                      <a:pt x="221" y="31"/>
                    </a:lnTo>
                    <a:lnTo>
                      <a:pt x="221" y="33"/>
                    </a:lnTo>
                    <a:lnTo>
                      <a:pt x="221" y="35"/>
                    </a:lnTo>
                    <a:lnTo>
                      <a:pt x="223" y="37"/>
                    </a:lnTo>
                    <a:lnTo>
                      <a:pt x="223" y="39"/>
                    </a:lnTo>
                    <a:lnTo>
                      <a:pt x="223" y="41"/>
                    </a:lnTo>
                    <a:lnTo>
                      <a:pt x="223" y="43"/>
                    </a:lnTo>
                    <a:lnTo>
                      <a:pt x="223" y="45"/>
                    </a:lnTo>
                    <a:lnTo>
                      <a:pt x="223" y="47"/>
                    </a:lnTo>
                    <a:lnTo>
                      <a:pt x="223" y="49"/>
                    </a:lnTo>
                    <a:lnTo>
                      <a:pt x="219" y="50"/>
                    </a:lnTo>
                    <a:lnTo>
                      <a:pt x="217" y="52"/>
                    </a:lnTo>
                    <a:lnTo>
                      <a:pt x="215" y="54"/>
                    </a:lnTo>
                    <a:lnTo>
                      <a:pt x="215" y="56"/>
                    </a:lnTo>
                    <a:lnTo>
                      <a:pt x="213" y="56"/>
                    </a:lnTo>
                    <a:lnTo>
                      <a:pt x="211" y="56"/>
                    </a:lnTo>
                    <a:lnTo>
                      <a:pt x="211" y="58"/>
                    </a:lnTo>
                    <a:lnTo>
                      <a:pt x="209" y="60"/>
                    </a:lnTo>
                    <a:lnTo>
                      <a:pt x="207" y="62"/>
                    </a:lnTo>
                    <a:lnTo>
                      <a:pt x="207" y="64"/>
                    </a:lnTo>
                    <a:lnTo>
                      <a:pt x="205" y="64"/>
                    </a:lnTo>
                    <a:lnTo>
                      <a:pt x="205" y="66"/>
                    </a:lnTo>
                    <a:lnTo>
                      <a:pt x="207" y="66"/>
                    </a:lnTo>
                    <a:lnTo>
                      <a:pt x="205" y="68"/>
                    </a:lnTo>
                    <a:lnTo>
                      <a:pt x="207" y="68"/>
                    </a:lnTo>
                    <a:lnTo>
                      <a:pt x="205" y="70"/>
                    </a:lnTo>
                    <a:lnTo>
                      <a:pt x="203" y="72"/>
                    </a:lnTo>
                    <a:lnTo>
                      <a:pt x="203" y="70"/>
                    </a:lnTo>
                    <a:lnTo>
                      <a:pt x="201" y="72"/>
                    </a:lnTo>
                    <a:lnTo>
                      <a:pt x="201" y="74"/>
                    </a:lnTo>
                    <a:lnTo>
                      <a:pt x="203" y="75"/>
                    </a:lnTo>
                    <a:lnTo>
                      <a:pt x="201" y="75"/>
                    </a:lnTo>
                    <a:lnTo>
                      <a:pt x="199" y="75"/>
                    </a:lnTo>
                    <a:lnTo>
                      <a:pt x="201" y="75"/>
                    </a:lnTo>
                    <a:lnTo>
                      <a:pt x="199" y="75"/>
                    </a:lnTo>
                    <a:lnTo>
                      <a:pt x="199" y="77"/>
                    </a:lnTo>
                    <a:lnTo>
                      <a:pt x="199" y="79"/>
                    </a:lnTo>
                    <a:lnTo>
                      <a:pt x="201" y="79"/>
                    </a:lnTo>
                    <a:lnTo>
                      <a:pt x="203" y="81"/>
                    </a:lnTo>
                    <a:lnTo>
                      <a:pt x="209" y="83"/>
                    </a:lnTo>
                    <a:lnTo>
                      <a:pt x="207" y="83"/>
                    </a:lnTo>
                    <a:lnTo>
                      <a:pt x="207" y="85"/>
                    </a:lnTo>
                    <a:lnTo>
                      <a:pt x="209" y="85"/>
                    </a:lnTo>
                    <a:lnTo>
                      <a:pt x="207" y="87"/>
                    </a:lnTo>
                    <a:lnTo>
                      <a:pt x="207" y="89"/>
                    </a:lnTo>
                    <a:lnTo>
                      <a:pt x="205" y="87"/>
                    </a:lnTo>
                    <a:lnTo>
                      <a:pt x="205" y="89"/>
                    </a:lnTo>
                    <a:lnTo>
                      <a:pt x="205" y="91"/>
                    </a:lnTo>
                    <a:lnTo>
                      <a:pt x="205" y="93"/>
                    </a:lnTo>
                    <a:lnTo>
                      <a:pt x="207" y="93"/>
                    </a:lnTo>
                    <a:lnTo>
                      <a:pt x="209" y="93"/>
                    </a:lnTo>
                    <a:lnTo>
                      <a:pt x="209" y="95"/>
                    </a:lnTo>
                    <a:lnTo>
                      <a:pt x="209" y="97"/>
                    </a:lnTo>
                    <a:lnTo>
                      <a:pt x="211" y="99"/>
                    </a:lnTo>
                    <a:lnTo>
                      <a:pt x="211" y="100"/>
                    </a:lnTo>
                    <a:lnTo>
                      <a:pt x="213" y="100"/>
                    </a:lnTo>
                    <a:lnTo>
                      <a:pt x="209" y="104"/>
                    </a:lnTo>
                    <a:lnTo>
                      <a:pt x="209" y="106"/>
                    </a:lnTo>
                    <a:lnTo>
                      <a:pt x="211" y="106"/>
                    </a:lnTo>
                    <a:lnTo>
                      <a:pt x="211" y="108"/>
                    </a:lnTo>
                    <a:lnTo>
                      <a:pt x="211" y="110"/>
                    </a:lnTo>
                    <a:lnTo>
                      <a:pt x="209" y="112"/>
                    </a:lnTo>
                    <a:lnTo>
                      <a:pt x="205" y="114"/>
                    </a:lnTo>
                    <a:lnTo>
                      <a:pt x="203" y="114"/>
                    </a:lnTo>
                    <a:lnTo>
                      <a:pt x="203" y="116"/>
                    </a:lnTo>
                    <a:lnTo>
                      <a:pt x="203" y="118"/>
                    </a:lnTo>
                    <a:lnTo>
                      <a:pt x="201" y="118"/>
                    </a:lnTo>
                    <a:lnTo>
                      <a:pt x="201" y="120"/>
                    </a:lnTo>
                    <a:lnTo>
                      <a:pt x="201" y="122"/>
                    </a:lnTo>
                    <a:lnTo>
                      <a:pt x="201" y="124"/>
                    </a:lnTo>
                    <a:lnTo>
                      <a:pt x="199" y="122"/>
                    </a:lnTo>
                    <a:lnTo>
                      <a:pt x="198" y="122"/>
                    </a:lnTo>
                    <a:lnTo>
                      <a:pt x="198" y="124"/>
                    </a:lnTo>
                    <a:lnTo>
                      <a:pt x="196" y="124"/>
                    </a:lnTo>
                    <a:lnTo>
                      <a:pt x="196" y="122"/>
                    </a:lnTo>
                    <a:lnTo>
                      <a:pt x="196" y="124"/>
                    </a:lnTo>
                    <a:lnTo>
                      <a:pt x="194" y="124"/>
                    </a:lnTo>
                    <a:lnTo>
                      <a:pt x="196" y="124"/>
                    </a:lnTo>
                    <a:lnTo>
                      <a:pt x="194" y="124"/>
                    </a:lnTo>
                    <a:lnTo>
                      <a:pt x="192" y="124"/>
                    </a:lnTo>
                    <a:lnTo>
                      <a:pt x="192" y="122"/>
                    </a:lnTo>
                    <a:lnTo>
                      <a:pt x="192" y="124"/>
                    </a:lnTo>
                    <a:lnTo>
                      <a:pt x="190" y="124"/>
                    </a:lnTo>
                    <a:lnTo>
                      <a:pt x="190" y="122"/>
                    </a:lnTo>
                    <a:lnTo>
                      <a:pt x="190" y="124"/>
                    </a:lnTo>
                    <a:lnTo>
                      <a:pt x="190" y="122"/>
                    </a:lnTo>
                    <a:lnTo>
                      <a:pt x="188" y="122"/>
                    </a:lnTo>
                    <a:lnTo>
                      <a:pt x="190" y="122"/>
                    </a:lnTo>
                    <a:lnTo>
                      <a:pt x="188" y="122"/>
                    </a:lnTo>
                    <a:lnTo>
                      <a:pt x="186" y="122"/>
                    </a:lnTo>
                    <a:lnTo>
                      <a:pt x="186" y="120"/>
                    </a:lnTo>
                    <a:lnTo>
                      <a:pt x="186" y="122"/>
                    </a:lnTo>
                    <a:lnTo>
                      <a:pt x="186" y="120"/>
                    </a:lnTo>
                    <a:lnTo>
                      <a:pt x="184" y="120"/>
                    </a:lnTo>
                    <a:lnTo>
                      <a:pt x="180" y="120"/>
                    </a:lnTo>
                    <a:lnTo>
                      <a:pt x="178" y="120"/>
                    </a:lnTo>
                    <a:lnTo>
                      <a:pt x="176" y="122"/>
                    </a:lnTo>
                    <a:lnTo>
                      <a:pt x="174" y="122"/>
                    </a:lnTo>
                    <a:lnTo>
                      <a:pt x="174" y="124"/>
                    </a:lnTo>
                    <a:lnTo>
                      <a:pt x="173" y="131"/>
                    </a:lnTo>
                    <a:lnTo>
                      <a:pt x="169" y="129"/>
                    </a:lnTo>
                    <a:lnTo>
                      <a:pt x="167" y="131"/>
                    </a:lnTo>
                    <a:lnTo>
                      <a:pt x="169" y="131"/>
                    </a:lnTo>
                    <a:lnTo>
                      <a:pt x="167" y="133"/>
                    </a:lnTo>
                    <a:lnTo>
                      <a:pt x="165" y="139"/>
                    </a:lnTo>
                    <a:lnTo>
                      <a:pt x="165" y="137"/>
                    </a:lnTo>
                    <a:lnTo>
                      <a:pt x="163" y="139"/>
                    </a:lnTo>
                    <a:lnTo>
                      <a:pt x="161" y="139"/>
                    </a:lnTo>
                    <a:lnTo>
                      <a:pt x="159" y="141"/>
                    </a:lnTo>
                    <a:lnTo>
                      <a:pt x="159" y="143"/>
                    </a:lnTo>
                    <a:lnTo>
                      <a:pt x="157" y="143"/>
                    </a:lnTo>
                    <a:lnTo>
                      <a:pt x="159" y="143"/>
                    </a:lnTo>
                    <a:lnTo>
                      <a:pt x="159" y="145"/>
                    </a:lnTo>
                    <a:lnTo>
                      <a:pt x="161" y="145"/>
                    </a:lnTo>
                    <a:lnTo>
                      <a:pt x="163" y="145"/>
                    </a:lnTo>
                    <a:lnTo>
                      <a:pt x="163" y="147"/>
                    </a:lnTo>
                    <a:lnTo>
                      <a:pt x="161" y="147"/>
                    </a:lnTo>
                    <a:lnTo>
                      <a:pt x="163" y="147"/>
                    </a:lnTo>
                    <a:lnTo>
                      <a:pt x="165" y="147"/>
                    </a:lnTo>
                    <a:lnTo>
                      <a:pt x="169" y="149"/>
                    </a:lnTo>
                    <a:lnTo>
                      <a:pt x="171" y="149"/>
                    </a:lnTo>
                    <a:lnTo>
                      <a:pt x="171" y="150"/>
                    </a:lnTo>
                    <a:lnTo>
                      <a:pt x="169" y="150"/>
                    </a:lnTo>
                    <a:lnTo>
                      <a:pt x="171" y="150"/>
                    </a:lnTo>
                    <a:lnTo>
                      <a:pt x="171" y="152"/>
                    </a:lnTo>
                    <a:lnTo>
                      <a:pt x="173" y="152"/>
                    </a:lnTo>
                    <a:lnTo>
                      <a:pt x="173" y="150"/>
                    </a:lnTo>
                    <a:lnTo>
                      <a:pt x="173" y="152"/>
                    </a:lnTo>
                    <a:lnTo>
                      <a:pt x="174" y="154"/>
                    </a:lnTo>
                    <a:lnTo>
                      <a:pt x="174" y="156"/>
                    </a:lnTo>
                    <a:lnTo>
                      <a:pt x="174" y="158"/>
                    </a:lnTo>
                    <a:lnTo>
                      <a:pt x="174" y="160"/>
                    </a:lnTo>
                    <a:lnTo>
                      <a:pt x="174" y="162"/>
                    </a:lnTo>
                    <a:lnTo>
                      <a:pt x="174" y="164"/>
                    </a:lnTo>
                    <a:lnTo>
                      <a:pt x="176" y="166"/>
                    </a:lnTo>
                    <a:lnTo>
                      <a:pt x="174" y="168"/>
                    </a:lnTo>
                    <a:lnTo>
                      <a:pt x="174" y="170"/>
                    </a:lnTo>
                    <a:lnTo>
                      <a:pt x="174" y="172"/>
                    </a:lnTo>
                    <a:lnTo>
                      <a:pt x="173" y="173"/>
                    </a:lnTo>
                    <a:lnTo>
                      <a:pt x="173" y="177"/>
                    </a:lnTo>
                    <a:lnTo>
                      <a:pt x="173" y="181"/>
                    </a:lnTo>
                    <a:lnTo>
                      <a:pt x="173" y="183"/>
                    </a:lnTo>
                    <a:lnTo>
                      <a:pt x="171" y="191"/>
                    </a:lnTo>
                    <a:lnTo>
                      <a:pt x="171" y="193"/>
                    </a:lnTo>
                    <a:lnTo>
                      <a:pt x="173" y="193"/>
                    </a:lnTo>
                    <a:lnTo>
                      <a:pt x="174" y="193"/>
                    </a:lnTo>
                    <a:lnTo>
                      <a:pt x="176" y="191"/>
                    </a:lnTo>
                    <a:lnTo>
                      <a:pt x="180" y="193"/>
                    </a:lnTo>
                    <a:lnTo>
                      <a:pt x="180" y="195"/>
                    </a:lnTo>
                    <a:lnTo>
                      <a:pt x="178" y="195"/>
                    </a:lnTo>
                    <a:lnTo>
                      <a:pt x="178" y="197"/>
                    </a:lnTo>
                    <a:lnTo>
                      <a:pt x="176" y="197"/>
                    </a:lnTo>
                    <a:lnTo>
                      <a:pt x="176" y="198"/>
                    </a:lnTo>
                    <a:lnTo>
                      <a:pt x="176" y="200"/>
                    </a:lnTo>
                    <a:lnTo>
                      <a:pt x="178" y="202"/>
                    </a:lnTo>
                    <a:lnTo>
                      <a:pt x="180" y="202"/>
                    </a:lnTo>
                    <a:lnTo>
                      <a:pt x="182" y="202"/>
                    </a:lnTo>
                    <a:lnTo>
                      <a:pt x="184" y="204"/>
                    </a:lnTo>
                    <a:lnTo>
                      <a:pt x="186" y="204"/>
                    </a:lnTo>
                    <a:lnTo>
                      <a:pt x="188" y="204"/>
                    </a:lnTo>
                    <a:lnTo>
                      <a:pt x="190" y="204"/>
                    </a:lnTo>
                    <a:lnTo>
                      <a:pt x="192" y="206"/>
                    </a:lnTo>
                    <a:lnTo>
                      <a:pt x="192" y="208"/>
                    </a:lnTo>
                    <a:lnTo>
                      <a:pt x="192" y="210"/>
                    </a:lnTo>
                    <a:lnTo>
                      <a:pt x="194" y="210"/>
                    </a:lnTo>
                    <a:lnTo>
                      <a:pt x="194" y="208"/>
                    </a:lnTo>
                    <a:lnTo>
                      <a:pt x="194" y="210"/>
                    </a:lnTo>
                    <a:lnTo>
                      <a:pt x="194" y="208"/>
                    </a:lnTo>
                    <a:lnTo>
                      <a:pt x="194" y="210"/>
                    </a:lnTo>
                    <a:lnTo>
                      <a:pt x="196" y="21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3" name="Freeform 113"/>
              <p:cNvSpPr>
                <a:spLocks noEditPoints="1"/>
              </p:cNvSpPr>
              <p:nvPr/>
            </p:nvSpPr>
            <p:spPr bwMode="auto">
              <a:xfrm>
                <a:off x="415674" y="3381673"/>
                <a:ext cx="67105" cy="32692"/>
              </a:xfrm>
              <a:custGeom>
                <a:avLst/>
                <a:gdLst>
                  <a:gd name="T0" fmla="*/ 0 w 39"/>
                  <a:gd name="T1" fmla="*/ 6 h 19"/>
                  <a:gd name="T2" fmla="*/ 0 w 39"/>
                  <a:gd name="T3" fmla="*/ 6 h 19"/>
                  <a:gd name="T4" fmla="*/ 0 w 39"/>
                  <a:gd name="T5" fmla="*/ 6 h 19"/>
                  <a:gd name="T6" fmla="*/ 2 w 39"/>
                  <a:gd name="T7" fmla="*/ 8 h 19"/>
                  <a:gd name="T8" fmla="*/ 10 w 39"/>
                  <a:gd name="T9" fmla="*/ 8 h 19"/>
                  <a:gd name="T10" fmla="*/ 10 w 39"/>
                  <a:gd name="T11" fmla="*/ 10 h 19"/>
                  <a:gd name="T12" fmla="*/ 10 w 39"/>
                  <a:gd name="T13" fmla="*/ 10 h 19"/>
                  <a:gd name="T14" fmla="*/ 10 w 39"/>
                  <a:gd name="T15" fmla="*/ 8 h 19"/>
                  <a:gd name="T16" fmla="*/ 6 w 39"/>
                  <a:gd name="T17" fmla="*/ 6 h 19"/>
                  <a:gd name="T18" fmla="*/ 8 w 39"/>
                  <a:gd name="T19" fmla="*/ 6 h 19"/>
                  <a:gd name="T20" fmla="*/ 8 w 39"/>
                  <a:gd name="T21" fmla="*/ 6 h 19"/>
                  <a:gd name="T22" fmla="*/ 10 w 39"/>
                  <a:gd name="T23" fmla="*/ 8 h 19"/>
                  <a:gd name="T24" fmla="*/ 10 w 39"/>
                  <a:gd name="T25" fmla="*/ 8 h 19"/>
                  <a:gd name="T26" fmla="*/ 8 w 39"/>
                  <a:gd name="T27" fmla="*/ 8 h 19"/>
                  <a:gd name="T28" fmla="*/ 8 w 39"/>
                  <a:gd name="T29" fmla="*/ 8 h 19"/>
                  <a:gd name="T30" fmla="*/ 6 w 39"/>
                  <a:gd name="T31" fmla="*/ 8 h 19"/>
                  <a:gd name="T32" fmla="*/ 6 w 39"/>
                  <a:gd name="T33" fmla="*/ 6 h 19"/>
                  <a:gd name="T34" fmla="*/ 4 w 39"/>
                  <a:gd name="T35" fmla="*/ 6 h 19"/>
                  <a:gd name="T36" fmla="*/ 2 w 39"/>
                  <a:gd name="T37" fmla="*/ 8 h 19"/>
                  <a:gd name="T38" fmla="*/ 2 w 39"/>
                  <a:gd name="T39" fmla="*/ 6 h 19"/>
                  <a:gd name="T40" fmla="*/ 2 w 39"/>
                  <a:gd name="T41" fmla="*/ 6 h 19"/>
                  <a:gd name="T42" fmla="*/ 2 w 39"/>
                  <a:gd name="T43" fmla="*/ 4 h 19"/>
                  <a:gd name="T44" fmla="*/ 2 w 39"/>
                  <a:gd name="T45" fmla="*/ 4 h 19"/>
                  <a:gd name="T46" fmla="*/ 2 w 39"/>
                  <a:gd name="T47" fmla="*/ 4 h 19"/>
                  <a:gd name="T48" fmla="*/ 6 w 39"/>
                  <a:gd name="T49" fmla="*/ 4 h 19"/>
                  <a:gd name="T50" fmla="*/ 6 w 39"/>
                  <a:gd name="T51" fmla="*/ 4 h 19"/>
                  <a:gd name="T52" fmla="*/ 4 w 39"/>
                  <a:gd name="T53" fmla="*/ 0 h 19"/>
                  <a:gd name="T54" fmla="*/ 4 w 39"/>
                  <a:gd name="T55" fmla="*/ 0 h 19"/>
                  <a:gd name="T56" fmla="*/ 6 w 39"/>
                  <a:gd name="T57" fmla="*/ 2 h 19"/>
                  <a:gd name="T58" fmla="*/ 6 w 39"/>
                  <a:gd name="T59" fmla="*/ 4 h 19"/>
                  <a:gd name="T60" fmla="*/ 4 w 39"/>
                  <a:gd name="T61" fmla="*/ 4 h 19"/>
                  <a:gd name="T62" fmla="*/ 4 w 39"/>
                  <a:gd name="T63" fmla="*/ 4 h 19"/>
                  <a:gd name="T64" fmla="*/ 2 w 39"/>
                  <a:gd name="T65" fmla="*/ 4 h 19"/>
                  <a:gd name="T66" fmla="*/ 2 w 39"/>
                  <a:gd name="T67" fmla="*/ 4 h 19"/>
                  <a:gd name="T68" fmla="*/ 2 w 39"/>
                  <a:gd name="T69" fmla="*/ 4 h 19"/>
                  <a:gd name="T70" fmla="*/ 2 w 39"/>
                  <a:gd name="T71" fmla="*/ 4 h 19"/>
                  <a:gd name="T72" fmla="*/ 4 w 39"/>
                  <a:gd name="T73" fmla="*/ 2 h 19"/>
                  <a:gd name="T74" fmla="*/ 2 w 39"/>
                  <a:gd name="T75" fmla="*/ 2 h 19"/>
                  <a:gd name="T76" fmla="*/ 4 w 39"/>
                  <a:gd name="T77" fmla="*/ 0 h 19"/>
                  <a:gd name="T78" fmla="*/ 4 w 39"/>
                  <a:gd name="T79" fmla="*/ 0 h 19"/>
                  <a:gd name="T80" fmla="*/ 6 w 39"/>
                  <a:gd name="T81" fmla="*/ 0 h 19"/>
                  <a:gd name="T82" fmla="*/ 6 w 39"/>
                  <a:gd name="T83" fmla="*/ 2 h 19"/>
                  <a:gd name="T84" fmla="*/ 23 w 39"/>
                  <a:gd name="T85" fmla="*/ 10 h 19"/>
                  <a:gd name="T86" fmla="*/ 23 w 39"/>
                  <a:gd name="T87" fmla="*/ 12 h 19"/>
                  <a:gd name="T88" fmla="*/ 23 w 39"/>
                  <a:gd name="T89" fmla="*/ 12 h 19"/>
                  <a:gd name="T90" fmla="*/ 21 w 39"/>
                  <a:gd name="T91" fmla="*/ 10 h 19"/>
                  <a:gd name="T92" fmla="*/ 37 w 39"/>
                  <a:gd name="T93" fmla="*/ 19 h 19"/>
                  <a:gd name="T94" fmla="*/ 37 w 39"/>
                  <a:gd name="T95" fmla="*/ 19 h 19"/>
                  <a:gd name="T96" fmla="*/ 37 w 39"/>
                  <a:gd name="T97"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 h="19">
                    <a:moveTo>
                      <a:pt x="2" y="8"/>
                    </a:moveTo>
                    <a:lnTo>
                      <a:pt x="2" y="8"/>
                    </a:lnTo>
                    <a:lnTo>
                      <a:pt x="0" y="8"/>
                    </a:lnTo>
                    <a:lnTo>
                      <a:pt x="0" y="6"/>
                    </a:lnTo>
                    <a:lnTo>
                      <a:pt x="0" y="6"/>
                    </a:lnTo>
                    <a:lnTo>
                      <a:pt x="0" y="6"/>
                    </a:lnTo>
                    <a:lnTo>
                      <a:pt x="0" y="6"/>
                    </a:lnTo>
                    <a:lnTo>
                      <a:pt x="0" y="6"/>
                    </a:lnTo>
                    <a:lnTo>
                      <a:pt x="0" y="6"/>
                    </a:lnTo>
                    <a:lnTo>
                      <a:pt x="0" y="6"/>
                    </a:lnTo>
                    <a:lnTo>
                      <a:pt x="0" y="6"/>
                    </a:lnTo>
                    <a:lnTo>
                      <a:pt x="0" y="6"/>
                    </a:lnTo>
                    <a:lnTo>
                      <a:pt x="2" y="6"/>
                    </a:lnTo>
                    <a:lnTo>
                      <a:pt x="2" y="6"/>
                    </a:lnTo>
                    <a:lnTo>
                      <a:pt x="2" y="6"/>
                    </a:lnTo>
                    <a:lnTo>
                      <a:pt x="2" y="8"/>
                    </a:lnTo>
                    <a:lnTo>
                      <a:pt x="2" y="8"/>
                    </a:lnTo>
                    <a:lnTo>
                      <a:pt x="2" y="8"/>
                    </a:lnTo>
                    <a:lnTo>
                      <a:pt x="2" y="8"/>
                    </a:lnTo>
                    <a:close/>
                    <a:moveTo>
                      <a:pt x="10" y="8"/>
                    </a:moveTo>
                    <a:lnTo>
                      <a:pt x="10" y="8"/>
                    </a:lnTo>
                    <a:lnTo>
                      <a:pt x="10" y="8"/>
                    </a:lnTo>
                    <a:lnTo>
                      <a:pt x="10" y="8"/>
                    </a:lnTo>
                    <a:lnTo>
                      <a:pt x="10" y="10"/>
                    </a:lnTo>
                    <a:lnTo>
                      <a:pt x="10" y="10"/>
                    </a:lnTo>
                    <a:lnTo>
                      <a:pt x="10" y="10"/>
                    </a:lnTo>
                    <a:lnTo>
                      <a:pt x="10" y="10"/>
                    </a:lnTo>
                    <a:lnTo>
                      <a:pt x="10" y="10"/>
                    </a:lnTo>
                    <a:lnTo>
                      <a:pt x="10" y="10"/>
                    </a:lnTo>
                    <a:lnTo>
                      <a:pt x="10" y="10"/>
                    </a:lnTo>
                    <a:lnTo>
                      <a:pt x="10" y="8"/>
                    </a:lnTo>
                    <a:lnTo>
                      <a:pt x="10" y="8"/>
                    </a:lnTo>
                    <a:lnTo>
                      <a:pt x="10" y="8"/>
                    </a:lnTo>
                    <a:lnTo>
                      <a:pt x="10" y="8"/>
                    </a:lnTo>
                    <a:close/>
                    <a:moveTo>
                      <a:pt x="6" y="4"/>
                    </a:moveTo>
                    <a:lnTo>
                      <a:pt x="6" y="6"/>
                    </a:lnTo>
                    <a:lnTo>
                      <a:pt x="6" y="6"/>
                    </a:lnTo>
                    <a:lnTo>
                      <a:pt x="6" y="6"/>
                    </a:lnTo>
                    <a:lnTo>
                      <a:pt x="6" y="6"/>
                    </a:lnTo>
                    <a:lnTo>
                      <a:pt x="8" y="6"/>
                    </a:lnTo>
                    <a:lnTo>
                      <a:pt x="8" y="6"/>
                    </a:lnTo>
                    <a:lnTo>
                      <a:pt x="8" y="6"/>
                    </a:lnTo>
                    <a:lnTo>
                      <a:pt x="8" y="6"/>
                    </a:lnTo>
                    <a:lnTo>
                      <a:pt x="8" y="6"/>
                    </a:lnTo>
                    <a:lnTo>
                      <a:pt x="8" y="6"/>
                    </a:lnTo>
                    <a:lnTo>
                      <a:pt x="8" y="6"/>
                    </a:lnTo>
                    <a:lnTo>
                      <a:pt x="10" y="8"/>
                    </a:lnTo>
                    <a:lnTo>
                      <a:pt x="10" y="8"/>
                    </a:lnTo>
                    <a:lnTo>
                      <a:pt x="10" y="8"/>
                    </a:lnTo>
                    <a:lnTo>
                      <a:pt x="10" y="8"/>
                    </a:lnTo>
                    <a:lnTo>
                      <a:pt x="10" y="8"/>
                    </a:lnTo>
                    <a:lnTo>
                      <a:pt x="10" y="8"/>
                    </a:lnTo>
                    <a:lnTo>
                      <a:pt x="8" y="8"/>
                    </a:lnTo>
                    <a:lnTo>
                      <a:pt x="8" y="10"/>
                    </a:lnTo>
                    <a:lnTo>
                      <a:pt x="8" y="10"/>
                    </a:lnTo>
                    <a:lnTo>
                      <a:pt x="8" y="8"/>
                    </a:lnTo>
                    <a:lnTo>
                      <a:pt x="8" y="8"/>
                    </a:lnTo>
                    <a:lnTo>
                      <a:pt x="8" y="8"/>
                    </a:lnTo>
                    <a:lnTo>
                      <a:pt x="8" y="8"/>
                    </a:lnTo>
                    <a:lnTo>
                      <a:pt x="8" y="8"/>
                    </a:lnTo>
                    <a:lnTo>
                      <a:pt x="6" y="8"/>
                    </a:lnTo>
                    <a:lnTo>
                      <a:pt x="6" y="8"/>
                    </a:lnTo>
                    <a:lnTo>
                      <a:pt x="6" y="8"/>
                    </a:lnTo>
                    <a:lnTo>
                      <a:pt x="6" y="8"/>
                    </a:lnTo>
                    <a:lnTo>
                      <a:pt x="6" y="8"/>
                    </a:lnTo>
                    <a:lnTo>
                      <a:pt x="6" y="8"/>
                    </a:lnTo>
                    <a:lnTo>
                      <a:pt x="6" y="8"/>
                    </a:lnTo>
                    <a:lnTo>
                      <a:pt x="6" y="6"/>
                    </a:lnTo>
                    <a:lnTo>
                      <a:pt x="6" y="6"/>
                    </a:lnTo>
                    <a:lnTo>
                      <a:pt x="4" y="6"/>
                    </a:lnTo>
                    <a:lnTo>
                      <a:pt x="4" y="6"/>
                    </a:lnTo>
                    <a:lnTo>
                      <a:pt x="4" y="6"/>
                    </a:lnTo>
                    <a:lnTo>
                      <a:pt x="4" y="6"/>
                    </a:lnTo>
                    <a:lnTo>
                      <a:pt x="4" y="6"/>
                    </a:lnTo>
                    <a:lnTo>
                      <a:pt x="4" y="8"/>
                    </a:lnTo>
                    <a:lnTo>
                      <a:pt x="2" y="8"/>
                    </a:lnTo>
                    <a:lnTo>
                      <a:pt x="2" y="8"/>
                    </a:lnTo>
                    <a:lnTo>
                      <a:pt x="2" y="8"/>
                    </a:lnTo>
                    <a:lnTo>
                      <a:pt x="2" y="6"/>
                    </a:lnTo>
                    <a:lnTo>
                      <a:pt x="2" y="6"/>
                    </a:lnTo>
                    <a:lnTo>
                      <a:pt x="2" y="6"/>
                    </a:lnTo>
                    <a:lnTo>
                      <a:pt x="2" y="6"/>
                    </a:lnTo>
                    <a:lnTo>
                      <a:pt x="2" y="6"/>
                    </a:lnTo>
                    <a:lnTo>
                      <a:pt x="2" y="6"/>
                    </a:lnTo>
                    <a:lnTo>
                      <a:pt x="2" y="6"/>
                    </a:lnTo>
                    <a:lnTo>
                      <a:pt x="2" y="4"/>
                    </a:lnTo>
                    <a:lnTo>
                      <a:pt x="2" y="4"/>
                    </a:lnTo>
                    <a:lnTo>
                      <a:pt x="2" y="4"/>
                    </a:lnTo>
                    <a:lnTo>
                      <a:pt x="2" y="4"/>
                    </a:lnTo>
                    <a:lnTo>
                      <a:pt x="2" y="4"/>
                    </a:lnTo>
                    <a:lnTo>
                      <a:pt x="2" y="4"/>
                    </a:lnTo>
                    <a:lnTo>
                      <a:pt x="2" y="4"/>
                    </a:lnTo>
                    <a:lnTo>
                      <a:pt x="2" y="4"/>
                    </a:lnTo>
                    <a:lnTo>
                      <a:pt x="2" y="4"/>
                    </a:lnTo>
                    <a:lnTo>
                      <a:pt x="2" y="4"/>
                    </a:lnTo>
                    <a:lnTo>
                      <a:pt x="2" y="4"/>
                    </a:lnTo>
                    <a:lnTo>
                      <a:pt x="4" y="4"/>
                    </a:lnTo>
                    <a:lnTo>
                      <a:pt x="4" y="4"/>
                    </a:lnTo>
                    <a:lnTo>
                      <a:pt x="6" y="4"/>
                    </a:lnTo>
                    <a:lnTo>
                      <a:pt x="6" y="4"/>
                    </a:lnTo>
                    <a:lnTo>
                      <a:pt x="6" y="4"/>
                    </a:lnTo>
                    <a:lnTo>
                      <a:pt x="6" y="4"/>
                    </a:lnTo>
                    <a:lnTo>
                      <a:pt x="6" y="4"/>
                    </a:lnTo>
                    <a:lnTo>
                      <a:pt x="6" y="4"/>
                    </a:lnTo>
                    <a:close/>
                    <a:moveTo>
                      <a:pt x="2" y="0"/>
                    </a:moveTo>
                    <a:lnTo>
                      <a:pt x="2" y="0"/>
                    </a:lnTo>
                    <a:lnTo>
                      <a:pt x="2" y="0"/>
                    </a:lnTo>
                    <a:lnTo>
                      <a:pt x="4" y="0"/>
                    </a:lnTo>
                    <a:lnTo>
                      <a:pt x="4" y="0"/>
                    </a:lnTo>
                    <a:lnTo>
                      <a:pt x="4" y="0"/>
                    </a:lnTo>
                    <a:lnTo>
                      <a:pt x="4" y="0"/>
                    </a:lnTo>
                    <a:lnTo>
                      <a:pt x="4" y="0"/>
                    </a:lnTo>
                    <a:lnTo>
                      <a:pt x="4" y="0"/>
                    </a:lnTo>
                    <a:lnTo>
                      <a:pt x="2" y="0"/>
                    </a:lnTo>
                    <a:close/>
                    <a:moveTo>
                      <a:pt x="6" y="2"/>
                    </a:moveTo>
                    <a:lnTo>
                      <a:pt x="6" y="2"/>
                    </a:lnTo>
                    <a:lnTo>
                      <a:pt x="6" y="4"/>
                    </a:lnTo>
                    <a:lnTo>
                      <a:pt x="6" y="4"/>
                    </a:lnTo>
                    <a:lnTo>
                      <a:pt x="6" y="4"/>
                    </a:lnTo>
                    <a:lnTo>
                      <a:pt x="6" y="4"/>
                    </a:lnTo>
                    <a:lnTo>
                      <a:pt x="6" y="4"/>
                    </a:lnTo>
                    <a:lnTo>
                      <a:pt x="6" y="4"/>
                    </a:lnTo>
                    <a:lnTo>
                      <a:pt x="6" y="4"/>
                    </a:lnTo>
                    <a:lnTo>
                      <a:pt x="4" y="4"/>
                    </a:lnTo>
                    <a:lnTo>
                      <a:pt x="4" y="4"/>
                    </a:lnTo>
                    <a:lnTo>
                      <a:pt x="4" y="4"/>
                    </a:lnTo>
                    <a:lnTo>
                      <a:pt x="4" y="4"/>
                    </a:lnTo>
                    <a:lnTo>
                      <a:pt x="4"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4" y="2"/>
                    </a:lnTo>
                    <a:lnTo>
                      <a:pt x="2" y="2"/>
                    </a:lnTo>
                    <a:lnTo>
                      <a:pt x="4" y="2"/>
                    </a:lnTo>
                    <a:lnTo>
                      <a:pt x="4" y="2"/>
                    </a:lnTo>
                    <a:lnTo>
                      <a:pt x="4" y="2"/>
                    </a:lnTo>
                    <a:lnTo>
                      <a:pt x="4" y="2"/>
                    </a:lnTo>
                    <a:lnTo>
                      <a:pt x="2" y="2"/>
                    </a:lnTo>
                    <a:lnTo>
                      <a:pt x="2" y="2"/>
                    </a:lnTo>
                    <a:lnTo>
                      <a:pt x="2" y="2"/>
                    </a:lnTo>
                    <a:lnTo>
                      <a:pt x="2" y="0"/>
                    </a:lnTo>
                    <a:lnTo>
                      <a:pt x="4" y="0"/>
                    </a:lnTo>
                    <a:lnTo>
                      <a:pt x="4" y="0"/>
                    </a:lnTo>
                    <a:lnTo>
                      <a:pt x="4" y="0"/>
                    </a:lnTo>
                    <a:lnTo>
                      <a:pt x="4" y="0"/>
                    </a:lnTo>
                    <a:lnTo>
                      <a:pt x="4" y="0"/>
                    </a:lnTo>
                    <a:lnTo>
                      <a:pt x="6" y="2"/>
                    </a:lnTo>
                    <a:lnTo>
                      <a:pt x="6" y="0"/>
                    </a:lnTo>
                    <a:lnTo>
                      <a:pt x="6" y="0"/>
                    </a:lnTo>
                    <a:lnTo>
                      <a:pt x="6" y="0"/>
                    </a:lnTo>
                    <a:lnTo>
                      <a:pt x="6" y="0"/>
                    </a:lnTo>
                    <a:lnTo>
                      <a:pt x="6" y="0"/>
                    </a:lnTo>
                    <a:lnTo>
                      <a:pt x="6" y="2"/>
                    </a:lnTo>
                    <a:lnTo>
                      <a:pt x="6" y="2"/>
                    </a:lnTo>
                    <a:lnTo>
                      <a:pt x="6" y="2"/>
                    </a:lnTo>
                    <a:close/>
                    <a:moveTo>
                      <a:pt x="23" y="10"/>
                    </a:moveTo>
                    <a:lnTo>
                      <a:pt x="23" y="10"/>
                    </a:lnTo>
                    <a:lnTo>
                      <a:pt x="23" y="10"/>
                    </a:lnTo>
                    <a:lnTo>
                      <a:pt x="23" y="12"/>
                    </a:lnTo>
                    <a:lnTo>
                      <a:pt x="23" y="12"/>
                    </a:lnTo>
                    <a:lnTo>
                      <a:pt x="23" y="12"/>
                    </a:lnTo>
                    <a:lnTo>
                      <a:pt x="23" y="12"/>
                    </a:lnTo>
                    <a:lnTo>
                      <a:pt x="23" y="12"/>
                    </a:lnTo>
                    <a:lnTo>
                      <a:pt x="23" y="12"/>
                    </a:lnTo>
                    <a:lnTo>
                      <a:pt x="23" y="12"/>
                    </a:lnTo>
                    <a:lnTo>
                      <a:pt x="23" y="12"/>
                    </a:lnTo>
                    <a:lnTo>
                      <a:pt x="21" y="12"/>
                    </a:lnTo>
                    <a:lnTo>
                      <a:pt x="21" y="12"/>
                    </a:lnTo>
                    <a:lnTo>
                      <a:pt x="21" y="10"/>
                    </a:lnTo>
                    <a:lnTo>
                      <a:pt x="21" y="10"/>
                    </a:lnTo>
                    <a:lnTo>
                      <a:pt x="21" y="10"/>
                    </a:lnTo>
                    <a:lnTo>
                      <a:pt x="23" y="10"/>
                    </a:lnTo>
                    <a:close/>
                    <a:moveTo>
                      <a:pt x="37" y="19"/>
                    </a:moveTo>
                    <a:lnTo>
                      <a:pt x="37" y="19"/>
                    </a:lnTo>
                    <a:lnTo>
                      <a:pt x="37" y="19"/>
                    </a:lnTo>
                    <a:lnTo>
                      <a:pt x="37" y="19"/>
                    </a:lnTo>
                    <a:lnTo>
                      <a:pt x="37" y="19"/>
                    </a:lnTo>
                    <a:lnTo>
                      <a:pt x="37" y="19"/>
                    </a:lnTo>
                    <a:lnTo>
                      <a:pt x="39" y="19"/>
                    </a:lnTo>
                    <a:lnTo>
                      <a:pt x="37" y="19"/>
                    </a:lnTo>
                    <a:lnTo>
                      <a:pt x="37" y="19"/>
                    </a:lnTo>
                    <a:lnTo>
                      <a:pt x="37"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4" name="Freeform 114"/>
              <p:cNvSpPr>
                <a:spLocks noEditPoints="1"/>
              </p:cNvSpPr>
              <p:nvPr/>
            </p:nvSpPr>
            <p:spPr bwMode="auto">
              <a:xfrm>
                <a:off x="376100" y="3359305"/>
                <a:ext cx="103237" cy="48177"/>
              </a:xfrm>
              <a:custGeom>
                <a:avLst/>
                <a:gdLst>
                  <a:gd name="T0" fmla="*/ 0 w 60"/>
                  <a:gd name="T1" fmla="*/ 2 h 28"/>
                  <a:gd name="T2" fmla="*/ 0 w 60"/>
                  <a:gd name="T3" fmla="*/ 2 h 28"/>
                  <a:gd name="T4" fmla="*/ 0 w 60"/>
                  <a:gd name="T5" fmla="*/ 2 h 28"/>
                  <a:gd name="T6" fmla="*/ 0 w 60"/>
                  <a:gd name="T7" fmla="*/ 0 h 28"/>
                  <a:gd name="T8" fmla="*/ 0 w 60"/>
                  <a:gd name="T9" fmla="*/ 2 h 28"/>
                  <a:gd name="T10" fmla="*/ 33 w 60"/>
                  <a:gd name="T11" fmla="*/ 23 h 28"/>
                  <a:gd name="T12" fmla="*/ 33 w 60"/>
                  <a:gd name="T13" fmla="*/ 23 h 28"/>
                  <a:gd name="T14" fmla="*/ 33 w 60"/>
                  <a:gd name="T15" fmla="*/ 21 h 28"/>
                  <a:gd name="T16" fmla="*/ 33 w 60"/>
                  <a:gd name="T17" fmla="*/ 21 h 28"/>
                  <a:gd name="T18" fmla="*/ 33 w 60"/>
                  <a:gd name="T19" fmla="*/ 21 h 28"/>
                  <a:gd name="T20" fmla="*/ 33 w 60"/>
                  <a:gd name="T21" fmla="*/ 21 h 28"/>
                  <a:gd name="T22" fmla="*/ 33 w 60"/>
                  <a:gd name="T23" fmla="*/ 21 h 28"/>
                  <a:gd name="T24" fmla="*/ 33 w 60"/>
                  <a:gd name="T25" fmla="*/ 23 h 28"/>
                  <a:gd name="T26" fmla="*/ 33 w 60"/>
                  <a:gd name="T27" fmla="*/ 23 h 28"/>
                  <a:gd name="T28" fmla="*/ 39 w 60"/>
                  <a:gd name="T29" fmla="*/ 23 h 28"/>
                  <a:gd name="T30" fmla="*/ 39 w 60"/>
                  <a:gd name="T31" fmla="*/ 23 h 28"/>
                  <a:gd name="T32" fmla="*/ 39 w 60"/>
                  <a:gd name="T33" fmla="*/ 23 h 28"/>
                  <a:gd name="T34" fmla="*/ 39 w 60"/>
                  <a:gd name="T35" fmla="*/ 23 h 28"/>
                  <a:gd name="T36" fmla="*/ 39 w 60"/>
                  <a:gd name="T37" fmla="*/ 23 h 28"/>
                  <a:gd name="T38" fmla="*/ 50 w 60"/>
                  <a:gd name="T39" fmla="*/ 27 h 28"/>
                  <a:gd name="T40" fmla="*/ 50 w 60"/>
                  <a:gd name="T41" fmla="*/ 27 h 28"/>
                  <a:gd name="T42" fmla="*/ 50 w 60"/>
                  <a:gd name="T43" fmla="*/ 27 h 28"/>
                  <a:gd name="T44" fmla="*/ 50 w 60"/>
                  <a:gd name="T45" fmla="*/ 25 h 28"/>
                  <a:gd name="T46" fmla="*/ 50 w 60"/>
                  <a:gd name="T47" fmla="*/ 25 h 28"/>
                  <a:gd name="T48" fmla="*/ 50 w 60"/>
                  <a:gd name="T49" fmla="*/ 27 h 28"/>
                  <a:gd name="T50" fmla="*/ 50 w 60"/>
                  <a:gd name="T51" fmla="*/ 27 h 28"/>
                  <a:gd name="T52" fmla="*/ 50 w 60"/>
                  <a:gd name="T53" fmla="*/ 27 h 28"/>
                  <a:gd name="T54" fmla="*/ 60 w 60"/>
                  <a:gd name="T55" fmla="*/ 28 h 28"/>
                  <a:gd name="T56" fmla="*/ 60 w 60"/>
                  <a:gd name="T57" fmla="*/ 28 h 28"/>
                  <a:gd name="T58" fmla="*/ 60 w 60"/>
                  <a:gd name="T59" fmla="*/ 28 h 28"/>
                  <a:gd name="T60" fmla="*/ 60 w 60"/>
                  <a:gd name="T61" fmla="*/ 28 h 28"/>
                  <a:gd name="T62" fmla="*/ 60 w 60"/>
                  <a:gd name="T63" fmla="*/ 28 h 28"/>
                  <a:gd name="T64" fmla="*/ 60 w 60"/>
                  <a:gd name="T65" fmla="*/ 28 h 28"/>
                  <a:gd name="T66" fmla="*/ 60 w 60"/>
                  <a:gd name="T6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 h="28">
                    <a:moveTo>
                      <a:pt x="0" y="2"/>
                    </a:moveTo>
                    <a:lnTo>
                      <a:pt x="0" y="2"/>
                    </a:lnTo>
                    <a:lnTo>
                      <a:pt x="0" y="2"/>
                    </a:lnTo>
                    <a:lnTo>
                      <a:pt x="0" y="0"/>
                    </a:lnTo>
                    <a:lnTo>
                      <a:pt x="0" y="2"/>
                    </a:lnTo>
                    <a:close/>
                    <a:moveTo>
                      <a:pt x="33" y="23"/>
                    </a:moveTo>
                    <a:lnTo>
                      <a:pt x="33" y="23"/>
                    </a:lnTo>
                    <a:lnTo>
                      <a:pt x="33" y="21"/>
                    </a:lnTo>
                    <a:lnTo>
                      <a:pt x="33" y="21"/>
                    </a:lnTo>
                    <a:lnTo>
                      <a:pt x="33" y="21"/>
                    </a:lnTo>
                    <a:lnTo>
                      <a:pt x="33" y="21"/>
                    </a:lnTo>
                    <a:lnTo>
                      <a:pt x="33" y="21"/>
                    </a:lnTo>
                    <a:lnTo>
                      <a:pt x="33" y="23"/>
                    </a:lnTo>
                    <a:lnTo>
                      <a:pt x="33" y="23"/>
                    </a:lnTo>
                    <a:close/>
                    <a:moveTo>
                      <a:pt x="39" y="23"/>
                    </a:moveTo>
                    <a:lnTo>
                      <a:pt x="39" y="23"/>
                    </a:lnTo>
                    <a:lnTo>
                      <a:pt x="39" y="23"/>
                    </a:lnTo>
                    <a:lnTo>
                      <a:pt x="39" y="23"/>
                    </a:lnTo>
                    <a:lnTo>
                      <a:pt x="39" y="23"/>
                    </a:lnTo>
                    <a:close/>
                    <a:moveTo>
                      <a:pt x="50" y="27"/>
                    </a:moveTo>
                    <a:lnTo>
                      <a:pt x="50" y="27"/>
                    </a:lnTo>
                    <a:lnTo>
                      <a:pt x="50" y="27"/>
                    </a:lnTo>
                    <a:lnTo>
                      <a:pt x="50" y="25"/>
                    </a:lnTo>
                    <a:lnTo>
                      <a:pt x="50" y="25"/>
                    </a:lnTo>
                    <a:lnTo>
                      <a:pt x="50" y="27"/>
                    </a:lnTo>
                    <a:lnTo>
                      <a:pt x="50" y="27"/>
                    </a:lnTo>
                    <a:lnTo>
                      <a:pt x="50" y="27"/>
                    </a:lnTo>
                    <a:close/>
                    <a:moveTo>
                      <a:pt x="60" y="28"/>
                    </a:moveTo>
                    <a:lnTo>
                      <a:pt x="60" y="28"/>
                    </a:lnTo>
                    <a:lnTo>
                      <a:pt x="60" y="28"/>
                    </a:lnTo>
                    <a:lnTo>
                      <a:pt x="60" y="28"/>
                    </a:lnTo>
                    <a:lnTo>
                      <a:pt x="60" y="28"/>
                    </a:lnTo>
                    <a:lnTo>
                      <a:pt x="60" y="28"/>
                    </a:lnTo>
                    <a:lnTo>
                      <a:pt x="60" y="2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5" name="Freeform 115"/>
              <p:cNvSpPr>
                <a:spLocks/>
              </p:cNvSpPr>
              <p:nvPr/>
            </p:nvSpPr>
            <p:spPr bwMode="auto">
              <a:xfrm>
                <a:off x="816579" y="2593627"/>
                <a:ext cx="263256" cy="221961"/>
              </a:xfrm>
              <a:custGeom>
                <a:avLst/>
                <a:gdLst>
                  <a:gd name="T0" fmla="*/ 144 w 153"/>
                  <a:gd name="T1" fmla="*/ 47 h 129"/>
                  <a:gd name="T2" fmla="*/ 146 w 153"/>
                  <a:gd name="T3" fmla="*/ 58 h 129"/>
                  <a:gd name="T4" fmla="*/ 150 w 153"/>
                  <a:gd name="T5" fmla="*/ 66 h 129"/>
                  <a:gd name="T6" fmla="*/ 144 w 153"/>
                  <a:gd name="T7" fmla="*/ 72 h 129"/>
                  <a:gd name="T8" fmla="*/ 144 w 153"/>
                  <a:gd name="T9" fmla="*/ 79 h 129"/>
                  <a:gd name="T10" fmla="*/ 146 w 153"/>
                  <a:gd name="T11" fmla="*/ 81 h 129"/>
                  <a:gd name="T12" fmla="*/ 146 w 153"/>
                  <a:gd name="T13" fmla="*/ 89 h 129"/>
                  <a:gd name="T14" fmla="*/ 138 w 153"/>
                  <a:gd name="T15" fmla="*/ 91 h 129"/>
                  <a:gd name="T16" fmla="*/ 132 w 153"/>
                  <a:gd name="T17" fmla="*/ 99 h 129"/>
                  <a:gd name="T18" fmla="*/ 121 w 153"/>
                  <a:gd name="T19" fmla="*/ 102 h 129"/>
                  <a:gd name="T20" fmla="*/ 119 w 153"/>
                  <a:gd name="T21" fmla="*/ 104 h 129"/>
                  <a:gd name="T22" fmla="*/ 123 w 153"/>
                  <a:gd name="T23" fmla="*/ 106 h 129"/>
                  <a:gd name="T24" fmla="*/ 128 w 153"/>
                  <a:gd name="T25" fmla="*/ 112 h 129"/>
                  <a:gd name="T26" fmla="*/ 125 w 153"/>
                  <a:gd name="T27" fmla="*/ 112 h 129"/>
                  <a:gd name="T28" fmla="*/ 117 w 153"/>
                  <a:gd name="T29" fmla="*/ 112 h 129"/>
                  <a:gd name="T30" fmla="*/ 117 w 153"/>
                  <a:gd name="T31" fmla="*/ 120 h 129"/>
                  <a:gd name="T32" fmla="*/ 105 w 153"/>
                  <a:gd name="T33" fmla="*/ 124 h 129"/>
                  <a:gd name="T34" fmla="*/ 98 w 153"/>
                  <a:gd name="T35" fmla="*/ 122 h 129"/>
                  <a:gd name="T36" fmla="*/ 90 w 153"/>
                  <a:gd name="T37" fmla="*/ 118 h 129"/>
                  <a:gd name="T38" fmla="*/ 79 w 153"/>
                  <a:gd name="T39" fmla="*/ 114 h 129"/>
                  <a:gd name="T40" fmla="*/ 65 w 153"/>
                  <a:gd name="T41" fmla="*/ 127 h 129"/>
                  <a:gd name="T42" fmla="*/ 55 w 153"/>
                  <a:gd name="T43" fmla="*/ 127 h 129"/>
                  <a:gd name="T44" fmla="*/ 52 w 153"/>
                  <a:gd name="T45" fmla="*/ 118 h 129"/>
                  <a:gd name="T46" fmla="*/ 46 w 153"/>
                  <a:gd name="T47" fmla="*/ 114 h 129"/>
                  <a:gd name="T48" fmla="*/ 40 w 153"/>
                  <a:gd name="T49" fmla="*/ 114 h 129"/>
                  <a:gd name="T50" fmla="*/ 32 w 153"/>
                  <a:gd name="T51" fmla="*/ 116 h 129"/>
                  <a:gd name="T52" fmla="*/ 27 w 153"/>
                  <a:gd name="T53" fmla="*/ 116 h 129"/>
                  <a:gd name="T54" fmla="*/ 25 w 153"/>
                  <a:gd name="T55" fmla="*/ 108 h 129"/>
                  <a:gd name="T56" fmla="*/ 27 w 153"/>
                  <a:gd name="T57" fmla="*/ 97 h 129"/>
                  <a:gd name="T58" fmla="*/ 17 w 153"/>
                  <a:gd name="T59" fmla="*/ 97 h 129"/>
                  <a:gd name="T60" fmla="*/ 9 w 153"/>
                  <a:gd name="T61" fmla="*/ 100 h 129"/>
                  <a:gd name="T62" fmla="*/ 2 w 153"/>
                  <a:gd name="T63" fmla="*/ 95 h 129"/>
                  <a:gd name="T64" fmla="*/ 2 w 153"/>
                  <a:gd name="T65" fmla="*/ 89 h 129"/>
                  <a:gd name="T66" fmla="*/ 4 w 153"/>
                  <a:gd name="T67" fmla="*/ 83 h 129"/>
                  <a:gd name="T68" fmla="*/ 2 w 153"/>
                  <a:gd name="T69" fmla="*/ 75 h 129"/>
                  <a:gd name="T70" fmla="*/ 4 w 153"/>
                  <a:gd name="T71" fmla="*/ 66 h 129"/>
                  <a:gd name="T72" fmla="*/ 7 w 153"/>
                  <a:gd name="T73" fmla="*/ 58 h 129"/>
                  <a:gd name="T74" fmla="*/ 11 w 153"/>
                  <a:gd name="T75" fmla="*/ 50 h 129"/>
                  <a:gd name="T76" fmla="*/ 15 w 153"/>
                  <a:gd name="T77" fmla="*/ 45 h 129"/>
                  <a:gd name="T78" fmla="*/ 17 w 153"/>
                  <a:gd name="T79" fmla="*/ 37 h 129"/>
                  <a:gd name="T80" fmla="*/ 21 w 153"/>
                  <a:gd name="T81" fmla="*/ 31 h 129"/>
                  <a:gd name="T82" fmla="*/ 31 w 153"/>
                  <a:gd name="T83" fmla="*/ 31 h 129"/>
                  <a:gd name="T84" fmla="*/ 31 w 153"/>
                  <a:gd name="T85" fmla="*/ 24 h 129"/>
                  <a:gd name="T86" fmla="*/ 38 w 153"/>
                  <a:gd name="T87" fmla="*/ 20 h 129"/>
                  <a:gd name="T88" fmla="*/ 42 w 153"/>
                  <a:gd name="T89" fmla="*/ 20 h 129"/>
                  <a:gd name="T90" fmla="*/ 52 w 153"/>
                  <a:gd name="T91" fmla="*/ 20 h 129"/>
                  <a:gd name="T92" fmla="*/ 57 w 153"/>
                  <a:gd name="T93" fmla="*/ 16 h 129"/>
                  <a:gd name="T94" fmla="*/ 67 w 153"/>
                  <a:gd name="T95" fmla="*/ 10 h 129"/>
                  <a:gd name="T96" fmla="*/ 77 w 153"/>
                  <a:gd name="T97" fmla="*/ 10 h 129"/>
                  <a:gd name="T98" fmla="*/ 82 w 153"/>
                  <a:gd name="T99" fmla="*/ 4 h 129"/>
                  <a:gd name="T100" fmla="*/ 96 w 153"/>
                  <a:gd name="T101" fmla="*/ 4 h 129"/>
                  <a:gd name="T102" fmla="*/ 104 w 153"/>
                  <a:gd name="T103" fmla="*/ 2 h 129"/>
                  <a:gd name="T104" fmla="*/ 109 w 153"/>
                  <a:gd name="T105" fmla="*/ 8 h 129"/>
                  <a:gd name="T106" fmla="*/ 111 w 153"/>
                  <a:gd name="T107" fmla="*/ 16 h 129"/>
                  <a:gd name="T108" fmla="*/ 119 w 153"/>
                  <a:gd name="T109" fmla="*/ 18 h 129"/>
                  <a:gd name="T110" fmla="*/ 125 w 153"/>
                  <a:gd name="T111" fmla="*/ 24 h 129"/>
                  <a:gd name="T112" fmla="*/ 130 w 153"/>
                  <a:gd name="T113" fmla="*/ 3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3" h="129">
                    <a:moveTo>
                      <a:pt x="138" y="41"/>
                    </a:moveTo>
                    <a:lnTo>
                      <a:pt x="138" y="43"/>
                    </a:lnTo>
                    <a:lnTo>
                      <a:pt x="136" y="43"/>
                    </a:lnTo>
                    <a:lnTo>
                      <a:pt x="136" y="45"/>
                    </a:lnTo>
                    <a:lnTo>
                      <a:pt x="138" y="45"/>
                    </a:lnTo>
                    <a:lnTo>
                      <a:pt x="138" y="47"/>
                    </a:lnTo>
                    <a:lnTo>
                      <a:pt x="140" y="47"/>
                    </a:lnTo>
                    <a:lnTo>
                      <a:pt x="142" y="47"/>
                    </a:lnTo>
                    <a:lnTo>
                      <a:pt x="144" y="47"/>
                    </a:lnTo>
                    <a:lnTo>
                      <a:pt x="142" y="47"/>
                    </a:lnTo>
                    <a:lnTo>
                      <a:pt x="142" y="49"/>
                    </a:lnTo>
                    <a:lnTo>
                      <a:pt x="142" y="50"/>
                    </a:lnTo>
                    <a:lnTo>
                      <a:pt x="140" y="50"/>
                    </a:lnTo>
                    <a:lnTo>
                      <a:pt x="140" y="52"/>
                    </a:lnTo>
                    <a:lnTo>
                      <a:pt x="140" y="54"/>
                    </a:lnTo>
                    <a:lnTo>
                      <a:pt x="142" y="54"/>
                    </a:lnTo>
                    <a:lnTo>
                      <a:pt x="144" y="58"/>
                    </a:lnTo>
                    <a:lnTo>
                      <a:pt x="146" y="58"/>
                    </a:lnTo>
                    <a:lnTo>
                      <a:pt x="148" y="58"/>
                    </a:lnTo>
                    <a:lnTo>
                      <a:pt x="150" y="58"/>
                    </a:lnTo>
                    <a:lnTo>
                      <a:pt x="152" y="58"/>
                    </a:lnTo>
                    <a:lnTo>
                      <a:pt x="153" y="58"/>
                    </a:lnTo>
                    <a:lnTo>
                      <a:pt x="153" y="60"/>
                    </a:lnTo>
                    <a:lnTo>
                      <a:pt x="152" y="62"/>
                    </a:lnTo>
                    <a:lnTo>
                      <a:pt x="152" y="64"/>
                    </a:lnTo>
                    <a:lnTo>
                      <a:pt x="152" y="66"/>
                    </a:lnTo>
                    <a:lnTo>
                      <a:pt x="150" y="66"/>
                    </a:lnTo>
                    <a:lnTo>
                      <a:pt x="150" y="68"/>
                    </a:lnTo>
                    <a:lnTo>
                      <a:pt x="148" y="68"/>
                    </a:lnTo>
                    <a:lnTo>
                      <a:pt x="148" y="70"/>
                    </a:lnTo>
                    <a:lnTo>
                      <a:pt x="146" y="70"/>
                    </a:lnTo>
                    <a:lnTo>
                      <a:pt x="146" y="68"/>
                    </a:lnTo>
                    <a:lnTo>
                      <a:pt x="144" y="70"/>
                    </a:lnTo>
                    <a:lnTo>
                      <a:pt x="146" y="70"/>
                    </a:lnTo>
                    <a:lnTo>
                      <a:pt x="146" y="72"/>
                    </a:lnTo>
                    <a:lnTo>
                      <a:pt x="144" y="72"/>
                    </a:lnTo>
                    <a:lnTo>
                      <a:pt x="144" y="74"/>
                    </a:lnTo>
                    <a:lnTo>
                      <a:pt x="142" y="74"/>
                    </a:lnTo>
                    <a:lnTo>
                      <a:pt x="144" y="74"/>
                    </a:lnTo>
                    <a:lnTo>
                      <a:pt x="144" y="75"/>
                    </a:lnTo>
                    <a:lnTo>
                      <a:pt x="142" y="75"/>
                    </a:lnTo>
                    <a:lnTo>
                      <a:pt x="142" y="77"/>
                    </a:lnTo>
                    <a:lnTo>
                      <a:pt x="142" y="75"/>
                    </a:lnTo>
                    <a:lnTo>
                      <a:pt x="142" y="77"/>
                    </a:lnTo>
                    <a:lnTo>
                      <a:pt x="144" y="79"/>
                    </a:lnTo>
                    <a:lnTo>
                      <a:pt x="144" y="77"/>
                    </a:lnTo>
                    <a:lnTo>
                      <a:pt x="144" y="79"/>
                    </a:lnTo>
                    <a:lnTo>
                      <a:pt x="146" y="81"/>
                    </a:lnTo>
                    <a:lnTo>
                      <a:pt x="146" y="79"/>
                    </a:lnTo>
                    <a:lnTo>
                      <a:pt x="148" y="79"/>
                    </a:lnTo>
                    <a:lnTo>
                      <a:pt x="148" y="81"/>
                    </a:lnTo>
                    <a:lnTo>
                      <a:pt x="148" y="83"/>
                    </a:lnTo>
                    <a:lnTo>
                      <a:pt x="148" y="81"/>
                    </a:lnTo>
                    <a:lnTo>
                      <a:pt x="146" y="81"/>
                    </a:lnTo>
                    <a:lnTo>
                      <a:pt x="146" y="83"/>
                    </a:lnTo>
                    <a:lnTo>
                      <a:pt x="144" y="83"/>
                    </a:lnTo>
                    <a:lnTo>
                      <a:pt x="144" y="85"/>
                    </a:lnTo>
                    <a:lnTo>
                      <a:pt x="146" y="83"/>
                    </a:lnTo>
                    <a:lnTo>
                      <a:pt x="146" y="85"/>
                    </a:lnTo>
                    <a:lnTo>
                      <a:pt x="144" y="85"/>
                    </a:lnTo>
                    <a:lnTo>
                      <a:pt x="144" y="87"/>
                    </a:lnTo>
                    <a:lnTo>
                      <a:pt x="146" y="87"/>
                    </a:lnTo>
                    <a:lnTo>
                      <a:pt x="146" y="89"/>
                    </a:lnTo>
                    <a:lnTo>
                      <a:pt x="144" y="89"/>
                    </a:lnTo>
                    <a:lnTo>
                      <a:pt x="144" y="87"/>
                    </a:lnTo>
                    <a:lnTo>
                      <a:pt x="144" y="89"/>
                    </a:lnTo>
                    <a:lnTo>
                      <a:pt x="142" y="89"/>
                    </a:lnTo>
                    <a:lnTo>
                      <a:pt x="142" y="91"/>
                    </a:lnTo>
                    <a:lnTo>
                      <a:pt x="140" y="91"/>
                    </a:lnTo>
                    <a:lnTo>
                      <a:pt x="140" y="93"/>
                    </a:lnTo>
                    <a:lnTo>
                      <a:pt x="140" y="91"/>
                    </a:lnTo>
                    <a:lnTo>
                      <a:pt x="138" y="91"/>
                    </a:lnTo>
                    <a:lnTo>
                      <a:pt x="138" y="93"/>
                    </a:lnTo>
                    <a:lnTo>
                      <a:pt x="136" y="93"/>
                    </a:lnTo>
                    <a:lnTo>
                      <a:pt x="136" y="95"/>
                    </a:lnTo>
                    <a:lnTo>
                      <a:pt x="138" y="95"/>
                    </a:lnTo>
                    <a:lnTo>
                      <a:pt x="136" y="95"/>
                    </a:lnTo>
                    <a:lnTo>
                      <a:pt x="136" y="97"/>
                    </a:lnTo>
                    <a:lnTo>
                      <a:pt x="136" y="99"/>
                    </a:lnTo>
                    <a:lnTo>
                      <a:pt x="134" y="99"/>
                    </a:lnTo>
                    <a:lnTo>
                      <a:pt x="132" y="99"/>
                    </a:lnTo>
                    <a:lnTo>
                      <a:pt x="130" y="99"/>
                    </a:lnTo>
                    <a:lnTo>
                      <a:pt x="130" y="100"/>
                    </a:lnTo>
                    <a:lnTo>
                      <a:pt x="128" y="100"/>
                    </a:lnTo>
                    <a:lnTo>
                      <a:pt x="127" y="100"/>
                    </a:lnTo>
                    <a:lnTo>
                      <a:pt x="127" y="102"/>
                    </a:lnTo>
                    <a:lnTo>
                      <a:pt x="125" y="102"/>
                    </a:lnTo>
                    <a:lnTo>
                      <a:pt x="125" y="100"/>
                    </a:lnTo>
                    <a:lnTo>
                      <a:pt x="123" y="102"/>
                    </a:lnTo>
                    <a:lnTo>
                      <a:pt x="121" y="102"/>
                    </a:lnTo>
                    <a:lnTo>
                      <a:pt x="121" y="100"/>
                    </a:lnTo>
                    <a:lnTo>
                      <a:pt x="119" y="99"/>
                    </a:lnTo>
                    <a:lnTo>
                      <a:pt x="119" y="100"/>
                    </a:lnTo>
                    <a:lnTo>
                      <a:pt x="119" y="102"/>
                    </a:lnTo>
                    <a:lnTo>
                      <a:pt x="117" y="102"/>
                    </a:lnTo>
                    <a:lnTo>
                      <a:pt x="117" y="104"/>
                    </a:lnTo>
                    <a:lnTo>
                      <a:pt x="119" y="104"/>
                    </a:lnTo>
                    <a:lnTo>
                      <a:pt x="117" y="104"/>
                    </a:lnTo>
                    <a:lnTo>
                      <a:pt x="119" y="104"/>
                    </a:lnTo>
                    <a:lnTo>
                      <a:pt x="117" y="104"/>
                    </a:lnTo>
                    <a:lnTo>
                      <a:pt x="117" y="106"/>
                    </a:lnTo>
                    <a:lnTo>
                      <a:pt x="119" y="106"/>
                    </a:lnTo>
                    <a:lnTo>
                      <a:pt x="119" y="108"/>
                    </a:lnTo>
                    <a:lnTo>
                      <a:pt x="119" y="106"/>
                    </a:lnTo>
                    <a:lnTo>
                      <a:pt x="121" y="106"/>
                    </a:lnTo>
                    <a:lnTo>
                      <a:pt x="121" y="108"/>
                    </a:lnTo>
                    <a:lnTo>
                      <a:pt x="121" y="106"/>
                    </a:lnTo>
                    <a:lnTo>
                      <a:pt x="123" y="106"/>
                    </a:lnTo>
                    <a:lnTo>
                      <a:pt x="123" y="104"/>
                    </a:lnTo>
                    <a:lnTo>
                      <a:pt x="125" y="104"/>
                    </a:lnTo>
                    <a:lnTo>
                      <a:pt x="125" y="102"/>
                    </a:lnTo>
                    <a:lnTo>
                      <a:pt x="127" y="102"/>
                    </a:lnTo>
                    <a:lnTo>
                      <a:pt x="127" y="104"/>
                    </a:lnTo>
                    <a:lnTo>
                      <a:pt x="127" y="106"/>
                    </a:lnTo>
                    <a:lnTo>
                      <a:pt x="127" y="108"/>
                    </a:lnTo>
                    <a:lnTo>
                      <a:pt x="128" y="110"/>
                    </a:lnTo>
                    <a:lnTo>
                      <a:pt x="128" y="112"/>
                    </a:lnTo>
                    <a:lnTo>
                      <a:pt x="130" y="112"/>
                    </a:lnTo>
                    <a:lnTo>
                      <a:pt x="130" y="114"/>
                    </a:lnTo>
                    <a:lnTo>
                      <a:pt x="128" y="114"/>
                    </a:lnTo>
                    <a:lnTo>
                      <a:pt x="130" y="114"/>
                    </a:lnTo>
                    <a:lnTo>
                      <a:pt x="128" y="114"/>
                    </a:lnTo>
                    <a:lnTo>
                      <a:pt x="128" y="112"/>
                    </a:lnTo>
                    <a:lnTo>
                      <a:pt x="127" y="110"/>
                    </a:lnTo>
                    <a:lnTo>
                      <a:pt x="127" y="112"/>
                    </a:lnTo>
                    <a:lnTo>
                      <a:pt x="125" y="112"/>
                    </a:lnTo>
                    <a:lnTo>
                      <a:pt x="125" y="114"/>
                    </a:lnTo>
                    <a:lnTo>
                      <a:pt x="125" y="116"/>
                    </a:lnTo>
                    <a:lnTo>
                      <a:pt x="123" y="116"/>
                    </a:lnTo>
                    <a:lnTo>
                      <a:pt x="121" y="114"/>
                    </a:lnTo>
                    <a:lnTo>
                      <a:pt x="121" y="112"/>
                    </a:lnTo>
                    <a:lnTo>
                      <a:pt x="123" y="112"/>
                    </a:lnTo>
                    <a:lnTo>
                      <a:pt x="121" y="112"/>
                    </a:lnTo>
                    <a:lnTo>
                      <a:pt x="119" y="112"/>
                    </a:lnTo>
                    <a:lnTo>
                      <a:pt x="117" y="112"/>
                    </a:lnTo>
                    <a:lnTo>
                      <a:pt x="117" y="110"/>
                    </a:lnTo>
                    <a:lnTo>
                      <a:pt x="119" y="110"/>
                    </a:lnTo>
                    <a:lnTo>
                      <a:pt x="117" y="110"/>
                    </a:lnTo>
                    <a:lnTo>
                      <a:pt x="115" y="110"/>
                    </a:lnTo>
                    <a:lnTo>
                      <a:pt x="117" y="114"/>
                    </a:lnTo>
                    <a:lnTo>
                      <a:pt x="115" y="114"/>
                    </a:lnTo>
                    <a:lnTo>
                      <a:pt x="115" y="116"/>
                    </a:lnTo>
                    <a:lnTo>
                      <a:pt x="117" y="118"/>
                    </a:lnTo>
                    <a:lnTo>
                      <a:pt x="117" y="120"/>
                    </a:lnTo>
                    <a:lnTo>
                      <a:pt x="115" y="122"/>
                    </a:lnTo>
                    <a:lnTo>
                      <a:pt x="113" y="122"/>
                    </a:lnTo>
                    <a:lnTo>
                      <a:pt x="111" y="124"/>
                    </a:lnTo>
                    <a:lnTo>
                      <a:pt x="109" y="125"/>
                    </a:lnTo>
                    <a:lnTo>
                      <a:pt x="109" y="127"/>
                    </a:lnTo>
                    <a:lnTo>
                      <a:pt x="107" y="127"/>
                    </a:lnTo>
                    <a:lnTo>
                      <a:pt x="107" y="125"/>
                    </a:lnTo>
                    <a:lnTo>
                      <a:pt x="105" y="125"/>
                    </a:lnTo>
                    <a:lnTo>
                      <a:pt x="105" y="124"/>
                    </a:lnTo>
                    <a:lnTo>
                      <a:pt x="105" y="125"/>
                    </a:lnTo>
                    <a:lnTo>
                      <a:pt x="105" y="124"/>
                    </a:lnTo>
                    <a:lnTo>
                      <a:pt x="104" y="125"/>
                    </a:lnTo>
                    <a:lnTo>
                      <a:pt x="104" y="124"/>
                    </a:lnTo>
                    <a:lnTo>
                      <a:pt x="102" y="124"/>
                    </a:lnTo>
                    <a:lnTo>
                      <a:pt x="102" y="125"/>
                    </a:lnTo>
                    <a:lnTo>
                      <a:pt x="100" y="124"/>
                    </a:lnTo>
                    <a:lnTo>
                      <a:pt x="100" y="122"/>
                    </a:lnTo>
                    <a:lnTo>
                      <a:pt x="98" y="122"/>
                    </a:lnTo>
                    <a:lnTo>
                      <a:pt x="96" y="122"/>
                    </a:lnTo>
                    <a:lnTo>
                      <a:pt x="96" y="120"/>
                    </a:lnTo>
                    <a:lnTo>
                      <a:pt x="94" y="120"/>
                    </a:lnTo>
                    <a:lnTo>
                      <a:pt x="94" y="118"/>
                    </a:lnTo>
                    <a:lnTo>
                      <a:pt x="92" y="120"/>
                    </a:lnTo>
                    <a:lnTo>
                      <a:pt x="92" y="118"/>
                    </a:lnTo>
                    <a:lnTo>
                      <a:pt x="92" y="120"/>
                    </a:lnTo>
                    <a:lnTo>
                      <a:pt x="92" y="118"/>
                    </a:lnTo>
                    <a:lnTo>
                      <a:pt x="90" y="118"/>
                    </a:lnTo>
                    <a:lnTo>
                      <a:pt x="88" y="116"/>
                    </a:lnTo>
                    <a:lnTo>
                      <a:pt x="86" y="118"/>
                    </a:lnTo>
                    <a:lnTo>
                      <a:pt x="84" y="118"/>
                    </a:lnTo>
                    <a:lnTo>
                      <a:pt x="86" y="118"/>
                    </a:lnTo>
                    <a:lnTo>
                      <a:pt x="86" y="116"/>
                    </a:lnTo>
                    <a:lnTo>
                      <a:pt x="84" y="114"/>
                    </a:lnTo>
                    <a:lnTo>
                      <a:pt x="82" y="116"/>
                    </a:lnTo>
                    <a:lnTo>
                      <a:pt x="80" y="114"/>
                    </a:lnTo>
                    <a:lnTo>
                      <a:pt x="79" y="114"/>
                    </a:lnTo>
                    <a:lnTo>
                      <a:pt x="77" y="114"/>
                    </a:lnTo>
                    <a:lnTo>
                      <a:pt x="75" y="118"/>
                    </a:lnTo>
                    <a:lnTo>
                      <a:pt x="73" y="120"/>
                    </a:lnTo>
                    <a:lnTo>
                      <a:pt x="71" y="124"/>
                    </a:lnTo>
                    <a:lnTo>
                      <a:pt x="71" y="125"/>
                    </a:lnTo>
                    <a:lnTo>
                      <a:pt x="69" y="127"/>
                    </a:lnTo>
                    <a:lnTo>
                      <a:pt x="67" y="127"/>
                    </a:lnTo>
                    <a:lnTo>
                      <a:pt x="65" y="125"/>
                    </a:lnTo>
                    <a:lnTo>
                      <a:pt x="65" y="127"/>
                    </a:lnTo>
                    <a:lnTo>
                      <a:pt x="65" y="129"/>
                    </a:lnTo>
                    <a:lnTo>
                      <a:pt x="63" y="129"/>
                    </a:lnTo>
                    <a:lnTo>
                      <a:pt x="63" y="127"/>
                    </a:lnTo>
                    <a:lnTo>
                      <a:pt x="61" y="127"/>
                    </a:lnTo>
                    <a:lnTo>
                      <a:pt x="61" y="129"/>
                    </a:lnTo>
                    <a:lnTo>
                      <a:pt x="59" y="129"/>
                    </a:lnTo>
                    <a:lnTo>
                      <a:pt x="57" y="129"/>
                    </a:lnTo>
                    <a:lnTo>
                      <a:pt x="57" y="127"/>
                    </a:lnTo>
                    <a:lnTo>
                      <a:pt x="55" y="127"/>
                    </a:lnTo>
                    <a:lnTo>
                      <a:pt x="57" y="127"/>
                    </a:lnTo>
                    <a:lnTo>
                      <a:pt x="57" y="125"/>
                    </a:lnTo>
                    <a:lnTo>
                      <a:pt x="57" y="124"/>
                    </a:lnTo>
                    <a:lnTo>
                      <a:pt x="55" y="122"/>
                    </a:lnTo>
                    <a:lnTo>
                      <a:pt x="55" y="120"/>
                    </a:lnTo>
                    <a:lnTo>
                      <a:pt x="54" y="122"/>
                    </a:lnTo>
                    <a:lnTo>
                      <a:pt x="52" y="122"/>
                    </a:lnTo>
                    <a:lnTo>
                      <a:pt x="52" y="120"/>
                    </a:lnTo>
                    <a:lnTo>
                      <a:pt x="52" y="118"/>
                    </a:lnTo>
                    <a:lnTo>
                      <a:pt x="52" y="116"/>
                    </a:lnTo>
                    <a:lnTo>
                      <a:pt x="54" y="116"/>
                    </a:lnTo>
                    <a:lnTo>
                      <a:pt x="52" y="116"/>
                    </a:lnTo>
                    <a:lnTo>
                      <a:pt x="52" y="114"/>
                    </a:lnTo>
                    <a:lnTo>
                      <a:pt x="50" y="114"/>
                    </a:lnTo>
                    <a:lnTo>
                      <a:pt x="48" y="114"/>
                    </a:lnTo>
                    <a:lnTo>
                      <a:pt x="48" y="116"/>
                    </a:lnTo>
                    <a:lnTo>
                      <a:pt x="46" y="116"/>
                    </a:lnTo>
                    <a:lnTo>
                      <a:pt x="46" y="114"/>
                    </a:lnTo>
                    <a:lnTo>
                      <a:pt x="46" y="116"/>
                    </a:lnTo>
                    <a:lnTo>
                      <a:pt x="44" y="116"/>
                    </a:lnTo>
                    <a:lnTo>
                      <a:pt x="44" y="114"/>
                    </a:lnTo>
                    <a:lnTo>
                      <a:pt x="44" y="116"/>
                    </a:lnTo>
                    <a:lnTo>
                      <a:pt x="42" y="116"/>
                    </a:lnTo>
                    <a:lnTo>
                      <a:pt x="40" y="116"/>
                    </a:lnTo>
                    <a:lnTo>
                      <a:pt x="40" y="114"/>
                    </a:lnTo>
                    <a:lnTo>
                      <a:pt x="40" y="112"/>
                    </a:lnTo>
                    <a:lnTo>
                      <a:pt x="40" y="114"/>
                    </a:lnTo>
                    <a:lnTo>
                      <a:pt x="38" y="114"/>
                    </a:lnTo>
                    <a:lnTo>
                      <a:pt x="38" y="116"/>
                    </a:lnTo>
                    <a:lnTo>
                      <a:pt x="38" y="118"/>
                    </a:lnTo>
                    <a:lnTo>
                      <a:pt x="36" y="118"/>
                    </a:lnTo>
                    <a:lnTo>
                      <a:pt x="34" y="118"/>
                    </a:lnTo>
                    <a:lnTo>
                      <a:pt x="34" y="120"/>
                    </a:lnTo>
                    <a:lnTo>
                      <a:pt x="32" y="120"/>
                    </a:lnTo>
                    <a:lnTo>
                      <a:pt x="32" y="118"/>
                    </a:lnTo>
                    <a:lnTo>
                      <a:pt x="32" y="116"/>
                    </a:lnTo>
                    <a:lnTo>
                      <a:pt x="31" y="118"/>
                    </a:lnTo>
                    <a:lnTo>
                      <a:pt x="29" y="118"/>
                    </a:lnTo>
                    <a:lnTo>
                      <a:pt x="31" y="118"/>
                    </a:lnTo>
                    <a:lnTo>
                      <a:pt x="29" y="118"/>
                    </a:lnTo>
                    <a:lnTo>
                      <a:pt x="27" y="120"/>
                    </a:lnTo>
                    <a:lnTo>
                      <a:pt x="27" y="118"/>
                    </a:lnTo>
                    <a:lnTo>
                      <a:pt x="29" y="116"/>
                    </a:lnTo>
                    <a:lnTo>
                      <a:pt x="29" y="114"/>
                    </a:lnTo>
                    <a:lnTo>
                      <a:pt x="27" y="116"/>
                    </a:lnTo>
                    <a:lnTo>
                      <a:pt x="27" y="114"/>
                    </a:lnTo>
                    <a:lnTo>
                      <a:pt x="29" y="114"/>
                    </a:lnTo>
                    <a:lnTo>
                      <a:pt x="29" y="112"/>
                    </a:lnTo>
                    <a:lnTo>
                      <a:pt x="27" y="112"/>
                    </a:lnTo>
                    <a:lnTo>
                      <a:pt x="27" y="114"/>
                    </a:lnTo>
                    <a:lnTo>
                      <a:pt x="27" y="112"/>
                    </a:lnTo>
                    <a:lnTo>
                      <a:pt x="25" y="112"/>
                    </a:lnTo>
                    <a:lnTo>
                      <a:pt x="25" y="110"/>
                    </a:lnTo>
                    <a:lnTo>
                      <a:pt x="25" y="108"/>
                    </a:lnTo>
                    <a:lnTo>
                      <a:pt x="25" y="106"/>
                    </a:lnTo>
                    <a:lnTo>
                      <a:pt x="23" y="106"/>
                    </a:lnTo>
                    <a:lnTo>
                      <a:pt x="25" y="106"/>
                    </a:lnTo>
                    <a:lnTo>
                      <a:pt x="25" y="104"/>
                    </a:lnTo>
                    <a:lnTo>
                      <a:pt x="27" y="104"/>
                    </a:lnTo>
                    <a:lnTo>
                      <a:pt x="27" y="102"/>
                    </a:lnTo>
                    <a:lnTo>
                      <a:pt x="27" y="100"/>
                    </a:lnTo>
                    <a:lnTo>
                      <a:pt x="27" y="99"/>
                    </a:lnTo>
                    <a:lnTo>
                      <a:pt x="27" y="97"/>
                    </a:lnTo>
                    <a:lnTo>
                      <a:pt x="25" y="97"/>
                    </a:lnTo>
                    <a:lnTo>
                      <a:pt x="23" y="97"/>
                    </a:lnTo>
                    <a:lnTo>
                      <a:pt x="25" y="97"/>
                    </a:lnTo>
                    <a:lnTo>
                      <a:pt x="25" y="95"/>
                    </a:lnTo>
                    <a:lnTo>
                      <a:pt x="23" y="95"/>
                    </a:lnTo>
                    <a:lnTo>
                      <a:pt x="21" y="95"/>
                    </a:lnTo>
                    <a:lnTo>
                      <a:pt x="19" y="95"/>
                    </a:lnTo>
                    <a:lnTo>
                      <a:pt x="17" y="95"/>
                    </a:lnTo>
                    <a:lnTo>
                      <a:pt x="17" y="97"/>
                    </a:lnTo>
                    <a:lnTo>
                      <a:pt x="17" y="95"/>
                    </a:lnTo>
                    <a:lnTo>
                      <a:pt x="15" y="95"/>
                    </a:lnTo>
                    <a:lnTo>
                      <a:pt x="15" y="97"/>
                    </a:lnTo>
                    <a:lnTo>
                      <a:pt x="13" y="99"/>
                    </a:lnTo>
                    <a:lnTo>
                      <a:pt x="13" y="100"/>
                    </a:lnTo>
                    <a:lnTo>
                      <a:pt x="11" y="100"/>
                    </a:lnTo>
                    <a:lnTo>
                      <a:pt x="11" y="99"/>
                    </a:lnTo>
                    <a:lnTo>
                      <a:pt x="9" y="99"/>
                    </a:lnTo>
                    <a:lnTo>
                      <a:pt x="9" y="100"/>
                    </a:lnTo>
                    <a:lnTo>
                      <a:pt x="7" y="100"/>
                    </a:lnTo>
                    <a:lnTo>
                      <a:pt x="7" y="99"/>
                    </a:lnTo>
                    <a:lnTo>
                      <a:pt x="6" y="99"/>
                    </a:lnTo>
                    <a:lnTo>
                      <a:pt x="4" y="99"/>
                    </a:lnTo>
                    <a:lnTo>
                      <a:pt x="6" y="99"/>
                    </a:lnTo>
                    <a:lnTo>
                      <a:pt x="6" y="97"/>
                    </a:lnTo>
                    <a:lnTo>
                      <a:pt x="4" y="97"/>
                    </a:lnTo>
                    <a:lnTo>
                      <a:pt x="2" y="97"/>
                    </a:lnTo>
                    <a:lnTo>
                      <a:pt x="2" y="95"/>
                    </a:lnTo>
                    <a:lnTo>
                      <a:pt x="2" y="97"/>
                    </a:lnTo>
                    <a:lnTo>
                      <a:pt x="0" y="95"/>
                    </a:lnTo>
                    <a:lnTo>
                      <a:pt x="2" y="95"/>
                    </a:lnTo>
                    <a:lnTo>
                      <a:pt x="0" y="95"/>
                    </a:lnTo>
                    <a:lnTo>
                      <a:pt x="2" y="95"/>
                    </a:lnTo>
                    <a:lnTo>
                      <a:pt x="0" y="93"/>
                    </a:lnTo>
                    <a:lnTo>
                      <a:pt x="2" y="93"/>
                    </a:lnTo>
                    <a:lnTo>
                      <a:pt x="2" y="91"/>
                    </a:lnTo>
                    <a:lnTo>
                      <a:pt x="2" y="89"/>
                    </a:lnTo>
                    <a:lnTo>
                      <a:pt x="4" y="89"/>
                    </a:lnTo>
                    <a:lnTo>
                      <a:pt x="2" y="89"/>
                    </a:lnTo>
                    <a:lnTo>
                      <a:pt x="4" y="89"/>
                    </a:lnTo>
                    <a:lnTo>
                      <a:pt x="2" y="89"/>
                    </a:lnTo>
                    <a:lnTo>
                      <a:pt x="4" y="87"/>
                    </a:lnTo>
                    <a:lnTo>
                      <a:pt x="2" y="87"/>
                    </a:lnTo>
                    <a:lnTo>
                      <a:pt x="2" y="85"/>
                    </a:lnTo>
                    <a:lnTo>
                      <a:pt x="4" y="85"/>
                    </a:lnTo>
                    <a:lnTo>
                      <a:pt x="4" y="83"/>
                    </a:lnTo>
                    <a:lnTo>
                      <a:pt x="4" y="81"/>
                    </a:lnTo>
                    <a:lnTo>
                      <a:pt x="2" y="81"/>
                    </a:lnTo>
                    <a:lnTo>
                      <a:pt x="0" y="81"/>
                    </a:lnTo>
                    <a:lnTo>
                      <a:pt x="0" y="79"/>
                    </a:lnTo>
                    <a:lnTo>
                      <a:pt x="2" y="79"/>
                    </a:lnTo>
                    <a:lnTo>
                      <a:pt x="2" y="77"/>
                    </a:lnTo>
                    <a:lnTo>
                      <a:pt x="0" y="77"/>
                    </a:lnTo>
                    <a:lnTo>
                      <a:pt x="0" y="75"/>
                    </a:lnTo>
                    <a:lnTo>
                      <a:pt x="2" y="75"/>
                    </a:lnTo>
                    <a:lnTo>
                      <a:pt x="2" y="74"/>
                    </a:lnTo>
                    <a:lnTo>
                      <a:pt x="4" y="74"/>
                    </a:lnTo>
                    <a:lnTo>
                      <a:pt x="4" y="72"/>
                    </a:lnTo>
                    <a:lnTo>
                      <a:pt x="6" y="72"/>
                    </a:lnTo>
                    <a:lnTo>
                      <a:pt x="6" y="70"/>
                    </a:lnTo>
                    <a:lnTo>
                      <a:pt x="7" y="68"/>
                    </a:lnTo>
                    <a:lnTo>
                      <a:pt x="6" y="68"/>
                    </a:lnTo>
                    <a:lnTo>
                      <a:pt x="4" y="68"/>
                    </a:lnTo>
                    <a:lnTo>
                      <a:pt x="4" y="66"/>
                    </a:lnTo>
                    <a:lnTo>
                      <a:pt x="6" y="66"/>
                    </a:lnTo>
                    <a:lnTo>
                      <a:pt x="6" y="64"/>
                    </a:lnTo>
                    <a:lnTo>
                      <a:pt x="6" y="62"/>
                    </a:lnTo>
                    <a:lnTo>
                      <a:pt x="6" y="64"/>
                    </a:lnTo>
                    <a:lnTo>
                      <a:pt x="7" y="62"/>
                    </a:lnTo>
                    <a:lnTo>
                      <a:pt x="7" y="64"/>
                    </a:lnTo>
                    <a:lnTo>
                      <a:pt x="7" y="62"/>
                    </a:lnTo>
                    <a:lnTo>
                      <a:pt x="7" y="60"/>
                    </a:lnTo>
                    <a:lnTo>
                      <a:pt x="7" y="58"/>
                    </a:lnTo>
                    <a:lnTo>
                      <a:pt x="9" y="60"/>
                    </a:lnTo>
                    <a:lnTo>
                      <a:pt x="11" y="58"/>
                    </a:lnTo>
                    <a:lnTo>
                      <a:pt x="11" y="56"/>
                    </a:lnTo>
                    <a:lnTo>
                      <a:pt x="9" y="56"/>
                    </a:lnTo>
                    <a:lnTo>
                      <a:pt x="9" y="54"/>
                    </a:lnTo>
                    <a:lnTo>
                      <a:pt x="11" y="54"/>
                    </a:lnTo>
                    <a:lnTo>
                      <a:pt x="11" y="52"/>
                    </a:lnTo>
                    <a:lnTo>
                      <a:pt x="13" y="52"/>
                    </a:lnTo>
                    <a:lnTo>
                      <a:pt x="11" y="50"/>
                    </a:lnTo>
                    <a:lnTo>
                      <a:pt x="13" y="50"/>
                    </a:lnTo>
                    <a:lnTo>
                      <a:pt x="11" y="50"/>
                    </a:lnTo>
                    <a:lnTo>
                      <a:pt x="11" y="52"/>
                    </a:lnTo>
                    <a:lnTo>
                      <a:pt x="11" y="50"/>
                    </a:lnTo>
                    <a:lnTo>
                      <a:pt x="11" y="49"/>
                    </a:lnTo>
                    <a:lnTo>
                      <a:pt x="11" y="47"/>
                    </a:lnTo>
                    <a:lnTo>
                      <a:pt x="11" y="45"/>
                    </a:lnTo>
                    <a:lnTo>
                      <a:pt x="13" y="45"/>
                    </a:lnTo>
                    <a:lnTo>
                      <a:pt x="15" y="45"/>
                    </a:lnTo>
                    <a:lnTo>
                      <a:pt x="17" y="45"/>
                    </a:lnTo>
                    <a:lnTo>
                      <a:pt x="17" y="43"/>
                    </a:lnTo>
                    <a:lnTo>
                      <a:pt x="17" y="41"/>
                    </a:lnTo>
                    <a:lnTo>
                      <a:pt x="15" y="41"/>
                    </a:lnTo>
                    <a:lnTo>
                      <a:pt x="17" y="41"/>
                    </a:lnTo>
                    <a:lnTo>
                      <a:pt x="17" y="39"/>
                    </a:lnTo>
                    <a:lnTo>
                      <a:pt x="17" y="37"/>
                    </a:lnTo>
                    <a:lnTo>
                      <a:pt x="19" y="37"/>
                    </a:lnTo>
                    <a:lnTo>
                      <a:pt x="17" y="37"/>
                    </a:lnTo>
                    <a:lnTo>
                      <a:pt x="17" y="35"/>
                    </a:lnTo>
                    <a:lnTo>
                      <a:pt x="19" y="35"/>
                    </a:lnTo>
                    <a:lnTo>
                      <a:pt x="19" y="37"/>
                    </a:lnTo>
                    <a:lnTo>
                      <a:pt x="19" y="35"/>
                    </a:lnTo>
                    <a:lnTo>
                      <a:pt x="21" y="35"/>
                    </a:lnTo>
                    <a:lnTo>
                      <a:pt x="19" y="35"/>
                    </a:lnTo>
                    <a:lnTo>
                      <a:pt x="21" y="35"/>
                    </a:lnTo>
                    <a:lnTo>
                      <a:pt x="21" y="33"/>
                    </a:lnTo>
                    <a:lnTo>
                      <a:pt x="21" y="31"/>
                    </a:lnTo>
                    <a:lnTo>
                      <a:pt x="23" y="31"/>
                    </a:lnTo>
                    <a:lnTo>
                      <a:pt x="25" y="31"/>
                    </a:lnTo>
                    <a:lnTo>
                      <a:pt x="27" y="31"/>
                    </a:lnTo>
                    <a:lnTo>
                      <a:pt x="29" y="31"/>
                    </a:lnTo>
                    <a:lnTo>
                      <a:pt x="27" y="31"/>
                    </a:lnTo>
                    <a:lnTo>
                      <a:pt x="27" y="33"/>
                    </a:lnTo>
                    <a:lnTo>
                      <a:pt x="29" y="33"/>
                    </a:lnTo>
                    <a:lnTo>
                      <a:pt x="29" y="31"/>
                    </a:lnTo>
                    <a:lnTo>
                      <a:pt x="31" y="31"/>
                    </a:lnTo>
                    <a:lnTo>
                      <a:pt x="32" y="29"/>
                    </a:lnTo>
                    <a:lnTo>
                      <a:pt x="31" y="29"/>
                    </a:lnTo>
                    <a:lnTo>
                      <a:pt x="31" y="27"/>
                    </a:lnTo>
                    <a:lnTo>
                      <a:pt x="29" y="27"/>
                    </a:lnTo>
                    <a:lnTo>
                      <a:pt x="31" y="27"/>
                    </a:lnTo>
                    <a:lnTo>
                      <a:pt x="31" y="25"/>
                    </a:lnTo>
                    <a:lnTo>
                      <a:pt x="29" y="25"/>
                    </a:lnTo>
                    <a:lnTo>
                      <a:pt x="29" y="24"/>
                    </a:lnTo>
                    <a:lnTo>
                      <a:pt x="31" y="24"/>
                    </a:lnTo>
                    <a:lnTo>
                      <a:pt x="32" y="24"/>
                    </a:lnTo>
                    <a:lnTo>
                      <a:pt x="32" y="22"/>
                    </a:lnTo>
                    <a:lnTo>
                      <a:pt x="32" y="20"/>
                    </a:lnTo>
                    <a:lnTo>
                      <a:pt x="34" y="18"/>
                    </a:lnTo>
                    <a:lnTo>
                      <a:pt x="34" y="20"/>
                    </a:lnTo>
                    <a:lnTo>
                      <a:pt x="34" y="18"/>
                    </a:lnTo>
                    <a:lnTo>
                      <a:pt x="36" y="18"/>
                    </a:lnTo>
                    <a:lnTo>
                      <a:pt x="38" y="18"/>
                    </a:lnTo>
                    <a:lnTo>
                      <a:pt x="38" y="20"/>
                    </a:lnTo>
                    <a:lnTo>
                      <a:pt x="40" y="18"/>
                    </a:lnTo>
                    <a:lnTo>
                      <a:pt x="40" y="20"/>
                    </a:lnTo>
                    <a:lnTo>
                      <a:pt x="38" y="20"/>
                    </a:lnTo>
                    <a:lnTo>
                      <a:pt x="38" y="22"/>
                    </a:lnTo>
                    <a:lnTo>
                      <a:pt x="40" y="22"/>
                    </a:lnTo>
                    <a:lnTo>
                      <a:pt x="40" y="20"/>
                    </a:lnTo>
                    <a:lnTo>
                      <a:pt x="42" y="20"/>
                    </a:lnTo>
                    <a:lnTo>
                      <a:pt x="42" y="22"/>
                    </a:lnTo>
                    <a:lnTo>
                      <a:pt x="42" y="20"/>
                    </a:lnTo>
                    <a:lnTo>
                      <a:pt x="42" y="22"/>
                    </a:lnTo>
                    <a:lnTo>
                      <a:pt x="44" y="22"/>
                    </a:lnTo>
                    <a:lnTo>
                      <a:pt x="46" y="22"/>
                    </a:lnTo>
                    <a:lnTo>
                      <a:pt x="46" y="24"/>
                    </a:lnTo>
                    <a:lnTo>
                      <a:pt x="48" y="24"/>
                    </a:lnTo>
                    <a:lnTo>
                      <a:pt x="50" y="24"/>
                    </a:lnTo>
                    <a:lnTo>
                      <a:pt x="50" y="22"/>
                    </a:lnTo>
                    <a:lnTo>
                      <a:pt x="50" y="20"/>
                    </a:lnTo>
                    <a:lnTo>
                      <a:pt x="52" y="20"/>
                    </a:lnTo>
                    <a:lnTo>
                      <a:pt x="54" y="20"/>
                    </a:lnTo>
                    <a:lnTo>
                      <a:pt x="54" y="22"/>
                    </a:lnTo>
                    <a:lnTo>
                      <a:pt x="54" y="20"/>
                    </a:lnTo>
                    <a:lnTo>
                      <a:pt x="55" y="20"/>
                    </a:lnTo>
                    <a:lnTo>
                      <a:pt x="54" y="20"/>
                    </a:lnTo>
                    <a:lnTo>
                      <a:pt x="54" y="18"/>
                    </a:lnTo>
                    <a:lnTo>
                      <a:pt x="55" y="18"/>
                    </a:lnTo>
                    <a:lnTo>
                      <a:pt x="57" y="18"/>
                    </a:lnTo>
                    <a:lnTo>
                      <a:pt x="57" y="16"/>
                    </a:lnTo>
                    <a:lnTo>
                      <a:pt x="59" y="16"/>
                    </a:lnTo>
                    <a:lnTo>
                      <a:pt x="59" y="14"/>
                    </a:lnTo>
                    <a:lnTo>
                      <a:pt x="61" y="14"/>
                    </a:lnTo>
                    <a:lnTo>
                      <a:pt x="63" y="14"/>
                    </a:lnTo>
                    <a:lnTo>
                      <a:pt x="63" y="12"/>
                    </a:lnTo>
                    <a:lnTo>
                      <a:pt x="65" y="14"/>
                    </a:lnTo>
                    <a:lnTo>
                      <a:pt x="65" y="12"/>
                    </a:lnTo>
                    <a:lnTo>
                      <a:pt x="65" y="10"/>
                    </a:lnTo>
                    <a:lnTo>
                      <a:pt x="67" y="10"/>
                    </a:lnTo>
                    <a:lnTo>
                      <a:pt x="69" y="10"/>
                    </a:lnTo>
                    <a:lnTo>
                      <a:pt x="69" y="8"/>
                    </a:lnTo>
                    <a:lnTo>
                      <a:pt x="69" y="10"/>
                    </a:lnTo>
                    <a:lnTo>
                      <a:pt x="71" y="10"/>
                    </a:lnTo>
                    <a:lnTo>
                      <a:pt x="73" y="8"/>
                    </a:lnTo>
                    <a:lnTo>
                      <a:pt x="75" y="8"/>
                    </a:lnTo>
                    <a:lnTo>
                      <a:pt x="75" y="10"/>
                    </a:lnTo>
                    <a:lnTo>
                      <a:pt x="77" y="12"/>
                    </a:lnTo>
                    <a:lnTo>
                      <a:pt x="77" y="10"/>
                    </a:lnTo>
                    <a:lnTo>
                      <a:pt x="77" y="12"/>
                    </a:lnTo>
                    <a:lnTo>
                      <a:pt x="79" y="12"/>
                    </a:lnTo>
                    <a:lnTo>
                      <a:pt x="82" y="8"/>
                    </a:lnTo>
                    <a:lnTo>
                      <a:pt x="82" y="6"/>
                    </a:lnTo>
                    <a:lnTo>
                      <a:pt x="82" y="4"/>
                    </a:lnTo>
                    <a:lnTo>
                      <a:pt x="80" y="6"/>
                    </a:lnTo>
                    <a:lnTo>
                      <a:pt x="79" y="4"/>
                    </a:lnTo>
                    <a:lnTo>
                      <a:pt x="80" y="4"/>
                    </a:lnTo>
                    <a:lnTo>
                      <a:pt x="82" y="4"/>
                    </a:lnTo>
                    <a:lnTo>
                      <a:pt x="82" y="2"/>
                    </a:lnTo>
                    <a:lnTo>
                      <a:pt x="84" y="2"/>
                    </a:lnTo>
                    <a:lnTo>
                      <a:pt x="86" y="2"/>
                    </a:lnTo>
                    <a:lnTo>
                      <a:pt x="88" y="2"/>
                    </a:lnTo>
                    <a:lnTo>
                      <a:pt x="88" y="4"/>
                    </a:lnTo>
                    <a:lnTo>
                      <a:pt x="90" y="4"/>
                    </a:lnTo>
                    <a:lnTo>
                      <a:pt x="92" y="4"/>
                    </a:lnTo>
                    <a:lnTo>
                      <a:pt x="94" y="4"/>
                    </a:lnTo>
                    <a:lnTo>
                      <a:pt x="96" y="4"/>
                    </a:lnTo>
                    <a:lnTo>
                      <a:pt x="98" y="4"/>
                    </a:lnTo>
                    <a:lnTo>
                      <a:pt x="98" y="2"/>
                    </a:lnTo>
                    <a:lnTo>
                      <a:pt x="100" y="2"/>
                    </a:lnTo>
                    <a:lnTo>
                      <a:pt x="100" y="0"/>
                    </a:lnTo>
                    <a:lnTo>
                      <a:pt x="102" y="0"/>
                    </a:lnTo>
                    <a:lnTo>
                      <a:pt x="104" y="0"/>
                    </a:lnTo>
                    <a:lnTo>
                      <a:pt x="104" y="2"/>
                    </a:lnTo>
                    <a:lnTo>
                      <a:pt x="105" y="2"/>
                    </a:lnTo>
                    <a:lnTo>
                      <a:pt x="104" y="2"/>
                    </a:lnTo>
                    <a:lnTo>
                      <a:pt x="104" y="4"/>
                    </a:lnTo>
                    <a:lnTo>
                      <a:pt x="104" y="6"/>
                    </a:lnTo>
                    <a:lnTo>
                      <a:pt x="105" y="6"/>
                    </a:lnTo>
                    <a:lnTo>
                      <a:pt x="107" y="8"/>
                    </a:lnTo>
                    <a:lnTo>
                      <a:pt x="107" y="6"/>
                    </a:lnTo>
                    <a:lnTo>
                      <a:pt x="109" y="6"/>
                    </a:lnTo>
                    <a:lnTo>
                      <a:pt x="111" y="6"/>
                    </a:lnTo>
                    <a:lnTo>
                      <a:pt x="111" y="8"/>
                    </a:lnTo>
                    <a:lnTo>
                      <a:pt x="109" y="8"/>
                    </a:lnTo>
                    <a:lnTo>
                      <a:pt x="109" y="10"/>
                    </a:lnTo>
                    <a:lnTo>
                      <a:pt x="107" y="12"/>
                    </a:lnTo>
                    <a:lnTo>
                      <a:pt x="109" y="14"/>
                    </a:lnTo>
                    <a:lnTo>
                      <a:pt x="107" y="14"/>
                    </a:lnTo>
                    <a:lnTo>
                      <a:pt x="107" y="16"/>
                    </a:lnTo>
                    <a:lnTo>
                      <a:pt x="109" y="16"/>
                    </a:lnTo>
                    <a:lnTo>
                      <a:pt x="107" y="16"/>
                    </a:lnTo>
                    <a:lnTo>
                      <a:pt x="109" y="16"/>
                    </a:lnTo>
                    <a:lnTo>
                      <a:pt x="111" y="16"/>
                    </a:lnTo>
                    <a:lnTo>
                      <a:pt x="109" y="18"/>
                    </a:lnTo>
                    <a:lnTo>
                      <a:pt x="111" y="18"/>
                    </a:lnTo>
                    <a:lnTo>
                      <a:pt x="113" y="16"/>
                    </a:lnTo>
                    <a:lnTo>
                      <a:pt x="113" y="18"/>
                    </a:lnTo>
                    <a:lnTo>
                      <a:pt x="115" y="18"/>
                    </a:lnTo>
                    <a:lnTo>
                      <a:pt x="115" y="20"/>
                    </a:lnTo>
                    <a:lnTo>
                      <a:pt x="115" y="18"/>
                    </a:lnTo>
                    <a:lnTo>
                      <a:pt x="117" y="20"/>
                    </a:lnTo>
                    <a:lnTo>
                      <a:pt x="119" y="18"/>
                    </a:lnTo>
                    <a:lnTo>
                      <a:pt x="119" y="16"/>
                    </a:lnTo>
                    <a:lnTo>
                      <a:pt x="121" y="18"/>
                    </a:lnTo>
                    <a:lnTo>
                      <a:pt x="121" y="20"/>
                    </a:lnTo>
                    <a:lnTo>
                      <a:pt x="121" y="22"/>
                    </a:lnTo>
                    <a:lnTo>
                      <a:pt x="121" y="24"/>
                    </a:lnTo>
                    <a:lnTo>
                      <a:pt x="121" y="25"/>
                    </a:lnTo>
                    <a:lnTo>
                      <a:pt x="121" y="24"/>
                    </a:lnTo>
                    <a:lnTo>
                      <a:pt x="123" y="24"/>
                    </a:lnTo>
                    <a:lnTo>
                      <a:pt x="125" y="24"/>
                    </a:lnTo>
                    <a:lnTo>
                      <a:pt x="127" y="25"/>
                    </a:lnTo>
                    <a:lnTo>
                      <a:pt x="128" y="25"/>
                    </a:lnTo>
                    <a:lnTo>
                      <a:pt x="128" y="27"/>
                    </a:lnTo>
                    <a:lnTo>
                      <a:pt x="127" y="29"/>
                    </a:lnTo>
                    <a:lnTo>
                      <a:pt x="128" y="31"/>
                    </a:lnTo>
                    <a:lnTo>
                      <a:pt x="128" y="33"/>
                    </a:lnTo>
                    <a:lnTo>
                      <a:pt x="128" y="35"/>
                    </a:lnTo>
                    <a:lnTo>
                      <a:pt x="128" y="33"/>
                    </a:lnTo>
                    <a:lnTo>
                      <a:pt x="130" y="33"/>
                    </a:lnTo>
                    <a:lnTo>
                      <a:pt x="132" y="33"/>
                    </a:lnTo>
                    <a:lnTo>
                      <a:pt x="132" y="35"/>
                    </a:lnTo>
                    <a:lnTo>
                      <a:pt x="134" y="37"/>
                    </a:lnTo>
                    <a:lnTo>
                      <a:pt x="134" y="39"/>
                    </a:lnTo>
                    <a:lnTo>
                      <a:pt x="136" y="39"/>
                    </a:lnTo>
                    <a:lnTo>
                      <a:pt x="138" y="39"/>
                    </a:lnTo>
                    <a:lnTo>
                      <a:pt x="138" y="4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6" name="Freeform 116"/>
              <p:cNvSpPr>
                <a:spLocks noEditPoints="1"/>
              </p:cNvSpPr>
              <p:nvPr/>
            </p:nvSpPr>
            <p:spPr bwMode="auto">
              <a:xfrm>
                <a:off x="7533901" y="2836234"/>
                <a:ext cx="61943" cy="760517"/>
              </a:xfrm>
              <a:custGeom>
                <a:avLst/>
                <a:gdLst>
                  <a:gd name="T0" fmla="*/ 15 w 36"/>
                  <a:gd name="T1" fmla="*/ 384 h 442"/>
                  <a:gd name="T2" fmla="*/ 13 w 36"/>
                  <a:gd name="T3" fmla="*/ 392 h 442"/>
                  <a:gd name="T4" fmla="*/ 13 w 36"/>
                  <a:gd name="T5" fmla="*/ 398 h 442"/>
                  <a:gd name="T6" fmla="*/ 15 w 36"/>
                  <a:gd name="T7" fmla="*/ 405 h 442"/>
                  <a:gd name="T8" fmla="*/ 13 w 36"/>
                  <a:gd name="T9" fmla="*/ 411 h 442"/>
                  <a:gd name="T10" fmla="*/ 11 w 36"/>
                  <a:gd name="T11" fmla="*/ 419 h 442"/>
                  <a:gd name="T12" fmla="*/ 9 w 36"/>
                  <a:gd name="T13" fmla="*/ 427 h 442"/>
                  <a:gd name="T14" fmla="*/ 7 w 36"/>
                  <a:gd name="T15" fmla="*/ 434 h 442"/>
                  <a:gd name="T16" fmla="*/ 5 w 36"/>
                  <a:gd name="T17" fmla="*/ 440 h 442"/>
                  <a:gd name="T18" fmla="*/ 2 w 36"/>
                  <a:gd name="T19" fmla="*/ 440 h 442"/>
                  <a:gd name="T20" fmla="*/ 2 w 36"/>
                  <a:gd name="T21" fmla="*/ 434 h 442"/>
                  <a:gd name="T22" fmla="*/ 0 w 36"/>
                  <a:gd name="T23" fmla="*/ 427 h 442"/>
                  <a:gd name="T24" fmla="*/ 0 w 36"/>
                  <a:gd name="T25" fmla="*/ 423 h 442"/>
                  <a:gd name="T26" fmla="*/ 0 w 36"/>
                  <a:gd name="T27" fmla="*/ 421 h 442"/>
                  <a:gd name="T28" fmla="*/ 5 w 36"/>
                  <a:gd name="T29" fmla="*/ 413 h 442"/>
                  <a:gd name="T30" fmla="*/ 3 w 36"/>
                  <a:gd name="T31" fmla="*/ 404 h 442"/>
                  <a:gd name="T32" fmla="*/ 5 w 36"/>
                  <a:gd name="T33" fmla="*/ 398 h 442"/>
                  <a:gd name="T34" fmla="*/ 7 w 36"/>
                  <a:gd name="T35" fmla="*/ 394 h 442"/>
                  <a:gd name="T36" fmla="*/ 7 w 36"/>
                  <a:gd name="T37" fmla="*/ 392 h 442"/>
                  <a:gd name="T38" fmla="*/ 7 w 36"/>
                  <a:gd name="T39" fmla="*/ 390 h 442"/>
                  <a:gd name="T40" fmla="*/ 9 w 36"/>
                  <a:gd name="T41" fmla="*/ 382 h 442"/>
                  <a:gd name="T42" fmla="*/ 17 w 36"/>
                  <a:gd name="T43" fmla="*/ 380 h 442"/>
                  <a:gd name="T44" fmla="*/ 26 w 36"/>
                  <a:gd name="T45" fmla="*/ 92 h 442"/>
                  <a:gd name="T46" fmla="*/ 28 w 36"/>
                  <a:gd name="T47" fmla="*/ 100 h 442"/>
                  <a:gd name="T48" fmla="*/ 32 w 36"/>
                  <a:gd name="T49" fmla="*/ 106 h 442"/>
                  <a:gd name="T50" fmla="*/ 36 w 36"/>
                  <a:gd name="T51" fmla="*/ 111 h 442"/>
                  <a:gd name="T52" fmla="*/ 30 w 36"/>
                  <a:gd name="T53" fmla="*/ 115 h 442"/>
                  <a:gd name="T54" fmla="*/ 26 w 36"/>
                  <a:gd name="T55" fmla="*/ 107 h 442"/>
                  <a:gd name="T56" fmla="*/ 25 w 36"/>
                  <a:gd name="T57" fmla="*/ 104 h 442"/>
                  <a:gd name="T58" fmla="*/ 23 w 36"/>
                  <a:gd name="T59" fmla="*/ 96 h 442"/>
                  <a:gd name="T60" fmla="*/ 15 w 36"/>
                  <a:gd name="T61" fmla="*/ 0 h 442"/>
                  <a:gd name="T62" fmla="*/ 21 w 36"/>
                  <a:gd name="T63" fmla="*/ 4 h 442"/>
                  <a:gd name="T64" fmla="*/ 25 w 36"/>
                  <a:gd name="T65" fmla="*/ 9 h 442"/>
                  <a:gd name="T66" fmla="*/ 28 w 36"/>
                  <a:gd name="T67" fmla="*/ 13 h 442"/>
                  <a:gd name="T68" fmla="*/ 25 w 36"/>
                  <a:gd name="T69" fmla="*/ 17 h 442"/>
                  <a:gd name="T70" fmla="*/ 28 w 36"/>
                  <a:gd name="T71" fmla="*/ 23 h 442"/>
                  <a:gd name="T72" fmla="*/ 28 w 36"/>
                  <a:gd name="T73" fmla="*/ 31 h 442"/>
                  <a:gd name="T74" fmla="*/ 28 w 36"/>
                  <a:gd name="T75" fmla="*/ 38 h 442"/>
                  <a:gd name="T76" fmla="*/ 25 w 36"/>
                  <a:gd name="T77" fmla="*/ 44 h 442"/>
                  <a:gd name="T78" fmla="*/ 23 w 36"/>
                  <a:gd name="T79" fmla="*/ 48 h 442"/>
                  <a:gd name="T80" fmla="*/ 25 w 36"/>
                  <a:gd name="T81" fmla="*/ 56 h 442"/>
                  <a:gd name="T82" fmla="*/ 19 w 36"/>
                  <a:gd name="T83" fmla="*/ 56 h 442"/>
                  <a:gd name="T84" fmla="*/ 15 w 36"/>
                  <a:gd name="T85" fmla="*/ 54 h 442"/>
                  <a:gd name="T86" fmla="*/ 9 w 36"/>
                  <a:gd name="T87" fmla="*/ 48 h 442"/>
                  <a:gd name="T88" fmla="*/ 9 w 36"/>
                  <a:gd name="T89" fmla="*/ 42 h 442"/>
                  <a:gd name="T90" fmla="*/ 11 w 36"/>
                  <a:gd name="T91" fmla="*/ 38 h 442"/>
                  <a:gd name="T92" fmla="*/ 15 w 36"/>
                  <a:gd name="T93" fmla="*/ 33 h 442"/>
                  <a:gd name="T94" fmla="*/ 17 w 36"/>
                  <a:gd name="T95" fmla="*/ 27 h 442"/>
                  <a:gd name="T96" fmla="*/ 15 w 36"/>
                  <a:gd name="T97" fmla="*/ 19 h 442"/>
                  <a:gd name="T98" fmla="*/ 13 w 36"/>
                  <a:gd name="T99" fmla="*/ 11 h 442"/>
                  <a:gd name="T100" fmla="*/ 13 w 36"/>
                  <a:gd name="T101" fmla="*/ 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442">
                    <a:moveTo>
                      <a:pt x="17" y="380"/>
                    </a:moveTo>
                    <a:lnTo>
                      <a:pt x="15" y="382"/>
                    </a:lnTo>
                    <a:lnTo>
                      <a:pt x="17" y="382"/>
                    </a:lnTo>
                    <a:lnTo>
                      <a:pt x="15" y="382"/>
                    </a:lnTo>
                    <a:lnTo>
                      <a:pt x="15" y="384"/>
                    </a:lnTo>
                    <a:lnTo>
                      <a:pt x="15" y="386"/>
                    </a:lnTo>
                    <a:lnTo>
                      <a:pt x="15" y="388"/>
                    </a:lnTo>
                    <a:lnTo>
                      <a:pt x="15" y="390"/>
                    </a:lnTo>
                    <a:lnTo>
                      <a:pt x="13" y="390"/>
                    </a:lnTo>
                    <a:lnTo>
                      <a:pt x="13" y="392"/>
                    </a:lnTo>
                    <a:lnTo>
                      <a:pt x="13" y="394"/>
                    </a:lnTo>
                    <a:lnTo>
                      <a:pt x="15" y="394"/>
                    </a:lnTo>
                    <a:lnTo>
                      <a:pt x="13" y="394"/>
                    </a:lnTo>
                    <a:lnTo>
                      <a:pt x="13" y="396"/>
                    </a:lnTo>
                    <a:lnTo>
                      <a:pt x="13" y="398"/>
                    </a:lnTo>
                    <a:lnTo>
                      <a:pt x="13" y="400"/>
                    </a:lnTo>
                    <a:lnTo>
                      <a:pt x="13" y="402"/>
                    </a:lnTo>
                    <a:lnTo>
                      <a:pt x="13" y="404"/>
                    </a:lnTo>
                    <a:lnTo>
                      <a:pt x="15" y="404"/>
                    </a:lnTo>
                    <a:lnTo>
                      <a:pt x="15" y="405"/>
                    </a:lnTo>
                    <a:lnTo>
                      <a:pt x="13" y="405"/>
                    </a:lnTo>
                    <a:lnTo>
                      <a:pt x="15" y="405"/>
                    </a:lnTo>
                    <a:lnTo>
                      <a:pt x="15" y="407"/>
                    </a:lnTo>
                    <a:lnTo>
                      <a:pt x="13" y="409"/>
                    </a:lnTo>
                    <a:lnTo>
                      <a:pt x="13" y="411"/>
                    </a:lnTo>
                    <a:lnTo>
                      <a:pt x="13" y="413"/>
                    </a:lnTo>
                    <a:lnTo>
                      <a:pt x="13" y="415"/>
                    </a:lnTo>
                    <a:lnTo>
                      <a:pt x="11" y="415"/>
                    </a:lnTo>
                    <a:lnTo>
                      <a:pt x="11" y="417"/>
                    </a:lnTo>
                    <a:lnTo>
                      <a:pt x="11" y="419"/>
                    </a:lnTo>
                    <a:lnTo>
                      <a:pt x="9" y="419"/>
                    </a:lnTo>
                    <a:lnTo>
                      <a:pt x="9" y="421"/>
                    </a:lnTo>
                    <a:lnTo>
                      <a:pt x="9" y="423"/>
                    </a:lnTo>
                    <a:lnTo>
                      <a:pt x="9" y="425"/>
                    </a:lnTo>
                    <a:lnTo>
                      <a:pt x="9" y="427"/>
                    </a:lnTo>
                    <a:lnTo>
                      <a:pt x="9" y="429"/>
                    </a:lnTo>
                    <a:lnTo>
                      <a:pt x="9" y="430"/>
                    </a:lnTo>
                    <a:lnTo>
                      <a:pt x="9" y="432"/>
                    </a:lnTo>
                    <a:lnTo>
                      <a:pt x="9" y="434"/>
                    </a:lnTo>
                    <a:lnTo>
                      <a:pt x="7" y="434"/>
                    </a:lnTo>
                    <a:lnTo>
                      <a:pt x="7" y="436"/>
                    </a:lnTo>
                    <a:lnTo>
                      <a:pt x="5" y="438"/>
                    </a:lnTo>
                    <a:lnTo>
                      <a:pt x="5" y="440"/>
                    </a:lnTo>
                    <a:lnTo>
                      <a:pt x="5" y="438"/>
                    </a:lnTo>
                    <a:lnTo>
                      <a:pt x="5" y="440"/>
                    </a:lnTo>
                    <a:lnTo>
                      <a:pt x="3" y="440"/>
                    </a:lnTo>
                    <a:lnTo>
                      <a:pt x="2" y="442"/>
                    </a:lnTo>
                    <a:lnTo>
                      <a:pt x="2" y="440"/>
                    </a:lnTo>
                    <a:lnTo>
                      <a:pt x="2" y="442"/>
                    </a:lnTo>
                    <a:lnTo>
                      <a:pt x="2" y="440"/>
                    </a:lnTo>
                    <a:lnTo>
                      <a:pt x="2" y="438"/>
                    </a:lnTo>
                    <a:lnTo>
                      <a:pt x="2" y="436"/>
                    </a:lnTo>
                    <a:lnTo>
                      <a:pt x="2" y="434"/>
                    </a:lnTo>
                    <a:lnTo>
                      <a:pt x="0" y="434"/>
                    </a:lnTo>
                    <a:lnTo>
                      <a:pt x="2" y="434"/>
                    </a:lnTo>
                    <a:lnTo>
                      <a:pt x="2" y="432"/>
                    </a:lnTo>
                    <a:lnTo>
                      <a:pt x="2" y="430"/>
                    </a:lnTo>
                    <a:lnTo>
                      <a:pt x="2" y="429"/>
                    </a:lnTo>
                    <a:lnTo>
                      <a:pt x="2" y="427"/>
                    </a:lnTo>
                    <a:lnTo>
                      <a:pt x="0" y="427"/>
                    </a:lnTo>
                    <a:lnTo>
                      <a:pt x="0" y="425"/>
                    </a:lnTo>
                    <a:lnTo>
                      <a:pt x="2" y="425"/>
                    </a:lnTo>
                    <a:lnTo>
                      <a:pt x="0" y="423"/>
                    </a:lnTo>
                    <a:lnTo>
                      <a:pt x="2" y="423"/>
                    </a:lnTo>
                    <a:lnTo>
                      <a:pt x="0" y="423"/>
                    </a:lnTo>
                    <a:lnTo>
                      <a:pt x="2" y="423"/>
                    </a:lnTo>
                    <a:lnTo>
                      <a:pt x="2" y="421"/>
                    </a:lnTo>
                    <a:lnTo>
                      <a:pt x="0" y="421"/>
                    </a:lnTo>
                    <a:lnTo>
                      <a:pt x="2" y="421"/>
                    </a:lnTo>
                    <a:lnTo>
                      <a:pt x="0" y="421"/>
                    </a:lnTo>
                    <a:lnTo>
                      <a:pt x="2" y="419"/>
                    </a:lnTo>
                    <a:lnTo>
                      <a:pt x="3" y="419"/>
                    </a:lnTo>
                    <a:lnTo>
                      <a:pt x="3" y="417"/>
                    </a:lnTo>
                    <a:lnTo>
                      <a:pt x="3" y="415"/>
                    </a:lnTo>
                    <a:lnTo>
                      <a:pt x="5" y="413"/>
                    </a:lnTo>
                    <a:lnTo>
                      <a:pt x="3" y="411"/>
                    </a:lnTo>
                    <a:lnTo>
                      <a:pt x="3" y="409"/>
                    </a:lnTo>
                    <a:lnTo>
                      <a:pt x="3" y="407"/>
                    </a:lnTo>
                    <a:lnTo>
                      <a:pt x="3" y="405"/>
                    </a:lnTo>
                    <a:lnTo>
                      <a:pt x="3" y="404"/>
                    </a:lnTo>
                    <a:lnTo>
                      <a:pt x="5" y="404"/>
                    </a:lnTo>
                    <a:lnTo>
                      <a:pt x="5" y="402"/>
                    </a:lnTo>
                    <a:lnTo>
                      <a:pt x="3" y="402"/>
                    </a:lnTo>
                    <a:lnTo>
                      <a:pt x="3" y="400"/>
                    </a:lnTo>
                    <a:lnTo>
                      <a:pt x="5" y="398"/>
                    </a:lnTo>
                    <a:lnTo>
                      <a:pt x="5" y="396"/>
                    </a:lnTo>
                    <a:lnTo>
                      <a:pt x="7" y="396"/>
                    </a:lnTo>
                    <a:lnTo>
                      <a:pt x="5" y="396"/>
                    </a:lnTo>
                    <a:lnTo>
                      <a:pt x="7" y="396"/>
                    </a:lnTo>
                    <a:lnTo>
                      <a:pt x="7" y="394"/>
                    </a:lnTo>
                    <a:lnTo>
                      <a:pt x="9" y="394"/>
                    </a:lnTo>
                    <a:lnTo>
                      <a:pt x="7" y="394"/>
                    </a:lnTo>
                    <a:lnTo>
                      <a:pt x="9" y="394"/>
                    </a:lnTo>
                    <a:lnTo>
                      <a:pt x="7" y="394"/>
                    </a:lnTo>
                    <a:lnTo>
                      <a:pt x="7" y="392"/>
                    </a:lnTo>
                    <a:lnTo>
                      <a:pt x="7" y="390"/>
                    </a:lnTo>
                    <a:lnTo>
                      <a:pt x="5" y="390"/>
                    </a:lnTo>
                    <a:lnTo>
                      <a:pt x="7" y="390"/>
                    </a:lnTo>
                    <a:lnTo>
                      <a:pt x="5" y="390"/>
                    </a:lnTo>
                    <a:lnTo>
                      <a:pt x="7" y="390"/>
                    </a:lnTo>
                    <a:lnTo>
                      <a:pt x="7" y="388"/>
                    </a:lnTo>
                    <a:lnTo>
                      <a:pt x="7" y="386"/>
                    </a:lnTo>
                    <a:lnTo>
                      <a:pt x="9" y="386"/>
                    </a:lnTo>
                    <a:lnTo>
                      <a:pt x="9" y="384"/>
                    </a:lnTo>
                    <a:lnTo>
                      <a:pt x="9" y="382"/>
                    </a:lnTo>
                    <a:lnTo>
                      <a:pt x="11" y="382"/>
                    </a:lnTo>
                    <a:lnTo>
                      <a:pt x="13" y="382"/>
                    </a:lnTo>
                    <a:lnTo>
                      <a:pt x="15" y="382"/>
                    </a:lnTo>
                    <a:lnTo>
                      <a:pt x="15" y="380"/>
                    </a:lnTo>
                    <a:lnTo>
                      <a:pt x="17" y="380"/>
                    </a:lnTo>
                    <a:lnTo>
                      <a:pt x="17" y="379"/>
                    </a:lnTo>
                    <a:lnTo>
                      <a:pt x="17" y="380"/>
                    </a:lnTo>
                    <a:close/>
                    <a:moveTo>
                      <a:pt x="25" y="90"/>
                    </a:moveTo>
                    <a:lnTo>
                      <a:pt x="26" y="90"/>
                    </a:lnTo>
                    <a:lnTo>
                      <a:pt x="26" y="92"/>
                    </a:lnTo>
                    <a:lnTo>
                      <a:pt x="26" y="94"/>
                    </a:lnTo>
                    <a:lnTo>
                      <a:pt x="28" y="94"/>
                    </a:lnTo>
                    <a:lnTo>
                      <a:pt x="28" y="96"/>
                    </a:lnTo>
                    <a:lnTo>
                      <a:pt x="28" y="98"/>
                    </a:lnTo>
                    <a:lnTo>
                      <a:pt x="28" y="100"/>
                    </a:lnTo>
                    <a:lnTo>
                      <a:pt x="28" y="102"/>
                    </a:lnTo>
                    <a:lnTo>
                      <a:pt x="30" y="102"/>
                    </a:lnTo>
                    <a:lnTo>
                      <a:pt x="30" y="104"/>
                    </a:lnTo>
                    <a:lnTo>
                      <a:pt x="32" y="104"/>
                    </a:lnTo>
                    <a:lnTo>
                      <a:pt x="32" y="106"/>
                    </a:lnTo>
                    <a:lnTo>
                      <a:pt x="34" y="106"/>
                    </a:lnTo>
                    <a:lnTo>
                      <a:pt x="34" y="107"/>
                    </a:lnTo>
                    <a:lnTo>
                      <a:pt x="34" y="109"/>
                    </a:lnTo>
                    <a:lnTo>
                      <a:pt x="36" y="109"/>
                    </a:lnTo>
                    <a:lnTo>
                      <a:pt x="36" y="111"/>
                    </a:lnTo>
                    <a:lnTo>
                      <a:pt x="34" y="111"/>
                    </a:lnTo>
                    <a:lnTo>
                      <a:pt x="34" y="113"/>
                    </a:lnTo>
                    <a:lnTo>
                      <a:pt x="32" y="113"/>
                    </a:lnTo>
                    <a:lnTo>
                      <a:pt x="32" y="115"/>
                    </a:lnTo>
                    <a:lnTo>
                      <a:pt x="30" y="115"/>
                    </a:lnTo>
                    <a:lnTo>
                      <a:pt x="28" y="113"/>
                    </a:lnTo>
                    <a:lnTo>
                      <a:pt x="28" y="111"/>
                    </a:lnTo>
                    <a:lnTo>
                      <a:pt x="26" y="111"/>
                    </a:lnTo>
                    <a:lnTo>
                      <a:pt x="26" y="109"/>
                    </a:lnTo>
                    <a:lnTo>
                      <a:pt x="26" y="107"/>
                    </a:lnTo>
                    <a:lnTo>
                      <a:pt x="25" y="106"/>
                    </a:lnTo>
                    <a:lnTo>
                      <a:pt x="26" y="106"/>
                    </a:lnTo>
                    <a:lnTo>
                      <a:pt x="25" y="106"/>
                    </a:lnTo>
                    <a:lnTo>
                      <a:pt x="26" y="104"/>
                    </a:lnTo>
                    <a:lnTo>
                      <a:pt x="25" y="104"/>
                    </a:lnTo>
                    <a:lnTo>
                      <a:pt x="25" y="102"/>
                    </a:lnTo>
                    <a:lnTo>
                      <a:pt x="25" y="100"/>
                    </a:lnTo>
                    <a:lnTo>
                      <a:pt x="25" y="98"/>
                    </a:lnTo>
                    <a:lnTo>
                      <a:pt x="23" y="98"/>
                    </a:lnTo>
                    <a:lnTo>
                      <a:pt x="23" y="96"/>
                    </a:lnTo>
                    <a:lnTo>
                      <a:pt x="23" y="94"/>
                    </a:lnTo>
                    <a:lnTo>
                      <a:pt x="23" y="92"/>
                    </a:lnTo>
                    <a:lnTo>
                      <a:pt x="23" y="90"/>
                    </a:lnTo>
                    <a:lnTo>
                      <a:pt x="25" y="90"/>
                    </a:lnTo>
                    <a:close/>
                    <a:moveTo>
                      <a:pt x="15" y="0"/>
                    </a:moveTo>
                    <a:lnTo>
                      <a:pt x="17" y="0"/>
                    </a:lnTo>
                    <a:lnTo>
                      <a:pt x="19" y="0"/>
                    </a:lnTo>
                    <a:lnTo>
                      <a:pt x="19" y="2"/>
                    </a:lnTo>
                    <a:lnTo>
                      <a:pt x="19" y="4"/>
                    </a:lnTo>
                    <a:lnTo>
                      <a:pt x="21" y="4"/>
                    </a:lnTo>
                    <a:lnTo>
                      <a:pt x="21" y="6"/>
                    </a:lnTo>
                    <a:lnTo>
                      <a:pt x="23" y="6"/>
                    </a:lnTo>
                    <a:lnTo>
                      <a:pt x="23" y="8"/>
                    </a:lnTo>
                    <a:lnTo>
                      <a:pt x="25" y="8"/>
                    </a:lnTo>
                    <a:lnTo>
                      <a:pt x="25" y="9"/>
                    </a:lnTo>
                    <a:lnTo>
                      <a:pt x="26" y="11"/>
                    </a:lnTo>
                    <a:lnTo>
                      <a:pt x="28" y="11"/>
                    </a:lnTo>
                    <a:lnTo>
                      <a:pt x="28" y="13"/>
                    </a:lnTo>
                    <a:lnTo>
                      <a:pt x="26" y="13"/>
                    </a:lnTo>
                    <a:lnTo>
                      <a:pt x="28" y="13"/>
                    </a:lnTo>
                    <a:lnTo>
                      <a:pt x="26" y="15"/>
                    </a:lnTo>
                    <a:lnTo>
                      <a:pt x="26" y="13"/>
                    </a:lnTo>
                    <a:lnTo>
                      <a:pt x="26" y="15"/>
                    </a:lnTo>
                    <a:lnTo>
                      <a:pt x="26" y="17"/>
                    </a:lnTo>
                    <a:lnTo>
                      <a:pt x="25" y="17"/>
                    </a:lnTo>
                    <a:lnTo>
                      <a:pt x="26" y="17"/>
                    </a:lnTo>
                    <a:lnTo>
                      <a:pt x="26" y="19"/>
                    </a:lnTo>
                    <a:lnTo>
                      <a:pt x="26" y="21"/>
                    </a:lnTo>
                    <a:lnTo>
                      <a:pt x="28" y="21"/>
                    </a:lnTo>
                    <a:lnTo>
                      <a:pt x="28" y="23"/>
                    </a:lnTo>
                    <a:lnTo>
                      <a:pt x="26" y="23"/>
                    </a:lnTo>
                    <a:lnTo>
                      <a:pt x="28" y="25"/>
                    </a:lnTo>
                    <a:lnTo>
                      <a:pt x="28" y="27"/>
                    </a:lnTo>
                    <a:lnTo>
                      <a:pt x="28" y="29"/>
                    </a:lnTo>
                    <a:lnTo>
                      <a:pt x="28" y="31"/>
                    </a:lnTo>
                    <a:lnTo>
                      <a:pt x="30" y="33"/>
                    </a:lnTo>
                    <a:lnTo>
                      <a:pt x="30" y="34"/>
                    </a:lnTo>
                    <a:lnTo>
                      <a:pt x="28" y="34"/>
                    </a:lnTo>
                    <a:lnTo>
                      <a:pt x="28" y="36"/>
                    </a:lnTo>
                    <a:lnTo>
                      <a:pt x="28" y="38"/>
                    </a:lnTo>
                    <a:lnTo>
                      <a:pt x="28" y="40"/>
                    </a:lnTo>
                    <a:lnTo>
                      <a:pt x="26" y="40"/>
                    </a:lnTo>
                    <a:lnTo>
                      <a:pt x="26" y="42"/>
                    </a:lnTo>
                    <a:lnTo>
                      <a:pt x="25" y="42"/>
                    </a:lnTo>
                    <a:lnTo>
                      <a:pt x="25" y="44"/>
                    </a:lnTo>
                    <a:lnTo>
                      <a:pt x="23" y="44"/>
                    </a:lnTo>
                    <a:lnTo>
                      <a:pt x="23" y="46"/>
                    </a:lnTo>
                    <a:lnTo>
                      <a:pt x="25" y="46"/>
                    </a:lnTo>
                    <a:lnTo>
                      <a:pt x="23" y="46"/>
                    </a:lnTo>
                    <a:lnTo>
                      <a:pt x="23" y="48"/>
                    </a:lnTo>
                    <a:lnTo>
                      <a:pt x="23" y="50"/>
                    </a:lnTo>
                    <a:lnTo>
                      <a:pt x="23" y="52"/>
                    </a:lnTo>
                    <a:lnTo>
                      <a:pt x="23" y="54"/>
                    </a:lnTo>
                    <a:lnTo>
                      <a:pt x="25" y="54"/>
                    </a:lnTo>
                    <a:lnTo>
                      <a:pt x="25" y="56"/>
                    </a:lnTo>
                    <a:lnTo>
                      <a:pt x="25" y="58"/>
                    </a:lnTo>
                    <a:lnTo>
                      <a:pt x="25" y="56"/>
                    </a:lnTo>
                    <a:lnTo>
                      <a:pt x="23" y="56"/>
                    </a:lnTo>
                    <a:lnTo>
                      <a:pt x="21" y="56"/>
                    </a:lnTo>
                    <a:lnTo>
                      <a:pt x="19" y="56"/>
                    </a:lnTo>
                    <a:lnTo>
                      <a:pt x="19" y="58"/>
                    </a:lnTo>
                    <a:lnTo>
                      <a:pt x="17" y="58"/>
                    </a:lnTo>
                    <a:lnTo>
                      <a:pt x="17" y="56"/>
                    </a:lnTo>
                    <a:lnTo>
                      <a:pt x="15" y="56"/>
                    </a:lnTo>
                    <a:lnTo>
                      <a:pt x="15" y="54"/>
                    </a:lnTo>
                    <a:lnTo>
                      <a:pt x="15" y="52"/>
                    </a:lnTo>
                    <a:lnTo>
                      <a:pt x="13" y="50"/>
                    </a:lnTo>
                    <a:lnTo>
                      <a:pt x="13" y="48"/>
                    </a:lnTo>
                    <a:lnTo>
                      <a:pt x="11" y="48"/>
                    </a:lnTo>
                    <a:lnTo>
                      <a:pt x="9" y="48"/>
                    </a:lnTo>
                    <a:lnTo>
                      <a:pt x="9" y="46"/>
                    </a:lnTo>
                    <a:lnTo>
                      <a:pt x="7" y="46"/>
                    </a:lnTo>
                    <a:lnTo>
                      <a:pt x="7" y="44"/>
                    </a:lnTo>
                    <a:lnTo>
                      <a:pt x="9" y="44"/>
                    </a:lnTo>
                    <a:lnTo>
                      <a:pt x="9" y="42"/>
                    </a:lnTo>
                    <a:lnTo>
                      <a:pt x="11" y="42"/>
                    </a:lnTo>
                    <a:lnTo>
                      <a:pt x="13" y="42"/>
                    </a:lnTo>
                    <a:lnTo>
                      <a:pt x="13" y="40"/>
                    </a:lnTo>
                    <a:lnTo>
                      <a:pt x="11" y="40"/>
                    </a:lnTo>
                    <a:lnTo>
                      <a:pt x="11" y="38"/>
                    </a:lnTo>
                    <a:lnTo>
                      <a:pt x="11" y="36"/>
                    </a:lnTo>
                    <a:lnTo>
                      <a:pt x="13" y="36"/>
                    </a:lnTo>
                    <a:lnTo>
                      <a:pt x="13" y="34"/>
                    </a:lnTo>
                    <a:lnTo>
                      <a:pt x="15" y="34"/>
                    </a:lnTo>
                    <a:lnTo>
                      <a:pt x="15" y="33"/>
                    </a:lnTo>
                    <a:lnTo>
                      <a:pt x="15" y="31"/>
                    </a:lnTo>
                    <a:lnTo>
                      <a:pt x="17" y="33"/>
                    </a:lnTo>
                    <a:lnTo>
                      <a:pt x="17" y="31"/>
                    </a:lnTo>
                    <a:lnTo>
                      <a:pt x="17" y="29"/>
                    </a:lnTo>
                    <a:lnTo>
                      <a:pt x="17" y="27"/>
                    </a:lnTo>
                    <a:lnTo>
                      <a:pt x="17" y="25"/>
                    </a:lnTo>
                    <a:lnTo>
                      <a:pt x="17" y="23"/>
                    </a:lnTo>
                    <a:lnTo>
                      <a:pt x="17" y="21"/>
                    </a:lnTo>
                    <a:lnTo>
                      <a:pt x="15" y="21"/>
                    </a:lnTo>
                    <a:lnTo>
                      <a:pt x="15" y="19"/>
                    </a:lnTo>
                    <a:lnTo>
                      <a:pt x="15" y="17"/>
                    </a:lnTo>
                    <a:lnTo>
                      <a:pt x="15" y="15"/>
                    </a:lnTo>
                    <a:lnTo>
                      <a:pt x="15" y="13"/>
                    </a:lnTo>
                    <a:lnTo>
                      <a:pt x="13" y="13"/>
                    </a:lnTo>
                    <a:lnTo>
                      <a:pt x="13" y="11"/>
                    </a:lnTo>
                    <a:lnTo>
                      <a:pt x="13" y="9"/>
                    </a:lnTo>
                    <a:lnTo>
                      <a:pt x="13" y="8"/>
                    </a:lnTo>
                    <a:lnTo>
                      <a:pt x="13" y="6"/>
                    </a:lnTo>
                    <a:lnTo>
                      <a:pt x="13" y="4"/>
                    </a:lnTo>
                    <a:lnTo>
                      <a:pt x="13" y="2"/>
                    </a:lnTo>
                    <a:lnTo>
                      <a:pt x="13" y="0"/>
                    </a:lnTo>
                    <a:lnTo>
                      <a:pt x="15"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7" name="Freeform 117"/>
              <p:cNvSpPr>
                <a:spLocks/>
              </p:cNvSpPr>
              <p:nvPr/>
            </p:nvSpPr>
            <p:spPr bwMode="auto">
              <a:xfrm>
                <a:off x="6627132" y="2893016"/>
                <a:ext cx="526511" cy="918814"/>
              </a:xfrm>
              <a:custGeom>
                <a:avLst/>
                <a:gdLst>
                  <a:gd name="T0" fmla="*/ 208 w 306"/>
                  <a:gd name="T1" fmla="*/ 263 h 534"/>
                  <a:gd name="T2" fmla="*/ 227 w 306"/>
                  <a:gd name="T3" fmla="*/ 286 h 534"/>
                  <a:gd name="T4" fmla="*/ 248 w 306"/>
                  <a:gd name="T5" fmla="*/ 301 h 534"/>
                  <a:gd name="T6" fmla="*/ 256 w 306"/>
                  <a:gd name="T7" fmla="*/ 311 h 534"/>
                  <a:gd name="T8" fmla="*/ 231 w 306"/>
                  <a:gd name="T9" fmla="*/ 296 h 534"/>
                  <a:gd name="T10" fmla="*/ 200 w 306"/>
                  <a:gd name="T11" fmla="*/ 294 h 534"/>
                  <a:gd name="T12" fmla="*/ 194 w 306"/>
                  <a:gd name="T13" fmla="*/ 301 h 534"/>
                  <a:gd name="T14" fmla="*/ 190 w 306"/>
                  <a:gd name="T15" fmla="*/ 303 h 534"/>
                  <a:gd name="T16" fmla="*/ 192 w 306"/>
                  <a:gd name="T17" fmla="*/ 328 h 534"/>
                  <a:gd name="T18" fmla="*/ 204 w 306"/>
                  <a:gd name="T19" fmla="*/ 372 h 534"/>
                  <a:gd name="T20" fmla="*/ 213 w 306"/>
                  <a:gd name="T21" fmla="*/ 403 h 534"/>
                  <a:gd name="T22" fmla="*/ 237 w 306"/>
                  <a:gd name="T23" fmla="*/ 428 h 534"/>
                  <a:gd name="T24" fmla="*/ 258 w 306"/>
                  <a:gd name="T25" fmla="*/ 444 h 534"/>
                  <a:gd name="T26" fmla="*/ 269 w 306"/>
                  <a:gd name="T27" fmla="*/ 459 h 534"/>
                  <a:gd name="T28" fmla="*/ 273 w 306"/>
                  <a:gd name="T29" fmla="*/ 457 h 534"/>
                  <a:gd name="T30" fmla="*/ 286 w 306"/>
                  <a:gd name="T31" fmla="*/ 457 h 534"/>
                  <a:gd name="T32" fmla="*/ 302 w 306"/>
                  <a:gd name="T33" fmla="*/ 480 h 534"/>
                  <a:gd name="T34" fmla="*/ 300 w 306"/>
                  <a:gd name="T35" fmla="*/ 494 h 534"/>
                  <a:gd name="T36" fmla="*/ 286 w 306"/>
                  <a:gd name="T37" fmla="*/ 471 h 534"/>
                  <a:gd name="T38" fmla="*/ 265 w 306"/>
                  <a:gd name="T39" fmla="*/ 476 h 534"/>
                  <a:gd name="T40" fmla="*/ 252 w 306"/>
                  <a:gd name="T41" fmla="*/ 478 h 534"/>
                  <a:gd name="T42" fmla="*/ 260 w 306"/>
                  <a:gd name="T43" fmla="*/ 521 h 534"/>
                  <a:gd name="T44" fmla="*/ 250 w 306"/>
                  <a:gd name="T45" fmla="*/ 522 h 534"/>
                  <a:gd name="T46" fmla="*/ 231 w 306"/>
                  <a:gd name="T47" fmla="*/ 492 h 534"/>
                  <a:gd name="T48" fmla="*/ 219 w 306"/>
                  <a:gd name="T49" fmla="*/ 455 h 534"/>
                  <a:gd name="T50" fmla="*/ 202 w 306"/>
                  <a:gd name="T51" fmla="*/ 424 h 534"/>
                  <a:gd name="T52" fmla="*/ 188 w 306"/>
                  <a:gd name="T53" fmla="*/ 388 h 534"/>
                  <a:gd name="T54" fmla="*/ 177 w 306"/>
                  <a:gd name="T55" fmla="*/ 374 h 534"/>
                  <a:gd name="T56" fmla="*/ 162 w 306"/>
                  <a:gd name="T57" fmla="*/ 355 h 534"/>
                  <a:gd name="T58" fmla="*/ 154 w 306"/>
                  <a:gd name="T59" fmla="*/ 324 h 534"/>
                  <a:gd name="T60" fmla="*/ 140 w 306"/>
                  <a:gd name="T61" fmla="*/ 294 h 534"/>
                  <a:gd name="T62" fmla="*/ 123 w 306"/>
                  <a:gd name="T63" fmla="*/ 261 h 534"/>
                  <a:gd name="T64" fmla="*/ 104 w 306"/>
                  <a:gd name="T65" fmla="*/ 221 h 534"/>
                  <a:gd name="T66" fmla="*/ 85 w 306"/>
                  <a:gd name="T67" fmla="*/ 194 h 534"/>
                  <a:gd name="T68" fmla="*/ 66 w 306"/>
                  <a:gd name="T69" fmla="*/ 180 h 534"/>
                  <a:gd name="T70" fmla="*/ 52 w 306"/>
                  <a:gd name="T71" fmla="*/ 163 h 534"/>
                  <a:gd name="T72" fmla="*/ 42 w 306"/>
                  <a:gd name="T73" fmla="*/ 132 h 534"/>
                  <a:gd name="T74" fmla="*/ 29 w 306"/>
                  <a:gd name="T75" fmla="*/ 98 h 534"/>
                  <a:gd name="T76" fmla="*/ 19 w 306"/>
                  <a:gd name="T77" fmla="*/ 67 h 534"/>
                  <a:gd name="T78" fmla="*/ 35 w 306"/>
                  <a:gd name="T79" fmla="*/ 55 h 534"/>
                  <a:gd name="T80" fmla="*/ 31 w 306"/>
                  <a:gd name="T81" fmla="*/ 48 h 534"/>
                  <a:gd name="T82" fmla="*/ 31 w 306"/>
                  <a:gd name="T83" fmla="*/ 44 h 534"/>
                  <a:gd name="T84" fmla="*/ 6 w 306"/>
                  <a:gd name="T85" fmla="*/ 17 h 534"/>
                  <a:gd name="T86" fmla="*/ 10 w 306"/>
                  <a:gd name="T87" fmla="*/ 13 h 534"/>
                  <a:gd name="T88" fmla="*/ 14 w 306"/>
                  <a:gd name="T89" fmla="*/ 3 h 534"/>
                  <a:gd name="T90" fmla="*/ 31 w 306"/>
                  <a:gd name="T91" fmla="*/ 30 h 534"/>
                  <a:gd name="T92" fmla="*/ 41 w 306"/>
                  <a:gd name="T93" fmla="*/ 44 h 534"/>
                  <a:gd name="T94" fmla="*/ 54 w 306"/>
                  <a:gd name="T95" fmla="*/ 51 h 534"/>
                  <a:gd name="T96" fmla="*/ 71 w 306"/>
                  <a:gd name="T97" fmla="*/ 74 h 534"/>
                  <a:gd name="T98" fmla="*/ 67 w 306"/>
                  <a:gd name="T99" fmla="*/ 71 h 534"/>
                  <a:gd name="T100" fmla="*/ 56 w 306"/>
                  <a:gd name="T101" fmla="*/ 65 h 534"/>
                  <a:gd name="T102" fmla="*/ 77 w 306"/>
                  <a:gd name="T103" fmla="*/ 86 h 534"/>
                  <a:gd name="T104" fmla="*/ 79 w 306"/>
                  <a:gd name="T105" fmla="*/ 88 h 534"/>
                  <a:gd name="T106" fmla="*/ 90 w 306"/>
                  <a:gd name="T107" fmla="*/ 109 h 534"/>
                  <a:gd name="T108" fmla="*/ 89 w 306"/>
                  <a:gd name="T109" fmla="*/ 111 h 534"/>
                  <a:gd name="T110" fmla="*/ 96 w 306"/>
                  <a:gd name="T111" fmla="*/ 132 h 534"/>
                  <a:gd name="T112" fmla="*/ 100 w 306"/>
                  <a:gd name="T113" fmla="*/ 140 h 534"/>
                  <a:gd name="T114" fmla="*/ 106 w 306"/>
                  <a:gd name="T115" fmla="*/ 148 h 534"/>
                  <a:gd name="T116" fmla="*/ 117 w 306"/>
                  <a:gd name="T117" fmla="*/ 163 h 534"/>
                  <a:gd name="T118" fmla="*/ 125 w 306"/>
                  <a:gd name="T119" fmla="*/ 165 h 534"/>
                  <a:gd name="T120" fmla="*/ 129 w 306"/>
                  <a:gd name="T121" fmla="*/ 176 h 534"/>
                  <a:gd name="T122" fmla="*/ 142 w 306"/>
                  <a:gd name="T123" fmla="*/ 186 h 534"/>
                  <a:gd name="T124" fmla="*/ 164 w 306"/>
                  <a:gd name="T125" fmla="*/ 217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534">
                    <a:moveTo>
                      <a:pt x="187" y="242"/>
                    </a:moveTo>
                    <a:lnTo>
                      <a:pt x="188" y="242"/>
                    </a:lnTo>
                    <a:lnTo>
                      <a:pt x="188" y="244"/>
                    </a:lnTo>
                    <a:lnTo>
                      <a:pt x="190" y="244"/>
                    </a:lnTo>
                    <a:lnTo>
                      <a:pt x="190" y="246"/>
                    </a:lnTo>
                    <a:lnTo>
                      <a:pt x="192" y="246"/>
                    </a:lnTo>
                    <a:lnTo>
                      <a:pt x="194" y="246"/>
                    </a:lnTo>
                    <a:lnTo>
                      <a:pt x="192" y="248"/>
                    </a:lnTo>
                    <a:lnTo>
                      <a:pt x="194" y="248"/>
                    </a:lnTo>
                    <a:lnTo>
                      <a:pt x="194" y="249"/>
                    </a:lnTo>
                    <a:lnTo>
                      <a:pt x="196" y="249"/>
                    </a:lnTo>
                    <a:lnTo>
                      <a:pt x="196" y="251"/>
                    </a:lnTo>
                    <a:lnTo>
                      <a:pt x="198" y="253"/>
                    </a:lnTo>
                    <a:lnTo>
                      <a:pt x="200" y="253"/>
                    </a:lnTo>
                    <a:lnTo>
                      <a:pt x="200" y="255"/>
                    </a:lnTo>
                    <a:lnTo>
                      <a:pt x="202" y="257"/>
                    </a:lnTo>
                    <a:lnTo>
                      <a:pt x="204" y="257"/>
                    </a:lnTo>
                    <a:lnTo>
                      <a:pt x="204" y="259"/>
                    </a:lnTo>
                    <a:lnTo>
                      <a:pt x="206" y="259"/>
                    </a:lnTo>
                    <a:lnTo>
                      <a:pt x="206" y="261"/>
                    </a:lnTo>
                    <a:lnTo>
                      <a:pt x="208" y="261"/>
                    </a:lnTo>
                    <a:lnTo>
                      <a:pt x="208" y="263"/>
                    </a:lnTo>
                    <a:lnTo>
                      <a:pt x="208" y="265"/>
                    </a:lnTo>
                    <a:lnTo>
                      <a:pt x="210" y="267"/>
                    </a:lnTo>
                    <a:lnTo>
                      <a:pt x="212" y="269"/>
                    </a:lnTo>
                    <a:lnTo>
                      <a:pt x="213" y="271"/>
                    </a:lnTo>
                    <a:lnTo>
                      <a:pt x="215" y="273"/>
                    </a:lnTo>
                    <a:lnTo>
                      <a:pt x="217" y="273"/>
                    </a:lnTo>
                    <a:lnTo>
                      <a:pt x="219" y="274"/>
                    </a:lnTo>
                    <a:lnTo>
                      <a:pt x="217" y="274"/>
                    </a:lnTo>
                    <a:lnTo>
                      <a:pt x="219" y="276"/>
                    </a:lnTo>
                    <a:lnTo>
                      <a:pt x="219" y="278"/>
                    </a:lnTo>
                    <a:lnTo>
                      <a:pt x="221" y="278"/>
                    </a:lnTo>
                    <a:lnTo>
                      <a:pt x="221" y="280"/>
                    </a:lnTo>
                    <a:lnTo>
                      <a:pt x="223" y="280"/>
                    </a:lnTo>
                    <a:lnTo>
                      <a:pt x="223" y="282"/>
                    </a:lnTo>
                    <a:lnTo>
                      <a:pt x="225" y="284"/>
                    </a:lnTo>
                    <a:lnTo>
                      <a:pt x="223" y="284"/>
                    </a:lnTo>
                    <a:lnTo>
                      <a:pt x="225" y="284"/>
                    </a:lnTo>
                    <a:lnTo>
                      <a:pt x="223" y="284"/>
                    </a:lnTo>
                    <a:lnTo>
                      <a:pt x="223" y="286"/>
                    </a:lnTo>
                    <a:lnTo>
                      <a:pt x="225" y="286"/>
                    </a:lnTo>
                    <a:lnTo>
                      <a:pt x="225" y="284"/>
                    </a:lnTo>
                    <a:lnTo>
                      <a:pt x="227" y="286"/>
                    </a:lnTo>
                    <a:lnTo>
                      <a:pt x="227" y="288"/>
                    </a:lnTo>
                    <a:lnTo>
                      <a:pt x="229" y="288"/>
                    </a:lnTo>
                    <a:lnTo>
                      <a:pt x="229" y="290"/>
                    </a:lnTo>
                    <a:lnTo>
                      <a:pt x="231" y="290"/>
                    </a:lnTo>
                    <a:lnTo>
                      <a:pt x="231" y="292"/>
                    </a:lnTo>
                    <a:lnTo>
                      <a:pt x="233" y="292"/>
                    </a:lnTo>
                    <a:lnTo>
                      <a:pt x="233" y="294"/>
                    </a:lnTo>
                    <a:lnTo>
                      <a:pt x="235" y="294"/>
                    </a:lnTo>
                    <a:lnTo>
                      <a:pt x="235" y="296"/>
                    </a:lnTo>
                    <a:lnTo>
                      <a:pt x="237" y="296"/>
                    </a:lnTo>
                    <a:lnTo>
                      <a:pt x="237" y="298"/>
                    </a:lnTo>
                    <a:lnTo>
                      <a:pt x="238" y="298"/>
                    </a:lnTo>
                    <a:lnTo>
                      <a:pt x="238" y="299"/>
                    </a:lnTo>
                    <a:lnTo>
                      <a:pt x="237" y="298"/>
                    </a:lnTo>
                    <a:lnTo>
                      <a:pt x="237" y="299"/>
                    </a:lnTo>
                    <a:lnTo>
                      <a:pt x="238" y="299"/>
                    </a:lnTo>
                    <a:lnTo>
                      <a:pt x="240" y="299"/>
                    </a:lnTo>
                    <a:lnTo>
                      <a:pt x="238" y="299"/>
                    </a:lnTo>
                    <a:lnTo>
                      <a:pt x="240" y="299"/>
                    </a:lnTo>
                    <a:lnTo>
                      <a:pt x="244" y="301"/>
                    </a:lnTo>
                    <a:lnTo>
                      <a:pt x="246" y="301"/>
                    </a:lnTo>
                    <a:lnTo>
                      <a:pt x="248" y="301"/>
                    </a:lnTo>
                    <a:lnTo>
                      <a:pt x="250" y="301"/>
                    </a:lnTo>
                    <a:lnTo>
                      <a:pt x="250" y="303"/>
                    </a:lnTo>
                    <a:lnTo>
                      <a:pt x="252" y="303"/>
                    </a:lnTo>
                    <a:lnTo>
                      <a:pt x="254" y="303"/>
                    </a:lnTo>
                    <a:lnTo>
                      <a:pt x="254" y="305"/>
                    </a:lnTo>
                    <a:lnTo>
                      <a:pt x="256" y="307"/>
                    </a:lnTo>
                    <a:lnTo>
                      <a:pt x="258" y="309"/>
                    </a:lnTo>
                    <a:lnTo>
                      <a:pt x="258" y="311"/>
                    </a:lnTo>
                    <a:lnTo>
                      <a:pt x="258" y="313"/>
                    </a:lnTo>
                    <a:lnTo>
                      <a:pt x="260" y="313"/>
                    </a:lnTo>
                    <a:lnTo>
                      <a:pt x="260" y="315"/>
                    </a:lnTo>
                    <a:lnTo>
                      <a:pt x="261" y="315"/>
                    </a:lnTo>
                    <a:lnTo>
                      <a:pt x="263" y="317"/>
                    </a:lnTo>
                    <a:lnTo>
                      <a:pt x="261" y="317"/>
                    </a:lnTo>
                    <a:lnTo>
                      <a:pt x="261" y="319"/>
                    </a:lnTo>
                    <a:lnTo>
                      <a:pt x="261" y="317"/>
                    </a:lnTo>
                    <a:lnTo>
                      <a:pt x="260" y="317"/>
                    </a:lnTo>
                    <a:lnTo>
                      <a:pt x="260" y="315"/>
                    </a:lnTo>
                    <a:lnTo>
                      <a:pt x="258" y="315"/>
                    </a:lnTo>
                    <a:lnTo>
                      <a:pt x="258" y="313"/>
                    </a:lnTo>
                    <a:lnTo>
                      <a:pt x="258" y="311"/>
                    </a:lnTo>
                    <a:lnTo>
                      <a:pt x="256" y="311"/>
                    </a:lnTo>
                    <a:lnTo>
                      <a:pt x="256" y="309"/>
                    </a:lnTo>
                    <a:lnTo>
                      <a:pt x="254" y="309"/>
                    </a:lnTo>
                    <a:lnTo>
                      <a:pt x="254" y="307"/>
                    </a:lnTo>
                    <a:lnTo>
                      <a:pt x="252" y="307"/>
                    </a:lnTo>
                    <a:lnTo>
                      <a:pt x="252" y="305"/>
                    </a:lnTo>
                    <a:lnTo>
                      <a:pt x="250" y="305"/>
                    </a:lnTo>
                    <a:lnTo>
                      <a:pt x="248" y="305"/>
                    </a:lnTo>
                    <a:lnTo>
                      <a:pt x="246" y="303"/>
                    </a:lnTo>
                    <a:lnTo>
                      <a:pt x="244" y="303"/>
                    </a:lnTo>
                    <a:lnTo>
                      <a:pt x="244" y="301"/>
                    </a:lnTo>
                    <a:lnTo>
                      <a:pt x="242" y="301"/>
                    </a:lnTo>
                    <a:lnTo>
                      <a:pt x="240" y="301"/>
                    </a:lnTo>
                    <a:lnTo>
                      <a:pt x="240" y="299"/>
                    </a:lnTo>
                    <a:lnTo>
                      <a:pt x="238" y="299"/>
                    </a:lnTo>
                    <a:lnTo>
                      <a:pt x="237" y="299"/>
                    </a:lnTo>
                    <a:lnTo>
                      <a:pt x="235" y="299"/>
                    </a:lnTo>
                    <a:lnTo>
                      <a:pt x="237" y="298"/>
                    </a:lnTo>
                    <a:lnTo>
                      <a:pt x="235" y="298"/>
                    </a:lnTo>
                    <a:lnTo>
                      <a:pt x="235" y="299"/>
                    </a:lnTo>
                    <a:lnTo>
                      <a:pt x="233" y="298"/>
                    </a:lnTo>
                    <a:lnTo>
                      <a:pt x="231" y="298"/>
                    </a:lnTo>
                    <a:lnTo>
                      <a:pt x="231" y="296"/>
                    </a:lnTo>
                    <a:lnTo>
                      <a:pt x="229" y="296"/>
                    </a:lnTo>
                    <a:lnTo>
                      <a:pt x="227" y="294"/>
                    </a:lnTo>
                    <a:lnTo>
                      <a:pt x="225" y="294"/>
                    </a:lnTo>
                    <a:lnTo>
                      <a:pt x="225" y="292"/>
                    </a:lnTo>
                    <a:lnTo>
                      <a:pt x="223" y="292"/>
                    </a:lnTo>
                    <a:lnTo>
                      <a:pt x="221" y="292"/>
                    </a:lnTo>
                    <a:lnTo>
                      <a:pt x="217" y="292"/>
                    </a:lnTo>
                    <a:lnTo>
                      <a:pt x="215" y="292"/>
                    </a:lnTo>
                    <a:lnTo>
                      <a:pt x="213" y="294"/>
                    </a:lnTo>
                    <a:lnTo>
                      <a:pt x="212" y="294"/>
                    </a:lnTo>
                    <a:lnTo>
                      <a:pt x="210" y="294"/>
                    </a:lnTo>
                    <a:lnTo>
                      <a:pt x="208" y="294"/>
                    </a:lnTo>
                    <a:lnTo>
                      <a:pt x="208" y="296"/>
                    </a:lnTo>
                    <a:lnTo>
                      <a:pt x="206" y="296"/>
                    </a:lnTo>
                    <a:lnTo>
                      <a:pt x="208" y="296"/>
                    </a:lnTo>
                    <a:lnTo>
                      <a:pt x="208" y="294"/>
                    </a:lnTo>
                    <a:lnTo>
                      <a:pt x="206" y="294"/>
                    </a:lnTo>
                    <a:lnTo>
                      <a:pt x="204" y="294"/>
                    </a:lnTo>
                    <a:lnTo>
                      <a:pt x="202" y="294"/>
                    </a:lnTo>
                    <a:lnTo>
                      <a:pt x="202" y="296"/>
                    </a:lnTo>
                    <a:lnTo>
                      <a:pt x="202" y="294"/>
                    </a:lnTo>
                    <a:lnTo>
                      <a:pt x="200" y="294"/>
                    </a:lnTo>
                    <a:lnTo>
                      <a:pt x="200" y="296"/>
                    </a:lnTo>
                    <a:lnTo>
                      <a:pt x="198" y="296"/>
                    </a:lnTo>
                    <a:lnTo>
                      <a:pt x="196" y="296"/>
                    </a:lnTo>
                    <a:lnTo>
                      <a:pt x="196" y="294"/>
                    </a:lnTo>
                    <a:lnTo>
                      <a:pt x="194" y="294"/>
                    </a:lnTo>
                    <a:lnTo>
                      <a:pt x="192" y="294"/>
                    </a:lnTo>
                    <a:lnTo>
                      <a:pt x="192" y="296"/>
                    </a:lnTo>
                    <a:lnTo>
                      <a:pt x="190" y="296"/>
                    </a:lnTo>
                    <a:lnTo>
                      <a:pt x="190" y="294"/>
                    </a:lnTo>
                    <a:lnTo>
                      <a:pt x="190" y="296"/>
                    </a:lnTo>
                    <a:lnTo>
                      <a:pt x="190" y="298"/>
                    </a:lnTo>
                    <a:lnTo>
                      <a:pt x="188" y="298"/>
                    </a:lnTo>
                    <a:lnTo>
                      <a:pt x="188" y="299"/>
                    </a:lnTo>
                    <a:lnTo>
                      <a:pt x="190" y="299"/>
                    </a:lnTo>
                    <a:lnTo>
                      <a:pt x="192" y="299"/>
                    </a:lnTo>
                    <a:lnTo>
                      <a:pt x="194" y="299"/>
                    </a:lnTo>
                    <a:lnTo>
                      <a:pt x="192" y="299"/>
                    </a:lnTo>
                    <a:lnTo>
                      <a:pt x="194" y="299"/>
                    </a:lnTo>
                    <a:lnTo>
                      <a:pt x="194" y="301"/>
                    </a:lnTo>
                    <a:lnTo>
                      <a:pt x="192" y="299"/>
                    </a:lnTo>
                    <a:lnTo>
                      <a:pt x="192" y="301"/>
                    </a:lnTo>
                    <a:lnTo>
                      <a:pt x="194" y="301"/>
                    </a:lnTo>
                    <a:lnTo>
                      <a:pt x="192" y="301"/>
                    </a:lnTo>
                    <a:lnTo>
                      <a:pt x="194" y="301"/>
                    </a:lnTo>
                    <a:lnTo>
                      <a:pt x="196" y="299"/>
                    </a:lnTo>
                    <a:lnTo>
                      <a:pt x="198" y="299"/>
                    </a:lnTo>
                    <a:lnTo>
                      <a:pt x="196" y="301"/>
                    </a:lnTo>
                    <a:lnTo>
                      <a:pt x="194" y="301"/>
                    </a:lnTo>
                    <a:lnTo>
                      <a:pt x="194" y="303"/>
                    </a:lnTo>
                    <a:lnTo>
                      <a:pt x="192" y="305"/>
                    </a:lnTo>
                    <a:lnTo>
                      <a:pt x="192" y="307"/>
                    </a:lnTo>
                    <a:lnTo>
                      <a:pt x="192" y="305"/>
                    </a:lnTo>
                    <a:lnTo>
                      <a:pt x="192" y="307"/>
                    </a:lnTo>
                    <a:lnTo>
                      <a:pt x="192" y="305"/>
                    </a:lnTo>
                    <a:lnTo>
                      <a:pt x="192" y="307"/>
                    </a:lnTo>
                    <a:lnTo>
                      <a:pt x="190" y="307"/>
                    </a:lnTo>
                    <a:lnTo>
                      <a:pt x="192" y="307"/>
                    </a:lnTo>
                    <a:lnTo>
                      <a:pt x="190" y="309"/>
                    </a:lnTo>
                    <a:lnTo>
                      <a:pt x="190" y="311"/>
                    </a:lnTo>
                    <a:lnTo>
                      <a:pt x="190" y="309"/>
                    </a:lnTo>
                    <a:lnTo>
                      <a:pt x="190" y="307"/>
                    </a:lnTo>
                    <a:lnTo>
                      <a:pt x="188" y="307"/>
                    </a:lnTo>
                    <a:lnTo>
                      <a:pt x="190" y="305"/>
                    </a:lnTo>
                    <a:lnTo>
                      <a:pt x="190" y="303"/>
                    </a:lnTo>
                    <a:lnTo>
                      <a:pt x="188" y="303"/>
                    </a:lnTo>
                    <a:lnTo>
                      <a:pt x="190" y="303"/>
                    </a:lnTo>
                    <a:lnTo>
                      <a:pt x="190" y="305"/>
                    </a:lnTo>
                    <a:lnTo>
                      <a:pt x="188" y="307"/>
                    </a:lnTo>
                    <a:lnTo>
                      <a:pt x="188" y="305"/>
                    </a:lnTo>
                    <a:lnTo>
                      <a:pt x="188" y="307"/>
                    </a:lnTo>
                    <a:lnTo>
                      <a:pt x="190" y="307"/>
                    </a:lnTo>
                    <a:lnTo>
                      <a:pt x="190" y="309"/>
                    </a:lnTo>
                    <a:lnTo>
                      <a:pt x="190" y="307"/>
                    </a:lnTo>
                    <a:lnTo>
                      <a:pt x="190" y="309"/>
                    </a:lnTo>
                    <a:lnTo>
                      <a:pt x="190" y="311"/>
                    </a:lnTo>
                    <a:lnTo>
                      <a:pt x="190" y="313"/>
                    </a:lnTo>
                    <a:lnTo>
                      <a:pt x="188" y="313"/>
                    </a:lnTo>
                    <a:lnTo>
                      <a:pt x="188" y="315"/>
                    </a:lnTo>
                    <a:lnTo>
                      <a:pt x="188" y="319"/>
                    </a:lnTo>
                    <a:lnTo>
                      <a:pt x="188" y="321"/>
                    </a:lnTo>
                    <a:lnTo>
                      <a:pt x="190" y="321"/>
                    </a:lnTo>
                    <a:lnTo>
                      <a:pt x="190" y="322"/>
                    </a:lnTo>
                    <a:lnTo>
                      <a:pt x="190" y="324"/>
                    </a:lnTo>
                    <a:lnTo>
                      <a:pt x="190" y="326"/>
                    </a:lnTo>
                    <a:lnTo>
                      <a:pt x="192" y="326"/>
                    </a:lnTo>
                    <a:lnTo>
                      <a:pt x="192" y="328"/>
                    </a:lnTo>
                    <a:lnTo>
                      <a:pt x="194" y="328"/>
                    </a:lnTo>
                    <a:lnTo>
                      <a:pt x="194" y="330"/>
                    </a:lnTo>
                    <a:lnTo>
                      <a:pt x="196" y="330"/>
                    </a:lnTo>
                    <a:lnTo>
                      <a:pt x="196" y="332"/>
                    </a:lnTo>
                    <a:lnTo>
                      <a:pt x="196" y="334"/>
                    </a:lnTo>
                    <a:lnTo>
                      <a:pt x="196" y="336"/>
                    </a:lnTo>
                    <a:lnTo>
                      <a:pt x="196" y="338"/>
                    </a:lnTo>
                    <a:lnTo>
                      <a:pt x="196" y="340"/>
                    </a:lnTo>
                    <a:lnTo>
                      <a:pt x="196" y="342"/>
                    </a:lnTo>
                    <a:lnTo>
                      <a:pt x="198" y="344"/>
                    </a:lnTo>
                    <a:lnTo>
                      <a:pt x="198" y="346"/>
                    </a:lnTo>
                    <a:lnTo>
                      <a:pt x="198" y="347"/>
                    </a:lnTo>
                    <a:lnTo>
                      <a:pt x="198" y="351"/>
                    </a:lnTo>
                    <a:lnTo>
                      <a:pt x="200" y="353"/>
                    </a:lnTo>
                    <a:lnTo>
                      <a:pt x="200" y="357"/>
                    </a:lnTo>
                    <a:lnTo>
                      <a:pt x="200" y="359"/>
                    </a:lnTo>
                    <a:lnTo>
                      <a:pt x="200" y="361"/>
                    </a:lnTo>
                    <a:lnTo>
                      <a:pt x="202" y="361"/>
                    </a:lnTo>
                    <a:lnTo>
                      <a:pt x="202" y="363"/>
                    </a:lnTo>
                    <a:lnTo>
                      <a:pt x="202" y="365"/>
                    </a:lnTo>
                    <a:lnTo>
                      <a:pt x="204" y="371"/>
                    </a:lnTo>
                    <a:lnTo>
                      <a:pt x="204" y="372"/>
                    </a:lnTo>
                    <a:lnTo>
                      <a:pt x="204" y="374"/>
                    </a:lnTo>
                    <a:lnTo>
                      <a:pt x="204" y="376"/>
                    </a:lnTo>
                    <a:lnTo>
                      <a:pt x="206" y="376"/>
                    </a:lnTo>
                    <a:lnTo>
                      <a:pt x="206" y="378"/>
                    </a:lnTo>
                    <a:lnTo>
                      <a:pt x="206" y="380"/>
                    </a:lnTo>
                    <a:lnTo>
                      <a:pt x="206" y="382"/>
                    </a:lnTo>
                    <a:lnTo>
                      <a:pt x="206" y="384"/>
                    </a:lnTo>
                    <a:lnTo>
                      <a:pt x="208" y="384"/>
                    </a:lnTo>
                    <a:lnTo>
                      <a:pt x="208" y="386"/>
                    </a:lnTo>
                    <a:lnTo>
                      <a:pt x="208" y="384"/>
                    </a:lnTo>
                    <a:lnTo>
                      <a:pt x="206" y="384"/>
                    </a:lnTo>
                    <a:lnTo>
                      <a:pt x="208" y="386"/>
                    </a:lnTo>
                    <a:lnTo>
                      <a:pt x="208" y="388"/>
                    </a:lnTo>
                    <a:lnTo>
                      <a:pt x="208" y="390"/>
                    </a:lnTo>
                    <a:lnTo>
                      <a:pt x="208" y="392"/>
                    </a:lnTo>
                    <a:lnTo>
                      <a:pt x="210" y="392"/>
                    </a:lnTo>
                    <a:lnTo>
                      <a:pt x="210" y="394"/>
                    </a:lnTo>
                    <a:lnTo>
                      <a:pt x="210" y="396"/>
                    </a:lnTo>
                    <a:lnTo>
                      <a:pt x="212" y="397"/>
                    </a:lnTo>
                    <a:lnTo>
                      <a:pt x="212" y="399"/>
                    </a:lnTo>
                    <a:lnTo>
                      <a:pt x="213" y="401"/>
                    </a:lnTo>
                    <a:lnTo>
                      <a:pt x="213" y="403"/>
                    </a:lnTo>
                    <a:lnTo>
                      <a:pt x="213" y="405"/>
                    </a:lnTo>
                    <a:lnTo>
                      <a:pt x="215" y="405"/>
                    </a:lnTo>
                    <a:lnTo>
                      <a:pt x="215" y="407"/>
                    </a:lnTo>
                    <a:lnTo>
                      <a:pt x="217" y="409"/>
                    </a:lnTo>
                    <a:lnTo>
                      <a:pt x="219" y="411"/>
                    </a:lnTo>
                    <a:lnTo>
                      <a:pt x="219" y="413"/>
                    </a:lnTo>
                    <a:lnTo>
                      <a:pt x="221" y="415"/>
                    </a:lnTo>
                    <a:lnTo>
                      <a:pt x="223" y="415"/>
                    </a:lnTo>
                    <a:lnTo>
                      <a:pt x="225" y="417"/>
                    </a:lnTo>
                    <a:lnTo>
                      <a:pt x="225" y="419"/>
                    </a:lnTo>
                    <a:lnTo>
                      <a:pt x="227" y="421"/>
                    </a:lnTo>
                    <a:lnTo>
                      <a:pt x="229" y="421"/>
                    </a:lnTo>
                    <a:lnTo>
                      <a:pt x="231" y="422"/>
                    </a:lnTo>
                    <a:lnTo>
                      <a:pt x="231" y="424"/>
                    </a:lnTo>
                    <a:lnTo>
                      <a:pt x="233" y="424"/>
                    </a:lnTo>
                    <a:lnTo>
                      <a:pt x="235" y="426"/>
                    </a:lnTo>
                    <a:lnTo>
                      <a:pt x="237" y="426"/>
                    </a:lnTo>
                    <a:lnTo>
                      <a:pt x="235" y="426"/>
                    </a:lnTo>
                    <a:lnTo>
                      <a:pt x="235" y="428"/>
                    </a:lnTo>
                    <a:lnTo>
                      <a:pt x="237" y="428"/>
                    </a:lnTo>
                    <a:lnTo>
                      <a:pt x="237" y="426"/>
                    </a:lnTo>
                    <a:lnTo>
                      <a:pt x="237" y="428"/>
                    </a:lnTo>
                    <a:lnTo>
                      <a:pt x="237" y="426"/>
                    </a:lnTo>
                    <a:lnTo>
                      <a:pt x="238" y="426"/>
                    </a:lnTo>
                    <a:lnTo>
                      <a:pt x="240" y="426"/>
                    </a:lnTo>
                    <a:lnTo>
                      <a:pt x="242" y="428"/>
                    </a:lnTo>
                    <a:lnTo>
                      <a:pt x="244" y="428"/>
                    </a:lnTo>
                    <a:lnTo>
                      <a:pt x="246" y="428"/>
                    </a:lnTo>
                    <a:lnTo>
                      <a:pt x="246" y="430"/>
                    </a:lnTo>
                    <a:lnTo>
                      <a:pt x="248" y="430"/>
                    </a:lnTo>
                    <a:lnTo>
                      <a:pt x="248" y="432"/>
                    </a:lnTo>
                    <a:lnTo>
                      <a:pt x="250" y="432"/>
                    </a:lnTo>
                    <a:lnTo>
                      <a:pt x="252" y="432"/>
                    </a:lnTo>
                    <a:lnTo>
                      <a:pt x="252" y="434"/>
                    </a:lnTo>
                    <a:lnTo>
                      <a:pt x="252" y="436"/>
                    </a:lnTo>
                    <a:lnTo>
                      <a:pt x="254" y="436"/>
                    </a:lnTo>
                    <a:lnTo>
                      <a:pt x="254" y="438"/>
                    </a:lnTo>
                    <a:lnTo>
                      <a:pt x="256" y="438"/>
                    </a:lnTo>
                    <a:lnTo>
                      <a:pt x="256" y="440"/>
                    </a:lnTo>
                    <a:lnTo>
                      <a:pt x="256" y="442"/>
                    </a:lnTo>
                    <a:lnTo>
                      <a:pt x="258" y="442"/>
                    </a:lnTo>
                    <a:lnTo>
                      <a:pt x="256" y="442"/>
                    </a:lnTo>
                    <a:lnTo>
                      <a:pt x="256" y="444"/>
                    </a:lnTo>
                    <a:lnTo>
                      <a:pt x="258" y="444"/>
                    </a:lnTo>
                    <a:lnTo>
                      <a:pt x="258" y="446"/>
                    </a:lnTo>
                    <a:lnTo>
                      <a:pt x="260" y="446"/>
                    </a:lnTo>
                    <a:lnTo>
                      <a:pt x="260" y="447"/>
                    </a:lnTo>
                    <a:lnTo>
                      <a:pt x="261" y="447"/>
                    </a:lnTo>
                    <a:lnTo>
                      <a:pt x="261" y="449"/>
                    </a:lnTo>
                    <a:lnTo>
                      <a:pt x="263" y="449"/>
                    </a:lnTo>
                    <a:lnTo>
                      <a:pt x="265" y="451"/>
                    </a:lnTo>
                    <a:lnTo>
                      <a:pt x="265" y="453"/>
                    </a:lnTo>
                    <a:lnTo>
                      <a:pt x="267" y="453"/>
                    </a:lnTo>
                    <a:lnTo>
                      <a:pt x="267" y="455"/>
                    </a:lnTo>
                    <a:lnTo>
                      <a:pt x="265" y="455"/>
                    </a:lnTo>
                    <a:lnTo>
                      <a:pt x="267" y="455"/>
                    </a:lnTo>
                    <a:lnTo>
                      <a:pt x="269" y="455"/>
                    </a:lnTo>
                    <a:lnTo>
                      <a:pt x="267" y="453"/>
                    </a:lnTo>
                    <a:lnTo>
                      <a:pt x="269" y="453"/>
                    </a:lnTo>
                    <a:lnTo>
                      <a:pt x="269" y="455"/>
                    </a:lnTo>
                    <a:lnTo>
                      <a:pt x="269" y="457"/>
                    </a:lnTo>
                    <a:lnTo>
                      <a:pt x="269" y="455"/>
                    </a:lnTo>
                    <a:lnTo>
                      <a:pt x="267" y="455"/>
                    </a:lnTo>
                    <a:lnTo>
                      <a:pt x="267" y="457"/>
                    </a:lnTo>
                    <a:lnTo>
                      <a:pt x="267" y="459"/>
                    </a:lnTo>
                    <a:lnTo>
                      <a:pt x="269" y="459"/>
                    </a:lnTo>
                    <a:lnTo>
                      <a:pt x="271" y="459"/>
                    </a:lnTo>
                    <a:lnTo>
                      <a:pt x="271" y="461"/>
                    </a:lnTo>
                    <a:lnTo>
                      <a:pt x="271" y="463"/>
                    </a:lnTo>
                    <a:lnTo>
                      <a:pt x="273" y="463"/>
                    </a:lnTo>
                    <a:lnTo>
                      <a:pt x="275" y="463"/>
                    </a:lnTo>
                    <a:lnTo>
                      <a:pt x="277" y="463"/>
                    </a:lnTo>
                    <a:lnTo>
                      <a:pt x="277" y="461"/>
                    </a:lnTo>
                    <a:lnTo>
                      <a:pt x="277" y="463"/>
                    </a:lnTo>
                    <a:lnTo>
                      <a:pt x="277" y="461"/>
                    </a:lnTo>
                    <a:lnTo>
                      <a:pt x="279" y="461"/>
                    </a:lnTo>
                    <a:lnTo>
                      <a:pt x="281" y="461"/>
                    </a:lnTo>
                    <a:lnTo>
                      <a:pt x="281" y="463"/>
                    </a:lnTo>
                    <a:lnTo>
                      <a:pt x="283" y="461"/>
                    </a:lnTo>
                    <a:lnTo>
                      <a:pt x="281" y="459"/>
                    </a:lnTo>
                    <a:lnTo>
                      <a:pt x="279" y="457"/>
                    </a:lnTo>
                    <a:lnTo>
                      <a:pt x="277" y="459"/>
                    </a:lnTo>
                    <a:lnTo>
                      <a:pt x="277" y="457"/>
                    </a:lnTo>
                    <a:lnTo>
                      <a:pt x="275" y="457"/>
                    </a:lnTo>
                    <a:lnTo>
                      <a:pt x="277" y="457"/>
                    </a:lnTo>
                    <a:lnTo>
                      <a:pt x="275" y="457"/>
                    </a:lnTo>
                    <a:lnTo>
                      <a:pt x="275" y="459"/>
                    </a:lnTo>
                    <a:lnTo>
                      <a:pt x="273" y="457"/>
                    </a:lnTo>
                    <a:lnTo>
                      <a:pt x="273" y="459"/>
                    </a:lnTo>
                    <a:lnTo>
                      <a:pt x="271" y="459"/>
                    </a:lnTo>
                    <a:lnTo>
                      <a:pt x="271" y="457"/>
                    </a:lnTo>
                    <a:lnTo>
                      <a:pt x="271" y="455"/>
                    </a:lnTo>
                    <a:lnTo>
                      <a:pt x="269" y="455"/>
                    </a:lnTo>
                    <a:lnTo>
                      <a:pt x="271" y="455"/>
                    </a:lnTo>
                    <a:lnTo>
                      <a:pt x="273" y="455"/>
                    </a:lnTo>
                    <a:lnTo>
                      <a:pt x="275" y="455"/>
                    </a:lnTo>
                    <a:lnTo>
                      <a:pt x="277" y="455"/>
                    </a:lnTo>
                    <a:lnTo>
                      <a:pt x="279" y="455"/>
                    </a:lnTo>
                    <a:lnTo>
                      <a:pt x="281" y="453"/>
                    </a:lnTo>
                    <a:lnTo>
                      <a:pt x="281" y="451"/>
                    </a:lnTo>
                    <a:lnTo>
                      <a:pt x="279" y="451"/>
                    </a:lnTo>
                    <a:lnTo>
                      <a:pt x="279" y="449"/>
                    </a:lnTo>
                    <a:lnTo>
                      <a:pt x="281" y="449"/>
                    </a:lnTo>
                    <a:lnTo>
                      <a:pt x="281" y="451"/>
                    </a:lnTo>
                    <a:lnTo>
                      <a:pt x="283" y="451"/>
                    </a:lnTo>
                    <a:lnTo>
                      <a:pt x="283" y="453"/>
                    </a:lnTo>
                    <a:lnTo>
                      <a:pt x="283" y="455"/>
                    </a:lnTo>
                    <a:lnTo>
                      <a:pt x="285" y="455"/>
                    </a:lnTo>
                    <a:lnTo>
                      <a:pt x="285" y="457"/>
                    </a:lnTo>
                    <a:lnTo>
                      <a:pt x="286" y="457"/>
                    </a:lnTo>
                    <a:lnTo>
                      <a:pt x="286" y="459"/>
                    </a:lnTo>
                    <a:lnTo>
                      <a:pt x="288" y="461"/>
                    </a:lnTo>
                    <a:lnTo>
                      <a:pt x="288" y="463"/>
                    </a:lnTo>
                    <a:lnTo>
                      <a:pt x="290" y="463"/>
                    </a:lnTo>
                    <a:lnTo>
                      <a:pt x="290" y="465"/>
                    </a:lnTo>
                    <a:lnTo>
                      <a:pt x="292" y="467"/>
                    </a:lnTo>
                    <a:lnTo>
                      <a:pt x="292" y="469"/>
                    </a:lnTo>
                    <a:lnTo>
                      <a:pt x="294" y="469"/>
                    </a:lnTo>
                    <a:lnTo>
                      <a:pt x="294" y="471"/>
                    </a:lnTo>
                    <a:lnTo>
                      <a:pt x="296" y="472"/>
                    </a:lnTo>
                    <a:lnTo>
                      <a:pt x="298" y="472"/>
                    </a:lnTo>
                    <a:lnTo>
                      <a:pt x="298" y="474"/>
                    </a:lnTo>
                    <a:lnTo>
                      <a:pt x="298" y="476"/>
                    </a:lnTo>
                    <a:lnTo>
                      <a:pt x="298" y="474"/>
                    </a:lnTo>
                    <a:lnTo>
                      <a:pt x="300" y="476"/>
                    </a:lnTo>
                    <a:lnTo>
                      <a:pt x="300" y="474"/>
                    </a:lnTo>
                    <a:lnTo>
                      <a:pt x="300" y="476"/>
                    </a:lnTo>
                    <a:lnTo>
                      <a:pt x="302" y="476"/>
                    </a:lnTo>
                    <a:lnTo>
                      <a:pt x="300" y="476"/>
                    </a:lnTo>
                    <a:lnTo>
                      <a:pt x="300" y="478"/>
                    </a:lnTo>
                    <a:lnTo>
                      <a:pt x="300" y="480"/>
                    </a:lnTo>
                    <a:lnTo>
                      <a:pt x="302" y="480"/>
                    </a:lnTo>
                    <a:lnTo>
                      <a:pt x="302" y="482"/>
                    </a:lnTo>
                    <a:lnTo>
                      <a:pt x="300" y="482"/>
                    </a:lnTo>
                    <a:lnTo>
                      <a:pt x="300" y="484"/>
                    </a:lnTo>
                    <a:lnTo>
                      <a:pt x="302" y="484"/>
                    </a:lnTo>
                    <a:lnTo>
                      <a:pt x="302" y="486"/>
                    </a:lnTo>
                    <a:lnTo>
                      <a:pt x="302" y="488"/>
                    </a:lnTo>
                    <a:lnTo>
                      <a:pt x="302" y="490"/>
                    </a:lnTo>
                    <a:lnTo>
                      <a:pt x="302" y="492"/>
                    </a:lnTo>
                    <a:lnTo>
                      <a:pt x="304" y="494"/>
                    </a:lnTo>
                    <a:lnTo>
                      <a:pt x="304" y="496"/>
                    </a:lnTo>
                    <a:lnTo>
                      <a:pt x="306" y="496"/>
                    </a:lnTo>
                    <a:lnTo>
                      <a:pt x="306" y="497"/>
                    </a:lnTo>
                    <a:lnTo>
                      <a:pt x="306" y="499"/>
                    </a:lnTo>
                    <a:lnTo>
                      <a:pt x="306" y="497"/>
                    </a:lnTo>
                    <a:lnTo>
                      <a:pt x="306" y="499"/>
                    </a:lnTo>
                    <a:lnTo>
                      <a:pt x="306" y="501"/>
                    </a:lnTo>
                    <a:lnTo>
                      <a:pt x="304" y="499"/>
                    </a:lnTo>
                    <a:lnTo>
                      <a:pt x="304" y="497"/>
                    </a:lnTo>
                    <a:lnTo>
                      <a:pt x="302" y="497"/>
                    </a:lnTo>
                    <a:lnTo>
                      <a:pt x="302" y="496"/>
                    </a:lnTo>
                    <a:lnTo>
                      <a:pt x="302" y="494"/>
                    </a:lnTo>
                    <a:lnTo>
                      <a:pt x="300" y="494"/>
                    </a:lnTo>
                    <a:lnTo>
                      <a:pt x="300" y="492"/>
                    </a:lnTo>
                    <a:lnTo>
                      <a:pt x="300" y="490"/>
                    </a:lnTo>
                    <a:lnTo>
                      <a:pt x="298" y="488"/>
                    </a:lnTo>
                    <a:lnTo>
                      <a:pt x="298" y="486"/>
                    </a:lnTo>
                    <a:lnTo>
                      <a:pt x="296" y="486"/>
                    </a:lnTo>
                    <a:lnTo>
                      <a:pt x="294" y="484"/>
                    </a:lnTo>
                    <a:lnTo>
                      <a:pt x="294" y="482"/>
                    </a:lnTo>
                    <a:lnTo>
                      <a:pt x="292" y="482"/>
                    </a:lnTo>
                    <a:lnTo>
                      <a:pt x="290" y="480"/>
                    </a:lnTo>
                    <a:lnTo>
                      <a:pt x="290" y="478"/>
                    </a:lnTo>
                    <a:lnTo>
                      <a:pt x="288" y="478"/>
                    </a:lnTo>
                    <a:lnTo>
                      <a:pt x="288" y="476"/>
                    </a:lnTo>
                    <a:lnTo>
                      <a:pt x="288" y="474"/>
                    </a:lnTo>
                    <a:lnTo>
                      <a:pt x="286" y="474"/>
                    </a:lnTo>
                    <a:lnTo>
                      <a:pt x="286" y="472"/>
                    </a:lnTo>
                    <a:lnTo>
                      <a:pt x="286" y="474"/>
                    </a:lnTo>
                    <a:lnTo>
                      <a:pt x="286" y="472"/>
                    </a:lnTo>
                    <a:lnTo>
                      <a:pt x="286" y="474"/>
                    </a:lnTo>
                    <a:lnTo>
                      <a:pt x="288" y="474"/>
                    </a:lnTo>
                    <a:lnTo>
                      <a:pt x="288" y="472"/>
                    </a:lnTo>
                    <a:lnTo>
                      <a:pt x="288" y="471"/>
                    </a:lnTo>
                    <a:lnTo>
                      <a:pt x="286" y="471"/>
                    </a:lnTo>
                    <a:lnTo>
                      <a:pt x="286" y="469"/>
                    </a:lnTo>
                    <a:lnTo>
                      <a:pt x="285" y="469"/>
                    </a:lnTo>
                    <a:lnTo>
                      <a:pt x="285" y="471"/>
                    </a:lnTo>
                    <a:lnTo>
                      <a:pt x="283" y="471"/>
                    </a:lnTo>
                    <a:lnTo>
                      <a:pt x="283" y="472"/>
                    </a:lnTo>
                    <a:lnTo>
                      <a:pt x="283" y="471"/>
                    </a:lnTo>
                    <a:lnTo>
                      <a:pt x="283" y="472"/>
                    </a:lnTo>
                    <a:lnTo>
                      <a:pt x="285" y="472"/>
                    </a:lnTo>
                    <a:lnTo>
                      <a:pt x="286" y="472"/>
                    </a:lnTo>
                    <a:lnTo>
                      <a:pt x="286" y="474"/>
                    </a:lnTo>
                    <a:lnTo>
                      <a:pt x="285" y="472"/>
                    </a:lnTo>
                    <a:lnTo>
                      <a:pt x="283" y="472"/>
                    </a:lnTo>
                    <a:lnTo>
                      <a:pt x="281" y="471"/>
                    </a:lnTo>
                    <a:lnTo>
                      <a:pt x="279" y="471"/>
                    </a:lnTo>
                    <a:lnTo>
                      <a:pt x="277" y="471"/>
                    </a:lnTo>
                    <a:lnTo>
                      <a:pt x="275" y="472"/>
                    </a:lnTo>
                    <a:lnTo>
                      <a:pt x="273" y="472"/>
                    </a:lnTo>
                    <a:lnTo>
                      <a:pt x="271" y="472"/>
                    </a:lnTo>
                    <a:lnTo>
                      <a:pt x="271" y="474"/>
                    </a:lnTo>
                    <a:lnTo>
                      <a:pt x="269" y="474"/>
                    </a:lnTo>
                    <a:lnTo>
                      <a:pt x="267" y="474"/>
                    </a:lnTo>
                    <a:lnTo>
                      <a:pt x="265" y="476"/>
                    </a:lnTo>
                    <a:lnTo>
                      <a:pt x="263" y="478"/>
                    </a:lnTo>
                    <a:lnTo>
                      <a:pt x="263" y="476"/>
                    </a:lnTo>
                    <a:lnTo>
                      <a:pt x="261" y="476"/>
                    </a:lnTo>
                    <a:lnTo>
                      <a:pt x="261" y="474"/>
                    </a:lnTo>
                    <a:lnTo>
                      <a:pt x="261" y="472"/>
                    </a:lnTo>
                    <a:lnTo>
                      <a:pt x="260" y="472"/>
                    </a:lnTo>
                    <a:lnTo>
                      <a:pt x="260" y="471"/>
                    </a:lnTo>
                    <a:lnTo>
                      <a:pt x="258" y="471"/>
                    </a:lnTo>
                    <a:lnTo>
                      <a:pt x="258" y="469"/>
                    </a:lnTo>
                    <a:lnTo>
                      <a:pt x="258" y="471"/>
                    </a:lnTo>
                    <a:lnTo>
                      <a:pt x="258" y="469"/>
                    </a:lnTo>
                    <a:lnTo>
                      <a:pt x="258" y="471"/>
                    </a:lnTo>
                    <a:lnTo>
                      <a:pt x="256" y="471"/>
                    </a:lnTo>
                    <a:lnTo>
                      <a:pt x="258" y="471"/>
                    </a:lnTo>
                    <a:lnTo>
                      <a:pt x="256" y="471"/>
                    </a:lnTo>
                    <a:lnTo>
                      <a:pt x="258" y="471"/>
                    </a:lnTo>
                    <a:lnTo>
                      <a:pt x="256" y="472"/>
                    </a:lnTo>
                    <a:lnTo>
                      <a:pt x="254" y="472"/>
                    </a:lnTo>
                    <a:lnTo>
                      <a:pt x="254" y="474"/>
                    </a:lnTo>
                    <a:lnTo>
                      <a:pt x="252" y="474"/>
                    </a:lnTo>
                    <a:lnTo>
                      <a:pt x="252" y="476"/>
                    </a:lnTo>
                    <a:lnTo>
                      <a:pt x="252" y="478"/>
                    </a:lnTo>
                    <a:lnTo>
                      <a:pt x="252" y="480"/>
                    </a:lnTo>
                    <a:lnTo>
                      <a:pt x="252" y="482"/>
                    </a:lnTo>
                    <a:lnTo>
                      <a:pt x="252" y="484"/>
                    </a:lnTo>
                    <a:lnTo>
                      <a:pt x="252" y="486"/>
                    </a:lnTo>
                    <a:lnTo>
                      <a:pt x="252" y="488"/>
                    </a:lnTo>
                    <a:lnTo>
                      <a:pt x="254" y="490"/>
                    </a:lnTo>
                    <a:lnTo>
                      <a:pt x="254" y="494"/>
                    </a:lnTo>
                    <a:lnTo>
                      <a:pt x="254" y="497"/>
                    </a:lnTo>
                    <a:lnTo>
                      <a:pt x="254" y="499"/>
                    </a:lnTo>
                    <a:lnTo>
                      <a:pt x="256" y="499"/>
                    </a:lnTo>
                    <a:lnTo>
                      <a:pt x="256" y="501"/>
                    </a:lnTo>
                    <a:lnTo>
                      <a:pt x="256" y="503"/>
                    </a:lnTo>
                    <a:lnTo>
                      <a:pt x="256" y="505"/>
                    </a:lnTo>
                    <a:lnTo>
                      <a:pt x="256" y="507"/>
                    </a:lnTo>
                    <a:lnTo>
                      <a:pt x="258" y="509"/>
                    </a:lnTo>
                    <a:lnTo>
                      <a:pt x="258" y="511"/>
                    </a:lnTo>
                    <a:lnTo>
                      <a:pt x="260" y="511"/>
                    </a:lnTo>
                    <a:lnTo>
                      <a:pt x="260" y="513"/>
                    </a:lnTo>
                    <a:lnTo>
                      <a:pt x="260" y="515"/>
                    </a:lnTo>
                    <a:lnTo>
                      <a:pt x="260" y="517"/>
                    </a:lnTo>
                    <a:lnTo>
                      <a:pt x="260" y="519"/>
                    </a:lnTo>
                    <a:lnTo>
                      <a:pt x="260" y="521"/>
                    </a:lnTo>
                    <a:lnTo>
                      <a:pt x="261" y="521"/>
                    </a:lnTo>
                    <a:lnTo>
                      <a:pt x="261" y="522"/>
                    </a:lnTo>
                    <a:lnTo>
                      <a:pt x="261" y="524"/>
                    </a:lnTo>
                    <a:lnTo>
                      <a:pt x="261" y="526"/>
                    </a:lnTo>
                    <a:lnTo>
                      <a:pt x="260" y="528"/>
                    </a:lnTo>
                    <a:lnTo>
                      <a:pt x="261" y="530"/>
                    </a:lnTo>
                    <a:lnTo>
                      <a:pt x="261" y="532"/>
                    </a:lnTo>
                    <a:lnTo>
                      <a:pt x="261" y="534"/>
                    </a:lnTo>
                    <a:lnTo>
                      <a:pt x="263" y="534"/>
                    </a:lnTo>
                    <a:lnTo>
                      <a:pt x="261" y="534"/>
                    </a:lnTo>
                    <a:lnTo>
                      <a:pt x="260" y="534"/>
                    </a:lnTo>
                    <a:lnTo>
                      <a:pt x="260" y="532"/>
                    </a:lnTo>
                    <a:lnTo>
                      <a:pt x="258" y="532"/>
                    </a:lnTo>
                    <a:lnTo>
                      <a:pt x="258" y="530"/>
                    </a:lnTo>
                    <a:lnTo>
                      <a:pt x="256" y="530"/>
                    </a:lnTo>
                    <a:lnTo>
                      <a:pt x="256" y="528"/>
                    </a:lnTo>
                    <a:lnTo>
                      <a:pt x="254" y="528"/>
                    </a:lnTo>
                    <a:lnTo>
                      <a:pt x="252" y="528"/>
                    </a:lnTo>
                    <a:lnTo>
                      <a:pt x="252" y="526"/>
                    </a:lnTo>
                    <a:lnTo>
                      <a:pt x="252" y="524"/>
                    </a:lnTo>
                    <a:lnTo>
                      <a:pt x="250" y="524"/>
                    </a:lnTo>
                    <a:lnTo>
                      <a:pt x="250" y="522"/>
                    </a:lnTo>
                    <a:lnTo>
                      <a:pt x="248" y="521"/>
                    </a:lnTo>
                    <a:lnTo>
                      <a:pt x="246" y="519"/>
                    </a:lnTo>
                    <a:lnTo>
                      <a:pt x="246" y="517"/>
                    </a:lnTo>
                    <a:lnTo>
                      <a:pt x="244" y="517"/>
                    </a:lnTo>
                    <a:lnTo>
                      <a:pt x="244" y="515"/>
                    </a:lnTo>
                    <a:lnTo>
                      <a:pt x="244" y="513"/>
                    </a:lnTo>
                    <a:lnTo>
                      <a:pt x="242" y="513"/>
                    </a:lnTo>
                    <a:lnTo>
                      <a:pt x="242" y="511"/>
                    </a:lnTo>
                    <a:lnTo>
                      <a:pt x="240" y="509"/>
                    </a:lnTo>
                    <a:lnTo>
                      <a:pt x="240" y="507"/>
                    </a:lnTo>
                    <a:lnTo>
                      <a:pt x="238" y="507"/>
                    </a:lnTo>
                    <a:lnTo>
                      <a:pt x="238" y="505"/>
                    </a:lnTo>
                    <a:lnTo>
                      <a:pt x="237" y="505"/>
                    </a:lnTo>
                    <a:lnTo>
                      <a:pt x="237" y="503"/>
                    </a:lnTo>
                    <a:lnTo>
                      <a:pt x="235" y="503"/>
                    </a:lnTo>
                    <a:lnTo>
                      <a:pt x="235" y="501"/>
                    </a:lnTo>
                    <a:lnTo>
                      <a:pt x="233" y="499"/>
                    </a:lnTo>
                    <a:lnTo>
                      <a:pt x="233" y="497"/>
                    </a:lnTo>
                    <a:lnTo>
                      <a:pt x="231" y="497"/>
                    </a:lnTo>
                    <a:lnTo>
                      <a:pt x="231" y="496"/>
                    </a:lnTo>
                    <a:lnTo>
                      <a:pt x="231" y="494"/>
                    </a:lnTo>
                    <a:lnTo>
                      <a:pt x="231" y="492"/>
                    </a:lnTo>
                    <a:lnTo>
                      <a:pt x="231" y="490"/>
                    </a:lnTo>
                    <a:lnTo>
                      <a:pt x="229" y="490"/>
                    </a:lnTo>
                    <a:lnTo>
                      <a:pt x="229" y="488"/>
                    </a:lnTo>
                    <a:lnTo>
                      <a:pt x="229" y="486"/>
                    </a:lnTo>
                    <a:lnTo>
                      <a:pt x="229" y="484"/>
                    </a:lnTo>
                    <a:lnTo>
                      <a:pt x="229" y="482"/>
                    </a:lnTo>
                    <a:lnTo>
                      <a:pt x="227" y="480"/>
                    </a:lnTo>
                    <a:lnTo>
                      <a:pt x="227" y="478"/>
                    </a:lnTo>
                    <a:lnTo>
                      <a:pt x="227" y="476"/>
                    </a:lnTo>
                    <a:lnTo>
                      <a:pt x="227" y="474"/>
                    </a:lnTo>
                    <a:lnTo>
                      <a:pt x="227" y="472"/>
                    </a:lnTo>
                    <a:lnTo>
                      <a:pt x="227" y="471"/>
                    </a:lnTo>
                    <a:lnTo>
                      <a:pt x="225" y="469"/>
                    </a:lnTo>
                    <a:lnTo>
                      <a:pt x="225" y="467"/>
                    </a:lnTo>
                    <a:lnTo>
                      <a:pt x="225" y="465"/>
                    </a:lnTo>
                    <a:lnTo>
                      <a:pt x="225" y="463"/>
                    </a:lnTo>
                    <a:lnTo>
                      <a:pt x="223" y="463"/>
                    </a:lnTo>
                    <a:lnTo>
                      <a:pt x="223" y="461"/>
                    </a:lnTo>
                    <a:lnTo>
                      <a:pt x="223" y="459"/>
                    </a:lnTo>
                    <a:lnTo>
                      <a:pt x="221" y="457"/>
                    </a:lnTo>
                    <a:lnTo>
                      <a:pt x="221" y="455"/>
                    </a:lnTo>
                    <a:lnTo>
                      <a:pt x="219" y="455"/>
                    </a:lnTo>
                    <a:lnTo>
                      <a:pt x="219" y="453"/>
                    </a:lnTo>
                    <a:lnTo>
                      <a:pt x="217" y="453"/>
                    </a:lnTo>
                    <a:lnTo>
                      <a:pt x="217" y="451"/>
                    </a:lnTo>
                    <a:lnTo>
                      <a:pt x="215" y="451"/>
                    </a:lnTo>
                    <a:lnTo>
                      <a:pt x="215" y="449"/>
                    </a:lnTo>
                    <a:lnTo>
                      <a:pt x="213" y="449"/>
                    </a:lnTo>
                    <a:lnTo>
                      <a:pt x="213" y="447"/>
                    </a:lnTo>
                    <a:lnTo>
                      <a:pt x="213" y="446"/>
                    </a:lnTo>
                    <a:lnTo>
                      <a:pt x="213" y="444"/>
                    </a:lnTo>
                    <a:lnTo>
                      <a:pt x="212" y="444"/>
                    </a:lnTo>
                    <a:lnTo>
                      <a:pt x="210" y="442"/>
                    </a:lnTo>
                    <a:lnTo>
                      <a:pt x="210" y="440"/>
                    </a:lnTo>
                    <a:lnTo>
                      <a:pt x="208" y="440"/>
                    </a:lnTo>
                    <a:lnTo>
                      <a:pt x="208" y="438"/>
                    </a:lnTo>
                    <a:lnTo>
                      <a:pt x="206" y="436"/>
                    </a:lnTo>
                    <a:lnTo>
                      <a:pt x="206" y="434"/>
                    </a:lnTo>
                    <a:lnTo>
                      <a:pt x="206" y="432"/>
                    </a:lnTo>
                    <a:lnTo>
                      <a:pt x="204" y="432"/>
                    </a:lnTo>
                    <a:lnTo>
                      <a:pt x="204" y="430"/>
                    </a:lnTo>
                    <a:lnTo>
                      <a:pt x="204" y="428"/>
                    </a:lnTo>
                    <a:lnTo>
                      <a:pt x="204" y="426"/>
                    </a:lnTo>
                    <a:lnTo>
                      <a:pt x="202" y="424"/>
                    </a:lnTo>
                    <a:lnTo>
                      <a:pt x="202" y="422"/>
                    </a:lnTo>
                    <a:lnTo>
                      <a:pt x="202" y="421"/>
                    </a:lnTo>
                    <a:lnTo>
                      <a:pt x="202" y="419"/>
                    </a:lnTo>
                    <a:lnTo>
                      <a:pt x="202" y="417"/>
                    </a:lnTo>
                    <a:lnTo>
                      <a:pt x="202" y="415"/>
                    </a:lnTo>
                    <a:lnTo>
                      <a:pt x="200" y="415"/>
                    </a:lnTo>
                    <a:lnTo>
                      <a:pt x="200" y="413"/>
                    </a:lnTo>
                    <a:lnTo>
                      <a:pt x="200" y="411"/>
                    </a:lnTo>
                    <a:lnTo>
                      <a:pt x="200" y="407"/>
                    </a:lnTo>
                    <a:lnTo>
                      <a:pt x="200" y="405"/>
                    </a:lnTo>
                    <a:lnTo>
                      <a:pt x="200" y="403"/>
                    </a:lnTo>
                    <a:lnTo>
                      <a:pt x="198" y="401"/>
                    </a:lnTo>
                    <a:lnTo>
                      <a:pt x="196" y="399"/>
                    </a:lnTo>
                    <a:lnTo>
                      <a:pt x="196" y="397"/>
                    </a:lnTo>
                    <a:lnTo>
                      <a:pt x="194" y="396"/>
                    </a:lnTo>
                    <a:lnTo>
                      <a:pt x="194" y="394"/>
                    </a:lnTo>
                    <a:lnTo>
                      <a:pt x="192" y="394"/>
                    </a:lnTo>
                    <a:lnTo>
                      <a:pt x="192" y="392"/>
                    </a:lnTo>
                    <a:lnTo>
                      <a:pt x="192" y="390"/>
                    </a:lnTo>
                    <a:lnTo>
                      <a:pt x="190" y="390"/>
                    </a:lnTo>
                    <a:lnTo>
                      <a:pt x="190" y="388"/>
                    </a:lnTo>
                    <a:lnTo>
                      <a:pt x="188" y="388"/>
                    </a:lnTo>
                    <a:lnTo>
                      <a:pt x="188" y="386"/>
                    </a:lnTo>
                    <a:lnTo>
                      <a:pt x="188" y="384"/>
                    </a:lnTo>
                    <a:lnTo>
                      <a:pt x="187" y="382"/>
                    </a:lnTo>
                    <a:lnTo>
                      <a:pt x="185" y="380"/>
                    </a:lnTo>
                    <a:lnTo>
                      <a:pt x="183" y="378"/>
                    </a:lnTo>
                    <a:lnTo>
                      <a:pt x="183" y="380"/>
                    </a:lnTo>
                    <a:lnTo>
                      <a:pt x="185" y="380"/>
                    </a:lnTo>
                    <a:lnTo>
                      <a:pt x="183" y="378"/>
                    </a:lnTo>
                    <a:lnTo>
                      <a:pt x="181" y="376"/>
                    </a:lnTo>
                    <a:lnTo>
                      <a:pt x="181" y="374"/>
                    </a:lnTo>
                    <a:lnTo>
                      <a:pt x="181" y="372"/>
                    </a:lnTo>
                    <a:lnTo>
                      <a:pt x="181" y="374"/>
                    </a:lnTo>
                    <a:lnTo>
                      <a:pt x="179" y="372"/>
                    </a:lnTo>
                    <a:lnTo>
                      <a:pt x="181" y="374"/>
                    </a:lnTo>
                    <a:lnTo>
                      <a:pt x="179" y="374"/>
                    </a:lnTo>
                    <a:lnTo>
                      <a:pt x="179" y="372"/>
                    </a:lnTo>
                    <a:lnTo>
                      <a:pt x="177" y="372"/>
                    </a:lnTo>
                    <a:lnTo>
                      <a:pt x="177" y="371"/>
                    </a:lnTo>
                    <a:lnTo>
                      <a:pt x="177" y="372"/>
                    </a:lnTo>
                    <a:lnTo>
                      <a:pt x="177" y="371"/>
                    </a:lnTo>
                    <a:lnTo>
                      <a:pt x="177" y="372"/>
                    </a:lnTo>
                    <a:lnTo>
                      <a:pt x="177" y="374"/>
                    </a:lnTo>
                    <a:lnTo>
                      <a:pt x="179" y="374"/>
                    </a:lnTo>
                    <a:lnTo>
                      <a:pt x="181" y="376"/>
                    </a:lnTo>
                    <a:lnTo>
                      <a:pt x="183" y="378"/>
                    </a:lnTo>
                    <a:lnTo>
                      <a:pt x="181" y="378"/>
                    </a:lnTo>
                    <a:lnTo>
                      <a:pt x="181" y="376"/>
                    </a:lnTo>
                    <a:lnTo>
                      <a:pt x="179" y="376"/>
                    </a:lnTo>
                    <a:lnTo>
                      <a:pt x="175" y="374"/>
                    </a:lnTo>
                    <a:lnTo>
                      <a:pt x="173" y="372"/>
                    </a:lnTo>
                    <a:lnTo>
                      <a:pt x="171" y="371"/>
                    </a:lnTo>
                    <a:lnTo>
                      <a:pt x="169" y="369"/>
                    </a:lnTo>
                    <a:lnTo>
                      <a:pt x="167" y="367"/>
                    </a:lnTo>
                    <a:lnTo>
                      <a:pt x="165" y="367"/>
                    </a:lnTo>
                    <a:lnTo>
                      <a:pt x="165" y="365"/>
                    </a:lnTo>
                    <a:lnTo>
                      <a:pt x="165" y="363"/>
                    </a:lnTo>
                    <a:lnTo>
                      <a:pt x="164" y="363"/>
                    </a:lnTo>
                    <a:lnTo>
                      <a:pt x="164" y="361"/>
                    </a:lnTo>
                    <a:lnTo>
                      <a:pt x="162" y="361"/>
                    </a:lnTo>
                    <a:lnTo>
                      <a:pt x="162" y="359"/>
                    </a:lnTo>
                    <a:lnTo>
                      <a:pt x="162" y="357"/>
                    </a:lnTo>
                    <a:lnTo>
                      <a:pt x="164" y="357"/>
                    </a:lnTo>
                    <a:lnTo>
                      <a:pt x="164" y="355"/>
                    </a:lnTo>
                    <a:lnTo>
                      <a:pt x="162" y="355"/>
                    </a:lnTo>
                    <a:lnTo>
                      <a:pt x="164" y="355"/>
                    </a:lnTo>
                    <a:lnTo>
                      <a:pt x="164" y="353"/>
                    </a:lnTo>
                    <a:lnTo>
                      <a:pt x="164" y="351"/>
                    </a:lnTo>
                    <a:lnTo>
                      <a:pt x="162" y="351"/>
                    </a:lnTo>
                    <a:lnTo>
                      <a:pt x="162" y="349"/>
                    </a:lnTo>
                    <a:lnTo>
                      <a:pt x="162" y="347"/>
                    </a:lnTo>
                    <a:lnTo>
                      <a:pt x="162" y="346"/>
                    </a:lnTo>
                    <a:lnTo>
                      <a:pt x="162" y="344"/>
                    </a:lnTo>
                    <a:lnTo>
                      <a:pt x="160" y="342"/>
                    </a:lnTo>
                    <a:lnTo>
                      <a:pt x="160" y="340"/>
                    </a:lnTo>
                    <a:lnTo>
                      <a:pt x="160" y="338"/>
                    </a:lnTo>
                    <a:lnTo>
                      <a:pt x="158" y="336"/>
                    </a:lnTo>
                    <a:lnTo>
                      <a:pt x="158" y="334"/>
                    </a:lnTo>
                    <a:lnTo>
                      <a:pt x="156" y="334"/>
                    </a:lnTo>
                    <a:lnTo>
                      <a:pt x="158" y="334"/>
                    </a:lnTo>
                    <a:lnTo>
                      <a:pt x="160" y="334"/>
                    </a:lnTo>
                    <a:lnTo>
                      <a:pt x="158" y="334"/>
                    </a:lnTo>
                    <a:lnTo>
                      <a:pt x="158" y="332"/>
                    </a:lnTo>
                    <a:lnTo>
                      <a:pt x="156" y="330"/>
                    </a:lnTo>
                    <a:lnTo>
                      <a:pt x="156" y="328"/>
                    </a:lnTo>
                    <a:lnTo>
                      <a:pt x="154" y="326"/>
                    </a:lnTo>
                    <a:lnTo>
                      <a:pt x="154" y="324"/>
                    </a:lnTo>
                    <a:lnTo>
                      <a:pt x="152" y="322"/>
                    </a:lnTo>
                    <a:lnTo>
                      <a:pt x="152" y="321"/>
                    </a:lnTo>
                    <a:lnTo>
                      <a:pt x="150" y="319"/>
                    </a:lnTo>
                    <a:lnTo>
                      <a:pt x="150" y="317"/>
                    </a:lnTo>
                    <a:lnTo>
                      <a:pt x="150" y="315"/>
                    </a:lnTo>
                    <a:lnTo>
                      <a:pt x="150" y="313"/>
                    </a:lnTo>
                    <a:lnTo>
                      <a:pt x="150" y="311"/>
                    </a:lnTo>
                    <a:lnTo>
                      <a:pt x="148" y="311"/>
                    </a:lnTo>
                    <a:lnTo>
                      <a:pt x="148" y="309"/>
                    </a:lnTo>
                    <a:lnTo>
                      <a:pt x="148" y="307"/>
                    </a:lnTo>
                    <a:lnTo>
                      <a:pt x="146" y="305"/>
                    </a:lnTo>
                    <a:lnTo>
                      <a:pt x="146" y="303"/>
                    </a:lnTo>
                    <a:lnTo>
                      <a:pt x="144" y="303"/>
                    </a:lnTo>
                    <a:lnTo>
                      <a:pt x="144" y="301"/>
                    </a:lnTo>
                    <a:lnTo>
                      <a:pt x="144" y="299"/>
                    </a:lnTo>
                    <a:lnTo>
                      <a:pt x="144" y="298"/>
                    </a:lnTo>
                    <a:lnTo>
                      <a:pt x="142" y="298"/>
                    </a:lnTo>
                    <a:lnTo>
                      <a:pt x="144" y="298"/>
                    </a:lnTo>
                    <a:lnTo>
                      <a:pt x="142" y="298"/>
                    </a:lnTo>
                    <a:lnTo>
                      <a:pt x="142" y="296"/>
                    </a:lnTo>
                    <a:lnTo>
                      <a:pt x="142" y="294"/>
                    </a:lnTo>
                    <a:lnTo>
                      <a:pt x="140" y="294"/>
                    </a:lnTo>
                    <a:lnTo>
                      <a:pt x="140" y="292"/>
                    </a:lnTo>
                    <a:lnTo>
                      <a:pt x="140" y="290"/>
                    </a:lnTo>
                    <a:lnTo>
                      <a:pt x="139" y="290"/>
                    </a:lnTo>
                    <a:lnTo>
                      <a:pt x="137" y="288"/>
                    </a:lnTo>
                    <a:lnTo>
                      <a:pt x="137" y="286"/>
                    </a:lnTo>
                    <a:lnTo>
                      <a:pt x="137" y="284"/>
                    </a:lnTo>
                    <a:lnTo>
                      <a:pt x="135" y="284"/>
                    </a:lnTo>
                    <a:lnTo>
                      <a:pt x="135" y="282"/>
                    </a:lnTo>
                    <a:lnTo>
                      <a:pt x="135" y="280"/>
                    </a:lnTo>
                    <a:lnTo>
                      <a:pt x="133" y="280"/>
                    </a:lnTo>
                    <a:lnTo>
                      <a:pt x="133" y="278"/>
                    </a:lnTo>
                    <a:lnTo>
                      <a:pt x="133" y="276"/>
                    </a:lnTo>
                    <a:lnTo>
                      <a:pt x="131" y="274"/>
                    </a:lnTo>
                    <a:lnTo>
                      <a:pt x="131" y="273"/>
                    </a:lnTo>
                    <a:lnTo>
                      <a:pt x="129" y="271"/>
                    </a:lnTo>
                    <a:lnTo>
                      <a:pt x="129" y="269"/>
                    </a:lnTo>
                    <a:lnTo>
                      <a:pt x="127" y="267"/>
                    </a:lnTo>
                    <a:lnTo>
                      <a:pt x="127" y="265"/>
                    </a:lnTo>
                    <a:lnTo>
                      <a:pt x="125" y="265"/>
                    </a:lnTo>
                    <a:lnTo>
                      <a:pt x="125" y="263"/>
                    </a:lnTo>
                    <a:lnTo>
                      <a:pt x="123" y="263"/>
                    </a:lnTo>
                    <a:lnTo>
                      <a:pt x="123" y="261"/>
                    </a:lnTo>
                    <a:lnTo>
                      <a:pt x="123" y="259"/>
                    </a:lnTo>
                    <a:lnTo>
                      <a:pt x="121" y="257"/>
                    </a:lnTo>
                    <a:lnTo>
                      <a:pt x="121" y="255"/>
                    </a:lnTo>
                    <a:lnTo>
                      <a:pt x="119" y="255"/>
                    </a:lnTo>
                    <a:lnTo>
                      <a:pt x="117" y="253"/>
                    </a:lnTo>
                    <a:lnTo>
                      <a:pt x="115" y="251"/>
                    </a:lnTo>
                    <a:lnTo>
                      <a:pt x="115" y="249"/>
                    </a:lnTo>
                    <a:lnTo>
                      <a:pt x="114" y="249"/>
                    </a:lnTo>
                    <a:lnTo>
                      <a:pt x="112" y="248"/>
                    </a:lnTo>
                    <a:lnTo>
                      <a:pt x="112" y="246"/>
                    </a:lnTo>
                    <a:lnTo>
                      <a:pt x="112" y="244"/>
                    </a:lnTo>
                    <a:lnTo>
                      <a:pt x="110" y="242"/>
                    </a:lnTo>
                    <a:lnTo>
                      <a:pt x="110" y="240"/>
                    </a:lnTo>
                    <a:lnTo>
                      <a:pt x="108" y="238"/>
                    </a:lnTo>
                    <a:lnTo>
                      <a:pt x="108" y="236"/>
                    </a:lnTo>
                    <a:lnTo>
                      <a:pt x="108" y="234"/>
                    </a:lnTo>
                    <a:lnTo>
                      <a:pt x="106" y="232"/>
                    </a:lnTo>
                    <a:lnTo>
                      <a:pt x="106" y="230"/>
                    </a:lnTo>
                    <a:lnTo>
                      <a:pt x="106" y="228"/>
                    </a:lnTo>
                    <a:lnTo>
                      <a:pt x="104" y="226"/>
                    </a:lnTo>
                    <a:lnTo>
                      <a:pt x="104" y="224"/>
                    </a:lnTo>
                    <a:lnTo>
                      <a:pt x="104" y="221"/>
                    </a:lnTo>
                    <a:lnTo>
                      <a:pt x="104" y="219"/>
                    </a:lnTo>
                    <a:lnTo>
                      <a:pt x="104" y="217"/>
                    </a:lnTo>
                    <a:lnTo>
                      <a:pt x="104" y="215"/>
                    </a:lnTo>
                    <a:lnTo>
                      <a:pt x="104" y="213"/>
                    </a:lnTo>
                    <a:lnTo>
                      <a:pt x="102" y="213"/>
                    </a:lnTo>
                    <a:lnTo>
                      <a:pt x="102" y="211"/>
                    </a:lnTo>
                    <a:lnTo>
                      <a:pt x="102" y="209"/>
                    </a:lnTo>
                    <a:lnTo>
                      <a:pt x="100" y="209"/>
                    </a:lnTo>
                    <a:lnTo>
                      <a:pt x="100" y="207"/>
                    </a:lnTo>
                    <a:lnTo>
                      <a:pt x="98" y="205"/>
                    </a:lnTo>
                    <a:lnTo>
                      <a:pt x="96" y="205"/>
                    </a:lnTo>
                    <a:lnTo>
                      <a:pt x="96" y="203"/>
                    </a:lnTo>
                    <a:lnTo>
                      <a:pt x="94" y="203"/>
                    </a:lnTo>
                    <a:lnTo>
                      <a:pt x="94" y="201"/>
                    </a:lnTo>
                    <a:lnTo>
                      <a:pt x="92" y="201"/>
                    </a:lnTo>
                    <a:lnTo>
                      <a:pt x="92" y="199"/>
                    </a:lnTo>
                    <a:lnTo>
                      <a:pt x="92" y="198"/>
                    </a:lnTo>
                    <a:lnTo>
                      <a:pt x="90" y="198"/>
                    </a:lnTo>
                    <a:lnTo>
                      <a:pt x="89" y="196"/>
                    </a:lnTo>
                    <a:lnTo>
                      <a:pt x="87" y="196"/>
                    </a:lnTo>
                    <a:lnTo>
                      <a:pt x="87" y="194"/>
                    </a:lnTo>
                    <a:lnTo>
                      <a:pt x="85" y="194"/>
                    </a:lnTo>
                    <a:lnTo>
                      <a:pt x="85" y="192"/>
                    </a:lnTo>
                    <a:lnTo>
                      <a:pt x="85" y="190"/>
                    </a:lnTo>
                    <a:lnTo>
                      <a:pt x="83" y="190"/>
                    </a:lnTo>
                    <a:lnTo>
                      <a:pt x="81" y="190"/>
                    </a:lnTo>
                    <a:lnTo>
                      <a:pt x="79" y="188"/>
                    </a:lnTo>
                    <a:lnTo>
                      <a:pt x="77" y="188"/>
                    </a:lnTo>
                    <a:lnTo>
                      <a:pt x="75" y="186"/>
                    </a:lnTo>
                    <a:lnTo>
                      <a:pt x="75" y="184"/>
                    </a:lnTo>
                    <a:lnTo>
                      <a:pt x="75" y="182"/>
                    </a:lnTo>
                    <a:lnTo>
                      <a:pt x="75" y="184"/>
                    </a:lnTo>
                    <a:lnTo>
                      <a:pt x="73" y="184"/>
                    </a:lnTo>
                    <a:lnTo>
                      <a:pt x="75" y="184"/>
                    </a:lnTo>
                    <a:lnTo>
                      <a:pt x="75" y="186"/>
                    </a:lnTo>
                    <a:lnTo>
                      <a:pt x="73" y="186"/>
                    </a:lnTo>
                    <a:lnTo>
                      <a:pt x="71" y="184"/>
                    </a:lnTo>
                    <a:lnTo>
                      <a:pt x="69" y="182"/>
                    </a:lnTo>
                    <a:lnTo>
                      <a:pt x="67" y="182"/>
                    </a:lnTo>
                    <a:lnTo>
                      <a:pt x="66" y="182"/>
                    </a:lnTo>
                    <a:lnTo>
                      <a:pt x="64" y="180"/>
                    </a:lnTo>
                    <a:lnTo>
                      <a:pt x="62" y="180"/>
                    </a:lnTo>
                    <a:lnTo>
                      <a:pt x="64" y="180"/>
                    </a:lnTo>
                    <a:lnTo>
                      <a:pt x="66" y="180"/>
                    </a:lnTo>
                    <a:lnTo>
                      <a:pt x="67" y="180"/>
                    </a:lnTo>
                    <a:lnTo>
                      <a:pt x="67" y="178"/>
                    </a:lnTo>
                    <a:lnTo>
                      <a:pt x="69" y="178"/>
                    </a:lnTo>
                    <a:lnTo>
                      <a:pt x="69" y="180"/>
                    </a:lnTo>
                    <a:lnTo>
                      <a:pt x="69" y="178"/>
                    </a:lnTo>
                    <a:lnTo>
                      <a:pt x="67" y="178"/>
                    </a:lnTo>
                    <a:lnTo>
                      <a:pt x="67" y="176"/>
                    </a:lnTo>
                    <a:lnTo>
                      <a:pt x="66" y="174"/>
                    </a:lnTo>
                    <a:lnTo>
                      <a:pt x="64" y="174"/>
                    </a:lnTo>
                    <a:lnTo>
                      <a:pt x="64" y="173"/>
                    </a:lnTo>
                    <a:lnTo>
                      <a:pt x="62" y="173"/>
                    </a:lnTo>
                    <a:lnTo>
                      <a:pt x="60" y="173"/>
                    </a:lnTo>
                    <a:lnTo>
                      <a:pt x="58" y="173"/>
                    </a:lnTo>
                    <a:lnTo>
                      <a:pt x="56" y="173"/>
                    </a:lnTo>
                    <a:lnTo>
                      <a:pt x="58" y="171"/>
                    </a:lnTo>
                    <a:lnTo>
                      <a:pt x="56" y="169"/>
                    </a:lnTo>
                    <a:lnTo>
                      <a:pt x="58" y="169"/>
                    </a:lnTo>
                    <a:lnTo>
                      <a:pt x="56" y="169"/>
                    </a:lnTo>
                    <a:lnTo>
                      <a:pt x="56" y="167"/>
                    </a:lnTo>
                    <a:lnTo>
                      <a:pt x="56" y="165"/>
                    </a:lnTo>
                    <a:lnTo>
                      <a:pt x="54" y="165"/>
                    </a:lnTo>
                    <a:lnTo>
                      <a:pt x="52" y="163"/>
                    </a:lnTo>
                    <a:lnTo>
                      <a:pt x="52" y="161"/>
                    </a:lnTo>
                    <a:lnTo>
                      <a:pt x="50" y="161"/>
                    </a:lnTo>
                    <a:lnTo>
                      <a:pt x="50" y="159"/>
                    </a:lnTo>
                    <a:lnTo>
                      <a:pt x="50" y="157"/>
                    </a:lnTo>
                    <a:lnTo>
                      <a:pt x="50" y="155"/>
                    </a:lnTo>
                    <a:lnTo>
                      <a:pt x="50" y="153"/>
                    </a:lnTo>
                    <a:lnTo>
                      <a:pt x="48" y="153"/>
                    </a:lnTo>
                    <a:lnTo>
                      <a:pt x="48" y="151"/>
                    </a:lnTo>
                    <a:lnTo>
                      <a:pt x="46" y="151"/>
                    </a:lnTo>
                    <a:lnTo>
                      <a:pt x="46" y="149"/>
                    </a:lnTo>
                    <a:lnTo>
                      <a:pt x="46" y="148"/>
                    </a:lnTo>
                    <a:lnTo>
                      <a:pt x="44" y="148"/>
                    </a:lnTo>
                    <a:lnTo>
                      <a:pt x="44" y="146"/>
                    </a:lnTo>
                    <a:lnTo>
                      <a:pt x="42" y="146"/>
                    </a:lnTo>
                    <a:lnTo>
                      <a:pt x="42" y="144"/>
                    </a:lnTo>
                    <a:lnTo>
                      <a:pt x="42" y="142"/>
                    </a:lnTo>
                    <a:lnTo>
                      <a:pt x="41" y="140"/>
                    </a:lnTo>
                    <a:lnTo>
                      <a:pt x="42" y="140"/>
                    </a:lnTo>
                    <a:lnTo>
                      <a:pt x="42" y="138"/>
                    </a:lnTo>
                    <a:lnTo>
                      <a:pt x="42" y="136"/>
                    </a:lnTo>
                    <a:lnTo>
                      <a:pt x="42" y="134"/>
                    </a:lnTo>
                    <a:lnTo>
                      <a:pt x="42" y="132"/>
                    </a:lnTo>
                    <a:lnTo>
                      <a:pt x="42" y="130"/>
                    </a:lnTo>
                    <a:lnTo>
                      <a:pt x="42" y="128"/>
                    </a:lnTo>
                    <a:lnTo>
                      <a:pt x="42" y="126"/>
                    </a:lnTo>
                    <a:lnTo>
                      <a:pt x="41" y="126"/>
                    </a:lnTo>
                    <a:lnTo>
                      <a:pt x="41" y="124"/>
                    </a:lnTo>
                    <a:lnTo>
                      <a:pt x="39" y="124"/>
                    </a:lnTo>
                    <a:lnTo>
                      <a:pt x="39" y="123"/>
                    </a:lnTo>
                    <a:lnTo>
                      <a:pt x="39" y="121"/>
                    </a:lnTo>
                    <a:lnTo>
                      <a:pt x="39" y="119"/>
                    </a:lnTo>
                    <a:lnTo>
                      <a:pt x="37" y="119"/>
                    </a:lnTo>
                    <a:lnTo>
                      <a:pt x="37" y="117"/>
                    </a:lnTo>
                    <a:lnTo>
                      <a:pt x="35" y="115"/>
                    </a:lnTo>
                    <a:lnTo>
                      <a:pt x="35" y="113"/>
                    </a:lnTo>
                    <a:lnTo>
                      <a:pt x="35" y="111"/>
                    </a:lnTo>
                    <a:lnTo>
                      <a:pt x="33" y="109"/>
                    </a:lnTo>
                    <a:lnTo>
                      <a:pt x="33" y="107"/>
                    </a:lnTo>
                    <a:lnTo>
                      <a:pt x="33" y="105"/>
                    </a:lnTo>
                    <a:lnTo>
                      <a:pt x="33" y="103"/>
                    </a:lnTo>
                    <a:lnTo>
                      <a:pt x="31" y="103"/>
                    </a:lnTo>
                    <a:lnTo>
                      <a:pt x="31" y="101"/>
                    </a:lnTo>
                    <a:lnTo>
                      <a:pt x="31" y="99"/>
                    </a:lnTo>
                    <a:lnTo>
                      <a:pt x="29" y="98"/>
                    </a:lnTo>
                    <a:lnTo>
                      <a:pt x="29" y="96"/>
                    </a:lnTo>
                    <a:lnTo>
                      <a:pt x="27" y="94"/>
                    </a:lnTo>
                    <a:lnTo>
                      <a:pt x="25" y="94"/>
                    </a:lnTo>
                    <a:lnTo>
                      <a:pt x="25" y="92"/>
                    </a:lnTo>
                    <a:lnTo>
                      <a:pt x="23" y="92"/>
                    </a:lnTo>
                    <a:lnTo>
                      <a:pt x="23" y="90"/>
                    </a:lnTo>
                    <a:lnTo>
                      <a:pt x="21" y="90"/>
                    </a:lnTo>
                    <a:lnTo>
                      <a:pt x="21" y="88"/>
                    </a:lnTo>
                    <a:lnTo>
                      <a:pt x="19" y="86"/>
                    </a:lnTo>
                    <a:lnTo>
                      <a:pt x="17" y="86"/>
                    </a:lnTo>
                    <a:lnTo>
                      <a:pt x="17" y="84"/>
                    </a:lnTo>
                    <a:lnTo>
                      <a:pt x="17" y="82"/>
                    </a:lnTo>
                    <a:lnTo>
                      <a:pt x="16" y="82"/>
                    </a:lnTo>
                    <a:lnTo>
                      <a:pt x="17" y="82"/>
                    </a:lnTo>
                    <a:lnTo>
                      <a:pt x="16" y="80"/>
                    </a:lnTo>
                    <a:lnTo>
                      <a:pt x="14" y="80"/>
                    </a:lnTo>
                    <a:lnTo>
                      <a:pt x="14" y="78"/>
                    </a:lnTo>
                    <a:lnTo>
                      <a:pt x="16" y="74"/>
                    </a:lnTo>
                    <a:lnTo>
                      <a:pt x="16" y="73"/>
                    </a:lnTo>
                    <a:lnTo>
                      <a:pt x="17" y="71"/>
                    </a:lnTo>
                    <a:lnTo>
                      <a:pt x="17" y="69"/>
                    </a:lnTo>
                    <a:lnTo>
                      <a:pt x="19" y="67"/>
                    </a:lnTo>
                    <a:lnTo>
                      <a:pt x="21" y="63"/>
                    </a:lnTo>
                    <a:lnTo>
                      <a:pt x="23" y="61"/>
                    </a:lnTo>
                    <a:lnTo>
                      <a:pt x="25" y="61"/>
                    </a:lnTo>
                    <a:lnTo>
                      <a:pt x="23" y="61"/>
                    </a:lnTo>
                    <a:lnTo>
                      <a:pt x="23" y="63"/>
                    </a:lnTo>
                    <a:lnTo>
                      <a:pt x="25" y="63"/>
                    </a:lnTo>
                    <a:lnTo>
                      <a:pt x="25" y="65"/>
                    </a:lnTo>
                    <a:lnTo>
                      <a:pt x="27" y="67"/>
                    </a:lnTo>
                    <a:lnTo>
                      <a:pt x="27" y="69"/>
                    </a:lnTo>
                    <a:lnTo>
                      <a:pt x="27" y="71"/>
                    </a:lnTo>
                    <a:lnTo>
                      <a:pt x="29" y="71"/>
                    </a:lnTo>
                    <a:lnTo>
                      <a:pt x="31" y="71"/>
                    </a:lnTo>
                    <a:lnTo>
                      <a:pt x="31" y="69"/>
                    </a:lnTo>
                    <a:lnTo>
                      <a:pt x="33" y="69"/>
                    </a:lnTo>
                    <a:lnTo>
                      <a:pt x="35" y="69"/>
                    </a:lnTo>
                    <a:lnTo>
                      <a:pt x="35" y="67"/>
                    </a:lnTo>
                    <a:lnTo>
                      <a:pt x="35" y="65"/>
                    </a:lnTo>
                    <a:lnTo>
                      <a:pt x="35" y="63"/>
                    </a:lnTo>
                    <a:lnTo>
                      <a:pt x="35" y="61"/>
                    </a:lnTo>
                    <a:lnTo>
                      <a:pt x="35" y="59"/>
                    </a:lnTo>
                    <a:lnTo>
                      <a:pt x="35" y="57"/>
                    </a:lnTo>
                    <a:lnTo>
                      <a:pt x="35" y="55"/>
                    </a:lnTo>
                    <a:lnTo>
                      <a:pt x="37" y="55"/>
                    </a:lnTo>
                    <a:lnTo>
                      <a:pt x="37" y="57"/>
                    </a:lnTo>
                    <a:lnTo>
                      <a:pt x="37" y="55"/>
                    </a:lnTo>
                    <a:lnTo>
                      <a:pt x="37" y="53"/>
                    </a:lnTo>
                    <a:lnTo>
                      <a:pt x="35" y="53"/>
                    </a:lnTo>
                    <a:lnTo>
                      <a:pt x="35" y="55"/>
                    </a:lnTo>
                    <a:lnTo>
                      <a:pt x="35" y="53"/>
                    </a:lnTo>
                    <a:lnTo>
                      <a:pt x="33" y="53"/>
                    </a:lnTo>
                    <a:lnTo>
                      <a:pt x="31" y="53"/>
                    </a:lnTo>
                    <a:lnTo>
                      <a:pt x="31" y="51"/>
                    </a:lnTo>
                    <a:lnTo>
                      <a:pt x="31" y="53"/>
                    </a:lnTo>
                    <a:lnTo>
                      <a:pt x="31" y="55"/>
                    </a:lnTo>
                    <a:lnTo>
                      <a:pt x="31" y="57"/>
                    </a:lnTo>
                    <a:lnTo>
                      <a:pt x="31" y="55"/>
                    </a:lnTo>
                    <a:lnTo>
                      <a:pt x="29" y="53"/>
                    </a:lnTo>
                    <a:lnTo>
                      <a:pt x="29" y="51"/>
                    </a:lnTo>
                    <a:lnTo>
                      <a:pt x="27" y="51"/>
                    </a:lnTo>
                    <a:lnTo>
                      <a:pt x="27" y="50"/>
                    </a:lnTo>
                    <a:lnTo>
                      <a:pt x="27" y="48"/>
                    </a:lnTo>
                    <a:lnTo>
                      <a:pt x="29" y="48"/>
                    </a:lnTo>
                    <a:lnTo>
                      <a:pt x="31" y="46"/>
                    </a:lnTo>
                    <a:lnTo>
                      <a:pt x="31" y="48"/>
                    </a:lnTo>
                    <a:lnTo>
                      <a:pt x="33" y="48"/>
                    </a:lnTo>
                    <a:lnTo>
                      <a:pt x="33" y="50"/>
                    </a:lnTo>
                    <a:lnTo>
                      <a:pt x="35" y="50"/>
                    </a:lnTo>
                    <a:lnTo>
                      <a:pt x="35" y="48"/>
                    </a:lnTo>
                    <a:lnTo>
                      <a:pt x="35" y="46"/>
                    </a:lnTo>
                    <a:lnTo>
                      <a:pt x="35" y="44"/>
                    </a:lnTo>
                    <a:lnTo>
                      <a:pt x="35" y="42"/>
                    </a:lnTo>
                    <a:lnTo>
                      <a:pt x="35" y="40"/>
                    </a:lnTo>
                    <a:lnTo>
                      <a:pt x="33" y="40"/>
                    </a:lnTo>
                    <a:lnTo>
                      <a:pt x="33" y="38"/>
                    </a:lnTo>
                    <a:lnTo>
                      <a:pt x="31" y="38"/>
                    </a:lnTo>
                    <a:lnTo>
                      <a:pt x="31" y="36"/>
                    </a:lnTo>
                    <a:lnTo>
                      <a:pt x="29" y="36"/>
                    </a:lnTo>
                    <a:lnTo>
                      <a:pt x="27" y="36"/>
                    </a:lnTo>
                    <a:lnTo>
                      <a:pt x="27" y="34"/>
                    </a:lnTo>
                    <a:lnTo>
                      <a:pt x="27" y="36"/>
                    </a:lnTo>
                    <a:lnTo>
                      <a:pt x="29" y="36"/>
                    </a:lnTo>
                    <a:lnTo>
                      <a:pt x="29" y="38"/>
                    </a:lnTo>
                    <a:lnTo>
                      <a:pt x="29" y="40"/>
                    </a:lnTo>
                    <a:lnTo>
                      <a:pt x="29" y="42"/>
                    </a:lnTo>
                    <a:lnTo>
                      <a:pt x="31" y="42"/>
                    </a:lnTo>
                    <a:lnTo>
                      <a:pt x="31" y="44"/>
                    </a:lnTo>
                    <a:lnTo>
                      <a:pt x="29" y="44"/>
                    </a:lnTo>
                    <a:lnTo>
                      <a:pt x="29" y="46"/>
                    </a:lnTo>
                    <a:lnTo>
                      <a:pt x="29" y="44"/>
                    </a:lnTo>
                    <a:lnTo>
                      <a:pt x="27" y="40"/>
                    </a:lnTo>
                    <a:lnTo>
                      <a:pt x="27" y="38"/>
                    </a:lnTo>
                    <a:lnTo>
                      <a:pt x="27" y="36"/>
                    </a:lnTo>
                    <a:lnTo>
                      <a:pt x="27" y="34"/>
                    </a:lnTo>
                    <a:lnTo>
                      <a:pt x="25" y="32"/>
                    </a:lnTo>
                    <a:lnTo>
                      <a:pt x="25" y="30"/>
                    </a:lnTo>
                    <a:lnTo>
                      <a:pt x="23" y="28"/>
                    </a:lnTo>
                    <a:lnTo>
                      <a:pt x="21" y="28"/>
                    </a:lnTo>
                    <a:lnTo>
                      <a:pt x="21" y="26"/>
                    </a:lnTo>
                    <a:lnTo>
                      <a:pt x="19" y="26"/>
                    </a:lnTo>
                    <a:lnTo>
                      <a:pt x="17" y="26"/>
                    </a:lnTo>
                    <a:lnTo>
                      <a:pt x="17" y="25"/>
                    </a:lnTo>
                    <a:lnTo>
                      <a:pt x="16" y="25"/>
                    </a:lnTo>
                    <a:lnTo>
                      <a:pt x="14" y="25"/>
                    </a:lnTo>
                    <a:lnTo>
                      <a:pt x="14" y="23"/>
                    </a:lnTo>
                    <a:lnTo>
                      <a:pt x="12" y="23"/>
                    </a:lnTo>
                    <a:lnTo>
                      <a:pt x="10" y="21"/>
                    </a:lnTo>
                    <a:lnTo>
                      <a:pt x="8" y="19"/>
                    </a:lnTo>
                    <a:lnTo>
                      <a:pt x="6" y="17"/>
                    </a:lnTo>
                    <a:lnTo>
                      <a:pt x="4" y="17"/>
                    </a:lnTo>
                    <a:lnTo>
                      <a:pt x="2" y="15"/>
                    </a:lnTo>
                    <a:lnTo>
                      <a:pt x="0" y="15"/>
                    </a:lnTo>
                    <a:lnTo>
                      <a:pt x="0" y="13"/>
                    </a:lnTo>
                    <a:lnTo>
                      <a:pt x="2" y="13"/>
                    </a:lnTo>
                    <a:lnTo>
                      <a:pt x="2" y="15"/>
                    </a:lnTo>
                    <a:lnTo>
                      <a:pt x="2" y="13"/>
                    </a:lnTo>
                    <a:lnTo>
                      <a:pt x="4" y="13"/>
                    </a:lnTo>
                    <a:lnTo>
                      <a:pt x="6" y="13"/>
                    </a:lnTo>
                    <a:lnTo>
                      <a:pt x="6" y="11"/>
                    </a:lnTo>
                    <a:lnTo>
                      <a:pt x="8" y="11"/>
                    </a:lnTo>
                    <a:lnTo>
                      <a:pt x="8" y="9"/>
                    </a:lnTo>
                    <a:lnTo>
                      <a:pt x="10" y="9"/>
                    </a:lnTo>
                    <a:lnTo>
                      <a:pt x="10" y="7"/>
                    </a:lnTo>
                    <a:lnTo>
                      <a:pt x="10" y="9"/>
                    </a:lnTo>
                    <a:lnTo>
                      <a:pt x="10" y="11"/>
                    </a:lnTo>
                    <a:lnTo>
                      <a:pt x="8" y="9"/>
                    </a:lnTo>
                    <a:lnTo>
                      <a:pt x="8" y="11"/>
                    </a:lnTo>
                    <a:lnTo>
                      <a:pt x="6" y="11"/>
                    </a:lnTo>
                    <a:lnTo>
                      <a:pt x="8" y="11"/>
                    </a:lnTo>
                    <a:lnTo>
                      <a:pt x="8" y="13"/>
                    </a:lnTo>
                    <a:lnTo>
                      <a:pt x="10" y="13"/>
                    </a:lnTo>
                    <a:lnTo>
                      <a:pt x="10" y="15"/>
                    </a:lnTo>
                    <a:lnTo>
                      <a:pt x="10" y="13"/>
                    </a:lnTo>
                    <a:lnTo>
                      <a:pt x="12" y="13"/>
                    </a:lnTo>
                    <a:lnTo>
                      <a:pt x="10" y="13"/>
                    </a:lnTo>
                    <a:lnTo>
                      <a:pt x="10" y="11"/>
                    </a:lnTo>
                    <a:lnTo>
                      <a:pt x="8" y="11"/>
                    </a:lnTo>
                    <a:lnTo>
                      <a:pt x="10" y="11"/>
                    </a:lnTo>
                    <a:lnTo>
                      <a:pt x="12" y="13"/>
                    </a:lnTo>
                    <a:lnTo>
                      <a:pt x="12" y="11"/>
                    </a:lnTo>
                    <a:lnTo>
                      <a:pt x="12" y="9"/>
                    </a:lnTo>
                    <a:lnTo>
                      <a:pt x="10" y="9"/>
                    </a:lnTo>
                    <a:lnTo>
                      <a:pt x="12" y="9"/>
                    </a:lnTo>
                    <a:lnTo>
                      <a:pt x="10" y="9"/>
                    </a:lnTo>
                    <a:lnTo>
                      <a:pt x="10" y="7"/>
                    </a:lnTo>
                    <a:lnTo>
                      <a:pt x="10" y="5"/>
                    </a:lnTo>
                    <a:lnTo>
                      <a:pt x="10" y="3"/>
                    </a:lnTo>
                    <a:lnTo>
                      <a:pt x="8" y="1"/>
                    </a:lnTo>
                    <a:lnTo>
                      <a:pt x="8" y="0"/>
                    </a:lnTo>
                    <a:lnTo>
                      <a:pt x="10" y="0"/>
                    </a:lnTo>
                    <a:lnTo>
                      <a:pt x="10" y="1"/>
                    </a:lnTo>
                    <a:lnTo>
                      <a:pt x="12" y="1"/>
                    </a:lnTo>
                    <a:lnTo>
                      <a:pt x="14" y="3"/>
                    </a:lnTo>
                    <a:lnTo>
                      <a:pt x="16" y="5"/>
                    </a:lnTo>
                    <a:lnTo>
                      <a:pt x="16" y="7"/>
                    </a:lnTo>
                    <a:lnTo>
                      <a:pt x="17" y="7"/>
                    </a:lnTo>
                    <a:lnTo>
                      <a:pt x="19" y="7"/>
                    </a:lnTo>
                    <a:lnTo>
                      <a:pt x="19" y="9"/>
                    </a:lnTo>
                    <a:lnTo>
                      <a:pt x="21" y="9"/>
                    </a:lnTo>
                    <a:lnTo>
                      <a:pt x="23" y="11"/>
                    </a:lnTo>
                    <a:lnTo>
                      <a:pt x="25" y="11"/>
                    </a:lnTo>
                    <a:lnTo>
                      <a:pt x="25" y="13"/>
                    </a:lnTo>
                    <a:lnTo>
                      <a:pt x="27" y="13"/>
                    </a:lnTo>
                    <a:lnTo>
                      <a:pt x="27" y="15"/>
                    </a:lnTo>
                    <a:lnTo>
                      <a:pt x="29" y="15"/>
                    </a:lnTo>
                    <a:lnTo>
                      <a:pt x="29" y="17"/>
                    </a:lnTo>
                    <a:lnTo>
                      <a:pt x="29" y="19"/>
                    </a:lnTo>
                    <a:lnTo>
                      <a:pt x="29" y="21"/>
                    </a:lnTo>
                    <a:lnTo>
                      <a:pt x="29" y="23"/>
                    </a:lnTo>
                    <a:lnTo>
                      <a:pt x="29" y="25"/>
                    </a:lnTo>
                    <a:lnTo>
                      <a:pt x="29" y="26"/>
                    </a:lnTo>
                    <a:lnTo>
                      <a:pt x="31" y="26"/>
                    </a:lnTo>
                    <a:lnTo>
                      <a:pt x="31" y="28"/>
                    </a:lnTo>
                    <a:lnTo>
                      <a:pt x="33" y="30"/>
                    </a:lnTo>
                    <a:lnTo>
                      <a:pt x="31" y="30"/>
                    </a:lnTo>
                    <a:lnTo>
                      <a:pt x="31" y="28"/>
                    </a:lnTo>
                    <a:lnTo>
                      <a:pt x="31" y="30"/>
                    </a:lnTo>
                    <a:lnTo>
                      <a:pt x="29" y="30"/>
                    </a:lnTo>
                    <a:lnTo>
                      <a:pt x="31" y="32"/>
                    </a:lnTo>
                    <a:lnTo>
                      <a:pt x="33" y="30"/>
                    </a:lnTo>
                    <a:lnTo>
                      <a:pt x="33" y="32"/>
                    </a:lnTo>
                    <a:lnTo>
                      <a:pt x="35" y="34"/>
                    </a:lnTo>
                    <a:lnTo>
                      <a:pt x="33" y="34"/>
                    </a:lnTo>
                    <a:lnTo>
                      <a:pt x="35" y="34"/>
                    </a:lnTo>
                    <a:lnTo>
                      <a:pt x="33" y="34"/>
                    </a:lnTo>
                    <a:lnTo>
                      <a:pt x="33" y="36"/>
                    </a:lnTo>
                    <a:lnTo>
                      <a:pt x="35" y="36"/>
                    </a:lnTo>
                    <a:lnTo>
                      <a:pt x="35" y="38"/>
                    </a:lnTo>
                    <a:lnTo>
                      <a:pt x="37" y="36"/>
                    </a:lnTo>
                    <a:lnTo>
                      <a:pt x="37" y="34"/>
                    </a:lnTo>
                    <a:lnTo>
                      <a:pt x="35" y="34"/>
                    </a:lnTo>
                    <a:lnTo>
                      <a:pt x="37" y="34"/>
                    </a:lnTo>
                    <a:lnTo>
                      <a:pt x="37" y="36"/>
                    </a:lnTo>
                    <a:lnTo>
                      <a:pt x="39" y="38"/>
                    </a:lnTo>
                    <a:lnTo>
                      <a:pt x="41" y="40"/>
                    </a:lnTo>
                    <a:lnTo>
                      <a:pt x="41" y="42"/>
                    </a:lnTo>
                    <a:lnTo>
                      <a:pt x="41" y="44"/>
                    </a:lnTo>
                    <a:lnTo>
                      <a:pt x="42" y="44"/>
                    </a:lnTo>
                    <a:lnTo>
                      <a:pt x="42" y="42"/>
                    </a:lnTo>
                    <a:lnTo>
                      <a:pt x="41" y="40"/>
                    </a:lnTo>
                    <a:lnTo>
                      <a:pt x="42" y="42"/>
                    </a:lnTo>
                    <a:lnTo>
                      <a:pt x="44" y="44"/>
                    </a:lnTo>
                    <a:lnTo>
                      <a:pt x="42" y="44"/>
                    </a:lnTo>
                    <a:lnTo>
                      <a:pt x="42" y="46"/>
                    </a:lnTo>
                    <a:lnTo>
                      <a:pt x="44" y="44"/>
                    </a:lnTo>
                    <a:lnTo>
                      <a:pt x="46" y="46"/>
                    </a:lnTo>
                    <a:lnTo>
                      <a:pt x="48" y="46"/>
                    </a:lnTo>
                    <a:lnTo>
                      <a:pt x="46" y="46"/>
                    </a:lnTo>
                    <a:lnTo>
                      <a:pt x="44" y="46"/>
                    </a:lnTo>
                    <a:lnTo>
                      <a:pt x="46" y="46"/>
                    </a:lnTo>
                    <a:lnTo>
                      <a:pt x="46" y="48"/>
                    </a:lnTo>
                    <a:lnTo>
                      <a:pt x="44" y="48"/>
                    </a:lnTo>
                    <a:lnTo>
                      <a:pt x="46" y="48"/>
                    </a:lnTo>
                    <a:lnTo>
                      <a:pt x="46" y="50"/>
                    </a:lnTo>
                    <a:lnTo>
                      <a:pt x="48" y="50"/>
                    </a:lnTo>
                    <a:lnTo>
                      <a:pt x="48" y="48"/>
                    </a:lnTo>
                    <a:lnTo>
                      <a:pt x="50" y="50"/>
                    </a:lnTo>
                    <a:lnTo>
                      <a:pt x="52" y="51"/>
                    </a:lnTo>
                    <a:lnTo>
                      <a:pt x="54" y="51"/>
                    </a:lnTo>
                    <a:lnTo>
                      <a:pt x="54" y="53"/>
                    </a:lnTo>
                    <a:lnTo>
                      <a:pt x="54" y="55"/>
                    </a:lnTo>
                    <a:lnTo>
                      <a:pt x="54" y="57"/>
                    </a:lnTo>
                    <a:lnTo>
                      <a:pt x="56" y="57"/>
                    </a:lnTo>
                    <a:lnTo>
                      <a:pt x="56" y="55"/>
                    </a:lnTo>
                    <a:lnTo>
                      <a:pt x="54" y="55"/>
                    </a:lnTo>
                    <a:lnTo>
                      <a:pt x="54" y="53"/>
                    </a:lnTo>
                    <a:lnTo>
                      <a:pt x="56" y="53"/>
                    </a:lnTo>
                    <a:lnTo>
                      <a:pt x="56" y="55"/>
                    </a:lnTo>
                    <a:lnTo>
                      <a:pt x="58" y="57"/>
                    </a:lnTo>
                    <a:lnTo>
                      <a:pt x="60" y="57"/>
                    </a:lnTo>
                    <a:lnTo>
                      <a:pt x="60" y="59"/>
                    </a:lnTo>
                    <a:lnTo>
                      <a:pt x="62" y="59"/>
                    </a:lnTo>
                    <a:lnTo>
                      <a:pt x="62" y="61"/>
                    </a:lnTo>
                    <a:lnTo>
                      <a:pt x="64" y="63"/>
                    </a:lnTo>
                    <a:lnTo>
                      <a:pt x="66" y="65"/>
                    </a:lnTo>
                    <a:lnTo>
                      <a:pt x="66" y="67"/>
                    </a:lnTo>
                    <a:lnTo>
                      <a:pt x="67" y="67"/>
                    </a:lnTo>
                    <a:lnTo>
                      <a:pt x="67" y="69"/>
                    </a:lnTo>
                    <a:lnTo>
                      <a:pt x="69" y="71"/>
                    </a:lnTo>
                    <a:lnTo>
                      <a:pt x="69" y="73"/>
                    </a:lnTo>
                    <a:lnTo>
                      <a:pt x="71" y="74"/>
                    </a:lnTo>
                    <a:lnTo>
                      <a:pt x="73" y="76"/>
                    </a:lnTo>
                    <a:lnTo>
                      <a:pt x="73" y="78"/>
                    </a:lnTo>
                    <a:lnTo>
                      <a:pt x="75" y="80"/>
                    </a:lnTo>
                    <a:lnTo>
                      <a:pt x="77" y="80"/>
                    </a:lnTo>
                    <a:lnTo>
                      <a:pt x="77" y="82"/>
                    </a:lnTo>
                    <a:lnTo>
                      <a:pt x="77" y="84"/>
                    </a:lnTo>
                    <a:lnTo>
                      <a:pt x="79" y="86"/>
                    </a:lnTo>
                    <a:lnTo>
                      <a:pt x="79" y="84"/>
                    </a:lnTo>
                    <a:lnTo>
                      <a:pt x="77" y="84"/>
                    </a:lnTo>
                    <a:lnTo>
                      <a:pt x="77" y="82"/>
                    </a:lnTo>
                    <a:lnTo>
                      <a:pt x="75" y="82"/>
                    </a:lnTo>
                    <a:lnTo>
                      <a:pt x="75" y="80"/>
                    </a:lnTo>
                    <a:lnTo>
                      <a:pt x="75" y="78"/>
                    </a:lnTo>
                    <a:lnTo>
                      <a:pt x="73" y="78"/>
                    </a:lnTo>
                    <a:lnTo>
                      <a:pt x="73" y="76"/>
                    </a:lnTo>
                    <a:lnTo>
                      <a:pt x="71" y="76"/>
                    </a:lnTo>
                    <a:lnTo>
                      <a:pt x="71" y="74"/>
                    </a:lnTo>
                    <a:lnTo>
                      <a:pt x="69" y="74"/>
                    </a:lnTo>
                    <a:lnTo>
                      <a:pt x="69" y="73"/>
                    </a:lnTo>
                    <a:lnTo>
                      <a:pt x="69" y="71"/>
                    </a:lnTo>
                    <a:lnTo>
                      <a:pt x="69" y="73"/>
                    </a:lnTo>
                    <a:lnTo>
                      <a:pt x="67" y="71"/>
                    </a:lnTo>
                    <a:lnTo>
                      <a:pt x="67" y="69"/>
                    </a:lnTo>
                    <a:lnTo>
                      <a:pt x="66" y="69"/>
                    </a:lnTo>
                    <a:lnTo>
                      <a:pt x="66" y="67"/>
                    </a:lnTo>
                    <a:lnTo>
                      <a:pt x="64" y="67"/>
                    </a:lnTo>
                    <a:lnTo>
                      <a:pt x="62" y="67"/>
                    </a:lnTo>
                    <a:lnTo>
                      <a:pt x="62" y="65"/>
                    </a:lnTo>
                    <a:lnTo>
                      <a:pt x="60" y="65"/>
                    </a:lnTo>
                    <a:lnTo>
                      <a:pt x="60" y="63"/>
                    </a:lnTo>
                    <a:lnTo>
                      <a:pt x="60" y="61"/>
                    </a:lnTo>
                    <a:lnTo>
                      <a:pt x="60" y="59"/>
                    </a:lnTo>
                    <a:lnTo>
                      <a:pt x="58" y="59"/>
                    </a:lnTo>
                    <a:lnTo>
                      <a:pt x="60" y="57"/>
                    </a:lnTo>
                    <a:lnTo>
                      <a:pt x="58" y="57"/>
                    </a:lnTo>
                    <a:lnTo>
                      <a:pt x="58" y="59"/>
                    </a:lnTo>
                    <a:lnTo>
                      <a:pt x="58" y="57"/>
                    </a:lnTo>
                    <a:lnTo>
                      <a:pt x="56" y="57"/>
                    </a:lnTo>
                    <a:lnTo>
                      <a:pt x="56" y="59"/>
                    </a:lnTo>
                    <a:lnTo>
                      <a:pt x="56" y="61"/>
                    </a:lnTo>
                    <a:lnTo>
                      <a:pt x="56" y="63"/>
                    </a:lnTo>
                    <a:lnTo>
                      <a:pt x="58" y="63"/>
                    </a:lnTo>
                    <a:lnTo>
                      <a:pt x="56" y="63"/>
                    </a:lnTo>
                    <a:lnTo>
                      <a:pt x="56" y="65"/>
                    </a:lnTo>
                    <a:lnTo>
                      <a:pt x="58" y="65"/>
                    </a:lnTo>
                    <a:lnTo>
                      <a:pt x="58" y="67"/>
                    </a:lnTo>
                    <a:lnTo>
                      <a:pt x="60" y="69"/>
                    </a:lnTo>
                    <a:lnTo>
                      <a:pt x="60" y="67"/>
                    </a:lnTo>
                    <a:lnTo>
                      <a:pt x="60" y="69"/>
                    </a:lnTo>
                    <a:lnTo>
                      <a:pt x="62" y="71"/>
                    </a:lnTo>
                    <a:lnTo>
                      <a:pt x="62" y="73"/>
                    </a:lnTo>
                    <a:lnTo>
                      <a:pt x="64" y="73"/>
                    </a:lnTo>
                    <a:lnTo>
                      <a:pt x="64" y="74"/>
                    </a:lnTo>
                    <a:lnTo>
                      <a:pt x="66" y="76"/>
                    </a:lnTo>
                    <a:lnTo>
                      <a:pt x="66" y="78"/>
                    </a:lnTo>
                    <a:lnTo>
                      <a:pt x="67" y="78"/>
                    </a:lnTo>
                    <a:lnTo>
                      <a:pt x="69" y="78"/>
                    </a:lnTo>
                    <a:lnTo>
                      <a:pt x="69" y="80"/>
                    </a:lnTo>
                    <a:lnTo>
                      <a:pt x="71" y="80"/>
                    </a:lnTo>
                    <a:lnTo>
                      <a:pt x="71" y="82"/>
                    </a:lnTo>
                    <a:lnTo>
                      <a:pt x="73" y="82"/>
                    </a:lnTo>
                    <a:lnTo>
                      <a:pt x="73" y="84"/>
                    </a:lnTo>
                    <a:lnTo>
                      <a:pt x="75" y="86"/>
                    </a:lnTo>
                    <a:lnTo>
                      <a:pt x="75" y="88"/>
                    </a:lnTo>
                    <a:lnTo>
                      <a:pt x="77" y="88"/>
                    </a:lnTo>
                    <a:lnTo>
                      <a:pt x="77" y="86"/>
                    </a:lnTo>
                    <a:lnTo>
                      <a:pt x="75" y="86"/>
                    </a:lnTo>
                    <a:lnTo>
                      <a:pt x="75" y="84"/>
                    </a:lnTo>
                    <a:lnTo>
                      <a:pt x="75" y="82"/>
                    </a:lnTo>
                    <a:lnTo>
                      <a:pt x="73" y="80"/>
                    </a:lnTo>
                    <a:lnTo>
                      <a:pt x="75" y="80"/>
                    </a:lnTo>
                    <a:lnTo>
                      <a:pt x="75" y="82"/>
                    </a:lnTo>
                    <a:lnTo>
                      <a:pt x="77" y="82"/>
                    </a:lnTo>
                    <a:lnTo>
                      <a:pt x="77" y="84"/>
                    </a:lnTo>
                    <a:lnTo>
                      <a:pt x="77" y="86"/>
                    </a:lnTo>
                    <a:lnTo>
                      <a:pt x="79" y="86"/>
                    </a:lnTo>
                    <a:lnTo>
                      <a:pt x="79" y="88"/>
                    </a:lnTo>
                    <a:lnTo>
                      <a:pt x="81" y="90"/>
                    </a:lnTo>
                    <a:lnTo>
                      <a:pt x="81" y="92"/>
                    </a:lnTo>
                    <a:lnTo>
                      <a:pt x="83" y="92"/>
                    </a:lnTo>
                    <a:lnTo>
                      <a:pt x="83" y="94"/>
                    </a:lnTo>
                    <a:lnTo>
                      <a:pt x="83" y="92"/>
                    </a:lnTo>
                    <a:lnTo>
                      <a:pt x="81" y="92"/>
                    </a:lnTo>
                    <a:lnTo>
                      <a:pt x="81" y="90"/>
                    </a:lnTo>
                    <a:lnTo>
                      <a:pt x="81" y="88"/>
                    </a:lnTo>
                    <a:lnTo>
                      <a:pt x="79" y="88"/>
                    </a:lnTo>
                    <a:lnTo>
                      <a:pt x="79" y="86"/>
                    </a:lnTo>
                    <a:lnTo>
                      <a:pt x="79" y="88"/>
                    </a:lnTo>
                    <a:lnTo>
                      <a:pt x="81" y="88"/>
                    </a:lnTo>
                    <a:lnTo>
                      <a:pt x="83" y="92"/>
                    </a:lnTo>
                    <a:lnTo>
                      <a:pt x="83" y="94"/>
                    </a:lnTo>
                    <a:lnTo>
                      <a:pt x="85" y="96"/>
                    </a:lnTo>
                    <a:lnTo>
                      <a:pt x="85" y="98"/>
                    </a:lnTo>
                    <a:lnTo>
                      <a:pt x="87" y="101"/>
                    </a:lnTo>
                    <a:lnTo>
                      <a:pt x="89" y="103"/>
                    </a:lnTo>
                    <a:lnTo>
                      <a:pt x="89" y="105"/>
                    </a:lnTo>
                    <a:lnTo>
                      <a:pt x="89" y="107"/>
                    </a:lnTo>
                    <a:lnTo>
                      <a:pt x="90" y="109"/>
                    </a:lnTo>
                    <a:lnTo>
                      <a:pt x="90" y="111"/>
                    </a:lnTo>
                    <a:lnTo>
                      <a:pt x="90" y="113"/>
                    </a:lnTo>
                    <a:lnTo>
                      <a:pt x="90" y="115"/>
                    </a:lnTo>
                    <a:lnTo>
                      <a:pt x="90" y="117"/>
                    </a:lnTo>
                    <a:lnTo>
                      <a:pt x="92" y="119"/>
                    </a:lnTo>
                    <a:lnTo>
                      <a:pt x="90" y="119"/>
                    </a:lnTo>
                    <a:lnTo>
                      <a:pt x="90" y="117"/>
                    </a:lnTo>
                    <a:lnTo>
                      <a:pt x="90" y="115"/>
                    </a:lnTo>
                    <a:lnTo>
                      <a:pt x="90" y="113"/>
                    </a:lnTo>
                    <a:lnTo>
                      <a:pt x="89" y="113"/>
                    </a:lnTo>
                    <a:lnTo>
                      <a:pt x="90" y="111"/>
                    </a:lnTo>
                    <a:lnTo>
                      <a:pt x="90" y="109"/>
                    </a:lnTo>
                    <a:lnTo>
                      <a:pt x="89" y="109"/>
                    </a:lnTo>
                    <a:lnTo>
                      <a:pt x="89" y="107"/>
                    </a:lnTo>
                    <a:lnTo>
                      <a:pt x="87" y="107"/>
                    </a:lnTo>
                    <a:lnTo>
                      <a:pt x="87" y="105"/>
                    </a:lnTo>
                    <a:lnTo>
                      <a:pt x="87" y="103"/>
                    </a:lnTo>
                    <a:lnTo>
                      <a:pt x="87" y="101"/>
                    </a:lnTo>
                    <a:lnTo>
                      <a:pt x="85" y="101"/>
                    </a:lnTo>
                    <a:lnTo>
                      <a:pt x="85" y="99"/>
                    </a:lnTo>
                    <a:lnTo>
                      <a:pt x="85" y="101"/>
                    </a:lnTo>
                    <a:lnTo>
                      <a:pt x="85" y="103"/>
                    </a:lnTo>
                    <a:lnTo>
                      <a:pt x="85" y="105"/>
                    </a:lnTo>
                    <a:lnTo>
                      <a:pt x="87" y="105"/>
                    </a:lnTo>
                    <a:lnTo>
                      <a:pt x="85" y="105"/>
                    </a:lnTo>
                    <a:lnTo>
                      <a:pt x="87" y="105"/>
                    </a:lnTo>
                    <a:lnTo>
                      <a:pt x="87" y="107"/>
                    </a:lnTo>
                    <a:lnTo>
                      <a:pt x="85" y="107"/>
                    </a:lnTo>
                    <a:lnTo>
                      <a:pt x="87" y="107"/>
                    </a:lnTo>
                    <a:lnTo>
                      <a:pt x="87" y="109"/>
                    </a:lnTo>
                    <a:lnTo>
                      <a:pt x="87" y="111"/>
                    </a:lnTo>
                    <a:lnTo>
                      <a:pt x="87" y="109"/>
                    </a:lnTo>
                    <a:lnTo>
                      <a:pt x="87" y="111"/>
                    </a:lnTo>
                    <a:lnTo>
                      <a:pt x="89" y="111"/>
                    </a:lnTo>
                    <a:lnTo>
                      <a:pt x="89" y="113"/>
                    </a:lnTo>
                    <a:lnTo>
                      <a:pt x="87" y="113"/>
                    </a:lnTo>
                    <a:lnTo>
                      <a:pt x="87" y="115"/>
                    </a:lnTo>
                    <a:lnTo>
                      <a:pt x="87" y="113"/>
                    </a:lnTo>
                    <a:lnTo>
                      <a:pt x="89" y="113"/>
                    </a:lnTo>
                    <a:lnTo>
                      <a:pt x="89" y="115"/>
                    </a:lnTo>
                    <a:lnTo>
                      <a:pt x="89" y="117"/>
                    </a:lnTo>
                    <a:lnTo>
                      <a:pt x="89" y="119"/>
                    </a:lnTo>
                    <a:lnTo>
                      <a:pt x="89" y="121"/>
                    </a:lnTo>
                    <a:lnTo>
                      <a:pt x="90" y="121"/>
                    </a:lnTo>
                    <a:lnTo>
                      <a:pt x="89" y="123"/>
                    </a:lnTo>
                    <a:lnTo>
                      <a:pt x="90" y="123"/>
                    </a:lnTo>
                    <a:lnTo>
                      <a:pt x="92" y="123"/>
                    </a:lnTo>
                    <a:lnTo>
                      <a:pt x="90" y="121"/>
                    </a:lnTo>
                    <a:lnTo>
                      <a:pt x="90" y="119"/>
                    </a:lnTo>
                    <a:lnTo>
                      <a:pt x="90" y="121"/>
                    </a:lnTo>
                    <a:lnTo>
                      <a:pt x="92" y="121"/>
                    </a:lnTo>
                    <a:lnTo>
                      <a:pt x="92" y="123"/>
                    </a:lnTo>
                    <a:lnTo>
                      <a:pt x="92" y="124"/>
                    </a:lnTo>
                    <a:lnTo>
                      <a:pt x="94" y="126"/>
                    </a:lnTo>
                    <a:lnTo>
                      <a:pt x="94" y="128"/>
                    </a:lnTo>
                    <a:lnTo>
                      <a:pt x="96" y="132"/>
                    </a:lnTo>
                    <a:lnTo>
                      <a:pt x="98" y="134"/>
                    </a:lnTo>
                    <a:lnTo>
                      <a:pt x="96" y="134"/>
                    </a:lnTo>
                    <a:lnTo>
                      <a:pt x="96" y="132"/>
                    </a:lnTo>
                    <a:lnTo>
                      <a:pt x="96" y="130"/>
                    </a:lnTo>
                    <a:lnTo>
                      <a:pt x="94" y="130"/>
                    </a:lnTo>
                    <a:lnTo>
                      <a:pt x="94" y="128"/>
                    </a:lnTo>
                    <a:lnTo>
                      <a:pt x="94" y="126"/>
                    </a:lnTo>
                    <a:lnTo>
                      <a:pt x="92" y="126"/>
                    </a:lnTo>
                    <a:lnTo>
                      <a:pt x="92" y="124"/>
                    </a:lnTo>
                    <a:lnTo>
                      <a:pt x="92" y="126"/>
                    </a:lnTo>
                    <a:lnTo>
                      <a:pt x="94" y="126"/>
                    </a:lnTo>
                    <a:lnTo>
                      <a:pt x="94" y="128"/>
                    </a:lnTo>
                    <a:lnTo>
                      <a:pt x="94" y="130"/>
                    </a:lnTo>
                    <a:lnTo>
                      <a:pt x="92" y="130"/>
                    </a:lnTo>
                    <a:lnTo>
                      <a:pt x="94" y="130"/>
                    </a:lnTo>
                    <a:lnTo>
                      <a:pt x="94" y="132"/>
                    </a:lnTo>
                    <a:lnTo>
                      <a:pt x="94" y="134"/>
                    </a:lnTo>
                    <a:lnTo>
                      <a:pt x="96" y="134"/>
                    </a:lnTo>
                    <a:lnTo>
                      <a:pt x="96" y="136"/>
                    </a:lnTo>
                    <a:lnTo>
                      <a:pt x="98" y="136"/>
                    </a:lnTo>
                    <a:lnTo>
                      <a:pt x="98" y="138"/>
                    </a:lnTo>
                    <a:lnTo>
                      <a:pt x="100" y="140"/>
                    </a:lnTo>
                    <a:lnTo>
                      <a:pt x="100" y="138"/>
                    </a:lnTo>
                    <a:lnTo>
                      <a:pt x="100" y="140"/>
                    </a:lnTo>
                    <a:lnTo>
                      <a:pt x="102" y="140"/>
                    </a:lnTo>
                    <a:lnTo>
                      <a:pt x="102" y="142"/>
                    </a:lnTo>
                    <a:lnTo>
                      <a:pt x="100" y="142"/>
                    </a:lnTo>
                    <a:lnTo>
                      <a:pt x="102" y="144"/>
                    </a:lnTo>
                    <a:lnTo>
                      <a:pt x="102" y="146"/>
                    </a:lnTo>
                    <a:lnTo>
                      <a:pt x="104" y="146"/>
                    </a:lnTo>
                    <a:lnTo>
                      <a:pt x="104" y="148"/>
                    </a:lnTo>
                    <a:lnTo>
                      <a:pt x="106" y="148"/>
                    </a:lnTo>
                    <a:lnTo>
                      <a:pt x="106" y="149"/>
                    </a:lnTo>
                    <a:lnTo>
                      <a:pt x="108" y="149"/>
                    </a:lnTo>
                    <a:lnTo>
                      <a:pt x="108" y="151"/>
                    </a:lnTo>
                    <a:lnTo>
                      <a:pt x="106" y="151"/>
                    </a:lnTo>
                    <a:lnTo>
                      <a:pt x="106" y="153"/>
                    </a:lnTo>
                    <a:lnTo>
                      <a:pt x="106" y="155"/>
                    </a:lnTo>
                    <a:lnTo>
                      <a:pt x="106" y="153"/>
                    </a:lnTo>
                    <a:lnTo>
                      <a:pt x="106" y="151"/>
                    </a:lnTo>
                    <a:lnTo>
                      <a:pt x="108" y="151"/>
                    </a:lnTo>
                    <a:lnTo>
                      <a:pt x="108" y="149"/>
                    </a:lnTo>
                    <a:lnTo>
                      <a:pt x="108" y="148"/>
                    </a:lnTo>
                    <a:lnTo>
                      <a:pt x="106" y="148"/>
                    </a:lnTo>
                    <a:lnTo>
                      <a:pt x="108" y="148"/>
                    </a:lnTo>
                    <a:lnTo>
                      <a:pt x="108" y="146"/>
                    </a:lnTo>
                    <a:lnTo>
                      <a:pt x="106" y="146"/>
                    </a:lnTo>
                    <a:lnTo>
                      <a:pt x="106" y="144"/>
                    </a:lnTo>
                    <a:lnTo>
                      <a:pt x="104" y="144"/>
                    </a:lnTo>
                    <a:lnTo>
                      <a:pt x="104" y="142"/>
                    </a:lnTo>
                    <a:lnTo>
                      <a:pt x="104" y="144"/>
                    </a:lnTo>
                    <a:lnTo>
                      <a:pt x="108" y="148"/>
                    </a:lnTo>
                    <a:lnTo>
                      <a:pt x="110" y="149"/>
                    </a:lnTo>
                    <a:lnTo>
                      <a:pt x="112" y="151"/>
                    </a:lnTo>
                    <a:lnTo>
                      <a:pt x="114" y="151"/>
                    </a:lnTo>
                    <a:lnTo>
                      <a:pt x="114" y="153"/>
                    </a:lnTo>
                    <a:lnTo>
                      <a:pt x="115" y="153"/>
                    </a:lnTo>
                    <a:lnTo>
                      <a:pt x="115" y="155"/>
                    </a:lnTo>
                    <a:lnTo>
                      <a:pt x="117" y="155"/>
                    </a:lnTo>
                    <a:lnTo>
                      <a:pt x="115" y="155"/>
                    </a:lnTo>
                    <a:lnTo>
                      <a:pt x="115" y="157"/>
                    </a:lnTo>
                    <a:lnTo>
                      <a:pt x="115" y="159"/>
                    </a:lnTo>
                    <a:lnTo>
                      <a:pt x="115" y="161"/>
                    </a:lnTo>
                    <a:lnTo>
                      <a:pt x="117" y="163"/>
                    </a:lnTo>
                    <a:lnTo>
                      <a:pt x="115" y="163"/>
                    </a:lnTo>
                    <a:lnTo>
                      <a:pt x="117" y="163"/>
                    </a:lnTo>
                    <a:lnTo>
                      <a:pt x="117" y="165"/>
                    </a:lnTo>
                    <a:lnTo>
                      <a:pt x="117" y="167"/>
                    </a:lnTo>
                    <a:lnTo>
                      <a:pt x="117" y="169"/>
                    </a:lnTo>
                    <a:lnTo>
                      <a:pt x="119" y="169"/>
                    </a:lnTo>
                    <a:lnTo>
                      <a:pt x="121" y="169"/>
                    </a:lnTo>
                    <a:lnTo>
                      <a:pt x="121" y="167"/>
                    </a:lnTo>
                    <a:lnTo>
                      <a:pt x="121" y="169"/>
                    </a:lnTo>
                    <a:lnTo>
                      <a:pt x="121" y="167"/>
                    </a:lnTo>
                    <a:lnTo>
                      <a:pt x="121" y="169"/>
                    </a:lnTo>
                    <a:lnTo>
                      <a:pt x="123" y="169"/>
                    </a:lnTo>
                    <a:lnTo>
                      <a:pt x="123" y="167"/>
                    </a:lnTo>
                    <a:lnTo>
                      <a:pt x="123" y="165"/>
                    </a:lnTo>
                    <a:lnTo>
                      <a:pt x="121" y="165"/>
                    </a:lnTo>
                    <a:lnTo>
                      <a:pt x="121" y="163"/>
                    </a:lnTo>
                    <a:lnTo>
                      <a:pt x="121" y="161"/>
                    </a:lnTo>
                    <a:lnTo>
                      <a:pt x="119" y="161"/>
                    </a:lnTo>
                    <a:lnTo>
                      <a:pt x="119" y="159"/>
                    </a:lnTo>
                    <a:lnTo>
                      <a:pt x="121" y="161"/>
                    </a:lnTo>
                    <a:lnTo>
                      <a:pt x="123" y="161"/>
                    </a:lnTo>
                    <a:lnTo>
                      <a:pt x="123" y="163"/>
                    </a:lnTo>
                    <a:lnTo>
                      <a:pt x="123" y="165"/>
                    </a:lnTo>
                    <a:lnTo>
                      <a:pt x="125" y="165"/>
                    </a:lnTo>
                    <a:lnTo>
                      <a:pt x="125" y="167"/>
                    </a:lnTo>
                    <a:lnTo>
                      <a:pt x="127" y="167"/>
                    </a:lnTo>
                    <a:lnTo>
                      <a:pt x="127" y="169"/>
                    </a:lnTo>
                    <a:lnTo>
                      <a:pt x="129" y="169"/>
                    </a:lnTo>
                    <a:lnTo>
                      <a:pt x="127" y="169"/>
                    </a:lnTo>
                    <a:lnTo>
                      <a:pt x="127" y="167"/>
                    </a:lnTo>
                    <a:lnTo>
                      <a:pt x="125" y="167"/>
                    </a:lnTo>
                    <a:lnTo>
                      <a:pt x="125" y="165"/>
                    </a:lnTo>
                    <a:lnTo>
                      <a:pt x="125" y="163"/>
                    </a:lnTo>
                    <a:lnTo>
                      <a:pt x="123" y="163"/>
                    </a:lnTo>
                    <a:lnTo>
                      <a:pt x="125" y="163"/>
                    </a:lnTo>
                    <a:lnTo>
                      <a:pt x="127" y="165"/>
                    </a:lnTo>
                    <a:lnTo>
                      <a:pt x="127" y="167"/>
                    </a:lnTo>
                    <a:lnTo>
                      <a:pt x="129" y="169"/>
                    </a:lnTo>
                    <a:lnTo>
                      <a:pt x="129" y="171"/>
                    </a:lnTo>
                    <a:lnTo>
                      <a:pt x="131" y="171"/>
                    </a:lnTo>
                    <a:lnTo>
                      <a:pt x="133" y="176"/>
                    </a:lnTo>
                    <a:lnTo>
                      <a:pt x="133" y="174"/>
                    </a:lnTo>
                    <a:lnTo>
                      <a:pt x="131" y="174"/>
                    </a:lnTo>
                    <a:lnTo>
                      <a:pt x="129" y="176"/>
                    </a:lnTo>
                    <a:lnTo>
                      <a:pt x="131" y="176"/>
                    </a:lnTo>
                    <a:lnTo>
                      <a:pt x="129" y="176"/>
                    </a:lnTo>
                    <a:lnTo>
                      <a:pt x="131" y="176"/>
                    </a:lnTo>
                    <a:lnTo>
                      <a:pt x="133" y="178"/>
                    </a:lnTo>
                    <a:lnTo>
                      <a:pt x="135" y="178"/>
                    </a:lnTo>
                    <a:lnTo>
                      <a:pt x="135" y="180"/>
                    </a:lnTo>
                    <a:lnTo>
                      <a:pt x="135" y="178"/>
                    </a:lnTo>
                    <a:lnTo>
                      <a:pt x="137" y="180"/>
                    </a:lnTo>
                    <a:lnTo>
                      <a:pt x="135" y="180"/>
                    </a:lnTo>
                    <a:lnTo>
                      <a:pt x="137" y="180"/>
                    </a:lnTo>
                    <a:lnTo>
                      <a:pt x="137" y="182"/>
                    </a:lnTo>
                    <a:lnTo>
                      <a:pt x="137" y="180"/>
                    </a:lnTo>
                    <a:lnTo>
                      <a:pt x="137" y="182"/>
                    </a:lnTo>
                    <a:lnTo>
                      <a:pt x="139" y="182"/>
                    </a:lnTo>
                    <a:lnTo>
                      <a:pt x="139" y="180"/>
                    </a:lnTo>
                    <a:lnTo>
                      <a:pt x="137" y="180"/>
                    </a:lnTo>
                    <a:lnTo>
                      <a:pt x="137" y="178"/>
                    </a:lnTo>
                    <a:lnTo>
                      <a:pt x="135" y="178"/>
                    </a:lnTo>
                    <a:lnTo>
                      <a:pt x="137" y="178"/>
                    </a:lnTo>
                    <a:lnTo>
                      <a:pt x="137" y="180"/>
                    </a:lnTo>
                    <a:lnTo>
                      <a:pt x="139" y="180"/>
                    </a:lnTo>
                    <a:lnTo>
                      <a:pt x="140" y="184"/>
                    </a:lnTo>
                    <a:lnTo>
                      <a:pt x="142" y="184"/>
                    </a:lnTo>
                    <a:lnTo>
                      <a:pt x="142" y="186"/>
                    </a:lnTo>
                    <a:lnTo>
                      <a:pt x="142" y="188"/>
                    </a:lnTo>
                    <a:lnTo>
                      <a:pt x="144" y="188"/>
                    </a:lnTo>
                    <a:lnTo>
                      <a:pt x="144" y="190"/>
                    </a:lnTo>
                    <a:lnTo>
                      <a:pt x="146" y="190"/>
                    </a:lnTo>
                    <a:lnTo>
                      <a:pt x="146" y="192"/>
                    </a:lnTo>
                    <a:lnTo>
                      <a:pt x="148" y="194"/>
                    </a:lnTo>
                    <a:lnTo>
                      <a:pt x="150" y="196"/>
                    </a:lnTo>
                    <a:lnTo>
                      <a:pt x="150" y="198"/>
                    </a:lnTo>
                    <a:lnTo>
                      <a:pt x="152" y="198"/>
                    </a:lnTo>
                    <a:lnTo>
                      <a:pt x="152" y="199"/>
                    </a:lnTo>
                    <a:lnTo>
                      <a:pt x="154" y="201"/>
                    </a:lnTo>
                    <a:lnTo>
                      <a:pt x="156" y="203"/>
                    </a:lnTo>
                    <a:lnTo>
                      <a:pt x="156" y="205"/>
                    </a:lnTo>
                    <a:lnTo>
                      <a:pt x="158" y="205"/>
                    </a:lnTo>
                    <a:lnTo>
                      <a:pt x="158" y="207"/>
                    </a:lnTo>
                    <a:lnTo>
                      <a:pt x="160" y="207"/>
                    </a:lnTo>
                    <a:lnTo>
                      <a:pt x="160" y="209"/>
                    </a:lnTo>
                    <a:lnTo>
                      <a:pt x="162" y="211"/>
                    </a:lnTo>
                    <a:lnTo>
                      <a:pt x="162" y="213"/>
                    </a:lnTo>
                    <a:lnTo>
                      <a:pt x="164" y="213"/>
                    </a:lnTo>
                    <a:lnTo>
                      <a:pt x="164" y="215"/>
                    </a:lnTo>
                    <a:lnTo>
                      <a:pt x="164" y="217"/>
                    </a:lnTo>
                    <a:lnTo>
                      <a:pt x="165" y="217"/>
                    </a:lnTo>
                    <a:lnTo>
                      <a:pt x="167" y="221"/>
                    </a:lnTo>
                    <a:lnTo>
                      <a:pt x="169" y="223"/>
                    </a:lnTo>
                    <a:lnTo>
                      <a:pt x="169" y="224"/>
                    </a:lnTo>
                    <a:lnTo>
                      <a:pt x="171" y="224"/>
                    </a:lnTo>
                    <a:lnTo>
                      <a:pt x="171" y="226"/>
                    </a:lnTo>
                    <a:lnTo>
                      <a:pt x="173" y="228"/>
                    </a:lnTo>
                    <a:lnTo>
                      <a:pt x="175" y="228"/>
                    </a:lnTo>
                    <a:lnTo>
                      <a:pt x="175" y="230"/>
                    </a:lnTo>
                    <a:lnTo>
                      <a:pt x="177" y="232"/>
                    </a:lnTo>
                    <a:lnTo>
                      <a:pt x="179" y="234"/>
                    </a:lnTo>
                    <a:lnTo>
                      <a:pt x="181" y="236"/>
                    </a:lnTo>
                    <a:lnTo>
                      <a:pt x="183" y="238"/>
                    </a:lnTo>
                    <a:lnTo>
                      <a:pt x="185" y="238"/>
                    </a:lnTo>
                    <a:lnTo>
                      <a:pt x="185" y="240"/>
                    </a:lnTo>
                    <a:lnTo>
                      <a:pt x="187" y="24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8" name="Freeform 118"/>
              <p:cNvSpPr>
                <a:spLocks noEditPoints="1"/>
              </p:cNvSpPr>
              <p:nvPr/>
            </p:nvSpPr>
            <p:spPr bwMode="auto">
              <a:xfrm>
                <a:off x="6647779" y="2808704"/>
                <a:ext cx="958389" cy="996243"/>
              </a:xfrm>
              <a:custGeom>
                <a:avLst/>
                <a:gdLst>
                  <a:gd name="T0" fmla="*/ 211 w 557"/>
                  <a:gd name="T1" fmla="*/ 577 h 579"/>
                  <a:gd name="T2" fmla="*/ 207 w 557"/>
                  <a:gd name="T3" fmla="*/ 573 h 579"/>
                  <a:gd name="T4" fmla="*/ 532 w 557"/>
                  <a:gd name="T5" fmla="*/ 377 h 579"/>
                  <a:gd name="T6" fmla="*/ 532 w 557"/>
                  <a:gd name="T7" fmla="*/ 370 h 579"/>
                  <a:gd name="T8" fmla="*/ 530 w 557"/>
                  <a:gd name="T9" fmla="*/ 371 h 579"/>
                  <a:gd name="T10" fmla="*/ 518 w 557"/>
                  <a:gd name="T11" fmla="*/ 360 h 579"/>
                  <a:gd name="T12" fmla="*/ 551 w 557"/>
                  <a:gd name="T13" fmla="*/ 304 h 579"/>
                  <a:gd name="T14" fmla="*/ 553 w 557"/>
                  <a:gd name="T15" fmla="*/ 312 h 579"/>
                  <a:gd name="T16" fmla="*/ 555 w 557"/>
                  <a:gd name="T17" fmla="*/ 323 h 579"/>
                  <a:gd name="T18" fmla="*/ 553 w 557"/>
                  <a:gd name="T19" fmla="*/ 335 h 579"/>
                  <a:gd name="T20" fmla="*/ 547 w 557"/>
                  <a:gd name="T21" fmla="*/ 333 h 579"/>
                  <a:gd name="T22" fmla="*/ 551 w 557"/>
                  <a:gd name="T23" fmla="*/ 325 h 579"/>
                  <a:gd name="T24" fmla="*/ 551 w 557"/>
                  <a:gd name="T25" fmla="*/ 318 h 579"/>
                  <a:gd name="T26" fmla="*/ 551 w 557"/>
                  <a:gd name="T27" fmla="*/ 306 h 579"/>
                  <a:gd name="T28" fmla="*/ 553 w 557"/>
                  <a:gd name="T29" fmla="*/ 287 h 579"/>
                  <a:gd name="T30" fmla="*/ 553 w 557"/>
                  <a:gd name="T31" fmla="*/ 291 h 579"/>
                  <a:gd name="T32" fmla="*/ 557 w 557"/>
                  <a:gd name="T33" fmla="*/ 272 h 579"/>
                  <a:gd name="T34" fmla="*/ 555 w 557"/>
                  <a:gd name="T35" fmla="*/ 250 h 579"/>
                  <a:gd name="T36" fmla="*/ 555 w 557"/>
                  <a:gd name="T37" fmla="*/ 256 h 579"/>
                  <a:gd name="T38" fmla="*/ 553 w 557"/>
                  <a:gd name="T39" fmla="*/ 254 h 579"/>
                  <a:gd name="T40" fmla="*/ 547 w 557"/>
                  <a:gd name="T41" fmla="*/ 227 h 579"/>
                  <a:gd name="T42" fmla="*/ 551 w 557"/>
                  <a:gd name="T43" fmla="*/ 231 h 579"/>
                  <a:gd name="T44" fmla="*/ 541 w 557"/>
                  <a:gd name="T45" fmla="*/ 216 h 579"/>
                  <a:gd name="T46" fmla="*/ 547 w 557"/>
                  <a:gd name="T47" fmla="*/ 162 h 579"/>
                  <a:gd name="T48" fmla="*/ 547 w 557"/>
                  <a:gd name="T49" fmla="*/ 170 h 579"/>
                  <a:gd name="T50" fmla="*/ 545 w 557"/>
                  <a:gd name="T51" fmla="*/ 175 h 579"/>
                  <a:gd name="T52" fmla="*/ 545 w 557"/>
                  <a:gd name="T53" fmla="*/ 168 h 579"/>
                  <a:gd name="T54" fmla="*/ 536 w 557"/>
                  <a:gd name="T55" fmla="*/ 162 h 579"/>
                  <a:gd name="T56" fmla="*/ 540 w 557"/>
                  <a:gd name="T57" fmla="*/ 166 h 579"/>
                  <a:gd name="T58" fmla="*/ 522 w 557"/>
                  <a:gd name="T59" fmla="*/ 173 h 579"/>
                  <a:gd name="T60" fmla="*/ 549 w 557"/>
                  <a:gd name="T61" fmla="*/ 139 h 579"/>
                  <a:gd name="T62" fmla="*/ 547 w 557"/>
                  <a:gd name="T63" fmla="*/ 145 h 579"/>
                  <a:gd name="T64" fmla="*/ 180 w 557"/>
                  <a:gd name="T65" fmla="*/ 356 h 579"/>
                  <a:gd name="T66" fmla="*/ 190 w 557"/>
                  <a:gd name="T67" fmla="*/ 345 h 579"/>
                  <a:gd name="T68" fmla="*/ 184 w 557"/>
                  <a:gd name="T69" fmla="*/ 350 h 579"/>
                  <a:gd name="T70" fmla="*/ 190 w 557"/>
                  <a:gd name="T71" fmla="*/ 345 h 579"/>
                  <a:gd name="T72" fmla="*/ 518 w 557"/>
                  <a:gd name="T73" fmla="*/ 108 h 579"/>
                  <a:gd name="T74" fmla="*/ 520 w 557"/>
                  <a:gd name="T75" fmla="*/ 108 h 579"/>
                  <a:gd name="T76" fmla="*/ 520 w 557"/>
                  <a:gd name="T77" fmla="*/ 72 h 579"/>
                  <a:gd name="T78" fmla="*/ 543 w 557"/>
                  <a:gd name="T79" fmla="*/ 6 h 579"/>
                  <a:gd name="T80" fmla="*/ 543 w 557"/>
                  <a:gd name="T81" fmla="*/ 14 h 579"/>
                  <a:gd name="T82" fmla="*/ 541 w 557"/>
                  <a:gd name="T83" fmla="*/ 20 h 579"/>
                  <a:gd name="T84" fmla="*/ 536 w 557"/>
                  <a:gd name="T85" fmla="*/ 16 h 579"/>
                  <a:gd name="T86" fmla="*/ 536 w 557"/>
                  <a:gd name="T87" fmla="*/ 6 h 579"/>
                  <a:gd name="T88" fmla="*/ 507 w 557"/>
                  <a:gd name="T89" fmla="*/ 18 h 579"/>
                  <a:gd name="T90" fmla="*/ 515 w 557"/>
                  <a:gd name="T91" fmla="*/ 22 h 579"/>
                  <a:gd name="T92" fmla="*/ 509 w 557"/>
                  <a:gd name="T93" fmla="*/ 24 h 579"/>
                  <a:gd name="T94" fmla="*/ 507 w 557"/>
                  <a:gd name="T95" fmla="*/ 18 h 579"/>
                  <a:gd name="T96" fmla="*/ 103 w 557"/>
                  <a:gd name="T97" fmla="*/ 208 h 579"/>
                  <a:gd name="T98" fmla="*/ 111 w 557"/>
                  <a:gd name="T99" fmla="*/ 210 h 579"/>
                  <a:gd name="T100" fmla="*/ 107 w 557"/>
                  <a:gd name="T101" fmla="*/ 206 h 579"/>
                  <a:gd name="T102" fmla="*/ 105 w 557"/>
                  <a:gd name="T103" fmla="*/ 204 h 579"/>
                  <a:gd name="T104" fmla="*/ 90 w 557"/>
                  <a:gd name="T105" fmla="*/ 189 h 579"/>
                  <a:gd name="T106" fmla="*/ 90 w 557"/>
                  <a:gd name="T107" fmla="*/ 189 h 579"/>
                  <a:gd name="T108" fmla="*/ 84 w 557"/>
                  <a:gd name="T109" fmla="*/ 181 h 579"/>
                  <a:gd name="T110" fmla="*/ 77 w 557"/>
                  <a:gd name="T111" fmla="*/ 164 h 579"/>
                  <a:gd name="T112" fmla="*/ 75 w 557"/>
                  <a:gd name="T113" fmla="*/ 152 h 579"/>
                  <a:gd name="T114" fmla="*/ 75 w 557"/>
                  <a:gd name="T115" fmla="*/ 154 h 579"/>
                  <a:gd name="T116" fmla="*/ 0 w 557"/>
                  <a:gd name="T117" fmla="*/ 125 h 579"/>
                  <a:gd name="T118" fmla="*/ 13 w 557"/>
                  <a:gd name="T119" fmla="*/ 108 h 579"/>
                  <a:gd name="T120" fmla="*/ 17 w 557"/>
                  <a:gd name="T121" fmla="*/ 104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7" h="579">
                    <a:moveTo>
                      <a:pt x="209" y="573"/>
                    </a:moveTo>
                    <a:lnTo>
                      <a:pt x="209" y="575"/>
                    </a:lnTo>
                    <a:lnTo>
                      <a:pt x="211" y="575"/>
                    </a:lnTo>
                    <a:lnTo>
                      <a:pt x="211" y="577"/>
                    </a:lnTo>
                    <a:lnTo>
                      <a:pt x="209" y="577"/>
                    </a:lnTo>
                    <a:lnTo>
                      <a:pt x="211" y="577"/>
                    </a:lnTo>
                    <a:lnTo>
                      <a:pt x="209" y="577"/>
                    </a:lnTo>
                    <a:lnTo>
                      <a:pt x="209" y="579"/>
                    </a:lnTo>
                    <a:lnTo>
                      <a:pt x="209" y="577"/>
                    </a:lnTo>
                    <a:lnTo>
                      <a:pt x="209" y="575"/>
                    </a:lnTo>
                    <a:lnTo>
                      <a:pt x="207" y="575"/>
                    </a:lnTo>
                    <a:lnTo>
                      <a:pt x="207" y="573"/>
                    </a:lnTo>
                    <a:lnTo>
                      <a:pt x="209" y="573"/>
                    </a:lnTo>
                    <a:close/>
                    <a:moveTo>
                      <a:pt x="532" y="373"/>
                    </a:moveTo>
                    <a:lnTo>
                      <a:pt x="532" y="375"/>
                    </a:lnTo>
                    <a:lnTo>
                      <a:pt x="534" y="375"/>
                    </a:lnTo>
                    <a:lnTo>
                      <a:pt x="532" y="375"/>
                    </a:lnTo>
                    <a:lnTo>
                      <a:pt x="532" y="377"/>
                    </a:lnTo>
                    <a:lnTo>
                      <a:pt x="530" y="377"/>
                    </a:lnTo>
                    <a:lnTo>
                      <a:pt x="530" y="375"/>
                    </a:lnTo>
                    <a:lnTo>
                      <a:pt x="530" y="373"/>
                    </a:lnTo>
                    <a:lnTo>
                      <a:pt x="532" y="373"/>
                    </a:lnTo>
                    <a:close/>
                    <a:moveTo>
                      <a:pt x="530" y="370"/>
                    </a:moveTo>
                    <a:lnTo>
                      <a:pt x="532" y="370"/>
                    </a:lnTo>
                    <a:lnTo>
                      <a:pt x="532" y="368"/>
                    </a:lnTo>
                    <a:lnTo>
                      <a:pt x="532" y="370"/>
                    </a:lnTo>
                    <a:lnTo>
                      <a:pt x="532" y="371"/>
                    </a:lnTo>
                    <a:lnTo>
                      <a:pt x="532" y="373"/>
                    </a:lnTo>
                    <a:lnTo>
                      <a:pt x="530" y="373"/>
                    </a:lnTo>
                    <a:lnTo>
                      <a:pt x="530" y="371"/>
                    </a:lnTo>
                    <a:lnTo>
                      <a:pt x="530" y="370"/>
                    </a:lnTo>
                    <a:close/>
                    <a:moveTo>
                      <a:pt x="520" y="362"/>
                    </a:moveTo>
                    <a:lnTo>
                      <a:pt x="520" y="364"/>
                    </a:lnTo>
                    <a:lnTo>
                      <a:pt x="520" y="362"/>
                    </a:lnTo>
                    <a:lnTo>
                      <a:pt x="518" y="362"/>
                    </a:lnTo>
                    <a:lnTo>
                      <a:pt x="518" y="360"/>
                    </a:lnTo>
                    <a:lnTo>
                      <a:pt x="518" y="362"/>
                    </a:lnTo>
                    <a:lnTo>
                      <a:pt x="520" y="362"/>
                    </a:lnTo>
                    <a:close/>
                    <a:moveTo>
                      <a:pt x="553" y="308"/>
                    </a:moveTo>
                    <a:lnTo>
                      <a:pt x="553" y="306"/>
                    </a:lnTo>
                    <a:lnTo>
                      <a:pt x="553" y="304"/>
                    </a:lnTo>
                    <a:lnTo>
                      <a:pt x="551" y="304"/>
                    </a:lnTo>
                    <a:lnTo>
                      <a:pt x="553" y="304"/>
                    </a:lnTo>
                    <a:lnTo>
                      <a:pt x="555" y="304"/>
                    </a:lnTo>
                    <a:lnTo>
                      <a:pt x="555" y="306"/>
                    </a:lnTo>
                    <a:lnTo>
                      <a:pt x="555" y="308"/>
                    </a:lnTo>
                    <a:lnTo>
                      <a:pt x="553" y="310"/>
                    </a:lnTo>
                    <a:lnTo>
                      <a:pt x="553" y="312"/>
                    </a:lnTo>
                    <a:lnTo>
                      <a:pt x="555" y="314"/>
                    </a:lnTo>
                    <a:lnTo>
                      <a:pt x="555" y="316"/>
                    </a:lnTo>
                    <a:lnTo>
                      <a:pt x="555" y="318"/>
                    </a:lnTo>
                    <a:lnTo>
                      <a:pt x="555" y="320"/>
                    </a:lnTo>
                    <a:lnTo>
                      <a:pt x="555" y="322"/>
                    </a:lnTo>
                    <a:lnTo>
                      <a:pt x="555" y="323"/>
                    </a:lnTo>
                    <a:lnTo>
                      <a:pt x="555" y="325"/>
                    </a:lnTo>
                    <a:lnTo>
                      <a:pt x="553" y="327"/>
                    </a:lnTo>
                    <a:lnTo>
                      <a:pt x="553" y="329"/>
                    </a:lnTo>
                    <a:lnTo>
                      <a:pt x="553" y="331"/>
                    </a:lnTo>
                    <a:lnTo>
                      <a:pt x="553" y="333"/>
                    </a:lnTo>
                    <a:lnTo>
                      <a:pt x="553" y="335"/>
                    </a:lnTo>
                    <a:lnTo>
                      <a:pt x="553" y="337"/>
                    </a:lnTo>
                    <a:lnTo>
                      <a:pt x="551" y="337"/>
                    </a:lnTo>
                    <a:lnTo>
                      <a:pt x="549" y="337"/>
                    </a:lnTo>
                    <a:lnTo>
                      <a:pt x="549" y="335"/>
                    </a:lnTo>
                    <a:lnTo>
                      <a:pt x="547" y="335"/>
                    </a:lnTo>
                    <a:lnTo>
                      <a:pt x="547" y="333"/>
                    </a:lnTo>
                    <a:lnTo>
                      <a:pt x="547" y="331"/>
                    </a:lnTo>
                    <a:lnTo>
                      <a:pt x="549" y="331"/>
                    </a:lnTo>
                    <a:lnTo>
                      <a:pt x="551" y="331"/>
                    </a:lnTo>
                    <a:lnTo>
                      <a:pt x="551" y="329"/>
                    </a:lnTo>
                    <a:lnTo>
                      <a:pt x="551" y="327"/>
                    </a:lnTo>
                    <a:lnTo>
                      <a:pt x="551" y="325"/>
                    </a:lnTo>
                    <a:lnTo>
                      <a:pt x="549" y="325"/>
                    </a:lnTo>
                    <a:lnTo>
                      <a:pt x="549" y="323"/>
                    </a:lnTo>
                    <a:lnTo>
                      <a:pt x="551" y="323"/>
                    </a:lnTo>
                    <a:lnTo>
                      <a:pt x="551" y="322"/>
                    </a:lnTo>
                    <a:lnTo>
                      <a:pt x="551" y="320"/>
                    </a:lnTo>
                    <a:lnTo>
                      <a:pt x="551" y="318"/>
                    </a:lnTo>
                    <a:lnTo>
                      <a:pt x="551" y="316"/>
                    </a:lnTo>
                    <a:lnTo>
                      <a:pt x="551" y="314"/>
                    </a:lnTo>
                    <a:lnTo>
                      <a:pt x="551" y="312"/>
                    </a:lnTo>
                    <a:lnTo>
                      <a:pt x="551" y="310"/>
                    </a:lnTo>
                    <a:lnTo>
                      <a:pt x="551" y="308"/>
                    </a:lnTo>
                    <a:lnTo>
                      <a:pt x="551" y="306"/>
                    </a:lnTo>
                    <a:lnTo>
                      <a:pt x="551" y="304"/>
                    </a:lnTo>
                    <a:lnTo>
                      <a:pt x="551" y="306"/>
                    </a:lnTo>
                    <a:lnTo>
                      <a:pt x="553" y="308"/>
                    </a:lnTo>
                    <a:close/>
                    <a:moveTo>
                      <a:pt x="551" y="287"/>
                    </a:moveTo>
                    <a:lnTo>
                      <a:pt x="553" y="285"/>
                    </a:lnTo>
                    <a:lnTo>
                      <a:pt x="553" y="287"/>
                    </a:lnTo>
                    <a:lnTo>
                      <a:pt x="555" y="287"/>
                    </a:lnTo>
                    <a:lnTo>
                      <a:pt x="555" y="289"/>
                    </a:lnTo>
                    <a:lnTo>
                      <a:pt x="555" y="291"/>
                    </a:lnTo>
                    <a:lnTo>
                      <a:pt x="553" y="291"/>
                    </a:lnTo>
                    <a:lnTo>
                      <a:pt x="553" y="293"/>
                    </a:lnTo>
                    <a:lnTo>
                      <a:pt x="553" y="291"/>
                    </a:lnTo>
                    <a:lnTo>
                      <a:pt x="551" y="291"/>
                    </a:lnTo>
                    <a:lnTo>
                      <a:pt x="551" y="289"/>
                    </a:lnTo>
                    <a:lnTo>
                      <a:pt x="549" y="289"/>
                    </a:lnTo>
                    <a:lnTo>
                      <a:pt x="551" y="287"/>
                    </a:lnTo>
                    <a:close/>
                    <a:moveTo>
                      <a:pt x="557" y="270"/>
                    </a:moveTo>
                    <a:lnTo>
                      <a:pt x="557" y="272"/>
                    </a:lnTo>
                    <a:lnTo>
                      <a:pt x="557" y="270"/>
                    </a:lnTo>
                    <a:close/>
                    <a:moveTo>
                      <a:pt x="557" y="270"/>
                    </a:moveTo>
                    <a:lnTo>
                      <a:pt x="557" y="268"/>
                    </a:lnTo>
                    <a:lnTo>
                      <a:pt x="557" y="270"/>
                    </a:lnTo>
                    <a:close/>
                    <a:moveTo>
                      <a:pt x="553" y="250"/>
                    </a:moveTo>
                    <a:lnTo>
                      <a:pt x="555" y="250"/>
                    </a:lnTo>
                    <a:lnTo>
                      <a:pt x="555" y="252"/>
                    </a:lnTo>
                    <a:lnTo>
                      <a:pt x="557" y="254"/>
                    </a:lnTo>
                    <a:lnTo>
                      <a:pt x="557" y="256"/>
                    </a:lnTo>
                    <a:lnTo>
                      <a:pt x="557" y="254"/>
                    </a:lnTo>
                    <a:lnTo>
                      <a:pt x="557" y="256"/>
                    </a:lnTo>
                    <a:lnTo>
                      <a:pt x="555" y="256"/>
                    </a:lnTo>
                    <a:lnTo>
                      <a:pt x="555" y="258"/>
                    </a:lnTo>
                    <a:lnTo>
                      <a:pt x="555" y="256"/>
                    </a:lnTo>
                    <a:lnTo>
                      <a:pt x="553" y="256"/>
                    </a:lnTo>
                    <a:lnTo>
                      <a:pt x="555" y="256"/>
                    </a:lnTo>
                    <a:lnTo>
                      <a:pt x="553" y="256"/>
                    </a:lnTo>
                    <a:lnTo>
                      <a:pt x="553" y="254"/>
                    </a:lnTo>
                    <a:lnTo>
                      <a:pt x="553" y="250"/>
                    </a:lnTo>
                    <a:close/>
                    <a:moveTo>
                      <a:pt x="551" y="229"/>
                    </a:moveTo>
                    <a:lnTo>
                      <a:pt x="549" y="229"/>
                    </a:lnTo>
                    <a:lnTo>
                      <a:pt x="551" y="229"/>
                    </a:lnTo>
                    <a:close/>
                    <a:moveTo>
                      <a:pt x="545" y="227"/>
                    </a:moveTo>
                    <a:lnTo>
                      <a:pt x="547" y="227"/>
                    </a:lnTo>
                    <a:lnTo>
                      <a:pt x="547" y="229"/>
                    </a:lnTo>
                    <a:lnTo>
                      <a:pt x="549" y="229"/>
                    </a:lnTo>
                    <a:lnTo>
                      <a:pt x="549" y="227"/>
                    </a:lnTo>
                    <a:lnTo>
                      <a:pt x="549" y="229"/>
                    </a:lnTo>
                    <a:lnTo>
                      <a:pt x="551" y="229"/>
                    </a:lnTo>
                    <a:lnTo>
                      <a:pt x="551" y="231"/>
                    </a:lnTo>
                    <a:lnTo>
                      <a:pt x="549" y="231"/>
                    </a:lnTo>
                    <a:lnTo>
                      <a:pt x="547" y="231"/>
                    </a:lnTo>
                    <a:lnTo>
                      <a:pt x="545" y="231"/>
                    </a:lnTo>
                    <a:lnTo>
                      <a:pt x="545" y="229"/>
                    </a:lnTo>
                    <a:lnTo>
                      <a:pt x="545" y="227"/>
                    </a:lnTo>
                    <a:close/>
                    <a:moveTo>
                      <a:pt x="541" y="216"/>
                    </a:moveTo>
                    <a:lnTo>
                      <a:pt x="541" y="218"/>
                    </a:lnTo>
                    <a:lnTo>
                      <a:pt x="540" y="218"/>
                    </a:lnTo>
                    <a:lnTo>
                      <a:pt x="540" y="216"/>
                    </a:lnTo>
                    <a:lnTo>
                      <a:pt x="541" y="216"/>
                    </a:lnTo>
                    <a:close/>
                    <a:moveTo>
                      <a:pt x="545" y="162"/>
                    </a:moveTo>
                    <a:lnTo>
                      <a:pt x="547" y="162"/>
                    </a:lnTo>
                    <a:lnTo>
                      <a:pt x="549" y="162"/>
                    </a:lnTo>
                    <a:lnTo>
                      <a:pt x="549" y="164"/>
                    </a:lnTo>
                    <a:lnTo>
                      <a:pt x="549" y="166"/>
                    </a:lnTo>
                    <a:lnTo>
                      <a:pt x="549" y="168"/>
                    </a:lnTo>
                    <a:lnTo>
                      <a:pt x="549" y="170"/>
                    </a:lnTo>
                    <a:lnTo>
                      <a:pt x="547" y="170"/>
                    </a:lnTo>
                    <a:lnTo>
                      <a:pt x="547" y="172"/>
                    </a:lnTo>
                    <a:lnTo>
                      <a:pt x="547" y="173"/>
                    </a:lnTo>
                    <a:lnTo>
                      <a:pt x="549" y="173"/>
                    </a:lnTo>
                    <a:lnTo>
                      <a:pt x="549" y="175"/>
                    </a:lnTo>
                    <a:lnTo>
                      <a:pt x="547" y="175"/>
                    </a:lnTo>
                    <a:lnTo>
                      <a:pt x="545" y="175"/>
                    </a:lnTo>
                    <a:lnTo>
                      <a:pt x="545" y="173"/>
                    </a:lnTo>
                    <a:lnTo>
                      <a:pt x="545" y="172"/>
                    </a:lnTo>
                    <a:lnTo>
                      <a:pt x="547" y="172"/>
                    </a:lnTo>
                    <a:lnTo>
                      <a:pt x="547" y="170"/>
                    </a:lnTo>
                    <a:lnTo>
                      <a:pt x="547" y="168"/>
                    </a:lnTo>
                    <a:lnTo>
                      <a:pt x="545" y="168"/>
                    </a:lnTo>
                    <a:lnTo>
                      <a:pt x="545" y="166"/>
                    </a:lnTo>
                    <a:lnTo>
                      <a:pt x="543" y="164"/>
                    </a:lnTo>
                    <a:lnTo>
                      <a:pt x="545" y="164"/>
                    </a:lnTo>
                    <a:lnTo>
                      <a:pt x="545" y="162"/>
                    </a:lnTo>
                    <a:close/>
                    <a:moveTo>
                      <a:pt x="536" y="164"/>
                    </a:moveTo>
                    <a:lnTo>
                      <a:pt x="536" y="162"/>
                    </a:lnTo>
                    <a:lnTo>
                      <a:pt x="538" y="164"/>
                    </a:lnTo>
                    <a:lnTo>
                      <a:pt x="538" y="162"/>
                    </a:lnTo>
                    <a:lnTo>
                      <a:pt x="538" y="164"/>
                    </a:lnTo>
                    <a:lnTo>
                      <a:pt x="538" y="162"/>
                    </a:lnTo>
                    <a:lnTo>
                      <a:pt x="540" y="164"/>
                    </a:lnTo>
                    <a:lnTo>
                      <a:pt x="540" y="166"/>
                    </a:lnTo>
                    <a:lnTo>
                      <a:pt x="538" y="166"/>
                    </a:lnTo>
                    <a:lnTo>
                      <a:pt x="536" y="166"/>
                    </a:lnTo>
                    <a:lnTo>
                      <a:pt x="536" y="164"/>
                    </a:lnTo>
                    <a:close/>
                    <a:moveTo>
                      <a:pt x="520" y="172"/>
                    </a:moveTo>
                    <a:lnTo>
                      <a:pt x="522" y="172"/>
                    </a:lnTo>
                    <a:lnTo>
                      <a:pt x="522" y="173"/>
                    </a:lnTo>
                    <a:lnTo>
                      <a:pt x="520" y="173"/>
                    </a:lnTo>
                    <a:lnTo>
                      <a:pt x="520" y="172"/>
                    </a:lnTo>
                    <a:close/>
                    <a:moveTo>
                      <a:pt x="545" y="141"/>
                    </a:moveTo>
                    <a:lnTo>
                      <a:pt x="545" y="139"/>
                    </a:lnTo>
                    <a:lnTo>
                      <a:pt x="547" y="139"/>
                    </a:lnTo>
                    <a:lnTo>
                      <a:pt x="549" y="139"/>
                    </a:lnTo>
                    <a:lnTo>
                      <a:pt x="549" y="141"/>
                    </a:lnTo>
                    <a:lnTo>
                      <a:pt x="551" y="141"/>
                    </a:lnTo>
                    <a:lnTo>
                      <a:pt x="551" y="143"/>
                    </a:lnTo>
                    <a:lnTo>
                      <a:pt x="551" y="145"/>
                    </a:lnTo>
                    <a:lnTo>
                      <a:pt x="549" y="145"/>
                    </a:lnTo>
                    <a:lnTo>
                      <a:pt x="547" y="145"/>
                    </a:lnTo>
                    <a:lnTo>
                      <a:pt x="547" y="143"/>
                    </a:lnTo>
                    <a:lnTo>
                      <a:pt x="545" y="143"/>
                    </a:lnTo>
                    <a:lnTo>
                      <a:pt x="545" y="141"/>
                    </a:lnTo>
                    <a:lnTo>
                      <a:pt x="543" y="141"/>
                    </a:lnTo>
                    <a:lnTo>
                      <a:pt x="545" y="141"/>
                    </a:lnTo>
                    <a:close/>
                    <a:moveTo>
                      <a:pt x="180" y="356"/>
                    </a:moveTo>
                    <a:lnTo>
                      <a:pt x="178" y="356"/>
                    </a:lnTo>
                    <a:lnTo>
                      <a:pt x="180" y="356"/>
                    </a:lnTo>
                    <a:close/>
                    <a:moveTo>
                      <a:pt x="192" y="345"/>
                    </a:moveTo>
                    <a:lnTo>
                      <a:pt x="194" y="345"/>
                    </a:lnTo>
                    <a:lnTo>
                      <a:pt x="192" y="345"/>
                    </a:lnTo>
                    <a:lnTo>
                      <a:pt x="190" y="345"/>
                    </a:lnTo>
                    <a:lnTo>
                      <a:pt x="190" y="347"/>
                    </a:lnTo>
                    <a:lnTo>
                      <a:pt x="188" y="347"/>
                    </a:lnTo>
                    <a:lnTo>
                      <a:pt x="186" y="348"/>
                    </a:lnTo>
                    <a:lnTo>
                      <a:pt x="184" y="350"/>
                    </a:lnTo>
                    <a:lnTo>
                      <a:pt x="182" y="352"/>
                    </a:lnTo>
                    <a:lnTo>
                      <a:pt x="184" y="350"/>
                    </a:lnTo>
                    <a:lnTo>
                      <a:pt x="186" y="348"/>
                    </a:lnTo>
                    <a:lnTo>
                      <a:pt x="188" y="347"/>
                    </a:lnTo>
                    <a:lnTo>
                      <a:pt x="186" y="347"/>
                    </a:lnTo>
                    <a:lnTo>
                      <a:pt x="188" y="347"/>
                    </a:lnTo>
                    <a:lnTo>
                      <a:pt x="190" y="347"/>
                    </a:lnTo>
                    <a:lnTo>
                      <a:pt x="190" y="345"/>
                    </a:lnTo>
                    <a:lnTo>
                      <a:pt x="192" y="345"/>
                    </a:lnTo>
                    <a:close/>
                    <a:moveTo>
                      <a:pt x="522" y="108"/>
                    </a:moveTo>
                    <a:lnTo>
                      <a:pt x="522" y="110"/>
                    </a:lnTo>
                    <a:lnTo>
                      <a:pt x="520" y="110"/>
                    </a:lnTo>
                    <a:lnTo>
                      <a:pt x="518" y="110"/>
                    </a:lnTo>
                    <a:lnTo>
                      <a:pt x="518" y="108"/>
                    </a:lnTo>
                    <a:lnTo>
                      <a:pt x="518" y="106"/>
                    </a:lnTo>
                    <a:lnTo>
                      <a:pt x="517" y="106"/>
                    </a:lnTo>
                    <a:lnTo>
                      <a:pt x="518" y="104"/>
                    </a:lnTo>
                    <a:lnTo>
                      <a:pt x="520" y="104"/>
                    </a:lnTo>
                    <a:lnTo>
                      <a:pt x="520" y="106"/>
                    </a:lnTo>
                    <a:lnTo>
                      <a:pt x="520" y="108"/>
                    </a:lnTo>
                    <a:lnTo>
                      <a:pt x="522" y="108"/>
                    </a:lnTo>
                    <a:close/>
                    <a:moveTo>
                      <a:pt x="520" y="72"/>
                    </a:moveTo>
                    <a:lnTo>
                      <a:pt x="518" y="72"/>
                    </a:lnTo>
                    <a:lnTo>
                      <a:pt x="518" y="70"/>
                    </a:lnTo>
                    <a:lnTo>
                      <a:pt x="520" y="70"/>
                    </a:lnTo>
                    <a:lnTo>
                      <a:pt x="520" y="72"/>
                    </a:lnTo>
                    <a:close/>
                    <a:moveTo>
                      <a:pt x="538" y="2"/>
                    </a:moveTo>
                    <a:lnTo>
                      <a:pt x="540" y="2"/>
                    </a:lnTo>
                    <a:lnTo>
                      <a:pt x="540" y="4"/>
                    </a:lnTo>
                    <a:lnTo>
                      <a:pt x="541" y="4"/>
                    </a:lnTo>
                    <a:lnTo>
                      <a:pt x="541" y="6"/>
                    </a:lnTo>
                    <a:lnTo>
                      <a:pt x="543" y="6"/>
                    </a:lnTo>
                    <a:lnTo>
                      <a:pt x="541" y="6"/>
                    </a:lnTo>
                    <a:lnTo>
                      <a:pt x="543" y="6"/>
                    </a:lnTo>
                    <a:lnTo>
                      <a:pt x="543" y="8"/>
                    </a:lnTo>
                    <a:lnTo>
                      <a:pt x="543" y="10"/>
                    </a:lnTo>
                    <a:lnTo>
                      <a:pt x="543" y="12"/>
                    </a:lnTo>
                    <a:lnTo>
                      <a:pt x="543" y="14"/>
                    </a:lnTo>
                    <a:lnTo>
                      <a:pt x="543" y="16"/>
                    </a:lnTo>
                    <a:lnTo>
                      <a:pt x="545" y="16"/>
                    </a:lnTo>
                    <a:lnTo>
                      <a:pt x="543" y="16"/>
                    </a:lnTo>
                    <a:lnTo>
                      <a:pt x="543" y="18"/>
                    </a:lnTo>
                    <a:lnTo>
                      <a:pt x="541" y="18"/>
                    </a:lnTo>
                    <a:lnTo>
                      <a:pt x="541" y="20"/>
                    </a:lnTo>
                    <a:lnTo>
                      <a:pt x="540" y="20"/>
                    </a:lnTo>
                    <a:lnTo>
                      <a:pt x="540" y="18"/>
                    </a:lnTo>
                    <a:lnTo>
                      <a:pt x="538" y="18"/>
                    </a:lnTo>
                    <a:lnTo>
                      <a:pt x="536" y="18"/>
                    </a:lnTo>
                    <a:lnTo>
                      <a:pt x="534" y="18"/>
                    </a:lnTo>
                    <a:lnTo>
                      <a:pt x="536" y="16"/>
                    </a:lnTo>
                    <a:lnTo>
                      <a:pt x="534" y="16"/>
                    </a:lnTo>
                    <a:lnTo>
                      <a:pt x="534" y="14"/>
                    </a:lnTo>
                    <a:lnTo>
                      <a:pt x="534" y="12"/>
                    </a:lnTo>
                    <a:lnTo>
                      <a:pt x="534" y="10"/>
                    </a:lnTo>
                    <a:lnTo>
                      <a:pt x="536" y="8"/>
                    </a:lnTo>
                    <a:lnTo>
                      <a:pt x="536" y="6"/>
                    </a:lnTo>
                    <a:lnTo>
                      <a:pt x="536" y="4"/>
                    </a:lnTo>
                    <a:lnTo>
                      <a:pt x="536" y="2"/>
                    </a:lnTo>
                    <a:lnTo>
                      <a:pt x="538" y="2"/>
                    </a:lnTo>
                    <a:lnTo>
                      <a:pt x="538" y="0"/>
                    </a:lnTo>
                    <a:lnTo>
                      <a:pt x="538" y="2"/>
                    </a:lnTo>
                    <a:close/>
                    <a:moveTo>
                      <a:pt x="507" y="18"/>
                    </a:moveTo>
                    <a:lnTo>
                      <a:pt x="509" y="18"/>
                    </a:lnTo>
                    <a:lnTo>
                      <a:pt x="511" y="18"/>
                    </a:lnTo>
                    <a:lnTo>
                      <a:pt x="513" y="18"/>
                    </a:lnTo>
                    <a:lnTo>
                      <a:pt x="513" y="20"/>
                    </a:lnTo>
                    <a:lnTo>
                      <a:pt x="515" y="20"/>
                    </a:lnTo>
                    <a:lnTo>
                      <a:pt x="515" y="22"/>
                    </a:lnTo>
                    <a:lnTo>
                      <a:pt x="515" y="24"/>
                    </a:lnTo>
                    <a:lnTo>
                      <a:pt x="513" y="24"/>
                    </a:lnTo>
                    <a:lnTo>
                      <a:pt x="513" y="25"/>
                    </a:lnTo>
                    <a:lnTo>
                      <a:pt x="511" y="25"/>
                    </a:lnTo>
                    <a:lnTo>
                      <a:pt x="511" y="24"/>
                    </a:lnTo>
                    <a:lnTo>
                      <a:pt x="509" y="24"/>
                    </a:lnTo>
                    <a:lnTo>
                      <a:pt x="507" y="24"/>
                    </a:lnTo>
                    <a:lnTo>
                      <a:pt x="507" y="22"/>
                    </a:lnTo>
                    <a:lnTo>
                      <a:pt x="507" y="20"/>
                    </a:lnTo>
                    <a:lnTo>
                      <a:pt x="505" y="20"/>
                    </a:lnTo>
                    <a:lnTo>
                      <a:pt x="507" y="20"/>
                    </a:lnTo>
                    <a:lnTo>
                      <a:pt x="507" y="18"/>
                    </a:lnTo>
                    <a:close/>
                    <a:moveTo>
                      <a:pt x="105" y="206"/>
                    </a:moveTo>
                    <a:lnTo>
                      <a:pt x="107" y="206"/>
                    </a:lnTo>
                    <a:lnTo>
                      <a:pt x="105" y="206"/>
                    </a:lnTo>
                    <a:lnTo>
                      <a:pt x="105" y="208"/>
                    </a:lnTo>
                    <a:lnTo>
                      <a:pt x="105" y="206"/>
                    </a:lnTo>
                    <a:close/>
                    <a:moveTo>
                      <a:pt x="103" y="208"/>
                    </a:moveTo>
                    <a:lnTo>
                      <a:pt x="103" y="206"/>
                    </a:lnTo>
                    <a:lnTo>
                      <a:pt x="103" y="208"/>
                    </a:lnTo>
                    <a:close/>
                    <a:moveTo>
                      <a:pt x="103" y="206"/>
                    </a:moveTo>
                    <a:lnTo>
                      <a:pt x="105" y="206"/>
                    </a:lnTo>
                    <a:lnTo>
                      <a:pt x="103" y="206"/>
                    </a:lnTo>
                    <a:close/>
                    <a:moveTo>
                      <a:pt x="111" y="210"/>
                    </a:moveTo>
                    <a:lnTo>
                      <a:pt x="111" y="212"/>
                    </a:lnTo>
                    <a:lnTo>
                      <a:pt x="111" y="210"/>
                    </a:lnTo>
                    <a:lnTo>
                      <a:pt x="109" y="210"/>
                    </a:lnTo>
                    <a:lnTo>
                      <a:pt x="109" y="208"/>
                    </a:lnTo>
                    <a:lnTo>
                      <a:pt x="107" y="208"/>
                    </a:lnTo>
                    <a:lnTo>
                      <a:pt x="107" y="206"/>
                    </a:lnTo>
                    <a:lnTo>
                      <a:pt x="105" y="206"/>
                    </a:lnTo>
                    <a:lnTo>
                      <a:pt x="105" y="204"/>
                    </a:lnTo>
                    <a:lnTo>
                      <a:pt x="103" y="204"/>
                    </a:lnTo>
                    <a:lnTo>
                      <a:pt x="103" y="202"/>
                    </a:lnTo>
                    <a:lnTo>
                      <a:pt x="103" y="204"/>
                    </a:lnTo>
                    <a:lnTo>
                      <a:pt x="105" y="204"/>
                    </a:lnTo>
                    <a:lnTo>
                      <a:pt x="107" y="206"/>
                    </a:lnTo>
                    <a:lnTo>
                      <a:pt x="109" y="208"/>
                    </a:lnTo>
                    <a:lnTo>
                      <a:pt x="111" y="210"/>
                    </a:lnTo>
                    <a:close/>
                    <a:moveTo>
                      <a:pt x="90" y="189"/>
                    </a:moveTo>
                    <a:lnTo>
                      <a:pt x="90" y="191"/>
                    </a:lnTo>
                    <a:lnTo>
                      <a:pt x="90" y="189"/>
                    </a:lnTo>
                    <a:lnTo>
                      <a:pt x="88" y="189"/>
                    </a:lnTo>
                    <a:lnTo>
                      <a:pt x="88" y="187"/>
                    </a:lnTo>
                    <a:lnTo>
                      <a:pt x="86" y="185"/>
                    </a:lnTo>
                    <a:lnTo>
                      <a:pt x="88" y="185"/>
                    </a:lnTo>
                    <a:lnTo>
                      <a:pt x="88" y="187"/>
                    </a:lnTo>
                    <a:lnTo>
                      <a:pt x="90" y="189"/>
                    </a:lnTo>
                    <a:close/>
                    <a:moveTo>
                      <a:pt x="86" y="185"/>
                    </a:moveTo>
                    <a:lnTo>
                      <a:pt x="84" y="185"/>
                    </a:lnTo>
                    <a:lnTo>
                      <a:pt x="84" y="183"/>
                    </a:lnTo>
                    <a:lnTo>
                      <a:pt x="86" y="183"/>
                    </a:lnTo>
                    <a:lnTo>
                      <a:pt x="86" y="185"/>
                    </a:lnTo>
                    <a:close/>
                    <a:moveTo>
                      <a:pt x="84" y="181"/>
                    </a:moveTo>
                    <a:lnTo>
                      <a:pt x="82" y="181"/>
                    </a:lnTo>
                    <a:lnTo>
                      <a:pt x="84" y="181"/>
                    </a:lnTo>
                    <a:close/>
                    <a:moveTo>
                      <a:pt x="77" y="160"/>
                    </a:moveTo>
                    <a:lnTo>
                      <a:pt x="78" y="160"/>
                    </a:lnTo>
                    <a:lnTo>
                      <a:pt x="77" y="162"/>
                    </a:lnTo>
                    <a:lnTo>
                      <a:pt x="77" y="164"/>
                    </a:lnTo>
                    <a:lnTo>
                      <a:pt x="77" y="162"/>
                    </a:lnTo>
                    <a:lnTo>
                      <a:pt x="77" y="160"/>
                    </a:lnTo>
                    <a:lnTo>
                      <a:pt x="77" y="158"/>
                    </a:lnTo>
                    <a:lnTo>
                      <a:pt x="77" y="160"/>
                    </a:lnTo>
                    <a:close/>
                    <a:moveTo>
                      <a:pt x="75" y="154"/>
                    </a:moveTo>
                    <a:lnTo>
                      <a:pt x="75" y="152"/>
                    </a:lnTo>
                    <a:lnTo>
                      <a:pt x="73" y="152"/>
                    </a:lnTo>
                    <a:lnTo>
                      <a:pt x="75" y="152"/>
                    </a:lnTo>
                    <a:lnTo>
                      <a:pt x="73" y="152"/>
                    </a:lnTo>
                    <a:lnTo>
                      <a:pt x="75" y="150"/>
                    </a:lnTo>
                    <a:lnTo>
                      <a:pt x="75" y="152"/>
                    </a:lnTo>
                    <a:lnTo>
                      <a:pt x="75" y="154"/>
                    </a:lnTo>
                    <a:close/>
                    <a:moveTo>
                      <a:pt x="2" y="123"/>
                    </a:moveTo>
                    <a:lnTo>
                      <a:pt x="4" y="123"/>
                    </a:lnTo>
                    <a:lnTo>
                      <a:pt x="4" y="125"/>
                    </a:lnTo>
                    <a:lnTo>
                      <a:pt x="2" y="125"/>
                    </a:lnTo>
                    <a:lnTo>
                      <a:pt x="0" y="127"/>
                    </a:lnTo>
                    <a:lnTo>
                      <a:pt x="0" y="125"/>
                    </a:lnTo>
                    <a:lnTo>
                      <a:pt x="2" y="123"/>
                    </a:lnTo>
                    <a:close/>
                    <a:moveTo>
                      <a:pt x="17" y="104"/>
                    </a:moveTo>
                    <a:lnTo>
                      <a:pt x="15" y="104"/>
                    </a:lnTo>
                    <a:lnTo>
                      <a:pt x="15" y="106"/>
                    </a:lnTo>
                    <a:lnTo>
                      <a:pt x="13" y="106"/>
                    </a:lnTo>
                    <a:lnTo>
                      <a:pt x="13" y="108"/>
                    </a:lnTo>
                    <a:lnTo>
                      <a:pt x="13" y="110"/>
                    </a:lnTo>
                    <a:lnTo>
                      <a:pt x="13" y="108"/>
                    </a:lnTo>
                    <a:lnTo>
                      <a:pt x="13" y="106"/>
                    </a:lnTo>
                    <a:lnTo>
                      <a:pt x="13" y="104"/>
                    </a:lnTo>
                    <a:lnTo>
                      <a:pt x="15" y="104"/>
                    </a:lnTo>
                    <a:lnTo>
                      <a:pt x="17" y="10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39" name="Freeform 119"/>
              <p:cNvSpPr>
                <a:spLocks noEditPoints="1"/>
              </p:cNvSpPr>
              <p:nvPr/>
            </p:nvSpPr>
            <p:spPr bwMode="auto">
              <a:xfrm>
                <a:off x="6699398" y="2851720"/>
                <a:ext cx="906770" cy="949785"/>
              </a:xfrm>
              <a:custGeom>
                <a:avLst/>
                <a:gdLst>
                  <a:gd name="T0" fmla="*/ 500 w 527"/>
                  <a:gd name="T1" fmla="*/ 385 h 552"/>
                  <a:gd name="T2" fmla="*/ 488 w 527"/>
                  <a:gd name="T3" fmla="*/ 391 h 552"/>
                  <a:gd name="T4" fmla="*/ 500 w 527"/>
                  <a:gd name="T5" fmla="*/ 371 h 552"/>
                  <a:gd name="T6" fmla="*/ 500 w 527"/>
                  <a:gd name="T7" fmla="*/ 371 h 552"/>
                  <a:gd name="T8" fmla="*/ 502 w 527"/>
                  <a:gd name="T9" fmla="*/ 370 h 552"/>
                  <a:gd name="T10" fmla="*/ 502 w 527"/>
                  <a:gd name="T11" fmla="*/ 370 h 552"/>
                  <a:gd name="T12" fmla="*/ 181 w 527"/>
                  <a:gd name="T13" fmla="*/ 552 h 552"/>
                  <a:gd name="T14" fmla="*/ 502 w 527"/>
                  <a:gd name="T15" fmla="*/ 368 h 552"/>
                  <a:gd name="T16" fmla="*/ 502 w 527"/>
                  <a:gd name="T17" fmla="*/ 368 h 552"/>
                  <a:gd name="T18" fmla="*/ 181 w 527"/>
                  <a:gd name="T19" fmla="*/ 552 h 552"/>
                  <a:gd name="T20" fmla="*/ 179 w 527"/>
                  <a:gd name="T21" fmla="*/ 550 h 552"/>
                  <a:gd name="T22" fmla="*/ 502 w 527"/>
                  <a:gd name="T23" fmla="*/ 348 h 552"/>
                  <a:gd name="T24" fmla="*/ 229 w 527"/>
                  <a:gd name="T25" fmla="*/ 483 h 552"/>
                  <a:gd name="T26" fmla="*/ 229 w 527"/>
                  <a:gd name="T27" fmla="*/ 483 h 552"/>
                  <a:gd name="T28" fmla="*/ 227 w 527"/>
                  <a:gd name="T29" fmla="*/ 479 h 552"/>
                  <a:gd name="T30" fmla="*/ 193 w 527"/>
                  <a:gd name="T31" fmla="*/ 450 h 552"/>
                  <a:gd name="T32" fmla="*/ 527 w 527"/>
                  <a:gd name="T33" fmla="*/ 247 h 552"/>
                  <a:gd name="T34" fmla="*/ 525 w 527"/>
                  <a:gd name="T35" fmla="*/ 247 h 552"/>
                  <a:gd name="T36" fmla="*/ 527 w 527"/>
                  <a:gd name="T37" fmla="*/ 241 h 552"/>
                  <a:gd name="T38" fmla="*/ 527 w 527"/>
                  <a:gd name="T39" fmla="*/ 241 h 552"/>
                  <a:gd name="T40" fmla="*/ 223 w 527"/>
                  <a:gd name="T41" fmla="*/ 350 h 552"/>
                  <a:gd name="T42" fmla="*/ 146 w 527"/>
                  <a:gd name="T43" fmla="*/ 331 h 552"/>
                  <a:gd name="T44" fmla="*/ 164 w 527"/>
                  <a:gd name="T45" fmla="*/ 320 h 552"/>
                  <a:gd name="T46" fmla="*/ 154 w 527"/>
                  <a:gd name="T47" fmla="*/ 323 h 552"/>
                  <a:gd name="T48" fmla="*/ 156 w 527"/>
                  <a:gd name="T49" fmla="*/ 323 h 552"/>
                  <a:gd name="T50" fmla="*/ 160 w 527"/>
                  <a:gd name="T51" fmla="*/ 322 h 552"/>
                  <a:gd name="T52" fmla="*/ 154 w 527"/>
                  <a:gd name="T53" fmla="*/ 323 h 552"/>
                  <a:gd name="T54" fmla="*/ 154 w 527"/>
                  <a:gd name="T55" fmla="*/ 323 h 552"/>
                  <a:gd name="T56" fmla="*/ 91 w 527"/>
                  <a:gd name="T57" fmla="*/ 302 h 552"/>
                  <a:gd name="T58" fmla="*/ 145 w 527"/>
                  <a:gd name="T59" fmla="*/ 266 h 552"/>
                  <a:gd name="T60" fmla="*/ 515 w 527"/>
                  <a:gd name="T61" fmla="*/ 0 h 552"/>
                  <a:gd name="T62" fmla="*/ 97 w 527"/>
                  <a:gd name="T63" fmla="*/ 206 h 552"/>
                  <a:gd name="T64" fmla="*/ 95 w 527"/>
                  <a:gd name="T65" fmla="*/ 204 h 552"/>
                  <a:gd name="T66" fmla="*/ 77 w 527"/>
                  <a:gd name="T67" fmla="*/ 181 h 552"/>
                  <a:gd name="T68" fmla="*/ 77 w 527"/>
                  <a:gd name="T69" fmla="*/ 183 h 552"/>
                  <a:gd name="T70" fmla="*/ 75 w 527"/>
                  <a:gd name="T71" fmla="*/ 181 h 552"/>
                  <a:gd name="T72" fmla="*/ 64 w 527"/>
                  <a:gd name="T73" fmla="*/ 177 h 552"/>
                  <a:gd name="T74" fmla="*/ 64 w 527"/>
                  <a:gd name="T75" fmla="*/ 175 h 552"/>
                  <a:gd name="T76" fmla="*/ 64 w 527"/>
                  <a:gd name="T77" fmla="*/ 172 h 552"/>
                  <a:gd name="T78" fmla="*/ 64 w 527"/>
                  <a:gd name="T79" fmla="*/ 172 h 552"/>
                  <a:gd name="T80" fmla="*/ 62 w 527"/>
                  <a:gd name="T81" fmla="*/ 166 h 552"/>
                  <a:gd name="T82" fmla="*/ 60 w 527"/>
                  <a:gd name="T83" fmla="*/ 166 h 552"/>
                  <a:gd name="T84" fmla="*/ 56 w 527"/>
                  <a:gd name="T85" fmla="*/ 162 h 552"/>
                  <a:gd name="T86" fmla="*/ 56 w 527"/>
                  <a:gd name="T87" fmla="*/ 160 h 552"/>
                  <a:gd name="T88" fmla="*/ 56 w 527"/>
                  <a:gd name="T89" fmla="*/ 160 h 552"/>
                  <a:gd name="T90" fmla="*/ 56 w 527"/>
                  <a:gd name="T91" fmla="*/ 158 h 552"/>
                  <a:gd name="T92" fmla="*/ 52 w 527"/>
                  <a:gd name="T93" fmla="*/ 152 h 552"/>
                  <a:gd name="T94" fmla="*/ 47 w 527"/>
                  <a:gd name="T95" fmla="*/ 139 h 552"/>
                  <a:gd name="T96" fmla="*/ 45 w 527"/>
                  <a:gd name="T97" fmla="*/ 129 h 552"/>
                  <a:gd name="T98" fmla="*/ 45 w 527"/>
                  <a:gd name="T99" fmla="*/ 129 h 552"/>
                  <a:gd name="T100" fmla="*/ 33 w 527"/>
                  <a:gd name="T101" fmla="*/ 110 h 552"/>
                  <a:gd name="T102" fmla="*/ 33 w 527"/>
                  <a:gd name="T103" fmla="*/ 110 h 552"/>
                  <a:gd name="T104" fmla="*/ 33 w 527"/>
                  <a:gd name="T105" fmla="*/ 108 h 552"/>
                  <a:gd name="T106" fmla="*/ 31 w 527"/>
                  <a:gd name="T107" fmla="*/ 104 h 552"/>
                  <a:gd name="T108" fmla="*/ 31 w 527"/>
                  <a:gd name="T109" fmla="*/ 104 h 552"/>
                  <a:gd name="T110" fmla="*/ 25 w 527"/>
                  <a:gd name="T111" fmla="*/ 95 h 552"/>
                  <a:gd name="T112" fmla="*/ 0 w 527"/>
                  <a:gd name="T113" fmla="*/ 6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7" h="552">
                    <a:moveTo>
                      <a:pt x="485" y="427"/>
                    </a:moveTo>
                    <a:lnTo>
                      <a:pt x="485" y="427"/>
                    </a:lnTo>
                    <a:lnTo>
                      <a:pt x="485" y="427"/>
                    </a:lnTo>
                    <a:lnTo>
                      <a:pt x="485" y="427"/>
                    </a:lnTo>
                    <a:lnTo>
                      <a:pt x="485" y="427"/>
                    </a:lnTo>
                    <a:close/>
                    <a:moveTo>
                      <a:pt x="500" y="385"/>
                    </a:moveTo>
                    <a:lnTo>
                      <a:pt x="500" y="385"/>
                    </a:lnTo>
                    <a:lnTo>
                      <a:pt x="500" y="385"/>
                    </a:lnTo>
                    <a:lnTo>
                      <a:pt x="500" y="385"/>
                    </a:lnTo>
                    <a:lnTo>
                      <a:pt x="500" y="385"/>
                    </a:lnTo>
                    <a:lnTo>
                      <a:pt x="500" y="385"/>
                    </a:lnTo>
                    <a:close/>
                    <a:moveTo>
                      <a:pt x="488" y="391"/>
                    </a:moveTo>
                    <a:lnTo>
                      <a:pt x="488" y="391"/>
                    </a:lnTo>
                    <a:lnTo>
                      <a:pt x="488" y="391"/>
                    </a:lnTo>
                    <a:lnTo>
                      <a:pt x="488" y="391"/>
                    </a:lnTo>
                    <a:lnTo>
                      <a:pt x="488" y="391"/>
                    </a:lnTo>
                    <a:close/>
                    <a:moveTo>
                      <a:pt x="500" y="371"/>
                    </a:moveTo>
                    <a:lnTo>
                      <a:pt x="500" y="371"/>
                    </a:lnTo>
                    <a:lnTo>
                      <a:pt x="500" y="371"/>
                    </a:lnTo>
                    <a:lnTo>
                      <a:pt x="500" y="371"/>
                    </a:lnTo>
                    <a:lnTo>
                      <a:pt x="500" y="371"/>
                    </a:lnTo>
                    <a:lnTo>
                      <a:pt x="500" y="371"/>
                    </a:lnTo>
                    <a:lnTo>
                      <a:pt x="500" y="371"/>
                    </a:lnTo>
                    <a:close/>
                    <a:moveTo>
                      <a:pt x="500" y="371"/>
                    </a:moveTo>
                    <a:lnTo>
                      <a:pt x="500" y="371"/>
                    </a:lnTo>
                    <a:lnTo>
                      <a:pt x="500" y="371"/>
                    </a:lnTo>
                    <a:lnTo>
                      <a:pt x="500" y="371"/>
                    </a:lnTo>
                    <a:lnTo>
                      <a:pt x="500" y="371"/>
                    </a:lnTo>
                    <a:lnTo>
                      <a:pt x="500" y="371"/>
                    </a:lnTo>
                    <a:close/>
                    <a:moveTo>
                      <a:pt x="502" y="370"/>
                    </a:moveTo>
                    <a:lnTo>
                      <a:pt x="502" y="370"/>
                    </a:lnTo>
                    <a:lnTo>
                      <a:pt x="502" y="370"/>
                    </a:lnTo>
                    <a:lnTo>
                      <a:pt x="502" y="370"/>
                    </a:lnTo>
                    <a:lnTo>
                      <a:pt x="502" y="370"/>
                    </a:lnTo>
                    <a:close/>
                    <a:moveTo>
                      <a:pt x="502" y="370"/>
                    </a:moveTo>
                    <a:lnTo>
                      <a:pt x="502" y="370"/>
                    </a:lnTo>
                    <a:lnTo>
                      <a:pt x="502" y="370"/>
                    </a:lnTo>
                    <a:lnTo>
                      <a:pt x="502" y="370"/>
                    </a:lnTo>
                    <a:lnTo>
                      <a:pt x="502" y="370"/>
                    </a:lnTo>
                    <a:lnTo>
                      <a:pt x="502" y="370"/>
                    </a:lnTo>
                    <a:close/>
                    <a:moveTo>
                      <a:pt x="181" y="552"/>
                    </a:moveTo>
                    <a:lnTo>
                      <a:pt x="181" y="552"/>
                    </a:lnTo>
                    <a:lnTo>
                      <a:pt x="181" y="552"/>
                    </a:lnTo>
                    <a:lnTo>
                      <a:pt x="181" y="552"/>
                    </a:lnTo>
                    <a:lnTo>
                      <a:pt x="181" y="552"/>
                    </a:lnTo>
                    <a:close/>
                    <a:moveTo>
                      <a:pt x="502" y="368"/>
                    </a:moveTo>
                    <a:lnTo>
                      <a:pt x="502" y="368"/>
                    </a:lnTo>
                    <a:lnTo>
                      <a:pt x="502" y="368"/>
                    </a:lnTo>
                    <a:lnTo>
                      <a:pt x="502" y="368"/>
                    </a:lnTo>
                    <a:lnTo>
                      <a:pt x="502" y="368"/>
                    </a:lnTo>
                    <a:lnTo>
                      <a:pt x="502" y="368"/>
                    </a:lnTo>
                    <a:lnTo>
                      <a:pt x="502" y="368"/>
                    </a:lnTo>
                    <a:lnTo>
                      <a:pt x="502" y="368"/>
                    </a:lnTo>
                    <a:lnTo>
                      <a:pt x="502" y="368"/>
                    </a:lnTo>
                    <a:lnTo>
                      <a:pt x="502" y="368"/>
                    </a:lnTo>
                    <a:lnTo>
                      <a:pt x="502" y="368"/>
                    </a:lnTo>
                    <a:close/>
                    <a:moveTo>
                      <a:pt x="181" y="552"/>
                    </a:moveTo>
                    <a:lnTo>
                      <a:pt x="181" y="552"/>
                    </a:lnTo>
                    <a:lnTo>
                      <a:pt x="181" y="552"/>
                    </a:lnTo>
                    <a:lnTo>
                      <a:pt x="181" y="552"/>
                    </a:lnTo>
                    <a:lnTo>
                      <a:pt x="181" y="552"/>
                    </a:lnTo>
                    <a:close/>
                    <a:moveTo>
                      <a:pt x="179" y="550"/>
                    </a:moveTo>
                    <a:lnTo>
                      <a:pt x="179" y="550"/>
                    </a:lnTo>
                    <a:lnTo>
                      <a:pt x="179" y="550"/>
                    </a:lnTo>
                    <a:lnTo>
                      <a:pt x="179" y="550"/>
                    </a:lnTo>
                    <a:lnTo>
                      <a:pt x="179" y="550"/>
                    </a:lnTo>
                    <a:lnTo>
                      <a:pt x="179" y="550"/>
                    </a:lnTo>
                    <a:close/>
                    <a:moveTo>
                      <a:pt x="502" y="348"/>
                    </a:moveTo>
                    <a:lnTo>
                      <a:pt x="502" y="348"/>
                    </a:lnTo>
                    <a:lnTo>
                      <a:pt x="502" y="348"/>
                    </a:lnTo>
                    <a:lnTo>
                      <a:pt x="502" y="348"/>
                    </a:lnTo>
                    <a:lnTo>
                      <a:pt x="502" y="348"/>
                    </a:lnTo>
                    <a:lnTo>
                      <a:pt x="502" y="348"/>
                    </a:lnTo>
                    <a:close/>
                    <a:moveTo>
                      <a:pt x="221" y="500"/>
                    </a:moveTo>
                    <a:lnTo>
                      <a:pt x="221" y="500"/>
                    </a:lnTo>
                    <a:lnTo>
                      <a:pt x="221" y="500"/>
                    </a:lnTo>
                    <a:lnTo>
                      <a:pt x="221" y="500"/>
                    </a:lnTo>
                    <a:close/>
                    <a:moveTo>
                      <a:pt x="229" y="483"/>
                    </a:moveTo>
                    <a:lnTo>
                      <a:pt x="229" y="483"/>
                    </a:lnTo>
                    <a:lnTo>
                      <a:pt x="229" y="483"/>
                    </a:lnTo>
                    <a:lnTo>
                      <a:pt x="229" y="483"/>
                    </a:lnTo>
                    <a:lnTo>
                      <a:pt x="229" y="483"/>
                    </a:lnTo>
                    <a:lnTo>
                      <a:pt x="229" y="483"/>
                    </a:lnTo>
                    <a:lnTo>
                      <a:pt x="229" y="483"/>
                    </a:lnTo>
                    <a:close/>
                    <a:moveTo>
                      <a:pt x="229" y="481"/>
                    </a:moveTo>
                    <a:lnTo>
                      <a:pt x="229" y="481"/>
                    </a:lnTo>
                    <a:lnTo>
                      <a:pt x="229" y="481"/>
                    </a:lnTo>
                    <a:lnTo>
                      <a:pt x="227" y="479"/>
                    </a:lnTo>
                    <a:lnTo>
                      <a:pt x="229" y="481"/>
                    </a:lnTo>
                    <a:close/>
                    <a:moveTo>
                      <a:pt x="227" y="479"/>
                    </a:moveTo>
                    <a:lnTo>
                      <a:pt x="227" y="479"/>
                    </a:lnTo>
                    <a:lnTo>
                      <a:pt x="227" y="479"/>
                    </a:lnTo>
                    <a:lnTo>
                      <a:pt x="227" y="479"/>
                    </a:lnTo>
                    <a:close/>
                    <a:moveTo>
                      <a:pt x="193" y="450"/>
                    </a:moveTo>
                    <a:lnTo>
                      <a:pt x="193" y="450"/>
                    </a:lnTo>
                    <a:lnTo>
                      <a:pt x="193" y="450"/>
                    </a:lnTo>
                    <a:lnTo>
                      <a:pt x="193" y="450"/>
                    </a:lnTo>
                    <a:lnTo>
                      <a:pt x="193" y="450"/>
                    </a:lnTo>
                    <a:close/>
                    <a:moveTo>
                      <a:pt x="527" y="247"/>
                    </a:moveTo>
                    <a:lnTo>
                      <a:pt x="527" y="247"/>
                    </a:lnTo>
                    <a:lnTo>
                      <a:pt x="527" y="247"/>
                    </a:lnTo>
                    <a:lnTo>
                      <a:pt x="527" y="247"/>
                    </a:lnTo>
                    <a:lnTo>
                      <a:pt x="527" y="247"/>
                    </a:lnTo>
                    <a:lnTo>
                      <a:pt x="527" y="247"/>
                    </a:lnTo>
                    <a:close/>
                    <a:moveTo>
                      <a:pt x="527" y="247"/>
                    </a:moveTo>
                    <a:lnTo>
                      <a:pt x="527" y="247"/>
                    </a:lnTo>
                    <a:lnTo>
                      <a:pt x="525" y="247"/>
                    </a:lnTo>
                    <a:lnTo>
                      <a:pt x="525" y="247"/>
                    </a:lnTo>
                    <a:lnTo>
                      <a:pt x="525" y="247"/>
                    </a:lnTo>
                    <a:lnTo>
                      <a:pt x="525" y="247"/>
                    </a:lnTo>
                    <a:lnTo>
                      <a:pt x="527" y="247"/>
                    </a:lnTo>
                    <a:close/>
                    <a:moveTo>
                      <a:pt x="527" y="241"/>
                    </a:moveTo>
                    <a:lnTo>
                      <a:pt x="527" y="241"/>
                    </a:lnTo>
                    <a:lnTo>
                      <a:pt x="527" y="241"/>
                    </a:lnTo>
                    <a:lnTo>
                      <a:pt x="527" y="241"/>
                    </a:lnTo>
                    <a:lnTo>
                      <a:pt x="527" y="241"/>
                    </a:lnTo>
                    <a:lnTo>
                      <a:pt x="527" y="241"/>
                    </a:lnTo>
                    <a:lnTo>
                      <a:pt x="527" y="241"/>
                    </a:lnTo>
                    <a:close/>
                    <a:moveTo>
                      <a:pt x="527" y="241"/>
                    </a:moveTo>
                    <a:lnTo>
                      <a:pt x="527" y="241"/>
                    </a:lnTo>
                    <a:lnTo>
                      <a:pt x="527" y="241"/>
                    </a:lnTo>
                    <a:lnTo>
                      <a:pt x="527" y="241"/>
                    </a:lnTo>
                    <a:lnTo>
                      <a:pt x="527" y="241"/>
                    </a:lnTo>
                    <a:lnTo>
                      <a:pt x="527" y="239"/>
                    </a:lnTo>
                    <a:lnTo>
                      <a:pt x="527" y="241"/>
                    </a:lnTo>
                    <a:close/>
                    <a:moveTo>
                      <a:pt x="223" y="350"/>
                    </a:moveTo>
                    <a:lnTo>
                      <a:pt x="223" y="350"/>
                    </a:lnTo>
                    <a:lnTo>
                      <a:pt x="223" y="350"/>
                    </a:lnTo>
                    <a:lnTo>
                      <a:pt x="223" y="350"/>
                    </a:lnTo>
                    <a:lnTo>
                      <a:pt x="223" y="350"/>
                    </a:lnTo>
                    <a:lnTo>
                      <a:pt x="223" y="350"/>
                    </a:lnTo>
                    <a:close/>
                    <a:moveTo>
                      <a:pt x="146" y="331"/>
                    </a:moveTo>
                    <a:lnTo>
                      <a:pt x="146" y="331"/>
                    </a:lnTo>
                    <a:lnTo>
                      <a:pt x="146" y="329"/>
                    </a:lnTo>
                    <a:lnTo>
                      <a:pt x="146" y="331"/>
                    </a:lnTo>
                    <a:close/>
                    <a:moveTo>
                      <a:pt x="166" y="320"/>
                    </a:moveTo>
                    <a:lnTo>
                      <a:pt x="166" y="320"/>
                    </a:lnTo>
                    <a:lnTo>
                      <a:pt x="164" y="320"/>
                    </a:lnTo>
                    <a:lnTo>
                      <a:pt x="164" y="320"/>
                    </a:lnTo>
                    <a:lnTo>
                      <a:pt x="164" y="320"/>
                    </a:lnTo>
                    <a:lnTo>
                      <a:pt x="164" y="320"/>
                    </a:lnTo>
                    <a:lnTo>
                      <a:pt x="166" y="320"/>
                    </a:lnTo>
                    <a:close/>
                    <a:moveTo>
                      <a:pt x="154" y="323"/>
                    </a:moveTo>
                    <a:lnTo>
                      <a:pt x="154" y="323"/>
                    </a:lnTo>
                    <a:lnTo>
                      <a:pt x="154" y="323"/>
                    </a:lnTo>
                    <a:lnTo>
                      <a:pt x="154" y="323"/>
                    </a:lnTo>
                    <a:lnTo>
                      <a:pt x="154" y="323"/>
                    </a:lnTo>
                    <a:close/>
                    <a:moveTo>
                      <a:pt x="156" y="323"/>
                    </a:moveTo>
                    <a:lnTo>
                      <a:pt x="156" y="323"/>
                    </a:lnTo>
                    <a:lnTo>
                      <a:pt x="156" y="323"/>
                    </a:lnTo>
                    <a:lnTo>
                      <a:pt x="156" y="323"/>
                    </a:lnTo>
                    <a:lnTo>
                      <a:pt x="156" y="323"/>
                    </a:lnTo>
                    <a:lnTo>
                      <a:pt x="156" y="323"/>
                    </a:lnTo>
                    <a:close/>
                    <a:moveTo>
                      <a:pt x="160" y="322"/>
                    </a:moveTo>
                    <a:lnTo>
                      <a:pt x="160" y="322"/>
                    </a:lnTo>
                    <a:lnTo>
                      <a:pt x="160" y="322"/>
                    </a:lnTo>
                    <a:lnTo>
                      <a:pt x="160" y="322"/>
                    </a:lnTo>
                    <a:lnTo>
                      <a:pt x="160" y="322"/>
                    </a:lnTo>
                    <a:lnTo>
                      <a:pt x="160" y="322"/>
                    </a:lnTo>
                    <a:close/>
                    <a:moveTo>
                      <a:pt x="154" y="323"/>
                    </a:moveTo>
                    <a:lnTo>
                      <a:pt x="156" y="323"/>
                    </a:lnTo>
                    <a:lnTo>
                      <a:pt x="154" y="323"/>
                    </a:lnTo>
                    <a:lnTo>
                      <a:pt x="154" y="323"/>
                    </a:lnTo>
                    <a:lnTo>
                      <a:pt x="154" y="323"/>
                    </a:lnTo>
                    <a:close/>
                    <a:moveTo>
                      <a:pt x="154" y="323"/>
                    </a:moveTo>
                    <a:lnTo>
                      <a:pt x="154" y="323"/>
                    </a:lnTo>
                    <a:lnTo>
                      <a:pt x="154" y="323"/>
                    </a:lnTo>
                    <a:lnTo>
                      <a:pt x="154" y="323"/>
                    </a:lnTo>
                    <a:lnTo>
                      <a:pt x="152" y="323"/>
                    </a:lnTo>
                    <a:lnTo>
                      <a:pt x="154" y="323"/>
                    </a:lnTo>
                    <a:lnTo>
                      <a:pt x="154" y="323"/>
                    </a:lnTo>
                    <a:close/>
                    <a:moveTo>
                      <a:pt x="91" y="302"/>
                    </a:moveTo>
                    <a:lnTo>
                      <a:pt x="91" y="302"/>
                    </a:lnTo>
                    <a:lnTo>
                      <a:pt x="91" y="302"/>
                    </a:lnTo>
                    <a:lnTo>
                      <a:pt x="91" y="302"/>
                    </a:lnTo>
                    <a:lnTo>
                      <a:pt x="91" y="302"/>
                    </a:lnTo>
                    <a:lnTo>
                      <a:pt x="91" y="302"/>
                    </a:lnTo>
                    <a:close/>
                    <a:moveTo>
                      <a:pt x="145" y="266"/>
                    </a:moveTo>
                    <a:lnTo>
                      <a:pt x="145" y="266"/>
                    </a:lnTo>
                    <a:lnTo>
                      <a:pt x="145" y="266"/>
                    </a:lnTo>
                    <a:lnTo>
                      <a:pt x="145" y="266"/>
                    </a:lnTo>
                    <a:close/>
                    <a:moveTo>
                      <a:pt x="515" y="0"/>
                    </a:moveTo>
                    <a:lnTo>
                      <a:pt x="515" y="0"/>
                    </a:lnTo>
                    <a:lnTo>
                      <a:pt x="515" y="0"/>
                    </a:lnTo>
                    <a:lnTo>
                      <a:pt x="515" y="0"/>
                    </a:lnTo>
                    <a:lnTo>
                      <a:pt x="515" y="0"/>
                    </a:lnTo>
                    <a:lnTo>
                      <a:pt x="515" y="0"/>
                    </a:lnTo>
                    <a:close/>
                    <a:moveTo>
                      <a:pt x="97" y="206"/>
                    </a:moveTo>
                    <a:lnTo>
                      <a:pt x="97" y="206"/>
                    </a:lnTo>
                    <a:lnTo>
                      <a:pt x="95" y="206"/>
                    </a:lnTo>
                    <a:lnTo>
                      <a:pt x="97" y="206"/>
                    </a:lnTo>
                    <a:lnTo>
                      <a:pt x="97" y="206"/>
                    </a:lnTo>
                    <a:lnTo>
                      <a:pt x="97" y="206"/>
                    </a:lnTo>
                    <a:close/>
                    <a:moveTo>
                      <a:pt x="95" y="204"/>
                    </a:moveTo>
                    <a:lnTo>
                      <a:pt x="95" y="204"/>
                    </a:lnTo>
                    <a:lnTo>
                      <a:pt x="95" y="204"/>
                    </a:lnTo>
                    <a:lnTo>
                      <a:pt x="95" y="204"/>
                    </a:lnTo>
                    <a:lnTo>
                      <a:pt x="95" y="204"/>
                    </a:lnTo>
                    <a:close/>
                    <a:moveTo>
                      <a:pt x="77" y="181"/>
                    </a:moveTo>
                    <a:lnTo>
                      <a:pt x="77" y="183"/>
                    </a:lnTo>
                    <a:lnTo>
                      <a:pt x="77" y="183"/>
                    </a:lnTo>
                    <a:lnTo>
                      <a:pt x="77" y="181"/>
                    </a:lnTo>
                    <a:lnTo>
                      <a:pt x="77" y="181"/>
                    </a:lnTo>
                    <a:lnTo>
                      <a:pt x="77" y="181"/>
                    </a:lnTo>
                    <a:close/>
                    <a:moveTo>
                      <a:pt x="77" y="183"/>
                    </a:moveTo>
                    <a:lnTo>
                      <a:pt x="77" y="183"/>
                    </a:lnTo>
                    <a:lnTo>
                      <a:pt x="75" y="183"/>
                    </a:lnTo>
                    <a:lnTo>
                      <a:pt x="75" y="183"/>
                    </a:lnTo>
                    <a:lnTo>
                      <a:pt x="77" y="183"/>
                    </a:lnTo>
                    <a:lnTo>
                      <a:pt x="77" y="183"/>
                    </a:lnTo>
                    <a:lnTo>
                      <a:pt x="77" y="183"/>
                    </a:lnTo>
                    <a:close/>
                    <a:moveTo>
                      <a:pt x="75" y="181"/>
                    </a:moveTo>
                    <a:lnTo>
                      <a:pt x="73" y="181"/>
                    </a:lnTo>
                    <a:lnTo>
                      <a:pt x="73" y="181"/>
                    </a:lnTo>
                    <a:lnTo>
                      <a:pt x="73" y="181"/>
                    </a:lnTo>
                    <a:lnTo>
                      <a:pt x="75" y="181"/>
                    </a:lnTo>
                    <a:close/>
                    <a:moveTo>
                      <a:pt x="75" y="179"/>
                    </a:moveTo>
                    <a:lnTo>
                      <a:pt x="75" y="179"/>
                    </a:lnTo>
                    <a:lnTo>
                      <a:pt x="75" y="181"/>
                    </a:lnTo>
                    <a:lnTo>
                      <a:pt x="75" y="179"/>
                    </a:lnTo>
                    <a:lnTo>
                      <a:pt x="75" y="179"/>
                    </a:lnTo>
                    <a:close/>
                    <a:moveTo>
                      <a:pt x="64" y="177"/>
                    </a:moveTo>
                    <a:lnTo>
                      <a:pt x="64" y="177"/>
                    </a:lnTo>
                    <a:lnTo>
                      <a:pt x="64" y="177"/>
                    </a:lnTo>
                    <a:lnTo>
                      <a:pt x="64" y="175"/>
                    </a:lnTo>
                    <a:lnTo>
                      <a:pt x="64" y="177"/>
                    </a:lnTo>
                    <a:close/>
                    <a:moveTo>
                      <a:pt x="64" y="175"/>
                    </a:moveTo>
                    <a:lnTo>
                      <a:pt x="64" y="175"/>
                    </a:lnTo>
                    <a:lnTo>
                      <a:pt x="64" y="175"/>
                    </a:lnTo>
                    <a:lnTo>
                      <a:pt x="64" y="175"/>
                    </a:lnTo>
                    <a:close/>
                    <a:moveTo>
                      <a:pt x="64" y="172"/>
                    </a:moveTo>
                    <a:lnTo>
                      <a:pt x="64" y="172"/>
                    </a:lnTo>
                    <a:lnTo>
                      <a:pt x="64" y="172"/>
                    </a:lnTo>
                    <a:lnTo>
                      <a:pt x="64" y="172"/>
                    </a:lnTo>
                    <a:lnTo>
                      <a:pt x="64" y="172"/>
                    </a:lnTo>
                    <a:close/>
                    <a:moveTo>
                      <a:pt x="64" y="172"/>
                    </a:moveTo>
                    <a:lnTo>
                      <a:pt x="64" y="172"/>
                    </a:lnTo>
                    <a:lnTo>
                      <a:pt x="64" y="172"/>
                    </a:lnTo>
                    <a:lnTo>
                      <a:pt x="64" y="172"/>
                    </a:lnTo>
                    <a:lnTo>
                      <a:pt x="64" y="172"/>
                    </a:lnTo>
                    <a:close/>
                    <a:moveTo>
                      <a:pt x="62" y="166"/>
                    </a:moveTo>
                    <a:lnTo>
                      <a:pt x="62" y="166"/>
                    </a:lnTo>
                    <a:lnTo>
                      <a:pt x="62" y="166"/>
                    </a:lnTo>
                    <a:lnTo>
                      <a:pt x="62" y="166"/>
                    </a:lnTo>
                    <a:lnTo>
                      <a:pt x="62" y="166"/>
                    </a:lnTo>
                    <a:lnTo>
                      <a:pt x="62" y="166"/>
                    </a:lnTo>
                    <a:close/>
                    <a:moveTo>
                      <a:pt x="60" y="166"/>
                    </a:moveTo>
                    <a:lnTo>
                      <a:pt x="60" y="166"/>
                    </a:lnTo>
                    <a:lnTo>
                      <a:pt x="60" y="166"/>
                    </a:lnTo>
                    <a:lnTo>
                      <a:pt x="60" y="166"/>
                    </a:lnTo>
                    <a:lnTo>
                      <a:pt x="60" y="166"/>
                    </a:lnTo>
                    <a:lnTo>
                      <a:pt x="60" y="166"/>
                    </a:lnTo>
                    <a:lnTo>
                      <a:pt x="60" y="166"/>
                    </a:lnTo>
                    <a:lnTo>
                      <a:pt x="60" y="166"/>
                    </a:lnTo>
                    <a:lnTo>
                      <a:pt x="60" y="166"/>
                    </a:lnTo>
                    <a:lnTo>
                      <a:pt x="60" y="166"/>
                    </a:lnTo>
                    <a:close/>
                    <a:moveTo>
                      <a:pt x="56" y="162"/>
                    </a:moveTo>
                    <a:lnTo>
                      <a:pt x="56" y="162"/>
                    </a:lnTo>
                    <a:lnTo>
                      <a:pt x="56" y="162"/>
                    </a:lnTo>
                    <a:lnTo>
                      <a:pt x="56" y="162"/>
                    </a:lnTo>
                    <a:lnTo>
                      <a:pt x="56" y="162"/>
                    </a:lnTo>
                    <a:lnTo>
                      <a:pt x="56" y="162"/>
                    </a:lnTo>
                    <a:lnTo>
                      <a:pt x="56" y="162"/>
                    </a:lnTo>
                    <a:close/>
                    <a:moveTo>
                      <a:pt x="56" y="160"/>
                    </a:moveTo>
                    <a:lnTo>
                      <a:pt x="56" y="160"/>
                    </a:lnTo>
                    <a:lnTo>
                      <a:pt x="56" y="160"/>
                    </a:lnTo>
                    <a:lnTo>
                      <a:pt x="56" y="160"/>
                    </a:lnTo>
                    <a:lnTo>
                      <a:pt x="56" y="160"/>
                    </a:lnTo>
                    <a:lnTo>
                      <a:pt x="56" y="160"/>
                    </a:lnTo>
                    <a:close/>
                    <a:moveTo>
                      <a:pt x="56" y="160"/>
                    </a:moveTo>
                    <a:lnTo>
                      <a:pt x="56" y="160"/>
                    </a:lnTo>
                    <a:lnTo>
                      <a:pt x="56" y="160"/>
                    </a:lnTo>
                    <a:lnTo>
                      <a:pt x="56" y="160"/>
                    </a:lnTo>
                    <a:lnTo>
                      <a:pt x="56" y="158"/>
                    </a:lnTo>
                    <a:lnTo>
                      <a:pt x="56" y="158"/>
                    </a:lnTo>
                    <a:lnTo>
                      <a:pt x="56" y="158"/>
                    </a:lnTo>
                    <a:lnTo>
                      <a:pt x="56" y="158"/>
                    </a:lnTo>
                    <a:lnTo>
                      <a:pt x="56" y="158"/>
                    </a:lnTo>
                    <a:lnTo>
                      <a:pt x="56" y="160"/>
                    </a:lnTo>
                    <a:lnTo>
                      <a:pt x="56" y="160"/>
                    </a:lnTo>
                    <a:close/>
                    <a:moveTo>
                      <a:pt x="52" y="152"/>
                    </a:moveTo>
                    <a:lnTo>
                      <a:pt x="52" y="152"/>
                    </a:lnTo>
                    <a:lnTo>
                      <a:pt x="52" y="152"/>
                    </a:lnTo>
                    <a:lnTo>
                      <a:pt x="52" y="152"/>
                    </a:lnTo>
                    <a:lnTo>
                      <a:pt x="52" y="152"/>
                    </a:lnTo>
                    <a:close/>
                    <a:moveTo>
                      <a:pt x="47" y="139"/>
                    </a:moveTo>
                    <a:lnTo>
                      <a:pt x="47" y="139"/>
                    </a:lnTo>
                    <a:lnTo>
                      <a:pt x="47" y="139"/>
                    </a:lnTo>
                    <a:lnTo>
                      <a:pt x="47" y="139"/>
                    </a:lnTo>
                    <a:lnTo>
                      <a:pt x="47" y="139"/>
                    </a:lnTo>
                    <a:lnTo>
                      <a:pt x="47" y="139"/>
                    </a:lnTo>
                    <a:lnTo>
                      <a:pt x="47" y="139"/>
                    </a:lnTo>
                    <a:close/>
                    <a:moveTo>
                      <a:pt x="45" y="129"/>
                    </a:moveTo>
                    <a:lnTo>
                      <a:pt x="45" y="129"/>
                    </a:lnTo>
                    <a:lnTo>
                      <a:pt x="45" y="129"/>
                    </a:lnTo>
                    <a:lnTo>
                      <a:pt x="45" y="129"/>
                    </a:lnTo>
                    <a:lnTo>
                      <a:pt x="45" y="129"/>
                    </a:lnTo>
                    <a:lnTo>
                      <a:pt x="45" y="129"/>
                    </a:lnTo>
                    <a:lnTo>
                      <a:pt x="45" y="129"/>
                    </a:lnTo>
                    <a:lnTo>
                      <a:pt x="45" y="129"/>
                    </a:lnTo>
                    <a:close/>
                    <a:moveTo>
                      <a:pt x="37" y="110"/>
                    </a:moveTo>
                    <a:lnTo>
                      <a:pt x="37" y="110"/>
                    </a:lnTo>
                    <a:lnTo>
                      <a:pt x="37" y="110"/>
                    </a:lnTo>
                    <a:lnTo>
                      <a:pt x="37" y="110"/>
                    </a:lnTo>
                    <a:lnTo>
                      <a:pt x="37" y="110"/>
                    </a:lnTo>
                    <a:close/>
                    <a:moveTo>
                      <a:pt x="33" y="110"/>
                    </a:moveTo>
                    <a:lnTo>
                      <a:pt x="33" y="110"/>
                    </a:lnTo>
                    <a:lnTo>
                      <a:pt x="33" y="110"/>
                    </a:lnTo>
                    <a:lnTo>
                      <a:pt x="33" y="110"/>
                    </a:lnTo>
                    <a:lnTo>
                      <a:pt x="33" y="108"/>
                    </a:lnTo>
                    <a:lnTo>
                      <a:pt x="33" y="108"/>
                    </a:lnTo>
                    <a:lnTo>
                      <a:pt x="33" y="110"/>
                    </a:lnTo>
                    <a:lnTo>
                      <a:pt x="33" y="110"/>
                    </a:lnTo>
                    <a:close/>
                    <a:moveTo>
                      <a:pt x="33" y="108"/>
                    </a:moveTo>
                    <a:lnTo>
                      <a:pt x="33" y="108"/>
                    </a:lnTo>
                    <a:lnTo>
                      <a:pt x="33" y="108"/>
                    </a:lnTo>
                    <a:lnTo>
                      <a:pt x="31" y="108"/>
                    </a:lnTo>
                    <a:lnTo>
                      <a:pt x="33" y="108"/>
                    </a:lnTo>
                    <a:lnTo>
                      <a:pt x="33" y="108"/>
                    </a:lnTo>
                    <a:lnTo>
                      <a:pt x="33" y="108"/>
                    </a:lnTo>
                    <a:close/>
                    <a:moveTo>
                      <a:pt x="31" y="104"/>
                    </a:moveTo>
                    <a:lnTo>
                      <a:pt x="33" y="104"/>
                    </a:lnTo>
                    <a:lnTo>
                      <a:pt x="31" y="104"/>
                    </a:lnTo>
                    <a:lnTo>
                      <a:pt x="31" y="104"/>
                    </a:lnTo>
                    <a:lnTo>
                      <a:pt x="31" y="104"/>
                    </a:lnTo>
                    <a:lnTo>
                      <a:pt x="31" y="104"/>
                    </a:lnTo>
                    <a:lnTo>
                      <a:pt x="31" y="104"/>
                    </a:lnTo>
                    <a:lnTo>
                      <a:pt x="31" y="104"/>
                    </a:lnTo>
                    <a:lnTo>
                      <a:pt x="31" y="104"/>
                    </a:lnTo>
                    <a:lnTo>
                      <a:pt x="31" y="104"/>
                    </a:lnTo>
                    <a:close/>
                    <a:moveTo>
                      <a:pt x="25" y="95"/>
                    </a:moveTo>
                    <a:lnTo>
                      <a:pt x="25" y="95"/>
                    </a:lnTo>
                    <a:lnTo>
                      <a:pt x="25" y="95"/>
                    </a:lnTo>
                    <a:lnTo>
                      <a:pt x="25" y="95"/>
                    </a:lnTo>
                    <a:lnTo>
                      <a:pt x="25" y="95"/>
                    </a:lnTo>
                    <a:lnTo>
                      <a:pt x="25" y="95"/>
                    </a:lnTo>
                    <a:lnTo>
                      <a:pt x="25" y="95"/>
                    </a:lnTo>
                    <a:lnTo>
                      <a:pt x="25" y="95"/>
                    </a:lnTo>
                    <a:lnTo>
                      <a:pt x="25" y="95"/>
                    </a:lnTo>
                    <a:close/>
                    <a:moveTo>
                      <a:pt x="0" y="66"/>
                    </a:moveTo>
                    <a:lnTo>
                      <a:pt x="0" y="66"/>
                    </a:lnTo>
                    <a:lnTo>
                      <a:pt x="0" y="66"/>
                    </a:lnTo>
                    <a:lnTo>
                      <a:pt x="0" y="6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0" name="Freeform 120"/>
              <p:cNvSpPr>
                <a:spLocks noEditPoints="1"/>
              </p:cNvSpPr>
              <p:nvPr/>
            </p:nvSpPr>
            <p:spPr bwMode="auto">
              <a:xfrm>
                <a:off x="7401413" y="3619120"/>
                <a:ext cx="115282" cy="311433"/>
              </a:xfrm>
              <a:custGeom>
                <a:avLst/>
                <a:gdLst>
                  <a:gd name="T0" fmla="*/ 11 w 67"/>
                  <a:gd name="T1" fmla="*/ 120 h 181"/>
                  <a:gd name="T2" fmla="*/ 19 w 67"/>
                  <a:gd name="T3" fmla="*/ 116 h 181"/>
                  <a:gd name="T4" fmla="*/ 21 w 67"/>
                  <a:gd name="T5" fmla="*/ 120 h 181"/>
                  <a:gd name="T6" fmla="*/ 17 w 67"/>
                  <a:gd name="T7" fmla="*/ 127 h 181"/>
                  <a:gd name="T8" fmla="*/ 11 w 67"/>
                  <a:gd name="T9" fmla="*/ 133 h 181"/>
                  <a:gd name="T10" fmla="*/ 9 w 67"/>
                  <a:gd name="T11" fmla="*/ 139 h 181"/>
                  <a:gd name="T12" fmla="*/ 9 w 67"/>
                  <a:gd name="T13" fmla="*/ 147 h 181"/>
                  <a:gd name="T14" fmla="*/ 7 w 67"/>
                  <a:gd name="T15" fmla="*/ 150 h 181"/>
                  <a:gd name="T16" fmla="*/ 9 w 67"/>
                  <a:gd name="T17" fmla="*/ 156 h 181"/>
                  <a:gd name="T18" fmla="*/ 6 w 67"/>
                  <a:gd name="T19" fmla="*/ 164 h 181"/>
                  <a:gd name="T20" fmla="*/ 7 w 67"/>
                  <a:gd name="T21" fmla="*/ 175 h 181"/>
                  <a:gd name="T22" fmla="*/ 9 w 67"/>
                  <a:gd name="T23" fmla="*/ 179 h 181"/>
                  <a:gd name="T24" fmla="*/ 6 w 67"/>
                  <a:gd name="T25" fmla="*/ 179 h 181"/>
                  <a:gd name="T26" fmla="*/ 0 w 67"/>
                  <a:gd name="T27" fmla="*/ 173 h 181"/>
                  <a:gd name="T28" fmla="*/ 2 w 67"/>
                  <a:gd name="T29" fmla="*/ 164 h 181"/>
                  <a:gd name="T30" fmla="*/ 4 w 67"/>
                  <a:gd name="T31" fmla="*/ 154 h 181"/>
                  <a:gd name="T32" fmla="*/ 4 w 67"/>
                  <a:gd name="T33" fmla="*/ 143 h 181"/>
                  <a:gd name="T34" fmla="*/ 4 w 67"/>
                  <a:gd name="T35" fmla="*/ 131 h 181"/>
                  <a:gd name="T36" fmla="*/ 4 w 67"/>
                  <a:gd name="T37" fmla="*/ 127 h 181"/>
                  <a:gd name="T38" fmla="*/ 2 w 67"/>
                  <a:gd name="T39" fmla="*/ 120 h 181"/>
                  <a:gd name="T40" fmla="*/ 40 w 67"/>
                  <a:gd name="T41" fmla="*/ 62 h 181"/>
                  <a:gd name="T42" fmla="*/ 42 w 67"/>
                  <a:gd name="T43" fmla="*/ 72 h 181"/>
                  <a:gd name="T44" fmla="*/ 38 w 67"/>
                  <a:gd name="T45" fmla="*/ 79 h 181"/>
                  <a:gd name="T46" fmla="*/ 38 w 67"/>
                  <a:gd name="T47" fmla="*/ 91 h 181"/>
                  <a:gd name="T48" fmla="*/ 34 w 67"/>
                  <a:gd name="T49" fmla="*/ 99 h 181"/>
                  <a:gd name="T50" fmla="*/ 30 w 67"/>
                  <a:gd name="T51" fmla="*/ 108 h 181"/>
                  <a:gd name="T52" fmla="*/ 30 w 67"/>
                  <a:gd name="T53" fmla="*/ 99 h 181"/>
                  <a:gd name="T54" fmla="*/ 29 w 67"/>
                  <a:gd name="T55" fmla="*/ 97 h 181"/>
                  <a:gd name="T56" fmla="*/ 30 w 67"/>
                  <a:gd name="T57" fmla="*/ 91 h 181"/>
                  <a:gd name="T58" fmla="*/ 32 w 67"/>
                  <a:gd name="T59" fmla="*/ 81 h 181"/>
                  <a:gd name="T60" fmla="*/ 27 w 67"/>
                  <a:gd name="T61" fmla="*/ 79 h 181"/>
                  <a:gd name="T62" fmla="*/ 30 w 67"/>
                  <a:gd name="T63" fmla="*/ 77 h 181"/>
                  <a:gd name="T64" fmla="*/ 32 w 67"/>
                  <a:gd name="T65" fmla="*/ 66 h 181"/>
                  <a:gd name="T66" fmla="*/ 57 w 67"/>
                  <a:gd name="T67" fmla="*/ 0 h 181"/>
                  <a:gd name="T68" fmla="*/ 63 w 67"/>
                  <a:gd name="T69" fmla="*/ 2 h 181"/>
                  <a:gd name="T70" fmla="*/ 67 w 67"/>
                  <a:gd name="T71" fmla="*/ 12 h 181"/>
                  <a:gd name="T72" fmla="*/ 61 w 67"/>
                  <a:gd name="T73" fmla="*/ 16 h 181"/>
                  <a:gd name="T74" fmla="*/ 59 w 67"/>
                  <a:gd name="T75" fmla="*/ 25 h 181"/>
                  <a:gd name="T76" fmla="*/ 55 w 67"/>
                  <a:gd name="T77" fmla="*/ 29 h 181"/>
                  <a:gd name="T78" fmla="*/ 52 w 67"/>
                  <a:gd name="T79" fmla="*/ 39 h 181"/>
                  <a:gd name="T80" fmla="*/ 50 w 67"/>
                  <a:gd name="T81" fmla="*/ 50 h 181"/>
                  <a:gd name="T82" fmla="*/ 32 w 67"/>
                  <a:gd name="T83" fmla="*/ 54 h 181"/>
                  <a:gd name="T84" fmla="*/ 30 w 67"/>
                  <a:gd name="T85" fmla="*/ 52 h 181"/>
                  <a:gd name="T86" fmla="*/ 34 w 67"/>
                  <a:gd name="T87" fmla="*/ 52 h 181"/>
                  <a:gd name="T88" fmla="*/ 34 w 67"/>
                  <a:gd name="T89" fmla="*/ 45 h 181"/>
                  <a:gd name="T90" fmla="*/ 38 w 67"/>
                  <a:gd name="T91" fmla="*/ 37 h 181"/>
                  <a:gd name="T92" fmla="*/ 32 w 67"/>
                  <a:gd name="T93" fmla="*/ 31 h 181"/>
                  <a:gd name="T94" fmla="*/ 36 w 67"/>
                  <a:gd name="T95" fmla="*/ 27 h 181"/>
                  <a:gd name="T96" fmla="*/ 42 w 67"/>
                  <a:gd name="T97" fmla="*/ 33 h 181"/>
                  <a:gd name="T98" fmla="*/ 50 w 67"/>
                  <a:gd name="T99" fmla="*/ 29 h 181"/>
                  <a:gd name="T100" fmla="*/ 54 w 67"/>
                  <a:gd name="T101" fmla="*/ 24 h 181"/>
                  <a:gd name="T102" fmla="*/ 54 w 67"/>
                  <a:gd name="T103" fmla="*/ 24 h 181"/>
                  <a:gd name="T104" fmla="*/ 54 w 67"/>
                  <a:gd name="T105" fmla="*/ 12 h 181"/>
                  <a:gd name="T106" fmla="*/ 54 w 67"/>
                  <a:gd name="T107" fmla="*/ 4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7" h="181">
                    <a:moveTo>
                      <a:pt x="4" y="118"/>
                    </a:moveTo>
                    <a:lnTo>
                      <a:pt x="6" y="118"/>
                    </a:lnTo>
                    <a:lnTo>
                      <a:pt x="7" y="118"/>
                    </a:lnTo>
                    <a:lnTo>
                      <a:pt x="7" y="120"/>
                    </a:lnTo>
                    <a:lnTo>
                      <a:pt x="9" y="120"/>
                    </a:lnTo>
                    <a:lnTo>
                      <a:pt x="11" y="120"/>
                    </a:lnTo>
                    <a:lnTo>
                      <a:pt x="13" y="120"/>
                    </a:lnTo>
                    <a:lnTo>
                      <a:pt x="15" y="118"/>
                    </a:lnTo>
                    <a:lnTo>
                      <a:pt x="17" y="118"/>
                    </a:lnTo>
                    <a:lnTo>
                      <a:pt x="17" y="120"/>
                    </a:lnTo>
                    <a:lnTo>
                      <a:pt x="17" y="118"/>
                    </a:lnTo>
                    <a:lnTo>
                      <a:pt x="19" y="116"/>
                    </a:lnTo>
                    <a:lnTo>
                      <a:pt x="19" y="114"/>
                    </a:lnTo>
                    <a:lnTo>
                      <a:pt x="21" y="112"/>
                    </a:lnTo>
                    <a:lnTo>
                      <a:pt x="21" y="114"/>
                    </a:lnTo>
                    <a:lnTo>
                      <a:pt x="21" y="116"/>
                    </a:lnTo>
                    <a:lnTo>
                      <a:pt x="21" y="118"/>
                    </a:lnTo>
                    <a:lnTo>
                      <a:pt x="21" y="120"/>
                    </a:lnTo>
                    <a:lnTo>
                      <a:pt x="19" y="120"/>
                    </a:lnTo>
                    <a:lnTo>
                      <a:pt x="17" y="120"/>
                    </a:lnTo>
                    <a:lnTo>
                      <a:pt x="17" y="122"/>
                    </a:lnTo>
                    <a:lnTo>
                      <a:pt x="17" y="124"/>
                    </a:lnTo>
                    <a:lnTo>
                      <a:pt x="17" y="125"/>
                    </a:lnTo>
                    <a:lnTo>
                      <a:pt x="17" y="127"/>
                    </a:lnTo>
                    <a:lnTo>
                      <a:pt x="17" y="129"/>
                    </a:lnTo>
                    <a:lnTo>
                      <a:pt x="15" y="129"/>
                    </a:lnTo>
                    <a:lnTo>
                      <a:pt x="15" y="131"/>
                    </a:lnTo>
                    <a:lnTo>
                      <a:pt x="13" y="131"/>
                    </a:lnTo>
                    <a:lnTo>
                      <a:pt x="11" y="131"/>
                    </a:lnTo>
                    <a:lnTo>
                      <a:pt x="11" y="133"/>
                    </a:lnTo>
                    <a:lnTo>
                      <a:pt x="9" y="133"/>
                    </a:lnTo>
                    <a:lnTo>
                      <a:pt x="9" y="135"/>
                    </a:lnTo>
                    <a:lnTo>
                      <a:pt x="9" y="137"/>
                    </a:lnTo>
                    <a:lnTo>
                      <a:pt x="9" y="139"/>
                    </a:lnTo>
                    <a:lnTo>
                      <a:pt x="11" y="139"/>
                    </a:lnTo>
                    <a:lnTo>
                      <a:pt x="9" y="139"/>
                    </a:lnTo>
                    <a:lnTo>
                      <a:pt x="9" y="141"/>
                    </a:lnTo>
                    <a:lnTo>
                      <a:pt x="9" y="143"/>
                    </a:lnTo>
                    <a:lnTo>
                      <a:pt x="7" y="143"/>
                    </a:lnTo>
                    <a:lnTo>
                      <a:pt x="7" y="145"/>
                    </a:lnTo>
                    <a:lnTo>
                      <a:pt x="7" y="147"/>
                    </a:lnTo>
                    <a:lnTo>
                      <a:pt x="9" y="147"/>
                    </a:lnTo>
                    <a:lnTo>
                      <a:pt x="9" y="149"/>
                    </a:lnTo>
                    <a:lnTo>
                      <a:pt x="7" y="149"/>
                    </a:lnTo>
                    <a:lnTo>
                      <a:pt x="9" y="149"/>
                    </a:lnTo>
                    <a:lnTo>
                      <a:pt x="7" y="149"/>
                    </a:lnTo>
                    <a:lnTo>
                      <a:pt x="9" y="149"/>
                    </a:lnTo>
                    <a:lnTo>
                      <a:pt x="7" y="150"/>
                    </a:lnTo>
                    <a:lnTo>
                      <a:pt x="9" y="150"/>
                    </a:lnTo>
                    <a:lnTo>
                      <a:pt x="9" y="152"/>
                    </a:lnTo>
                    <a:lnTo>
                      <a:pt x="7" y="152"/>
                    </a:lnTo>
                    <a:lnTo>
                      <a:pt x="7" y="154"/>
                    </a:lnTo>
                    <a:lnTo>
                      <a:pt x="7" y="156"/>
                    </a:lnTo>
                    <a:lnTo>
                      <a:pt x="9" y="156"/>
                    </a:lnTo>
                    <a:lnTo>
                      <a:pt x="9" y="158"/>
                    </a:lnTo>
                    <a:lnTo>
                      <a:pt x="9" y="160"/>
                    </a:lnTo>
                    <a:lnTo>
                      <a:pt x="9" y="162"/>
                    </a:lnTo>
                    <a:lnTo>
                      <a:pt x="7" y="162"/>
                    </a:lnTo>
                    <a:lnTo>
                      <a:pt x="7" y="164"/>
                    </a:lnTo>
                    <a:lnTo>
                      <a:pt x="6" y="164"/>
                    </a:lnTo>
                    <a:lnTo>
                      <a:pt x="6" y="166"/>
                    </a:lnTo>
                    <a:lnTo>
                      <a:pt x="6" y="168"/>
                    </a:lnTo>
                    <a:lnTo>
                      <a:pt x="6" y="170"/>
                    </a:lnTo>
                    <a:lnTo>
                      <a:pt x="6" y="172"/>
                    </a:lnTo>
                    <a:lnTo>
                      <a:pt x="7" y="173"/>
                    </a:lnTo>
                    <a:lnTo>
                      <a:pt x="7" y="175"/>
                    </a:lnTo>
                    <a:lnTo>
                      <a:pt x="9" y="175"/>
                    </a:lnTo>
                    <a:lnTo>
                      <a:pt x="9" y="177"/>
                    </a:lnTo>
                    <a:lnTo>
                      <a:pt x="9" y="179"/>
                    </a:lnTo>
                    <a:lnTo>
                      <a:pt x="11" y="181"/>
                    </a:lnTo>
                    <a:lnTo>
                      <a:pt x="9" y="181"/>
                    </a:lnTo>
                    <a:lnTo>
                      <a:pt x="9" y="179"/>
                    </a:lnTo>
                    <a:lnTo>
                      <a:pt x="9" y="177"/>
                    </a:lnTo>
                    <a:lnTo>
                      <a:pt x="9" y="179"/>
                    </a:lnTo>
                    <a:lnTo>
                      <a:pt x="9" y="177"/>
                    </a:lnTo>
                    <a:lnTo>
                      <a:pt x="7" y="177"/>
                    </a:lnTo>
                    <a:lnTo>
                      <a:pt x="6" y="177"/>
                    </a:lnTo>
                    <a:lnTo>
                      <a:pt x="6" y="179"/>
                    </a:lnTo>
                    <a:lnTo>
                      <a:pt x="4" y="179"/>
                    </a:lnTo>
                    <a:lnTo>
                      <a:pt x="4" y="177"/>
                    </a:lnTo>
                    <a:lnTo>
                      <a:pt x="2" y="177"/>
                    </a:lnTo>
                    <a:lnTo>
                      <a:pt x="2" y="175"/>
                    </a:lnTo>
                    <a:lnTo>
                      <a:pt x="0" y="175"/>
                    </a:lnTo>
                    <a:lnTo>
                      <a:pt x="0" y="173"/>
                    </a:lnTo>
                    <a:lnTo>
                      <a:pt x="0" y="172"/>
                    </a:lnTo>
                    <a:lnTo>
                      <a:pt x="0" y="170"/>
                    </a:lnTo>
                    <a:lnTo>
                      <a:pt x="0" y="168"/>
                    </a:lnTo>
                    <a:lnTo>
                      <a:pt x="2" y="168"/>
                    </a:lnTo>
                    <a:lnTo>
                      <a:pt x="2" y="166"/>
                    </a:lnTo>
                    <a:lnTo>
                      <a:pt x="2" y="164"/>
                    </a:lnTo>
                    <a:lnTo>
                      <a:pt x="2" y="162"/>
                    </a:lnTo>
                    <a:lnTo>
                      <a:pt x="2" y="160"/>
                    </a:lnTo>
                    <a:lnTo>
                      <a:pt x="4" y="160"/>
                    </a:lnTo>
                    <a:lnTo>
                      <a:pt x="4" y="158"/>
                    </a:lnTo>
                    <a:lnTo>
                      <a:pt x="4" y="156"/>
                    </a:lnTo>
                    <a:lnTo>
                      <a:pt x="4" y="154"/>
                    </a:lnTo>
                    <a:lnTo>
                      <a:pt x="4" y="152"/>
                    </a:lnTo>
                    <a:lnTo>
                      <a:pt x="4" y="150"/>
                    </a:lnTo>
                    <a:lnTo>
                      <a:pt x="4" y="149"/>
                    </a:lnTo>
                    <a:lnTo>
                      <a:pt x="4" y="147"/>
                    </a:lnTo>
                    <a:lnTo>
                      <a:pt x="4" y="145"/>
                    </a:lnTo>
                    <a:lnTo>
                      <a:pt x="4" y="143"/>
                    </a:lnTo>
                    <a:lnTo>
                      <a:pt x="4" y="141"/>
                    </a:lnTo>
                    <a:lnTo>
                      <a:pt x="4" y="139"/>
                    </a:lnTo>
                    <a:lnTo>
                      <a:pt x="4" y="137"/>
                    </a:lnTo>
                    <a:lnTo>
                      <a:pt x="4" y="135"/>
                    </a:lnTo>
                    <a:lnTo>
                      <a:pt x="4" y="133"/>
                    </a:lnTo>
                    <a:lnTo>
                      <a:pt x="4" y="131"/>
                    </a:lnTo>
                    <a:lnTo>
                      <a:pt x="4" y="129"/>
                    </a:lnTo>
                    <a:lnTo>
                      <a:pt x="2" y="129"/>
                    </a:lnTo>
                    <a:lnTo>
                      <a:pt x="2" y="127"/>
                    </a:lnTo>
                    <a:lnTo>
                      <a:pt x="4" y="127"/>
                    </a:lnTo>
                    <a:lnTo>
                      <a:pt x="2" y="127"/>
                    </a:lnTo>
                    <a:lnTo>
                      <a:pt x="4" y="127"/>
                    </a:lnTo>
                    <a:lnTo>
                      <a:pt x="2" y="127"/>
                    </a:lnTo>
                    <a:lnTo>
                      <a:pt x="4" y="125"/>
                    </a:lnTo>
                    <a:lnTo>
                      <a:pt x="2" y="125"/>
                    </a:lnTo>
                    <a:lnTo>
                      <a:pt x="2" y="124"/>
                    </a:lnTo>
                    <a:lnTo>
                      <a:pt x="2" y="122"/>
                    </a:lnTo>
                    <a:lnTo>
                      <a:pt x="2" y="120"/>
                    </a:lnTo>
                    <a:lnTo>
                      <a:pt x="2" y="118"/>
                    </a:lnTo>
                    <a:lnTo>
                      <a:pt x="4" y="118"/>
                    </a:lnTo>
                    <a:close/>
                    <a:moveTo>
                      <a:pt x="40" y="56"/>
                    </a:moveTo>
                    <a:lnTo>
                      <a:pt x="38" y="58"/>
                    </a:lnTo>
                    <a:lnTo>
                      <a:pt x="38" y="60"/>
                    </a:lnTo>
                    <a:lnTo>
                      <a:pt x="40" y="62"/>
                    </a:lnTo>
                    <a:lnTo>
                      <a:pt x="42" y="62"/>
                    </a:lnTo>
                    <a:lnTo>
                      <a:pt x="42" y="64"/>
                    </a:lnTo>
                    <a:lnTo>
                      <a:pt x="42" y="66"/>
                    </a:lnTo>
                    <a:lnTo>
                      <a:pt x="42" y="68"/>
                    </a:lnTo>
                    <a:lnTo>
                      <a:pt x="42" y="70"/>
                    </a:lnTo>
                    <a:lnTo>
                      <a:pt x="42" y="72"/>
                    </a:lnTo>
                    <a:lnTo>
                      <a:pt x="40" y="72"/>
                    </a:lnTo>
                    <a:lnTo>
                      <a:pt x="40" y="74"/>
                    </a:lnTo>
                    <a:lnTo>
                      <a:pt x="40" y="75"/>
                    </a:lnTo>
                    <a:lnTo>
                      <a:pt x="38" y="75"/>
                    </a:lnTo>
                    <a:lnTo>
                      <a:pt x="38" y="77"/>
                    </a:lnTo>
                    <a:lnTo>
                      <a:pt x="38" y="79"/>
                    </a:lnTo>
                    <a:lnTo>
                      <a:pt x="38" y="81"/>
                    </a:lnTo>
                    <a:lnTo>
                      <a:pt x="38" y="83"/>
                    </a:lnTo>
                    <a:lnTo>
                      <a:pt x="38" y="85"/>
                    </a:lnTo>
                    <a:lnTo>
                      <a:pt x="38" y="87"/>
                    </a:lnTo>
                    <a:lnTo>
                      <a:pt x="38" y="89"/>
                    </a:lnTo>
                    <a:lnTo>
                      <a:pt x="38" y="91"/>
                    </a:lnTo>
                    <a:lnTo>
                      <a:pt x="38" y="93"/>
                    </a:lnTo>
                    <a:lnTo>
                      <a:pt x="36" y="93"/>
                    </a:lnTo>
                    <a:lnTo>
                      <a:pt x="36" y="95"/>
                    </a:lnTo>
                    <a:lnTo>
                      <a:pt x="34" y="95"/>
                    </a:lnTo>
                    <a:lnTo>
                      <a:pt x="34" y="97"/>
                    </a:lnTo>
                    <a:lnTo>
                      <a:pt x="34" y="99"/>
                    </a:lnTo>
                    <a:lnTo>
                      <a:pt x="34" y="100"/>
                    </a:lnTo>
                    <a:lnTo>
                      <a:pt x="34" y="102"/>
                    </a:lnTo>
                    <a:lnTo>
                      <a:pt x="34" y="104"/>
                    </a:lnTo>
                    <a:lnTo>
                      <a:pt x="34" y="106"/>
                    </a:lnTo>
                    <a:lnTo>
                      <a:pt x="32" y="106"/>
                    </a:lnTo>
                    <a:lnTo>
                      <a:pt x="30" y="108"/>
                    </a:lnTo>
                    <a:lnTo>
                      <a:pt x="30" y="106"/>
                    </a:lnTo>
                    <a:lnTo>
                      <a:pt x="30" y="104"/>
                    </a:lnTo>
                    <a:lnTo>
                      <a:pt x="29" y="104"/>
                    </a:lnTo>
                    <a:lnTo>
                      <a:pt x="29" y="102"/>
                    </a:lnTo>
                    <a:lnTo>
                      <a:pt x="30" y="100"/>
                    </a:lnTo>
                    <a:lnTo>
                      <a:pt x="30" y="99"/>
                    </a:lnTo>
                    <a:lnTo>
                      <a:pt x="29" y="99"/>
                    </a:lnTo>
                    <a:lnTo>
                      <a:pt x="29" y="97"/>
                    </a:lnTo>
                    <a:lnTo>
                      <a:pt x="27" y="97"/>
                    </a:lnTo>
                    <a:lnTo>
                      <a:pt x="27" y="95"/>
                    </a:lnTo>
                    <a:lnTo>
                      <a:pt x="29" y="95"/>
                    </a:lnTo>
                    <a:lnTo>
                      <a:pt x="29" y="97"/>
                    </a:lnTo>
                    <a:lnTo>
                      <a:pt x="30" y="97"/>
                    </a:lnTo>
                    <a:lnTo>
                      <a:pt x="30" y="95"/>
                    </a:lnTo>
                    <a:lnTo>
                      <a:pt x="30" y="93"/>
                    </a:lnTo>
                    <a:lnTo>
                      <a:pt x="29" y="93"/>
                    </a:lnTo>
                    <a:lnTo>
                      <a:pt x="29" y="91"/>
                    </a:lnTo>
                    <a:lnTo>
                      <a:pt x="30" y="91"/>
                    </a:lnTo>
                    <a:lnTo>
                      <a:pt x="32" y="91"/>
                    </a:lnTo>
                    <a:lnTo>
                      <a:pt x="32" y="89"/>
                    </a:lnTo>
                    <a:lnTo>
                      <a:pt x="32" y="87"/>
                    </a:lnTo>
                    <a:lnTo>
                      <a:pt x="32" y="85"/>
                    </a:lnTo>
                    <a:lnTo>
                      <a:pt x="32" y="83"/>
                    </a:lnTo>
                    <a:lnTo>
                      <a:pt x="32" y="81"/>
                    </a:lnTo>
                    <a:lnTo>
                      <a:pt x="30" y="81"/>
                    </a:lnTo>
                    <a:lnTo>
                      <a:pt x="29" y="81"/>
                    </a:lnTo>
                    <a:lnTo>
                      <a:pt x="27" y="81"/>
                    </a:lnTo>
                    <a:lnTo>
                      <a:pt x="27" y="79"/>
                    </a:lnTo>
                    <a:lnTo>
                      <a:pt x="27" y="77"/>
                    </a:lnTo>
                    <a:lnTo>
                      <a:pt x="27" y="79"/>
                    </a:lnTo>
                    <a:lnTo>
                      <a:pt x="27" y="77"/>
                    </a:lnTo>
                    <a:lnTo>
                      <a:pt x="29" y="79"/>
                    </a:lnTo>
                    <a:lnTo>
                      <a:pt x="29" y="77"/>
                    </a:lnTo>
                    <a:lnTo>
                      <a:pt x="29" y="79"/>
                    </a:lnTo>
                    <a:lnTo>
                      <a:pt x="30" y="79"/>
                    </a:lnTo>
                    <a:lnTo>
                      <a:pt x="30" y="77"/>
                    </a:lnTo>
                    <a:lnTo>
                      <a:pt x="30" y="75"/>
                    </a:lnTo>
                    <a:lnTo>
                      <a:pt x="30" y="74"/>
                    </a:lnTo>
                    <a:lnTo>
                      <a:pt x="30" y="72"/>
                    </a:lnTo>
                    <a:lnTo>
                      <a:pt x="32" y="70"/>
                    </a:lnTo>
                    <a:lnTo>
                      <a:pt x="32" y="68"/>
                    </a:lnTo>
                    <a:lnTo>
                      <a:pt x="32" y="66"/>
                    </a:lnTo>
                    <a:lnTo>
                      <a:pt x="32" y="64"/>
                    </a:lnTo>
                    <a:lnTo>
                      <a:pt x="32" y="62"/>
                    </a:lnTo>
                    <a:lnTo>
                      <a:pt x="34" y="62"/>
                    </a:lnTo>
                    <a:lnTo>
                      <a:pt x="34" y="60"/>
                    </a:lnTo>
                    <a:lnTo>
                      <a:pt x="40" y="56"/>
                    </a:lnTo>
                    <a:close/>
                    <a:moveTo>
                      <a:pt x="57" y="0"/>
                    </a:moveTo>
                    <a:lnTo>
                      <a:pt x="59" y="0"/>
                    </a:lnTo>
                    <a:lnTo>
                      <a:pt x="61" y="0"/>
                    </a:lnTo>
                    <a:lnTo>
                      <a:pt x="63" y="0"/>
                    </a:lnTo>
                    <a:lnTo>
                      <a:pt x="63" y="2"/>
                    </a:lnTo>
                    <a:lnTo>
                      <a:pt x="65" y="2"/>
                    </a:lnTo>
                    <a:lnTo>
                      <a:pt x="63" y="2"/>
                    </a:lnTo>
                    <a:lnTo>
                      <a:pt x="63" y="4"/>
                    </a:lnTo>
                    <a:lnTo>
                      <a:pt x="63" y="6"/>
                    </a:lnTo>
                    <a:lnTo>
                      <a:pt x="65" y="8"/>
                    </a:lnTo>
                    <a:lnTo>
                      <a:pt x="67" y="8"/>
                    </a:lnTo>
                    <a:lnTo>
                      <a:pt x="67" y="10"/>
                    </a:lnTo>
                    <a:lnTo>
                      <a:pt x="67" y="12"/>
                    </a:lnTo>
                    <a:lnTo>
                      <a:pt x="67" y="14"/>
                    </a:lnTo>
                    <a:lnTo>
                      <a:pt x="65" y="14"/>
                    </a:lnTo>
                    <a:lnTo>
                      <a:pt x="63" y="16"/>
                    </a:lnTo>
                    <a:lnTo>
                      <a:pt x="61" y="16"/>
                    </a:lnTo>
                    <a:lnTo>
                      <a:pt x="61" y="18"/>
                    </a:lnTo>
                    <a:lnTo>
                      <a:pt x="61" y="16"/>
                    </a:lnTo>
                    <a:lnTo>
                      <a:pt x="61" y="18"/>
                    </a:lnTo>
                    <a:lnTo>
                      <a:pt x="59" y="18"/>
                    </a:lnTo>
                    <a:lnTo>
                      <a:pt x="59" y="20"/>
                    </a:lnTo>
                    <a:lnTo>
                      <a:pt x="59" y="22"/>
                    </a:lnTo>
                    <a:lnTo>
                      <a:pt x="59" y="24"/>
                    </a:lnTo>
                    <a:lnTo>
                      <a:pt x="59" y="25"/>
                    </a:lnTo>
                    <a:lnTo>
                      <a:pt x="59" y="24"/>
                    </a:lnTo>
                    <a:lnTo>
                      <a:pt x="57" y="24"/>
                    </a:lnTo>
                    <a:lnTo>
                      <a:pt x="57" y="25"/>
                    </a:lnTo>
                    <a:lnTo>
                      <a:pt x="57" y="27"/>
                    </a:lnTo>
                    <a:lnTo>
                      <a:pt x="55" y="27"/>
                    </a:lnTo>
                    <a:lnTo>
                      <a:pt x="55" y="29"/>
                    </a:lnTo>
                    <a:lnTo>
                      <a:pt x="54" y="29"/>
                    </a:lnTo>
                    <a:lnTo>
                      <a:pt x="54" y="31"/>
                    </a:lnTo>
                    <a:lnTo>
                      <a:pt x="54" y="33"/>
                    </a:lnTo>
                    <a:lnTo>
                      <a:pt x="52" y="35"/>
                    </a:lnTo>
                    <a:lnTo>
                      <a:pt x="52" y="37"/>
                    </a:lnTo>
                    <a:lnTo>
                      <a:pt x="52" y="39"/>
                    </a:lnTo>
                    <a:lnTo>
                      <a:pt x="50" y="41"/>
                    </a:lnTo>
                    <a:lnTo>
                      <a:pt x="50" y="43"/>
                    </a:lnTo>
                    <a:lnTo>
                      <a:pt x="50" y="45"/>
                    </a:lnTo>
                    <a:lnTo>
                      <a:pt x="50" y="47"/>
                    </a:lnTo>
                    <a:lnTo>
                      <a:pt x="50" y="49"/>
                    </a:lnTo>
                    <a:lnTo>
                      <a:pt x="50" y="50"/>
                    </a:lnTo>
                    <a:lnTo>
                      <a:pt x="42" y="56"/>
                    </a:lnTo>
                    <a:lnTo>
                      <a:pt x="40" y="56"/>
                    </a:lnTo>
                    <a:lnTo>
                      <a:pt x="34" y="60"/>
                    </a:lnTo>
                    <a:lnTo>
                      <a:pt x="32" y="58"/>
                    </a:lnTo>
                    <a:lnTo>
                      <a:pt x="32" y="56"/>
                    </a:lnTo>
                    <a:lnTo>
                      <a:pt x="32" y="54"/>
                    </a:lnTo>
                    <a:lnTo>
                      <a:pt x="30" y="54"/>
                    </a:lnTo>
                    <a:lnTo>
                      <a:pt x="29" y="54"/>
                    </a:lnTo>
                    <a:lnTo>
                      <a:pt x="30" y="54"/>
                    </a:lnTo>
                    <a:lnTo>
                      <a:pt x="29" y="54"/>
                    </a:lnTo>
                    <a:lnTo>
                      <a:pt x="30" y="54"/>
                    </a:lnTo>
                    <a:lnTo>
                      <a:pt x="30" y="52"/>
                    </a:lnTo>
                    <a:lnTo>
                      <a:pt x="30" y="54"/>
                    </a:lnTo>
                    <a:lnTo>
                      <a:pt x="30" y="52"/>
                    </a:lnTo>
                    <a:lnTo>
                      <a:pt x="32" y="52"/>
                    </a:lnTo>
                    <a:lnTo>
                      <a:pt x="32" y="54"/>
                    </a:lnTo>
                    <a:lnTo>
                      <a:pt x="34" y="54"/>
                    </a:lnTo>
                    <a:lnTo>
                      <a:pt x="34" y="52"/>
                    </a:lnTo>
                    <a:lnTo>
                      <a:pt x="36" y="52"/>
                    </a:lnTo>
                    <a:lnTo>
                      <a:pt x="36" y="50"/>
                    </a:lnTo>
                    <a:lnTo>
                      <a:pt x="36" y="49"/>
                    </a:lnTo>
                    <a:lnTo>
                      <a:pt x="34" y="49"/>
                    </a:lnTo>
                    <a:lnTo>
                      <a:pt x="34" y="47"/>
                    </a:lnTo>
                    <a:lnTo>
                      <a:pt x="34" y="45"/>
                    </a:lnTo>
                    <a:lnTo>
                      <a:pt x="34" y="43"/>
                    </a:lnTo>
                    <a:lnTo>
                      <a:pt x="36" y="43"/>
                    </a:lnTo>
                    <a:lnTo>
                      <a:pt x="36" y="41"/>
                    </a:lnTo>
                    <a:lnTo>
                      <a:pt x="38" y="41"/>
                    </a:lnTo>
                    <a:lnTo>
                      <a:pt x="38" y="39"/>
                    </a:lnTo>
                    <a:lnTo>
                      <a:pt x="38" y="37"/>
                    </a:lnTo>
                    <a:lnTo>
                      <a:pt x="36" y="37"/>
                    </a:lnTo>
                    <a:lnTo>
                      <a:pt x="36" y="35"/>
                    </a:lnTo>
                    <a:lnTo>
                      <a:pt x="34" y="35"/>
                    </a:lnTo>
                    <a:lnTo>
                      <a:pt x="34" y="33"/>
                    </a:lnTo>
                    <a:lnTo>
                      <a:pt x="32" y="33"/>
                    </a:lnTo>
                    <a:lnTo>
                      <a:pt x="32" y="31"/>
                    </a:lnTo>
                    <a:lnTo>
                      <a:pt x="32" y="29"/>
                    </a:lnTo>
                    <a:lnTo>
                      <a:pt x="32" y="27"/>
                    </a:lnTo>
                    <a:lnTo>
                      <a:pt x="32" y="25"/>
                    </a:lnTo>
                    <a:lnTo>
                      <a:pt x="34" y="25"/>
                    </a:lnTo>
                    <a:lnTo>
                      <a:pt x="34" y="27"/>
                    </a:lnTo>
                    <a:lnTo>
                      <a:pt x="36" y="27"/>
                    </a:lnTo>
                    <a:lnTo>
                      <a:pt x="36" y="29"/>
                    </a:lnTo>
                    <a:lnTo>
                      <a:pt x="38" y="29"/>
                    </a:lnTo>
                    <a:lnTo>
                      <a:pt x="38" y="31"/>
                    </a:lnTo>
                    <a:lnTo>
                      <a:pt x="40" y="31"/>
                    </a:lnTo>
                    <a:lnTo>
                      <a:pt x="40" y="33"/>
                    </a:lnTo>
                    <a:lnTo>
                      <a:pt x="42" y="33"/>
                    </a:lnTo>
                    <a:lnTo>
                      <a:pt x="44" y="33"/>
                    </a:lnTo>
                    <a:lnTo>
                      <a:pt x="46" y="33"/>
                    </a:lnTo>
                    <a:lnTo>
                      <a:pt x="46" y="31"/>
                    </a:lnTo>
                    <a:lnTo>
                      <a:pt x="48" y="31"/>
                    </a:lnTo>
                    <a:lnTo>
                      <a:pt x="48" y="29"/>
                    </a:lnTo>
                    <a:lnTo>
                      <a:pt x="50" y="29"/>
                    </a:lnTo>
                    <a:lnTo>
                      <a:pt x="52" y="27"/>
                    </a:lnTo>
                    <a:lnTo>
                      <a:pt x="52" y="25"/>
                    </a:lnTo>
                    <a:lnTo>
                      <a:pt x="52" y="24"/>
                    </a:lnTo>
                    <a:lnTo>
                      <a:pt x="54" y="24"/>
                    </a:lnTo>
                    <a:lnTo>
                      <a:pt x="54" y="22"/>
                    </a:lnTo>
                    <a:lnTo>
                      <a:pt x="54" y="24"/>
                    </a:lnTo>
                    <a:lnTo>
                      <a:pt x="54" y="22"/>
                    </a:lnTo>
                    <a:lnTo>
                      <a:pt x="54" y="24"/>
                    </a:lnTo>
                    <a:lnTo>
                      <a:pt x="55" y="24"/>
                    </a:lnTo>
                    <a:lnTo>
                      <a:pt x="55" y="22"/>
                    </a:lnTo>
                    <a:lnTo>
                      <a:pt x="54" y="22"/>
                    </a:lnTo>
                    <a:lnTo>
                      <a:pt x="54" y="24"/>
                    </a:lnTo>
                    <a:lnTo>
                      <a:pt x="54" y="22"/>
                    </a:lnTo>
                    <a:lnTo>
                      <a:pt x="54" y="20"/>
                    </a:lnTo>
                    <a:lnTo>
                      <a:pt x="54" y="18"/>
                    </a:lnTo>
                    <a:lnTo>
                      <a:pt x="54" y="16"/>
                    </a:lnTo>
                    <a:lnTo>
                      <a:pt x="54" y="14"/>
                    </a:lnTo>
                    <a:lnTo>
                      <a:pt x="54" y="12"/>
                    </a:lnTo>
                    <a:lnTo>
                      <a:pt x="54" y="10"/>
                    </a:lnTo>
                    <a:lnTo>
                      <a:pt x="54" y="8"/>
                    </a:lnTo>
                    <a:lnTo>
                      <a:pt x="55" y="8"/>
                    </a:lnTo>
                    <a:lnTo>
                      <a:pt x="55" y="6"/>
                    </a:lnTo>
                    <a:lnTo>
                      <a:pt x="54" y="6"/>
                    </a:lnTo>
                    <a:lnTo>
                      <a:pt x="54" y="4"/>
                    </a:lnTo>
                    <a:lnTo>
                      <a:pt x="55" y="4"/>
                    </a:lnTo>
                    <a:lnTo>
                      <a:pt x="55" y="2"/>
                    </a:lnTo>
                    <a:lnTo>
                      <a:pt x="57" y="2"/>
                    </a:lnTo>
                    <a:lnTo>
                      <a:pt x="57"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1" name="Freeform 121"/>
              <p:cNvSpPr>
                <a:spLocks noEditPoints="1"/>
              </p:cNvSpPr>
              <p:nvPr/>
            </p:nvSpPr>
            <p:spPr bwMode="auto">
              <a:xfrm>
                <a:off x="7451311" y="3705151"/>
                <a:ext cx="43016" cy="242609"/>
              </a:xfrm>
              <a:custGeom>
                <a:avLst/>
                <a:gdLst>
                  <a:gd name="T0" fmla="*/ 9 w 25"/>
                  <a:gd name="T1" fmla="*/ 141 h 141"/>
                  <a:gd name="T2" fmla="*/ 7 w 25"/>
                  <a:gd name="T3" fmla="*/ 139 h 141"/>
                  <a:gd name="T4" fmla="*/ 9 w 25"/>
                  <a:gd name="T5" fmla="*/ 133 h 141"/>
                  <a:gd name="T6" fmla="*/ 9 w 25"/>
                  <a:gd name="T7" fmla="*/ 137 h 141"/>
                  <a:gd name="T8" fmla="*/ 7 w 25"/>
                  <a:gd name="T9" fmla="*/ 135 h 141"/>
                  <a:gd name="T10" fmla="*/ 7 w 25"/>
                  <a:gd name="T11" fmla="*/ 135 h 141"/>
                  <a:gd name="T12" fmla="*/ 7 w 25"/>
                  <a:gd name="T13" fmla="*/ 135 h 141"/>
                  <a:gd name="T14" fmla="*/ 9 w 25"/>
                  <a:gd name="T15" fmla="*/ 133 h 141"/>
                  <a:gd name="T16" fmla="*/ 3 w 25"/>
                  <a:gd name="T17" fmla="*/ 137 h 141"/>
                  <a:gd name="T18" fmla="*/ 3 w 25"/>
                  <a:gd name="T19" fmla="*/ 137 h 141"/>
                  <a:gd name="T20" fmla="*/ 3 w 25"/>
                  <a:gd name="T21" fmla="*/ 137 h 141"/>
                  <a:gd name="T22" fmla="*/ 1 w 25"/>
                  <a:gd name="T23" fmla="*/ 139 h 141"/>
                  <a:gd name="T24" fmla="*/ 0 w 25"/>
                  <a:gd name="T25" fmla="*/ 137 h 141"/>
                  <a:gd name="T26" fmla="*/ 7 w 25"/>
                  <a:gd name="T27" fmla="*/ 125 h 141"/>
                  <a:gd name="T28" fmla="*/ 9 w 25"/>
                  <a:gd name="T29" fmla="*/ 127 h 141"/>
                  <a:gd name="T30" fmla="*/ 11 w 25"/>
                  <a:gd name="T31" fmla="*/ 129 h 141"/>
                  <a:gd name="T32" fmla="*/ 9 w 25"/>
                  <a:gd name="T33" fmla="*/ 131 h 141"/>
                  <a:gd name="T34" fmla="*/ 5 w 25"/>
                  <a:gd name="T35" fmla="*/ 129 h 141"/>
                  <a:gd name="T36" fmla="*/ 7 w 25"/>
                  <a:gd name="T37" fmla="*/ 127 h 141"/>
                  <a:gd name="T38" fmla="*/ 9 w 25"/>
                  <a:gd name="T39" fmla="*/ 116 h 141"/>
                  <a:gd name="T40" fmla="*/ 11 w 25"/>
                  <a:gd name="T41" fmla="*/ 118 h 141"/>
                  <a:gd name="T42" fmla="*/ 11 w 25"/>
                  <a:gd name="T43" fmla="*/ 118 h 141"/>
                  <a:gd name="T44" fmla="*/ 9 w 25"/>
                  <a:gd name="T45" fmla="*/ 116 h 141"/>
                  <a:gd name="T46" fmla="*/ 23 w 25"/>
                  <a:gd name="T47" fmla="*/ 100 h 141"/>
                  <a:gd name="T48" fmla="*/ 23 w 25"/>
                  <a:gd name="T49" fmla="*/ 100 h 141"/>
                  <a:gd name="T50" fmla="*/ 21 w 25"/>
                  <a:gd name="T51" fmla="*/ 91 h 141"/>
                  <a:gd name="T52" fmla="*/ 23 w 25"/>
                  <a:gd name="T53" fmla="*/ 93 h 141"/>
                  <a:gd name="T54" fmla="*/ 25 w 25"/>
                  <a:gd name="T55" fmla="*/ 95 h 141"/>
                  <a:gd name="T56" fmla="*/ 23 w 25"/>
                  <a:gd name="T57" fmla="*/ 95 h 141"/>
                  <a:gd name="T58" fmla="*/ 25 w 25"/>
                  <a:gd name="T59" fmla="*/ 97 h 141"/>
                  <a:gd name="T60" fmla="*/ 23 w 25"/>
                  <a:gd name="T61" fmla="*/ 99 h 141"/>
                  <a:gd name="T62" fmla="*/ 23 w 25"/>
                  <a:gd name="T63" fmla="*/ 102 h 141"/>
                  <a:gd name="T64" fmla="*/ 21 w 25"/>
                  <a:gd name="T65" fmla="*/ 102 h 141"/>
                  <a:gd name="T66" fmla="*/ 21 w 25"/>
                  <a:gd name="T67" fmla="*/ 102 h 141"/>
                  <a:gd name="T68" fmla="*/ 21 w 25"/>
                  <a:gd name="T69" fmla="*/ 106 h 141"/>
                  <a:gd name="T70" fmla="*/ 19 w 25"/>
                  <a:gd name="T71" fmla="*/ 104 h 141"/>
                  <a:gd name="T72" fmla="*/ 17 w 25"/>
                  <a:gd name="T73" fmla="*/ 102 h 141"/>
                  <a:gd name="T74" fmla="*/ 17 w 25"/>
                  <a:gd name="T75" fmla="*/ 102 h 141"/>
                  <a:gd name="T76" fmla="*/ 17 w 25"/>
                  <a:gd name="T77" fmla="*/ 106 h 141"/>
                  <a:gd name="T78" fmla="*/ 17 w 25"/>
                  <a:gd name="T79" fmla="*/ 102 h 141"/>
                  <a:gd name="T80" fmla="*/ 15 w 25"/>
                  <a:gd name="T81" fmla="*/ 100 h 141"/>
                  <a:gd name="T82" fmla="*/ 17 w 25"/>
                  <a:gd name="T83" fmla="*/ 99 h 141"/>
                  <a:gd name="T84" fmla="*/ 17 w 25"/>
                  <a:gd name="T85" fmla="*/ 99 h 141"/>
                  <a:gd name="T86" fmla="*/ 19 w 25"/>
                  <a:gd name="T87" fmla="*/ 97 h 141"/>
                  <a:gd name="T88" fmla="*/ 19 w 25"/>
                  <a:gd name="T89" fmla="*/ 97 h 141"/>
                  <a:gd name="T90" fmla="*/ 19 w 25"/>
                  <a:gd name="T91" fmla="*/ 95 h 141"/>
                  <a:gd name="T92" fmla="*/ 21 w 25"/>
                  <a:gd name="T93" fmla="*/ 93 h 141"/>
                  <a:gd name="T94" fmla="*/ 21 w 25"/>
                  <a:gd name="T95" fmla="*/ 93 h 141"/>
                  <a:gd name="T96" fmla="*/ 21 w 25"/>
                  <a:gd name="T97" fmla="*/ 93 h 141"/>
                  <a:gd name="T98" fmla="*/ 19 w 25"/>
                  <a:gd name="T99" fmla="*/ 91 h 141"/>
                  <a:gd name="T100" fmla="*/ 13 w 25"/>
                  <a:gd name="T101" fmla="*/ 6 h 141"/>
                  <a:gd name="T102" fmla="*/ 21 w 25"/>
                  <a:gd name="T103" fmla="*/ 2 h 141"/>
                  <a:gd name="T104" fmla="*/ 19 w 25"/>
                  <a:gd name="T105" fmla="*/ 4 h 141"/>
                  <a:gd name="T106" fmla="*/ 17 w 25"/>
                  <a:gd name="T107" fmla="*/ 6 h 141"/>
                  <a:gd name="T108" fmla="*/ 15 w 25"/>
                  <a:gd name="T109" fmla="*/ 8 h 141"/>
                  <a:gd name="T110" fmla="*/ 13 w 25"/>
                  <a:gd name="T111" fmla="*/ 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 h="141">
                    <a:moveTo>
                      <a:pt x="9" y="139"/>
                    </a:moveTo>
                    <a:lnTo>
                      <a:pt x="9" y="141"/>
                    </a:lnTo>
                    <a:lnTo>
                      <a:pt x="7" y="141"/>
                    </a:lnTo>
                    <a:lnTo>
                      <a:pt x="7" y="139"/>
                    </a:lnTo>
                    <a:lnTo>
                      <a:pt x="9" y="139"/>
                    </a:lnTo>
                    <a:close/>
                    <a:moveTo>
                      <a:pt x="9" y="133"/>
                    </a:moveTo>
                    <a:lnTo>
                      <a:pt x="9" y="135"/>
                    </a:lnTo>
                    <a:lnTo>
                      <a:pt x="9" y="137"/>
                    </a:lnTo>
                    <a:lnTo>
                      <a:pt x="7" y="137"/>
                    </a:lnTo>
                    <a:lnTo>
                      <a:pt x="7" y="135"/>
                    </a:lnTo>
                    <a:lnTo>
                      <a:pt x="7" y="137"/>
                    </a:lnTo>
                    <a:lnTo>
                      <a:pt x="7" y="135"/>
                    </a:lnTo>
                    <a:lnTo>
                      <a:pt x="9" y="135"/>
                    </a:lnTo>
                    <a:lnTo>
                      <a:pt x="7" y="135"/>
                    </a:lnTo>
                    <a:lnTo>
                      <a:pt x="9" y="135"/>
                    </a:lnTo>
                    <a:lnTo>
                      <a:pt x="9" y="133"/>
                    </a:lnTo>
                    <a:close/>
                    <a:moveTo>
                      <a:pt x="1" y="137"/>
                    </a:moveTo>
                    <a:lnTo>
                      <a:pt x="3" y="137"/>
                    </a:lnTo>
                    <a:lnTo>
                      <a:pt x="3" y="135"/>
                    </a:lnTo>
                    <a:lnTo>
                      <a:pt x="3" y="137"/>
                    </a:lnTo>
                    <a:lnTo>
                      <a:pt x="5" y="137"/>
                    </a:lnTo>
                    <a:lnTo>
                      <a:pt x="3" y="137"/>
                    </a:lnTo>
                    <a:lnTo>
                      <a:pt x="3" y="139"/>
                    </a:lnTo>
                    <a:lnTo>
                      <a:pt x="1" y="139"/>
                    </a:lnTo>
                    <a:lnTo>
                      <a:pt x="1" y="137"/>
                    </a:lnTo>
                    <a:lnTo>
                      <a:pt x="0" y="137"/>
                    </a:lnTo>
                    <a:lnTo>
                      <a:pt x="1" y="137"/>
                    </a:lnTo>
                    <a:close/>
                    <a:moveTo>
                      <a:pt x="7" y="125"/>
                    </a:moveTo>
                    <a:lnTo>
                      <a:pt x="9" y="125"/>
                    </a:lnTo>
                    <a:lnTo>
                      <a:pt x="9" y="127"/>
                    </a:lnTo>
                    <a:lnTo>
                      <a:pt x="11" y="127"/>
                    </a:lnTo>
                    <a:lnTo>
                      <a:pt x="11" y="129"/>
                    </a:lnTo>
                    <a:lnTo>
                      <a:pt x="11" y="131"/>
                    </a:lnTo>
                    <a:lnTo>
                      <a:pt x="9" y="131"/>
                    </a:lnTo>
                    <a:lnTo>
                      <a:pt x="7" y="129"/>
                    </a:lnTo>
                    <a:lnTo>
                      <a:pt x="5" y="129"/>
                    </a:lnTo>
                    <a:lnTo>
                      <a:pt x="5" y="127"/>
                    </a:lnTo>
                    <a:lnTo>
                      <a:pt x="7" y="127"/>
                    </a:lnTo>
                    <a:lnTo>
                      <a:pt x="7" y="125"/>
                    </a:lnTo>
                    <a:close/>
                    <a:moveTo>
                      <a:pt x="9" y="116"/>
                    </a:moveTo>
                    <a:lnTo>
                      <a:pt x="11" y="116"/>
                    </a:lnTo>
                    <a:lnTo>
                      <a:pt x="11" y="118"/>
                    </a:lnTo>
                    <a:lnTo>
                      <a:pt x="13" y="118"/>
                    </a:lnTo>
                    <a:lnTo>
                      <a:pt x="11" y="118"/>
                    </a:lnTo>
                    <a:lnTo>
                      <a:pt x="9" y="118"/>
                    </a:lnTo>
                    <a:lnTo>
                      <a:pt x="9" y="116"/>
                    </a:lnTo>
                    <a:close/>
                    <a:moveTo>
                      <a:pt x="23" y="99"/>
                    </a:moveTo>
                    <a:lnTo>
                      <a:pt x="23" y="100"/>
                    </a:lnTo>
                    <a:lnTo>
                      <a:pt x="25" y="100"/>
                    </a:lnTo>
                    <a:lnTo>
                      <a:pt x="23" y="100"/>
                    </a:lnTo>
                    <a:lnTo>
                      <a:pt x="23" y="99"/>
                    </a:lnTo>
                    <a:close/>
                    <a:moveTo>
                      <a:pt x="21" y="91"/>
                    </a:moveTo>
                    <a:lnTo>
                      <a:pt x="23" y="91"/>
                    </a:lnTo>
                    <a:lnTo>
                      <a:pt x="23" y="93"/>
                    </a:lnTo>
                    <a:lnTo>
                      <a:pt x="25" y="93"/>
                    </a:lnTo>
                    <a:lnTo>
                      <a:pt x="25" y="95"/>
                    </a:lnTo>
                    <a:lnTo>
                      <a:pt x="23" y="97"/>
                    </a:lnTo>
                    <a:lnTo>
                      <a:pt x="23" y="95"/>
                    </a:lnTo>
                    <a:lnTo>
                      <a:pt x="23" y="97"/>
                    </a:lnTo>
                    <a:lnTo>
                      <a:pt x="25" y="97"/>
                    </a:lnTo>
                    <a:lnTo>
                      <a:pt x="23" y="97"/>
                    </a:lnTo>
                    <a:lnTo>
                      <a:pt x="23" y="99"/>
                    </a:lnTo>
                    <a:lnTo>
                      <a:pt x="23" y="100"/>
                    </a:lnTo>
                    <a:lnTo>
                      <a:pt x="23" y="102"/>
                    </a:lnTo>
                    <a:lnTo>
                      <a:pt x="21" y="100"/>
                    </a:lnTo>
                    <a:lnTo>
                      <a:pt x="21" y="102"/>
                    </a:lnTo>
                    <a:lnTo>
                      <a:pt x="23" y="102"/>
                    </a:lnTo>
                    <a:lnTo>
                      <a:pt x="21" y="102"/>
                    </a:lnTo>
                    <a:lnTo>
                      <a:pt x="21" y="104"/>
                    </a:lnTo>
                    <a:lnTo>
                      <a:pt x="21" y="106"/>
                    </a:lnTo>
                    <a:lnTo>
                      <a:pt x="19" y="106"/>
                    </a:lnTo>
                    <a:lnTo>
                      <a:pt x="19" y="104"/>
                    </a:lnTo>
                    <a:lnTo>
                      <a:pt x="17" y="104"/>
                    </a:lnTo>
                    <a:lnTo>
                      <a:pt x="17" y="102"/>
                    </a:lnTo>
                    <a:lnTo>
                      <a:pt x="19" y="102"/>
                    </a:lnTo>
                    <a:lnTo>
                      <a:pt x="17" y="102"/>
                    </a:lnTo>
                    <a:lnTo>
                      <a:pt x="17" y="104"/>
                    </a:lnTo>
                    <a:lnTo>
                      <a:pt x="17" y="106"/>
                    </a:lnTo>
                    <a:lnTo>
                      <a:pt x="17" y="104"/>
                    </a:lnTo>
                    <a:lnTo>
                      <a:pt x="17" y="102"/>
                    </a:lnTo>
                    <a:lnTo>
                      <a:pt x="15" y="102"/>
                    </a:lnTo>
                    <a:lnTo>
                      <a:pt x="15" y="100"/>
                    </a:lnTo>
                    <a:lnTo>
                      <a:pt x="15" y="99"/>
                    </a:lnTo>
                    <a:lnTo>
                      <a:pt x="17" y="99"/>
                    </a:lnTo>
                    <a:lnTo>
                      <a:pt x="17" y="97"/>
                    </a:lnTo>
                    <a:lnTo>
                      <a:pt x="17" y="99"/>
                    </a:lnTo>
                    <a:lnTo>
                      <a:pt x="19" y="99"/>
                    </a:lnTo>
                    <a:lnTo>
                      <a:pt x="19" y="97"/>
                    </a:lnTo>
                    <a:lnTo>
                      <a:pt x="17" y="97"/>
                    </a:lnTo>
                    <a:lnTo>
                      <a:pt x="19" y="97"/>
                    </a:lnTo>
                    <a:lnTo>
                      <a:pt x="17" y="97"/>
                    </a:lnTo>
                    <a:lnTo>
                      <a:pt x="19" y="95"/>
                    </a:lnTo>
                    <a:lnTo>
                      <a:pt x="19" y="93"/>
                    </a:lnTo>
                    <a:lnTo>
                      <a:pt x="21" y="93"/>
                    </a:lnTo>
                    <a:lnTo>
                      <a:pt x="19" y="93"/>
                    </a:lnTo>
                    <a:lnTo>
                      <a:pt x="21" y="93"/>
                    </a:lnTo>
                    <a:lnTo>
                      <a:pt x="19" y="93"/>
                    </a:lnTo>
                    <a:lnTo>
                      <a:pt x="21" y="93"/>
                    </a:lnTo>
                    <a:lnTo>
                      <a:pt x="21" y="91"/>
                    </a:lnTo>
                    <a:lnTo>
                      <a:pt x="19" y="91"/>
                    </a:lnTo>
                    <a:lnTo>
                      <a:pt x="21" y="91"/>
                    </a:lnTo>
                    <a:close/>
                    <a:moveTo>
                      <a:pt x="13" y="6"/>
                    </a:moveTo>
                    <a:lnTo>
                      <a:pt x="21" y="0"/>
                    </a:lnTo>
                    <a:lnTo>
                      <a:pt x="21" y="2"/>
                    </a:lnTo>
                    <a:lnTo>
                      <a:pt x="21" y="4"/>
                    </a:lnTo>
                    <a:lnTo>
                      <a:pt x="19" y="4"/>
                    </a:lnTo>
                    <a:lnTo>
                      <a:pt x="19" y="6"/>
                    </a:lnTo>
                    <a:lnTo>
                      <a:pt x="17" y="6"/>
                    </a:lnTo>
                    <a:lnTo>
                      <a:pt x="17" y="8"/>
                    </a:lnTo>
                    <a:lnTo>
                      <a:pt x="15" y="8"/>
                    </a:lnTo>
                    <a:lnTo>
                      <a:pt x="13" y="8"/>
                    </a:lnTo>
                    <a:lnTo>
                      <a:pt x="13"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2" name="Freeform 122"/>
              <p:cNvSpPr>
                <a:spLocks noEditPoints="1"/>
              </p:cNvSpPr>
              <p:nvPr/>
            </p:nvSpPr>
            <p:spPr bwMode="auto">
              <a:xfrm>
                <a:off x="7447870" y="3779138"/>
                <a:ext cx="46458" cy="168621"/>
              </a:xfrm>
              <a:custGeom>
                <a:avLst/>
                <a:gdLst>
                  <a:gd name="T0" fmla="*/ 5 w 27"/>
                  <a:gd name="T1" fmla="*/ 98 h 98"/>
                  <a:gd name="T2" fmla="*/ 5 w 27"/>
                  <a:gd name="T3" fmla="*/ 98 h 98"/>
                  <a:gd name="T4" fmla="*/ 5 w 27"/>
                  <a:gd name="T5" fmla="*/ 98 h 98"/>
                  <a:gd name="T6" fmla="*/ 15 w 27"/>
                  <a:gd name="T7" fmla="*/ 92 h 98"/>
                  <a:gd name="T8" fmla="*/ 15 w 27"/>
                  <a:gd name="T9" fmla="*/ 92 h 98"/>
                  <a:gd name="T10" fmla="*/ 15 w 27"/>
                  <a:gd name="T11" fmla="*/ 90 h 98"/>
                  <a:gd name="T12" fmla="*/ 15 w 27"/>
                  <a:gd name="T13" fmla="*/ 90 h 98"/>
                  <a:gd name="T14" fmla="*/ 15 w 27"/>
                  <a:gd name="T15" fmla="*/ 90 h 98"/>
                  <a:gd name="T16" fmla="*/ 15 w 27"/>
                  <a:gd name="T17" fmla="*/ 90 h 98"/>
                  <a:gd name="T18" fmla="*/ 15 w 27"/>
                  <a:gd name="T19" fmla="*/ 90 h 98"/>
                  <a:gd name="T20" fmla="*/ 19 w 27"/>
                  <a:gd name="T21" fmla="*/ 77 h 98"/>
                  <a:gd name="T22" fmla="*/ 17 w 27"/>
                  <a:gd name="T23" fmla="*/ 77 h 98"/>
                  <a:gd name="T24" fmla="*/ 19 w 27"/>
                  <a:gd name="T25" fmla="*/ 77 h 98"/>
                  <a:gd name="T26" fmla="*/ 17 w 27"/>
                  <a:gd name="T27" fmla="*/ 77 h 98"/>
                  <a:gd name="T28" fmla="*/ 17 w 27"/>
                  <a:gd name="T29" fmla="*/ 77 h 98"/>
                  <a:gd name="T30" fmla="*/ 19 w 27"/>
                  <a:gd name="T31" fmla="*/ 77 h 98"/>
                  <a:gd name="T32" fmla="*/ 17 w 27"/>
                  <a:gd name="T33" fmla="*/ 77 h 98"/>
                  <a:gd name="T34" fmla="*/ 17 w 27"/>
                  <a:gd name="T35" fmla="*/ 77 h 98"/>
                  <a:gd name="T36" fmla="*/ 23 w 27"/>
                  <a:gd name="T37" fmla="*/ 59 h 98"/>
                  <a:gd name="T38" fmla="*/ 23 w 27"/>
                  <a:gd name="T39" fmla="*/ 59 h 98"/>
                  <a:gd name="T40" fmla="*/ 23 w 27"/>
                  <a:gd name="T41" fmla="*/ 59 h 98"/>
                  <a:gd name="T42" fmla="*/ 27 w 27"/>
                  <a:gd name="T43" fmla="*/ 54 h 98"/>
                  <a:gd name="T44" fmla="*/ 27 w 27"/>
                  <a:gd name="T45" fmla="*/ 54 h 98"/>
                  <a:gd name="T46" fmla="*/ 27 w 27"/>
                  <a:gd name="T47" fmla="*/ 54 h 98"/>
                  <a:gd name="T48" fmla="*/ 25 w 27"/>
                  <a:gd name="T49" fmla="*/ 54 h 98"/>
                  <a:gd name="T50" fmla="*/ 25 w 27"/>
                  <a:gd name="T51" fmla="*/ 54 h 98"/>
                  <a:gd name="T52" fmla="*/ 27 w 27"/>
                  <a:gd name="T53" fmla="*/ 52 h 98"/>
                  <a:gd name="T54" fmla="*/ 27 w 27"/>
                  <a:gd name="T55" fmla="*/ 52 h 98"/>
                  <a:gd name="T56" fmla="*/ 27 w 27"/>
                  <a:gd name="T57" fmla="*/ 50 h 98"/>
                  <a:gd name="T58" fmla="*/ 0 w 27"/>
                  <a:gd name="T59" fmla="*/ 0 h 98"/>
                  <a:gd name="T60" fmla="*/ 0 w 27"/>
                  <a:gd name="T61" fmla="*/ 0 h 98"/>
                  <a:gd name="T62" fmla="*/ 0 w 27"/>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 h="98">
                    <a:moveTo>
                      <a:pt x="5" y="98"/>
                    </a:moveTo>
                    <a:lnTo>
                      <a:pt x="5" y="98"/>
                    </a:lnTo>
                    <a:lnTo>
                      <a:pt x="5" y="98"/>
                    </a:lnTo>
                    <a:lnTo>
                      <a:pt x="5" y="98"/>
                    </a:lnTo>
                    <a:lnTo>
                      <a:pt x="5" y="98"/>
                    </a:lnTo>
                    <a:lnTo>
                      <a:pt x="5" y="98"/>
                    </a:lnTo>
                    <a:close/>
                    <a:moveTo>
                      <a:pt x="15" y="90"/>
                    </a:moveTo>
                    <a:lnTo>
                      <a:pt x="15" y="92"/>
                    </a:lnTo>
                    <a:lnTo>
                      <a:pt x="15" y="92"/>
                    </a:lnTo>
                    <a:lnTo>
                      <a:pt x="15" y="92"/>
                    </a:lnTo>
                    <a:lnTo>
                      <a:pt x="15" y="92"/>
                    </a:lnTo>
                    <a:lnTo>
                      <a:pt x="15" y="90"/>
                    </a:lnTo>
                    <a:lnTo>
                      <a:pt x="15" y="90"/>
                    </a:lnTo>
                    <a:lnTo>
                      <a:pt x="15" y="90"/>
                    </a:lnTo>
                    <a:lnTo>
                      <a:pt x="15" y="90"/>
                    </a:lnTo>
                    <a:close/>
                    <a:moveTo>
                      <a:pt x="15" y="90"/>
                    </a:moveTo>
                    <a:lnTo>
                      <a:pt x="15" y="90"/>
                    </a:lnTo>
                    <a:lnTo>
                      <a:pt x="15" y="90"/>
                    </a:lnTo>
                    <a:lnTo>
                      <a:pt x="15" y="90"/>
                    </a:lnTo>
                    <a:lnTo>
                      <a:pt x="15" y="90"/>
                    </a:lnTo>
                    <a:close/>
                    <a:moveTo>
                      <a:pt x="19" y="77"/>
                    </a:moveTo>
                    <a:lnTo>
                      <a:pt x="19" y="77"/>
                    </a:lnTo>
                    <a:lnTo>
                      <a:pt x="17" y="77"/>
                    </a:lnTo>
                    <a:lnTo>
                      <a:pt x="17" y="77"/>
                    </a:lnTo>
                    <a:lnTo>
                      <a:pt x="19" y="77"/>
                    </a:lnTo>
                    <a:close/>
                    <a:moveTo>
                      <a:pt x="19" y="77"/>
                    </a:moveTo>
                    <a:lnTo>
                      <a:pt x="17" y="77"/>
                    </a:lnTo>
                    <a:lnTo>
                      <a:pt x="17" y="77"/>
                    </a:lnTo>
                    <a:lnTo>
                      <a:pt x="17" y="77"/>
                    </a:lnTo>
                    <a:lnTo>
                      <a:pt x="17" y="77"/>
                    </a:lnTo>
                    <a:lnTo>
                      <a:pt x="19" y="77"/>
                    </a:lnTo>
                    <a:lnTo>
                      <a:pt x="19" y="77"/>
                    </a:lnTo>
                    <a:close/>
                    <a:moveTo>
                      <a:pt x="17" y="77"/>
                    </a:moveTo>
                    <a:lnTo>
                      <a:pt x="17" y="77"/>
                    </a:lnTo>
                    <a:lnTo>
                      <a:pt x="17" y="77"/>
                    </a:lnTo>
                    <a:lnTo>
                      <a:pt x="17" y="77"/>
                    </a:lnTo>
                    <a:lnTo>
                      <a:pt x="17" y="77"/>
                    </a:lnTo>
                    <a:close/>
                    <a:moveTo>
                      <a:pt x="23" y="59"/>
                    </a:moveTo>
                    <a:lnTo>
                      <a:pt x="23" y="59"/>
                    </a:lnTo>
                    <a:lnTo>
                      <a:pt x="23" y="59"/>
                    </a:lnTo>
                    <a:lnTo>
                      <a:pt x="23" y="59"/>
                    </a:lnTo>
                    <a:lnTo>
                      <a:pt x="23" y="59"/>
                    </a:lnTo>
                    <a:close/>
                    <a:moveTo>
                      <a:pt x="27" y="54"/>
                    </a:moveTo>
                    <a:lnTo>
                      <a:pt x="27" y="54"/>
                    </a:lnTo>
                    <a:lnTo>
                      <a:pt x="27" y="54"/>
                    </a:lnTo>
                    <a:lnTo>
                      <a:pt x="27" y="54"/>
                    </a:lnTo>
                    <a:lnTo>
                      <a:pt x="27" y="54"/>
                    </a:lnTo>
                    <a:lnTo>
                      <a:pt x="27" y="54"/>
                    </a:lnTo>
                    <a:close/>
                    <a:moveTo>
                      <a:pt x="25" y="54"/>
                    </a:moveTo>
                    <a:lnTo>
                      <a:pt x="25" y="54"/>
                    </a:lnTo>
                    <a:lnTo>
                      <a:pt x="25" y="54"/>
                    </a:lnTo>
                    <a:lnTo>
                      <a:pt x="25" y="54"/>
                    </a:lnTo>
                    <a:lnTo>
                      <a:pt x="25" y="54"/>
                    </a:lnTo>
                    <a:close/>
                    <a:moveTo>
                      <a:pt x="27" y="52"/>
                    </a:moveTo>
                    <a:lnTo>
                      <a:pt x="27" y="52"/>
                    </a:lnTo>
                    <a:lnTo>
                      <a:pt x="27" y="52"/>
                    </a:lnTo>
                    <a:lnTo>
                      <a:pt x="27" y="50"/>
                    </a:lnTo>
                    <a:lnTo>
                      <a:pt x="27" y="50"/>
                    </a:lnTo>
                    <a:lnTo>
                      <a:pt x="27" y="52"/>
                    </a:lnTo>
                    <a:close/>
                    <a:moveTo>
                      <a:pt x="0" y="0"/>
                    </a:moveTo>
                    <a:lnTo>
                      <a:pt x="0" y="0"/>
                    </a:lnTo>
                    <a:lnTo>
                      <a:pt x="0" y="0"/>
                    </a:lnTo>
                    <a:lnTo>
                      <a:pt x="0" y="0"/>
                    </a:lnTo>
                    <a:lnTo>
                      <a:pt x="0" y="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3" name="Freeform 123"/>
              <p:cNvSpPr>
                <a:spLocks/>
              </p:cNvSpPr>
              <p:nvPr/>
            </p:nvSpPr>
            <p:spPr bwMode="auto">
              <a:xfrm>
                <a:off x="1251898" y="2958399"/>
                <a:ext cx="314875" cy="307992"/>
              </a:xfrm>
              <a:custGeom>
                <a:avLst/>
                <a:gdLst>
                  <a:gd name="T0" fmla="*/ 173 w 183"/>
                  <a:gd name="T1" fmla="*/ 50 h 179"/>
                  <a:gd name="T2" fmla="*/ 169 w 183"/>
                  <a:gd name="T3" fmla="*/ 58 h 179"/>
                  <a:gd name="T4" fmla="*/ 164 w 183"/>
                  <a:gd name="T5" fmla="*/ 67 h 179"/>
                  <a:gd name="T6" fmla="*/ 154 w 183"/>
                  <a:gd name="T7" fmla="*/ 79 h 179"/>
                  <a:gd name="T8" fmla="*/ 146 w 183"/>
                  <a:gd name="T9" fmla="*/ 90 h 179"/>
                  <a:gd name="T10" fmla="*/ 141 w 183"/>
                  <a:gd name="T11" fmla="*/ 96 h 179"/>
                  <a:gd name="T12" fmla="*/ 139 w 183"/>
                  <a:gd name="T13" fmla="*/ 106 h 179"/>
                  <a:gd name="T14" fmla="*/ 131 w 183"/>
                  <a:gd name="T15" fmla="*/ 115 h 179"/>
                  <a:gd name="T16" fmla="*/ 118 w 183"/>
                  <a:gd name="T17" fmla="*/ 125 h 179"/>
                  <a:gd name="T18" fmla="*/ 104 w 183"/>
                  <a:gd name="T19" fmla="*/ 138 h 179"/>
                  <a:gd name="T20" fmla="*/ 96 w 183"/>
                  <a:gd name="T21" fmla="*/ 142 h 179"/>
                  <a:gd name="T22" fmla="*/ 91 w 183"/>
                  <a:gd name="T23" fmla="*/ 150 h 179"/>
                  <a:gd name="T24" fmla="*/ 85 w 183"/>
                  <a:gd name="T25" fmla="*/ 156 h 179"/>
                  <a:gd name="T26" fmla="*/ 79 w 183"/>
                  <a:gd name="T27" fmla="*/ 169 h 179"/>
                  <a:gd name="T28" fmla="*/ 64 w 183"/>
                  <a:gd name="T29" fmla="*/ 175 h 179"/>
                  <a:gd name="T30" fmla="*/ 52 w 183"/>
                  <a:gd name="T31" fmla="*/ 169 h 179"/>
                  <a:gd name="T32" fmla="*/ 43 w 183"/>
                  <a:gd name="T33" fmla="*/ 160 h 179"/>
                  <a:gd name="T34" fmla="*/ 37 w 183"/>
                  <a:gd name="T35" fmla="*/ 154 h 179"/>
                  <a:gd name="T36" fmla="*/ 37 w 183"/>
                  <a:gd name="T37" fmla="*/ 146 h 179"/>
                  <a:gd name="T38" fmla="*/ 31 w 183"/>
                  <a:gd name="T39" fmla="*/ 133 h 179"/>
                  <a:gd name="T40" fmla="*/ 29 w 183"/>
                  <a:gd name="T41" fmla="*/ 127 h 179"/>
                  <a:gd name="T42" fmla="*/ 25 w 183"/>
                  <a:gd name="T43" fmla="*/ 125 h 179"/>
                  <a:gd name="T44" fmla="*/ 20 w 183"/>
                  <a:gd name="T45" fmla="*/ 119 h 179"/>
                  <a:gd name="T46" fmla="*/ 20 w 183"/>
                  <a:gd name="T47" fmla="*/ 110 h 179"/>
                  <a:gd name="T48" fmla="*/ 10 w 183"/>
                  <a:gd name="T49" fmla="*/ 108 h 179"/>
                  <a:gd name="T50" fmla="*/ 8 w 183"/>
                  <a:gd name="T51" fmla="*/ 98 h 179"/>
                  <a:gd name="T52" fmla="*/ 2 w 183"/>
                  <a:gd name="T53" fmla="*/ 86 h 179"/>
                  <a:gd name="T54" fmla="*/ 14 w 183"/>
                  <a:gd name="T55" fmla="*/ 75 h 179"/>
                  <a:gd name="T56" fmla="*/ 12 w 183"/>
                  <a:gd name="T57" fmla="*/ 61 h 179"/>
                  <a:gd name="T58" fmla="*/ 8 w 183"/>
                  <a:gd name="T59" fmla="*/ 56 h 179"/>
                  <a:gd name="T60" fmla="*/ 10 w 183"/>
                  <a:gd name="T61" fmla="*/ 42 h 179"/>
                  <a:gd name="T62" fmla="*/ 14 w 183"/>
                  <a:gd name="T63" fmla="*/ 31 h 179"/>
                  <a:gd name="T64" fmla="*/ 22 w 183"/>
                  <a:gd name="T65" fmla="*/ 35 h 179"/>
                  <a:gd name="T66" fmla="*/ 29 w 183"/>
                  <a:gd name="T67" fmla="*/ 31 h 179"/>
                  <a:gd name="T68" fmla="*/ 31 w 183"/>
                  <a:gd name="T69" fmla="*/ 27 h 179"/>
                  <a:gd name="T70" fmla="*/ 37 w 183"/>
                  <a:gd name="T71" fmla="*/ 25 h 179"/>
                  <a:gd name="T72" fmla="*/ 45 w 183"/>
                  <a:gd name="T73" fmla="*/ 27 h 179"/>
                  <a:gd name="T74" fmla="*/ 60 w 183"/>
                  <a:gd name="T75" fmla="*/ 23 h 179"/>
                  <a:gd name="T76" fmla="*/ 75 w 183"/>
                  <a:gd name="T77" fmla="*/ 33 h 179"/>
                  <a:gd name="T78" fmla="*/ 83 w 183"/>
                  <a:gd name="T79" fmla="*/ 35 h 179"/>
                  <a:gd name="T80" fmla="*/ 89 w 183"/>
                  <a:gd name="T81" fmla="*/ 36 h 179"/>
                  <a:gd name="T82" fmla="*/ 95 w 183"/>
                  <a:gd name="T83" fmla="*/ 31 h 179"/>
                  <a:gd name="T84" fmla="*/ 102 w 183"/>
                  <a:gd name="T85" fmla="*/ 23 h 179"/>
                  <a:gd name="T86" fmla="*/ 108 w 183"/>
                  <a:gd name="T87" fmla="*/ 12 h 179"/>
                  <a:gd name="T88" fmla="*/ 114 w 183"/>
                  <a:gd name="T89" fmla="*/ 2 h 179"/>
                  <a:gd name="T90" fmla="*/ 118 w 183"/>
                  <a:gd name="T91" fmla="*/ 10 h 179"/>
                  <a:gd name="T92" fmla="*/ 121 w 183"/>
                  <a:gd name="T93" fmla="*/ 15 h 179"/>
                  <a:gd name="T94" fmla="*/ 131 w 183"/>
                  <a:gd name="T95" fmla="*/ 21 h 179"/>
                  <a:gd name="T96" fmla="*/ 137 w 183"/>
                  <a:gd name="T97" fmla="*/ 15 h 179"/>
                  <a:gd name="T98" fmla="*/ 146 w 183"/>
                  <a:gd name="T99" fmla="*/ 8 h 179"/>
                  <a:gd name="T100" fmla="*/ 154 w 183"/>
                  <a:gd name="T101" fmla="*/ 10 h 179"/>
                  <a:gd name="T102" fmla="*/ 160 w 183"/>
                  <a:gd name="T103" fmla="*/ 15 h 179"/>
                  <a:gd name="T104" fmla="*/ 162 w 183"/>
                  <a:gd name="T105" fmla="*/ 23 h 179"/>
                  <a:gd name="T106" fmla="*/ 166 w 183"/>
                  <a:gd name="T107" fmla="*/ 31 h 179"/>
                  <a:gd name="T108" fmla="*/ 166 w 183"/>
                  <a:gd name="T109" fmla="*/ 33 h 179"/>
                  <a:gd name="T110" fmla="*/ 168 w 183"/>
                  <a:gd name="T111" fmla="*/ 38 h 179"/>
                  <a:gd name="T112" fmla="*/ 173 w 183"/>
                  <a:gd name="T113" fmla="*/ 36 h 179"/>
                  <a:gd name="T114" fmla="*/ 179 w 183"/>
                  <a:gd name="T115" fmla="*/ 36 h 179"/>
                  <a:gd name="T116" fmla="*/ 181 w 183"/>
                  <a:gd name="T117" fmla="*/ 4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3" h="179">
                    <a:moveTo>
                      <a:pt x="181" y="46"/>
                    </a:moveTo>
                    <a:lnTo>
                      <a:pt x="179" y="48"/>
                    </a:lnTo>
                    <a:lnTo>
                      <a:pt x="177" y="48"/>
                    </a:lnTo>
                    <a:lnTo>
                      <a:pt x="177" y="46"/>
                    </a:lnTo>
                    <a:lnTo>
                      <a:pt x="175" y="46"/>
                    </a:lnTo>
                    <a:lnTo>
                      <a:pt x="173" y="46"/>
                    </a:lnTo>
                    <a:lnTo>
                      <a:pt x="171" y="46"/>
                    </a:lnTo>
                    <a:lnTo>
                      <a:pt x="173" y="50"/>
                    </a:lnTo>
                    <a:lnTo>
                      <a:pt x="171" y="50"/>
                    </a:lnTo>
                    <a:lnTo>
                      <a:pt x="169" y="52"/>
                    </a:lnTo>
                    <a:lnTo>
                      <a:pt x="168" y="54"/>
                    </a:lnTo>
                    <a:lnTo>
                      <a:pt x="168" y="56"/>
                    </a:lnTo>
                    <a:lnTo>
                      <a:pt x="168" y="58"/>
                    </a:lnTo>
                    <a:lnTo>
                      <a:pt x="168" y="56"/>
                    </a:lnTo>
                    <a:lnTo>
                      <a:pt x="169" y="56"/>
                    </a:lnTo>
                    <a:lnTo>
                      <a:pt x="169" y="58"/>
                    </a:lnTo>
                    <a:lnTo>
                      <a:pt x="169" y="60"/>
                    </a:lnTo>
                    <a:lnTo>
                      <a:pt x="171" y="60"/>
                    </a:lnTo>
                    <a:lnTo>
                      <a:pt x="171" y="61"/>
                    </a:lnTo>
                    <a:lnTo>
                      <a:pt x="171" y="63"/>
                    </a:lnTo>
                    <a:lnTo>
                      <a:pt x="169" y="63"/>
                    </a:lnTo>
                    <a:lnTo>
                      <a:pt x="168" y="63"/>
                    </a:lnTo>
                    <a:lnTo>
                      <a:pt x="164" y="65"/>
                    </a:lnTo>
                    <a:lnTo>
                      <a:pt x="164" y="67"/>
                    </a:lnTo>
                    <a:lnTo>
                      <a:pt x="166" y="67"/>
                    </a:lnTo>
                    <a:lnTo>
                      <a:pt x="166" y="69"/>
                    </a:lnTo>
                    <a:lnTo>
                      <a:pt x="164" y="69"/>
                    </a:lnTo>
                    <a:lnTo>
                      <a:pt x="164" y="71"/>
                    </a:lnTo>
                    <a:lnTo>
                      <a:pt x="162" y="71"/>
                    </a:lnTo>
                    <a:lnTo>
                      <a:pt x="158" y="77"/>
                    </a:lnTo>
                    <a:lnTo>
                      <a:pt x="156" y="79"/>
                    </a:lnTo>
                    <a:lnTo>
                      <a:pt x="154" y="79"/>
                    </a:lnTo>
                    <a:lnTo>
                      <a:pt x="154" y="81"/>
                    </a:lnTo>
                    <a:lnTo>
                      <a:pt x="154" y="83"/>
                    </a:lnTo>
                    <a:lnTo>
                      <a:pt x="152" y="83"/>
                    </a:lnTo>
                    <a:lnTo>
                      <a:pt x="152" y="85"/>
                    </a:lnTo>
                    <a:lnTo>
                      <a:pt x="150" y="85"/>
                    </a:lnTo>
                    <a:lnTo>
                      <a:pt x="150" y="86"/>
                    </a:lnTo>
                    <a:lnTo>
                      <a:pt x="148" y="88"/>
                    </a:lnTo>
                    <a:lnTo>
                      <a:pt x="146" y="90"/>
                    </a:lnTo>
                    <a:lnTo>
                      <a:pt x="144" y="88"/>
                    </a:lnTo>
                    <a:lnTo>
                      <a:pt x="143" y="88"/>
                    </a:lnTo>
                    <a:lnTo>
                      <a:pt x="143" y="90"/>
                    </a:lnTo>
                    <a:lnTo>
                      <a:pt x="141" y="90"/>
                    </a:lnTo>
                    <a:lnTo>
                      <a:pt x="141" y="92"/>
                    </a:lnTo>
                    <a:lnTo>
                      <a:pt x="143" y="92"/>
                    </a:lnTo>
                    <a:lnTo>
                      <a:pt x="141" y="94"/>
                    </a:lnTo>
                    <a:lnTo>
                      <a:pt x="141" y="96"/>
                    </a:lnTo>
                    <a:lnTo>
                      <a:pt x="143" y="96"/>
                    </a:lnTo>
                    <a:lnTo>
                      <a:pt x="143" y="98"/>
                    </a:lnTo>
                    <a:lnTo>
                      <a:pt x="141" y="98"/>
                    </a:lnTo>
                    <a:lnTo>
                      <a:pt x="141" y="100"/>
                    </a:lnTo>
                    <a:lnTo>
                      <a:pt x="143" y="102"/>
                    </a:lnTo>
                    <a:lnTo>
                      <a:pt x="139" y="104"/>
                    </a:lnTo>
                    <a:lnTo>
                      <a:pt x="141" y="104"/>
                    </a:lnTo>
                    <a:lnTo>
                      <a:pt x="139" y="106"/>
                    </a:lnTo>
                    <a:lnTo>
                      <a:pt x="137" y="106"/>
                    </a:lnTo>
                    <a:lnTo>
                      <a:pt x="139" y="106"/>
                    </a:lnTo>
                    <a:lnTo>
                      <a:pt x="137" y="110"/>
                    </a:lnTo>
                    <a:lnTo>
                      <a:pt x="135" y="110"/>
                    </a:lnTo>
                    <a:lnTo>
                      <a:pt x="135" y="111"/>
                    </a:lnTo>
                    <a:lnTo>
                      <a:pt x="133" y="113"/>
                    </a:lnTo>
                    <a:lnTo>
                      <a:pt x="131" y="113"/>
                    </a:lnTo>
                    <a:lnTo>
                      <a:pt x="131" y="115"/>
                    </a:lnTo>
                    <a:lnTo>
                      <a:pt x="133" y="115"/>
                    </a:lnTo>
                    <a:lnTo>
                      <a:pt x="133" y="117"/>
                    </a:lnTo>
                    <a:lnTo>
                      <a:pt x="133" y="119"/>
                    </a:lnTo>
                    <a:lnTo>
                      <a:pt x="129" y="117"/>
                    </a:lnTo>
                    <a:lnTo>
                      <a:pt x="123" y="125"/>
                    </a:lnTo>
                    <a:lnTo>
                      <a:pt x="121" y="123"/>
                    </a:lnTo>
                    <a:lnTo>
                      <a:pt x="119" y="123"/>
                    </a:lnTo>
                    <a:lnTo>
                      <a:pt x="118" y="125"/>
                    </a:lnTo>
                    <a:lnTo>
                      <a:pt x="116" y="127"/>
                    </a:lnTo>
                    <a:lnTo>
                      <a:pt x="114" y="127"/>
                    </a:lnTo>
                    <a:lnTo>
                      <a:pt x="112" y="125"/>
                    </a:lnTo>
                    <a:lnTo>
                      <a:pt x="110" y="129"/>
                    </a:lnTo>
                    <a:lnTo>
                      <a:pt x="112" y="131"/>
                    </a:lnTo>
                    <a:lnTo>
                      <a:pt x="110" y="135"/>
                    </a:lnTo>
                    <a:lnTo>
                      <a:pt x="106" y="138"/>
                    </a:lnTo>
                    <a:lnTo>
                      <a:pt x="104" y="138"/>
                    </a:lnTo>
                    <a:lnTo>
                      <a:pt x="102" y="138"/>
                    </a:lnTo>
                    <a:lnTo>
                      <a:pt x="102" y="136"/>
                    </a:lnTo>
                    <a:lnTo>
                      <a:pt x="100" y="135"/>
                    </a:lnTo>
                    <a:lnTo>
                      <a:pt x="98" y="136"/>
                    </a:lnTo>
                    <a:lnTo>
                      <a:pt x="96" y="136"/>
                    </a:lnTo>
                    <a:lnTo>
                      <a:pt x="96" y="138"/>
                    </a:lnTo>
                    <a:lnTo>
                      <a:pt x="96" y="140"/>
                    </a:lnTo>
                    <a:lnTo>
                      <a:pt x="96" y="142"/>
                    </a:lnTo>
                    <a:lnTo>
                      <a:pt x="96" y="140"/>
                    </a:lnTo>
                    <a:lnTo>
                      <a:pt x="95" y="140"/>
                    </a:lnTo>
                    <a:lnTo>
                      <a:pt x="93" y="144"/>
                    </a:lnTo>
                    <a:lnTo>
                      <a:pt x="95" y="144"/>
                    </a:lnTo>
                    <a:lnTo>
                      <a:pt x="95" y="146"/>
                    </a:lnTo>
                    <a:lnTo>
                      <a:pt x="95" y="148"/>
                    </a:lnTo>
                    <a:lnTo>
                      <a:pt x="93" y="150"/>
                    </a:lnTo>
                    <a:lnTo>
                      <a:pt x="91" y="150"/>
                    </a:lnTo>
                    <a:lnTo>
                      <a:pt x="91" y="152"/>
                    </a:lnTo>
                    <a:lnTo>
                      <a:pt x="89" y="152"/>
                    </a:lnTo>
                    <a:lnTo>
                      <a:pt x="89" y="154"/>
                    </a:lnTo>
                    <a:lnTo>
                      <a:pt x="89" y="152"/>
                    </a:lnTo>
                    <a:lnTo>
                      <a:pt x="87" y="152"/>
                    </a:lnTo>
                    <a:lnTo>
                      <a:pt x="87" y="154"/>
                    </a:lnTo>
                    <a:lnTo>
                      <a:pt x="85" y="154"/>
                    </a:lnTo>
                    <a:lnTo>
                      <a:pt x="85" y="156"/>
                    </a:lnTo>
                    <a:lnTo>
                      <a:pt x="85" y="158"/>
                    </a:lnTo>
                    <a:lnTo>
                      <a:pt x="83" y="158"/>
                    </a:lnTo>
                    <a:lnTo>
                      <a:pt x="83" y="160"/>
                    </a:lnTo>
                    <a:lnTo>
                      <a:pt x="85" y="161"/>
                    </a:lnTo>
                    <a:lnTo>
                      <a:pt x="83" y="165"/>
                    </a:lnTo>
                    <a:lnTo>
                      <a:pt x="81" y="165"/>
                    </a:lnTo>
                    <a:lnTo>
                      <a:pt x="81" y="167"/>
                    </a:lnTo>
                    <a:lnTo>
                      <a:pt x="79" y="169"/>
                    </a:lnTo>
                    <a:lnTo>
                      <a:pt x="77" y="169"/>
                    </a:lnTo>
                    <a:lnTo>
                      <a:pt x="77" y="171"/>
                    </a:lnTo>
                    <a:lnTo>
                      <a:pt x="71" y="171"/>
                    </a:lnTo>
                    <a:lnTo>
                      <a:pt x="70" y="173"/>
                    </a:lnTo>
                    <a:lnTo>
                      <a:pt x="68" y="171"/>
                    </a:lnTo>
                    <a:lnTo>
                      <a:pt x="68" y="173"/>
                    </a:lnTo>
                    <a:lnTo>
                      <a:pt x="66" y="175"/>
                    </a:lnTo>
                    <a:lnTo>
                      <a:pt x="64" y="175"/>
                    </a:lnTo>
                    <a:lnTo>
                      <a:pt x="62" y="175"/>
                    </a:lnTo>
                    <a:lnTo>
                      <a:pt x="60" y="175"/>
                    </a:lnTo>
                    <a:lnTo>
                      <a:pt x="56" y="177"/>
                    </a:lnTo>
                    <a:lnTo>
                      <a:pt x="48" y="179"/>
                    </a:lnTo>
                    <a:lnTo>
                      <a:pt x="48" y="177"/>
                    </a:lnTo>
                    <a:lnTo>
                      <a:pt x="48" y="175"/>
                    </a:lnTo>
                    <a:lnTo>
                      <a:pt x="50" y="169"/>
                    </a:lnTo>
                    <a:lnTo>
                      <a:pt x="52" y="169"/>
                    </a:lnTo>
                    <a:lnTo>
                      <a:pt x="50" y="167"/>
                    </a:lnTo>
                    <a:lnTo>
                      <a:pt x="50" y="165"/>
                    </a:lnTo>
                    <a:lnTo>
                      <a:pt x="48" y="165"/>
                    </a:lnTo>
                    <a:lnTo>
                      <a:pt x="46" y="163"/>
                    </a:lnTo>
                    <a:lnTo>
                      <a:pt x="48" y="161"/>
                    </a:lnTo>
                    <a:lnTo>
                      <a:pt x="45" y="161"/>
                    </a:lnTo>
                    <a:lnTo>
                      <a:pt x="45" y="160"/>
                    </a:lnTo>
                    <a:lnTo>
                      <a:pt x="43" y="160"/>
                    </a:lnTo>
                    <a:lnTo>
                      <a:pt x="43" y="161"/>
                    </a:lnTo>
                    <a:lnTo>
                      <a:pt x="43" y="160"/>
                    </a:lnTo>
                    <a:lnTo>
                      <a:pt x="45" y="156"/>
                    </a:lnTo>
                    <a:lnTo>
                      <a:pt x="43" y="156"/>
                    </a:lnTo>
                    <a:lnTo>
                      <a:pt x="41" y="158"/>
                    </a:lnTo>
                    <a:lnTo>
                      <a:pt x="39" y="156"/>
                    </a:lnTo>
                    <a:lnTo>
                      <a:pt x="39" y="154"/>
                    </a:lnTo>
                    <a:lnTo>
                      <a:pt x="37" y="154"/>
                    </a:lnTo>
                    <a:lnTo>
                      <a:pt x="37" y="156"/>
                    </a:lnTo>
                    <a:lnTo>
                      <a:pt x="37" y="154"/>
                    </a:lnTo>
                    <a:lnTo>
                      <a:pt x="39" y="150"/>
                    </a:lnTo>
                    <a:lnTo>
                      <a:pt x="41" y="152"/>
                    </a:lnTo>
                    <a:lnTo>
                      <a:pt x="43" y="148"/>
                    </a:lnTo>
                    <a:lnTo>
                      <a:pt x="41" y="148"/>
                    </a:lnTo>
                    <a:lnTo>
                      <a:pt x="41" y="146"/>
                    </a:lnTo>
                    <a:lnTo>
                      <a:pt x="37" y="146"/>
                    </a:lnTo>
                    <a:lnTo>
                      <a:pt x="39" y="142"/>
                    </a:lnTo>
                    <a:lnTo>
                      <a:pt x="37" y="142"/>
                    </a:lnTo>
                    <a:lnTo>
                      <a:pt x="31" y="140"/>
                    </a:lnTo>
                    <a:lnTo>
                      <a:pt x="29" y="140"/>
                    </a:lnTo>
                    <a:lnTo>
                      <a:pt x="29" y="138"/>
                    </a:lnTo>
                    <a:lnTo>
                      <a:pt x="31" y="136"/>
                    </a:lnTo>
                    <a:lnTo>
                      <a:pt x="31" y="135"/>
                    </a:lnTo>
                    <a:lnTo>
                      <a:pt x="31" y="133"/>
                    </a:lnTo>
                    <a:lnTo>
                      <a:pt x="29" y="133"/>
                    </a:lnTo>
                    <a:lnTo>
                      <a:pt x="27" y="133"/>
                    </a:lnTo>
                    <a:lnTo>
                      <a:pt x="27" y="135"/>
                    </a:lnTo>
                    <a:lnTo>
                      <a:pt x="27" y="133"/>
                    </a:lnTo>
                    <a:lnTo>
                      <a:pt x="27" y="131"/>
                    </a:lnTo>
                    <a:lnTo>
                      <a:pt x="29" y="131"/>
                    </a:lnTo>
                    <a:lnTo>
                      <a:pt x="29" y="129"/>
                    </a:lnTo>
                    <a:lnTo>
                      <a:pt x="29" y="127"/>
                    </a:lnTo>
                    <a:lnTo>
                      <a:pt x="29" y="125"/>
                    </a:lnTo>
                    <a:lnTo>
                      <a:pt x="29" y="123"/>
                    </a:lnTo>
                    <a:lnTo>
                      <a:pt x="29" y="121"/>
                    </a:lnTo>
                    <a:lnTo>
                      <a:pt x="29" y="123"/>
                    </a:lnTo>
                    <a:lnTo>
                      <a:pt x="29" y="121"/>
                    </a:lnTo>
                    <a:lnTo>
                      <a:pt x="27" y="121"/>
                    </a:lnTo>
                    <a:lnTo>
                      <a:pt x="27" y="123"/>
                    </a:lnTo>
                    <a:lnTo>
                      <a:pt x="25" y="125"/>
                    </a:lnTo>
                    <a:lnTo>
                      <a:pt x="23" y="125"/>
                    </a:lnTo>
                    <a:lnTo>
                      <a:pt x="23" y="123"/>
                    </a:lnTo>
                    <a:lnTo>
                      <a:pt x="25" y="123"/>
                    </a:lnTo>
                    <a:lnTo>
                      <a:pt x="23" y="121"/>
                    </a:lnTo>
                    <a:lnTo>
                      <a:pt x="25" y="119"/>
                    </a:lnTo>
                    <a:lnTo>
                      <a:pt x="23" y="119"/>
                    </a:lnTo>
                    <a:lnTo>
                      <a:pt x="22" y="119"/>
                    </a:lnTo>
                    <a:lnTo>
                      <a:pt x="20" y="119"/>
                    </a:lnTo>
                    <a:lnTo>
                      <a:pt x="22" y="117"/>
                    </a:lnTo>
                    <a:lnTo>
                      <a:pt x="23" y="117"/>
                    </a:lnTo>
                    <a:lnTo>
                      <a:pt x="22" y="117"/>
                    </a:lnTo>
                    <a:lnTo>
                      <a:pt x="23" y="115"/>
                    </a:lnTo>
                    <a:lnTo>
                      <a:pt x="25" y="115"/>
                    </a:lnTo>
                    <a:lnTo>
                      <a:pt x="23" y="113"/>
                    </a:lnTo>
                    <a:lnTo>
                      <a:pt x="23" y="111"/>
                    </a:lnTo>
                    <a:lnTo>
                      <a:pt x="20" y="110"/>
                    </a:lnTo>
                    <a:lnTo>
                      <a:pt x="20" y="111"/>
                    </a:lnTo>
                    <a:lnTo>
                      <a:pt x="20" y="110"/>
                    </a:lnTo>
                    <a:lnTo>
                      <a:pt x="18" y="110"/>
                    </a:lnTo>
                    <a:lnTo>
                      <a:pt x="18" y="108"/>
                    </a:lnTo>
                    <a:lnTo>
                      <a:pt x="16" y="108"/>
                    </a:lnTo>
                    <a:lnTo>
                      <a:pt x="14" y="106"/>
                    </a:lnTo>
                    <a:lnTo>
                      <a:pt x="12" y="108"/>
                    </a:lnTo>
                    <a:lnTo>
                      <a:pt x="10" y="108"/>
                    </a:lnTo>
                    <a:lnTo>
                      <a:pt x="10" y="110"/>
                    </a:lnTo>
                    <a:lnTo>
                      <a:pt x="10" y="111"/>
                    </a:lnTo>
                    <a:lnTo>
                      <a:pt x="8" y="110"/>
                    </a:lnTo>
                    <a:lnTo>
                      <a:pt x="10" y="108"/>
                    </a:lnTo>
                    <a:lnTo>
                      <a:pt x="10" y="102"/>
                    </a:lnTo>
                    <a:lnTo>
                      <a:pt x="10" y="100"/>
                    </a:lnTo>
                    <a:lnTo>
                      <a:pt x="8" y="100"/>
                    </a:lnTo>
                    <a:lnTo>
                      <a:pt x="8" y="98"/>
                    </a:lnTo>
                    <a:lnTo>
                      <a:pt x="10" y="92"/>
                    </a:lnTo>
                    <a:lnTo>
                      <a:pt x="8" y="92"/>
                    </a:lnTo>
                    <a:lnTo>
                      <a:pt x="6" y="92"/>
                    </a:lnTo>
                    <a:lnTo>
                      <a:pt x="6" y="90"/>
                    </a:lnTo>
                    <a:lnTo>
                      <a:pt x="6" y="88"/>
                    </a:lnTo>
                    <a:lnTo>
                      <a:pt x="4" y="88"/>
                    </a:lnTo>
                    <a:lnTo>
                      <a:pt x="4" y="86"/>
                    </a:lnTo>
                    <a:lnTo>
                      <a:pt x="2" y="86"/>
                    </a:lnTo>
                    <a:lnTo>
                      <a:pt x="0" y="86"/>
                    </a:lnTo>
                    <a:lnTo>
                      <a:pt x="0" y="85"/>
                    </a:lnTo>
                    <a:lnTo>
                      <a:pt x="4" y="81"/>
                    </a:lnTo>
                    <a:lnTo>
                      <a:pt x="4" y="79"/>
                    </a:lnTo>
                    <a:lnTo>
                      <a:pt x="6" y="79"/>
                    </a:lnTo>
                    <a:lnTo>
                      <a:pt x="8" y="77"/>
                    </a:lnTo>
                    <a:lnTo>
                      <a:pt x="12" y="77"/>
                    </a:lnTo>
                    <a:lnTo>
                      <a:pt x="14" y="75"/>
                    </a:lnTo>
                    <a:lnTo>
                      <a:pt x="14" y="73"/>
                    </a:lnTo>
                    <a:lnTo>
                      <a:pt x="14" y="71"/>
                    </a:lnTo>
                    <a:lnTo>
                      <a:pt x="12" y="71"/>
                    </a:lnTo>
                    <a:lnTo>
                      <a:pt x="12" y="69"/>
                    </a:lnTo>
                    <a:lnTo>
                      <a:pt x="10" y="67"/>
                    </a:lnTo>
                    <a:lnTo>
                      <a:pt x="10" y="65"/>
                    </a:lnTo>
                    <a:lnTo>
                      <a:pt x="12" y="63"/>
                    </a:lnTo>
                    <a:lnTo>
                      <a:pt x="12" y="61"/>
                    </a:lnTo>
                    <a:lnTo>
                      <a:pt x="10" y="60"/>
                    </a:lnTo>
                    <a:lnTo>
                      <a:pt x="6" y="63"/>
                    </a:lnTo>
                    <a:lnTo>
                      <a:pt x="6" y="61"/>
                    </a:lnTo>
                    <a:lnTo>
                      <a:pt x="6" y="60"/>
                    </a:lnTo>
                    <a:lnTo>
                      <a:pt x="4" y="60"/>
                    </a:lnTo>
                    <a:lnTo>
                      <a:pt x="6" y="58"/>
                    </a:lnTo>
                    <a:lnTo>
                      <a:pt x="8" y="58"/>
                    </a:lnTo>
                    <a:lnTo>
                      <a:pt x="8" y="56"/>
                    </a:lnTo>
                    <a:lnTo>
                      <a:pt x="10" y="56"/>
                    </a:lnTo>
                    <a:lnTo>
                      <a:pt x="10" y="54"/>
                    </a:lnTo>
                    <a:lnTo>
                      <a:pt x="10" y="52"/>
                    </a:lnTo>
                    <a:lnTo>
                      <a:pt x="8" y="50"/>
                    </a:lnTo>
                    <a:lnTo>
                      <a:pt x="10" y="48"/>
                    </a:lnTo>
                    <a:lnTo>
                      <a:pt x="10" y="46"/>
                    </a:lnTo>
                    <a:lnTo>
                      <a:pt x="10" y="44"/>
                    </a:lnTo>
                    <a:lnTo>
                      <a:pt x="10" y="42"/>
                    </a:lnTo>
                    <a:lnTo>
                      <a:pt x="10" y="40"/>
                    </a:lnTo>
                    <a:lnTo>
                      <a:pt x="10" y="38"/>
                    </a:lnTo>
                    <a:lnTo>
                      <a:pt x="8" y="38"/>
                    </a:lnTo>
                    <a:lnTo>
                      <a:pt x="8" y="36"/>
                    </a:lnTo>
                    <a:lnTo>
                      <a:pt x="10" y="36"/>
                    </a:lnTo>
                    <a:lnTo>
                      <a:pt x="12" y="35"/>
                    </a:lnTo>
                    <a:lnTo>
                      <a:pt x="14" y="33"/>
                    </a:lnTo>
                    <a:lnTo>
                      <a:pt x="14" y="31"/>
                    </a:lnTo>
                    <a:lnTo>
                      <a:pt x="16" y="31"/>
                    </a:lnTo>
                    <a:lnTo>
                      <a:pt x="18" y="33"/>
                    </a:lnTo>
                    <a:lnTo>
                      <a:pt x="18" y="31"/>
                    </a:lnTo>
                    <a:lnTo>
                      <a:pt x="20" y="33"/>
                    </a:lnTo>
                    <a:lnTo>
                      <a:pt x="20" y="35"/>
                    </a:lnTo>
                    <a:lnTo>
                      <a:pt x="20" y="33"/>
                    </a:lnTo>
                    <a:lnTo>
                      <a:pt x="22" y="33"/>
                    </a:lnTo>
                    <a:lnTo>
                      <a:pt x="22" y="35"/>
                    </a:lnTo>
                    <a:lnTo>
                      <a:pt x="22" y="36"/>
                    </a:lnTo>
                    <a:lnTo>
                      <a:pt x="23" y="36"/>
                    </a:lnTo>
                    <a:lnTo>
                      <a:pt x="25" y="36"/>
                    </a:lnTo>
                    <a:lnTo>
                      <a:pt x="27" y="36"/>
                    </a:lnTo>
                    <a:lnTo>
                      <a:pt x="27" y="35"/>
                    </a:lnTo>
                    <a:lnTo>
                      <a:pt x="29" y="33"/>
                    </a:lnTo>
                    <a:lnTo>
                      <a:pt x="31" y="33"/>
                    </a:lnTo>
                    <a:lnTo>
                      <a:pt x="29" y="31"/>
                    </a:lnTo>
                    <a:lnTo>
                      <a:pt x="29" y="29"/>
                    </a:lnTo>
                    <a:lnTo>
                      <a:pt x="29" y="27"/>
                    </a:lnTo>
                    <a:lnTo>
                      <a:pt x="29" y="25"/>
                    </a:lnTo>
                    <a:lnTo>
                      <a:pt x="31" y="25"/>
                    </a:lnTo>
                    <a:lnTo>
                      <a:pt x="31" y="27"/>
                    </a:lnTo>
                    <a:lnTo>
                      <a:pt x="31" y="29"/>
                    </a:lnTo>
                    <a:lnTo>
                      <a:pt x="33" y="27"/>
                    </a:lnTo>
                    <a:lnTo>
                      <a:pt x="31" y="27"/>
                    </a:lnTo>
                    <a:lnTo>
                      <a:pt x="33" y="27"/>
                    </a:lnTo>
                    <a:lnTo>
                      <a:pt x="35" y="27"/>
                    </a:lnTo>
                    <a:lnTo>
                      <a:pt x="35" y="29"/>
                    </a:lnTo>
                    <a:lnTo>
                      <a:pt x="37" y="29"/>
                    </a:lnTo>
                    <a:lnTo>
                      <a:pt x="39" y="29"/>
                    </a:lnTo>
                    <a:lnTo>
                      <a:pt x="37" y="29"/>
                    </a:lnTo>
                    <a:lnTo>
                      <a:pt x="37" y="27"/>
                    </a:lnTo>
                    <a:lnTo>
                      <a:pt x="37" y="25"/>
                    </a:lnTo>
                    <a:lnTo>
                      <a:pt x="37" y="23"/>
                    </a:lnTo>
                    <a:lnTo>
                      <a:pt x="37" y="21"/>
                    </a:lnTo>
                    <a:lnTo>
                      <a:pt x="39" y="21"/>
                    </a:lnTo>
                    <a:lnTo>
                      <a:pt x="41" y="23"/>
                    </a:lnTo>
                    <a:lnTo>
                      <a:pt x="41" y="25"/>
                    </a:lnTo>
                    <a:lnTo>
                      <a:pt x="43" y="25"/>
                    </a:lnTo>
                    <a:lnTo>
                      <a:pt x="43" y="27"/>
                    </a:lnTo>
                    <a:lnTo>
                      <a:pt x="45" y="27"/>
                    </a:lnTo>
                    <a:lnTo>
                      <a:pt x="46" y="27"/>
                    </a:lnTo>
                    <a:lnTo>
                      <a:pt x="46" y="29"/>
                    </a:lnTo>
                    <a:lnTo>
                      <a:pt x="48" y="29"/>
                    </a:lnTo>
                    <a:lnTo>
                      <a:pt x="48" y="31"/>
                    </a:lnTo>
                    <a:lnTo>
                      <a:pt x="54" y="27"/>
                    </a:lnTo>
                    <a:lnTo>
                      <a:pt x="56" y="25"/>
                    </a:lnTo>
                    <a:lnTo>
                      <a:pt x="58" y="23"/>
                    </a:lnTo>
                    <a:lnTo>
                      <a:pt x="60" y="23"/>
                    </a:lnTo>
                    <a:lnTo>
                      <a:pt x="64" y="25"/>
                    </a:lnTo>
                    <a:lnTo>
                      <a:pt x="64" y="29"/>
                    </a:lnTo>
                    <a:lnTo>
                      <a:pt x="66" y="29"/>
                    </a:lnTo>
                    <a:lnTo>
                      <a:pt x="68" y="27"/>
                    </a:lnTo>
                    <a:lnTo>
                      <a:pt x="70" y="29"/>
                    </a:lnTo>
                    <a:lnTo>
                      <a:pt x="70" y="31"/>
                    </a:lnTo>
                    <a:lnTo>
                      <a:pt x="71" y="31"/>
                    </a:lnTo>
                    <a:lnTo>
                      <a:pt x="75" y="33"/>
                    </a:lnTo>
                    <a:lnTo>
                      <a:pt x="73" y="35"/>
                    </a:lnTo>
                    <a:lnTo>
                      <a:pt x="73" y="36"/>
                    </a:lnTo>
                    <a:lnTo>
                      <a:pt x="75" y="35"/>
                    </a:lnTo>
                    <a:lnTo>
                      <a:pt x="77" y="35"/>
                    </a:lnTo>
                    <a:lnTo>
                      <a:pt x="79" y="35"/>
                    </a:lnTo>
                    <a:lnTo>
                      <a:pt x="79" y="33"/>
                    </a:lnTo>
                    <a:lnTo>
                      <a:pt x="81" y="33"/>
                    </a:lnTo>
                    <a:lnTo>
                      <a:pt x="83" y="35"/>
                    </a:lnTo>
                    <a:lnTo>
                      <a:pt x="85" y="35"/>
                    </a:lnTo>
                    <a:lnTo>
                      <a:pt x="83" y="36"/>
                    </a:lnTo>
                    <a:lnTo>
                      <a:pt x="83" y="38"/>
                    </a:lnTo>
                    <a:lnTo>
                      <a:pt x="87" y="40"/>
                    </a:lnTo>
                    <a:lnTo>
                      <a:pt x="87" y="42"/>
                    </a:lnTo>
                    <a:lnTo>
                      <a:pt x="89" y="40"/>
                    </a:lnTo>
                    <a:lnTo>
                      <a:pt x="89" y="38"/>
                    </a:lnTo>
                    <a:lnTo>
                      <a:pt x="89" y="36"/>
                    </a:lnTo>
                    <a:lnTo>
                      <a:pt x="87" y="36"/>
                    </a:lnTo>
                    <a:lnTo>
                      <a:pt x="87" y="35"/>
                    </a:lnTo>
                    <a:lnTo>
                      <a:pt x="89" y="33"/>
                    </a:lnTo>
                    <a:lnTo>
                      <a:pt x="91" y="31"/>
                    </a:lnTo>
                    <a:lnTo>
                      <a:pt x="93" y="31"/>
                    </a:lnTo>
                    <a:lnTo>
                      <a:pt x="93" y="33"/>
                    </a:lnTo>
                    <a:lnTo>
                      <a:pt x="93" y="31"/>
                    </a:lnTo>
                    <a:lnTo>
                      <a:pt x="95" y="31"/>
                    </a:lnTo>
                    <a:lnTo>
                      <a:pt x="96" y="31"/>
                    </a:lnTo>
                    <a:lnTo>
                      <a:pt x="98" y="31"/>
                    </a:lnTo>
                    <a:lnTo>
                      <a:pt x="100" y="31"/>
                    </a:lnTo>
                    <a:lnTo>
                      <a:pt x="100" y="29"/>
                    </a:lnTo>
                    <a:lnTo>
                      <a:pt x="100" y="27"/>
                    </a:lnTo>
                    <a:lnTo>
                      <a:pt x="102" y="27"/>
                    </a:lnTo>
                    <a:lnTo>
                      <a:pt x="102" y="25"/>
                    </a:lnTo>
                    <a:lnTo>
                      <a:pt x="102" y="23"/>
                    </a:lnTo>
                    <a:lnTo>
                      <a:pt x="104" y="23"/>
                    </a:lnTo>
                    <a:lnTo>
                      <a:pt x="104" y="21"/>
                    </a:lnTo>
                    <a:lnTo>
                      <a:pt x="106" y="21"/>
                    </a:lnTo>
                    <a:lnTo>
                      <a:pt x="106" y="19"/>
                    </a:lnTo>
                    <a:lnTo>
                      <a:pt x="106" y="15"/>
                    </a:lnTo>
                    <a:lnTo>
                      <a:pt x="108" y="15"/>
                    </a:lnTo>
                    <a:lnTo>
                      <a:pt x="108" y="13"/>
                    </a:lnTo>
                    <a:lnTo>
                      <a:pt x="108" y="12"/>
                    </a:lnTo>
                    <a:lnTo>
                      <a:pt x="108" y="10"/>
                    </a:lnTo>
                    <a:lnTo>
                      <a:pt x="108" y="8"/>
                    </a:lnTo>
                    <a:lnTo>
                      <a:pt x="110" y="6"/>
                    </a:lnTo>
                    <a:lnTo>
                      <a:pt x="108" y="6"/>
                    </a:lnTo>
                    <a:lnTo>
                      <a:pt x="110" y="2"/>
                    </a:lnTo>
                    <a:lnTo>
                      <a:pt x="110" y="0"/>
                    </a:lnTo>
                    <a:lnTo>
                      <a:pt x="112" y="0"/>
                    </a:lnTo>
                    <a:lnTo>
                      <a:pt x="114" y="2"/>
                    </a:lnTo>
                    <a:lnTo>
                      <a:pt x="114" y="4"/>
                    </a:lnTo>
                    <a:lnTo>
                      <a:pt x="112" y="6"/>
                    </a:lnTo>
                    <a:lnTo>
                      <a:pt x="114" y="6"/>
                    </a:lnTo>
                    <a:lnTo>
                      <a:pt x="114" y="8"/>
                    </a:lnTo>
                    <a:lnTo>
                      <a:pt x="114" y="6"/>
                    </a:lnTo>
                    <a:lnTo>
                      <a:pt x="116" y="6"/>
                    </a:lnTo>
                    <a:lnTo>
                      <a:pt x="118" y="6"/>
                    </a:lnTo>
                    <a:lnTo>
                      <a:pt x="118" y="10"/>
                    </a:lnTo>
                    <a:lnTo>
                      <a:pt x="119" y="10"/>
                    </a:lnTo>
                    <a:lnTo>
                      <a:pt x="119" y="12"/>
                    </a:lnTo>
                    <a:lnTo>
                      <a:pt x="118" y="13"/>
                    </a:lnTo>
                    <a:lnTo>
                      <a:pt x="118" y="15"/>
                    </a:lnTo>
                    <a:lnTo>
                      <a:pt x="118" y="17"/>
                    </a:lnTo>
                    <a:lnTo>
                      <a:pt x="119" y="17"/>
                    </a:lnTo>
                    <a:lnTo>
                      <a:pt x="121" y="17"/>
                    </a:lnTo>
                    <a:lnTo>
                      <a:pt x="121" y="15"/>
                    </a:lnTo>
                    <a:lnTo>
                      <a:pt x="123" y="15"/>
                    </a:lnTo>
                    <a:lnTo>
                      <a:pt x="125" y="15"/>
                    </a:lnTo>
                    <a:lnTo>
                      <a:pt x="127" y="15"/>
                    </a:lnTo>
                    <a:lnTo>
                      <a:pt x="127" y="17"/>
                    </a:lnTo>
                    <a:lnTo>
                      <a:pt x="127" y="19"/>
                    </a:lnTo>
                    <a:lnTo>
                      <a:pt x="129" y="19"/>
                    </a:lnTo>
                    <a:lnTo>
                      <a:pt x="131" y="19"/>
                    </a:lnTo>
                    <a:lnTo>
                      <a:pt x="131" y="21"/>
                    </a:lnTo>
                    <a:lnTo>
                      <a:pt x="129" y="21"/>
                    </a:lnTo>
                    <a:lnTo>
                      <a:pt x="131" y="23"/>
                    </a:lnTo>
                    <a:lnTo>
                      <a:pt x="133" y="21"/>
                    </a:lnTo>
                    <a:lnTo>
                      <a:pt x="133" y="19"/>
                    </a:lnTo>
                    <a:lnTo>
                      <a:pt x="135" y="19"/>
                    </a:lnTo>
                    <a:lnTo>
                      <a:pt x="135" y="17"/>
                    </a:lnTo>
                    <a:lnTo>
                      <a:pt x="137" y="17"/>
                    </a:lnTo>
                    <a:lnTo>
                      <a:pt x="137" y="15"/>
                    </a:lnTo>
                    <a:lnTo>
                      <a:pt x="137" y="13"/>
                    </a:lnTo>
                    <a:lnTo>
                      <a:pt x="139" y="12"/>
                    </a:lnTo>
                    <a:lnTo>
                      <a:pt x="141" y="12"/>
                    </a:lnTo>
                    <a:lnTo>
                      <a:pt x="143" y="12"/>
                    </a:lnTo>
                    <a:lnTo>
                      <a:pt x="143" y="10"/>
                    </a:lnTo>
                    <a:lnTo>
                      <a:pt x="144" y="10"/>
                    </a:lnTo>
                    <a:lnTo>
                      <a:pt x="146" y="10"/>
                    </a:lnTo>
                    <a:lnTo>
                      <a:pt x="146" y="8"/>
                    </a:lnTo>
                    <a:lnTo>
                      <a:pt x="148" y="6"/>
                    </a:lnTo>
                    <a:lnTo>
                      <a:pt x="148" y="8"/>
                    </a:lnTo>
                    <a:lnTo>
                      <a:pt x="148" y="10"/>
                    </a:lnTo>
                    <a:lnTo>
                      <a:pt x="150" y="10"/>
                    </a:lnTo>
                    <a:lnTo>
                      <a:pt x="152" y="10"/>
                    </a:lnTo>
                    <a:lnTo>
                      <a:pt x="154" y="10"/>
                    </a:lnTo>
                    <a:lnTo>
                      <a:pt x="154" y="8"/>
                    </a:lnTo>
                    <a:lnTo>
                      <a:pt x="154" y="10"/>
                    </a:lnTo>
                    <a:lnTo>
                      <a:pt x="154" y="12"/>
                    </a:lnTo>
                    <a:lnTo>
                      <a:pt x="152" y="12"/>
                    </a:lnTo>
                    <a:lnTo>
                      <a:pt x="152" y="13"/>
                    </a:lnTo>
                    <a:lnTo>
                      <a:pt x="156" y="15"/>
                    </a:lnTo>
                    <a:lnTo>
                      <a:pt x="158" y="12"/>
                    </a:lnTo>
                    <a:lnTo>
                      <a:pt x="158" y="13"/>
                    </a:lnTo>
                    <a:lnTo>
                      <a:pt x="160" y="13"/>
                    </a:lnTo>
                    <a:lnTo>
                      <a:pt x="160" y="15"/>
                    </a:lnTo>
                    <a:lnTo>
                      <a:pt x="158" y="15"/>
                    </a:lnTo>
                    <a:lnTo>
                      <a:pt x="158" y="17"/>
                    </a:lnTo>
                    <a:lnTo>
                      <a:pt x="158" y="19"/>
                    </a:lnTo>
                    <a:lnTo>
                      <a:pt x="160" y="19"/>
                    </a:lnTo>
                    <a:lnTo>
                      <a:pt x="160" y="21"/>
                    </a:lnTo>
                    <a:lnTo>
                      <a:pt x="162" y="21"/>
                    </a:lnTo>
                    <a:lnTo>
                      <a:pt x="164" y="21"/>
                    </a:lnTo>
                    <a:lnTo>
                      <a:pt x="162" y="23"/>
                    </a:lnTo>
                    <a:lnTo>
                      <a:pt x="164" y="23"/>
                    </a:lnTo>
                    <a:lnTo>
                      <a:pt x="166" y="23"/>
                    </a:lnTo>
                    <a:lnTo>
                      <a:pt x="166" y="25"/>
                    </a:lnTo>
                    <a:lnTo>
                      <a:pt x="168" y="25"/>
                    </a:lnTo>
                    <a:lnTo>
                      <a:pt x="166" y="25"/>
                    </a:lnTo>
                    <a:lnTo>
                      <a:pt x="168" y="27"/>
                    </a:lnTo>
                    <a:lnTo>
                      <a:pt x="166" y="29"/>
                    </a:lnTo>
                    <a:lnTo>
                      <a:pt x="166" y="31"/>
                    </a:lnTo>
                    <a:lnTo>
                      <a:pt x="164" y="31"/>
                    </a:lnTo>
                    <a:lnTo>
                      <a:pt x="164" y="33"/>
                    </a:lnTo>
                    <a:lnTo>
                      <a:pt x="162" y="33"/>
                    </a:lnTo>
                    <a:lnTo>
                      <a:pt x="164" y="33"/>
                    </a:lnTo>
                    <a:lnTo>
                      <a:pt x="166" y="33"/>
                    </a:lnTo>
                    <a:lnTo>
                      <a:pt x="164" y="33"/>
                    </a:lnTo>
                    <a:lnTo>
                      <a:pt x="164" y="35"/>
                    </a:lnTo>
                    <a:lnTo>
                      <a:pt x="166" y="33"/>
                    </a:lnTo>
                    <a:lnTo>
                      <a:pt x="166" y="35"/>
                    </a:lnTo>
                    <a:lnTo>
                      <a:pt x="168" y="35"/>
                    </a:lnTo>
                    <a:lnTo>
                      <a:pt x="168" y="33"/>
                    </a:lnTo>
                    <a:lnTo>
                      <a:pt x="168" y="35"/>
                    </a:lnTo>
                    <a:lnTo>
                      <a:pt x="166" y="36"/>
                    </a:lnTo>
                    <a:lnTo>
                      <a:pt x="166" y="38"/>
                    </a:lnTo>
                    <a:lnTo>
                      <a:pt x="166" y="40"/>
                    </a:lnTo>
                    <a:lnTo>
                      <a:pt x="168" y="38"/>
                    </a:lnTo>
                    <a:lnTo>
                      <a:pt x="168" y="36"/>
                    </a:lnTo>
                    <a:lnTo>
                      <a:pt x="169" y="36"/>
                    </a:lnTo>
                    <a:lnTo>
                      <a:pt x="169" y="38"/>
                    </a:lnTo>
                    <a:lnTo>
                      <a:pt x="168" y="38"/>
                    </a:lnTo>
                    <a:lnTo>
                      <a:pt x="169" y="38"/>
                    </a:lnTo>
                    <a:lnTo>
                      <a:pt x="171" y="38"/>
                    </a:lnTo>
                    <a:lnTo>
                      <a:pt x="171" y="36"/>
                    </a:lnTo>
                    <a:lnTo>
                      <a:pt x="173" y="36"/>
                    </a:lnTo>
                    <a:lnTo>
                      <a:pt x="173" y="35"/>
                    </a:lnTo>
                    <a:lnTo>
                      <a:pt x="175" y="36"/>
                    </a:lnTo>
                    <a:lnTo>
                      <a:pt x="177" y="36"/>
                    </a:lnTo>
                    <a:lnTo>
                      <a:pt x="177" y="38"/>
                    </a:lnTo>
                    <a:lnTo>
                      <a:pt x="177" y="40"/>
                    </a:lnTo>
                    <a:lnTo>
                      <a:pt x="177" y="38"/>
                    </a:lnTo>
                    <a:lnTo>
                      <a:pt x="179" y="38"/>
                    </a:lnTo>
                    <a:lnTo>
                      <a:pt x="179" y="36"/>
                    </a:lnTo>
                    <a:lnTo>
                      <a:pt x="181" y="36"/>
                    </a:lnTo>
                    <a:lnTo>
                      <a:pt x="183" y="36"/>
                    </a:lnTo>
                    <a:lnTo>
                      <a:pt x="183" y="38"/>
                    </a:lnTo>
                    <a:lnTo>
                      <a:pt x="181" y="38"/>
                    </a:lnTo>
                    <a:lnTo>
                      <a:pt x="181" y="42"/>
                    </a:lnTo>
                    <a:lnTo>
                      <a:pt x="179" y="42"/>
                    </a:lnTo>
                    <a:lnTo>
                      <a:pt x="181" y="44"/>
                    </a:lnTo>
                    <a:lnTo>
                      <a:pt x="181" y="4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4" name="Freeform 124"/>
              <p:cNvSpPr>
                <a:spLocks noEditPoints="1"/>
              </p:cNvSpPr>
              <p:nvPr/>
            </p:nvSpPr>
            <p:spPr bwMode="auto">
              <a:xfrm>
                <a:off x="823462" y="1796977"/>
                <a:ext cx="43016" cy="82590"/>
              </a:xfrm>
              <a:custGeom>
                <a:avLst/>
                <a:gdLst>
                  <a:gd name="T0" fmla="*/ 5 w 25"/>
                  <a:gd name="T1" fmla="*/ 19 h 48"/>
                  <a:gd name="T2" fmla="*/ 3 w 25"/>
                  <a:gd name="T3" fmla="*/ 19 h 48"/>
                  <a:gd name="T4" fmla="*/ 3 w 25"/>
                  <a:gd name="T5" fmla="*/ 23 h 48"/>
                  <a:gd name="T6" fmla="*/ 5 w 25"/>
                  <a:gd name="T7" fmla="*/ 27 h 48"/>
                  <a:gd name="T8" fmla="*/ 9 w 25"/>
                  <a:gd name="T9" fmla="*/ 31 h 48"/>
                  <a:gd name="T10" fmla="*/ 11 w 25"/>
                  <a:gd name="T11" fmla="*/ 29 h 48"/>
                  <a:gd name="T12" fmla="*/ 11 w 25"/>
                  <a:gd name="T13" fmla="*/ 31 h 48"/>
                  <a:gd name="T14" fmla="*/ 15 w 25"/>
                  <a:gd name="T15" fmla="*/ 31 h 48"/>
                  <a:gd name="T16" fmla="*/ 15 w 25"/>
                  <a:gd name="T17" fmla="*/ 29 h 48"/>
                  <a:gd name="T18" fmla="*/ 19 w 25"/>
                  <a:gd name="T19" fmla="*/ 33 h 48"/>
                  <a:gd name="T20" fmla="*/ 17 w 25"/>
                  <a:gd name="T21" fmla="*/ 39 h 48"/>
                  <a:gd name="T22" fmla="*/ 19 w 25"/>
                  <a:gd name="T23" fmla="*/ 46 h 48"/>
                  <a:gd name="T24" fmla="*/ 19 w 25"/>
                  <a:gd name="T25" fmla="*/ 48 h 48"/>
                  <a:gd name="T26" fmla="*/ 15 w 25"/>
                  <a:gd name="T27" fmla="*/ 46 h 48"/>
                  <a:gd name="T28" fmla="*/ 11 w 25"/>
                  <a:gd name="T29" fmla="*/ 46 h 48"/>
                  <a:gd name="T30" fmla="*/ 9 w 25"/>
                  <a:gd name="T31" fmla="*/ 46 h 48"/>
                  <a:gd name="T32" fmla="*/ 5 w 25"/>
                  <a:gd name="T33" fmla="*/ 44 h 48"/>
                  <a:gd name="T34" fmla="*/ 3 w 25"/>
                  <a:gd name="T35" fmla="*/ 42 h 48"/>
                  <a:gd name="T36" fmla="*/ 9 w 25"/>
                  <a:gd name="T37" fmla="*/ 41 h 48"/>
                  <a:gd name="T38" fmla="*/ 9 w 25"/>
                  <a:gd name="T39" fmla="*/ 37 h 48"/>
                  <a:gd name="T40" fmla="*/ 7 w 25"/>
                  <a:gd name="T41" fmla="*/ 35 h 48"/>
                  <a:gd name="T42" fmla="*/ 3 w 25"/>
                  <a:gd name="T43" fmla="*/ 37 h 48"/>
                  <a:gd name="T44" fmla="*/ 3 w 25"/>
                  <a:gd name="T45" fmla="*/ 35 h 48"/>
                  <a:gd name="T46" fmla="*/ 5 w 25"/>
                  <a:gd name="T47" fmla="*/ 33 h 48"/>
                  <a:gd name="T48" fmla="*/ 3 w 25"/>
                  <a:gd name="T49" fmla="*/ 27 h 48"/>
                  <a:gd name="T50" fmla="*/ 0 w 25"/>
                  <a:gd name="T51" fmla="*/ 23 h 48"/>
                  <a:gd name="T52" fmla="*/ 0 w 25"/>
                  <a:gd name="T53" fmla="*/ 19 h 48"/>
                  <a:gd name="T54" fmla="*/ 2 w 25"/>
                  <a:gd name="T55" fmla="*/ 17 h 48"/>
                  <a:gd name="T56" fmla="*/ 3 w 25"/>
                  <a:gd name="T57" fmla="*/ 16 h 48"/>
                  <a:gd name="T58" fmla="*/ 5 w 25"/>
                  <a:gd name="T59" fmla="*/ 14 h 48"/>
                  <a:gd name="T60" fmla="*/ 5 w 25"/>
                  <a:gd name="T61" fmla="*/ 17 h 48"/>
                  <a:gd name="T62" fmla="*/ 15 w 25"/>
                  <a:gd name="T63" fmla="*/ 4 h 48"/>
                  <a:gd name="T64" fmla="*/ 17 w 25"/>
                  <a:gd name="T65" fmla="*/ 8 h 48"/>
                  <a:gd name="T66" fmla="*/ 19 w 25"/>
                  <a:gd name="T67" fmla="*/ 14 h 48"/>
                  <a:gd name="T68" fmla="*/ 21 w 25"/>
                  <a:gd name="T69" fmla="*/ 19 h 48"/>
                  <a:gd name="T70" fmla="*/ 23 w 25"/>
                  <a:gd name="T71" fmla="*/ 25 h 48"/>
                  <a:gd name="T72" fmla="*/ 25 w 25"/>
                  <a:gd name="T73" fmla="*/ 31 h 48"/>
                  <a:gd name="T74" fmla="*/ 23 w 25"/>
                  <a:gd name="T75" fmla="*/ 33 h 48"/>
                  <a:gd name="T76" fmla="*/ 19 w 25"/>
                  <a:gd name="T77" fmla="*/ 37 h 48"/>
                  <a:gd name="T78" fmla="*/ 19 w 25"/>
                  <a:gd name="T79" fmla="*/ 33 h 48"/>
                  <a:gd name="T80" fmla="*/ 17 w 25"/>
                  <a:gd name="T81" fmla="*/ 27 h 48"/>
                  <a:gd name="T82" fmla="*/ 17 w 25"/>
                  <a:gd name="T83" fmla="*/ 23 h 48"/>
                  <a:gd name="T84" fmla="*/ 15 w 25"/>
                  <a:gd name="T85" fmla="*/ 23 h 48"/>
                  <a:gd name="T86" fmla="*/ 13 w 25"/>
                  <a:gd name="T87" fmla="*/ 21 h 48"/>
                  <a:gd name="T88" fmla="*/ 11 w 25"/>
                  <a:gd name="T89" fmla="*/ 19 h 48"/>
                  <a:gd name="T90" fmla="*/ 13 w 25"/>
                  <a:gd name="T91" fmla="*/ 17 h 48"/>
                  <a:gd name="T92" fmla="*/ 15 w 25"/>
                  <a:gd name="T93" fmla="*/ 16 h 48"/>
                  <a:gd name="T94" fmla="*/ 15 w 25"/>
                  <a:gd name="T95" fmla="*/ 10 h 48"/>
                  <a:gd name="T96" fmla="*/ 11 w 25"/>
                  <a:gd name="T97" fmla="*/ 4 h 48"/>
                  <a:gd name="T98" fmla="*/ 5 w 25"/>
                  <a:gd name="T99" fmla="*/ 2 h 48"/>
                  <a:gd name="T100" fmla="*/ 9 w 25"/>
                  <a:gd name="T101" fmla="*/ 0 h 48"/>
                  <a:gd name="T102" fmla="*/ 15 w 25"/>
                  <a:gd name="T10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 h="48">
                    <a:moveTo>
                      <a:pt x="5" y="19"/>
                    </a:moveTo>
                    <a:lnTo>
                      <a:pt x="7" y="21"/>
                    </a:lnTo>
                    <a:lnTo>
                      <a:pt x="5" y="19"/>
                    </a:lnTo>
                    <a:close/>
                    <a:moveTo>
                      <a:pt x="5" y="19"/>
                    </a:moveTo>
                    <a:lnTo>
                      <a:pt x="5" y="17"/>
                    </a:lnTo>
                    <a:lnTo>
                      <a:pt x="5" y="19"/>
                    </a:lnTo>
                    <a:close/>
                    <a:moveTo>
                      <a:pt x="2" y="19"/>
                    </a:moveTo>
                    <a:lnTo>
                      <a:pt x="3" y="19"/>
                    </a:lnTo>
                    <a:lnTo>
                      <a:pt x="3" y="21"/>
                    </a:lnTo>
                    <a:lnTo>
                      <a:pt x="3" y="19"/>
                    </a:lnTo>
                    <a:lnTo>
                      <a:pt x="3" y="21"/>
                    </a:lnTo>
                    <a:lnTo>
                      <a:pt x="3" y="23"/>
                    </a:lnTo>
                    <a:lnTo>
                      <a:pt x="5" y="23"/>
                    </a:lnTo>
                    <a:lnTo>
                      <a:pt x="5" y="25"/>
                    </a:lnTo>
                    <a:lnTo>
                      <a:pt x="7" y="27"/>
                    </a:lnTo>
                    <a:lnTo>
                      <a:pt x="5" y="27"/>
                    </a:lnTo>
                    <a:lnTo>
                      <a:pt x="7" y="27"/>
                    </a:lnTo>
                    <a:lnTo>
                      <a:pt x="7" y="29"/>
                    </a:lnTo>
                    <a:lnTo>
                      <a:pt x="9" y="29"/>
                    </a:lnTo>
                    <a:lnTo>
                      <a:pt x="9" y="31"/>
                    </a:lnTo>
                    <a:lnTo>
                      <a:pt x="11" y="31"/>
                    </a:lnTo>
                    <a:lnTo>
                      <a:pt x="11" y="29"/>
                    </a:lnTo>
                    <a:lnTo>
                      <a:pt x="9" y="27"/>
                    </a:lnTo>
                    <a:lnTo>
                      <a:pt x="11" y="29"/>
                    </a:lnTo>
                    <a:lnTo>
                      <a:pt x="9" y="27"/>
                    </a:lnTo>
                    <a:lnTo>
                      <a:pt x="11" y="27"/>
                    </a:lnTo>
                    <a:lnTo>
                      <a:pt x="11" y="29"/>
                    </a:lnTo>
                    <a:lnTo>
                      <a:pt x="11" y="31"/>
                    </a:lnTo>
                    <a:lnTo>
                      <a:pt x="13" y="29"/>
                    </a:lnTo>
                    <a:lnTo>
                      <a:pt x="13" y="31"/>
                    </a:lnTo>
                    <a:lnTo>
                      <a:pt x="13" y="29"/>
                    </a:lnTo>
                    <a:lnTo>
                      <a:pt x="15" y="31"/>
                    </a:lnTo>
                    <a:lnTo>
                      <a:pt x="13" y="29"/>
                    </a:lnTo>
                    <a:lnTo>
                      <a:pt x="15" y="29"/>
                    </a:lnTo>
                    <a:lnTo>
                      <a:pt x="15" y="31"/>
                    </a:lnTo>
                    <a:lnTo>
                      <a:pt x="15" y="29"/>
                    </a:lnTo>
                    <a:lnTo>
                      <a:pt x="17" y="29"/>
                    </a:lnTo>
                    <a:lnTo>
                      <a:pt x="19" y="29"/>
                    </a:lnTo>
                    <a:lnTo>
                      <a:pt x="19" y="31"/>
                    </a:lnTo>
                    <a:lnTo>
                      <a:pt x="19" y="33"/>
                    </a:lnTo>
                    <a:lnTo>
                      <a:pt x="19" y="35"/>
                    </a:lnTo>
                    <a:lnTo>
                      <a:pt x="17" y="35"/>
                    </a:lnTo>
                    <a:lnTo>
                      <a:pt x="17" y="37"/>
                    </a:lnTo>
                    <a:lnTo>
                      <a:pt x="17" y="39"/>
                    </a:lnTo>
                    <a:lnTo>
                      <a:pt x="19" y="41"/>
                    </a:lnTo>
                    <a:lnTo>
                      <a:pt x="19" y="42"/>
                    </a:lnTo>
                    <a:lnTo>
                      <a:pt x="19" y="44"/>
                    </a:lnTo>
                    <a:lnTo>
                      <a:pt x="19" y="46"/>
                    </a:lnTo>
                    <a:lnTo>
                      <a:pt x="21" y="46"/>
                    </a:lnTo>
                    <a:lnTo>
                      <a:pt x="19" y="48"/>
                    </a:lnTo>
                    <a:lnTo>
                      <a:pt x="21" y="48"/>
                    </a:lnTo>
                    <a:lnTo>
                      <a:pt x="19" y="48"/>
                    </a:lnTo>
                    <a:lnTo>
                      <a:pt x="19" y="46"/>
                    </a:lnTo>
                    <a:lnTo>
                      <a:pt x="17" y="48"/>
                    </a:lnTo>
                    <a:lnTo>
                      <a:pt x="17" y="46"/>
                    </a:lnTo>
                    <a:lnTo>
                      <a:pt x="15" y="46"/>
                    </a:lnTo>
                    <a:lnTo>
                      <a:pt x="13" y="46"/>
                    </a:lnTo>
                    <a:lnTo>
                      <a:pt x="11" y="46"/>
                    </a:lnTo>
                    <a:lnTo>
                      <a:pt x="9" y="46"/>
                    </a:lnTo>
                    <a:lnTo>
                      <a:pt x="11" y="46"/>
                    </a:lnTo>
                    <a:lnTo>
                      <a:pt x="9" y="48"/>
                    </a:lnTo>
                    <a:lnTo>
                      <a:pt x="11" y="48"/>
                    </a:lnTo>
                    <a:lnTo>
                      <a:pt x="9" y="48"/>
                    </a:lnTo>
                    <a:lnTo>
                      <a:pt x="9" y="46"/>
                    </a:lnTo>
                    <a:lnTo>
                      <a:pt x="7" y="46"/>
                    </a:lnTo>
                    <a:lnTo>
                      <a:pt x="5" y="46"/>
                    </a:lnTo>
                    <a:lnTo>
                      <a:pt x="7" y="44"/>
                    </a:lnTo>
                    <a:lnTo>
                      <a:pt x="5" y="44"/>
                    </a:lnTo>
                    <a:lnTo>
                      <a:pt x="3" y="44"/>
                    </a:lnTo>
                    <a:lnTo>
                      <a:pt x="3" y="42"/>
                    </a:lnTo>
                    <a:lnTo>
                      <a:pt x="5" y="42"/>
                    </a:lnTo>
                    <a:lnTo>
                      <a:pt x="3" y="42"/>
                    </a:lnTo>
                    <a:lnTo>
                      <a:pt x="5" y="42"/>
                    </a:lnTo>
                    <a:lnTo>
                      <a:pt x="5" y="41"/>
                    </a:lnTo>
                    <a:lnTo>
                      <a:pt x="7" y="41"/>
                    </a:lnTo>
                    <a:lnTo>
                      <a:pt x="9" y="41"/>
                    </a:lnTo>
                    <a:lnTo>
                      <a:pt x="9" y="39"/>
                    </a:lnTo>
                    <a:lnTo>
                      <a:pt x="9" y="37"/>
                    </a:lnTo>
                    <a:lnTo>
                      <a:pt x="11" y="37"/>
                    </a:lnTo>
                    <a:lnTo>
                      <a:pt x="9" y="37"/>
                    </a:lnTo>
                    <a:lnTo>
                      <a:pt x="9" y="35"/>
                    </a:lnTo>
                    <a:lnTo>
                      <a:pt x="7" y="35"/>
                    </a:lnTo>
                    <a:lnTo>
                      <a:pt x="5" y="35"/>
                    </a:lnTo>
                    <a:lnTo>
                      <a:pt x="7" y="35"/>
                    </a:lnTo>
                    <a:lnTo>
                      <a:pt x="5" y="35"/>
                    </a:lnTo>
                    <a:lnTo>
                      <a:pt x="5" y="37"/>
                    </a:lnTo>
                    <a:lnTo>
                      <a:pt x="5" y="35"/>
                    </a:lnTo>
                    <a:lnTo>
                      <a:pt x="3" y="37"/>
                    </a:lnTo>
                    <a:lnTo>
                      <a:pt x="3" y="39"/>
                    </a:lnTo>
                    <a:lnTo>
                      <a:pt x="2" y="39"/>
                    </a:lnTo>
                    <a:lnTo>
                      <a:pt x="2" y="37"/>
                    </a:lnTo>
                    <a:lnTo>
                      <a:pt x="3" y="35"/>
                    </a:lnTo>
                    <a:lnTo>
                      <a:pt x="5" y="35"/>
                    </a:lnTo>
                    <a:lnTo>
                      <a:pt x="5" y="33"/>
                    </a:lnTo>
                    <a:lnTo>
                      <a:pt x="7" y="33"/>
                    </a:lnTo>
                    <a:lnTo>
                      <a:pt x="5" y="33"/>
                    </a:lnTo>
                    <a:lnTo>
                      <a:pt x="5" y="31"/>
                    </a:lnTo>
                    <a:lnTo>
                      <a:pt x="5" y="29"/>
                    </a:lnTo>
                    <a:lnTo>
                      <a:pt x="3" y="29"/>
                    </a:lnTo>
                    <a:lnTo>
                      <a:pt x="3" y="27"/>
                    </a:lnTo>
                    <a:lnTo>
                      <a:pt x="3" y="25"/>
                    </a:lnTo>
                    <a:lnTo>
                      <a:pt x="2" y="25"/>
                    </a:lnTo>
                    <a:lnTo>
                      <a:pt x="2" y="23"/>
                    </a:lnTo>
                    <a:lnTo>
                      <a:pt x="0" y="23"/>
                    </a:lnTo>
                    <a:lnTo>
                      <a:pt x="0" y="21"/>
                    </a:lnTo>
                    <a:lnTo>
                      <a:pt x="2" y="21"/>
                    </a:lnTo>
                    <a:lnTo>
                      <a:pt x="2" y="19"/>
                    </a:lnTo>
                    <a:lnTo>
                      <a:pt x="0" y="19"/>
                    </a:lnTo>
                    <a:lnTo>
                      <a:pt x="2" y="17"/>
                    </a:lnTo>
                    <a:lnTo>
                      <a:pt x="3" y="16"/>
                    </a:lnTo>
                    <a:lnTo>
                      <a:pt x="3" y="17"/>
                    </a:lnTo>
                    <a:lnTo>
                      <a:pt x="2" y="17"/>
                    </a:lnTo>
                    <a:lnTo>
                      <a:pt x="2" y="19"/>
                    </a:lnTo>
                    <a:close/>
                    <a:moveTo>
                      <a:pt x="5" y="17"/>
                    </a:moveTo>
                    <a:lnTo>
                      <a:pt x="5" y="16"/>
                    </a:lnTo>
                    <a:lnTo>
                      <a:pt x="3" y="16"/>
                    </a:lnTo>
                    <a:lnTo>
                      <a:pt x="5" y="16"/>
                    </a:lnTo>
                    <a:lnTo>
                      <a:pt x="5" y="14"/>
                    </a:lnTo>
                    <a:lnTo>
                      <a:pt x="5" y="12"/>
                    </a:lnTo>
                    <a:lnTo>
                      <a:pt x="5" y="14"/>
                    </a:lnTo>
                    <a:lnTo>
                      <a:pt x="5" y="16"/>
                    </a:lnTo>
                    <a:lnTo>
                      <a:pt x="7" y="16"/>
                    </a:lnTo>
                    <a:lnTo>
                      <a:pt x="7" y="17"/>
                    </a:lnTo>
                    <a:lnTo>
                      <a:pt x="5" y="17"/>
                    </a:lnTo>
                    <a:lnTo>
                      <a:pt x="5" y="19"/>
                    </a:lnTo>
                    <a:lnTo>
                      <a:pt x="5" y="17"/>
                    </a:lnTo>
                    <a:close/>
                    <a:moveTo>
                      <a:pt x="15" y="2"/>
                    </a:moveTo>
                    <a:lnTo>
                      <a:pt x="15" y="4"/>
                    </a:lnTo>
                    <a:lnTo>
                      <a:pt x="17" y="4"/>
                    </a:lnTo>
                    <a:lnTo>
                      <a:pt x="15" y="4"/>
                    </a:lnTo>
                    <a:lnTo>
                      <a:pt x="17" y="6"/>
                    </a:lnTo>
                    <a:lnTo>
                      <a:pt x="17" y="8"/>
                    </a:lnTo>
                    <a:lnTo>
                      <a:pt x="17" y="10"/>
                    </a:lnTo>
                    <a:lnTo>
                      <a:pt x="19" y="10"/>
                    </a:lnTo>
                    <a:lnTo>
                      <a:pt x="19" y="12"/>
                    </a:lnTo>
                    <a:lnTo>
                      <a:pt x="19" y="14"/>
                    </a:lnTo>
                    <a:lnTo>
                      <a:pt x="19" y="16"/>
                    </a:lnTo>
                    <a:lnTo>
                      <a:pt x="21" y="16"/>
                    </a:lnTo>
                    <a:lnTo>
                      <a:pt x="21" y="17"/>
                    </a:lnTo>
                    <a:lnTo>
                      <a:pt x="21" y="19"/>
                    </a:lnTo>
                    <a:lnTo>
                      <a:pt x="23" y="19"/>
                    </a:lnTo>
                    <a:lnTo>
                      <a:pt x="23" y="21"/>
                    </a:lnTo>
                    <a:lnTo>
                      <a:pt x="25" y="23"/>
                    </a:lnTo>
                    <a:lnTo>
                      <a:pt x="23" y="25"/>
                    </a:lnTo>
                    <a:lnTo>
                      <a:pt x="25" y="25"/>
                    </a:lnTo>
                    <a:lnTo>
                      <a:pt x="25" y="27"/>
                    </a:lnTo>
                    <a:lnTo>
                      <a:pt x="25" y="29"/>
                    </a:lnTo>
                    <a:lnTo>
                      <a:pt x="25" y="31"/>
                    </a:lnTo>
                    <a:lnTo>
                      <a:pt x="23" y="31"/>
                    </a:lnTo>
                    <a:lnTo>
                      <a:pt x="25" y="31"/>
                    </a:lnTo>
                    <a:lnTo>
                      <a:pt x="25" y="33"/>
                    </a:lnTo>
                    <a:lnTo>
                      <a:pt x="23" y="33"/>
                    </a:lnTo>
                    <a:lnTo>
                      <a:pt x="23" y="31"/>
                    </a:lnTo>
                    <a:lnTo>
                      <a:pt x="19" y="35"/>
                    </a:lnTo>
                    <a:lnTo>
                      <a:pt x="19" y="39"/>
                    </a:lnTo>
                    <a:lnTo>
                      <a:pt x="19" y="37"/>
                    </a:lnTo>
                    <a:lnTo>
                      <a:pt x="17" y="37"/>
                    </a:lnTo>
                    <a:lnTo>
                      <a:pt x="17" y="35"/>
                    </a:lnTo>
                    <a:lnTo>
                      <a:pt x="19" y="35"/>
                    </a:lnTo>
                    <a:lnTo>
                      <a:pt x="19" y="33"/>
                    </a:lnTo>
                    <a:lnTo>
                      <a:pt x="19" y="31"/>
                    </a:lnTo>
                    <a:lnTo>
                      <a:pt x="19" y="29"/>
                    </a:lnTo>
                    <a:lnTo>
                      <a:pt x="19" y="27"/>
                    </a:lnTo>
                    <a:lnTo>
                      <a:pt x="17" y="27"/>
                    </a:lnTo>
                    <a:lnTo>
                      <a:pt x="17" y="25"/>
                    </a:lnTo>
                    <a:lnTo>
                      <a:pt x="15" y="25"/>
                    </a:lnTo>
                    <a:lnTo>
                      <a:pt x="17" y="25"/>
                    </a:lnTo>
                    <a:lnTo>
                      <a:pt x="17" y="23"/>
                    </a:lnTo>
                    <a:lnTo>
                      <a:pt x="15" y="21"/>
                    </a:lnTo>
                    <a:lnTo>
                      <a:pt x="15" y="23"/>
                    </a:lnTo>
                    <a:lnTo>
                      <a:pt x="17" y="23"/>
                    </a:lnTo>
                    <a:lnTo>
                      <a:pt x="15" y="23"/>
                    </a:lnTo>
                    <a:lnTo>
                      <a:pt x="15" y="25"/>
                    </a:lnTo>
                    <a:lnTo>
                      <a:pt x="15" y="23"/>
                    </a:lnTo>
                    <a:lnTo>
                      <a:pt x="13" y="23"/>
                    </a:lnTo>
                    <a:lnTo>
                      <a:pt x="13" y="21"/>
                    </a:lnTo>
                    <a:lnTo>
                      <a:pt x="11" y="21"/>
                    </a:lnTo>
                    <a:lnTo>
                      <a:pt x="13" y="21"/>
                    </a:lnTo>
                    <a:lnTo>
                      <a:pt x="11" y="21"/>
                    </a:lnTo>
                    <a:lnTo>
                      <a:pt x="11" y="19"/>
                    </a:lnTo>
                    <a:lnTo>
                      <a:pt x="13" y="17"/>
                    </a:lnTo>
                    <a:lnTo>
                      <a:pt x="11" y="19"/>
                    </a:lnTo>
                    <a:lnTo>
                      <a:pt x="13" y="19"/>
                    </a:lnTo>
                    <a:lnTo>
                      <a:pt x="13" y="17"/>
                    </a:lnTo>
                    <a:lnTo>
                      <a:pt x="13" y="19"/>
                    </a:lnTo>
                    <a:lnTo>
                      <a:pt x="13" y="17"/>
                    </a:lnTo>
                    <a:lnTo>
                      <a:pt x="13" y="16"/>
                    </a:lnTo>
                    <a:lnTo>
                      <a:pt x="15" y="16"/>
                    </a:lnTo>
                    <a:lnTo>
                      <a:pt x="15" y="14"/>
                    </a:lnTo>
                    <a:lnTo>
                      <a:pt x="17" y="12"/>
                    </a:lnTo>
                    <a:lnTo>
                      <a:pt x="15" y="12"/>
                    </a:lnTo>
                    <a:lnTo>
                      <a:pt x="15" y="10"/>
                    </a:lnTo>
                    <a:lnTo>
                      <a:pt x="15" y="8"/>
                    </a:lnTo>
                    <a:lnTo>
                      <a:pt x="13" y="8"/>
                    </a:lnTo>
                    <a:lnTo>
                      <a:pt x="13" y="6"/>
                    </a:lnTo>
                    <a:lnTo>
                      <a:pt x="11" y="4"/>
                    </a:lnTo>
                    <a:lnTo>
                      <a:pt x="11" y="2"/>
                    </a:lnTo>
                    <a:lnTo>
                      <a:pt x="9" y="2"/>
                    </a:lnTo>
                    <a:lnTo>
                      <a:pt x="7" y="2"/>
                    </a:lnTo>
                    <a:lnTo>
                      <a:pt x="5" y="2"/>
                    </a:lnTo>
                    <a:lnTo>
                      <a:pt x="7" y="2"/>
                    </a:lnTo>
                    <a:lnTo>
                      <a:pt x="7" y="0"/>
                    </a:lnTo>
                    <a:lnTo>
                      <a:pt x="5" y="0"/>
                    </a:lnTo>
                    <a:lnTo>
                      <a:pt x="9" y="0"/>
                    </a:lnTo>
                    <a:lnTo>
                      <a:pt x="11" y="0"/>
                    </a:lnTo>
                    <a:lnTo>
                      <a:pt x="11" y="2"/>
                    </a:lnTo>
                    <a:lnTo>
                      <a:pt x="13" y="2"/>
                    </a:lnTo>
                    <a:lnTo>
                      <a:pt x="15" y="2"/>
                    </a:lnTo>
                    <a:lnTo>
                      <a:pt x="15" y="4"/>
                    </a:lnTo>
                    <a:lnTo>
                      <a:pt x="15"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5" name="Freeform 125"/>
              <p:cNvSpPr>
                <a:spLocks noEditPoints="1"/>
              </p:cNvSpPr>
              <p:nvPr/>
            </p:nvSpPr>
            <p:spPr bwMode="auto">
              <a:xfrm>
                <a:off x="835507" y="1824507"/>
                <a:ext cx="20647" cy="25810"/>
              </a:xfrm>
              <a:custGeom>
                <a:avLst/>
                <a:gdLst>
                  <a:gd name="T0" fmla="*/ 8 w 12"/>
                  <a:gd name="T1" fmla="*/ 13 h 15"/>
                  <a:gd name="T2" fmla="*/ 8 w 12"/>
                  <a:gd name="T3" fmla="*/ 13 h 15"/>
                  <a:gd name="T4" fmla="*/ 8 w 12"/>
                  <a:gd name="T5" fmla="*/ 13 h 15"/>
                  <a:gd name="T6" fmla="*/ 8 w 12"/>
                  <a:gd name="T7" fmla="*/ 13 h 15"/>
                  <a:gd name="T8" fmla="*/ 8 w 12"/>
                  <a:gd name="T9" fmla="*/ 13 h 15"/>
                  <a:gd name="T10" fmla="*/ 8 w 12"/>
                  <a:gd name="T11" fmla="*/ 13 h 15"/>
                  <a:gd name="T12" fmla="*/ 8 w 12"/>
                  <a:gd name="T13" fmla="*/ 13 h 15"/>
                  <a:gd name="T14" fmla="*/ 8 w 12"/>
                  <a:gd name="T15" fmla="*/ 13 h 15"/>
                  <a:gd name="T16" fmla="*/ 8 w 12"/>
                  <a:gd name="T17" fmla="*/ 13 h 15"/>
                  <a:gd name="T18" fmla="*/ 8 w 12"/>
                  <a:gd name="T19" fmla="*/ 13 h 15"/>
                  <a:gd name="T20" fmla="*/ 8 w 12"/>
                  <a:gd name="T21" fmla="*/ 11 h 15"/>
                  <a:gd name="T22" fmla="*/ 8 w 12"/>
                  <a:gd name="T23" fmla="*/ 11 h 15"/>
                  <a:gd name="T24" fmla="*/ 8 w 12"/>
                  <a:gd name="T25" fmla="*/ 11 h 15"/>
                  <a:gd name="T26" fmla="*/ 8 w 12"/>
                  <a:gd name="T27" fmla="*/ 11 h 15"/>
                  <a:gd name="T28" fmla="*/ 8 w 12"/>
                  <a:gd name="T29" fmla="*/ 11 h 15"/>
                  <a:gd name="T30" fmla="*/ 10 w 12"/>
                  <a:gd name="T31" fmla="*/ 13 h 15"/>
                  <a:gd name="T32" fmla="*/ 10 w 12"/>
                  <a:gd name="T33" fmla="*/ 13 h 15"/>
                  <a:gd name="T34" fmla="*/ 10 w 12"/>
                  <a:gd name="T35" fmla="*/ 13 h 15"/>
                  <a:gd name="T36" fmla="*/ 10 w 12"/>
                  <a:gd name="T37" fmla="*/ 13 h 15"/>
                  <a:gd name="T38" fmla="*/ 12 w 12"/>
                  <a:gd name="T39" fmla="*/ 13 h 15"/>
                  <a:gd name="T40" fmla="*/ 10 w 12"/>
                  <a:gd name="T41" fmla="*/ 13 h 15"/>
                  <a:gd name="T42" fmla="*/ 10 w 12"/>
                  <a:gd name="T43" fmla="*/ 13 h 15"/>
                  <a:gd name="T44" fmla="*/ 10 w 12"/>
                  <a:gd name="T45" fmla="*/ 13 h 15"/>
                  <a:gd name="T46" fmla="*/ 10 w 12"/>
                  <a:gd name="T47" fmla="*/ 13 h 15"/>
                  <a:gd name="T48" fmla="*/ 10 w 12"/>
                  <a:gd name="T49" fmla="*/ 11 h 15"/>
                  <a:gd name="T50" fmla="*/ 10 w 12"/>
                  <a:gd name="T51" fmla="*/ 11 h 15"/>
                  <a:gd name="T52" fmla="*/ 10 w 12"/>
                  <a:gd name="T53" fmla="*/ 11 h 15"/>
                  <a:gd name="T54" fmla="*/ 10 w 12"/>
                  <a:gd name="T55" fmla="*/ 11 h 15"/>
                  <a:gd name="T56" fmla="*/ 10 w 12"/>
                  <a:gd name="T57" fmla="*/ 11 h 15"/>
                  <a:gd name="T58" fmla="*/ 12 w 12"/>
                  <a:gd name="T59" fmla="*/ 11 h 15"/>
                  <a:gd name="T60" fmla="*/ 12 w 12"/>
                  <a:gd name="T61" fmla="*/ 13 h 15"/>
                  <a:gd name="T62" fmla="*/ 10 w 12"/>
                  <a:gd name="T63" fmla="*/ 11 h 15"/>
                  <a:gd name="T64" fmla="*/ 10 w 12"/>
                  <a:gd name="T65" fmla="*/ 11 h 15"/>
                  <a:gd name="T66" fmla="*/ 10 w 12"/>
                  <a:gd name="T67" fmla="*/ 11 h 15"/>
                  <a:gd name="T68" fmla="*/ 8 w 12"/>
                  <a:gd name="T69" fmla="*/ 11 h 15"/>
                  <a:gd name="T70" fmla="*/ 8 w 12"/>
                  <a:gd name="T71" fmla="*/ 11 h 15"/>
                  <a:gd name="T72" fmla="*/ 10 w 12"/>
                  <a:gd name="T73" fmla="*/ 9 h 15"/>
                  <a:gd name="T74" fmla="*/ 10 w 12"/>
                  <a:gd name="T75" fmla="*/ 11 h 15"/>
                  <a:gd name="T76" fmla="*/ 10 w 12"/>
                  <a:gd name="T77" fmla="*/ 11 h 15"/>
                  <a:gd name="T78" fmla="*/ 10 w 12"/>
                  <a:gd name="T79" fmla="*/ 11 h 15"/>
                  <a:gd name="T80" fmla="*/ 10 w 12"/>
                  <a:gd name="T81" fmla="*/ 11 h 15"/>
                  <a:gd name="T82" fmla="*/ 10 w 12"/>
                  <a:gd name="T83" fmla="*/ 11 h 15"/>
                  <a:gd name="T84" fmla="*/ 10 w 12"/>
                  <a:gd name="T85" fmla="*/ 11 h 15"/>
                  <a:gd name="T86" fmla="*/ 12 w 12"/>
                  <a:gd name="T87" fmla="*/ 11 h 15"/>
                  <a:gd name="T88" fmla="*/ 12 w 12"/>
                  <a:gd name="T89" fmla="*/ 11 h 15"/>
                  <a:gd name="T90" fmla="*/ 12 w 12"/>
                  <a:gd name="T91" fmla="*/ 11 h 15"/>
                  <a:gd name="T92" fmla="*/ 4 w 12"/>
                  <a:gd name="T93" fmla="*/ 1 h 15"/>
                  <a:gd name="T94" fmla="*/ 4 w 12"/>
                  <a:gd name="T95" fmla="*/ 1 h 15"/>
                  <a:gd name="T96" fmla="*/ 2 w 12"/>
                  <a:gd name="T97" fmla="*/ 1 h 15"/>
                  <a:gd name="T98" fmla="*/ 2 w 12"/>
                  <a:gd name="T99" fmla="*/ 0 h 15"/>
                  <a:gd name="T100" fmla="*/ 0 w 12"/>
                  <a:gd name="T101" fmla="*/ 0 h 15"/>
                  <a:gd name="T102" fmla="*/ 2 w 12"/>
                  <a:gd name="T103" fmla="*/ 0 h 15"/>
                  <a:gd name="T104" fmla="*/ 2 w 12"/>
                  <a:gd name="T105" fmla="*/ 1 h 15"/>
                  <a:gd name="T106" fmla="*/ 6 w 12"/>
                  <a:gd name="T10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 h="15">
                    <a:moveTo>
                      <a:pt x="8" y="13"/>
                    </a:moveTo>
                    <a:lnTo>
                      <a:pt x="8" y="13"/>
                    </a:lnTo>
                    <a:lnTo>
                      <a:pt x="8" y="13"/>
                    </a:lnTo>
                    <a:lnTo>
                      <a:pt x="8" y="13"/>
                    </a:lnTo>
                    <a:lnTo>
                      <a:pt x="8" y="15"/>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3"/>
                    </a:lnTo>
                    <a:lnTo>
                      <a:pt x="8" y="11"/>
                    </a:lnTo>
                    <a:lnTo>
                      <a:pt x="8" y="11"/>
                    </a:lnTo>
                    <a:lnTo>
                      <a:pt x="8" y="11"/>
                    </a:lnTo>
                    <a:lnTo>
                      <a:pt x="8" y="11"/>
                    </a:lnTo>
                    <a:lnTo>
                      <a:pt x="8" y="11"/>
                    </a:lnTo>
                    <a:lnTo>
                      <a:pt x="8" y="11"/>
                    </a:lnTo>
                    <a:lnTo>
                      <a:pt x="8" y="11"/>
                    </a:lnTo>
                    <a:lnTo>
                      <a:pt x="8" y="11"/>
                    </a:lnTo>
                    <a:lnTo>
                      <a:pt x="8" y="11"/>
                    </a:lnTo>
                    <a:lnTo>
                      <a:pt x="8" y="11"/>
                    </a:lnTo>
                    <a:lnTo>
                      <a:pt x="10" y="11"/>
                    </a:lnTo>
                    <a:lnTo>
                      <a:pt x="10" y="13"/>
                    </a:lnTo>
                    <a:lnTo>
                      <a:pt x="10" y="13"/>
                    </a:lnTo>
                    <a:lnTo>
                      <a:pt x="10" y="13"/>
                    </a:lnTo>
                    <a:lnTo>
                      <a:pt x="10" y="13"/>
                    </a:lnTo>
                    <a:lnTo>
                      <a:pt x="10" y="13"/>
                    </a:lnTo>
                    <a:lnTo>
                      <a:pt x="10" y="13"/>
                    </a:lnTo>
                    <a:lnTo>
                      <a:pt x="10" y="13"/>
                    </a:lnTo>
                    <a:lnTo>
                      <a:pt x="8" y="13"/>
                    </a:lnTo>
                    <a:close/>
                    <a:moveTo>
                      <a:pt x="12" y="13"/>
                    </a:moveTo>
                    <a:lnTo>
                      <a:pt x="12" y="13"/>
                    </a:lnTo>
                    <a:lnTo>
                      <a:pt x="10" y="13"/>
                    </a:lnTo>
                    <a:lnTo>
                      <a:pt x="10" y="13"/>
                    </a:lnTo>
                    <a:lnTo>
                      <a:pt x="10" y="13"/>
                    </a:lnTo>
                    <a:lnTo>
                      <a:pt x="10" y="13"/>
                    </a:lnTo>
                    <a:lnTo>
                      <a:pt x="10" y="13"/>
                    </a:lnTo>
                    <a:lnTo>
                      <a:pt x="10" y="13"/>
                    </a:lnTo>
                    <a:lnTo>
                      <a:pt x="10" y="13"/>
                    </a:lnTo>
                    <a:lnTo>
                      <a:pt x="10" y="11"/>
                    </a:lnTo>
                    <a:lnTo>
                      <a:pt x="10" y="11"/>
                    </a:lnTo>
                    <a:lnTo>
                      <a:pt x="10" y="11"/>
                    </a:lnTo>
                    <a:lnTo>
                      <a:pt x="10" y="11"/>
                    </a:lnTo>
                    <a:lnTo>
                      <a:pt x="10" y="11"/>
                    </a:lnTo>
                    <a:lnTo>
                      <a:pt x="10" y="11"/>
                    </a:lnTo>
                    <a:lnTo>
                      <a:pt x="10" y="11"/>
                    </a:lnTo>
                    <a:lnTo>
                      <a:pt x="10" y="11"/>
                    </a:lnTo>
                    <a:lnTo>
                      <a:pt x="10" y="11"/>
                    </a:lnTo>
                    <a:lnTo>
                      <a:pt x="10" y="11"/>
                    </a:lnTo>
                    <a:lnTo>
                      <a:pt x="12" y="11"/>
                    </a:lnTo>
                    <a:lnTo>
                      <a:pt x="12" y="11"/>
                    </a:lnTo>
                    <a:lnTo>
                      <a:pt x="12" y="13"/>
                    </a:lnTo>
                    <a:lnTo>
                      <a:pt x="12" y="13"/>
                    </a:lnTo>
                    <a:close/>
                    <a:moveTo>
                      <a:pt x="12" y="11"/>
                    </a:moveTo>
                    <a:lnTo>
                      <a:pt x="10" y="11"/>
                    </a:lnTo>
                    <a:lnTo>
                      <a:pt x="10" y="11"/>
                    </a:lnTo>
                    <a:lnTo>
                      <a:pt x="10" y="11"/>
                    </a:lnTo>
                    <a:lnTo>
                      <a:pt x="10" y="11"/>
                    </a:lnTo>
                    <a:lnTo>
                      <a:pt x="10" y="11"/>
                    </a:lnTo>
                    <a:lnTo>
                      <a:pt x="10" y="11"/>
                    </a:lnTo>
                    <a:lnTo>
                      <a:pt x="8" y="11"/>
                    </a:lnTo>
                    <a:lnTo>
                      <a:pt x="8" y="11"/>
                    </a:lnTo>
                    <a:lnTo>
                      <a:pt x="8" y="11"/>
                    </a:lnTo>
                    <a:lnTo>
                      <a:pt x="10" y="9"/>
                    </a:lnTo>
                    <a:lnTo>
                      <a:pt x="10" y="9"/>
                    </a:lnTo>
                    <a:lnTo>
                      <a:pt x="10" y="9"/>
                    </a:lnTo>
                    <a:lnTo>
                      <a:pt x="10" y="11"/>
                    </a:lnTo>
                    <a:lnTo>
                      <a:pt x="10" y="9"/>
                    </a:lnTo>
                    <a:lnTo>
                      <a:pt x="10" y="11"/>
                    </a:lnTo>
                    <a:lnTo>
                      <a:pt x="10" y="11"/>
                    </a:lnTo>
                    <a:lnTo>
                      <a:pt x="10" y="11"/>
                    </a:lnTo>
                    <a:lnTo>
                      <a:pt x="10" y="11"/>
                    </a:lnTo>
                    <a:lnTo>
                      <a:pt x="10" y="11"/>
                    </a:lnTo>
                    <a:lnTo>
                      <a:pt x="10" y="11"/>
                    </a:lnTo>
                    <a:lnTo>
                      <a:pt x="10" y="11"/>
                    </a:lnTo>
                    <a:lnTo>
                      <a:pt x="10" y="11"/>
                    </a:lnTo>
                    <a:lnTo>
                      <a:pt x="10" y="11"/>
                    </a:lnTo>
                    <a:lnTo>
                      <a:pt x="10" y="11"/>
                    </a:lnTo>
                    <a:lnTo>
                      <a:pt x="12" y="11"/>
                    </a:lnTo>
                    <a:lnTo>
                      <a:pt x="12" y="11"/>
                    </a:lnTo>
                    <a:lnTo>
                      <a:pt x="12" y="11"/>
                    </a:lnTo>
                    <a:lnTo>
                      <a:pt x="12" y="11"/>
                    </a:lnTo>
                    <a:lnTo>
                      <a:pt x="12" y="11"/>
                    </a:lnTo>
                    <a:close/>
                    <a:moveTo>
                      <a:pt x="4" y="1"/>
                    </a:moveTo>
                    <a:lnTo>
                      <a:pt x="4" y="1"/>
                    </a:lnTo>
                    <a:lnTo>
                      <a:pt x="4" y="1"/>
                    </a:lnTo>
                    <a:lnTo>
                      <a:pt x="4" y="1"/>
                    </a:lnTo>
                    <a:lnTo>
                      <a:pt x="4" y="1"/>
                    </a:lnTo>
                    <a:lnTo>
                      <a:pt x="2" y="1"/>
                    </a:lnTo>
                    <a:lnTo>
                      <a:pt x="2" y="1"/>
                    </a:lnTo>
                    <a:lnTo>
                      <a:pt x="2" y="0"/>
                    </a:lnTo>
                    <a:lnTo>
                      <a:pt x="2" y="0"/>
                    </a:lnTo>
                    <a:lnTo>
                      <a:pt x="0" y="0"/>
                    </a:lnTo>
                    <a:lnTo>
                      <a:pt x="2" y="0"/>
                    </a:lnTo>
                    <a:lnTo>
                      <a:pt x="2" y="0"/>
                    </a:lnTo>
                    <a:lnTo>
                      <a:pt x="2" y="0"/>
                    </a:lnTo>
                    <a:lnTo>
                      <a:pt x="2" y="1"/>
                    </a:lnTo>
                    <a:lnTo>
                      <a:pt x="6" y="1"/>
                    </a:lnTo>
                    <a:lnTo>
                      <a:pt x="6" y="1"/>
                    </a:lnTo>
                    <a:lnTo>
                      <a:pt x="4" y="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6" name="Freeform 126"/>
              <p:cNvSpPr>
                <a:spLocks noEditPoints="1"/>
              </p:cNvSpPr>
              <p:nvPr/>
            </p:nvSpPr>
            <p:spPr bwMode="auto">
              <a:xfrm>
                <a:off x="828624" y="1817624"/>
                <a:ext cx="24089" cy="29251"/>
              </a:xfrm>
              <a:custGeom>
                <a:avLst/>
                <a:gdLst>
                  <a:gd name="T0" fmla="*/ 14 w 14"/>
                  <a:gd name="T1" fmla="*/ 17 h 17"/>
                  <a:gd name="T2" fmla="*/ 14 w 14"/>
                  <a:gd name="T3" fmla="*/ 17 h 17"/>
                  <a:gd name="T4" fmla="*/ 14 w 14"/>
                  <a:gd name="T5" fmla="*/ 17 h 17"/>
                  <a:gd name="T6" fmla="*/ 14 w 14"/>
                  <a:gd name="T7" fmla="*/ 17 h 17"/>
                  <a:gd name="T8" fmla="*/ 4 w 14"/>
                  <a:gd name="T9" fmla="*/ 9 h 17"/>
                  <a:gd name="T10" fmla="*/ 4 w 14"/>
                  <a:gd name="T11" fmla="*/ 9 h 17"/>
                  <a:gd name="T12" fmla="*/ 14 w 14"/>
                  <a:gd name="T13" fmla="*/ 15 h 17"/>
                  <a:gd name="T14" fmla="*/ 14 w 14"/>
                  <a:gd name="T15" fmla="*/ 15 h 17"/>
                  <a:gd name="T16" fmla="*/ 0 w 14"/>
                  <a:gd name="T17" fmla="*/ 5 h 17"/>
                  <a:gd name="T18" fmla="*/ 0 w 14"/>
                  <a:gd name="T19" fmla="*/ 5 h 17"/>
                  <a:gd name="T20" fmla="*/ 2 w 14"/>
                  <a:gd name="T21" fmla="*/ 5 h 17"/>
                  <a:gd name="T22" fmla="*/ 2 w 14"/>
                  <a:gd name="T23" fmla="*/ 5 h 17"/>
                  <a:gd name="T24" fmla="*/ 2 w 14"/>
                  <a:gd name="T25" fmla="*/ 5 h 17"/>
                  <a:gd name="T26" fmla="*/ 2 w 14"/>
                  <a:gd name="T27" fmla="*/ 5 h 17"/>
                  <a:gd name="T28" fmla="*/ 2 w 14"/>
                  <a:gd name="T29" fmla="*/ 5 h 17"/>
                  <a:gd name="T30" fmla="*/ 2 w 14"/>
                  <a:gd name="T31" fmla="*/ 4 h 17"/>
                  <a:gd name="T32" fmla="*/ 4 w 14"/>
                  <a:gd name="T33" fmla="*/ 4 h 17"/>
                  <a:gd name="T34" fmla="*/ 4 w 14"/>
                  <a:gd name="T35" fmla="*/ 4 h 17"/>
                  <a:gd name="T36" fmla="*/ 4 w 14"/>
                  <a:gd name="T37" fmla="*/ 4 h 17"/>
                  <a:gd name="T38" fmla="*/ 4 w 14"/>
                  <a:gd name="T39" fmla="*/ 4 h 17"/>
                  <a:gd name="T40" fmla="*/ 4 w 14"/>
                  <a:gd name="T41" fmla="*/ 4 h 17"/>
                  <a:gd name="T42" fmla="*/ 4 w 14"/>
                  <a:gd name="T43" fmla="*/ 4 h 17"/>
                  <a:gd name="T44" fmla="*/ 4 w 14"/>
                  <a:gd name="T45" fmla="*/ 4 h 17"/>
                  <a:gd name="T46" fmla="*/ 4 w 14"/>
                  <a:gd name="T47" fmla="*/ 4 h 17"/>
                  <a:gd name="T48" fmla="*/ 4 w 14"/>
                  <a:gd name="T49" fmla="*/ 4 h 17"/>
                  <a:gd name="T50" fmla="*/ 6 w 14"/>
                  <a:gd name="T51" fmla="*/ 5 h 17"/>
                  <a:gd name="T52" fmla="*/ 6 w 14"/>
                  <a:gd name="T53" fmla="*/ 5 h 17"/>
                  <a:gd name="T54" fmla="*/ 6 w 14"/>
                  <a:gd name="T55" fmla="*/ 5 h 17"/>
                  <a:gd name="T56" fmla="*/ 6 w 14"/>
                  <a:gd name="T57" fmla="*/ 5 h 17"/>
                  <a:gd name="T58" fmla="*/ 6 w 14"/>
                  <a:gd name="T59" fmla="*/ 5 h 17"/>
                  <a:gd name="T60" fmla="*/ 6 w 14"/>
                  <a:gd name="T61" fmla="*/ 5 h 17"/>
                  <a:gd name="T62" fmla="*/ 4 w 14"/>
                  <a:gd name="T63" fmla="*/ 4 h 17"/>
                  <a:gd name="T64" fmla="*/ 4 w 14"/>
                  <a:gd name="T65" fmla="*/ 4 h 17"/>
                  <a:gd name="T66" fmla="*/ 4 w 14"/>
                  <a:gd name="T67" fmla="*/ 4 h 17"/>
                  <a:gd name="T68" fmla="*/ 4 w 14"/>
                  <a:gd name="T69" fmla="*/ 4 h 17"/>
                  <a:gd name="T70" fmla="*/ 2 w 14"/>
                  <a:gd name="T71" fmla="*/ 4 h 17"/>
                  <a:gd name="T72" fmla="*/ 4 w 14"/>
                  <a:gd name="T73" fmla="*/ 2 h 17"/>
                  <a:gd name="T74" fmla="*/ 4 w 14"/>
                  <a:gd name="T75" fmla="*/ 4 h 17"/>
                  <a:gd name="T76" fmla="*/ 4 w 14"/>
                  <a:gd name="T77" fmla="*/ 4 h 17"/>
                  <a:gd name="T78" fmla="*/ 8 w 14"/>
                  <a:gd name="T79" fmla="*/ 5 h 17"/>
                  <a:gd name="T80" fmla="*/ 8 w 14"/>
                  <a:gd name="T81" fmla="*/ 5 h 17"/>
                  <a:gd name="T82" fmla="*/ 4 w 14"/>
                  <a:gd name="T83" fmla="*/ 4 h 17"/>
                  <a:gd name="T84" fmla="*/ 4 w 14"/>
                  <a:gd name="T85" fmla="*/ 4 h 17"/>
                  <a:gd name="T86" fmla="*/ 4 w 14"/>
                  <a:gd name="T87" fmla="*/ 0 h 17"/>
                  <a:gd name="T88" fmla="*/ 4 w 14"/>
                  <a:gd name="T89" fmla="*/ 0 h 17"/>
                  <a:gd name="T90" fmla="*/ 8 w 14"/>
                  <a:gd name="T91" fmla="*/ 2 h 17"/>
                  <a:gd name="T92" fmla="*/ 8 w 14"/>
                  <a:gd name="T93" fmla="*/ 2 h 17"/>
                  <a:gd name="T94" fmla="*/ 8 w 14"/>
                  <a:gd name="T95"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 h="17">
                    <a:moveTo>
                      <a:pt x="14" y="17"/>
                    </a:moveTo>
                    <a:lnTo>
                      <a:pt x="14" y="17"/>
                    </a:lnTo>
                    <a:lnTo>
                      <a:pt x="14" y="17"/>
                    </a:lnTo>
                    <a:lnTo>
                      <a:pt x="14" y="17"/>
                    </a:lnTo>
                    <a:lnTo>
                      <a:pt x="14" y="17"/>
                    </a:lnTo>
                    <a:lnTo>
                      <a:pt x="14" y="17"/>
                    </a:lnTo>
                    <a:lnTo>
                      <a:pt x="14" y="17"/>
                    </a:lnTo>
                    <a:lnTo>
                      <a:pt x="14" y="17"/>
                    </a:lnTo>
                    <a:close/>
                    <a:moveTo>
                      <a:pt x="4" y="9"/>
                    </a:moveTo>
                    <a:lnTo>
                      <a:pt x="4" y="9"/>
                    </a:lnTo>
                    <a:lnTo>
                      <a:pt x="4" y="9"/>
                    </a:lnTo>
                    <a:lnTo>
                      <a:pt x="4" y="9"/>
                    </a:lnTo>
                    <a:close/>
                    <a:moveTo>
                      <a:pt x="14" y="15"/>
                    </a:moveTo>
                    <a:lnTo>
                      <a:pt x="14" y="15"/>
                    </a:lnTo>
                    <a:lnTo>
                      <a:pt x="14" y="15"/>
                    </a:lnTo>
                    <a:lnTo>
                      <a:pt x="14" y="15"/>
                    </a:lnTo>
                    <a:close/>
                    <a:moveTo>
                      <a:pt x="0" y="5"/>
                    </a:moveTo>
                    <a:lnTo>
                      <a:pt x="0" y="5"/>
                    </a:lnTo>
                    <a:lnTo>
                      <a:pt x="0" y="5"/>
                    </a:lnTo>
                    <a:lnTo>
                      <a:pt x="0" y="5"/>
                    </a:lnTo>
                    <a:lnTo>
                      <a:pt x="0" y="5"/>
                    </a:lnTo>
                    <a:close/>
                    <a:moveTo>
                      <a:pt x="2" y="5"/>
                    </a:moveTo>
                    <a:lnTo>
                      <a:pt x="2" y="5"/>
                    </a:lnTo>
                    <a:lnTo>
                      <a:pt x="2" y="5"/>
                    </a:lnTo>
                    <a:lnTo>
                      <a:pt x="2" y="5"/>
                    </a:lnTo>
                    <a:lnTo>
                      <a:pt x="2" y="5"/>
                    </a:lnTo>
                    <a:lnTo>
                      <a:pt x="2" y="5"/>
                    </a:lnTo>
                    <a:lnTo>
                      <a:pt x="2" y="5"/>
                    </a:lnTo>
                    <a:close/>
                    <a:moveTo>
                      <a:pt x="2" y="4"/>
                    </a:moveTo>
                    <a:lnTo>
                      <a:pt x="2" y="5"/>
                    </a:lnTo>
                    <a:lnTo>
                      <a:pt x="2" y="4"/>
                    </a:lnTo>
                    <a:lnTo>
                      <a:pt x="2" y="4"/>
                    </a:lnTo>
                    <a:lnTo>
                      <a:pt x="2" y="4"/>
                    </a:lnTo>
                    <a:close/>
                    <a:moveTo>
                      <a:pt x="4" y="4"/>
                    </a:moveTo>
                    <a:lnTo>
                      <a:pt x="4" y="4"/>
                    </a:lnTo>
                    <a:lnTo>
                      <a:pt x="4" y="4"/>
                    </a:lnTo>
                    <a:lnTo>
                      <a:pt x="4" y="4"/>
                    </a:lnTo>
                    <a:close/>
                    <a:moveTo>
                      <a:pt x="4" y="4"/>
                    </a:moveTo>
                    <a:lnTo>
                      <a:pt x="4" y="4"/>
                    </a:lnTo>
                    <a:lnTo>
                      <a:pt x="4" y="4"/>
                    </a:lnTo>
                    <a:lnTo>
                      <a:pt x="4" y="4"/>
                    </a:lnTo>
                    <a:lnTo>
                      <a:pt x="4" y="4"/>
                    </a:lnTo>
                    <a:close/>
                    <a:moveTo>
                      <a:pt x="4" y="4"/>
                    </a:moveTo>
                    <a:lnTo>
                      <a:pt x="4" y="4"/>
                    </a:lnTo>
                    <a:lnTo>
                      <a:pt x="4" y="4"/>
                    </a:lnTo>
                    <a:lnTo>
                      <a:pt x="4" y="4"/>
                    </a:lnTo>
                    <a:close/>
                    <a:moveTo>
                      <a:pt x="4" y="4"/>
                    </a:moveTo>
                    <a:lnTo>
                      <a:pt x="4" y="4"/>
                    </a:lnTo>
                    <a:lnTo>
                      <a:pt x="4" y="4"/>
                    </a:lnTo>
                    <a:lnTo>
                      <a:pt x="4" y="4"/>
                    </a:lnTo>
                    <a:lnTo>
                      <a:pt x="4" y="4"/>
                    </a:lnTo>
                    <a:close/>
                    <a:moveTo>
                      <a:pt x="6" y="5"/>
                    </a:moveTo>
                    <a:lnTo>
                      <a:pt x="6" y="5"/>
                    </a:lnTo>
                    <a:lnTo>
                      <a:pt x="6" y="5"/>
                    </a:lnTo>
                    <a:lnTo>
                      <a:pt x="6" y="5"/>
                    </a:lnTo>
                    <a:lnTo>
                      <a:pt x="6" y="5"/>
                    </a:lnTo>
                    <a:lnTo>
                      <a:pt x="6" y="5"/>
                    </a:lnTo>
                    <a:close/>
                    <a:moveTo>
                      <a:pt x="6" y="5"/>
                    </a:moveTo>
                    <a:lnTo>
                      <a:pt x="6" y="5"/>
                    </a:lnTo>
                    <a:lnTo>
                      <a:pt x="6" y="5"/>
                    </a:lnTo>
                    <a:lnTo>
                      <a:pt x="6" y="5"/>
                    </a:lnTo>
                    <a:lnTo>
                      <a:pt x="6" y="5"/>
                    </a:lnTo>
                    <a:close/>
                    <a:moveTo>
                      <a:pt x="4" y="4"/>
                    </a:moveTo>
                    <a:lnTo>
                      <a:pt x="4" y="4"/>
                    </a:lnTo>
                    <a:lnTo>
                      <a:pt x="4" y="4"/>
                    </a:lnTo>
                    <a:lnTo>
                      <a:pt x="4" y="4"/>
                    </a:lnTo>
                    <a:lnTo>
                      <a:pt x="4" y="4"/>
                    </a:lnTo>
                    <a:lnTo>
                      <a:pt x="4" y="4"/>
                    </a:lnTo>
                    <a:lnTo>
                      <a:pt x="4" y="4"/>
                    </a:lnTo>
                    <a:close/>
                    <a:moveTo>
                      <a:pt x="4" y="4"/>
                    </a:moveTo>
                    <a:lnTo>
                      <a:pt x="4" y="4"/>
                    </a:lnTo>
                    <a:lnTo>
                      <a:pt x="2" y="4"/>
                    </a:lnTo>
                    <a:lnTo>
                      <a:pt x="4" y="4"/>
                    </a:lnTo>
                    <a:lnTo>
                      <a:pt x="4" y="2"/>
                    </a:lnTo>
                    <a:lnTo>
                      <a:pt x="4" y="4"/>
                    </a:lnTo>
                    <a:lnTo>
                      <a:pt x="4" y="4"/>
                    </a:lnTo>
                    <a:lnTo>
                      <a:pt x="4" y="4"/>
                    </a:lnTo>
                    <a:lnTo>
                      <a:pt x="4" y="4"/>
                    </a:lnTo>
                    <a:close/>
                    <a:moveTo>
                      <a:pt x="8" y="5"/>
                    </a:moveTo>
                    <a:lnTo>
                      <a:pt x="8" y="5"/>
                    </a:lnTo>
                    <a:lnTo>
                      <a:pt x="8" y="5"/>
                    </a:lnTo>
                    <a:lnTo>
                      <a:pt x="8" y="5"/>
                    </a:lnTo>
                    <a:lnTo>
                      <a:pt x="8" y="5"/>
                    </a:lnTo>
                    <a:close/>
                    <a:moveTo>
                      <a:pt x="4" y="4"/>
                    </a:moveTo>
                    <a:lnTo>
                      <a:pt x="4" y="4"/>
                    </a:lnTo>
                    <a:lnTo>
                      <a:pt x="4" y="4"/>
                    </a:lnTo>
                    <a:lnTo>
                      <a:pt x="4" y="4"/>
                    </a:lnTo>
                    <a:close/>
                    <a:moveTo>
                      <a:pt x="4" y="0"/>
                    </a:moveTo>
                    <a:lnTo>
                      <a:pt x="4" y="0"/>
                    </a:lnTo>
                    <a:lnTo>
                      <a:pt x="4" y="0"/>
                    </a:lnTo>
                    <a:lnTo>
                      <a:pt x="4" y="0"/>
                    </a:lnTo>
                    <a:close/>
                    <a:moveTo>
                      <a:pt x="8" y="2"/>
                    </a:moveTo>
                    <a:lnTo>
                      <a:pt x="8" y="2"/>
                    </a:lnTo>
                    <a:lnTo>
                      <a:pt x="8" y="2"/>
                    </a:lnTo>
                    <a:lnTo>
                      <a:pt x="8" y="2"/>
                    </a:lnTo>
                    <a:lnTo>
                      <a:pt x="8" y="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7" name="Freeform 127"/>
              <p:cNvSpPr>
                <a:spLocks/>
              </p:cNvSpPr>
              <p:nvPr/>
            </p:nvSpPr>
            <p:spPr bwMode="auto">
              <a:xfrm>
                <a:off x="875081" y="2979047"/>
                <a:ext cx="466290" cy="431878"/>
              </a:xfrm>
              <a:custGeom>
                <a:avLst/>
                <a:gdLst>
                  <a:gd name="T0" fmla="*/ 229 w 271"/>
                  <a:gd name="T1" fmla="*/ 80 h 251"/>
                  <a:gd name="T2" fmla="*/ 235 w 271"/>
                  <a:gd name="T3" fmla="*/ 96 h 251"/>
                  <a:gd name="T4" fmla="*/ 241 w 271"/>
                  <a:gd name="T5" fmla="*/ 105 h 251"/>
                  <a:gd name="T6" fmla="*/ 248 w 271"/>
                  <a:gd name="T7" fmla="*/ 109 h 251"/>
                  <a:gd name="T8" fmla="*/ 248 w 271"/>
                  <a:gd name="T9" fmla="*/ 121 h 251"/>
                  <a:gd name="T10" fmla="*/ 262 w 271"/>
                  <a:gd name="T11" fmla="*/ 136 h 251"/>
                  <a:gd name="T12" fmla="*/ 262 w 271"/>
                  <a:gd name="T13" fmla="*/ 149 h 251"/>
                  <a:gd name="T14" fmla="*/ 267 w 271"/>
                  <a:gd name="T15" fmla="*/ 165 h 251"/>
                  <a:gd name="T16" fmla="*/ 262 w 271"/>
                  <a:gd name="T17" fmla="*/ 176 h 251"/>
                  <a:gd name="T18" fmla="*/ 252 w 271"/>
                  <a:gd name="T19" fmla="*/ 182 h 251"/>
                  <a:gd name="T20" fmla="*/ 225 w 271"/>
                  <a:gd name="T21" fmla="*/ 188 h 251"/>
                  <a:gd name="T22" fmla="*/ 198 w 271"/>
                  <a:gd name="T23" fmla="*/ 194 h 251"/>
                  <a:gd name="T24" fmla="*/ 177 w 271"/>
                  <a:gd name="T25" fmla="*/ 207 h 251"/>
                  <a:gd name="T26" fmla="*/ 164 w 271"/>
                  <a:gd name="T27" fmla="*/ 203 h 251"/>
                  <a:gd name="T28" fmla="*/ 162 w 271"/>
                  <a:gd name="T29" fmla="*/ 211 h 251"/>
                  <a:gd name="T30" fmla="*/ 152 w 271"/>
                  <a:gd name="T31" fmla="*/ 246 h 251"/>
                  <a:gd name="T32" fmla="*/ 125 w 271"/>
                  <a:gd name="T33" fmla="*/ 244 h 251"/>
                  <a:gd name="T34" fmla="*/ 127 w 271"/>
                  <a:gd name="T35" fmla="*/ 226 h 251"/>
                  <a:gd name="T36" fmla="*/ 129 w 271"/>
                  <a:gd name="T37" fmla="*/ 215 h 251"/>
                  <a:gd name="T38" fmla="*/ 125 w 271"/>
                  <a:gd name="T39" fmla="*/ 199 h 251"/>
                  <a:gd name="T40" fmla="*/ 114 w 271"/>
                  <a:gd name="T41" fmla="*/ 188 h 251"/>
                  <a:gd name="T42" fmla="*/ 104 w 271"/>
                  <a:gd name="T43" fmla="*/ 173 h 251"/>
                  <a:gd name="T44" fmla="*/ 94 w 271"/>
                  <a:gd name="T45" fmla="*/ 169 h 251"/>
                  <a:gd name="T46" fmla="*/ 87 w 271"/>
                  <a:gd name="T47" fmla="*/ 169 h 251"/>
                  <a:gd name="T48" fmla="*/ 79 w 271"/>
                  <a:gd name="T49" fmla="*/ 149 h 251"/>
                  <a:gd name="T50" fmla="*/ 64 w 271"/>
                  <a:gd name="T51" fmla="*/ 153 h 251"/>
                  <a:gd name="T52" fmla="*/ 54 w 271"/>
                  <a:gd name="T53" fmla="*/ 149 h 251"/>
                  <a:gd name="T54" fmla="*/ 62 w 271"/>
                  <a:gd name="T55" fmla="*/ 136 h 251"/>
                  <a:gd name="T56" fmla="*/ 64 w 271"/>
                  <a:gd name="T57" fmla="*/ 124 h 251"/>
                  <a:gd name="T58" fmla="*/ 64 w 271"/>
                  <a:gd name="T59" fmla="*/ 113 h 251"/>
                  <a:gd name="T60" fmla="*/ 60 w 271"/>
                  <a:gd name="T61" fmla="*/ 105 h 251"/>
                  <a:gd name="T62" fmla="*/ 50 w 271"/>
                  <a:gd name="T63" fmla="*/ 105 h 251"/>
                  <a:gd name="T64" fmla="*/ 45 w 271"/>
                  <a:gd name="T65" fmla="*/ 96 h 251"/>
                  <a:gd name="T66" fmla="*/ 31 w 271"/>
                  <a:gd name="T67" fmla="*/ 96 h 251"/>
                  <a:gd name="T68" fmla="*/ 21 w 271"/>
                  <a:gd name="T69" fmla="*/ 88 h 251"/>
                  <a:gd name="T70" fmla="*/ 8 w 271"/>
                  <a:gd name="T71" fmla="*/ 90 h 251"/>
                  <a:gd name="T72" fmla="*/ 4 w 271"/>
                  <a:gd name="T73" fmla="*/ 67 h 251"/>
                  <a:gd name="T74" fmla="*/ 2 w 271"/>
                  <a:gd name="T75" fmla="*/ 44 h 251"/>
                  <a:gd name="T76" fmla="*/ 12 w 271"/>
                  <a:gd name="T77" fmla="*/ 28 h 251"/>
                  <a:gd name="T78" fmla="*/ 25 w 271"/>
                  <a:gd name="T79" fmla="*/ 19 h 251"/>
                  <a:gd name="T80" fmla="*/ 29 w 271"/>
                  <a:gd name="T81" fmla="*/ 9 h 251"/>
                  <a:gd name="T82" fmla="*/ 39 w 271"/>
                  <a:gd name="T83" fmla="*/ 3 h 251"/>
                  <a:gd name="T84" fmla="*/ 52 w 271"/>
                  <a:gd name="T85" fmla="*/ 0 h 251"/>
                  <a:gd name="T86" fmla="*/ 62 w 271"/>
                  <a:gd name="T87" fmla="*/ 9 h 251"/>
                  <a:gd name="T88" fmla="*/ 73 w 271"/>
                  <a:gd name="T89" fmla="*/ 23 h 251"/>
                  <a:gd name="T90" fmla="*/ 85 w 271"/>
                  <a:gd name="T91" fmla="*/ 26 h 251"/>
                  <a:gd name="T92" fmla="*/ 96 w 271"/>
                  <a:gd name="T93" fmla="*/ 23 h 251"/>
                  <a:gd name="T94" fmla="*/ 104 w 271"/>
                  <a:gd name="T95" fmla="*/ 40 h 251"/>
                  <a:gd name="T96" fmla="*/ 112 w 271"/>
                  <a:gd name="T97" fmla="*/ 40 h 251"/>
                  <a:gd name="T98" fmla="*/ 123 w 271"/>
                  <a:gd name="T99" fmla="*/ 40 h 251"/>
                  <a:gd name="T100" fmla="*/ 131 w 271"/>
                  <a:gd name="T101" fmla="*/ 44 h 251"/>
                  <a:gd name="T102" fmla="*/ 144 w 271"/>
                  <a:gd name="T103" fmla="*/ 44 h 251"/>
                  <a:gd name="T104" fmla="*/ 158 w 271"/>
                  <a:gd name="T105" fmla="*/ 40 h 251"/>
                  <a:gd name="T106" fmla="*/ 166 w 271"/>
                  <a:gd name="T107" fmla="*/ 48 h 251"/>
                  <a:gd name="T108" fmla="*/ 175 w 271"/>
                  <a:gd name="T109" fmla="*/ 59 h 251"/>
                  <a:gd name="T110" fmla="*/ 179 w 271"/>
                  <a:gd name="T111" fmla="*/ 63 h 251"/>
                  <a:gd name="T112" fmla="*/ 196 w 271"/>
                  <a:gd name="T113" fmla="*/ 67 h 251"/>
                  <a:gd name="T114" fmla="*/ 204 w 271"/>
                  <a:gd name="T115" fmla="*/ 61 h 251"/>
                  <a:gd name="T116" fmla="*/ 210 w 271"/>
                  <a:gd name="T117" fmla="*/ 65 h 251"/>
                  <a:gd name="T118" fmla="*/ 221 w 271"/>
                  <a:gd name="T119" fmla="*/ 6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71" h="251">
                    <a:moveTo>
                      <a:pt x="223" y="67"/>
                    </a:moveTo>
                    <a:lnTo>
                      <a:pt x="223" y="69"/>
                    </a:lnTo>
                    <a:lnTo>
                      <a:pt x="219" y="73"/>
                    </a:lnTo>
                    <a:lnTo>
                      <a:pt x="219" y="74"/>
                    </a:lnTo>
                    <a:lnTo>
                      <a:pt x="221" y="74"/>
                    </a:lnTo>
                    <a:lnTo>
                      <a:pt x="223" y="74"/>
                    </a:lnTo>
                    <a:lnTo>
                      <a:pt x="223" y="76"/>
                    </a:lnTo>
                    <a:lnTo>
                      <a:pt x="225" y="76"/>
                    </a:lnTo>
                    <a:lnTo>
                      <a:pt x="225" y="78"/>
                    </a:lnTo>
                    <a:lnTo>
                      <a:pt x="225" y="80"/>
                    </a:lnTo>
                    <a:lnTo>
                      <a:pt x="227" y="80"/>
                    </a:lnTo>
                    <a:lnTo>
                      <a:pt x="229" y="80"/>
                    </a:lnTo>
                    <a:lnTo>
                      <a:pt x="227" y="86"/>
                    </a:lnTo>
                    <a:lnTo>
                      <a:pt x="227" y="88"/>
                    </a:lnTo>
                    <a:lnTo>
                      <a:pt x="229" y="88"/>
                    </a:lnTo>
                    <a:lnTo>
                      <a:pt x="229" y="90"/>
                    </a:lnTo>
                    <a:lnTo>
                      <a:pt x="229" y="96"/>
                    </a:lnTo>
                    <a:lnTo>
                      <a:pt x="227" y="98"/>
                    </a:lnTo>
                    <a:lnTo>
                      <a:pt x="229" y="99"/>
                    </a:lnTo>
                    <a:lnTo>
                      <a:pt x="229" y="98"/>
                    </a:lnTo>
                    <a:lnTo>
                      <a:pt x="229" y="96"/>
                    </a:lnTo>
                    <a:lnTo>
                      <a:pt x="231" y="96"/>
                    </a:lnTo>
                    <a:lnTo>
                      <a:pt x="233" y="94"/>
                    </a:lnTo>
                    <a:lnTo>
                      <a:pt x="235" y="96"/>
                    </a:lnTo>
                    <a:lnTo>
                      <a:pt x="237" y="96"/>
                    </a:lnTo>
                    <a:lnTo>
                      <a:pt x="237" y="98"/>
                    </a:lnTo>
                    <a:lnTo>
                      <a:pt x="239" y="98"/>
                    </a:lnTo>
                    <a:lnTo>
                      <a:pt x="239" y="99"/>
                    </a:lnTo>
                    <a:lnTo>
                      <a:pt x="239" y="98"/>
                    </a:lnTo>
                    <a:lnTo>
                      <a:pt x="242" y="99"/>
                    </a:lnTo>
                    <a:lnTo>
                      <a:pt x="242" y="101"/>
                    </a:lnTo>
                    <a:lnTo>
                      <a:pt x="244" y="103"/>
                    </a:lnTo>
                    <a:lnTo>
                      <a:pt x="242" y="103"/>
                    </a:lnTo>
                    <a:lnTo>
                      <a:pt x="241" y="105"/>
                    </a:lnTo>
                    <a:lnTo>
                      <a:pt x="242" y="105"/>
                    </a:lnTo>
                    <a:lnTo>
                      <a:pt x="241" y="105"/>
                    </a:lnTo>
                    <a:lnTo>
                      <a:pt x="239" y="107"/>
                    </a:lnTo>
                    <a:lnTo>
                      <a:pt x="241" y="107"/>
                    </a:lnTo>
                    <a:lnTo>
                      <a:pt x="242" y="107"/>
                    </a:lnTo>
                    <a:lnTo>
                      <a:pt x="244" y="107"/>
                    </a:lnTo>
                    <a:lnTo>
                      <a:pt x="242" y="109"/>
                    </a:lnTo>
                    <a:lnTo>
                      <a:pt x="244" y="111"/>
                    </a:lnTo>
                    <a:lnTo>
                      <a:pt x="242" y="111"/>
                    </a:lnTo>
                    <a:lnTo>
                      <a:pt x="242" y="113"/>
                    </a:lnTo>
                    <a:lnTo>
                      <a:pt x="244" y="113"/>
                    </a:lnTo>
                    <a:lnTo>
                      <a:pt x="246" y="111"/>
                    </a:lnTo>
                    <a:lnTo>
                      <a:pt x="246" y="109"/>
                    </a:lnTo>
                    <a:lnTo>
                      <a:pt x="248" y="109"/>
                    </a:lnTo>
                    <a:lnTo>
                      <a:pt x="248" y="111"/>
                    </a:lnTo>
                    <a:lnTo>
                      <a:pt x="248" y="109"/>
                    </a:lnTo>
                    <a:lnTo>
                      <a:pt x="248" y="111"/>
                    </a:lnTo>
                    <a:lnTo>
                      <a:pt x="248" y="113"/>
                    </a:lnTo>
                    <a:lnTo>
                      <a:pt x="248" y="115"/>
                    </a:lnTo>
                    <a:lnTo>
                      <a:pt x="248" y="117"/>
                    </a:lnTo>
                    <a:lnTo>
                      <a:pt x="248" y="119"/>
                    </a:lnTo>
                    <a:lnTo>
                      <a:pt x="246" y="119"/>
                    </a:lnTo>
                    <a:lnTo>
                      <a:pt x="246" y="121"/>
                    </a:lnTo>
                    <a:lnTo>
                      <a:pt x="246" y="123"/>
                    </a:lnTo>
                    <a:lnTo>
                      <a:pt x="246" y="121"/>
                    </a:lnTo>
                    <a:lnTo>
                      <a:pt x="248" y="121"/>
                    </a:lnTo>
                    <a:lnTo>
                      <a:pt x="250" y="121"/>
                    </a:lnTo>
                    <a:lnTo>
                      <a:pt x="250" y="123"/>
                    </a:lnTo>
                    <a:lnTo>
                      <a:pt x="250" y="124"/>
                    </a:lnTo>
                    <a:lnTo>
                      <a:pt x="248" y="126"/>
                    </a:lnTo>
                    <a:lnTo>
                      <a:pt x="248" y="128"/>
                    </a:lnTo>
                    <a:lnTo>
                      <a:pt x="250" y="128"/>
                    </a:lnTo>
                    <a:lnTo>
                      <a:pt x="256" y="130"/>
                    </a:lnTo>
                    <a:lnTo>
                      <a:pt x="258" y="130"/>
                    </a:lnTo>
                    <a:lnTo>
                      <a:pt x="256" y="134"/>
                    </a:lnTo>
                    <a:lnTo>
                      <a:pt x="260" y="134"/>
                    </a:lnTo>
                    <a:lnTo>
                      <a:pt x="260" y="136"/>
                    </a:lnTo>
                    <a:lnTo>
                      <a:pt x="262" y="136"/>
                    </a:lnTo>
                    <a:lnTo>
                      <a:pt x="260" y="140"/>
                    </a:lnTo>
                    <a:lnTo>
                      <a:pt x="258" y="138"/>
                    </a:lnTo>
                    <a:lnTo>
                      <a:pt x="256" y="142"/>
                    </a:lnTo>
                    <a:lnTo>
                      <a:pt x="256" y="144"/>
                    </a:lnTo>
                    <a:lnTo>
                      <a:pt x="256" y="142"/>
                    </a:lnTo>
                    <a:lnTo>
                      <a:pt x="258" y="142"/>
                    </a:lnTo>
                    <a:lnTo>
                      <a:pt x="258" y="144"/>
                    </a:lnTo>
                    <a:lnTo>
                      <a:pt x="260" y="146"/>
                    </a:lnTo>
                    <a:lnTo>
                      <a:pt x="262" y="144"/>
                    </a:lnTo>
                    <a:lnTo>
                      <a:pt x="264" y="144"/>
                    </a:lnTo>
                    <a:lnTo>
                      <a:pt x="262" y="148"/>
                    </a:lnTo>
                    <a:lnTo>
                      <a:pt x="262" y="149"/>
                    </a:lnTo>
                    <a:lnTo>
                      <a:pt x="262" y="148"/>
                    </a:lnTo>
                    <a:lnTo>
                      <a:pt x="264" y="148"/>
                    </a:lnTo>
                    <a:lnTo>
                      <a:pt x="264" y="149"/>
                    </a:lnTo>
                    <a:lnTo>
                      <a:pt x="267" y="149"/>
                    </a:lnTo>
                    <a:lnTo>
                      <a:pt x="265" y="151"/>
                    </a:lnTo>
                    <a:lnTo>
                      <a:pt x="267" y="153"/>
                    </a:lnTo>
                    <a:lnTo>
                      <a:pt x="269" y="153"/>
                    </a:lnTo>
                    <a:lnTo>
                      <a:pt x="269" y="155"/>
                    </a:lnTo>
                    <a:lnTo>
                      <a:pt x="271" y="157"/>
                    </a:lnTo>
                    <a:lnTo>
                      <a:pt x="269" y="157"/>
                    </a:lnTo>
                    <a:lnTo>
                      <a:pt x="267" y="163"/>
                    </a:lnTo>
                    <a:lnTo>
                      <a:pt x="267" y="165"/>
                    </a:lnTo>
                    <a:lnTo>
                      <a:pt x="267" y="167"/>
                    </a:lnTo>
                    <a:lnTo>
                      <a:pt x="265" y="171"/>
                    </a:lnTo>
                    <a:lnTo>
                      <a:pt x="265" y="173"/>
                    </a:lnTo>
                    <a:lnTo>
                      <a:pt x="265" y="174"/>
                    </a:lnTo>
                    <a:lnTo>
                      <a:pt x="265" y="176"/>
                    </a:lnTo>
                    <a:lnTo>
                      <a:pt x="264" y="180"/>
                    </a:lnTo>
                    <a:lnTo>
                      <a:pt x="262" y="178"/>
                    </a:lnTo>
                    <a:lnTo>
                      <a:pt x="262" y="180"/>
                    </a:lnTo>
                    <a:lnTo>
                      <a:pt x="260" y="178"/>
                    </a:lnTo>
                    <a:lnTo>
                      <a:pt x="262" y="176"/>
                    </a:lnTo>
                    <a:lnTo>
                      <a:pt x="262" y="178"/>
                    </a:lnTo>
                    <a:lnTo>
                      <a:pt x="262" y="176"/>
                    </a:lnTo>
                    <a:lnTo>
                      <a:pt x="262" y="178"/>
                    </a:lnTo>
                    <a:lnTo>
                      <a:pt x="262" y="176"/>
                    </a:lnTo>
                    <a:lnTo>
                      <a:pt x="262" y="178"/>
                    </a:lnTo>
                    <a:lnTo>
                      <a:pt x="262" y="176"/>
                    </a:lnTo>
                    <a:lnTo>
                      <a:pt x="260" y="174"/>
                    </a:lnTo>
                    <a:lnTo>
                      <a:pt x="260" y="173"/>
                    </a:lnTo>
                    <a:lnTo>
                      <a:pt x="258" y="173"/>
                    </a:lnTo>
                    <a:lnTo>
                      <a:pt x="256" y="176"/>
                    </a:lnTo>
                    <a:lnTo>
                      <a:pt x="256" y="174"/>
                    </a:lnTo>
                    <a:lnTo>
                      <a:pt x="254" y="174"/>
                    </a:lnTo>
                    <a:lnTo>
                      <a:pt x="252" y="180"/>
                    </a:lnTo>
                    <a:lnTo>
                      <a:pt x="252" y="182"/>
                    </a:lnTo>
                    <a:lnTo>
                      <a:pt x="250" y="182"/>
                    </a:lnTo>
                    <a:lnTo>
                      <a:pt x="248" y="184"/>
                    </a:lnTo>
                    <a:lnTo>
                      <a:pt x="244" y="182"/>
                    </a:lnTo>
                    <a:lnTo>
                      <a:pt x="244" y="184"/>
                    </a:lnTo>
                    <a:lnTo>
                      <a:pt x="242" y="184"/>
                    </a:lnTo>
                    <a:lnTo>
                      <a:pt x="242" y="186"/>
                    </a:lnTo>
                    <a:lnTo>
                      <a:pt x="242" y="188"/>
                    </a:lnTo>
                    <a:lnTo>
                      <a:pt x="239" y="190"/>
                    </a:lnTo>
                    <a:lnTo>
                      <a:pt x="235" y="190"/>
                    </a:lnTo>
                    <a:lnTo>
                      <a:pt x="229" y="188"/>
                    </a:lnTo>
                    <a:lnTo>
                      <a:pt x="227" y="188"/>
                    </a:lnTo>
                    <a:lnTo>
                      <a:pt x="225" y="188"/>
                    </a:lnTo>
                    <a:lnTo>
                      <a:pt x="223" y="190"/>
                    </a:lnTo>
                    <a:lnTo>
                      <a:pt x="221" y="190"/>
                    </a:lnTo>
                    <a:lnTo>
                      <a:pt x="216" y="194"/>
                    </a:lnTo>
                    <a:lnTo>
                      <a:pt x="208" y="190"/>
                    </a:lnTo>
                    <a:lnTo>
                      <a:pt x="206" y="190"/>
                    </a:lnTo>
                    <a:lnTo>
                      <a:pt x="206" y="188"/>
                    </a:lnTo>
                    <a:lnTo>
                      <a:pt x="204" y="188"/>
                    </a:lnTo>
                    <a:lnTo>
                      <a:pt x="202" y="188"/>
                    </a:lnTo>
                    <a:lnTo>
                      <a:pt x="202" y="190"/>
                    </a:lnTo>
                    <a:lnTo>
                      <a:pt x="200" y="192"/>
                    </a:lnTo>
                    <a:lnTo>
                      <a:pt x="198" y="192"/>
                    </a:lnTo>
                    <a:lnTo>
                      <a:pt x="198" y="194"/>
                    </a:lnTo>
                    <a:lnTo>
                      <a:pt x="198" y="196"/>
                    </a:lnTo>
                    <a:lnTo>
                      <a:pt x="198" y="198"/>
                    </a:lnTo>
                    <a:lnTo>
                      <a:pt x="198" y="199"/>
                    </a:lnTo>
                    <a:lnTo>
                      <a:pt x="198" y="201"/>
                    </a:lnTo>
                    <a:lnTo>
                      <a:pt x="198" y="203"/>
                    </a:lnTo>
                    <a:lnTo>
                      <a:pt x="196" y="203"/>
                    </a:lnTo>
                    <a:lnTo>
                      <a:pt x="191" y="203"/>
                    </a:lnTo>
                    <a:lnTo>
                      <a:pt x="189" y="203"/>
                    </a:lnTo>
                    <a:lnTo>
                      <a:pt x="187" y="203"/>
                    </a:lnTo>
                    <a:lnTo>
                      <a:pt x="185" y="203"/>
                    </a:lnTo>
                    <a:lnTo>
                      <a:pt x="181" y="205"/>
                    </a:lnTo>
                    <a:lnTo>
                      <a:pt x="177" y="207"/>
                    </a:lnTo>
                    <a:lnTo>
                      <a:pt x="175" y="207"/>
                    </a:lnTo>
                    <a:lnTo>
                      <a:pt x="171" y="209"/>
                    </a:lnTo>
                    <a:lnTo>
                      <a:pt x="169" y="209"/>
                    </a:lnTo>
                    <a:lnTo>
                      <a:pt x="168" y="209"/>
                    </a:lnTo>
                    <a:lnTo>
                      <a:pt x="168" y="207"/>
                    </a:lnTo>
                    <a:lnTo>
                      <a:pt x="166" y="207"/>
                    </a:lnTo>
                    <a:lnTo>
                      <a:pt x="166" y="205"/>
                    </a:lnTo>
                    <a:lnTo>
                      <a:pt x="164" y="205"/>
                    </a:lnTo>
                    <a:lnTo>
                      <a:pt x="166" y="205"/>
                    </a:lnTo>
                    <a:lnTo>
                      <a:pt x="164" y="205"/>
                    </a:lnTo>
                    <a:lnTo>
                      <a:pt x="166" y="205"/>
                    </a:lnTo>
                    <a:lnTo>
                      <a:pt x="164" y="203"/>
                    </a:lnTo>
                    <a:lnTo>
                      <a:pt x="166" y="203"/>
                    </a:lnTo>
                    <a:lnTo>
                      <a:pt x="164" y="203"/>
                    </a:lnTo>
                    <a:lnTo>
                      <a:pt x="164" y="201"/>
                    </a:lnTo>
                    <a:lnTo>
                      <a:pt x="162" y="203"/>
                    </a:lnTo>
                    <a:lnTo>
                      <a:pt x="162" y="205"/>
                    </a:lnTo>
                    <a:lnTo>
                      <a:pt x="164" y="205"/>
                    </a:lnTo>
                    <a:lnTo>
                      <a:pt x="164" y="207"/>
                    </a:lnTo>
                    <a:lnTo>
                      <a:pt x="162" y="207"/>
                    </a:lnTo>
                    <a:lnTo>
                      <a:pt x="164" y="207"/>
                    </a:lnTo>
                    <a:lnTo>
                      <a:pt x="162" y="207"/>
                    </a:lnTo>
                    <a:lnTo>
                      <a:pt x="162" y="209"/>
                    </a:lnTo>
                    <a:lnTo>
                      <a:pt x="162" y="211"/>
                    </a:lnTo>
                    <a:lnTo>
                      <a:pt x="160" y="215"/>
                    </a:lnTo>
                    <a:lnTo>
                      <a:pt x="158" y="223"/>
                    </a:lnTo>
                    <a:lnTo>
                      <a:pt x="156" y="228"/>
                    </a:lnTo>
                    <a:lnTo>
                      <a:pt x="156" y="230"/>
                    </a:lnTo>
                    <a:lnTo>
                      <a:pt x="156" y="232"/>
                    </a:lnTo>
                    <a:lnTo>
                      <a:pt x="156" y="234"/>
                    </a:lnTo>
                    <a:lnTo>
                      <a:pt x="154" y="236"/>
                    </a:lnTo>
                    <a:lnTo>
                      <a:pt x="150" y="240"/>
                    </a:lnTo>
                    <a:lnTo>
                      <a:pt x="152" y="240"/>
                    </a:lnTo>
                    <a:lnTo>
                      <a:pt x="154" y="242"/>
                    </a:lnTo>
                    <a:lnTo>
                      <a:pt x="152" y="244"/>
                    </a:lnTo>
                    <a:lnTo>
                      <a:pt x="152" y="246"/>
                    </a:lnTo>
                    <a:lnTo>
                      <a:pt x="154" y="246"/>
                    </a:lnTo>
                    <a:lnTo>
                      <a:pt x="144" y="249"/>
                    </a:lnTo>
                    <a:lnTo>
                      <a:pt x="141" y="249"/>
                    </a:lnTo>
                    <a:lnTo>
                      <a:pt x="133" y="249"/>
                    </a:lnTo>
                    <a:lnTo>
                      <a:pt x="131" y="251"/>
                    </a:lnTo>
                    <a:lnTo>
                      <a:pt x="131" y="249"/>
                    </a:lnTo>
                    <a:lnTo>
                      <a:pt x="129" y="249"/>
                    </a:lnTo>
                    <a:lnTo>
                      <a:pt x="129" y="248"/>
                    </a:lnTo>
                    <a:lnTo>
                      <a:pt x="129" y="246"/>
                    </a:lnTo>
                    <a:lnTo>
                      <a:pt x="127" y="246"/>
                    </a:lnTo>
                    <a:lnTo>
                      <a:pt x="127" y="244"/>
                    </a:lnTo>
                    <a:lnTo>
                      <a:pt x="125" y="244"/>
                    </a:lnTo>
                    <a:lnTo>
                      <a:pt x="127" y="244"/>
                    </a:lnTo>
                    <a:lnTo>
                      <a:pt x="127" y="242"/>
                    </a:lnTo>
                    <a:lnTo>
                      <a:pt x="127" y="240"/>
                    </a:lnTo>
                    <a:lnTo>
                      <a:pt x="127" y="238"/>
                    </a:lnTo>
                    <a:lnTo>
                      <a:pt x="127" y="236"/>
                    </a:lnTo>
                    <a:lnTo>
                      <a:pt x="127" y="234"/>
                    </a:lnTo>
                    <a:lnTo>
                      <a:pt x="127" y="232"/>
                    </a:lnTo>
                    <a:lnTo>
                      <a:pt x="129" y="232"/>
                    </a:lnTo>
                    <a:lnTo>
                      <a:pt x="129" y="230"/>
                    </a:lnTo>
                    <a:lnTo>
                      <a:pt x="129" y="228"/>
                    </a:lnTo>
                    <a:lnTo>
                      <a:pt x="129" y="226"/>
                    </a:lnTo>
                    <a:lnTo>
                      <a:pt x="127" y="226"/>
                    </a:lnTo>
                    <a:lnTo>
                      <a:pt x="129" y="226"/>
                    </a:lnTo>
                    <a:lnTo>
                      <a:pt x="129" y="224"/>
                    </a:lnTo>
                    <a:lnTo>
                      <a:pt x="127" y="224"/>
                    </a:lnTo>
                    <a:lnTo>
                      <a:pt x="127" y="223"/>
                    </a:lnTo>
                    <a:lnTo>
                      <a:pt x="129" y="223"/>
                    </a:lnTo>
                    <a:lnTo>
                      <a:pt x="129" y="221"/>
                    </a:lnTo>
                    <a:lnTo>
                      <a:pt x="127" y="221"/>
                    </a:lnTo>
                    <a:lnTo>
                      <a:pt x="129" y="221"/>
                    </a:lnTo>
                    <a:lnTo>
                      <a:pt x="127" y="219"/>
                    </a:lnTo>
                    <a:lnTo>
                      <a:pt x="129" y="219"/>
                    </a:lnTo>
                    <a:lnTo>
                      <a:pt x="129" y="217"/>
                    </a:lnTo>
                    <a:lnTo>
                      <a:pt x="129" y="215"/>
                    </a:lnTo>
                    <a:lnTo>
                      <a:pt x="127" y="215"/>
                    </a:lnTo>
                    <a:lnTo>
                      <a:pt x="127" y="213"/>
                    </a:lnTo>
                    <a:lnTo>
                      <a:pt x="127" y="211"/>
                    </a:lnTo>
                    <a:lnTo>
                      <a:pt x="127" y="209"/>
                    </a:lnTo>
                    <a:lnTo>
                      <a:pt x="127" y="207"/>
                    </a:lnTo>
                    <a:lnTo>
                      <a:pt x="125" y="207"/>
                    </a:lnTo>
                    <a:lnTo>
                      <a:pt x="125" y="205"/>
                    </a:lnTo>
                    <a:lnTo>
                      <a:pt x="127" y="205"/>
                    </a:lnTo>
                    <a:lnTo>
                      <a:pt x="127" y="203"/>
                    </a:lnTo>
                    <a:lnTo>
                      <a:pt x="125" y="203"/>
                    </a:lnTo>
                    <a:lnTo>
                      <a:pt x="125" y="201"/>
                    </a:lnTo>
                    <a:lnTo>
                      <a:pt x="125" y="199"/>
                    </a:lnTo>
                    <a:lnTo>
                      <a:pt x="125" y="198"/>
                    </a:lnTo>
                    <a:lnTo>
                      <a:pt x="123" y="196"/>
                    </a:lnTo>
                    <a:lnTo>
                      <a:pt x="121" y="198"/>
                    </a:lnTo>
                    <a:lnTo>
                      <a:pt x="119" y="198"/>
                    </a:lnTo>
                    <a:lnTo>
                      <a:pt x="118" y="199"/>
                    </a:lnTo>
                    <a:lnTo>
                      <a:pt x="116" y="199"/>
                    </a:lnTo>
                    <a:lnTo>
                      <a:pt x="112" y="196"/>
                    </a:lnTo>
                    <a:lnTo>
                      <a:pt x="112" y="198"/>
                    </a:lnTo>
                    <a:lnTo>
                      <a:pt x="110" y="196"/>
                    </a:lnTo>
                    <a:lnTo>
                      <a:pt x="112" y="192"/>
                    </a:lnTo>
                    <a:lnTo>
                      <a:pt x="110" y="192"/>
                    </a:lnTo>
                    <a:lnTo>
                      <a:pt x="114" y="188"/>
                    </a:lnTo>
                    <a:lnTo>
                      <a:pt x="108" y="184"/>
                    </a:lnTo>
                    <a:lnTo>
                      <a:pt x="108" y="186"/>
                    </a:lnTo>
                    <a:lnTo>
                      <a:pt x="104" y="184"/>
                    </a:lnTo>
                    <a:lnTo>
                      <a:pt x="104" y="182"/>
                    </a:lnTo>
                    <a:lnTo>
                      <a:pt x="104" y="180"/>
                    </a:lnTo>
                    <a:lnTo>
                      <a:pt x="102" y="180"/>
                    </a:lnTo>
                    <a:lnTo>
                      <a:pt x="104" y="178"/>
                    </a:lnTo>
                    <a:lnTo>
                      <a:pt x="104" y="176"/>
                    </a:lnTo>
                    <a:lnTo>
                      <a:pt x="102" y="176"/>
                    </a:lnTo>
                    <a:lnTo>
                      <a:pt x="104" y="174"/>
                    </a:lnTo>
                    <a:lnTo>
                      <a:pt x="106" y="173"/>
                    </a:lnTo>
                    <a:lnTo>
                      <a:pt x="104" y="173"/>
                    </a:lnTo>
                    <a:lnTo>
                      <a:pt x="102" y="171"/>
                    </a:lnTo>
                    <a:lnTo>
                      <a:pt x="104" y="171"/>
                    </a:lnTo>
                    <a:lnTo>
                      <a:pt x="104" y="169"/>
                    </a:lnTo>
                    <a:lnTo>
                      <a:pt x="104" y="167"/>
                    </a:lnTo>
                    <a:lnTo>
                      <a:pt x="102" y="167"/>
                    </a:lnTo>
                    <a:lnTo>
                      <a:pt x="102" y="169"/>
                    </a:lnTo>
                    <a:lnTo>
                      <a:pt x="102" y="167"/>
                    </a:lnTo>
                    <a:lnTo>
                      <a:pt x="100" y="167"/>
                    </a:lnTo>
                    <a:lnTo>
                      <a:pt x="100" y="165"/>
                    </a:lnTo>
                    <a:lnTo>
                      <a:pt x="98" y="165"/>
                    </a:lnTo>
                    <a:lnTo>
                      <a:pt x="96" y="169"/>
                    </a:lnTo>
                    <a:lnTo>
                      <a:pt x="94" y="169"/>
                    </a:lnTo>
                    <a:lnTo>
                      <a:pt x="94" y="167"/>
                    </a:lnTo>
                    <a:lnTo>
                      <a:pt x="93" y="167"/>
                    </a:lnTo>
                    <a:lnTo>
                      <a:pt x="93" y="169"/>
                    </a:lnTo>
                    <a:lnTo>
                      <a:pt x="91" y="169"/>
                    </a:lnTo>
                    <a:lnTo>
                      <a:pt x="91" y="171"/>
                    </a:lnTo>
                    <a:lnTo>
                      <a:pt x="91" y="173"/>
                    </a:lnTo>
                    <a:lnTo>
                      <a:pt x="91" y="171"/>
                    </a:lnTo>
                    <a:lnTo>
                      <a:pt x="91" y="173"/>
                    </a:lnTo>
                    <a:lnTo>
                      <a:pt x="93" y="173"/>
                    </a:lnTo>
                    <a:lnTo>
                      <a:pt x="91" y="173"/>
                    </a:lnTo>
                    <a:lnTo>
                      <a:pt x="89" y="171"/>
                    </a:lnTo>
                    <a:lnTo>
                      <a:pt x="87" y="169"/>
                    </a:lnTo>
                    <a:lnTo>
                      <a:pt x="85" y="167"/>
                    </a:lnTo>
                    <a:lnTo>
                      <a:pt x="83" y="171"/>
                    </a:lnTo>
                    <a:lnTo>
                      <a:pt x="77" y="167"/>
                    </a:lnTo>
                    <a:lnTo>
                      <a:pt x="79" y="161"/>
                    </a:lnTo>
                    <a:lnTo>
                      <a:pt x="81" y="161"/>
                    </a:lnTo>
                    <a:lnTo>
                      <a:pt x="83" y="159"/>
                    </a:lnTo>
                    <a:lnTo>
                      <a:pt x="81" y="157"/>
                    </a:lnTo>
                    <a:lnTo>
                      <a:pt x="81" y="155"/>
                    </a:lnTo>
                    <a:lnTo>
                      <a:pt x="79" y="155"/>
                    </a:lnTo>
                    <a:lnTo>
                      <a:pt x="79" y="153"/>
                    </a:lnTo>
                    <a:lnTo>
                      <a:pt x="79" y="151"/>
                    </a:lnTo>
                    <a:lnTo>
                      <a:pt x="79" y="149"/>
                    </a:lnTo>
                    <a:lnTo>
                      <a:pt x="79" y="148"/>
                    </a:lnTo>
                    <a:lnTo>
                      <a:pt x="75" y="148"/>
                    </a:lnTo>
                    <a:lnTo>
                      <a:pt x="73" y="148"/>
                    </a:lnTo>
                    <a:lnTo>
                      <a:pt x="71" y="148"/>
                    </a:lnTo>
                    <a:lnTo>
                      <a:pt x="70" y="149"/>
                    </a:lnTo>
                    <a:lnTo>
                      <a:pt x="70" y="151"/>
                    </a:lnTo>
                    <a:lnTo>
                      <a:pt x="68" y="155"/>
                    </a:lnTo>
                    <a:lnTo>
                      <a:pt x="68" y="157"/>
                    </a:lnTo>
                    <a:lnTo>
                      <a:pt x="66" y="157"/>
                    </a:lnTo>
                    <a:lnTo>
                      <a:pt x="66" y="155"/>
                    </a:lnTo>
                    <a:lnTo>
                      <a:pt x="64" y="155"/>
                    </a:lnTo>
                    <a:lnTo>
                      <a:pt x="64" y="153"/>
                    </a:lnTo>
                    <a:lnTo>
                      <a:pt x="62" y="153"/>
                    </a:lnTo>
                    <a:lnTo>
                      <a:pt x="62" y="155"/>
                    </a:lnTo>
                    <a:lnTo>
                      <a:pt x="60" y="155"/>
                    </a:lnTo>
                    <a:lnTo>
                      <a:pt x="60" y="153"/>
                    </a:lnTo>
                    <a:lnTo>
                      <a:pt x="62" y="151"/>
                    </a:lnTo>
                    <a:lnTo>
                      <a:pt x="60" y="151"/>
                    </a:lnTo>
                    <a:lnTo>
                      <a:pt x="58" y="149"/>
                    </a:lnTo>
                    <a:lnTo>
                      <a:pt x="60" y="149"/>
                    </a:lnTo>
                    <a:lnTo>
                      <a:pt x="58" y="149"/>
                    </a:lnTo>
                    <a:lnTo>
                      <a:pt x="58" y="151"/>
                    </a:lnTo>
                    <a:lnTo>
                      <a:pt x="56" y="149"/>
                    </a:lnTo>
                    <a:lnTo>
                      <a:pt x="54" y="149"/>
                    </a:lnTo>
                    <a:lnTo>
                      <a:pt x="50" y="148"/>
                    </a:lnTo>
                    <a:lnTo>
                      <a:pt x="52" y="148"/>
                    </a:lnTo>
                    <a:lnTo>
                      <a:pt x="52" y="146"/>
                    </a:lnTo>
                    <a:lnTo>
                      <a:pt x="54" y="144"/>
                    </a:lnTo>
                    <a:lnTo>
                      <a:pt x="56" y="142"/>
                    </a:lnTo>
                    <a:lnTo>
                      <a:pt x="54" y="142"/>
                    </a:lnTo>
                    <a:lnTo>
                      <a:pt x="54" y="140"/>
                    </a:lnTo>
                    <a:lnTo>
                      <a:pt x="56" y="140"/>
                    </a:lnTo>
                    <a:lnTo>
                      <a:pt x="58" y="140"/>
                    </a:lnTo>
                    <a:lnTo>
                      <a:pt x="60" y="138"/>
                    </a:lnTo>
                    <a:lnTo>
                      <a:pt x="62" y="138"/>
                    </a:lnTo>
                    <a:lnTo>
                      <a:pt x="62" y="136"/>
                    </a:lnTo>
                    <a:lnTo>
                      <a:pt x="64" y="132"/>
                    </a:lnTo>
                    <a:lnTo>
                      <a:pt x="66" y="132"/>
                    </a:lnTo>
                    <a:lnTo>
                      <a:pt x="64" y="132"/>
                    </a:lnTo>
                    <a:lnTo>
                      <a:pt x="66" y="132"/>
                    </a:lnTo>
                    <a:lnTo>
                      <a:pt x="66" y="130"/>
                    </a:lnTo>
                    <a:lnTo>
                      <a:pt x="66" y="128"/>
                    </a:lnTo>
                    <a:lnTo>
                      <a:pt x="64" y="128"/>
                    </a:lnTo>
                    <a:lnTo>
                      <a:pt x="64" y="126"/>
                    </a:lnTo>
                    <a:lnTo>
                      <a:pt x="64" y="128"/>
                    </a:lnTo>
                    <a:lnTo>
                      <a:pt x="66" y="126"/>
                    </a:lnTo>
                    <a:lnTo>
                      <a:pt x="64" y="126"/>
                    </a:lnTo>
                    <a:lnTo>
                      <a:pt x="64" y="124"/>
                    </a:lnTo>
                    <a:lnTo>
                      <a:pt x="66" y="124"/>
                    </a:lnTo>
                    <a:lnTo>
                      <a:pt x="66" y="123"/>
                    </a:lnTo>
                    <a:lnTo>
                      <a:pt x="66" y="121"/>
                    </a:lnTo>
                    <a:lnTo>
                      <a:pt x="68" y="121"/>
                    </a:lnTo>
                    <a:lnTo>
                      <a:pt x="66" y="121"/>
                    </a:lnTo>
                    <a:lnTo>
                      <a:pt x="66" y="119"/>
                    </a:lnTo>
                    <a:lnTo>
                      <a:pt x="66" y="117"/>
                    </a:lnTo>
                    <a:lnTo>
                      <a:pt x="64" y="117"/>
                    </a:lnTo>
                    <a:lnTo>
                      <a:pt x="64" y="115"/>
                    </a:lnTo>
                    <a:lnTo>
                      <a:pt x="64" y="113"/>
                    </a:lnTo>
                    <a:lnTo>
                      <a:pt x="66" y="113"/>
                    </a:lnTo>
                    <a:lnTo>
                      <a:pt x="64" y="113"/>
                    </a:lnTo>
                    <a:lnTo>
                      <a:pt x="64" y="111"/>
                    </a:lnTo>
                    <a:lnTo>
                      <a:pt x="64" y="109"/>
                    </a:lnTo>
                    <a:lnTo>
                      <a:pt x="62" y="111"/>
                    </a:lnTo>
                    <a:lnTo>
                      <a:pt x="64" y="111"/>
                    </a:lnTo>
                    <a:lnTo>
                      <a:pt x="62" y="111"/>
                    </a:lnTo>
                    <a:lnTo>
                      <a:pt x="60" y="111"/>
                    </a:lnTo>
                    <a:lnTo>
                      <a:pt x="60" y="109"/>
                    </a:lnTo>
                    <a:lnTo>
                      <a:pt x="62" y="107"/>
                    </a:lnTo>
                    <a:lnTo>
                      <a:pt x="60" y="107"/>
                    </a:lnTo>
                    <a:lnTo>
                      <a:pt x="60" y="105"/>
                    </a:lnTo>
                    <a:lnTo>
                      <a:pt x="60" y="107"/>
                    </a:lnTo>
                    <a:lnTo>
                      <a:pt x="60" y="105"/>
                    </a:lnTo>
                    <a:lnTo>
                      <a:pt x="60" y="107"/>
                    </a:lnTo>
                    <a:lnTo>
                      <a:pt x="58" y="107"/>
                    </a:lnTo>
                    <a:lnTo>
                      <a:pt x="58" y="105"/>
                    </a:lnTo>
                    <a:lnTo>
                      <a:pt x="58" y="107"/>
                    </a:lnTo>
                    <a:lnTo>
                      <a:pt x="58" y="105"/>
                    </a:lnTo>
                    <a:lnTo>
                      <a:pt x="58" y="107"/>
                    </a:lnTo>
                    <a:lnTo>
                      <a:pt x="56" y="107"/>
                    </a:lnTo>
                    <a:lnTo>
                      <a:pt x="56" y="105"/>
                    </a:lnTo>
                    <a:lnTo>
                      <a:pt x="54" y="103"/>
                    </a:lnTo>
                    <a:lnTo>
                      <a:pt x="52" y="101"/>
                    </a:lnTo>
                    <a:lnTo>
                      <a:pt x="52" y="103"/>
                    </a:lnTo>
                    <a:lnTo>
                      <a:pt x="50" y="105"/>
                    </a:lnTo>
                    <a:lnTo>
                      <a:pt x="50" y="103"/>
                    </a:lnTo>
                    <a:lnTo>
                      <a:pt x="48" y="103"/>
                    </a:lnTo>
                    <a:lnTo>
                      <a:pt x="50" y="101"/>
                    </a:lnTo>
                    <a:lnTo>
                      <a:pt x="50" y="99"/>
                    </a:lnTo>
                    <a:lnTo>
                      <a:pt x="50" y="98"/>
                    </a:lnTo>
                    <a:lnTo>
                      <a:pt x="48" y="98"/>
                    </a:lnTo>
                    <a:lnTo>
                      <a:pt x="48" y="96"/>
                    </a:lnTo>
                    <a:lnTo>
                      <a:pt x="48" y="98"/>
                    </a:lnTo>
                    <a:lnTo>
                      <a:pt x="46" y="98"/>
                    </a:lnTo>
                    <a:lnTo>
                      <a:pt x="45" y="96"/>
                    </a:lnTo>
                    <a:lnTo>
                      <a:pt x="45" y="98"/>
                    </a:lnTo>
                    <a:lnTo>
                      <a:pt x="45" y="96"/>
                    </a:lnTo>
                    <a:lnTo>
                      <a:pt x="43" y="96"/>
                    </a:lnTo>
                    <a:lnTo>
                      <a:pt x="43" y="94"/>
                    </a:lnTo>
                    <a:lnTo>
                      <a:pt x="41" y="94"/>
                    </a:lnTo>
                    <a:lnTo>
                      <a:pt x="39" y="96"/>
                    </a:lnTo>
                    <a:lnTo>
                      <a:pt x="39" y="98"/>
                    </a:lnTo>
                    <a:lnTo>
                      <a:pt x="37" y="98"/>
                    </a:lnTo>
                    <a:lnTo>
                      <a:pt x="37" y="99"/>
                    </a:lnTo>
                    <a:lnTo>
                      <a:pt x="35" y="98"/>
                    </a:lnTo>
                    <a:lnTo>
                      <a:pt x="35" y="96"/>
                    </a:lnTo>
                    <a:lnTo>
                      <a:pt x="33" y="98"/>
                    </a:lnTo>
                    <a:lnTo>
                      <a:pt x="33" y="96"/>
                    </a:lnTo>
                    <a:lnTo>
                      <a:pt x="31" y="96"/>
                    </a:lnTo>
                    <a:lnTo>
                      <a:pt x="31" y="98"/>
                    </a:lnTo>
                    <a:lnTo>
                      <a:pt x="33" y="94"/>
                    </a:lnTo>
                    <a:lnTo>
                      <a:pt x="33" y="92"/>
                    </a:lnTo>
                    <a:lnTo>
                      <a:pt x="31" y="92"/>
                    </a:lnTo>
                    <a:lnTo>
                      <a:pt x="31" y="90"/>
                    </a:lnTo>
                    <a:lnTo>
                      <a:pt x="29" y="90"/>
                    </a:lnTo>
                    <a:lnTo>
                      <a:pt x="27" y="92"/>
                    </a:lnTo>
                    <a:lnTo>
                      <a:pt x="25" y="92"/>
                    </a:lnTo>
                    <a:lnTo>
                      <a:pt x="25" y="90"/>
                    </a:lnTo>
                    <a:lnTo>
                      <a:pt x="23" y="90"/>
                    </a:lnTo>
                    <a:lnTo>
                      <a:pt x="21" y="90"/>
                    </a:lnTo>
                    <a:lnTo>
                      <a:pt x="21" y="88"/>
                    </a:lnTo>
                    <a:lnTo>
                      <a:pt x="21" y="90"/>
                    </a:lnTo>
                    <a:lnTo>
                      <a:pt x="20" y="90"/>
                    </a:lnTo>
                    <a:lnTo>
                      <a:pt x="21" y="90"/>
                    </a:lnTo>
                    <a:lnTo>
                      <a:pt x="20" y="90"/>
                    </a:lnTo>
                    <a:lnTo>
                      <a:pt x="20" y="92"/>
                    </a:lnTo>
                    <a:lnTo>
                      <a:pt x="18" y="92"/>
                    </a:lnTo>
                    <a:lnTo>
                      <a:pt x="16" y="90"/>
                    </a:lnTo>
                    <a:lnTo>
                      <a:pt x="14" y="90"/>
                    </a:lnTo>
                    <a:lnTo>
                      <a:pt x="10" y="90"/>
                    </a:lnTo>
                    <a:lnTo>
                      <a:pt x="10" y="88"/>
                    </a:lnTo>
                    <a:lnTo>
                      <a:pt x="10" y="90"/>
                    </a:lnTo>
                    <a:lnTo>
                      <a:pt x="8" y="90"/>
                    </a:lnTo>
                    <a:lnTo>
                      <a:pt x="6" y="90"/>
                    </a:lnTo>
                    <a:lnTo>
                      <a:pt x="6" y="88"/>
                    </a:lnTo>
                    <a:lnTo>
                      <a:pt x="6" y="84"/>
                    </a:lnTo>
                    <a:lnTo>
                      <a:pt x="6" y="82"/>
                    </a:lnTo>
                    <a:lnTo>
                      <a:pt x="6" y="80"/>
                    </a:lnTo>
                    <a:lnTo>
                      <a:pt x="4" y="78"/>
                    </a:lnTo>
                    <a:lnTo>
                      <a:pt x="4" y="76"/>
                    </a:lnTo>
                    <a:lnTo>
                      <a:pt x="2" y="74"/>
                    </a:lnTo>
                    <a:lnTo>
                      <a:pt x="2" y="73"/>
                    </a:lnTo>
                    <a:lnTo>
                      <a:pt x="0" y="67"/>
                    </a:lnTo>
                    <a:lnTo>
                      <a:pt x="2" y="67"/>
                    </a:lnTo>
                    <a:lnTo>
                      <a:pt x="4" y="67"/>
                    </a:lnTo>
                    <a:lnTo>
                      <a:pt x="4" y="65"/>
                    </a:lnTo>
                    <a:lnTo>
                      <a:pt x="2" y="65"/>
                    </a:lnTo>
                    <a:lnTo>
                      <a:pt x="2" y="61"/>
                    </a:lnTo>
                    <a:lnTo>
                      <a:pt x="2" y="59"/>
                    </a:lnTo>
                    <a:lnTo>
                      <a:pt x="4" y="59"/>
                    </a:lnTo>
                    <a:lnTo>
                      <a:pt x="4" y="57"/>
                    </a:lnTo>
                    <a:lnTo>
                      <a:pt x="6" y="57"/>
                    </a:lnTo>
                    <a:lnTo>
                      <a:pt x="4" y="55"/>
                    </a:lnTo>
                    <a:lnTo>
                      <a:pt x="4" y="57"/>
                    </a:lnTo>
                    <a:lnTo>
                      <a:pt x="4" y="49"/>
                    </a:lnTo>
                    <a:lnTo>
                      <a:pt x="4" y="48"/>
                    </a:lnTo>
                    <a:lnTo>
                      <a:pt x="2" y="44"/>
                    </a:lnTo>
                    <a:lnTo>
                      <a:pt x="0" y="42"/>
                    </a:lnTo>
                    <a:lnTo>
                      <a:pt x="2" y="42"/>
                    </a:lnTo>
                    <a:lnTo>
                      <a:pt x="2" y="40"/>
                    </a:lnTo>
                    <a:lnTo>
                      <a:pt x="2" y="38"/>
                    </a:lnTo>
                    <a:lnTo>
                      <a:pt x="2" y="36"/>
                    </a:lnTo>
                    <a:lnTo>
                      <a:pt x="4" y="34"/>
                    </a:lnTo>
                    <a:lnTo>
                      <a:pt x="4" y="32"/>
                    </a:lnTo>
                    <a:lnTo>
                      <a:pt x="6" y="32"/>
                    </a:lnTo>
                    <a:lnTo>
                      <a:pt x="6" y="30"/>
                    </a:lnTo>
                    <a:lnTo>
                      <a:pt x="8" y="30"/>
                    </a:lnTo>
                    <a:lnTo>
                      <a:pt x="12" y="30"/>
                    </a:lnTo>
                    <a:lnTo>
                      <a:pt x="12" y="28"/>
                    </a:lnTo>
                    <a:lnTo>
                      <a:pt x="14" y="28"/>
                    </a:lnTo>
                    <a:lnTo>
                      <a:pt x="14" y="26"/>
                    </a:lnTo>
                    <a:lnTo>
                      <a:pt x="16" y="26"/>
                    </a:lnTo>
                    <a:lnTo>
                      <a:pt x="18" y="26"/>
                    </a:lnTo>
                    <a:lnTo>
                      <a:pt x="18" y="24"/>
                    </a:lnTo>
                    <a:lnTo>
                      <a:pt x="18" y="23"/>
                    </a:lnTo>
                    <a:lnTo>
                      <a:pt x="20" y="23"/>
                    </a:lnTo>
                    <a:lnTo>
                      <a:pt x="20" y="21"/>
                    </a:lnTo>
                    <a:lnTo>
                      <a:pt x="21" y="21"/>
                    </a:lnTo>
                    <a:lnTo>
                      <a:pt x="21" y="19"/>
                    </a:lnTo>
                    <a:lnTo>
                      <a:pt x="23" y="19"/>
                    </a:lnTo>
                    <a:lnTo>
                      <a:pt x="25" y="19"/>
                    </a:lnTo>
                    <a:lnTo>
                      <a:pt x="25" y="17"/>
                    </a:lnTo>
                    <a:lnTo>
                      <a:pt x="25" y="15"/>
                    </a:lnTo>
                    <a:lnTo>
                      <a:pt x="25" y="17"/>
                    </a:lnTo>
                    <a:lnTo>
                      <a:pt x="25" y="15"/>
                    </a:lnTo>
                    <a:lnTo>
                      <a:pt x="27" y="15"/>
                    </a:lnTo>
                    <a:lnTo>
                      <a:pt x="25" y="15"/>
                    </a:lnTo>
                    <a:lnTo>
                      <a:pt x="27" y="15"/>
                    </a:lnTo>
                    <a:lnTo>
                      <a:pt x="25" y="13"/>
                    </a:lnTo>
                    <a:lnTo>
                      <a:pt x="27" y="13"/>
                    </a:lnTo>
                    <a:lnTo>
                      <a:pt x="27" y="11"/>
                    </a:lnTo>
                    <a:lnTo>
                      <a:pt x="29" y="11"/>
                    </a:lnTo>
                    <a:lnTo>
                      <a:pt x="29" y="9"/>
                    </a:lnTo>
                    <a:lnTo>
                      <a:pt x="31" y="7"/>
                    </a:lnTo>
                    <a:lnTo>
                      <a:pt x="31" y="9"/>
                    </a:lnTo>
                    <a:lnTo>
                      <a:pt x="31" y="7"/>
                    </a:lnTo>
                    <a:lnTo>
                      <a:pt x="33" y="7"/>
                    </a:lnTo>
                    <a:lnTo>
                      <a:pt x="33" y="9"/>
                    </a:lnTo>
                    <a:lnTo>
                      <a:pt x="33" y="7"/>
                    </a:lnTo>
                    <a:lnTo>
                      <a:pt x="35" y="9"/>
                    </a:lnTo>
                    <a:lnTo>
                      <a:pt x="35" y="7"/>
                    </a:lnTo>
                    <a:lnTo>
                      <a:pt x="37" y="7"/>
                    </a:lnTo>
                    <a:lnTo>
                      <a:pt x="37" y="5"/>
                    </a:lnTo>
                    <a:lnTo>
                      <a:pt x="39" y="5"/>
                    </a:lnTo>
                    <a:lnTo>
                      <a:pt x="39" y="3"/>
                    </a:lnTo>
                    <a:lnTo>
                      <a:pt x="41" y="1"/>
                    </a:lnTo>
                    <a:lnTo>
                      <a:pt x="41" y="0"/>
                    </a:lnTo>
                    <a:lnTo>
                      <a:pt x="43" y="1"/>
                    </a:lnTo>
                    <a:lnTo>
                      <a:pt x="43" y="3"/>
                    </a:lnTo>
                    <a:lnTo>
                      <a:pt x="45" y="1"/>
                    </a:lnTo>
                    <a:lnTo>
                      <a:pt x="45" y="3"/>
                    </a:lnTo>
                    <a:lnTo>
                      <a:pt x="46" y="3"/>
                    </a:lnTo>
                    <a:lnTo>
                      <a:pt x="46" y="1"/>
                    </a:lnTo>
                    <a:lnTo>
                      <a:pt x="46" y="3"/>
                    </a:lnTo>
                    <a:lnTo>
                      <a:pt x="48" y="1"/>
                    </a:lnTo>
                    <a:lnTo>
                      <a:pt x="50" y="0"/>
                    </a:lnTo>
                    <a:lnTo>
                      <a:pt x="52" y="0"/>
                    </a:lnTo>
                    <a:lnTo>
                      <a:pt x="52" y="1"/>
                    </a:lnTo>
                    <a:lnTo>
                      <a:pt x="54" y="1"/>
                    </a:lnTo>
                    <a:lnTo>
                      <a:pt x="52" y="1"/>
                    </a:lnTo>
                    <a:lnTo>
                      <a:pt x="54" y="1"/>
                    </a:lnTo>
                    <a:lnTo>
                      <a:pt x="54" y="3"/>
                    </a:lnTo>
                    <a:lnTo>
                      <a:pt x="54" y="5"/>
                    </a:lnTo>
                    <a:lnTo>
                      <a:pt x="54" y="7"/>
                    </a:lnTo>
                    <a:lnTo>
                      <a:pt x="56" y="7"/>
                    </a:lnTo>
                    <a:lnTo>
                      <a:pt x="56" y="9"/>
                    </a:lnTo>
                    <a:lnTo>
                      <a:pt x="58" y="9"/>
                    </a:lnTo>
                    <a:lnTo>
                      <a:pt x="60" y="9"/>
                    </a:lnTo>
                    <a:lnTo>
                      <a:pt x="62" y="9"/>
                    </a:lnTo>
                    <a:lnTo>
                      <a:pt x="64" y="11"/>
                    </a:lnTo>
                    <a:lnTo>
                      <a:pt x="66" y="11"/>
                    </a:lnTo>
                    <a:lnTo>
                      <a:pt x="68" y="11"/>
                    </a:lnTo>
                    <a:lnTo>
                      <a:pt x="70" y="11"/>
                    </a:lnTo>
                    <a:lnTo>
                      <a:pt x="70" y="13"/>
                    </a:lnTo>
                    <a:lnTo>
                      <a:pt x="70" y="15"/>
                    </a:lnTo>
                    <a:lnTo>
                      <a:pt x="71" y="15"/>
                    </a:lnTo>
                    <a:lnTo>
                      <a:pt x="71" y="17"/>
                    </a:lnTo>
                    <a:lnTo>
                      <a:pt x="73" y="17"/>
                    </a:lnTo>
                    <a:lnTo>
                      <a:pt x="73" y="19"/>
                    </a:lnTo>
                    <a:lnTo>
                      <a:pt x="73" y="21"/>
                    </a:lnTo>
                    <a:lnTo>
                      <a:pt x="73" y="23"/>
                    </a:lnTo>
                    <a:lnTo>
                      <a:pt x="75" y="21"/>
                    </a:lnTo>
                    <a:lnTo>
                      <a:pt x="75" y="23"/>
                    </a:lnTo>
                    <a:lnTo>
                      <a:pt x="77" y="23"/>
                    </a:lnTo>
                    <a:lnTo>
                      <a:pt x="77" y="24"/>
                    </a:lnTo>
                    <a:lnTo>
                      <a:pt x="79" y="24"/>
                    </a:lnTo>
                    <a:lnTo>
                      <a:pt x="79" y="26"/>
                    </a:lnTo>
                    <a:lnTo>
                      <a:pt x="81" y="26"/>
                    </a:lnTo>
                    <a:lnTo>
                      <a:pt x="81" y="28"/>
                    </a:lnTo>
                    <a:lnTo>
                      <a:pt x="83" y="28"/>
                    </a:lnTo>
                    <a:lnTo>
                      <a:pt x="81" y="28"/>
                    </a:lnTo>
                    <a:lnTo>
                      <a:pt x="83" y="26"/>
                    </a:lnTo>
                    <a:lnTo>
                      <a:pt x="85" y="26"/>
                    </a:lnTo>
                    <a:lnTo>
                      <a:pt x="85" y="24"/>
                    </a:lnTo>
                    <a:lnTo>
                      <a:pt x="87" y="24"/>
                    </a:lnTo>
                    <a:lnTo>
                      <a:pt x="89" y="24"/>
                    </a:lnTo>
                    <a:lnTo>
                      <a:pt x="91" y="24"/>
                    </a:lnTo>
                    <a:lnTo>
                      <a:pt x="93" y="24"/>
                    </a:lnTo>
                    <a:lnTo>
                      <a:pt x="93" y="23"/>
                    </a:lnTo>
                    <a:lnTo>
                      <a:pt x="93" y="21"/>
                    </a:lnTo>
                    <a:lnTo>
                      <a:pt x="94" y="21"/>
                    </a:lnTo>
                    <a:lnTo>
                      <a:pt x="94" y="19"/>
                    </a:lnTo>
                    <a:lnTo>
                      <a:pt x="96" y="19"/>
                    </a:lnTo>
                    <a:lnTo>
                      <a:pt x="96" y="21"/>
                    </a:lnTo>
                    <a:lnTo>
                      <a:pt x="96" y="23"/>
                    </a:lnTo>
                    <a:lnTo>
                      <a:pt x="98" y="24"/>
                    </a:lnTo>
                    <a:lnTo>
                      <a:pt x="98" y="26"/>
                    </a:lnTo>
                    <a:lnTo>
                      <a:pt x="100" y="28"/>
                    </a:lnTo>
                    <a:lnTo>
                      <a:pt x="102" y="28"/>
                    </a:lnTo>
                    <a:lnTo>
                      <a:pt x="102" y="30"/>
                    </a:lnTo>
                    <a:lnTo>
                      <a:pt x="104" y="32"/>
                    </a:lnTo>
                    <a:lnTo>
                      <a:pt x="102" y="34"/>
                    </a:lnTo>
                    <a:lnTo>
                      <a:pt x="100" y="36"/>
                    </a:lnTo>
                    <a:lnTo>
                      <a:pt x="102" y="36"/>
                    </a:lnTo>
                    <a:lnTo>
                      <a:pt x="104" y="36"/>
                    </a:lnTo>
                    <a:lnTo>
                      <a:pt x="104" y="38"/>
                    </a:lnTo>
                    <a:lnTo>
                      <a:pt x="104" y="40"/>
                    </a:lnTo>
                    <a:lnTo>
                      <a:pt x="104" y="42"/>
                    </a:lnTo>
                    <a:lnTo>
                      <a:pt x="106" y="42"/>
                    </a:lnTo>
                    <a:lnTo>
                      <a:pt x="106" y="40"/>
                    </a:lnTo>
                    <a:lnTo>
                      <a:pt x="106" y="38"/>
                    </a:lnTo>
                    <a:lnTo>
                      <a:pt x="108" y="38"/>
                    </a:lnTo>
                    <a:lnTo>
                      <a:pt x="108" y="36"/>
                    </a:lnTo>
                    <a:lnTo>
                      <a:pt x="108" y="38"/>
                    </a:lnTo>
                    <a:lnTo>
                      <a:pt x="108" y="36"/>
                    </a:lnTo>
                    <a:lnTo>
                      <a:pt x="110" y="36"/>
                    </a:lnTo>
                    <a:lnTo>
                      <a:pt x="112" y="36"/>
                    </a:lnTo>
                    <a:lnTo>
                      <a:pt x="112" y="38"/>
                    </a:lnTo>
                    <a:lnTo>
                      <a:pt x="112" y="40"/>
                    </a:lnTo>
                    <a:lnTo>
                      <a:pt x="114" y="40"/>
                    </a:lnTo>
                    <a:lnTo>
                      <a:pt x="114" y="42"/>
                    </a:lnTo>
                    <a:lnTo>
                      <a:pt x="114" y="40"/>
                    </a:lnTo>
                    <a:lnTo>
                      <a:pt x="116" y="40"/>
                    </a:lnTo>
                    <a:lnTo>
                      <a:pt x="118" y="40"/>
                    </a:lnTo>
                    <a:lnTo>
                      <a:pt x="116" y="42"/>
                    </a:lnTo>
                    <a:lnTo>
                      <a:pt x="118" y="42"/>
                    </a:lnTo>
                    <a:lnTo>
                      <a:pt x="119" y="42"/>
                    </a:lnTo>
                    <a:lnTo>
                      <a:pt x="121" y="40"/>
                    </a:lnTo>
                    <a:lnTo>
                      <a:pt x="121" y="42"/>
                    </a:lnTo>
                    <a:lnTo>
                      <a:pt x="123" y="42"/>
                    </a:lnTo>
                    <a:lnTo>
                      <a:pt x="123" y="40"/>
                    </a:lnTo>
                    <a:lnTo>
                      <a:pt x="125" y="38"/>
                    </a:lnTo>
                    <a:lnTo>
                      <a:pt x="125" y="40"/>
                    </a:lnTo>
                    <a:lnTo>
                      <a:pt x="125" y="42"/>
                    </a:lnTo>
                    <a:lnTo>
                      <a:pt x="127" y="42"/>
                    </a:lnTo>
                    <a:lnTo>
                      <a:pt x="125" y="42"/>
                    </a:lnTo>
                    <a:lnTo>
                      <a:pt x="127" y="40"/>
                    </a:lnTo>
                    <a:lnTo>
                      <a:pt x="129" y="40"/>
                    </a:lnTo>
                    <a:lnTo>
                      <a:pt x="129" y="42"/>
                    </a:lnTo>
                    <a:lnTo>
                      <a:pt x="131" y="42"/>
                    </a:lnTo>
                    <a:lnTo>
                      <a:pt x="129" y="42"/>
                    </a:lnTo>
                    <a:lnTo>
                      <a:pt x="129" y="44"/>
                    </a:lnTo>
                    <a:lnTo>
                      <a:pt x="131" y="44"/>
                    </a:lnTo>
                    <a:lnTo>
                      <a:pt x="131" y="46"/>
                    </a:lnTo>
                    <a:lnTo>
                      <a:pt x="131" y="48"/>
                    </a:lnTo>
                    <a:lnTo>
                      <a:pt x="133" y="48"/>
                    </a:lnTo>
                    <a:lnTo>
                      <a:pt x="133" y="49"/>
                    </a:lnTo>
                    <a:lnTo>
                      <a:pt x="135" y="49"/>
                    </a:lnTo>
                    <a:lnTo>
                      <a:pt x="135" y="51"/>
                    </a:lnTo>
                    <a:lnTo>
                      <a:pt x="137" y="49"/>
                    </a:lnTo>
                    <a:lnTo>
                      <a:pt x="139" y="49"/>
                    </a:lnTo>
                    <a:lnTo>
                      <a:pt x="139" y="48"/>
                    </a:lnTo>
                    <a:lnTo>
                      <a:pt x="141" y="46"/>
                    </a:lnTo>
                    <a:lnTo>
                      <a:pt x="143" y="46"/>
                    </a:lnTo>
                    <a:lnTo>
                      <a:pt x="144" y="44"/>
                    </a:lnTo>
                    <a:lnTo>
                      <a:pt x="144" y="46"/>
                    </a:lnTo>
                    <a:lnTo>
                      <a:pt x="146" y="46"/>
                    </a:lnTo>
                    <a:lnTo>
                      <a:pt x="146" y="44"/>
                    </a:lnTo>
                    <a:lnTo>
                      <a:pt x="148" y="42"/>
                    </a:lnTo>
                    <a:lnTo>
                      <a:pt x="150" y="42"/>
                    </a:lnTo>
                    <a:lnTo>
                      <a:pt x="152" y="42"/>
                    </a:lnTo>
                    <a:lnTo>
                      <a:pt x="152" y="44"/>
                    </a:lnTo>
                    <a:lnTo>
                      <a:pt x="152" y="42"/>
                    </a:lnTo>
                    <a:lnTo>
                      <a:pt x="154" y="42"/>
                    </a:lnTo>
                    <a:lnTo>
                      <a:pt x="154" y="40"/>
                    </a:lnTo>
                    <a:lnTo>
                      <a:pt x="156" y="40"/>
                    </a:lnTo>
                    <a:lnTo>
                      <a:pt x="158" y="40"/>
                    </a:lnTo>
                    <a:lnTo>
                      <a:pt x="158" y="42"/>
                    </a:lnTo>
                    <a:lnTo>
                      <a:pt x="160" y="42"/>
                    </a:lnTo>
                    <a:lnTo>
                      <a:pt x="162" y="42"/>
                    </a:lnTo>
                    <a:lnTo>
                      <a:pt x="162" y="44"/>
                    </a:lnTo>
                    <a:lnTo>
                      <a:pt x="164" y="44"/>
                    </a:lnTo>
                    <a:lnTo>
                      <a:pt x="164" y="42"/>
                    </a:lnTo>
                    <a:lnTo>
                      <a:pt x="166" y="42"/>
                    </a:lnTo>
                    <a:lnTo>
                      <a:pt x="166" y="44"/>
                    </a:lnTo>
                    <a:lnTo>
                      <a:pt x="166" y="46"/>
                    </a:lnTo>
                    <a:lnTo>
                      <a:pt x="164" y="46"/>
                    </a:lnTo>
                    <a:lnTo>
                      <a:pt x="166" y="46"/>
                    </a:lnTo>
                    <a:lnTo>
                      <a:pt x="166" y="48"/>
                    </a:lnTo>
                    <a:lnTo>
                      <a:pt x="166" y="49"/>
                    </a:lnTo>
                    <a:lnTo>
                      <a:pt x="168" y="51"/>
                    </a:lnTo>
                    <a:lnTo>
                      <a:pt x="169" y="51"/>
                    </a:lnTo>
                    <a:lnTo>
                      <a:pt x="169" y="53"/>
                    </a:lnTo>
                    <a:lnTo>
                      <a:pt x="171" y="53"/>
                    </a:lnTo>
                    <a:lnTo>
                      <a:pt x="173" y="53"/>
                    </a:lnTo>
                    <a:lnTo>
                      <a:pt x="175" y="53"/>
                    </a:lnTo>
                    <a:lnTo>
                      <a:pt x="175" y="55"/>
                    </a:lnTo>
                    <a:lnTo>
                      <a:pt x="173" y="55"/>
                    </a:lnTo>
                    <a:lnTo>
                      <a:pt x="173" y="57"/>
                    </a:lnTo>
                    <a:lnTo>
                      <a:pt x="175" y="57"/>
                    </a:lnTo>
                    <a:lnTo>
                      <a:pt x="175" y="59"/>
                    </a:lnTo>
                    <a:lnTo>
                      <a:pt x="173" y="59"/>
                    </a:lnTo>
                    <a:lnTo>
                      <a:pt x="173" y="61"/>
                    </a:lnTo>
                    <a:lnTo>
                      <a:pt x="175" y="61"/>
                    </a:lnTo>
                    <a:lnTo>
                      <a:pt x="175" y="59"/>
                    </a:lnTo>
                    <a:lnTo>
                      <a:pt x="177" y="59"/>
                    </a:lnTo>
                    <a:lnTo>
                      <a:pt x="179" y="59"/>
                    </a:lnTo>
                    <a:lnTo>
                      <a:pt x="179" y="61"/>
                    </a:lnTo>
                    <a:lnTo>
                      <a:pt x="177" y="61"/>
                    </a:lnTo>
                    <a:lnTo>
                      <a:pt x="179" y="61"/>
                    </a:lnTo>
                    <a:lnTo>
                      <a:pt x="179" y="63"/>
                    </a:lnTo>
                    <a:lnTo>
                      <a:pt x="179" y="61"/>
                    </a:lnTo>
                    <a:lnTo>
                      <a:pt x="179" y="63"/>
                    </a:lnTo>
                    <a:lnTo>
                      <a:pt x="181" y="63"/>
                    </a:lnTo>
                    <a:lnTo>
                      <a:pt x="181" y="61"/>
                    </a:lnTo>
                    <a:lnTo>
                      <a:pt x="181" y="63"/>
                    </a:lnTo>
                    <a:lnTo>
                      <a:pt x="183" y="63"/>
                    </a:lnTo>
                    <a:lnTo>
                      <a:pt x="185" y="63"/>
                    </a:lnTo>
                    <a:lnTo>
                      <a:pt x="185" y="65"/>
                    </a:lnTo>
                    <a:lnTo>
                      <a:pt x="187" y="65"/>
                    </a:lnTo>
                    <a:lnTo>
                      <a:pt x="191" y="65"/>
                    </a:lnTo>
                    <a:lnTo>
                      <a:pt x="192" y="65"/>
                    </a:lnTo>
                    <a:lnTo>
                      <a:pt x="194" y="65"/>
                    </a:lnTo>
                    <a:lnTo>
                      <a:pt x="194" y="67"/>
                    </a:lnTo>
                    <a:lnTo>
                      <a:pt x="196" y="67"/>
                    </a:lnTo>
                    <a:lnTo>
                      <a:pt x="196" y="69"/>
                    </a:lnTo>
                    <a:lnTo>
                      <a:pt x="198" y="69"/>
                    </a:lnTo>
                    <a:lnTo>
                      <a:pt x="198" y="67"/>
                    </a:lnTo>
                    <a:lnTo>
                      <a:pt x="200" y="65"/>
                    </a:lnTo>
                    <a:lnTo>
                      <a:pt x="200" y="63"/>
                    </a:lnTo>
                    <a:lnTo>
                      <a:pt x="200" y="65"/>
                    </a:lnTo>
                    <a:lnTo>
                      <a:pt x="202" y="65"/>
                    </a:lnTo>
                    <a:lnTo>
                      <a:pt x="202" y="63"/>
                    </a:lnTo>
                    <a:lnTo>
                      <a:pt x="204" y="63"/>
                    </a:lnTo>
                    <a:lnTo>
                      <a:pt x="202" y="63"/>
                    </a:lnTo>
                    <a:lnTo>
                      <a:pt x="204" y="63"/>
                    </a:lnTo>
                    <a:lnTo>
                      <a:pt x="204" y="61"/>
                    </a:lnTo>
                    <a:lnTo>
                      <a:pt x="206" y="61"/>
                    </a:lnTo>
                    <a:lnTo>
                      <a:pt x="206" y="63"/>
                    </a:lnTo>
                    <a:lnTo>
                      <a:pt x="206" y="65"/>
                    </a:lnTo>
                    <a:lnTo>
                      <a:pt x="206" y="67"/>
                    </a:lnTo>
                    <a:lnTo>
                      <a:pt x="204" y="67"/>
                    </a:lnTo>
                    <a:lnTo>
                      <a:pt x="206" y="67"/>
                    </a:lnTo>
                    <a:lnTo>
                      <a:pt x="206" y="69"/>
                    </a:lnTo>
                    <a:lnTo>
                      <a:pt x="208" y="69"/>
                    </a:lnTo>
                    <a:lnTo>
                      <a:pt x="210" y="69"/>
                    </a:lnTo>
                    <a:lnTo>
                      <a:pt x="212" y="67"/>
                    </a:lnTo>
                    <a:lnTo>
                      <a:pt x="212" y="65"/>
                    </a:lnTo>
                    <a:lnTo>
                      <a:pt x="210" y="65"/>
                    </a:lnTo>
                    <a:lnTo>
                      <a:pt x="210" y="63"/>
                    </a:lnTo>
                    <a:lnTo>
                      <a:pt x="212" y="63"/>
                    </a:lnTo>
                    <a:lnTo>
                      <a:pt x="214" y="63"/>
                    </a:lnTo>
                    <a:lnTo>
                      <a:pt x="212" y="63"/>
                    </a:lnTo>
                    <a:lnTo>
                      <a:pt x="214" y="63"/>
                    </a:lnTo>
                    <a:lnTo>
                      <a:pt x="216" y="63"/>
                    </a:lnTo>
                    <a:lnTo>
                      <a:pt x="216" y="65"/>
                    </a:lnTo>
                    <a:lnTo>
                      <a:pt x="217" y="65"/>
                    </a:lnTo>
                    <a:lnTo>
                      <a:pt x="219" y="63"/>
                    </a:lnTo>
                    <a:lnTo>
                      <a:pt x="221" y="63"/>
                    </a:lnTo>
                    <a:lnTo>
                      <a:pt x="221" y="65"/>
                    </a:lnTo>
                    <a:lnTo>
                      <a:pt x="221" y="67"/>
                    </a:lnTo>
                    <a:lnTo>
                      <a:pt x="223" y="6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8" name="Freeform 128"/>
              <p:cNvSpPr>
                <a:spLocks/>
              </p:cNvSpPr>
              <p:nvPr/>
            </p:nvSpPr>
            <p:spPr bwMode="auto">
              <a:xfrm>
                <a:off x="482778" y="2256385"/>
                <a:ext cx="306271" cy="285624"/>
              </a:xfrm>
              <a:custGeom>
                <a:avLst/>
                <a:gdLst>
                  <a:gd name="T0" fmla="*/ 176 w 178"/>
                  <a:gd name="T1" fmla="*/ 83 h 166"/>
                  <a:gd name="T2" fmla="*/ 173 w 178"/>
                  <a:gd name="T3" fmla="*/ 91 h 166"/>
                  <a:gd name="T4" fmla="*/ 165 w 178"/>
                  <a:gd name="T5" fmla="*/ 98 h 166"/>
                  <a:gd name="T6" fmla="*/ 157 w 178"/>
                  <a:gd name="T7" fmla="*/ 108 h 166"/>
                  <a:gd name="T8" fmla="*/ 152 w 178"/>
                  <a:gd name="T9" fmla="*/ 116 h 166"/>
                  <a:gd name="T10" fmla="*/ 144 w 178"/>
                  <a:gd name="T11" fmla="*/ 120 h 166"/>
                  <a:gd name="T12" fmla="*/ 140 w 178"/>
                  <a:gd name="T13" fmla="*/ 122 h 166"/>
                  <a:gd name="T14" fmla="*/ 132 w 178"/>
                  <a:gd name="T15" fmla="*/ 123 h 166"/>
                  <a:gd name="T16" fmla="*/ 123 w 178"/>
                  <a:gd name="T17" fmla="*/ 133 h 166"/>
                  <a:gd name="T18" fmla="*/ 115 w 178"/>
                  <a:gd name="T19" fmla="*/ 131 h 166"/>
                  <a:gd name="T20" fmla="*/ 109 w 178"/>
                  <a:gd name="T21" fmla="*/ 129 h 166"/>
                  <a:gd name="T22" fmla="*/ 98 w 178"/>
                  <a:gd name="T23" fmla="*/ 135 h 166"/>
                  <a:gd name="T24" fmla="*/ 92 w 178"/>
                  <a:gd name="T25" fmla="*/ 123 h 166"/>
                  <a:gd name="T26" fmla="*/ 82 w 178"/>
                  <a:gd name="T27" fmla="*/ 122 h 166"/>
                  <a:gd name="T28" fmla="*/ 77 w 178"/>
                  <a:gd name="T29" fmla="*/ 127 h 166"/>
                  <a:gd name="T30" fmla="*/ 73 w 178"/>
                  <a:gd name="T31" fmla="*/ 133 h 166"/>
                  <a:gd name="T32" fmla="*/ 65 w 178"/>
                  <a:gd name="T33" fmla="*/ 139 h 166"/>
                  <a:gd name="T34" fmla="*/ 57 w 178"/>
                  <a:gd name="T35" fmla="*/ 141 h 166"/>
                  <a:gd name="T36" fmla="*/ 55 w 178"/>
                  <a:gd name="T37" fmla="*/ 145 h 166"/>
                  <a:gd name="T38" fmla="*/ 48 w 178"/>
                  <a:gd name="T39" fmla="*/ 147 h 166"/>
                  <a:gd name="T40" fmla="*/ 40 w 178"/>
                  <a:gd name="T41" fmla="*/ 152 h 166"/>
                  <a:gd name="T42" fmla="*/ 30 w 178"/>
                  <a:gd name="T43" fmla="*/ 156 h 166"/>
                  <a:gd name="T44" fmla="*/ 17 w 178"/>
                  <a:gd name="T45" fmla="*/ 162 h 166"/>
                  <a:gd name="T46" fmla="*/ 13 w 178"/>
                  <a:gd name="T47" fmla="*/ 160 h 166"/>
                  <a:gd name="T48" fmla="*/ 11 w 178"/>
                  <a:gd name="T49" fmla="*/ 154 h 166"/>
                  <a:gd name="T50" fmla="*/ 15 w 178"/>
                  <a:gd name="T51" fmla="*/ 145 h 166"/>
                  <a:gd name="T52" fmla="*/ 11 w 178"/>
                  <a:gd name="T53" fmla="*/ 135 h 166"/>
                  <a:gd name="T54" fmla="*/ 7 w 178"/>
                  <a:gd name="T55" fmla="*/ 127 h 166"/>
                  <a:gd name="T56" fmla="*/ 2 w 178"/>
                  <a:gd name="T57" fmla="*/ 123 h 166"/>
                  <a:gd name="T58" fmla="*/ 6 w 178"/>
                  <a:gd name="T59" fmla="*/ 118 h 166"/>
                  <a:gd name="T60" fmla="*/ 13 w 178"/>
                  <a:gd name="T61" fmla="*/ 110 h 166"/>
                  <a:gd name="T62" fmla="*/ 11 w 178"/>
                  <a:gd name="T63" fmla="*/ 104 h 166"/>
                  <a:gd name="T64" fmla="*/ 7 w 178"/>
                  <a:gd name="T65" fmla="*/ 91 h 166"/>
                  <a:gd name="T66" fmla="*/ 11 w 178"/>
                  <a:gd name="T67" fmla="*/ 79 h 166"/>
                  <a:gd name="T68" fmla="*/ 13 w 178"/>
                  <a:gd name="T69" fmla="*/ 70 h 166"/>
                  <a:gd name="T70" fmla="*/ 19 w 178"/>
                  <a:gd name="T71" fmla="*/ 66 h 166"/>
                  <a:gd name="T72" fmla="*/ 17 w 178"/>
                  <a:gd name="T73" fmla="*/ 56 h 166"/>
                  <a:gd name="T74" fmla="*/ 19 w 178"/>
                  <a:gd name="T75" fmla="*/ 45 h 166"/>
                  <a:gd name="T76" fmla="*/ 27 w 178"/>
                  <a:gd name="T77" fmla="*/ 41 h 166"/>
                  <a:gd name="T78" fmla="*/ 32 w 178"/>
                  <a:gd name="T79" fmla="*/ 35 h 166"/>
                  <a:gd name="T80" fmla="*/ 36 w 178"/>
                  <a:gd name="T81" fmla="*/ 27 h 166"/>
                  <a:gd name="T82" fmla="*/ 44 w 178"/>
                  <a:gd name="T83" fmla="*/ 16 h 166"/>
                  <a:gd name="T84" fmla="*/ 54 w 178"/>
                  <a:gd name="T85" fmla="*/ 4 h 166"/>
                  <a:gd name="T86" fmla="*/ 63 w 178"/>
                  <a:gd name="T87" fmla="*/ 2 h 166"/>
                  <a:gd name="T88" fmla="*/ 69 w 178"/>
                  <a:gd name="T89" fmla="*/ 8 h 166"/>
                  <a:gd name="T90" fmla="*/ 79 w 178"/>
                  <a:gd name="T91" fmla="*/ 16 h 166"/>
                  <a:gd name="T92" fmla="*/ 86 w 178"/>
                  <a:gd name="T93" fmla="*/ 18 h 166"/>
                  <a:gd name="T94" fmla="*/ 84 w 178"/>
                  <a:gd name="T95" fmla="*/ 27 h 166"/>
                  <a:gd name="T96" fmla="*/ 90 w 178"/>
                  <a:gd name="T97" fmla="*/ 29 h 166"/>
                  <a:gd name="T98" fmla="*/ 96 w 178"/>
                  <a:gd name="T99" fmla="*/ 31 h 166"/>
                  <a:gd name="T100" fmla="*/ 98 w 178"/>
                  <a:gd name="T101" fmla="*/ 35 h 166"/>
                  <a:gd name="T102" fmla="*/ 105 w 178"/>
                  <a:gd name="T103" fmla="*/ 43 h 166"/>
                  <a:gd name="T104" fmla="*/ 111 w 178"/>
                  <a:gd name="T105" fmla="*/ 47 h 166"/>
                  <a:gd name="T106" fmla="*/ 117 w 178"/>
                  <a:gd name="T107" fmla="*/ 48 h 166"/>
                  <a:gd name="T108" fmla="*/ 130 w 178"/>
                  <a:gd name="T109" fmla="*/ 47 h 166"/>
                  <a:gd name="T110" fmla="*/ 138 w 178"/>
                  <a:gd name="T111" fmla="*/ 41 h 166"/>
                  <a:gd name="T112" fmla="*/ 144 w 178"/>
                  <a:gd name="T113" fmla="*/ 43 h 166"/>
                  <a:gd name="T114" fmla="*/ 152 w 178"/>
                  <a:gd name="T115" fmla="*/ 45 h 166"/>
                  <a:gd name="T116" fmla="*/ 159 w 178"/>
                  <a:gd name="T117" fmla="*/ 50 h 166"/>
                  <a:gd name="T118" fmla="*/ 161 w 178"/>
                  <a:gd name="T119" fmla="*/ 60 h 166"/>
                  <a:gd name="T120" fmla="*/ 171 w 178"/>
                  <a:gd name="T121" fmla="*/ 62 h 166"/>
                  <a:gd name="T122" fmla="*/ 178 w 178"/>
                  <a:gd name="T123" fmla="*/ 6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166">
                    <a:moveTo>
                      <a:pt x="178" y="70"/>
                    </a:moveTo>
                    <a:lnTo>
                      <a:pt x="178" y="72"/>
                    </a:lnTo>
                    <a:lnTo>
                      <a:pt x="178" y="73"/>
                    </a:lnTo>
                    <a:lnTo>
                      <a:pt x="178" y="75"/>
                    </a:lnTo>
                    <a:lnTo>
                      <a:pt x="176" y="75"/>
                    </a:lnTo>
                    <a:lnTo>
                      <a:pt x="176" y="77"/>
                    </a:lnTo>
                    <a:lnTo>
                      <a:pt x="176" y="79"/>
                    </a:lnTo>
                    <a:lnTo>
                      <a:pt x="176" y="81"/>
                    </a:lnTo>
                    <a:lnTo>
                      <a:pt x="176" y="83"/>
                    </a:lnTo>
                    <a:lnTo>
                      <a:pt x="176" y="85"/>
                    </a:lnTo>
                    <a:lnTo>
                      <a:pt x="175" y="85"/>
                    </a:lnTo>
                    <a:lnTo>
                      <a:pt x="173" y="87"/>
                    </a:lnTo>
                    <a:lnTo>
                      <a:pt x="175" y="87"/>
                    </a:lnTo>
                    <a:lnTo>
                      <a:pt x="173" y="87"/>
                    </a:lnTo>
                    <a:lnTo>
                      <a:pt x="173" y="89"/>
                    </a:lnTo>
                    <a:lnTo>
                      <a:pt x="173" y="91"/>
                    </a:lnTo>
                    <a:lnTo>
                      <a:pt x="171" y="91"/>
                    </a:lnTo>
                    <a:lnTo>
                      <a:pt x="173" y="91"/>
                    </a:lnTo>
                    <a:lnTo>
                      <a:pt x="173" y="93"/>
                    </a:lnTo>
                    <a:lnTo>
                      <a:pt x="171" y="95"/>
                    </a:lnTo>
                    <a:lnTo>
                      <a:pt x="169" y="95"/>
                    </a:lnTo>
                    <a:lnTo>
                      <a:pt x="169" y="93"/>
                    </a:lnTo>
                    <a:lnTo>
                      <a:pt x="167" y="93"/>
                    </a:lnTo>
                    <a:lnTo>
                      <a:pt x="167" y="95"/>
                    </a:lnTo>
                    <a:lnTo>
                      <a:pt x="167" y="97"/>
                    </a:lnTo>
                    <a:lnTo>
                      <a:pt x="165" y="97"/>
                    </a:lnTo>
                    <a:lnTo>
                      <a:pt x="165" y="98"/>
                    </a:lnTo>
                    <a:lnTo>
                      <a:pt x="163" y="98"/>
                    </a:lnTo>
                    <a:lnTo>
                      <a:pt x="163" y="100"/>
                    </a:lnTo>
                    <a:lnTo>
                      <a:pt x="163" y="102"/>
                    </a:lnTo>
                    <a:lnTo>
                      <a:pt x="161" y="102"/>
                    </a:lnTo>
                    <a:lnTo>
                      <a:pt x="161" y="104"/>
                    </a:lnTo>
                    <a:lnTo>
                      <a:pt x="159" y="104"/>
                    </a:lnTo>
                    <a:lnTo>
                      <a:pt x="159" y="106"/>
                    </a:lnTo>
                    <a:lnTo>
                      <a:pt x="157" y="106"/>
                    </a:lnTo>
                    <a:lnTo>
                      <a:pt x="157" y="108"/>
                    </a:lnTo>
                    <a:lnTo>
                      <a:pt x="157" y="110"/>
                    </a:lnTo>
                    <a:lnTo>
                      <a:pt x="155" y="110"/>
                    </a:lnTo>
                    <a:lnTo>
                      <a:pt x="155" y="112"/>
                    </a:lnTo>
                    <a:lnTo>
                      <a:pt x="157" y="112"/>
                    </a:lnTo>
                    <a:lnTo>
                      <a:pt x="157" y="114"/>
                    </a:lnTo>
                    <a:lnTo>
                      <a:pt x="155" y="114"/>
                    </a:lnTo>
                    <a:lnTo>
                      <a:pt x="155" y="116"/>
                    </a:lnTo>
                    <a:lnTo>
                      <a:pt x="153" y="116"/>
                    </a:lnTo>
                    <a:lnTo>
                      <a:pt x="152" y="116"/>
                    </a:lnTo>
                    <a:lnTo>
                      <a:pt x="150" y="118"/>
                    </a:lnTo>
                    <a:lnTo>
                      <a:pt x="152" y="118"/>
                    </a:lnTo>
                    <a:lnTo>
                      <a:pt x="150" y="118"/>
                    </a:lnTo>
                    <a:lnTo>
                      <a:pt x="150" y="120"/>
                    </a:lnTo>
                    <a:lnTo>
                      <a:pt x="148" y="120"/>
                    </a:lnTo>
                    <a:lnTo>
                      <a:pt x="146" y="120"/>
                    </a:lnTo>
                    <a:lnTo>
                      <a:pt x="146" y="122"/>
                    </a:lnTo>
                    <a:lnTo>
                      <a:pt x="144" y="122"/>
                    </a:lnTo>
                    <a:lnTo>
                      <a:pt x="144" y="120"/>
                    </a:lnTo>
                    <a:lnTo>
                      <a:pt x="144" y="122"/>
                    </a:lnTo>
                    <a:lnTo>
                      <a:pt x="144" y="120"/>
                    </a:lnTo>
                    <a:lnTo>
                      <a:pt x="144" y="122"/>
                    </a:lnTo>
                    <a:lnTo>
                      <a:pt x="142" y="122"/>
                    </a:lnTo>
                    <a:lnTo>
                      <a:pt x="142" y="120"/>
                    </a:lnTo>
                    <a:lnTo>
                      <a:pt x="142" y="122"/>
                    </a:lnTo>
                    <a:lnTo>
                      <a:pt x="140" y="122"/>
                    </a:lnTo>
                    <a:lnTo>
                      <a:pt x="142" y="122"/>
                    </a:lnTo>
                    <a:lnTo>
                      <a:pt x="140" y="122"/>
                    </a:lnTo>
                    <a:lnTo>
                      <a:pt x="140" y="123"/>
                    </a:lnTo>
                    <a:lnTo>
                      <a:pt x="138" y="123"/>
                    </a:lnTo>
                    <a:lnTo>
                      <a:pt x="136" y="123"/>
                    </a:lnTo>
                    <a:lnTo>
                      <a:pt x="134" y="123"/>
                    </a:lnTo>
                    <a:lnTo>
                      <a:pt x="134" y="125"/>
                    </a:lnTo>
                    <a:lnTo>
                      <a:pt x="132" y="125"/>
                    </a:lnTo>
                    <a:lnTo>
                      <a:pt x="132" y="123"/>
                    </a:lnTo>
                    <a:lnTo>
                      <a:pt x="132" y="122"/>
                    </a:lnTo>
                    <a:lnTo>
                      <a:pt x="132" y="123"/>
                    </a:lnTo>
                    <a:lnTo>
                      <a:pt x="130" y="123"/>
                    </a:lnTo>
                    <a:lnTo>
                      <a:pt x="128" y="123"/>
                    </a:lnTo>
                    <a:lnTo>
                      <a:pt x="128" y="125"/>
                    </a:lnTo>
                    <a:lnTo>
                      <a:pt x="128" y="127"/>
                    </a:lnTo>
                    <a:lnTo>
                      <a:pt x="127" y="127"/>
                    </a:lnTo>
                    <a:lnTo>
                      <a:pt x="127" y="129"/>
                    </a:lnTo>
                    <a:lnTo>
                      <a:pt x="127" y="131"/>
                    </a:lnTo>
                    <a:lnTo>
                      <a:pt x="125" y="131"/>
                    </a:lnTo>
                    <a:lnTo>
                      <a:pt x="123" y="133"/>
                    </a:lnTo>
                    <a:lnTo>
                      <a:pt x="121" y="133"/>
                    </a:lnTo>
                    <a:lnTo>
                      <a:pt x="121" y="135"/>
                    </a:lnTo>
                    <a:lnTo>
                      <a:pt x="121" y="133"/>
                    </a:lnTo>
                    <a:lnTo>
                      <a:pt x="119" y="133"/>
                    </a:lnTo>
                    <a:lnTo>
                      <a:pt x="119" y="131"/>
                    </a:lnTo>
                    <a:lnTo>
                      <a:pt x="117" y="131"/>
                    </a:lnTo>
                    <a:lnTo>
                      <a:pt x="117" y="133"/>
                    </a:lnTo>
                    <a:lnTo>
                      <a:pt x="115" y="133"/>
                    </a:lnTo>
                    <a:lnTo>
                      <a:pt x="115" y="131"/>
                    </a:lnTo>
                    <a:lnTo>
                      <a:pt x="113" y="131"/>
                    </a:lnTo>
                    <a:lnTo>
                      <a:pt x="113" y="129"/>
                    </a:lnTo>
                    <a:lnTo>
                      <a:pt x="111" y="129"/>
                    </a:lnTo>
                    <a:lnTo>
                      <a:pt x="111" y="127"/>
                    </a:lnTo>
                    <a:lnTo>
                      <a:pt x="109" y="127"/>
                    </a:lnTo>
                    <a:lnTo>
                      <a:pt x="109" y="125"/>
                    </a:lnTo>
                    <a:lnTo>
                      <a:pt x="107" y="127"/>
                    </a:lnTo>
                    <a:lnTo>
                      <a:pt x="109" y="127"/>
                    </a:lnTo>
                    <a:lnTo>
                      <a:pt x="109" y="129"/>
                    </a:lnTo>
                    <a:lnTo>
                      <a:pt x="111" y="129"/>
                    </a:lnTo>
                    <a:lnTo>
                      <a:pt x="109" y="131"/>
                    </a:lnTo>
                    <a:lnTo>
                      <a:pt x="107" y="133"/>
                    </a:lnTo>
                    <a:lnTo>
                      <a:pt x="105" y="133"/>
                    </a:lnTo>
                    <a:lnTo>
                      <a:pt x="105" y="135"/>
                    </a:lnTo>
                    <a:lnTo>
                      <a:pt x="103" y="135"/>
                    </a:lnTo>
                    <a:lnTo>
                      <a:pt x="103" y="137"/>
                    </a:lnTo>
                    <a:lnTo>
                      <a:pt x="100" y="135"/>
                    </a:lnTo>
                    <a:lnTo>
                      <a:pt x="98" y="135"/>
                    </a:lnTo>
                    <a:lnTo>
                      <a:pt x="98" y="133"/>
                    </a:lnTo>
                    <a:lnTo>
                      <a:pt x="96" y="133"/>
                    </a:lnTo>
                    <a:lnTo>
                      <a:pt x="96" y="131"/>
                    </a:lnTo>
                    <a:lnTo>
                      <a:pt x="96" y="129"/>
                    </a:lnTo>
                    <a:lnTo>
                      <a:pt x="96" y="127"/>
                    </a:lnTo>
                    <a:lnTo>
                      <a:pt x="94" y="127"/>
                    </a:lnTo>
                    <a:lnTo>
                      <a:pt x="94" y="125"/>
                    </a:lnTo>
                    <a:lnTo>
                      <a:pt x="92" y="125"/>
                    </a:lnTo>
                    <a:lnTo>
                      <a:pt x="92" y="123"/>
                    </a:lnTo>
                    <a:lnTo>
                      <a:pt x="90" y="123"/>
                    </a:lnTo>
                    <a:lnTo>
                      <a:pt x="88" y="123"/>
                    </a:lnTo>
                    <a:lnTo>
                      <a:pt x="88" y="122"/>
                    </a:lnTo>
                    <a:lnTo>
                      <a:pt x="86" y="122"/>
                    </a:lnTo>
                    <a:lnTo>
                      <a:pt x="86" y="120"/>
                    </a:lnTo>
                    <a:lnTo>
                      <a:pt x="84" y="120"/>
                    </a:lnTo>
                    <a:lnTo>
                      <a:pt x="84" y="122"/>
                    </a:lnTo>
                    <a:lnTo>
                      <a:pt x="82" y="120"/>
                    </a:lnTo>
                    <a:lnTo>
                      <a:pt x="82" y="122"/>
                    </a:lnTo>
                    <a:lnTo>
                      <a:pt x="80" y="122"/>
                    </a:lnTo>
                    <a:lnTo>
                      <a:pt x="79" y="123"/>
                    </a:lnTo>
                    <a:lnTo>
                      <a:pt x="80" y="123"/>
                    </a:lnTo>
                    <a:lnTo>
                      <a:pt x="80" y="125"/>
                    </a:lnTo>
                    <a:lnTo>
                      <a:pt x="79" y="125"/>
                    </a:lnTo>
                    <a:lnTo>
                      <a:pt x="77" y="125"/>
                    </a:lnTo>
                    <a:lnTo>
                      <a:pt x="77" y="123"/>
                    </a:lnTo>
                    <a:lnTo>
                      <a:pt x="77" y="125"/>
                    </a:lnTo>
                    <a:lnTo>
                      <a:pt x="77" y="127"/>
                    </a:lnTo>
                    <a:lnTo>
                      <a:pt x="75" y="127"/>
                    </a:lnTo>
                    <a:lnTo>
                      <a:pt x="75" y="125"/>
                    </a:lnTo>
                    <a:lnTo>
                      <a:pt x="75" y="127"/>
                    </a:lnTo>
                    <a:lnTo>
                      <a:pt x="75" y="129"/>
                    </a:lnTo>
                    <a:lnTo>
                      <a:pt x="75" y="131"/>
                    </a:lnTo>
                    <a:lnTo>
                      <a:pt x="75" y="133"/>
                    </a:lnTo>
                    <a:lnTo>
                      <a:pt x="73" y="133"/>
                    </a:lnTo>
                    <a:lnTo>
                      <a:pt x="73" y="135"/>
                    </a:lnTo>
                    <a:lnTo>
                      <a:pt x="73" y="133"/>
                    </a:lnTo>
                    <a:lnTo>
                      <a:pt x="71" y="133"/>
                    </a:lnTo>
                    <a:lnTo>
                      <a:pt x="71" y="135"/>
                    </a:lnTo>
                    <a:lnTo>
                      <a:pt x="69" y="135"/>
                    </a:lnTo>
                    <a:lnTo>
                      <a:pt x="69" y="137"/>
                    </a:lnTo>
                    <a:lnTo>
                      <a:pt x="67" y="137"/>
                    </a:lnTo>
                    <a:lnTo>
                      <a:pt x="67" y="139"/>
                    </a:lnTo>
                    <a:lnTo>
                      <a:pt x="65" y="139"/>
                    </a:lnTo>
                    <a:lnTo>
                      <a:pt x="65" y="137"/>
                    </a:lnTo>
                    <a:lnTo>
                      <a:pt x="65" y="139"/>
                    </a:lnTo>
                    <a:lnTo>
                      <a:pt x="63" y="139"/>
                    </a:lnTo>
                    <a:lnTo>
                      <a:pt x="63" y="141"/>
                    </a:lnTo>
                    <a:lnTo>
                      <a:pt x="61" y="141"/>
                    </a:lnTo>
                    <a:lnTo>
                      <a:pt x="63" y="143"/>
                    </a:lnTo>
                    <a:lnTo>
                      <a:pt x="61" y="143"/>
                    </a:lnTo>
                    <a:lnTo>
                      <a:pt x="59" y="141"/>
                    </a:lnTo>
                    <a:lnTo>
                      <a:pt x="59" y="143"/>
                    </a:lnTo>
                    <a:lnTo>
                      <a:pt x="59" y="141"/>
                    </a:lnTo>
                    <a:lnTo>
                      <a:pt x="57" y="141"/>
                    </a:lnTo>
                    <a:lnTo>
                      <a:pt x="57" y="143"/>
                    </a:lnTo>
                    <a:lnTo>
                      <a:pt x="55" y="143"/>
                    </a:lnTo>
                    <a:lnTo>
                      <a:pt x="57" y="143"/>
                    </a:lnTo>
                    <a:lnTo>
                      <a:pt x="57" y="145"/>
                    </a:lnTo>
                    <a:lnTo>
                      <a:pt x="55" y="145"/>
                    </a:lnTo>
                    <a:lnTo>
                      <a:pt x="57" y="145"/>
                    </a:lnTo>
                    <a:lnTo>
                      <a:pt x="57" y="147"/>
                    </a:lnTo>
                    <a:lnTo>
                      <a:pt x="55" y="147"/>
                    </a:lnTo>
                    <a:lnTo>
                      <a:pt x="55" y="145"/>
                    </a:lnTo>
                    <a:lnTo>
                      <a:pt x="54" y="145"/>
                    </a:lnTo>
                    <a:lnTo>
                      <a:pt x="54" y="147"/>
                    </a:lnTo>
                    <a:lnTo>
                      <a:pt x="52" y="147"/>
                    </a:lnTo>
                    <a:lnTo>
                      <a:pt x="52" y="148"/>
                    </a:lnTo>
                    <a:lnTo>
                      <a:pt x="50" y="148"/>
                    </a:lnTo>
                    <a:lnTo>
                      <a:pt x="50" y="147"/>
                    </a:lnTo>
                    <a:lnTo>
                      <a:pt x="48" y="147"/>
                    </a:lnTo>
                    <a:lnTo>
                      <a:pt x="46" y="147"/>
                    </a:lnTo>
                    <a:lnTo>
                      <a:pt x="48" y="147"/>
                    </a:lnTo>
                    <a:lnTo>
                      <a:pt x="48" y="148"/>
                    </a:lnTo>
                    <a:lnTo>
                      <a:pt x="46" y="148"/>
                    </a:lnTo>
                    <a:lnTo>
                      <a:pt x="44" y="148"/>
                    </a:lnTo>
                    <a:lnTo>
                      <a:pt x="44" y="150"/>
                    </a:lnTo>
                    <a:lnTo>
                      <a:pt x="44" y="152"/>
                    </a:lnTo>
                    <a:lnTo>
                      <a:pt x="42" y="152"/>
                    </a:lnTo>
                    <a:lnTo>
                      <a:pt x="40" y="152"/>
                    </a:lnTo>
                    <a:lnTo>
                      <a:pt x="40" y="150"/>
                    </a:lnTo>
                    <a:lnTo>
                      <a:pt x="40" y="152"/>
                    </a:lnTo>
                    <a:lnTo>
                      <a:pt x="38" y="154"/>
                    </a:lnTo>
                    <a:lnTo>
                      <a:pt x="38" y="156"/>
                    </a:lnTo>
                    <a:lnTo>
                      <a:pt x="36" y="156"/>
                    </a:lnTo>
                    <a:lnTo>
                      <a:pt x="34" y="156"/>
                    </a:lnTo>
                    <a:lnTo>
                      <a:pt x="34" y="154"/>
                    </a:lnTo>
                    <a:lnTo>
                      <a:pt x="34" y="156"/>
                    </a:lnTo>
                    <a:lnTo>
                      <a:pt x="34" y="154"/>
                    </a:lnTo>
                    <a:lnTo>
                      <a:pt x="32" y="156"/>
                    </a:lnTo>
                    <a:lnTo>
                      <a:pt x="30" y="156"/>
                    </a:lnTo>
                    <a:lnTo>
                      <a:pt x="29" y="156"/>
                    </a:lnTo>
                    <a:lnTo>
                      <a:pt x="29" y="158"/>
                    </a:lnTo>
                    <a:lnTo>
                      <a:pt x="27" y="158"/>
                    </a:lnTo>
                    <a:lnTo>
                      <a:pt x="25" y="158"/>
                    </a:lnTo>
                    <a:lnTo>
                      <a:pt x="23" y="158"/>
                    </a:lnTo>
                    <a:lnTo>
                      <a:pt x="21" y="160"/>
                    </a:lnTo>
                    <a:lnTo>
                      <a:pt x="19" y="160"/>
                    </a:lnTo>
                    <a:lnTo>
                      <a:pt x="19" y="162"/>
                    </a:lnTo>
                    <a:lnTo>
                      <a:pt x="17" y="162"/>
                    </a:lnTo>
                    <a:lnTo>
                      <a:pt x="17" y="164"/>
                    </a:lnTo>
                    <a:lnTo>
                      <a:pt x="17" y="166"/>
                    </a:lnTo>
                    <a:lnTo>
                      <a:pt x="15" y="166"/>
                    </a:lnTo>
                    <a:lnTo>
                      <a:pt x="15" y="164"/>
                    </a:lnTo>
                    <a:lnTo>
                      <a:pt x="13" y="164"/>
                    </a:lnTo>
                    <a:lnTo>
                      <a:pt x="13" y="166"/>
                    </a:lnTo>
                    <a:lnTo>
                      <a:pt x="11" y="164"/>
                    </a:lnTo>
                    <a:lnTo>
                      <a:pt x="13" y="162"/>
                    </a:lnTo>
                    <a:lnTo>
                      <a:pt x="13" y="160"/>
                    </a:lnTo>
                    <a:lnTo>
                      <a:pt x="11" y="160"/>
                    </a:lnTo>
                    <a:lnTo>
                      <a:pt x="11" y="158"/>
                    </a:lnTo>
                    <a:lnTo>
                      <a:pt x="11" y="156"/>
                    </a:lnTo>
                    <a:lnTo>
                      <a:pt x="11" y="158"/>
                    </a:lnTo>
                    <a:lnTo>
                      <a:pt x="9" y="158"/>
                    </a:lnTo>
                    <a:lnTo>
                      <a:pt x="11" y="156"/>
                    </a:lnTo>
                    <a:lnTo>
                      <a:pt x="11" y="154"/>
                    </a:lnTo>
                    <a:lnTo>
                      <a:pt x="9" y="154"/>
                    </a:lnTo>
                    <a:lnTo>
                      <a:pt x="11" y="154"/>
                    </a:lnTo>
                    <a:lnTo>
                      <a:pt x="9" y="152"/>
                    </a:lnTo>
                    <a:lnTo>
                      <a:pt x="9" y="150"/>
                    </a:lnTo>
                    <a:lnTo>
                      <a:pt x="9" y="147"/>
                    </a:lnTo>
                    <a:lnTo>
                      <a:pt x="11" y="147"/>
                    </a:lnTo>
                    <a:lnTo>
                      <a:pt x="11" y="145"/>
                    </a:lnTo>
                    <a:lnTo>
                      <a:pt x="11" y="143"/>
                    </a:lnTo>
                    <a:lnTo>
                      <a:pt x="13" y="143"/>
                    </a:lnTo>
                    <a:lnTo>
                      <a:pt x="13" y="145"/>
                    </a:lnTo>
                    <a:lnTo>
                      <a:pt x="15" y="145"/>
                    </a:lnTo>
                    <a:lnTo>
                      <a:pt x="15" y="143"/>
                    </a:lnTo>
                    <a:lnTo>
                      <a:pt x="17" y="143"/>
                    </a:lnTo>
                    <a:lnTo>
                      <a:pt x="17" y="141"/>
                    </a:lnTo>
                    <a:lnTo>
                      <a:pt x="15" y="141"/>
                    </a:lnTo>
                    <a:lnTo>
                      <a:pt x="15" y="139"/>
                    </a:lnTo>
                    <a:lnTo>
                      <a:pt x="13" y="139"/>
                    </a:lnTo>
                    <a:lnTo>
                      <a:pt x="13" y="137"/>
                    </a:lnTo>
                    <a:lnTo>
                      <a:pt x="13" y="135"/>
                    </a:lnTo>
                    <a:lnTo>
                      <a:pt x="11" y="135"/>
                    </a:lnTo>
                    <a:lnTo>
                      <a:pt x="13" y="135"/>
                    </a:lnTo>
                    <a:lnTo>
                      <a:pt x="11" y="135"/>
                    </a:lnTo>
                    <a:lnTo>
                      <a:pt x="11" y="133"/>
                    </a:lnTo>
                    <a:lnTo>
                      <a:pt x="11" y="131"/>
                    </a:lnTo>
                    <a:lnTo>
                      <a:pt x="11" y="129"/>
                    </a:lnTo>
                    <a:lnTo>
                      <a:pt x="9" y="129"/>
                    </a:lnTo>
                    <a:lnTo>
                      <a:pt x="7" y="127"/>
                    </a:lnTo>
                    <a:lnTo>
                      <a:pt x="7" y="129"/>
                    </a:lnTo>
                    <a:lnTo>
                      <a:pt x="7" y="127"/>
                    </a:lnTo>
                    <a:lnTo>
                      <a:pt x="6" y="127"/>
                    </a:lnTo>
                    <a:lnTo>
                      <a:pt x="4" y="127"/>
                    </a:lnTo>
                    <a:lnTo>
                      <a:pt x="4" y="125"/>
                    </a:lnTo>
                    <a:lnTo>
                      <a:pt x="4" y="127"/>
                    </a:lnTo>
                    <a:lnTo>
                      <a:pt x="4" y="125"/>
                    </a:lnTo>
                    <a:lnTo>
                      <a:pt x="4" y="127"/>
                    </a:lnTo>
                    <a:lnTo>
                      <a:pt x="2" y="127"/>
                    </a:lnTo>
                    <a:lnTo>
                      <a:pt x="2" y="125"/>
                    </a:lnTo>
                    <a:lnTo>
                      <a:pt x="2" y="123"/>
                    </a:lnTo>
                    <a:lnTo>
                      <a:pt x="0" y="123"/>
                    </a:lnTo>
                    <a:lnTo>
                      <a:pt x="0" y="122"/>
                    </a:lnTo>
                    <a:lnTo>
                      <a:pt x="2" y="122"/>
                    </a:lnTo>
                    <a:lnTo>
                      <a:pt x="2" y="120"/>
                    </a:lnTo>
                    <a:lnTo>
                      <a:pt x="2" y="122"/>
                    </a:lnTo>
                    <a:lnTo>
                      <a:pt x="2" y="120"/>
                    </a:lnTo>
                    <a:lnTo>
                      <a:pt x="4" y="120"/>
                    </a:lnTo>
                    <a:lnTo>
                      <a:pt x="6" y="120"/>
                    </a:lnTo>
                    <a:lnTo>
                      <a:pt x="6" y="118"/>
                    </a:lnTo>
                    <a:lnTo>
                      <a:pt x="7" y="118"/>
                    </a:lnTo>
                    <a:lnTo>
                      <a:pt x="7" y="116"/>
                    </a:lnTo>
                    <a:lnTo>
                      <a:pt x="9" y="116"/>
                    </a:lnTo>
                    <a:lnTo>
                      <a:pt x="11" y="114"/>
                    </a:lnTo>
                    <a:lnTo>
                      <a:pt x="11" y="112"/>
                    </a:lnTo>
                    <a:lnTo>
                      <a:pt x="11" y="114"/>
                    </a:lnTo>
                    <a:lnTo>
                      <a:pt x="11" y="112"/>
                    </a:lnTo>
                    <a:lnTo>
                      <a:pt x="13" y="112"/>
                    </a:lnTo>
                    <a:lnTo>
                      <a:pt x="13" y="110"/>
                    </a:lnTo>
                    <a:lnTo>
                      <a:pt x="15" y="110"/>
                    </a:lnTo>
                    <a:lnTo>
                      <a:pt x="15" y="108"/>
                    </a:lnTo>
                    <a:lnTo>
                      <a:pt x="13" y="108"/>
                    </a:lnTo>
                    <a:lnTo>
                      <a:pt x="11" y="108"/>
                    </a:lnTo>
                    <a:lnTo>
                      <a:pt x="11" y="106"/>
                    </a:lnTo>
                    <a:lnTo>
                      <a:pt x="13" y="106"/>
                    </a:lnTo>
                    <a:lnTo>
                      <a:pt x="13" y="104"/>
                    </a:lnTo>
                    <a:lnTo>
                      <a:pt x="11" y="106"/>
                    </a:lnTo>
                    <a:lnTo>
                      <a:pt x="11" y="104"/>
                    </a:lnTo>
                    <a:lnTo>
                      <a:pt x="11" y="102"/>
                    </a:lnTo>
                    <a:lnTo>
                      <a:pt x="9" y="102"/>
                    </a:lnTo>
                    <a:lnTo>
                      <a:pt x="9" y="100"/>
                    </a:lnTo>
                    <a:lnTo>
                      <a:pt x="9" y="98"/>
                    </a:lnTo>
                    <a:lnTo>
                      <a:pt x="7" y="98"/>
                    </a:lnTo>
                    <a:lnTo>
                      <a:pt x="7" y="97"/>
                    </a:lnTo>
                    <a:lnTo>
                      <a:pt x="7" y="95"/>
                    </a:lnTo>
                    <a:lnTo>
                      <a:pt x="7" y="93"/>
                    </a:lnTo>
                    <a:lnTo>
                      <a:pt x="7" y="91"/>
                    </a:lnTo>
                    <a:lnTo>
                      <a:pt x="7" y="89"/>
                    </a:lnTo>
                    <a:lnTo>
                      <a:pt x="6" y="89"/>
                    </a:lnTo>
                    <a:lnTo>
                      <a:pt x="7" y="87"/>
                    </a:lnTo>
                    <a:lnTo>
                      <a:pt x="9" y="85"/>
                    </a:lnTo>
                    <a:lnTo>
                      <a:pt x="9" y="83"/>
                    </a:lnTo>
                    <a:lnTo>
                      <a:pt x="11" y="83"/>
                    </a:lnTo>
                    <a:lnTo>
                      <a:pt x="11" y="81"/>
                    </a:lnTo>
                    <a:lnTo>
                      <a:pt x="9" y="79"/>
                    </a:lnTo>
                    <a:lnTo>
                      <a:pt x="11" y="79"/>
                    </a:lnTo>
                    <a:lnTo>
                      <a:pt x="11" y="77"/>
                    </a:lnTo>
                    <a:lnTo>
                      <a:pt x="13" y="75"/>
                    </a:lnTo>
                    <a:lnTo>
                      <a:pt x="13" y="73"/>
                    </a:lnTo>
                    <a:lnTo>
                      <a:pt x="11" y="73"/>
                    </a:lnTo>
                    <a:lnTo>
                      <a:pt x="11" y="72"/>
                    </a:lnTo>
                    <a:lnTo>
                      <a:pt x="11" y="70"/>
                    </a:lnTo>
                    <a:lnTo>
                      <a:pt x="11" y="68"/>
                    </a:lnTo>
                    <a:lnTo>
                      <a:pt x="13" y="68"/>
                    </a:lnTo>
                    <a:lnTo>
                      <a:pt x="13" y="70"/>
                    </a:lnTo>
                    <a:lnTo>
                      <a:pt x="13" y="68"/>
                    </a:lnTo>
                    <a:lnTo>
                      <a:pt x="13" y="70"/>
                    </a:lnTo>
                    <a:lnTo>
                      <a:pt x="13" y="68"/>
                    </a:lnTo>
                    <a:lnTo>
                      <a:pt x="15" y="68"/>
                    </a:lnTo>
                    <a:lnTo>
                      <a:pt x="13" y="68"/>
                    </a:lnTo>
                    <a:lnTo>
                      <a:pt x="15" y="68"/>
                    </a:lnTo>
                    <a:lnTo>
                      <a:pt x="17" y="68"/>
                    </a:lnTo>
                    <a:lnTo>
                      <a:pt x="17" y="66"/>
                    </a:lnTo>
                    <a:lnTo>
                      <a:pt x="19" y="66"/>
                    </a:lnTo>
                    <a:lnTo>
                      <a:pt x="19" y="64"/>
                    </a:lnTo>
                    <a:lnTo>
                      <a:pt x="21" y="64"/>
                    </a:lnTo>
                    <a:lnTo>
                      <a:pt x="19" y="62"/>
                    </a:lnTo>
                    <a:lnTo>
                      <a:pt x="17" y="62"/>
                    </a:lnTo>
                    <a:lnTo>
                      <a:pt x="17" y="60"/>
                    </a:lnTo>
                    <a:lnTo>
                      <a:pt x="15" y="60"/>
                    </a:lnTo>
                    <a:lnTo>
                      <a:pt x="15" y="58"/>
                    </a:lnTo>
                    <a:lnTo>
                      <a:pt x="17" y="58"/>
                    </a:lnTo>
                    <a:lnTo>
                      <a:pt x="17" y="56"/>
                    </a:lnTo>
                    <a:lnTo>
                      <a:pt x="17" y="54"/>
                    </a:lnTo>
                    <a:lnTo>
                      <a:pt x="17" y="52"/>
                    </a:lnTo>
                    <a:lnTo>
                      <a:pt x="15" y="52"/>
                    </a:lnTo>
                    <a:lnTo>
                      <a:pt x="15" y="50"/>
                    </a:lnTo>
                    <a:lnTo>
                      <a:pt x="15" y="48"/>
                    </a:lnTo>
                    <a:lnTo>
                      <a:pt x="13" y="47"/>
                    </a:lnTo>
                    <a:lnTo>
                      <a:pt x="17" y="45"/>
                    </a:lnTo>
                    <a:lnTo>
                      <a:pt x="19" y="43"/>
                    </a:lnTo>
                    <a:lnTo>
                      <a:pt x="19" y="45"/>
                    </a:lnTo>
                    <a:lnTo>
                      <a:pt x="19" y="43"/>
                    </a:lnTo>
                    <a:lnTo>
                      <a:pt x="21" y="43"/>
                    </a:lnTo>
                    <a:lnTo>
                      <a:pt x="21" y="41"/>
                    </a:lnTo>
                    <a:lnTo>
                      <a:pt x="23" y="41"/>
                    </a:lnTo>
                    <a:lnTo>
                      <a:pt x="25" y="41"/>
                    </a:lnTo>
                    <a:lnTo>
                      <a:pt x="25" y="43"/>
                    </a:lnTo>
                    <a:lnTo>
                      <a:pt x="25" y="41"/>
                    </a:lnTo>
                    <a:lnTo>
                      <a:pt x="27" y="43"/>
                    </a:lnTo>
                    <a:lnTo>
                      <a:pt x="27" y="41"/>
                    </a:lnTo>
                    <a:lnTo>
                      <a:pt x="29" y="41"/>
                    </a:lnTo>
                    <a:lnTo>
                      <a:pt x="27" y="39"/>
                    </a:lnTo>
                    <a:lnTo>
                      <a:pt x="29" y="39"/>
                    </a:lnTo>
                    <a:lnTo>
                      <a:pt x="29" y="37"/>
                    </a:lnTo>
                    <a:lnTo>
                      <a:pt x="29" y="39"/>
                    </a:lnTo>
                    <a:lnTo>
                      <a:pt x="30" y="39"/>
                    </a:lnTo>
                    <a:lnTo>
                      <a:pt x="32" y="39"/>
                    </a:lnTo>
                    <a:lnTo>
                      <a:pt x="32" y="37"/>
                    </a:lnTo>
                    <a:lnTo>
                      <a:pt x="32" y="35"/>
                    </a:lnTo>
                    <a:lnTo>
                      <a:pt x="34" y="35"/>
                    </a:lnTo>
                    <a:lnTo>
                      <a:pt x="34" y="33"/>
                    </a:lnTo>
                    <a:lnTo>
                      <a:pt x="34" y="35"/>
                    </a:lnTo>
                    <a:lnTo>
                      <a:pt x="34" y="33"/>
                    </a:lnTo>
                    <a:lnTo>
                      <a:pt x="36" y="31"/>
                    </a:lnTo>
                    <a:lnTo>
                      <a:pt x="36" y="29"/>
                    </a:lnTo>
                    <a:lnTo>
                      <a:pt x="34" y="29"/>
                    </a:lnTo>
                    <a:lnTo>
                      <a:pt x="36" y="29"/>
                    </a:lnTo>
                    <a:lnTo>
                      <a:pt x="36" y="27"/>
                    </a:lnTo>
                    <a:lnTo>
                      <a:pt x="36" y="25"/>
                    </a:lnTo>
                    <a:lnTo>
                      <a:pt x="36" y="23"/>
                    </a:lnTo>
                    <a:lnTo>
                      <a:pt x="36" y="22"/>
                    </a:lnTo>
                    <a:lnTo>
                      <a:pt x="38" y="20"/>
                    </a:lnTo>
                    <a:lnTo>
                      <a:pt x="40" y="20"/>
                    </a:lnTo>
                    <a:lnTo>
                      <a:pt x="42" y="18"/>
                    </a:lnTo>
                    <a:lnTo>
                      <a:pt x="42" y="20"/>
                    </a:lnTo>
                    <a:lnTo>
                      <a:pt x="44" y="18"/>
                    </a:lnTo>
                    <a:lnTo>
                      <a:pt x="44" y="16"/>
                    </a:lnTo>
                    <a:lnTo>
                      <a:pt x="46" y="14"/>
                    </a:lnTo>
                    <a:lnTo>
                      <a:pt x="48" y="14"/>
                    </a:lnTo>
                    <a:lnTo>
                      <a:pt x="48" y="12"/>
                    </a:lnTo>
                    <a:lnTo>
                      <a:pt x="48" y="10"/>
                    </a:lnTo>
                    <a:lnTo>
                      <a:pt x="50" y="10"/>
                    </a:lnTo>
                    <a:lnTo>
                      <a:pt x="52" y="10"/>
                    </a:lnTo>
                    <a:lnTo>
                      <a:pt x="52" y="8"/>
                    </a:lnTo>
                    <a:lnTo>
                      <a:pt x="54" y="6"/>
                    </a:lnTo>
                    <a:lnTo>
                      <a:pt x="54" y="4"/>
                    </a:lnTo>
                    <a:lnTo>
                      <a:pt x="54" y="6"/>
                    </a:lnTo>
                    <a:lnTo>
                      <a:pt x="54" y="4"/>
                    </a:lnTo>
                    <a:lnTo>
                      <a:pt x="55" y="4"/>
                    </a:lnTo>
                    <a:lnTo>
                      <a:pt x="57" y="4"/>
                    </a:lnTo>
                    <a:lnTo>
                      <a:pt x="59" y="4"/>
                    </a:lnTo>
                    <a:lnTo>
                      <a:pt x="59" y="2"/>
                    </a:lnTo>
                    <a:lnTo>
                      <a:pt x="61" y="2"/>
                    </a:lnTo>
                    <a:lnTo>
                      <a:pt x="61" y="0"/>
                    </a:lnTo>
                    <a:lnTo>
                      <a:pt x="63" y="2"/>
                    </a:lnTo>
                    <a:lnTo>
                      <a:pt x="63" y="4"/>
                    </a:lnTo>
                    <a:lnTo>
                      <a:pt x="65" y="4"/>
                    </a:lnTo>
                    <a:lnTo>
                      <a:pt x="65" y="6"/>
                    </a:lnTo>
                    <a:lnTo>
                      <a:pt x="63" y="6"/>
                    </a:lnTo>
                    <a:lnTo>
                      <a:pt x="65" y="6"/>
                    </a:lnTo>
                    <a:lnTo>
                      <a:pt x="67" y="6"/>
                    </a:lnTo>
                    <a:lnTo>
                      <a:pt x="67" y="8"/>
                    </a:lnTo>
                    <a:lnTo>
                      <a:pt x="67" y="6"/>
                    </a:lnTo>
                    <a:lnTo>
                      <a:pt x="69" y="8"/>
                    </a:lnTo>
                    <a:lnTo>
                      <a:pt x="69" y="10"/>
                    </a:lnTo>
                    <a:lnTo>
                      <a:pt x="69" y="12"/>
                    </a:lnTo>
                    <a:lnTo>
                      <a:pt x="71" y="12"/>
                    </a:lnTo>
                    <a:lnTo>
                      <a:pt x="73" y="12"/>
                    </a:lnTo>
                    <a:lnTo>
                      <a:pt x="75" y="12"/>
                    </a:lnTo>
                    <a:lnTo>
                      <a:pt x="75" y="14"/>
                    </a:lnTo>
                    <a:lnTo>
                      <a:pt x="77" y="14"/>
                    </a:lnTo>
                    <a:lnTo>
                      <a:pt x="77" y="16"/>
                    </a:lnTo>
                    <a:lnTo>
                      <a:pt x="79" y="16"/>
                    </a:lnTo>
                    <a:lnTo>
                      <a:pt x="77" y="18"/>
                    </a:lnTo>
                    <a:lnTo>
                      <a:pt x="79" y="18"/>
                    </a:lnTo>
                    <a:lnTo>
                      <a:pt x="79" y="20"/>
                    </a:lnTo>
                    <a:lnTo>
                      <a:pt x="80" y="18"/>
                    </a:lnTo>
                    <a:lnTo>
                      <a:pt x="80" y="16"/>
                    </a:lnTo>
                    <a:lnTo>
                      <a:pt x="82" y="16"/>
                    </a:lnTo>
                    <a:lnTo>
                      <a:pt x="84" y="16"/>
                    </a:lnTo>
                    <a:lnTo>
                      <a:pt x="84" y="18"/>
                    </a:lnTo>
                    <a:lnTo>
                      <a:pt x="86" y="18"/>
                    </a:lnTo>
                    <a:lnTo>
                      <a:pt x="86" y="20"/>
                    </a:lnTo>
                    <a:lnTo>
                      <a:pt x="88" y="22"/>
                    </a:lnTo>
                    <a:lnTo>
                      <a:pt x="86" y="22"/>
                    </a:lnTo>
                    <a:lnTo>
                      <a:pt x="86" y="23"/>
                    </a:lnTo>
                    <a:lnTo>
                      <a:pt x="88" y="23"/>
                    </a:lnTo>
                    <a:lnTo>
                      <a:pt x="86" y="25"/>
                    </a:lnTo>
                    <a:lnTo>
                      <a:pt x="84" y="23"/>
                    </a:lnTo>
                    <a:lnTo>
                      <a:pt x="84" y="25"/>
                    </a:lnTo>
                    <a:lnTo>
                      <a:pt x="84" y="27"/>
                    </a:lnTo>
                    <a:lnTo>
                      <a:pt x="84" y="25"/>
                    </a:lnTo>
                    <a:lnTo>
                      <a:pt x="86" y="27"/>
                    </a:lnTo>
                    <a:lnTo>
                      <a:pt x="86" y="25"/>
                    </a:lnTo>
                    <a:lnTo>
                      <a:pt x="86" y="27"/>
                    </a:lnTo>
                    <a:lnTo>
                      <a:pt x="88" y="27"/>
                    </a:lnTo>
                    <a:lnTo>
                      <a:pt x="88" y="25"/>
                    </a:lnTo>
                    <a:lnTo>
                      <a:pt x="88" y="27"/>
                    </a:lnTo>
                    <a:lnTo>
                      <a:pt x="90" y="27"/>
                    </a:lnTo>
                    <a:lnTo>
                      <a:pt x="90" y="29"/>
                    </a:lnTo>
                    <a:lnTo>
                      <a:pt x="92" y="29"/>
                    </a:lnTo>
                    <a:lnTo>
                      <a:pt x="94" y="27"/>
                    </a:lnTo>
                    <a:lnTo>
                      <a:pt x="94" y="29"/>
                    </a:lnTo>
                    <a:lnTo>
                      <a:pt x="96" y="29"/>
                    </a:lnTo>
                    <a:lnTo>
                      <a:pt x="96" y="31"/>
                    </a:lnTo>
                    <a:lnTo>
                      <a:pt x="94" y="31"/>
                    </a:lnTo>
                    <a:lnTo>
                      <a:pt x="96" y="31"/>
                    </a:lnTo>
                    <a:lnTo>
                      <a:pt x="96" y="29"/>
                    </a:lnTo>
                    <a:lnTo>
                      <a:pt x="96" y="31"/>
                    </a:lnTo>
                    <a:lnTo>
                      <a:pt x="96" y="33"/>
                    </a:lnTo>
                    <a:lnTo>
                      <a:pt x="98" y="31"/>
                    </a:lnTo>
                    <a:lnTo>
                      <a:pt x="100" y="31"/>
                    </a:lnTo>
                    <a:lnTo>
                      <a:pt x="100" y="33"/>
                    </a:lnTo>
                    <a:lnTo>
                      <a:pt x="98" y="35"/>
                    </a:lnTo>
                    <a:lnTo>
                      <a:pt x="96" y="35"/>
                    </a:lnTo>
                    <a:lnTo>
                      <a:pt x="96" y="37"/>
                    </a:lnTo>
                    <a:lnTo>
                      <a:pt x="98" y="37"/>
                    </a:lnTo>
                    <a:lnTo>
                      <a:pt x="98" y="35"/>
                    </a:lnTo>
                    <a:lnTo>
                      <a:pt x="100" y="35"/>
                    </a:lnTo>
                    <a:lnTo>
                      <a:pt x="100" y="37"/>
                    </a:lnTo>
                    <a:lnTo>
                      <a:pt x="102" y="37"/>
                    </a:lnTo>
                    <a:lnTo>
                      <a:pt x="102" y="35"/>
                    </a:lnTo>
                    <a:lnTo>
                      <a:pt x="102" y="37"/>
                    </a:lnTo>
                    <a:lnTo>
                      <a:pt x="103" y="39"/>
                    </a:lnTo>
                    <a:lnTo>
                      <a:pt x="103" y="41"/>
                    </a:lnTo>
                    <a:lnTo>
                      <a:pt x="105" y="41"/>
                    </a:lnTo>
                    <a:lnTo>
                      <a:pt x="105" y="43"/>
                    </a:lnTo>
                    <a:lnTo>
                      <a:pt x="107" y="43"/>
                    </a:lnTo>
                    <a:lnTo>
                      <a:pt x="107" y="45"/>
                    </a:lnTo>
                    <a:lnTo>
                      <a:pt x="107" y="43"/>
                    </a:lnTo>
                    <a:lnTo>
                      <a:pt x="107" y="45"/>
                    </a:lnTo>
                    <a:lnTo>
                      <a:pt x="109" y="45"/>
                    </a:lnTo>
                    <a:lnTo>
                      <a:pt x="109" y="43"/>
                    </a:lnTo>
                    <a:lnTo>
                      <a:pt x="109" y="45"/>
                    </a:lnTo>
                    <a:lnTo>
                      <a:pt x="109" y="47"/>
                    </a:lnTo>
                    <a:lnTo>
                      <a:pt x="111" y="47"/>
                    </a:lnTo>
                    <a:lnTo>
                      <a:pt x="111" y="45"/>
                    </a:lnTo>
                    <a:lnTo>
                      <a:pt x="111" y="47"/>
                    </a:lnTo>
                    <a:lnTo>
                      <a:pt x="111" y="48"/>
                    </a:lnTo>
                    <a:lnTo>
                      <a:pt x="113" y="48"/>
                    </a:lnTo>
                    <a:lnTo>
                      <a:pt x="115" y="47"/>
                    </a:lnTo>
                    <a:lnTo>
                      <a:pt x="117" y="47"/>
                    </a:lnTo>
                    <a:lnTo>
                      <a:pt x="119" y="47"/>
                    </a:lnTo>
                    <a:lnTo>
                      <a:pt x="119" y="48"/>
                    </a:lnTo>
                    <a:lnTo>
                      <a:pt x="117" y="48"/>
                    </a:lnTo>
                    <a:lnTo>
                      <a:pt x="119" y="48"/>
                    </a:lnTo>
                    <a:lnTo>
                      <a:pt x="121" y="48"/>
                    </a:lnTo>
                    <a:lnTo>
                      <a:pt x="121" y="47"/>
                    </a:lnTo>
                    <a:lnTo>
                      <a:pt x="121" y="48"/>
                    </a:lnTo>
                    <a:lnTo>
                      <a:pt x="123" y="48"/>
                    </a:lnTo>
                    <a:lnTo>
                      <a:pt x="125" y="48"/>
                    </a:lnTo>
                    <a:lnTo>
                      <a:pt x="127" y="48"/>
                    </a:lnTo>
                    <a:lnTo>
                      <a:pt x="128" y="48"/>
                    </a:lnTo>
                    <a:lnTo>
                      <a:pt x="130" y="47"/>
                    </a:lnTo>
                    <a:lnTo>
                      <a:pt x="130" y="48"/>
                    </a:lnTo>
                    <a:lnTo>
                      <a:pt x="130" y="47"/>
                    </a:lnTo>
                    <a:lnTo>
                      <a:pt x="132" y="47"/>
                    </a:lnTo>
                    <a:lnTo>
                      <a:pt x="134" y="47"/>
                    </a:lnTo>
                    <a:lnTo>
                      <a:pt x="136" y="47"/>
                    </a:lnTo>
                    <a:lnTo>
                      <a:pt x="136" y="45"/>
                    </a:lnTo>
                    <a:lnTo>
                      <a:pt x="138" y="45"/>
                    </a:lnTo>
                    <a:lnTo>
                      <a:pt x="138" y="43"/>
                    </a:lnTo>
                    <a:lnTo>
                      <a:pt x="138" y="41"/>
                    </a:lnTo>
                    <a:lnTo>
                      <a:pt x="138" y="43"/>
                    </a:lnTo>
                    <a:lnTo>
                      <a:pt x="140" y="43"/>
                    </a:lnTo>
                    <a:lnTo>
                      <a:pt x="142" y="45"/>
                    </a:lnTo>
                    <a:lnTo>
                      <a:pt x="140" y="45"/>
                    </a:lnTo>
                    <a:lnTo>
                      <a:pt x="142" y="45"/>
                    </a:lnTo>
                    <a:lnTo>
                      <a:pt x="144" y="45"/>
                    </a:lnTo>
                    <a:lnTo>
                      <a:pt x="144" y="43"/>
                    </a:lnTo>
                    <a:lnTo>
                      <a:pt x="142" y="43"/>
                    </a:lnTo>
                    <a:lnTo>
                      <a:pt x="144" y="43"/>
                    </a:lnTo>
                    <a:lnTo>
                      <a:pt x="144" y="41"/>
                    </a:lnTo>
                    <a:lnTo>
                      <a:pt x="146" y="41"/>
                    </a:lnTo>
                    <a:lnTo>
                      <a:pt x="146" y="43"/>
                    </a:lnTo>
                    <a:lnTo>
                      <a:pt x="148" y="39"/>
                    </a:lnTo>
                    <a:lnTo>
                      <a:pt x="148" y="41"/>
                    </a:lnTo>
                    <a:lnTo>
                      <a:pt x="150" y="41"/>
                    </a:lnTo>
                    <a:lnTo>
                      <a:pt x="150" y="43"/>
                    </a:lnTo>
                    <a:lnTo>
                      <a:pt x="152" y="43"/>
                    </a:lnTo>
                    <a:lnTo>
                      <a:pt x="152" y="45"/>
                    </a:lnTo>
                    <a:lnTo>
                      <a:pt x="153" y="45"/>
                    </a:lnTo>
                    <a:lnTo>
                      <a:pt x="155" y="45"/>
                    </a:lnTo>
                    <a:lnTo>
                      <a:pt x="157" y="45"/>
                    </a:lnTo>
                    <a:lnTo>
                      <a:pt x="157" y="47"/>
                    </a:lnTo>
                    <a:lnTo>
                      <a:pt x="157" y="48"/>
                    </a:lnTo>
                    <a:lnTo>
                      <a:pt x="157" y="50"/>
                    </a:lnTo>
                    <a:lnTo>
                      <a:pt x="157" y="52"/>
                    </a:lnTo>
                    <a:lnTo>
                      <a:pt x="159" y="52"/>
                    </a:lnTo>
                    <a:lnTo>
                      <a:pt x="159" y="50"/>
                    </a:lnTo>
                    <a:lnTo>
                      <a:pt x="159" y="52"/>
                    </a:lnTo>
                    <a:lnTo>
                      <a:pt x="161" y="50"/>
                    </a:lnTo>
                    <a:lnTo>
                      <a:pt x="161" y="52"/>
                    </a:lnTo>
                    <a:lnTo>
                      <a:pt x="161" y="54"/>
                    </a:lnTo>
                    <a:lnTo>
                      <a:pt x="159" y="54"/>
                    </a:lnTo>
                    <a:lnTo>
                      <a:pt x="161" y="54"/>
                    </a:lnTo>
                    <a:lnTo>
                      <a:pt x="161" y="56"/>
                    </a:lnTo>
                    <a:lnTo>
                      <a:pt x="161" y="58"/>
                    </a:lnTo>
                    <a:lnTo>
                      <a:pt x="161" y="60"/>
                    </a:lnTo>
                    <a:lnTo>
                      <a:pt x="163" y="60"/>
                    </a:lnTo>
                    <a:lnTo>
                      <a:pt x="163" y="62"/>
                    </a:lnTo>
                    <a:lnTo>
                      <a:pt x="163" y="64"/>
                    </a:lnTo>
                    <a:lnTo>
                      <a:pt x="165" y="64"/>
                    </a:lnTo>
                    <a:lnTo>
                      <a:pt x="165" y="62"/>
                    </a:lnTo>
                    <a:lnTo>
                      <a:pt x="167" y="62"/>
                    </a:lnTo>
                    <a:lnTo>
                      <a:pt x="169" y="60"/>
                    </a:lnTo>
                    <a:lnTo>
                      <a:pt x="169" y="62"/>
                    </a:lnTo>
                    <a:lnTo>
                      <a:pt x="171" y="62"/>
                    </a:lnTo>
                    <a:lnTo>
                      <a:pt x="171" y="64"/>
                    </a:lnTo>
                    <a:lnTo>
                      <a:pt x="173" y="64"/>
                    </a:lnTo>
                    <a:lnTo>
                      <a:pt x="175" y="64"/>
                    </a:lnTo>
                    <a:lnTo>
                      <a:pt x="175" y="66"/>
                    </a:lnTo>
                    <a:lnTo>
                      <a:pt x="176" y="66"/>
                    </a:lnTo>
                    <a:lnTo>
                      <a:pt x="178" y="66"/>
                    </a:lnTo>
                    <a:lnTo>
                      <a:pt x="176" y="66"/>
                    </a:lnTo>
                    <a:lnTo>
                      <a:pt x="176" y="68"/>
                    </a:lnTo>
                    <a:lnTo>
                      <a:pt x="178" y="68"/>
                    </a:lnTo>
                    <a:lnTo>
                      <a:pt x="176" y="70"/>
                    </a:lnTo>
                    <a:lnTo>
                      <a:pt x="178" y="7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49" name="Freeform 129"/>
              <p:cNvSpPr>
                <a:spLocks/>
              </p:cNvSpPr>
              <p:nvPr/>
            </p:nvSpPr>
            <p:spPr bwMode="auto">
              <a:xfrm>
                <a:off x="389864" y="3576104"/>
                <a:ext cx="280462" cy="371655"/>
              </a:xfrm>
              <a:custGeom>
                <a:avLst/>
                <a:gdLst>
                  <a:gd name="T0" fmla="*/ 142 w 163"/>
                  <a:gd name="T1" fmla="*/ 168 h 216"/>
                  <a:gd name="T2" fmla="*/ 131 w 163"/>
                  <a:gd name="T3" fmla="*/ 170 h 216"/>
                  <a:gd name="T4" fmla="*/ 133 w 163"/>
                  <a:gd name="T5" fmla="*/ 179 h 216"/>
                  <a:gd name="T6" fmla="*/ 123 w 163"/>
                  <a:gd name="T7" fmla="*/ 185 h 216"/>
                  <a:gd name="T8" fmla="*/ 121 w 163"/>
                  <a:gd name="T9" fmla="*/ 191 h 216"/>
                  <a:gd name="T10" fmla="*/ 127 w 163"/>
                  <a:gd name="T11" fmla="*/ 198 h 216"/>
                  <a:gd name="T12" fmla="*/ 102 w 163"/>
                  <a:gd name="T13" fmla="*/ 204 h 216"/>
                  <a:gd name="T14" fmla="*/ 92 w 163"/>
                  <a:gd name="T15" fmla="*/ 216 h 216"/>
                  <a:gd name="T16" fmla="*/ 88 w 163"/>
                  <a:gd name="T17" fmla="*/ 214 h 216"/>
                  <a:gd name="T18" fmla="*/ 88 w 163"/>
                  <a:gd name="T19" fmla="*/ 212 h 216"/>
                  <a:gd name="T20" fmla="*/ 84 w 163"/>
                  <a:gd name="T21" fmla="*/ 200 h 216"/>
                  <a:gd name="T22" fmla="*/ 71 w 163"/>
                  <a:gd name="T23" fmla="*/ 195 h 216"/>
                  <a:gd name="T24" fmla="*/ 83 w 163"/>
                  <a:gd name="T25" fmla="*/ 183 h 216"/>
                  <a:gd name="T26" fmla="*/ 73 w 163"/>
                  <a:gd name="T27" fmla="*/ 185 h 216"/>
                  <a:gd name="T28" fmla="*/ 65 w 163"/>
                  <a:gd name="T29" fmla="*/ 174 h 216"/>
                  <a:gd name="T30" fmla="*/ 56 w 163"/>
                  <a:gd name="T31" fmla="*/ 179 h 216"/>
                  <a:gd name="T32" fmla="*/ 50 w 163"/>
                  <a:gd name="T33" fmla="*/ 179 h 216"/>
                  <a:gd name="T34" fmla="*/ 40 w 163"/>
                  <a:gd name="T35" fmla="*/ 174 h 216"/>
                  <a:gd name="T36" fmla="*/ 38 w 163"/>
                  <a:gd name="T37" fmla="*/ 164 h 216"/>
                  <a:gd name="T38" fmla="*/ 29 w 163"/>
                  <a:gd name="T39" fmla="*/ 162 h 216"/>
                  <a:gd name="T40" fmla="*/ 19 w 163"/>
                  <a:gd name="T41" fmla="*/ 164 h 216"/>
                  <a:gd name="T42" fmla="*/ 15 w 163"/>
                  <a:gd name="T43" fmla="*/ 156 h 216"/>
                  <a:gd name="T44" fmla="*/ 17 w 163"/>
                  <a:gd name="T45" fmla="*/ 149 h 216"/>
                  <a:gd name="T46" fmla="*/ 13 w 163"/>
                  <a:gd name="T47" fmla="*/ 147 h 216"/>
                  <a:gd name="T48" fmla="*/ 10 w 163"/>
                  <a:gd name="T49" fmla="*/ 141 h 216"/>
                  <a:gd name="T50" fmla="*/ 13 w 163"/>
                  <a:gd name="T51" fmla="*/ 135 h 216"/>
                  <a:gd name="T52" fmla="*/ 21 w 163"/>
                  <a:gd name="T53" fmla="*/ 133 h 216"/>
                  <a:gd name="T54" fmla="*/ 29 w 163"/>
                  <a:gd name="T55" fmla="*/ 127 h 216"/>
                  <a:gd name="T56" fmla="*/ 21 w 163"/>
                  <a:gd name="T57" fmla="*/ 127 h 216"/>
                  <a:gd name="T58" fmla="*/ 17 w 163"/>
                  <a:gd name="T59" fmla="*/ 120 h 216"/>
                  <a:gd name="T60" fmla="*/ 10 w 163"/>
                  <a:gd name="T61" fmla="*/ 112 h 216"/>
                  <a:gd name="T62" fmla="*/ 8 w 163"/>
                  <a:gd name="T63" fmla="*/ 102 h 216"/>
                  <a:gd name="T64" fmla="*/ 4 w 163"/>
                  <a:gd name="T65" fmla="*/ 89 h 216"/>
                  <a:gd name="T66" fmla="*/ 8 w 163"/>
                  <a:gd name="T67" fmla="*/ 81 h 216"/>
                  <a:gd name="T68" fmla="*/ 17 w 163"/>
                  <a:gd name="T69" fmla="*/ 74 h 216"/>
                  <a:gd name="T70" fmla="*/ 13 w 163"/>
                  <a:gd name="T71" fmla="*/ 56 h 216"/>
                  <a:gd name="T72" fmla="*/ 17 w 163"/>
                  <a:gd name="T73" fmla="*/ 47 h 216"/>
                  <a:gd name="T74" fmla="*/ 8 w 163"/>
                  <a:gd name="T75" fmla="*/ 39 h 216"/>
                  <a:gd name="T76" fmla="*/ 11 w 163"/>
                  <a:gd name="T77" fmla="*/ 29 h 216"/>
                  <a:gd name="T78" fmla="*/ 21 w 163"/>
                  <a:gd name="T79" fmla="*/ 12 h 216"/>
                  <a:gd name="T80" fmla="*/ 36 w 163"/>
                  <a:gd name="T81" fmla="*/ 12 h 216"/>
                  <a:gd name="T82" fmla="*/ 35 w 163"/>
                  <a:gd name="T83" fmla="*/ 4 h 216"/>
                  <a:gd name="T84" fmla="*/ 52 w 163"/>
                  <a:gd name="T85" fmla="*/ 8 h 216"/>
                  <a:gd name="T86" fmla="*/ 61 w 163"/>
                  <a:gd name="T87" fmla="*/ 14 h 216"/>
                  <a:gd name="T88" fmla="*/ 75 w 163"/>
                  <a:gd name="T89" fmla="*/ 16 h 216"/>
                  <a:gd name="T90" fmla="*/ 88 w 163"/>
                  <a:gd name="T91" fmla="*/ 25 h 216"/>
                  <a:gd name="T92" fmla="*/ 104 w 163"/>
                  <a:gd name="T93" fmla="*/ 22 h 216"/>
                  <a:gd name="T94" fmla="*/ 111 w 163"/>
                  <a:gd name="T95" fmla="*/ 31 h 216"/>
                  <a:gd name="T96" fmla="*/ 117 w 163"/>
                  <a:gd name="T97" fmla="*/ 45 h 216"/>
                  <a:gd name="T98" fmla="*/ 129 w 163"/>
                  <a:gd name="T99" fmla="*/ 52 h 216"/>
                  <a:gd name="T100" fmla="*/ 133 w 163"/>
                  <a:gd name="T101" fmla="*/ 58 h 216"/>
                  <a:gd name="T102" fmla="*/ 133 w 163"/>
                  <a:gd name="T103" fmla="*/ 68 h 216"/>
                  <a:gd name="T104" fmla="*/ 131 w 163"/>
                  <a:gd name="T105" fmla="*/ 85 h 216"/>
                  <a:gd name="T106" fmla="*/ 142 w 163"/>
                  <a:gd name="T107" fmla="*/ 102 h 216"/>
                  <a:gd name="T108" fmla="*/ 148 w 163"/>
                  <a:gd name="T109" fmla="*/ 110 h 216"/>
                  <a:gd name="T110" fmla="*/ 163 w 163"/>
                  <a:gd name="T111" fmla="*/ 15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3" h="216">
                    <a:moveTo>
                      <a:pt x="161" y="150"/>
                    </a:moveTo>
                    <a:lnTo>
                      <a:pt x="161" y="152"/>
                    </a:lnTo>
                    <a:lnTo>
                      <a:pt x="156" y="156"/>
                    </a:lnTo>
                    <a:lnTo>
                      <a:pt x="154" y="160"/>
                    </a:lnTo>
                    <a:lnTo>
                      <a:pt x="146" y="166"/>
                    </a:lnTo>
                    <a:lnTo>
                      <a:pt x="144" y="166"/>
                    </a:lnTo>
                    <a:lnTo>
                      <a:pt x="142" y="168"/>
                    </a:lnTo>
                    <a:lnTo>
                      <a:pt x="138" y="170"/>
                    </a:lnTo>
                    <a:lnTo>
                      <a:pt x="138" y="168"/>
                    </a:lnTo>
                    <a:lnTo>
                      <a:pt x="136" y="168"/>
                    </a:lnTo>
                    <a:lnTo>
                      <a:pt x="134" y="168"/>
                    </a:lnTo>
                    <a:lnTo>
                      <a:pt x="134" y="166"/>
                    </a:lnTo>
                    <a:lnTo>
                      <a:pt x="131" y="168"/>
                    </a:lnTo>
                    <a:lnTo>
                      <a:pt x="131" y="170"/>
                    </a:lnTo>
                    <a:lnTo>
                      <a:pt x="131" y="172"/>
                    </a:lnTo>
                    <a:lnTo>
                      <a:pt x="129" y="170"/>
                    </a:lnTo>
                    <a:lnTo>
                      <a:pt x="129" y="174"/>
                    </a:lnTo>
                    <a:lnTo>
                      <a:pt x="131" y="175"/>
                    </a:lnTo>
                    <a:lnTo>
                      <a:pt x="133" y="175"/>
                    </a:lnTo>
                    <a:lnTo>
                      <a:pt x="133" y="177"/>
                    </a:lnTo>
                    <a:lnTo>
                      <a:pt x="133" y="179"/>
                    </a:lnTo>
                    <a:lnTo>
                      <a:pt x="134" y="179"/>
                    </a:lnTo>
                    <a:lnTo>
                      <a:pt x="133" y="179"/>
                    </a:lnTo>
                    <a:lnTo>
                      <a:pt x="133" y="181"/>
                    </a:lnTo>
                    <a:lnTo>
                      <a:pt x="131" y="183"/>
                    </a:lnTo>
                    <a:lnTo>
                      <a:pt x="129" y="185"/>
                    </a:lnTo>
                    <a:lnTo>
                      <a:pt x="127" y="187"/>
                    </a:lnTo>
                    <a:lnTo>
                      <a:pt x="123" y="185"/>
                    </a:lnTo>
                    <a:lnTo>
                      <a:pt x="121" y="185"/>
                    </a:lnTo>
                    <a:lnTo>
                      <a:pt x="117" y="185"/>
                    </a:lnTo>
                    <a:lnTo>
                      <a:pt x="113" y="187"/>
                    </a:lnTo>
                    <a:lnTo>
                      <a:pt x="115" y="187"/>
                    </a:lnTo>
                    <a:lnTo>
                      <a:pt x="115" y="189"/>
                    </a:lnTo>
                    <a:lnTo>
                      <a:pt x="117" y="189"/>
                    </a:lnTo>
                    <a:lnTo>
                      <a:pt x="121" y="191"/>
                    </a:lnTo>
                    <a:lnTo>
                      <a:pt x="121" y="193"/>
                    </a:lnTo>
                    <a:lnTo>
                      <a:pt x="123" y="193"/>
                    </a:lnTo>
                    <a:lnTo>
                      <a:pt x="125" y="195"/>
                    </a:lnTo>
                    <a:lnTo>
                      <a:pt x="127" y="195"/>
                    </a:lnTo>
                    <a:lnTo>
                      <a:pt x="129" y="197"/>
                    </a:lnTo>
                    <a:lnTo>
                      <a:pt x="127" y="197"/>
                    </a:lnTo>
                    <a:lnTo>
                      <a:pt x="127" y="198"/>
                    </a:lnTo>
                    <a:lnTo>
                      <a:pt x="121" y="206"/>
                    </a:lnTo>
                    <a:lnTo>
                      <a:pt x="119" y="204"/>
                    </a:lnTo>
                    <a:lnTo>
                      <a:pt x="115" y="214"/>
                    </a:lnTo>
                    <a:lnTo>
                      <a:pt x="108" y="208"/>
                    </a:lnTo>
                    <a:lnTo>
                      <a:pt x="109" y="204"/>
                    </a:lnTo>
                    <a:lnTo>
                      <a:pt x="104" y="200"/>
                    </a:lnTo>
                    <a:lnTo>
                      <a:pt x="102" y="204"/>
                    </a:lnTo>
                    <a:lnTo>
                      <a:pt x="102" y="206"/>
                    </a:lnTo>
                    <a:lnTo>
                      <a:pt x="100" y="212"/>
                    </a:lnTo>
                    <a:lnTo>
                      <a:pt x="96" y="216"/>
                    </a:lnTo>
                    <a:lnTo>
                      <a:pt x="96" y="214"/>
                    </a:lnTo>
                    <a:lnTo>
                      <a:pt x="94" y="214"/>
                    </a:lnTo>
                    <a:lnTo>
                      <a:pt x="92" y="214"/>
                    </a:lnTo>
                    <a:lnTo>
                      <a:pt x="92" y="216"/>
                    </a:lnTo>
                    <a:lnTo>
                      <a:pt x="90" y="216"/>
                    </a:lnTo>
                    <a:lnTo>
                      <a:pt x="90" y="214"/>
                    </a:lnTo>
                    <a:lnTo>
                      <a:pt x="90" y="216"/>
                    </a:lnTo>
                    <a:lnTo>
                      <a:pt x="88" y="216"/>
                    </a:lnTo>
                    <a:lnTo>
                      <a:pt x="88" y="214"/>
                    </a:lnTo>
                    <a:lnTo>
                      <a:pt x="86" y="214"/>
                    </a:lnTo>
                    <a:lnTo>
                      <a:pt x="88" y="214"/>
                    </a:lnTo>
                    <a:lnTo>
                      <a:pt x="88" y="212"/>
                    </a:lnTo>
                    <a:lnTo>
                      <a:pt x="88" y="214"/>
                    </a:lnTo>
                    <a:lnTo>
                      <a:pt x="86" y="214"/>
                    </a:lnTo>
                    <a:lnTo>
                      <a:pt x="86" y="212"/>
                    </a:lnTo>
                    <a:lnTo>
                      <a:pt x="88" y="212"/>
                    </a:lnTo>
                    <a:lnTo>
                      <a:pt x="88" y="210"/>
                    </a:lnTo>
                    <a:lnTo>
                      <a:pt x="88" y="212"/>
                    </a:lnTo>
                    <a:lnTo>
                      <a:pt x="88" y="210"/>
                    </a:lnTo>
                    <a:lnTo>
                      <a:pt x="86" y="210"/>
                    </a:lnTo>
                    <a:lnTo>
                      <a:pt x="90" y="204"/>
                    </a:lnTo>
                    <a:lnTo>
                      <a:pt x="86" y="202"/>
                    </a:lnTo>
                    <a:lnTo>
                      <a:pt x="88" y="200"/>
                    </a:lnTo>
                    <a:lnTo>
                      <a:pt x="86" y="200"/>
                    </a:lnTo>
                    <a:lnTo>
                      <a:pt x="84" y="200"/>
                    </a:lnTo>
                    <a:lnTo>
                      <a:pt x="84" y="198"/>
                    </a:lnTo>
                    <a:lnTo>
                      <a:pt x="83" y="198"/>
                    </a:lnTo>
                    <a:lnTo>
                      <a:pt x="81" y="198"/>
                    </a:lnTo>
                    <a:lnTo>
                      <a:pt x="79" y="198"/>
                    </a:lnTo>
                    <a:lnTo>
                      <a:pt x="75" y="197"/>
                    </a:lnTo>
                    <a:lnTo>
                      <a:pt x="73" y="195"/>
                    </a:lnTo>
                    <a:lnTo>
                      <a:pt x="71" y="195"/>
                    </a:lnTo>
                    <a:lnTo>
                      <a:pt x="75" y="189"/>
                    </a:lnTo>
                    <a:lnTo>
                      <a:pt x="77" y="189"/>
                    </a:lnTo>
                    <a:lnTo>
                      <a:pt x="79" y="187"/>
                    </a:lnTo>
                    <a:lnTo>
                      <a:pt x="81" y="189"/>
                    </a:lnTo>
                    <a:lnTo>
                      <a:pt x="83" y="185"/>
                    </a:lnTo>
                    <a:lnTo>
                      <a:pt x="84" y="183"/>
                    </a:lnTo>
                    <a:lnTo>
                      <a:pt x="83" y="183"/>
                    </a:lnTo>
                    <a:lnTo>
                      <a:pt x="81" y="183"/>
                    </a:lnTo>
                    <a:lnTo>
                      <a:pt x="81" y="185"/>
                    </a:lnTo>
                    <a:lnTo>
                      <a:pt x="79" y="185"/>
                    </a:lnTo>
                    <a:lnTo>
                      <a:pt x="77" y="185"/>
                    </a:lnTo>
                    <a:lnTo>
                      <a:pt x="75" y="187"/>
                    </a:lnTo>
                    <a:lnTo>
                      <a:pt x="73" y="187"/>
                    </a:lnTo>
                    <a:lnTo>
                      <a:pt x="73" y="185"/>
                    </a:lnTo>
                    <a:lnTo>
                      <a:pt x="71" y="183"/>
                    </a:lnTo>
                    <a:lnTo>
                      <a:pt x="73" y="181"/>
                    </a:lnTo>
                    <a:lnTo>
                      <a:pt x="67" y="177"/>
                    </a:lnTo>
                    <a:lnTo>
                      <a:pt x="65" y="175"/>
                    </a:lnTo>
                    <a:lnTo>
                      <a:pt x="67" y="175"/>
                    </a:lnTo>
                    <a:lnTo>
                      <a:pt x="65" y="175"/>
                    </a:lnTo>
                    <a:lnTo>
                      <a:pt x="65" y="174"/>
                    </a:lnTo>
                    <a:lnTo>
                      <a:pt x="63" y="174"/>
                    </a:lnTo>
                    <a:lnTo>
                      <a:pt x="63" y="175"/>
                    </a:lnTo>
                    <a:lnTo>
                      <a:pt x="63" y="174"/>
                    </a:lnTo>
                    <a:lnTo>
                      <a:pt x="61" y="175"/>
                    </a:lnTo>
                    <a:lnTo>
                      <a:pt x="60" y="175"/>
                    </a:lnTo>
                    <a:lnTo>
                      <a:pt x="58" y="175"/>
                    </a:lnTo>
                    <a:lnTo>
                      <a:pt x="56" y="179"/>
                    </a:lnTo>
                    <a:lnTo>
                      <a:pt x="54" y="179"/>
                    </a:lnTo>
                    <a:lnTo>
                      <a:pt x="54" y="181"/>
                    </a:lnTo>
                    <a:lnTo>
                      <a:pt x="52" y="183"/>
                    </a:lnTo>
                    <a:lnTo>
                      <a:pt x="52" y="181"/>
                    </a:lnTo>
                    <a:lnTo>
                      <a:pt x="50" y="181"/>
                    </a:lnTo>
                    <a:lnTo>
                      <a:pt x="52" y="179"/>
                    </a:lnTo>
                    <a:lnTo>
                      <a:pt x="50" y="179"/>
                    </a:lnTo>
                    <a:lnTo>
                      <a:pt x="48" y="179"/>
                    </a:lnTo>
                    <a:lnTo>
                      <a:pt x="48" y="177"/>
                    </a:lnTo>
                    <a:lnTo>
                      <a:pt x="46" y="177"/>
                    </a:lnTo>
                    <a:lnTo>
                      <a:pt x="46" y="175"/>
                    </a:lnTo>
                    <a:lnTo>
                      <a:pt x="44" y="174"/>
                    </a:lnTo>
                    <a:lnTo>
                      <a:pt x="42" y="174"/>
                    </a:lnTo>
                    <a:lnTo>
                      <a:pt x="40" y="174"/>
                    </a:lnTo>
                    <a:lnTo>
                      <a:pt x="38" y="174"/>
                    </a:lnTo>
                    <a:lnTo>
                      <a:pt x="36" y="174"/>
                    </a:lnTo>
                    <a:lnTo>
                      <a:pt x="36" y="175"/>
                    </a:lnTo>
                    <a:lnTo>
                      <a:pt x="36" y="172"/>
                    </a:lnTo>
                    <a:lnTo>
                      <a:pt x="36" y="170"/>
                    </a:lnTo>
                    <a:lnTo>
                      <a:pt x="38" y="166"/>
                    </a:lnTo>
                    <a:lnTo>
                      <a:pt x="38" y="164"/>
                    </a:lnTo>
                    <a:lnTo>
                      <a:pt x="38" y="162"/>
                    </a:lnTo>
                    <a:lnTo>
                      <a:pt x="36" y="162"/>
                    </a:lnTo>
                    <a:lnTo>
                      <a:pt x="35" y="164"/>
                    </a:lnTo>
                    <a:lnTo>
                      <a:pt x="33" y="166"/>
                    </a:lnTo>
                    <a:lnTo>
                      <a:pt x="33" y="164"/>
                    </a:lnTo>
                    <a:lnTo>
                      <a:pt x="31" y="164"/>
                    </a:lnTo>
                    <a:lnTo>
                      <a:pt x="29" y="162"/>
                    </a:lnTo>
                    <a:lnTo>
                      <a:pt x="27" y="162"/>
                    </a:lnTo>
                    <a:lnTo>
                      <a:pt x="25" y="162"/>
                    </a:lnTo>
                    <a:lnTo>
                      <a:pt x="23" y="162"/>
                    </a:lnTo>
                    <a:lnTo>
                      <a:pt x="21" y="162"/>
                    </a:lnTo>
                    <a:lnTo>
                      <a:pt x="21" y="164"/>
                    </a:lnTo>
                    <a:lnTo>
                      <a:pt x="21" y="166"/>
                    </a:lnTo>
                    <a:lnTo>
                      <a:pt x="19" y="164"/>
                    </a:lnTo>
                    <a:lnTo>
                      <a:pt x="17" y="164"/>
                    </a:lnTo>
                    <a:lnTo>
                      <a:pt x="17" y="162"/>
                    </a:lnTo>
                    <a:lnTo>
                      <a:pt x="15" y="160"/>
                    </a:lnTo>
                    <a:lnTo>
                      <a:pt x="13" y="160"/>
                    </a:lnTo>
                    <a:lnTo>
                      <a:pt x="13" y="158"/>
                    </a:lnTo>
                    <a:lnTo>
                      <a:pt x="15" y="158"/>
                    </a:lnTo>
                    <a:lnTo>
                      <a:pt x="15" y="156"/>
                    </a:lnTo>
                    <a:lnTo>
                      <a:pt x="17" y="156"/>
                    </a:lnTo>
                    <a:lnTo>
                      <a:pt x="17" y="154"/>
                    </a:lnTo>
                    <a:lnTo>
                      <a:pt x="15" y="152"/>
                    </a:lnTo>
                    <a:lnTo>
                      <a:pt x="15" y="150"/>
                    </a:lnTo>
                    <a:lnTo>
                      <a:pt x="17" y="152"/>
                    </a:lnTo>
                    <a:lnTo>
                      <a:pt x="17" y="150"/>
                    </a:lnTo>
                    <a:lnTo>
                      <a:pt x="17" y="149"/>
                    </a:lnTo>
                    <a:lnTo>
                      <a:pt x="15" y="149"/>
                    </a:lnTo>
                    <a:lnTo>
                      <a:pt x="17" y="149"/>
                    </a:lnTo>
                    <a:lnTo>
                      <a:pt x="17" y="147"/>
                    </a:lnTo>
                    <a:lnTo>
                      <a:pt x="19" y="145"/>
                    </a:lnTo>
                    <a:lnTo>
                      <a:pt x="15" y="145"/>
                    </a:lnTo>
                    <a:lnTo>
                      <a:pt x="13" y="145"/>
                    </a:lnTo>
                    <a:lnTo>
                      <a:pt x="13" y="147"/>
                    </a:lnTo>
                    <a:lnTo>
                      <a:pt x="11" y="147"/>
                    </a:lnTo>
                    <a:lnTo>
                      <a:pt x="13" y="147"/>
                    </a:lnTo>
                    <a:lnTo>
                      <a:pt x="11" y="147"/>
                    </a:lnTo>
                    <a:lnTo>
                      <a:pt x="11" y="145"/>
                    </a:lnTo>
                    <a:lnTo>
                      <a:pt x="10" y="145"/>
                    </a:lnTo>
                    <a:lnTo>
                      <a:pt x="10" y="143"/>
                    </a:lnTo>
                    <a:lnTo>
                      <a:pt x="10" y="141"/>
                    </a:lnTo>
                    <a:lnTo>
                      <a:pt x="11" y="139"/>
                    </a:lnTo>
                    <a:lnTo>
                      <a:pt x="10" y="141"/>
                    </a:lnTo>
                    <a:lnTo>
                      <a:pt x="10" y="139"/>
                    </a:lnTo>
                    <a:lnTo>
                      <a:pt x="10" y="137"/>
                    </a:lnTo>
                    <a:lnTo>
                      <a:pt x="11" y="137"/>
                    </a:lnTo>
                    <a:lnTo>
                      <a:pt x="11" y="135"/>
                    </a:lnTo>
                    <a:lnTo>
                      <a:pt x="13" y="135"/>
                    </a:lnTo>
                    <a:lnTo>
                      <a:pt x="13" y="133"/>
                    </a:lnTo>
                    <a:lnTo>
                      <a:pt x="15" y="133"/>
                    </a:lnTo>
                    <a:lnTo>
                      <a:pt x="17" y="133"/>
                    </a:lnTo>
                    <a:lnTo>
                      <a:pt x="19" y="133"/>
                    </a:lnTo>
                    <a:lnTo>
                      <a:pt x="21" y="133"/>
                    </a:lnTo>
                    <a:lnTo>
                      <a:pt x="21" y="131"/>
                    </a:lnTo>
                    <a:lnTo>
                      <a:pt x="21" y="133"/>
                    </a:lnTo>
                    <a:lnTo>
                      <a:pt x="23" y="133"/>
                    </a:lnTo>
                    <a:lnTo>
                      <a:pt x="23" y="131"/>
                    </a:lnTo>
                    <a:lnTo>
                      <a:pt x="25" y="133"/>
                    </a:lnTo>
                    <a:lnTo>
                      <a:pt x="25" y="131"/>
                    </a:lnTo>
                    <a:lnTo>
                      <a:pt x="29" y="131"/>
                    </a:lnTo>
                    <a:lnTo>
                      <a:pt x="29" y="129"/>
                    </a:lnTo>
                    <a:lnTo>
                      <a:pt x="29" y="127"/>
                    </a:lnTo>
                    <a:lnTo>
                      <a:pt x="29" y="125"/>
                    </a:lnTo>
                    <a:lnTo>
                      <a:pt x="29" y="124"/>
                    </a:lnTo>
                    <a:lnTo>
                      <a:pt x="27" y="124"/>
                    </a:lnTo>
                    <a:lnTo>
                      <a:pt x="27" y="125"/>
                    </a:lnTo>
                    <a:lnTo>
                      <a:pt x="25" y="125"/>
                    </a:lnTo>
                    <a:lnTo>
                      <a:pt x="23" y="124"/>
                    </a:lnTo>
                    <a:lnTo>
                      <a:pt x="21" y="127"/>
                    </a:lnTo>
                    <a:lnTo>
                      <a:pt x="19" y="127"/>
                    </a:lnTo>
                    <a:lnTo>
                      <a:pt x="19" y="125"/>
                    </a:lnTo>
                    <a:lnTo>
                      <a:pt x="19" y="124"/>
                    </a:lnTo>
                    <a:lnTo>
                      <a:pt x="21" y="124"/>
                    </a:lnTo>
                    <a:lnTo>
                      <a:pt x="19" y="124"/>
                    </a:lnTo>
                    <a:lnTo>
                      <a:pt x="19" y="122"/>
                    </a:lnTo>
                    <a:lnTo>
                      <a:pt x="17" y="120"/>
                    </a:lnTo>
                    <a:lnTo>
                      <a:pt x="17" y="118"/>
                    </a:lnTo>
                    <a:lnTo>
                      <a:pt x="15" y="118"/>
                    </a:lnTo>
                    <a:lnTo>
                      <a:pt x="13" y="116"/>
                    </a:lnTo>
                    <a:lnTo>
                      <a:pt x="11" y="114"/>
                    </a:lnTo>
                    <a:lnTo>
                      <a:pt x="10" y="114"/>
                    </a:lnTo>
                    <a:lnTo>
                      <a:pt x="11" y="114"/>
                    </a:lnTo>
                    <a:lnTo>
                      <a:pt x="10" y="112"/>
                    </a:lnTo>
                    <a:lnTo>
                      <a:pt x="10" y="110"/>
                    </a:lnTo>
                    <a:lnTo>
                      <a:pt x="10" y="108"/>
                    </a:lnTo>
                    <a:lnTo>
                      <a:pt x="10" y="106"/>
                    </a:lnTo>
                    <a:lnTo>
                      <a:pt x="11" y="106"/>
                    </a:lnTo>
                    <a:lnTo>
                      <a:pt x="11" y="104"/>
                    </a:lnTo>
                    <a:lnTo>
                      <a:pt x="10" y="102"/>
                    </a:lnTo>
                    <a:lnTo>
                      <a:pt x="8" y="102"/>
                    </a:lnTo>
                    <a:lnTo>
                      <a:pt x="6" y="102"/>
                    </a:lnTo>
                    <a:lnTo>
                      <a:pt x="4" y="100"/>
                    </a:lnTo>
                    <a:lnTo>
                      <a:pt x="4" y="99"/>
                    </a:lnTo>
                    <a:lnTo>
                      <a:pt x="2" y="99"/>
                    </a:lnTo>
                    <a:lnTo>
                      <a:pt x="2" y="97"/>
                    </a:lnTo>
                    <a:lnTo>
                      <a:pt x="0" y="95"/>
                    </a:lnTo>
                    <a:lnTo>
                      <a:pt x="4" y="89"/>
                    </a:lnTo>
                    <a:lnTo>
                      <a:pt x="2" y="89"/>
                    </a:lnTo>
                    <a:lnTo>
                      <a:pt x="0" y="89"/>
                    </a:lnTo>
                    <a:lnTo>
                      <a:pt x="2" y="85"/>
                    </a:lnTo>
                    <a:lnTo>
                      <a:pt x="2" y="83"/>
                    </a:lnTo>
                    <a:lnTo>
                      <a:pt x="2" y="81"/>
                    </a:lnTo>
                    <a:lnTo>
                      <a:pt x="6" y="81"/>
                    </a:lnTo>
                    <a:lnTo>
                      <a:pt x="8" y="81"/>
                    </a:lnTo>
                    <a:lnTo>
                      <a:pt x="10" y="79"/>
                    </a:lnTo>
                    <a:lnTo>
                      <a:pt x="10" y="81"/>
                    </a:lnTo>
                    <a:lnTo>
                      <a:pt x="10" y="79"/>
                    </a:lnTo>
                    <a:lnTo>
                      <a:pt x="11" y="79"/>
                    </a:lnTo>
                    <a:lnTo>
                      <a:pt x="13" y="77"/>
                    </a:lnTo>
                    <a:lnTo>
                      <a:pt x="15" y="75"/>
                    </a:lnTo>
                    <a:lnTo>
                      <a:pt x="17" y="74"/>
                    </a:lnTo>
                    <a:lnTo>
                      <a:pt x="19" y="68"/>
                    </a:lnTo>
                    <a:lnTo>
                      <a:pt x="17" y="68"/>
                    </a:lnTo>
                    <a:lnTo>
                      <a:pt x="13" y="64"/>
                    </a:lnTo>
                    <a:lnTo>
                      <a:pt x="13" y="62"/>
                    </a:lnTo>
                    <a:lnTo>
                      <a:pt x="13" y="60"/>
                    </a:lnTo>
                    <a:lnTo>
                      <a:pt x="13" y="58"/>
                    </a:lnTo>
                    <a:lnTo>
                      <a:pt x="13" y="56"/>
                    </a:lnTo>
                    <a:lnTo>
                      <a:pt x="13" y="54"/>
                    </a:lnTo>
                    <a:lnTo>
                      <a:pt x="17" y="50"/>
                    </a:lnTo>
                    <a:lnTo>
                      <a:pt x="17" y="49"/>
                    </a:lnTo>
                    <a:lnTo>
                      <a:pt x="15" y="47"/>
                    </a:lnTo>
                    <a:lnTo>
                      <a:pt x="17" y="47"/>
                    </a:lnTo>
                    <a:lnTo>
                      <a:pt x="15" y="47"/>
                    </a:lnTo>
                    <a:lnTo>
                      <a:pt x="17" y="47"/>
                    </a:lnTo>
                    <a:lnTo>
                      <a:pt x="17" y="45"/>
                    </a:lnTo>
                    <a:lnTo>
                      <a:pt x="15" y="45"/>
                    </a:lnTo>
                    <a:lnTo>
                      <a:pt x="15" y="47"/>
                    </a:lnTo>
                    <a:lnTo>
                      <a:pt x="13" y="45"/>
                    </a:lnTo>
                    <a:lnTo>
                      <a:pt x="13" y="47"/>
                    </a:lnTo>
                    <a:lnTo>
                      <a:pt x="8" y="41"/>
                    </a:lnTo>
                    <a:lnTo>
                      <a:pt x="8" y="39"/>
                    </a:lnTo>
                    <a:lnTo>
                      <a:pt x="10" y="39"/>
                    </a:lnTo>
                    <a:lnTo>
                      <a:pt x="10" y="37"/>
                    </a:lnTo>
                    <a:lnTo>
                      <a:pt x="10" y="35"/>
                    </a:lnTo>
                    <a:lnTo>
                      <a:pt x="10" y="33"/>
                    </a:lnTo>
                    <a:lnTo>
                      <a:pt x="11" y="33"/>
                    </a:lnTo>
                    <a:lnTo>
                      <a:pt x="11" y="31"/>
                    </a:lnTo>
                    <a:lnTo>
                      <a:pt x="11" y="29"/>
                    </a:lnTo>
                    <a:lnTo>
                      <a:pt x="11" y="27"/>
                    </a:lnTo>
                    <a:lnTo>
                      <a:pt x="11" y="25"/>
                    </a:lnTo>
                    <a:lnTo>
                      <a:pt x="13" y="22"/>
                    </a:lnTo>
                    <a:lnTo>
                      <a:pt x="11" y="22"/>
                    </a:lnTo>
                    <a:lnTo>
                      <a:pt x="11" y="20"/>
                    </a:lnTo>
                    <a:lnTo>
                      <a:pt x="17" y="10"/>
                    </a:lnTo>
                    <a:lnTo>
                      <a:pt x="21" y="12"/>
                    </a:lnTo>
                    <a:lnTo>
                      <a:pt x="23" y="12"/>
                    </a:lnTo>
                    <a:lnTo>
                      <a:pt x="25" y="14"/>
                    </a:lnTo>
                    <a:lnTo>
                      <a:pt x="25" y="16"/>
                    </a:lnTo>
                    <a:lnTo>
                      <a:pt x="29" y="18"/>
                    </a:lnTo>
                    <a:lnTo>
                      <a:pt x="31" y="12"/>
                    </a:lnTo>
                    <a:lnTo>
                      <a:pt x="35" y="14"/>
                    </a:lnTo>
                    <a:lnTo>
                      <a:pt x="36" y="12"/>
                    </a:lnTo>
                    <a:lnTo>
                      <a:pt x="35" y="12"/>
                    </a:lnTo>
                    <a:lnTo>
                      <a:pt x="36" y="12"/>
                    </a:lnTo>
                    <a:lnTo>
                      <a:pt x="36" y="10"/>
                    </a:lnTo>
                    <a:lnTo>
                      <a:pt x="36" y="8"/>
                    </a:lnTo>
                    <a:lnTo>
                      <a:pt x="38" y="8"/>
                    </a:lnTo>
                    <a:lnTo>
                      <a:pt x="38" y="6"/>
                    </a:lnTo>
                    <a:lnTo>
                      <a:pt x="35" y="4"/>
                    </a:lnTo>
                    <a:lnTo>
                      <a:pt x="38" y="0"/>
                    </a:lnTo>
                    <a:lnTo>
                      <a:pt x="46" y="6"/>
                    </a:lnTo>
                    <a:lnTo>
                      <a:pt x="48" y="2"/>
                    </a:lnTo>
                    <a:lnTo>
                      <a:pt x="48" y="4"/>
                    </a:lnTo>
                    <a:lnTo>
                      <a:pt x="50" y="4"/>
                    </a:lnTo>
                    <a:lnTo>
                      <a:pt x="52" y="6"/>
                    </a:lnTo>
                    <a:lnTo>
                      <a:pt x="52" y="8"/>
                    </a:lnTo>
                    <a:lnTo>
                      <a:pt x="54" y="8"/>
                    </a:lnTo>
                    <a:lnTo>
                      <a:pt x="56" y="10"/>
                    </a:lnTo>
                    <a:lnTo>
                      <a:pt x="58" y="10"/>
                    </a:lnTo>
                    <a:lnTo>
                      <a:pt x="58" y="12"/>
                    </a:lnTo>
                    <a:lnTo>
                      <a:pt x="60" y="12"/>
                    </a:lnTo>
                    <a:lnTo>
                      <a:pt x="61" y="12"/>
                    </a:lnTo>
                    <a:lnTo>
                      <a:pt x="61" y="14"/>
                    </a:lnTo>
                    <a:lnTo>
                      <a:pt x="63" y="16"/>
                    </a:lnTo>
                    <a:lnTo>
                      <a:pt x="65" y="16"/>
                    </a:lnTo>
                    <a:lnTo>
                      <a:pt x="69" y="20"/>
                    </a:lnTo>
                    <a:lnTo>
                      <a:pt x="69" y="22"/>
                    </a:lnTo>
                    <a:lnTo>
                      <a:pt x="71" y="22"/>
                    </a:lnTo>
                    <a:lnTo>
                      <a:pt x="73" y="20"/>
                    </a:lnTo>
                    <a:lnTo>
                      <a:pt x="75" y="16"/>
                    </a:lnTo>
                    <a:lnTo>
                      <a:pt x="77" y="16"/>
                    </a:lnTo>
                    <a:lnTo>
                      <a:pt x="77" y="14"/>
                    </a:lnTo>
                    <a:lnTo>
                      <a:pt x="79" y="12"/>
                    </a:lnTo>
                    <a:lnTo>
                      <a:pt x="84" y="14"/>
                    </a:lnTo>
                    <a:lnTo>
                      <a:pt x="81" y="20"/>
                    </a:lnTo>
                    <a:lnTo>
                      <a:pt x="79" y="24"/>
                    </a:lnTo>
                    <a:lnTo>
                      <a:pt x="88" y="25"/>
                    </a:lnTo>
                    <a:lnTo>
                      <a:pt x="94" y="24"/>
                    </a:lnTo>
                    <a:lnTo>
                      <a:pt x="96" y="25"/>
                    </a:lnTo>
                    <a:lnTo>
                      <a:pt x="100" y="24"/>
                    </a:lnTo>
                    <a:lnTo>
                      <a:pt x="102" y="24"/>
                    </a:lnTo>
                    <a:lnTo>
                      <a:pt x="104" y="22"/>
                    </a:lnTo>
                    <a:lnTo>
                      <a:pt x="104" y="20"/>
                    </a:lnTo>
                    <a:lnTo>
                      <a:pt x="104" y="22"/>
                    </a:lnTo>
                    <a:lnTo>
                      <a:pt x="106" y="22"/>
                    </a:lnTo>
                    <a:lnTo>
                      <a:pt x="108" y="20"/>
                    </a:lnTo>
                    <a:lnTo>
                      <a:pt x="109" y="20"/>
                    </a:lnTo>
                    <a:lnTo>
                      <a:pt x="108" y="24"/>
                    </a:lnTo>
                    <a:lnTo>
                      <a:pt x="109" y="25"/>
                    </a:lnTo>
                    <a:lnTo>
                      <a:pt x="109" y="29"/>
                    </a:lnTo>
                    <a:lnTo>
                      <a:pt x="111" y="31"/>
                    </a:lnTo>
                    <a:lnTo>
                      <a:pt x="113" y="31"/>
                    </a:lnTo>
                    <a:lnTo>
                      <a:pt x="113" y="33"/>
                    </a:lnTo>
                    <a:lnTo>
                      <a:pt x="115" y="33"/>
                    </a:lnTo>
                    <a:lnTo>
                      <a:pt x="117" y="37"/>
                    </a:lnTo>
                    <a:lnTo>
                      <a:pt x="115" y="41"/>
                    </a:lnTo>
                    <a:lnTo>
                      <a:pt x="117" y="43"/>
                    </a:lnTo>
                    <a:lnTo>
                      <a:pt x="117" y="45"/>
                    </a:lnTo>
                    <a:lnTo>
                      <a:pt x="119" y="47"/>
                    </a:lnTo>
                    <a:lnTo>
                      <a:pt x="121" y="49"/>
                    </a:lnTo>
                    <a:lnTo>
                      <a:pt x="123" y="49"/>
                    </a:lnTo>
                    <a:lnTo>
                      <a:pt x="125" y="50"/>
                    </a:lnTo>
                    <a:lnTo>
                      <a:pt x="127" y="50"/>
                    </a:lnTo>
                    <a:lnTo>
                      <a:pt x="127" y="52"/>
                    </a:lnTo>
                    <a:lnTo>
                      <a:pt x="129" y="52"/>
                    </a:lnTo>
                    <a:lnTo>
                      <a:pt x="129" y="54"/>
                    </a:lnTo>
                    <a:lnTo>
                      <a:pt x="131" y="54"/>
                    </a:lnTo>
                    <a:lnTo>
                      <a:pt x="131" y="56"/>
                    </a:lnTo>
                    <a:lnTo>
                      <a:pt x="133" y="56"/>
                    </a:lnTo>
                    <a:lnTo>
                      <a:pt x="131" y="56"/>
                    </a:lnTo>
                    <a:lnTo>
                      <a:pt x="133" y="56"/>
                    </a:lnTo>
                    <a:lnTo>
                      <a:pt x="133" y="58"/>
                    </a:lnTo>
                    <a:lnTo>
                      <a:pt x="131" y="58"/>
                    </a:lnTo>
                    <a:lnTo>
                      <a:pt x="131" y="60"/>
                    </a:lnTo>
                    <a:lnTo>
                      <a:pt x="133" y="62"/>
                    </a:lnTo>
                    <a:lnTo>
                      <a:pt x="134" y="64"/>
                    </a:lnTo>
                    <a:lnTo>
                      <a:pt x="133" y="64"/>
                    </a:lnTo>
                    <a:lnTo>
                      <a:pt x="133" y="66"/>
                    </a:lnTo>
                    <a:lnTo>
                      <a:pt x="133" y="68"/>
                    </a:lnTo>
                    <a:lnTo>
                      <a:pt x="133" y="72"/>
                    </a:lnTo>
                    <a:lnTo>
                      <a:pt x="133" y="74"/>
                    </a:lnTo>
                    <a:lnTo>
                      <a:pt x="131" y="75"/>
                    </a:lnTo>
                    <a:lnTo>
                      <a:pt x="131" y="77"/>
                    </a:lnTo>
                    <a:lnTo>
                      <a:pt x="131" y="79"/>
                    </a:lnTo>
                    <a:lnTo>
                      <a:pt x="131" y="83"/>
                    </a:lnTo>
                    <a:lnTo>
                      <a:pt x="131" y="85"/>
                    </a:lnTo>
                    <a:lnTo>
                      <a:pt x="133" y="87"/>
                    </a:lnTo>
                    <a:lnTo>
                      <a:pt x="133" y="89"/>
                    </a:lnTo>
                    <a:lnTo>
                      <a:pt x="134" y="91"/>
                    </a:lnTo>
                    <a:lnTo>
                      <a:pt x="136" y="95"/>
                    </a:lnTo>
                    <a:lnTo>
                      <a:pt x="138" y="97"/>
                    </a:lnTo>
                    <a:lnTo>
                      <a:pt x="140" y="100"/>
                    </a:lnTo>
                    <a:lnTo>
                      <a:pt x="142" y="102"/>
                    </a:lnTo>
                    <a:lnTo>
                      <a:pt x="142" y="104"/>
                    </a:lnTo>
                    <a:lnTo>
                      <a:pt x="144" y="104"/>
                    </a:lnTo>
                    <a:lnTo>
                      <a:pt x="144" y="106"/>
                    </a:lnTo>
                    <a:lnTo>
                      <a:pt x="146" y="106"/>
                    </a:lnTo>
                    <a:lnTo>
                      <a:pt x="146" y="108"/>
                    </a:lnTo>
                    <a:lnTo>
                      <a:pt x="148" y="108"/>
                    </a:lnTo>
                    <a:lnTo>
                      <a:pt x="148" y="110"/>
                    </a:lnTo>
                    <a:lnTo>
                      <a:pt x="150" y="116"/>
                    </a:lnTo>
                    <a:lnTo>
                      <a:pt x="152" y="118"/>
                    </a:lnTo>
                    <a:lnTo>
                      <a:pt x="154" y="120"/>
                    </a:lnTo>
                    <a:lnTo>
                      <a:pt x="154" y="122"/>
                    </a:lnTo>
                    <a:lnTo>
                      <a:pt x="161" y="135"/>
                    </a:lnTo>
                    <a:lnTo>
                      <a:pt x="163" y="141"/>
                    </a:lnTo>
                    <a:lnTo>
                      <a:pt x="163" y="150"/>
                    </a:lnTo>
                    <a:lnTo>
                      <a:pt x="161" y="1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0" name="Freeform 130"/>
              <p:cNvSpPr>
                <a:spLocks/>
              </p:cNvSpPr>
              <p:nvPr/>
            </p:nvSpPr>
            <p:spPr bwMode="auto">
              <a:xfrm>
                <a:off x="1904015" y="2369946"/>
                <a:ext cx="535115" cy="677927"/>
              </a:xfrm>
              <a:custGeom>
                <a:avLst/>
                <a:gdLst>
                  <a:gd name="T0" fmla="*/ 305 w 311"/>
                  <a:gd name="T1" fmla="*/ 298 h 394"/>
                  <a:gd name="T2" fmla="*/ 294 w 311"/>
                  <a:gd name="T3" fmla="*/ 315 h 394"/>
                  <a:gd name="T4" fmla="*/ 286 w 311"/>
                  <a:gd name="T5" fmla="*/ 321 h 394"/>
                  <a:gd name="T6" fmla="*/ 276 w 311"/>
                  <a:gd name="T7" fmla="*/ 319 h 394"/>
                  <a:gd name="T8" fmla="*/ 259 w 311"/>
                  <a:gd name="T9" fmla="*/ 330 h 394"/>
                  <a:gd name="T10" fmla="*/ 253 w 311"/>
                  <a:gd name="T11" fmla="*/ 348 h 394"/>
                  <a:gd name="T12" fmla="*/ 252 w 311"/>
                  <a:gd name="T13" fmla="*/ 371 h 394"/>
                  <a:gd name="T14" fmla="*/ 242 w 311"/>
                  <a:gd name="T15" fmla="*/ 380 h 394"/>
                  <a:gd name="T16" fmla="*/ 230 w 311"/>
                  <a:gd name="T17" fmla="*/ 377 h 394"/>
                  <a:gd name="T18" fmla="*/ 221 w 311"/>
                  <a:gd name="T19" fmla="*/ 386 h 394"/>
                  <a:gd name="T20" fmla="*/ 207 w 311"/>
                  <a:gd name="T21" fmla="*/ 390 h 394"/>
                  <a:gd name="T22" fmla="*/ 198 w 311"/>
                  <a:gd name="T23" fmla="*/ 378 h 394"/>
                  <a:gd name="T24" fmla="*/ 190 w 311"/>
                  <a:gd name="T25" fmla="*/ 382 h 394"/>
                  <a:gd name="T26" fmla="*/ 182 w 311"/>
                  <a:gd name="T27" fmla="*/ 375 h 394"/>
                  <a:gd name="T28" fmla="*/ 167 w 311"/>
                  <a:gd name="T29" fmla="*/ 375 h 394"/>
                  <a:gd name="T30" fmla="*/ 159 w 311"/>
                  <a:gd name="T31" fmla="*/ 375 h 394"/>
                  <a:gd name="T32" fmla="*/ 150 w 311"/>
                  <a:gd name="T33" fmla="*/ 384 h 394"/>
                  <a:gd name="T34" fmla="*/ 138 w 311"/>
                  <a:gd name="T35" fmla="*/ 390 h 394"/>
                  <a:gd name="T36" fmla="*/ 134 w 311"/>
                  <a:gd name="T37" fmla="*/ 377 h 394"/>
                  <a:gd name="T38" fmla="*/ 127 w 311"/>
                  <a:gd name="T39" fmla="*/ 373 h 394"/>
                  <a:gd name="T40" fmla="*/ 117 w 311"/>
                  <a:gd name="T41" fmla="*/ 373 h 394"/>
                  <a:gd name="T42" fmla="*/ 109 w 311"/>
                  <a:gd name="T43" fmla="*/ 377 h 394"/>
                  <a:gd name="T44" fmla="*/ 98 w 311"/>
                  <a:gd name="T45" fmla="*/ 371 h 394"/>
                  <a:gd name="T46" fmla="*/ 88 w 311"/>
                  <a:gd name="T47" fmla="*/ 369 h 394"/>
                  <a:gd name="T48" fmla="*/ 77 w 311"/>
                  <a:gd name="T49" fmla="*/ 361 h 394"/>
                  <a:gd name="T50" fmla="*/ 61 w 311"/>
                  <a:gd name="T51" fmla="*/ 348 h 394"/>
                  <a:gd name="T52" fmla="*/ 54 w 311"/>
                  <a:gd name="T53" fmla="*/ 355 h 394"/>
                  <a:gd name="T54" fmla="*/ 48 w 311"/>
                  <a:gd name="T55" fmla="*/ 357 h 394"/>
                  <a:gd name="T56" fmla="*/ 38 w 311"/>
                  <a:gd name="T57" fmla="*/ 357 h 394"/>
                  <a:gd name="T58" fmla="*/ 27 w 311"/>
                  <a:gd name="T59" fmla="*/ 354 h 394"/>
                  <a:gd name="T60" fmla="*/ 19 w 311"/>
                  <a:gd name="T61" fmla="*/ 350 h 394"/>
                  <a:gd name="T62" fmla="*/ 8 w 311"/>
                  <a:gd name="T63" fmla="*/ 344 h 394"/>
                  <a:gd name="T64" fmla="*/ 2 w 311"/>
                  <a:gd name="T65" fmla="*/ 336 h 394"/>
                  <a:gd name="T66" fmla="*/ 4 w 311"/>
                  <a:gd name="T67" fmla="*/ 327 h 394"/>
                  <a:gd name="T68" fmla="*/ 13 w 311"/>
                  <a:gd name="T69" fmla="*/ 307 h 394"/>
                  <a:gd name="T70" fmla="*/ 15 w 311"/>
                  <a:gd name="T71" fmla="*/ 288 h 394"/>
                  <a:gd name="T72" fmla="*/ 31 w 311"/>
                  <a:gd name="T73" fmla="*/ 290 h 394"/>
                  <a:gd name="T74" fmla="*/ 40 w 311"/>
                  <a:gd name="T75" fmla="*/ 288 h 394"/>
                  <a:gd name="T76" fmla="*/ 44 w 311"/>
                  <a:gd name="T77" fmla="*/ 286 h 394"/>
                  <a:gd name="T78" fmla="*/ 46 w 311"/>
                  <a:gd name="T79" fmla="*/ 271 h 394"/>
                  <a:gd name="T80" fmla="*/ 59 w 311"/>
                  <a:gd name="T81" fmla="*/ 250 h 394"/>
                  <a:gd name="T82" fmla="*/ 82 w 311"/>
                  <a:gd name="T83" fmla="*/ 246 h 394"/>
                  <a:gd name="T84" fmla="*/ 88 w 311"/>
                  <a:gd name="T85" fmla="*/ 229 h 394"/>
                  <a:gd name="T86" fmla="*/ 109 w 311"/>
                  <a:gd name="T87" fmla="*/ 219 h 394"/>
                  <a:gd name="T88" fmla="*/ 117 w 311"/>
                  <a:gd name="T89" fmla="*/ 200 h 394"/>
                  <a:gd name="T90" fmla="*/ 119 w 311"/>
                  <a:gd name="T91" fmla="*/ 180 h 394"/>
                  <a:gd name="T92" fmla="*/ 113 w 311"/>
                  <a:gd name="T93" fmla="*/ 152 h 394"/>
                  <a:gd name="T94" fmla="*/ 113 w 311"/>
                  <a:gd name="T95" fmla="*/ 136 h 394"/>
                  <a:gd name="T96" fmla="*/ 138 w 311"/>
                  <a:gd name="T97" fmla="*/ 117 h 394"/>
                  <a:gd name="T98" fmla="*/ 152 w 311"/>
                  <a:gd name="T99" fmla="*/ 98 h 394"/>
                  <a:gd name="T100" fmla="*/ 169 w 311"/>
                  <a:gd name="T101" fmla="*/ 75 h 394"/>
                  <a:gd name="T102" fmla="*/ 175 w 311"/>
                  <a:gd name="T103" fmla="*/ 54 h 394"/>
                  <a:gd name="T104" fmla="*/ 184 w 311"/>
                  <a:gd name="T105" fmla="*/ 32 h 394"/>
                  <a:gd name="T106" fmla="*/ 190 w 311"/>
                  <a:gd name="T107" fmla="*/ 15 h 394"/>
                  <a:gd name="T108" fmla="*/ 202 w 311"/>
                  <a:gd name="T109" fmla="*/ 2 h 394"/>
                  <a:gd name="T110" fmla="*/ 209 w 311"/>
                  <a:gd name="T111" fmla="*/ 11 h 394"/>
                  <a:gd name="T112" fmla="*/ 223 w 311"/>
                  <a:gd name="T113" fmla="*/ 25 h 394"/>
                  <a:gd name="T114" fmla="*/ 265 w 311"/>
                  <a:gd name="T115" fmla="*/ 71 h 394"/>
                  <a:gd name="T116" fmla="*/ 267 w 311"/>
                  <a:gd name="T117" fmla="*/ 140 h 394"/>
                  <a:gd name="T118" fmla="*/ 273 w 311"/>
                  <a:gd name="T119" fmla="*/ 155 h 394"/>
                  <a:gd name="T120" fmla="*/ 290 w 311"/>
                  <a:gd name="T121" fmla="*/ 213 h 394"/>
                  <a:gd name="T122" fmla="*/ 303 w 311"/>
                  <a:gd name="T123" fmla="*/ 26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 h="394">
                    <a:moveTo>
                      <a:pt x="311" y="273"/>
                    </a:moveTo>
                    <a:lnTo>
                      <a:pt x="311" y="275"/>
                    </a:lnTo>
                    <a:lnTo>
                      <a:pt x="311" y="277"/>
                    </a:lnTo>
                    <a:lnTo>
                      <a:pt x="309" y="279"/>
                    </a:lnTo>
                    <a:lnTo>
                      <a:pt x="307" y="288"/>
                    </a:lnTo>
                    <a:lnTo>
                      <a:pt x="307" y="290"/>
                    </a:lnTo>
                    <a:lnTo>
                      <a:pt x="307" y="292"/>
                    </a:lnTo>
                    <a:lnTo>
                      <a:pt x="307" y="294"/>
                    </a:lnTo>
                    <a:lnTo>
                      <a:pt x="305" y="296"/>
                    </a:lnTo>
                    <a:lnTo>
                      <a:pt x="305" y="298"/>
                    </a:lnTo>
                    <a:lnTo>
                      <a:pt x="305" y="302"/>
                    </a:lnTo>
                    <a:lnTo>
                      <a:pt x="305" y="305"/>
                    </a:lnTo>
                    <a:lnTo>
                      <a:pt x="307" y="313"/>
                    </a:lnTo>
                    <a:lnTo>
                      <a:pt x="305" y="313"/>
                    </a:lnTo>
                    <a:lnTo>
                      <a:pt x="303" y="313"/>
                    </a:lnTo>
                    <a:lnTo>
                      <a:pt x="301" y="313"/>
                    </a:lnTo>
                    <a:lnTo>
                      <a:pt x="300" y="313"/>
                    </a:lnTo>
                    <a:lnTo>
                      <a:pt x="300" y="315"/>
                    </a:lnTo>
                    <a:lnTo>
                      <a:pt x="296" y="315"/>
                    </a:lnTo>
                    <a:lnTo>
                      <a:pt x="294" y="315"/>
                    </a:lnTo>
                    <a:lnTo>
                      <a:pt x="294" y="317"/>
                    </a:lnTo>
                    <a:lnTo>
                      <a:pt x="292" y="319"/>
                    </a:lnTo>
                    <a:lnTo>
                      <a:pt x="292" y="317"/>
                    </a:lnTo>
                    <a:lnTo>
                      <a:pt x="290" y="317"/>
                    </a:lnTo>
                    <a:lnTo>
                      <a:pt x="288" y="315"/>
                    </a:lnTo>
                    <a:lnTo>
                      <a:pt x="288" y="317"/>
                    </a:lnTo>
                    <a:lnTo>
                      <a:pt x="286" y="317"/>
                    </a:lnTo>
                    <a:lnTo>
                      <a:pt x="288" y="319"/>
                    </a:lnTo>
                    <a:lnTo>
                      <a:pt x="286" y="319"/>
                    </a:lnTo>
                    <a:lnTo>
                      <a:pt x="286" y="321"/>
                    </a:lnTo>
                    <a:lnTo>
                      <a:pt x="284" y="321"/>
                    </a:lnTo>
                    <a:lnTo>
                      <a:pt x="284" y="323"/>
                    </a:lnTo>
                    <a:lnTo>
                      <a:pt x="282" y="323"/>
                    </a:lnTo>
                    <a:lnTo>
                      <a:pt x="280" y="325"/>
                    </a:lnTo>
                    <a:lnTo>
                      <a:pt x="280" y="323"/>
                    </a:lnTo>
                    <a:lnTo>
                      <a:pt x="280" y="321"/>
                    </a:lnTo>
                    <a:lnTo>
                      <a:pt x="280" y="319"/>
                    </a:lnTo>
                    <a:lnTo>
                      <a:pt x="280" y="317"/>
                    </a:lnTo>
                    <a:lnTo>
                      <a:pt x="278" y="317"/>
                    </a:lnTo>
                    <a:lnTo>
                      <a:pt x="276" y="319"/>
                    </a:lnTo>
                    <a:lnTo>
                      <a:pt x="273" y="319"/>
                    </a:lnTo>
                    <a:lnTo>
                      <a:pt x="271" y="321"/>
                    </a:lnTo>
                    <a:lnTo>
                      <a:pt x="267" y="321"/>
                    </a:lnTo>
                    <a:lnTo>
                      <a:pt x="261" y="323"/>
                    </a:lnTo>
                    <a:lnTo>
                      <a:pt x="259" y="325"/>
                    </a:lnTo>
                    <a:lnTo>
                      <a:pt x="259" y="327"/>
                    </a:lnTo>
                    <a:lnTo>
                      <a:pt x="259" y="329"/>
                    </a:lnTo>
                    <a:lnTo>
                      <a:pt x="261" y="329"/>
                    </a:lnTo>
                    <a:lnTo>
                      <a:pt x="261" y="330"/>
                    </a:lnTo>
                    <a:lnTo>
                      <a:pt x="259" y="330"/>
                    </a:lnTo>
                    <a:lnTo>
                      <a:pt x="259" y="332"/>
                    </a:lnTo>
                    <a:lnTo>
                      <a:pt x="259" y="334"/>
                    </a:lnTo>
                    <a:lnTo>
                      <a:pt x="257" y="336"/>
                    </a:lnTo>
                    <a:lnTo>
                      <a:pt x="255" y="336"/>
                    </a:lnTo>
                    <a:lnTo>
                      <a:pt x="253" y="340"/>
                    </a:lnTo>
                    <a:lnTo>
                      <a:pt x="253" y="342"/>
                    </a:lnTo>
                    <a:lnTo>
                      <a:pt x="253" y="344"/>
                    </a:lnTo>
                    <a:lnTo>
                      <a:pt x="252" y="346"/>
                    </a:lnTo>
                    <a:lnTo>
                      <a:pt x="252" y="348"/>
                    </a:lnTo>
                    <a:lnTo>
                      <a:pt x="253" y="348"/>
                    </a:lnTo>
                    <a:lnTo>
                      <a:pt x="253" y="350"/>
                    </a:lnTo>
                    <a:lnTo>
                      <a:pt x="255" y="352"/>
                    </a:lnTo>
                    <a:lnTo>
                      <a:pt x="253" y="354"/>
                    </a:lnTo>
                    <a:lnTo>
                      <a:pt x="253" y="357"/>
                    </a:lnTo>
                    <a:lnTo>
                      <a:pt x="253" y="359"/>
                    </a:lnTo>
                    <a:lnTo>
                      <a:pt x="252" y="363"/>
                    </a:lnTo>
                    <a:lnTo>
                      <a:pt x="252" y="365"/>
                    </a:lnTo>
                    <a:lnTo>
                      <a:pt x="252" y="369"/>
                    </a:lnTo>
                    <a:lnTo>
                      <a:pt x="250" y="369"/>
                    </a:lnTo>
                    <a:lnTo>
                      <a:pt x="252" y="371"/>
                    </a:lnTo>
                    <a:lnTo>
                      <a:pt x="250" y="371"/>
                    </a:lnTo>
                    <a:lnTo>
                      <a:pt x="252" y="371"/>
                    </a:lnTo>
                    <a:lnTo>
                      <a:pt x="250" y="373"/>
                    </a:lnTo>
                    <a:lnTo>
                      <a:pt x="252" y="377"/>
                    </a:lnTo>
                    <a:lnTo>
                      <a:pt x="253" y="375"/>
                    </a:lnTo>
                    <a:lnTo>
                      <a:pt x="257" y="375"/>
                    </a:lnTo>
                    <a:lnTo>
                      <a:pt x="253" y="378"/>
                    </a:lnTo>
                    <a:lnTo>
                      <a:pt x="252" y="384"/>
                    </a:lnTo>
                    <a:lnTo>
                      <a:pt x="244" y="380"/>
                    </a:lnTo>
                    <a:lnTo>
                      <a:pt x="242" y="380"/>
                    </a:lnTo>
                    <a:lnTo>
                      <a:pt x="244" y="378"/>
                    </a:lnTo>
                    <a:lnTo>
                      <a:pt x="242" y="377"/>
                    </a:lnTo>
                    <a:lnTo>
                      <a:pt x="240" y="377"/>
                    </a:lnTo>
                    <a:lnTo>
                      <a:pt x="238" y="377"/>
                    </a:lnTo>
                    <a:lnTo>
                      <a:pt x="236" y="377"/>
                    </a:lnTo>
                    <a:lnTo>
                      <a:pt x="234" y="377"/>
                    </a:lnTo>
                    <a:lnTo>
                      <a:pt x="232" y="377"/>
                    </a:lnTo>
                    <a:lnTo>
                      <a:pt x="232" y="375"/>
                    </a:lnTo>
                    <a:lnTo>
                      <a:pt x="232" y="377"/>
                    </a:lnTo>
                    <a:lnTo>
                      <a:pt x="230" y="377"/>
                    </a:lnTo>
                    <a:lnTo>
                      <a:pt x="230" y="378"/>
                    </a:lnTo>
                    <a:lnTo>
                      <a:pt x="225" y="377"/>
                    </a:lnTo>
                    <a:lnTo>
                      <a:pt x="223" y="378"/>
                    </a:lnTo>
                    <a:lnTo>
                      <a:pt x="225" y="378"/>
                    </a:lnTo>
                    <a:lnTo>
                      <a:pt x="223" y="378"/>
                    </a:lnTo>
                    <a:lnTo>
                      <a:pt x="223" y="380"/>
                    </a:lnTo>
                    <a:lnTo>
                      <a:pt x="225" y="380"/>
                    </a:lnTo>
                    <a:lnTo>
                      <a:pt x="223" y="384"/>
                    </a:lnTo>
                    <a:lnTo>
                      <a:pt x="221" y="384"/>
                    </a:lnTo>
                    <a:lnTo>
                      <a:pt x="221" y="386"/>
                    </a:lnTo>
                    <a:lnTo>
                      <a:pt x="219" y="386"/>
                    </a:lnTo>
                    <a:lnTo>
                      <a:pt x="219" y="384"/>
                    </a:lnTo>
                    <a:lnTo>
                      <a:pt x="215" y="388"/>
                    </a:lnTo>
                    <a:lnTo>
                      <a:pt x="217" y="390"/>
                    </a:lnTo>
                    <a:lnTo>
                      <a:pt x="215" y="392"/>
                    </a:lnTo>
                    <a:lnTo>
                      <a:pt x="215" y="394"/>
                    </a:lnTo>
                    <a:lnTo>
                      <a:pt x="211" y="392"/>
                    </a:lnTo>
                    <a:lnTo>
                      <a:pt x="211" y="390"/>
                    </a:lnTo>
                    <a:lnTo>
                      <a:pt x="209" y="390"/>
                    </a:lnTo>
                    <a:lnTo>
                      <a:pt x="207" y="390"/>
                    </a:lnTo>
                    <a:lnTo>
                      <a:pt x="205" y="390"/>
                    </a:lnTo>
                    <a:lnTo>
                      <a:pt x="203" y="388"/>
                    </a:lnTo>
                    <a:lnTo>
                      <a:pt x="203" y="386"/>
                    </a:lnTo>
                    <a:lnTo>
                      <a:pt x="202" y="386"/>
                    </a:lnTo>
                    <a:lnTo>
                      <a:pt x="202" y="384"/>
                    </a:lnTo>
                    <a:lnTo>
                      <a:pt x="200" y="384"/>
                    </a:lnTo>
                    <a:lnTo>
                      <a:pt x="200" y="382"/>
                    </a:lnTo>
                    <a:lnTo>
                      <a:pt x="198" y="382"/>
                    </a:lnTo>
                    <a:lnTo>
                      <a:pt x="200" y="380"/>
                    </a:lnTo>
                    <a:lnTo>
                      <a:pt x="198" y="378"/>
                    </a:lnTo>
                    <a:lnTo>
                      <a:pt x="198" y="377"/>
                    </a:lnTo>
                    <a:lnTo>
                      <a:pt x="196" y="377"/>
                    </a:lnTo>
                    <a:lnTo>
                      <a:pt x="196" y="378"/>
                    </a:lnTo>
                    <a:lnTo>
                      <a:pt x="194" y="378"/>
                    </a:lnTo>
                    <a:lnTo>
                      <a:pt x="194" y="377"/>
                    </a:lnTo>
                    <a:lnTo>
                      <a:pt x="192" y="378"/>
                    </a:lnTo>
                    <a:lnTo>
                      <a:pt x="190" y="380"/>
                    </a:lnTo>
                    <a:lnTo>
                      <a:pt x="190" y="382"/>
                    </a:lnTo>
                    <a:lnTo>
                      <a:pt x="190" y="384"/>
                    </a:lnTo>
                    <a:lnTo>
                      <a:pt x="190" y="382"/>
                    </a:lnTo>
                    <a:lnTo>
                      <a:pt x="188" y="380"/>
                    </a:lnTo>
                    <a:lnTo>
                      <a:pt x="190" y="378"/>
                    </a:lnTo>
                    <a:lnTo>
                      <a:pt x="188" y="378"/>
                    </a:lnTo>
                    <a:lnTo>
                      <a:pt x="188" y="377"/>
                    </a:lnTo>
                    <a:lnTo>
                      <a:pt x="186" y="378"/>
                    </a:lnTo>
                    <a:lnTo>
                      <a:pt x="186" y="377"/>
                    </a:lnTo>
                    <a:lnTo>
                      <a:pt x="184" y="377"/>
                    </a:lnTo>
                    <a:lnTo>
                      <a:pt x="184" y="375"/>
                    </a:lnTo>
                    <a:lnTo>
                      <a:pt x="184" y="377"/>
                    </a:lnTo>
                    <a:lnTo>
                      <a:pt x="182" y="375"/>
                    </a:lnTo>
                    <a:lnTo>
                      <a:pt x="180" y="373"/>
                    </a:lnTo>
                    <a:lnTo>
                      <a:pt x="179" y="373"/>
                    </a:lnTo>
                    <a:lnTo>
                      <a:pt x="177" y="373"/>
                    </a:lnTo>
                    <a:lnTo>
                      <a:pt x="175" y="375"/>
                    </a:lnTo>
                    <a:lnTo>
                      <a:pt x="173" y="373"/>
                    </a:lnTo>
                    <a:lnTo>
                      <a:pt x="171" y="373"/>
                    </a:lnTo>
                    <a:lnTo>
                      <a:pt x="171" y="377"/>
                    </a:lnTo>
                    <a:lnTo>
                      <a:pt x="169" y="377"/>
                    </a:lnTo>
                    <a:lnTo>
                      <a:pt x="169" y="375"/>
                    </a:lnTo>
                    <a:lnTo>
                      <a:pt x="167" y="375"/>
                    </a:lnTo>
                    <a:lnTo>
                      <a:pt x="167" y="377"/>
                    </a:lnTo>
                    <a:lnTo>
                      <a:pt x="165" y="375"/>
                    </a:lnTo>
                    <a:lnTo>
                      <a:pt x="167" y="375"/>
                    </a:lnTo>
                    <a:lnTo>
                      <a:pt x="167" y="373"/>
                    </a:lnTo>
                    <a:lnTo>
                      <a:pt x="167" y="371"/>
                    </a:lnTo>
                    <a:lnTo>
                      <a:pt x="165" y="371"/>
                    </a:lnTo>
                    <a:lnTo>
                      <a:pt x="163" y="371"/>
                    </a:lnTo>
                    <a:lnTo>
                      <a:pt x="161" y="373"/>
                    </a:lnTo>
                    <a:lnTo>
                      <a:pt x="159" y="373"/>
                    </a:lnTo>
                    <a:lnTo>
                      <a:pt x="159" y="375"/>
                    </a:lnTo>
                    <a:lnTo>
                      <a:pt x="157" y="377"/>
                    </a:lnTo>
                    <a:lnTo>
                      <a:pt x="157" y="375"/>
                    </a:lnTo>
                    <a:lnTo>
                      <a:pt x="157" y="377"/>
                    </a:lnTo>
                    <a:lnTo>
                      <a:pt x="155" y="377"/>
                    </a:lnTo>
                    <a:lnTo>
                      <a:pt x="154" y="377"/>
                    </a:lnTo>
                    <a:lnTo>
                      <a:pt x="154" y="378"/>
                    </a:lnTo>
                    <a:lnTo>
                      <a:pt x="152" y="380"/>
                    </a:lnTo>
                    <a:lnTo>
                      <a:pt x="152" y="382"/>
                    </a:lnTo>
                    <a:lnTo>
                      <a:pt x="150" y="382"/>
                    </a:lnTo>
                    <a:lnTo>
                      <a:pt x="150" y="384"/>
                    </a:lnTo>
                    <a:lnTo>
                      <a:pt x="148" y="384"/>
                    </a:lnTo>
                    <a:lnTo>
                      <a:pt x="146" y="384"/>
                    </a:lnTo>
                    <a:lnTo>
                      <a:pt x="146" y="382"/>
                    </a:lnTo>
                    <a:lnTo>
                      <a:pt x="144" y="384"/>
                    </a:lnTo>
                    <a:lnTo>
                      <a:pt x="144" y="386"/>
                    </a:lnTo>
                    <a:lnTo>
                      <a:pt x="144" y="388"/>
                    </a:lnTo>
                    <a:lnTo>
                      <a:pt x="142" y="390"/>
                    </a:lnTo>
                    <a:lnTo>
                      <a:pt x="142" y="394"/>
                    </a:lnTo>
                    <a:lnTo>
                      <a:pt x="140" y="392"/>
                    </a:lnTo>
                    <a:lnTo>
                      <a:pt x="138" y="390"/>
                    </a:lnTo>
                    <a:lnTo>
                      <a:pt x="136" y="388"/>
                    </a:lnTo>
                    <a:lnTo>
                      <a:pt x="138" y="386"/>
                    </a:lnTo>
                    <a:lnTo>
                      <a:pt x="136" y="384"/>
                    </a:lnTo>
                    <a:lnTo>
                      <a:pt x="136" y="382"/>
                    </a:lnTo>
                    <a:lnTo>
                      <a:pt x="136" y="384"/>
                    </a:lnTo>
                    <a:lnTo>
                      <a:pt x="134" y="384"/>
                    </a:lnTo>
                    <a:lnTo>
                      <a:pt x="134" y="382"/>
                    </a:lnTo>
                    <a:lnTo>
                      <a:pt x="134" y="380"/>
                    </a:lnTo>
                    <a:lnTo>
                      <a:pt x="134" y="378"/>
                    </a:lnTo>
                    <a:lnTo>
                      <a:pt x="134" y="377"/>
                    </a:lnTo>
                    <a:lnTo>
                      <a:pt x="132" y="377"/>
                    </a:lnTo>
                    <a:lnTo>
                      <a:pt x="130" y="377"/>
                    </a:lnTo>
                    <a:lnTo>
                      <a:pt x="130" y="378"/>
                    </a:lnTo>
                    <a:lnTo>
                      <a:pt x="129" y="378"/>
                    </a:lnTo>
                    <a:lnTo>
                      <a:pt x="129" y="377"/>
                    </a:lnTo>
                    <a:lnTo>
                      <a:pt x="130" y="377"/>
                    </a:lnTo>
                    <a:lnTo>
                      <a:pt x="129" y="377"/>
                    </a:lnTo>
                    <a:lnTo>
                      <a:pt x="129" y="375"/>
                    </a:lnTo>
                    <a:lnTo>
                      <a:pt x="129" y="373"/>
                    </a:lnTo>
                    <a:lnTo>
                      <a:pt x="127" y="373"/>
                    </a:lnTo>
                    <a:lnTo>
                      <a:pt x="125" y="373"/>
                    </a:lnTo>
                    <a:lnTo>
                      <a:pt x="123" y="373"/>
                    </a:lnTo>
                    <a:lnTo>
                      <a:pt x="123" y="371"/>
                    </a:lnTo>
                    <a:lnTo>
                      <a:pt x="121" y="371"/>
                    </a:lnTo>
                    <a:lnTo>
                      <a:pt x="121" y="369"/>
                    </a:lnTo>
                    <a:lnTo>
                      <a:pt x="119" y="369"/>
                    </a:lnTo>
                    <a:lnTo>
                      <a:pt x="117" y="369"/>
                    </a:lnTo>
                    <a:lnTo>
                      <a:pt x="115" y="369"/>
                    </a:lnTo>
                    <a:lnTo>
                      <a:pt x="115" y="371"/>
                    </a:lnTo>
                    <a:lnTo>
                      <a:pt x="117" y="373"/>
                    </a:lnTo>
                    <a:lnTo>
                      <a:pt x="117" y="375"/>
                    </a:lnTo>
                    <a:lnTo>
                      <a:pt x="117" y="377"/>
                    </a:lnTo>
                    <a:lnTo>
                      <a:pt x="117" y="378"/>
                    </a:lnTo>
                    <a:lnTo>
                      <a:pt x="115" y="378"/>
                    </a:lnTo>
                    <a:lnTo>
                      <a:pt x="113" y="378"/>
                    </a:lnTo>
                    <a:lnTo>
                      <a:pt x="113" y="380"/>
                    </a:lnTo>
                    <a:lnTo>
                      <a:pt x="113" y="378"/>
                    </a:lnTo>
                    <a:lnTo>
                      <a:pt x="111" y="378"/>
                    </a:lnTo>
                    <a:lnTo>
                      <a:pt x="109" y="378"/>
                    </a:lnTo>
                    <a:lnTo>
                      <a:pt x="109" y="377"/>
                    </a:lnTo>
                    <a:lnTo>
                      <a:pt x="107" y="377"/>
                    </a:lnTo>
                    <a:lnTo>
                      <a:pt x="107" y="375"/>
                    </a:lnTo>
                    <a:lnTo>
                      <a:pt x="106" y="375"/>
                    </a:lnTo>
                    <a:lnTo>
                      <a:pt x="104" y="375"/>
                    </a:lnTo>
                    <a:lnTo>
                      <a:pt x="104" y="373"/>
                    </a:lnTo>
                    <a:lnTo>
                      <a:pt x="102" y="371"/>
                    </a:lnTo>
                    <a:lnTo>
                      <a:pt x="102" y="373"/>
                    </a:lnTo>
                    <a:lnTo>
                      <a:pt x="100" y="373"/>
                    </a:lnTo>
                    <a:lnTo>
                      <a:pt x="98" y="373"/>
                    </a:lnTo>
                    <a:lnTo>
                      <a:pt x="98" y="371"/>
                    </a:lnTo>
                    <a:lnTo>
                      <a:pt x="96" y="371"/>
                    </a:lnTo>
                    <a:lnTo>
                      <a:pt x="96" y="369"/>
                    </a:lnTo>
                    <a:lnTo>
                      <a:pt x="94" y="371"/>
                    </a:lnTo>
                    <a:lnTo>
                      <a:pt x="94" y="369"/>
                    </a:lnTo>
                    <a:lnTo>
                      <a:pt x="92" y="369"/>
                    </a:lnTo>
                    <a:lnTo>
                      <a:pt x="90" y="369"/>
                    </a:lnTo>
                    <a:lnTo>
                      <a:pt x="90" y="367"/>
                    </a:lnTo>
                    <a:lnTo>
                      <a:pt x="90" y="369"/>
                    </a:lnTo>
                    <a:lnTo>
                      <a:pt x="88" y="367"/>
                    </a:lnTo>
                    <a:lnTo>
                      <a:pt x="88" y="369"/>
                    </a:lnTo>
                    <a:lnTo>
                      <a:pt x="86" y="369"/>
                    </a:lnTo>
                    <a:lnTo>
                      <a:pt x="86" y="367"/>
                    </a:lnTo>
                    <a:lnTo>
                      <a:pt x="84" y="367"/>
                    </a:lnTo>
                    <a:lnTo>
                      <a:pt x="82" y="365"/>
                    </a:lnTo>
                    <a:lnTo>
                      <a:pt x="82" y="367"/>
                    </a:lnTo>
                    <a:lnTo>
                      <a:pt x="81" y="365"/>
                    </a:lnTo>
                    <a:lnTo>
                      <a:pt x="81" y="363"/>
                    </a:lnTo>
                    <a:lnTo>
                      <a:pt x="79" y="363"/>
                    </a:lnTo>
                    <a:lnTo>
                      <a:pt x="79" y="361"/>
                    </a:lnTo>
                    <a:lnTo>
                      <a:pt x="77" y="361"/>
                    </a:lnTo>
                    <a:lnTo>
                      <a:pt x="75" y="361"/>
                    </a:lnTo>
                    <a:lnTo>
                      <a:pt x="73" y="361"/>
                    </a:lnTo>
                    <a:lnTo>
                      <a:pt x="69" y="359"/>
                    </a:lnTo>
                    <a:lnTo>
                      <a:pt x="71" y="357"/>
                    </a:lnTo>
                    <a:lnTo>
                      <a:pt x="73" y="355"/>
                    </a:lnTo>
                    <a:lnTo>
                      <a:pt x="69" y="354"/>
                    </a:lnTo>
                    <a:lnTo>
                      <a:pt x="71" y="352"/>
                    </a:lnTo>
                    <a:lnTo>
                      <a:pt x="65" y="352"/>
                    </a:lnTo>
                    <a:lnTo>
                      <a:pt x="61" y="350"/>
                    </a:lnTo>
                    <a:lnTo>
                      <a:pt x="61" y="348"/>
                    </a:lnTo>
                    <a:lnTo>
                      <a:pt x="59" y="348"/>
                    </a:lnTo>
                    <a:lnTo>
                      <a:pt x="57" y="348"/>
                    </a:lnTo>
                    <a:lnTo>
                      <a:pt x="56" y="348"/>
                    </a:lnTo>
                    <a:lnTo>
                      <a:pt x="56" y="350"/>
                    </a:lnTo>
                    <a:lnTo>
                      <a:pt x="57" y="350"/>
                    </a:lnTo>
                    <a:lnTo>
                      <a:pt x="57" y="352"/>
                    </a:lnTo>
                    <a:lnTo>
                      <a:pt x="57" y="354"/>
                    </a:lnTo>
                    <a:lnTo>
                      <a:pt x="56" y="354"/>
                    </a:lnTo>
                    <a:lnTo>
                      <a:pt x="56" y="355"/>
                    </a:lnTo>
                    <a:lnTo>
                      <a:pt x="54" y="355"/>
                    </a:lnTo>
                    <a:lnTo>
                      <a:pt x="54" y="357"/>
                    </a:lnTo>
                    <a:lnTo>
                      <a:pt x="54" y="355"/>
                    </a:lnTo>
                    <a:lnTo>
                      <a:pt x="54" y="357"/>
                    </a:lnTo>
                    <a:lnTo>
                      <a:pt x="52" y="357"/>
                    </a:lnTo>
                    <a:lnTo>
                      <a:pt x="52" y="355"/>
                    </a:lnTo>
                    <a:lnTo>
                      <a:pt x="50" y="355"/>
                    </a:lnTo>
                    <a:lnTo>
                      <a:pt x="48" y="355"/>
                    </a:lnTo>
                    <a:lnTo>
                      <a:pt x="50" y="355"/>
                    </a:lnTo>
                    <a:lnTo>
                      <a:pt x="50" y="357"/>
                    </a:lnTo>
                    <a:lnTo>
                      <a:pt x="48" y="357"/>
                    </a:lnTo>
                    <a:lnTo>
                      <a:pt x="48" y="359"/>
                    </a:lnTo>
                    <a:lnTo>
                      <a:pt x="46" y="361"/>
                    </a:lnTo>
                    <a:lnTo>
                      <a:pt x="44" y="361"/>
                    </a:lnTo>
                    <a:lnTo>
                      <a:pt x="44" y="363"/>
                    </a:lnTo>
                    <a:lnTo>
                      <a:pt x="42" y="363"/>
                    </a:lnTo>
                    <a:lnTo>
                      <a:pt x="42" y="361"/>
                    </a:lnTo>
                    <a:lnTo>
                      <a:pt x="40" y="361"/>
                    </a:lnTo>
                    <a:lnTo>
                      <a:pt x="40" y="359"/>
                    </a:lnTo>
                    <a:lnTo>
                      <a:pt x="38" y="359"/>
                    </a:lnTo>
                    <a:lnTo>
                      <a:pt x="38" y="357"/>
                    </a:lnTo>
                    <a:lnTo>
                      <a:pt x="38" y="355"/>
                    </a:lnTo>
                    <a:lnTo>
                      <a:pt x="36" y="355"/>
                    </a:lnTo>
                    <a:lnTo>
                      <a:pt x="36" y="354"/>
                    </a:lnTo>
                    <a:lnTo>
                      <a:pt x="34" y="354"/>
                    </a:lnTo>
                    <a:lnTo>
                      <a:pt x="34" y="352"/>
                    </a:lnTo>
                    <a:lnTo>
                      <a:pt x="33" y="350"/>
                    </a:lnTo>
                    <a:lnTo>
                      <a:pt x="33" y="352"/>
                    </a:lnTo>
                    <a:lnTo>
                      <a:pt x="31" y="354"/>
                    </a:lnTo>
                    <a:lnTo>
                      <a:pt x="29" y="354"/>
                    </a:lnTo>
                    <a:lnTo>
                      <a:pt x="27" y="354"/>
                    </a:lnTo>
                    <a:lnTo>
                      <a:pt x="27" y="355"/>
                    </a:lnTo>
                    <a:lnTo>
                      <a:pt x="27" y="354"/>
                    </a:lnTo>
                    <a:lnTo>
                      <a:pt x="27" y="352"/>
                    </a:lnTo>
                    <a:lnTo>
                      <a:pt x="25" y="352"/>
                    </a:lnTo>
                    <a:lnTo>
                      <a:pt x="25" y="354"/>
                    </a:lnTo>
                    <a:lnTo>
                      <a:pt x="25" y="352"/>
                    </a:lnTo>
                    <a:lnTo>
                      <a:pt x="23" y="352"/>
                    </a:lnTo>
                    <a:lnTo>
                      <a:pt x="23" y="350"/>
                    </a:lnTo>
                    <a:lnTo>
                      <a:pt x="21" y="348"/>
                    </a:lnTo>
                    <a:lnTo>
                      <a:pt x="19" y="350"/>
                    </a:lnTo>
                    <a:lnTo>
                      <a:pt x="17" y="348"/>
                    </a:lnTo>
                    <a:lnTo>
                      <a:pt x="15" y="348"/>
                    </a:lnTo>
                    <a:lnTo>
                      <a:pt x="13" y="348"/>
                    </a:lnTo>
                    <a:lnTo>
                      <a:pt x="13" y="346"/>
                    </a:lnTo>
                    <a:lnTo>
                      <a:pt x="13" y="344"/>
                    </a:lnTo>
                    <a:lnTo>
                      <a:pt x="11" y="344"/>
                    </a:lnTo>
                    <a:lnTo>
                      <a:pt x="9" y="344"/>
                    </a:lnTo>
                    <a:lnTo>
                      <a:pt x="8" y="344"/>
                    </a:lnTo>
                    <a:lnTo>
                      <a:pt x="8" y="342"/>
                    </a:lnTo>
                    <a:lnTo>
                      <a:pt x="8" y="344"/>
                    </a:lnTo>
                    <a:lnTo>
                      <a:pt x="6" y="344"/>
                    </a:lnTo>
                    <a:lnTo>
                      <a:pt x="6" y="346"/>
                    </a:lnTo>
                    <a:lnTo>
                      <a:pt x="4" y="344"/>
                    </a:lnTo>
                    <a:lnTo>
                      <a:pt x="4" y="346"/>
                    </a:lnTo>
                    <a:lnTo>
                      <a:pt x="2" y="344"/>
                    </a:lnTo>
                    <a:lnTo>
                      <a:pt x="2" y="342"/>
                    </a:lnTo>
                    <a:lnTo>
                      <a:pt x="0" y="340"/>
                    </a:lnTo>
                    <a:lnTo>
                      <a:pt x="2" y="340"/>
                    </a:lnTo>
                    <a:lnTo>
                      <a:pt x="2" y="338"/>
                    </a:lnTo>
                    <a:lnTo>
                      <a:pt x="2" y="336"/>
                    </a:lnTo>
                    <a:lnTo>
                      <a:pt x="4" y="336"/>
                    </a:lnTo>
                    <a:lnTo>
                      <a:pt x="4" y="334"/>
                    </a:lnTo>
                    <a:lnTo>
                      <a:pt x="2" y="334"/>
                    </a:lnTo>
                    <a:lnTo>
                      <a:pt x="2" y="332"/>
                    </a:lnTo>
                    <a:lnTo>
                      <a:pt x="4" y="332"/>
                    </a:lnTo>
                    <a:lnTo>
                      <a:pt x="2" y="332"/>
                    </a:lnTo>
                    <a:lnTo>
                      <a:pt x="2" y="330"/>
                    </a:lnTo>
                    <a:lnTo>
                      <a:pt x="4" y="330"/>
                    </a:lnTo>
                    <a:lnTo>
                      <a:pt x="4" y="329"/>
                    </a:lnTo>
                    <a:lnTo>
                      <a:pt x="4" y="327"/>
                    </a:lnTo>
                    <a:lnTo>
                      <a:pt x="4" y="325"/>
                    </a:lnTo>
                    <a:lnTo>
                      <a:pt x="2" y="323"/>
                    </a:lnTo>
                    <a:lnTo>
                      <a:pt x="4" y="321"/>
                    </a:lnTo>
                    <a:lnTo>
                      <a:pt x="6" y="317"/>
                    </a:lnTo>
                    <a:lnTo>
                      <a:pt x="8" y="315"/>
                    </a:lnTo>
                    <a:lnTo>
                      <a:pt x="9" y="313"/>
                    </a:lnTo>
                    <a:lnTo>
                      <a:pt x="9" y="311"/>
                    </a:lnTo>
                    <a:lnTo>
                      <a:pt x="11" y="309"/>
                    </a:lnTo>
                    <a:lnTo>
                      <a:pt x="9" y="309"/>
                    </a:lnTo>
                    <a:lnTo>
                      <a:pt x="13" y="307"/>
                    </a:lnTo>
                    <a:lnTo>
                      <a:pt x="13" y="305"/>
                    </a:lnTo>
                    <a:lnTo>
                      <a:pt x="11" y="304"/>
                    </a:lnTo>
                    <a:lnTo>
                      <a:pt x="11" y="302"/>
                    </a:lnTo>
                    <a:lnTo>
                      <a:pt x="11" y="300"/>
                    </a:lnTo>
                    <a:lnTo>
                      <a:pt x="11" y="298"/>
                    </a:lnTo>
                    <a:lnTo>
                      <a:pt x="11" y="296"/>
                    </a:lnTo>
                    <a:lnTo>
                      <a:pt x="11" y="294"/>
                    </a:lnTo>
                    <a:lnTo>
                      <a:pt x="11" y="292"/>
                    </a:lnTo>
                    <a:lnTo>
                      <a:pt x="13" y="290"/>
                    </a:lnTo>
                    <a:lnTo>
                      <a:pt x="15" y="288"/>
                    </a:lnTo>
                    <a:lnTo>
                      <a:pt x="17" y="288"/>
                    </a:lnTo>
                    <a:lnTo>
                      <a:pt x="19" y="290"/>
                    </a:lnTo>
                    <a:lnTo>
                      <a:pt x="19" y="292"/>
                    </a:lnTo>
                    <a:lnTo>
                      <a:pt x="23" y="294"/>
                    </a:lnTo>
                    <a:lnTo>
                      <a:pt x="25" y="294"/>
                    </a:lnTo>
                    <a:lnTo>
                      <a:pt x="27" y="294"/>
                    </a:lnTo>
                    <a:lnTo>
                      <a:pt x="29" y="292"/>
                    </a:lnTo>
                    <a:lnTo>
                      <a:pt x="29" y="294"/>
                    </a:lnTo>
                    <a:lnTo>
                      <a:pt x="31" y="292"/>
                    </a:lnTo>
                    <a:lnTo>
                      <a:pt x="31" y="290"/>
                    </a:lnTo>
                    <a:lnTo>
                      <a:pt x="33" y="292"/>
                    </a:lnTo>
                    <a:lnTo>
                      <a:pt x="36" y="286"/>
                    </a:lnTo>
                    <a:lnTo>
                      <a:pt x="36" y="288"/>
                    </a:lnTo>
                    <a:lnTo>
                      <a:pt x="38" y="286"/>
                    </a:lnTo>
                    <a:lnTo>
                      <a:pt x="38" y="288"/>
                    </a:lnTo>
                    <a:lnTo>
                      <a:pt x="38" y="286"/>
                    </a:lnTo>
                    <a:lnTo>
                      <a:pt x="40" y="286"/>
                    </a:lnTo>
                    <a:lnTo>
                      <a:pt x="40" y="288"/>
                    </a:lnTo>
                    <a:lnTo>
                      <a:pt x="38" y="288"/>
                    </a:lnTo>
                    <a:lnTo>
                      <a:pt x="40" y="288"/>
                    </a:lnTo>
                    <a:lnTo>
                      <a:pt x="40" y="290"/>
                    </a:lnTo>
                    <a:lnTo>
                      <a:pt x="40" y="288"/>
                    </a:lnTo>
                    <a:lnTo>
                      <a:pt x="40" y="290"/>
                    </a:lnTo>
                    <a:lnTo>
                      <a:pt x="42" y="290"/>
                    </a:lnTo>
                    <a:lnTo>
                      <a:pt x="42" y="288"/>
                    </a:lnTo>
                    <a:lnTo>
                      <a:pt x="44" y="286"/>
                    </a:lnTo>
                    <a:lnTo>
                      <a:pt x="42" y="286"/>
                    </a:lnTo>
                    <a:lnTo>
                      <a:pt x="42" y="284"/>
                    </a:lnTo>
                    <a:lnTo>
                      <a:pt x="44" y="284"/>
                    </a:lnTo>
                    <a:lnTo>
                      <a:pt x="44" y="286"/>
                    </a:lnTo>
                    <a:lnTo>
                      <a:pt x="46" y="284"/>
                    </a:lnTo>
                    <a:lnTo>
                      <a:pt x="44" y="282"/>
                    </a:lnTo>
                    <a:lnTo>
                      <a:pt x="44" y="280"/>
                    </a:lnTo>
                    <a:lnTo>
                      <a:pt x="42" y="279"/>
                    </a:lnTo>
                    <a:lnTo>
                      <a:pt x="44" y="279"/>
                    </a:lnTo>
                    <a:lnTo>
                      <a:pt x="46" y="277"/>
                    </a:lnTo>
                    <a:lnTo>
                      <a:pt x="46" y="275"/>
                    </a:lnTo>
                    <a:lnTo>
                      <a:pt x="44" y="273"/>
                    </a:lnTo>
                    <a:lnTo>
                      <a:pt x="46" y="273"/>
                    </a:lnTo>
                    <a:lnTo>
                      <a:pt x="46" y="271"/>
                    </a:lnTo>
                    <a:lnTo>
                      <a:pt x="52" y="261"/>
                    </a:lnTo>
                    <a:lnTo>
                      <a:pt x="50" y="261"/>
                    </a:lnTo>
                    <a:lnTo>
                      <a:pt x="52" y="259"/>
                    </a:lnTo>
                    <a:lnTo>
                      <a:pt x="52" y="257"/>
                    </a:lnTo>
                    <a:lnTo>
                      <a:pt x="54" y="257"/>
                    </a:lnTo>
                    <a:lnTo>
                      <a:pt x="54" y="255"/>
                    </a:lnTo>
                    <a:lnTo>
                      <a:pt x="56" y="254"/>
                    </a:lnTo>
                    <a:lnTo>
                      <a:pt x="56" y="255"/>
                    </a:lnTo>
                    <a:lnTo>
                      <a:pt x="57" y="254"/>
                    </a:lnTo>
                    <a:lnTo>
                      <a:pt x="59" y="250"/>
                    </a:lnTo>
                    <a:lnTo>
                      <a:pt x="59" y="252"/>
                    </a:lnTo>
                    <a:lnTo>
                      <a:pt x="69" y="255"/>
                    </a:lnTo>
                    <a:lnTo>
                      <a:pt x="67" y="259"/>
                    </a:lnTo>
                    <a:lnTo>
                      <a:pt x="69" y="263"/>
                    </a:lnTo>
                    <a:lnTo>
                      <a:pt x="81" y="255"/>
                    </a:lnTo>
                    <a:lnTo>
                      <a:pt x="82" y="255"/>
                    </a:lnTo>
                    <a:lnTo>
                      <a:pt x="82" y="254"/>
                    </a:lnTo>
                    <a:lnTo>
                      <a:pt x="84" y="250"/>
                    </a:lnTo>
                    <a:lnTo>
                      <a:pt x="82" y="248"/>
                    </a:lnTo>
                    <a:lnTo>
                      <a:pt x="82" y="246"/>
                    </a:lnTo>
                    <a:lnTo>
                      <a:pt x="82" y="244"/>
                    </a:lnTo>
                    <a:lnTo>
                      <a:pt x="81" y="244"/>
                    </a:lnTo>
                    <a:lnTo>
                      <a:pt x="81" y="242"/>
                    </a:lnTo>
                    <a:lnTo>
                      <a:pt x="81" y="240"/>
                    </a:lnTo>
                    <a:lnTo>
                      <a:pt x="81" y="238"/>
                    </a:lnTo>
                    <a:lnTo>
                      <a:pt x="81" y="236"/>
                    </a:lnTo>
                    <a:lnTo>
                      <a:pt x="82" y="234"/>
                    </a:lnTo>
                    <a:lnTo>
                      <a:pt x="84" y="232"/>
                    </a:lnTo>
                    <a:lnTo>
                      <a:pt x="86" y="230"/>
                    </a:lnTo>
                    <a:lnTo>
                      <a:pt x="88" y="229"/>
                    </a:lnTo>
                    <a:lnTo>
                      <a:pt x="90" y="227"/>
                    </a:lnTo>
                    <a:lnTo>
                      <a:pt x="92" y="227"/>
                    </a:lnTo>
                    <a:lnTo>
                      <a:pt x="94" y="227"/>
                    </a:lnTo>
                    <a:lnTo>
                      <a:pt x="96" y="227"/>
                    </a:lnTo>
                    <a:lnTo>
                      <a:pt x="98" y="229"/>
                    </a:lnTo>
                    <a:lnTo>
                      <a:pt x="100" y="227"/>
                    </a:lnTo>
                    <a:lnTo>
                      <a:pt x="104" y="225"/>
                    </a:lnTo>
                    <a:lnTo>
                      <a:pt x="106" y="223"/>
                    </a:lnTo>
                    <a:lnTo>
                      <a:pt x="109" y="221"/>
                    </a:lnTo>
                    <a:lnTo>
                      <a:pt x="109" y="219"/>
                    </a:lnTo>
                    <a:lnTo>
                      <a:pt x="111" y="219"/>
                    </a:lnTo>
                    <a:lnTo>
                      <a:pt x="115" y="217"/>
                    </a:lnTo>
                    <a:lnTo>
                      <a:pt x="117" y="215"/>
                    </a:lnTo>
                    <a:lnTo>
                      <a:pt x="119" y="207"/>
                    </a:lnTo>
                    <a:lnTo>
                      <a:pt x="119" y="205"/>
                    </a:lnTo>
                    <a:lnTo>
                      <a:pt x="121" y="204"/>
                    </a:lnTo>
                    <a:lnTo>
                      <a:pt x="121" y="202"/>
                    </a:lnTo>
                    <a:lnTo>
                      <a:pt x="121" y="200"/>
                    </a:lnTo>
                    <a:lnTo>
                      <a:pt x="119" y="200"/>
                    </a:lnTo>
                    <a:lnTo>
                      <a:pt x="117" y="200"/>
                    </a:lnTo>
                    <a:lnTo>
                      <a:pt x="115" y="198"/>
                    </a:lnTo>
                    <a:lnTo>
                      <a:pt x="115" y="196"/>
                    </a:lnTo>
                    <a:lnTo>
                      <a:pt x="113" y="194"/>
                    </a:lnTo>
                    <a:lnTo>
                      <a:pt x="113" y="192"/>
                    </a:lnTo>
                    <a:lnTo>
                      <a:pt x="115" y="188"/>
                    </a:lnTo>
                    <a:lnTo>
                      <a:pt x="115" y="186"/>
                    </a:lnTo>
                    <a:lnTo>
                      <a:pt x="117" y="184"/>
                    </a:lnTo>
                    <a:lnTo>
                      <a:pt x="119" y="186"/>
                    </a:lnTo>
                    <a:lnTo>
                      <a:pt x="121" y="182"/>
                    </a:lnTo>
                    <a:lnTo>
                      <a:pt x="119" y="180"/>
                    </a:lnTo>
                    <a:lnTo>
                      <a:pt x="119" y="179"/>
                    </a:lnTo>
                    <a:lnTo>
                      <a:pt x="121" y="177"/>
                    </a:lnTo>
                    <a:lnTo>
                      <a:pt x="125" y="169"/>
                    </a:lnTo>
                    <a:lnTo>
                      <a:pt x="123" y="167"/>
                    </a:lnTo>
                    <a:lnTo>
                      <a:pt x="123" y="163"/>
                    </a:lnTo>
                    <a:lnTo>
                      <a:pt x="121" y="161"/>
                    </a:lnTo>
                    <a:lnTo>
                      <a:pt x="117" y="159"/>
                    </a:lnTo>
                    <a:lnTo>
                      <a:pt x="115" y="157"/>
                    </a:lnTo>
                    <a:lnTo>
                      <a:pt x="113" y="155"/>
                    </a:lnTo>
                    <a:lnTo>
                      <a:pt x="113" y="152"/>
                    </a:lnTo>
                    <a:lnTo>
                      <a:pt x="115" y="152"/>
                    </a:lnTo>
                    <a:lnTo>
                      <a:pt x="113" y="148"/>
                    </a:lnTo>
                    <a:lnTo>
                      <a:pt x="113" y="146"/>
                    </a:lnTo>
                    <a:lnTo>
                      <a:pt x="113" y="144"/>
                    </a:lnTo>
                    <a:lnTo>
                      <a:pt x="111" y="144"/>
                    </a:lnTo>
                    <a:lnTo>
                      <a:pt x="109" y="142"/>
                    </a:lnTo>
                    <a:lnTo>
                      <a:pt x="107" y="142"/>
                    </a:lnTo>
                    <a:lnTo>
                      <a:pt x="107" y="140"/>
                    </a:lnTo>
                    <a:lnTo>
                      <a:pt x="111" y="138"/>
                    </a:lnTo>
                    <a:lnTo>
                      <a:pt x="113" y="136"/>
                    </a:lnTo>
                    <a:lnTo>
                      <a:pt x="119" y="127"/>
                    </a:lnTo>
                    <a:lnTo>
                      <a:pt x="121" y="129"/>
                    </a:lnTo>
                    <a:lnTo>
                      <a:pt x="123" y="130"/>
                    </a:lnTo>
                    <a:lnTo>
                      <a:pt x="129" y="121"/>
                    </a:lnTo>
                    <a:lnTo>
                      <a:pt x="130" y="123"/>
                    </a:lnTo>
                    <a:lnTo>
                      <a:pt x="132" y="121"/>
                    </a:lnTo>
                    <a:lnTo>
                      <a:pt x="136" y="117"/>
                    </a:lnTo>
                    <a:lnTo>
                      <a:pt x="138" y="119"/>
                    </a:lnTo>
                    <a:lnTo>
                      <a:pt x="140" y="119"/>
                    </a:lnTo>
                    <a:lnTo>
                      <a:pt x="138" y="117"/>
                    </a:lnTo>
                    <a:lnTo>
                      <a:pt x="140" y="117"/>
                    </a:lnTo>
                    <a:lnTo>
                      <a:pt x="140" y="115"/>
                    </a:lnTo>
                    <a:lnTo>
                      <a:pt x="142" y="113"/>
                    </a:lnTo>
                    <a:lnTo>
                      <a:pt x="144" y="111"/>
                    </a:lnTo>
                    <a:lnTo>
                      <a:pt x="144" y="109"/>
                    </a:lnTo>
                    <a:lnTo>
                      <a:pt x="146" y="107"/>
                    </a:lnTo>
                    <a:lnTo>
                      <a:pt x="148" y="106"/>
                    </a:lnTo>
                    <a:lnTo>
                      <a:pt x="150" y="102"/>
                    </a:lnTo>
                    <a:lnTo>
                      <a:pt x="152" y="100"/>
                    </a:lnTo>
                    <a:lnTo>
                      <a:pt x="152" y="98"/>
                    </a:lnTo>
                    <a:lnTo>
                      <a:pt x="154" y="96"/>
                    </a:lnTo>
                    <a:lnTo>
                      <a:pt x="154" y="94"/>
                    </a:lnTo>
                    <a:lnTo>
                      <a:pt x="155" y="92"/>
                    </a:lnTo>
                    <a:lnTo>
                      <a:pt x="157" y="90"/>
                    </a:lnTo>
                    <a:lnTo>
                      <a:pt x="159" y="88"/>
                    </a:lnTo>
                    <a:lnTo>
                      <a:pt x="161" y="86"/>
                    </a:lnTo>
                    <a:lnTo>
                      <a:pt x="163" y="88"/>
                    </a:lnTo>
                    <a:lnTo>
                      <a:pt x="165" y="84"/>
                    </a:lnTo>
                    <a:lnTo>
                      <a:pt x="167" y="79"/>
                    </a:lnTo>
                    <a:lnTo>
                      <a:pt x="169" y="75"/>
                    </a:lnTo>
                    <a:lnTo>
                      <a:pt x="171" y="73"/>
                    </a:lnTo>
                    <a:lnTo>
                      <a:pt x="173" y="71"/>
                    </a:lnTo>
                    <a:lnTo>
                      <a:pt x="173" y="69"/>
                    </a:lnTo>
                    <a:lnTo>
                      <a:pt x="175" y="65"/>
                    </a:lnTo>
                    <a:lnTo>
                      <a:pt x="177" y="61"/>
                    </a:lnTo>
                    <a:lnTo>
                      <a:pt x="175" y="61"/>
                    </a:lnTo>
                    <a:lnTo>
                      <a:pt x="173" y="59"/>
                    </a:lnTo>
                    <a:lnTo>
                      <a:pt x="175" y="57"/>
                    </a:lnTo>
                    <a:lnTo>
                      <a:pt x="175" y="56"/>
                    </a:lnTo>
                    <a:lnTo>
                      <a:pt x="175" y="54"/>
                    </a:lnTo>
                    <a:lnTo>
                      <a:pt x="177" y="52"/>
                    </a:lnTo>
                    <a:lnTo>
                      <a:pt x="177" y="50"/>
                    </a:lnTo>
                    <a:lnTo>
                      <a:pt x="177" y="48"/>
                    </a:lnTo>
                    <a:lnTo>
                      <a:pt x="177" y="46"/>
                    </a:lnTo>
                    <a:lnTo>
                      <a:pt x="177" y="42"/>
                    </a:lnTo>
                    <a:lnTo>
                      <a:pt x="177" y="40"/>
                    </a:lnTo>
                    <a:lnTo>
                      <a:pt x="179" y="38"/>
                    </a:lnTo>
                    <a:lnTo>
                      <a:pt x="180" y="36"/>
                    </a:lnTo>
                    <a:lnTo>
                      <a:pt x="182" y="34"/>
                    </a:lnTo>
                    <a:lnTo>
                      <a:pt x="184" y="32"/>
                    </a:lnTo>
                    <a:lnTo>
                      <a:pt x="186" y="32"/>
                    </a:lnTo>
                    <a:lnTo>
                      <a:pt x="186" y="31"/>
                    </a:lnTo>
                    <a:lnTo>
                      <a:pt x="186" y="29"/>
                    </a:lnTo>
                    <a:lnTo>
                      <a:pt x="188" y="27"/>
                    </a:lnTo>
                    <a:lnTo>
                      <a:pt x="188" y="25"/>
                    </a:lnTo>
                    <a:lnTo>
                      <a:pt x="188" y="23"/>
                    </a:lnTo>
                    <a:lnTo>
                      <a:pt x="190" y="21"/>
                    </a:lnTo>
                    <a:lnTo>
                      <a:pt x="190" y="19"/>
                    </a:lnTo>
                    <a:lnTo>
                      <a:pt x="188" y="17"/>
                    </a:lnTo>
                    <a:lnTo>
                      <a:pt x="190" y="15"/>
                    </a:lnTo>
                    <a:lnTo>
                      <a:pt x="192" y="11"/>
                    </a:lnTo>
                    <a:lnTo>
                      <a:pt x="192" y="9"/>
                    </a:lnTo>
                    <a:lnTo>
                      <a:pt x="192" y="7"/>
                    </a:lnTo>
                    <a:lnTo>
                      <a:pt x="192" y="6"/>
                    </a:lnTo>
                    <a:lnTo>
                      <a:pt x="194" y="4"/>
                    </a:lnTo>
                    <a:lnTo>
                      <a:pt x="196" y="4"/>
                    </a:lnTo>
                    <a:lnTo>
                      <a:pt x="196" y="2"/>
                    </a:lnTo>
                    <a:lnTo>
                      <a:pt x="198" y="2"/>
                    </a:lnTo>
                    <a:lnTo>
                      <a:pt x="200" y="0"/>
                    </a:lnTo>
                    <a:lnTo>
                      <a:pt x="202" y="2"/>
                    </a:lnTo>
                    <a:lnTo>
                      <a:pt x="203" y="2"/>
                    </a:lnTo>
                    <a:lnTo>
                      <a:pt x="203" y="4"/>
                    </a:lnTo>
                    <a:lnTo>
                      <a:pt x="205" y="4"/>
                    </a:lnTo>
                    <a:lnTo>
                      <a:pt x="207" y="4"/>
                    </a:lnTo>
                    <a:lnTo>
                      <a:pt x="209" y="6"/>
                    </a:lnTo>
                    <a:lnTo>
                      <a:pt x="209" y="7"/>
                    </a:lnTo>
                    <a:lnTo>
                      <a:pt x="211" y="7"/>
                    </a:lnTo>
                    <a:lnTo>
                      <a:pt x="211" y="9"/>
                    </a:lnTo>
                    <a:lnTo>
                      <a:pt x="211" y="11"/>
                    </a:lnTo>
                    <a:lnTo>
                      <a:pt x="209" y="11"/>
                    </a:lnTo>
                    <a:lnTo>
                      <a:pt x="209" y="13"/>
                    </a:lnTo>
                    <a:lnTo>
                      <a:pt x="209" y="15"/>
                    </a:lnTo>
                    <a:lnTo>
                      <a:pt x="207" y="17"/>
                    </a:lnTo>
                    <a:lnTo>
                      <a:pt x="207" y="19"/>
                    </a:lnTo>
                    <a:lnTo>
                      <a:pt x="209" y="21"/>
                    </a:lnTo>
                    <a:lnTo>
                      <a:pt x="211" y="21"/>
                    </a:lnTo>
                    <a:lnTo>
                      <a:pt x="215" y="21"/>
                    </a:lnTo>
                    <a:lnTo>
                      <a:pt x="217" y="23"/>
                    </a:lnTo>
                    <a:lnTo>
                      <a:pt x="221" y="23"/>
                    </a:lnTo>
                    <a:lnTo>
                      <a:pt x="223" y="25"/>
                    </a:lnTo>
                    <a:lnTo>
                      <a:pt x="225" y="25"/>
                    </a:lnTo>
                    <a:lnTo>
                      <a:pt x="230" y="29"/>
                    </a:lnTo>
                    <a:lnTo>
                      <a:pt x="234" y="31"/>
                    </a:lnTo>
                    <a:lnTo>
                      <a:pt x="238" y="32"/>
                    </a:lnTo>
                    <a:lnTo>
                      <a:pt x="240" y="36"/>
                    </a:lnTo>
                    <a:lnTo>
                      <a:pt x="246" y="44"/>
                    </a:lnTo>
                    <a:lnTo>
                      <a:pt x="252" y="52"/>
                    </a:lnTo>
                    <a:lnTo>
                      <a:pt x="253" y="56"/>
                    </a:lnTo>
                    <a:lnTo>
                      <a:pt x="253" y="57"/>
                    </a:lnTo>
                    <a:lnTo>
                      <a:pt x="265" y="71"/>
                    </a:lnTo>
                    <a:lnTo>
                      <a:pt x="267" y="73"/>
                    </a:lnTo>
                    <a:lnTo>
                      <a:pt x="269" y="77"/>
                    </a:lnTo>
                    <a:lnTo>
                      <a:pt x="271" y="84"/>
                    </a:lnTo>
                    <a:lnTo>
                      <a:pt x="271" y="92"/>
                    </a:lnTo>
                    <a:lnTo>
                      <a:pt x="267" y="98"/>
                    </a:lnTo>
                    <a:lnTo>
                      <a:pt x="265" y="102"/>
                    </a:lnTo>
                    <a:lnTo>
                      <a:pt x="263" y="115"/>
                    </a:lnTo>
                    <a:lnTo>
                      <a:pt x="265" y="123"/>
                    </a:lnTo>
                    <a:lnTo>
                      <a:pt x="265" y="129"/>
                    </a:lnTo>
                    <a:lnTo>
                      <a:pt x="267" y="140"/>
                    </a:lnTo>
                    <a:lnTo>
                      <a:pt x="265" y="144"/>
                    </a:lnTo>
                    <a:lnTo>
                      <a:pt x="269" y="150"/>
                    </a:lnTo>
                    <a:lnTo>
                      <a:pt x="271" y="152"/>
                    </a:lnTo>
                    <a:lnTo>
                      <a:pt x="271" y="154"/>
                    </a:lnTo>
                    <a:lnTo>
                      <a:pt x="273" y="154"/>
                    </a:lnTo>
                    <a:lnTo>
                      <a:pt x="275" y="154"/>
                    </a:lnTo>
                    <a:lnTo>
                      <a:pt x="273" y="154"/>
                    </a:lnTo>
                    <a:lnTo>
                      <a:pt x="275" y="154"/>
                    </a:lnTo>
                    <a:lnTo>
                      <a:pt x="275" y="155"/>
                    </a:lnTo>
                    <a:lnTo>
                      <a:pt x="273" y="155"/>
                    </a:lnTo>
                    <a:lnTo>
                      <a:pt x="273" y="157"/>
                    </a:lnTo>
                    <a:lnTo>
                      <a:pt x="273" y="159"/>
                    </a:lnTo>
                    <a:lnTo>
                      <a:pt x="273" y="165"/>
                    </a:lnTo>
                    <a:lnTo>
                      <a:pt x="273" y="173"/>
                    </a:lnTo>
                    <a:lnTo>
                      <a:pt x="273" y="179"/>
                    </a:lnTo>
                    <a:lnTo>
                      <a:pt x="269" y="194"/>
                    </a:lnTo>
                    <a:lnTo>
                      <a:pt x="267" y="198"/>
                    </a:lnTo>
                    <a:lnTo>
                      <a:pt x="269" y="205"/>
                    </a:lnTo>
                    <a:lnTo>
                      <a:pt x="284" y="209"/>
                    </a:lnTo>
                    <a:lnTo>
                      <a:pt x="290" y="213"/>
                    </a:lnTo>
                    <a:lnTo>
                      <a:pt x="300" y="219"/>
                    </a:lnTo>
                    <a:lnTo>
                      <a:pt x="298" y="225"/>
                    </a:lnTo>
                    <a:lnTo>
                      <a:pt x="298" y="227"/>
                    </a:lnTo>
                    <a:lnTo>
                      <a:pt x="300" y="227"/>
                    </a:lnTo>
                    <a:lnTo>
                      <a:pt x="301" y="227"/>
                    </a:lnTo>
                    <a:lnTo>
                      <a:pt x="301" y="230"/>
                    </a:lnTo>
                    <a:lnTo>
                      <a:pt x="301" y="238"/>
                    </a:lnTo>
                    <a:lnTo>
                      <a:pt x="300" y="246"/>
                    </a:lnTo>
                    <a:lnTo>
                      <a:pt x="300" y="250"/>
                    </a:lnTo>
                    <a:lnTo>
                      <a:pt x="303" y="261"/>
                    </a:lnTo>
                    <a:lnTo>
                      <a:pt x="303" y="267"/>
                    </a:lnTo>
                    <a:lnTo>
                      <a:pt x="311" y="2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1" name="Freeform 131"/>
              <p:cNvSpPr>
                <a:spLocks/>
              </p:cNvSpPr>
              <p:nvPr/>
            </p:nvSpPr>
            <p:spPr bwMode="auto">
              <a:xfrm>
                <a:off x="795932" y="2786337"/>
                <a:ext cx="196151" cy="258094"/>
              </a:xfrm>
              <a:custGeom>
                <a:avLst/>
                <a:gdLst>
                  <a:gd name="T0" fmla="*/ 110 w 114"/>
                  <a:gd name="T1" fmla="*/ 17 h 150"/>
                  <a:gd name="T2" fmla="*/ 102 w 114"/>
                  <a:gd name="T3" fmla="*/ 29 h 150"/>
                  <a:gd name="T4" fmla="*/ 106 w 114"/>
                  <a:gd name="T5" fmla="*/ 37 h 150"/>
                  <a:gd name="T6" fmla="*/ 104 w 114"/>
                  <a:gd name="T7" fmla="*/ 40 h 150"/>
                  <a:gd name="T8" fmla="*/ 104 w 114"/>
                  <a:gd name="T9" fmla="*/ 52 h 150"/>
                  <a:gd name="T10" fmla="*/ 104 w 114"/>
                  <a:gd name="T11" fmla="*/ 63 h 150"/>
                  <a:gd name="T12" fmla="*/ 108 w 114"/>
                  <a:gd name="T13" fmla="*/ 77 h 150"/>
                  <a:gd name="T14" fmla="*/ 108 w 114"/>
                  <a:gd name="T15" fmla="*/ 87 h 150"/>
                  <a:gd name="T16" fmla="*/ 100 w 114"/>
                  <a:gd name="T17" fmla="*/ 102 h 150"/>
                  <a:gd name="T18" fmla="*/ 98 w 114"/>
                  <a:gd name="T19" fmla="*/ 106 h 150"/>
                  <a:gd name="T20" fmla="*/ 92 w 114"/>
                  <a:gd name="T21" fmla="*/ 112 h 150"/>
                  <a:gd name="T22" fmla="*/ 87 w 114"/>
                  <a:gd name="T23" fmla="*/ 112 h 150"/>
                  <a:gd name="T24" fmla="*/ 81 w 114"/>
                  <a:gd name="T25" fmla="*/ 121 h 150"/>
                  <a:gd name="T26" fmla="*/ 75 w 114"/>
                  <a:gd name="T27" fmla="*/ 121 h 150"/>
                  <a:gd name="T28" fmla="*/ 73 w 114"/>
                  <a:gd name="T29" fmla="*/ 127 h 150"/>
                  <a:gd name="T30" fmla="*/ 67 w 114"/>
                  <a:gd name="T31" fmla="*/ 131 h 150"/>
                  <a:gd name="T32" fmla="*/ 62 w 114"/>
                  <a:gd name="T33" fmla="*/ 138 h 150"/>
                  <a:gd name="T34" fmla="*/ 52 w 114"/>
                  <a:gd name="T35" fmla="*/ 144 h 150"/>
                  <a:gd name="T36" fmla="*/ 46 w 114"/>
                  <a:gd name="T37" fmla="*/ 148 h 150"/>
                  <a:gd name="T38" fmla="*/ 43 w 114"/>
                  <a:gd name="T39" fmla="*/ 142 h 150"/>
                  <a:gd name="T40" fmla="*/ 41 w 114"/>
                  <a:gd name="T41" fmla="*/ 138 h 150"/>
                  <a:gd name="T42" fmla="*/ 39 w 114"/>
                  <a:gd name="T43" fmla="*/ 140 h 150"/>
                  <a:gd name="T44" fmla="*/ 37 w 114"/>
                  <a:gd name="T45" fmla="*/ 138 h 150"/>
                  <a:gd name="T46" fmla="*/ 31 w 114"/>
                  <a:gd name="T47" fmla="*/ 133 h 150"/>
                  <a:gd name="T48" fmla="*/ 27 w 114"/>
                  <a:gd name="T49" fmla="*/ 129 h 150"/>
                  <a:gd name="T50" fmla="*/ 23 w 114"/>
                  <a:gd name="T51" fmla="*/ 119 h 150"/>
                  <a:gd name="T52" fmla="*/ 19 w 114"/>
                  <a:gd name="T53" fmla="*/ 119 h 150"/>
                  <a:gd name="T54" fmla="*/ 16 w 114"/>
                  <a:gd name="T55" fmla="*/ 117 h 150"/>
                  <a:gd name="T56" fmla="*/ 6 w 114"/>
                  <a:gd name="T57" fmla="*/ 115 h 150"/>
                  <a:gd name="T58" fmla="*/ 6 w 114"/>
                  <a:gd name="T59" fmla="*/ 108 h 150"/>
                  <a:gd name="T60" fmla="*/ 8 w 114"/>
                  <a:gd name="T61" fmla="*/ 100 h 150"/>
                  <a:gd name="T62" fmla="*/ 4 w 114"/>
                  <a:gd name="T63" fmla="*/ 96 h 150"/>
                  <a:gd name="T64" fmla="*/ 0 w 114"/>
                  <a:gd name="T65" fmla="*/ 90 h 150"/>
                  <a:gd name="T66" fmla="*/ 6 w 114"/>
                  <a:gd name="T67" fmla="*/ 90 h 150"/>
                  <a:gd name="T68" fmla="*/ 8 w 114"/>
                  <a:gd name="T69" fmla="*/ 83 h 150"/>
                  <a:gd name="T70" fmla="*/ 14 w 114"/>
                  <a:gd name="T71" fmla="*/ 83 h 150"/>
                  <a:gd name="T72" fmla="*/ 16 w 114"/>
                  <a:gd name="T73" fmla="*/ 75 h 150"/>
                  <a:gd name="T74" fmla="*/ 14 w 114"/>
                  <a:gd name="T75" fmla="*/ 69 h 150"/>
                  <a:gd name="T76" fmla="*/ 10 w 114"/>
                  <a:gd name="T77" fmla="*/ 60 h 150"/>
                  <a:gd name="T78" fmla="*/ 10 w 114"/>
                  <a:gd name="T79" fmla="*/ 54 h 150"/>
                  <a:gd name="T80" fmla="*/ 6 w 114"/>
                  <a:gd name="T81" fmla="*/ 46 h 150"/>
                  <a:gd name="T82" fmla="*/ 10 w 114"/>
                  <a:gd name="T83" fmla="*/ 38 h 150"/>
                  <a:gd name="T84" fmla="*/ 12 w 114"/>
                  <a:gd name="T85" fmla="*/ 37 h 150"/>
                  <a:gd name="T86" fmla="*/ 18 w 114"/>
                  <a:gd name="T87" fmla="*/ 35 h 150"/>
                  <a:gd name="T88" fmla="*/ 23 w 114"/>
                  <a:gd name="T89" fmla="*/ 25 h 150"/>
                  <a:gd name="T90" fmla="*/ 27 w 114"/>
                  <a:gd name="T91" fmla="*/ 21 h 150"/>
                  <a:gd name="T92" fmla="*/ 33 w 114"/>
                  <a:gd name="T93" fmla="*/ 12 h 150"/>
                  <a:gd name="T94" fmla="*/ 43 w 114"/>
                  <a:gd name="T95" fmla="*/ 6 h 150"/>
                  <a:gd name="T96" fmla="*/ 46 w 114"/>
                  <a:gd name="T97" fmla="*/ 6 h 150"/>
                  <a:gd name="T98" fmla="*/ 52 w 114"/>
                  <a:gd name="T99" fmla="*/ 2 h 150"/>
                  <a:gd name="T100" fmla="*/ 58 w 114"/>
                  <a:gd name="T101" fmla="*/ 2 h 150"/>
                  <a:gd name="T102" fmla="*/ 66 w 114"/>
                  <a:gd name="T103" fmla="*/ 4 h 150"/>
                  <a:gd name="T104" fmla="*/ 67 w 114"/>
                  <a:gd name="T105" fmla="*/ 10 h 150"/>
                  <a:gd name="T106" fmla="*/ 71 w 114"/>
                  <a:gd name="T107" fmla="*/ 17 h 150"/>
                  <a:gd name="T108" fmla="*/ 77 w 114"/>
                  <a:gd name="T109" fmla="*/ 13 h 150"/>
                  <a:gd name="T110" fmla="*/ 89 w 114"/>
                  <a:gd name="T111" fmla="*/ 2 h 150"/>
                  <a:gd name="T112" fmla="*/ 96 w 114"/>
                  <a:gd name="T113" fmla="*/ 6 h 150"/>
                  <a:gd name="T114" fmla="*/ 104 w 114"/>
                  <a:gd name="T115" fmla="*/ 8 h 150"/>
                  <a:gd name="T116" fmla="*/ 112 w 114"/>
                  <a:gd name="T117" fmla="*/ 12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4" h="150">
                    <a:moveTo>
                      <a:pt x="114" y="13"/>
                    </a:moveTo>
                    <a:lnTo>
                      <a:pt x="114" y="15"/>
                    </a:lnTo>
                    <a:lnTo>
                      <a:pt x="112" y="15"/>
                    </a:lnTo>
                    <a:lnTo>
                      <a:pt x="112" y="13"/>
                    </a:lnTo>
                    <a:lnTo>
                      <a:pt x="112" y="15"/>
                    </a:lnTo>
                    <a:lnTo>
                      <a:pt x="110" y="15"/>
                    </a:lnTo>
                    <a:lnTo>
                      <a:pt x="110" y="17"/>
                    </a:lnTo>
                    <a:lnTo>
                      <a:pt x="110" y="19"/>
                    </a:lnTo>
                    <a:lnTo>
                      <a:pt x="108" y="21"/>
                    </a:lnTo>
                    <a:lnTo>
                      <a:pt x="106" y="25"/>
                    </a:lnTo>
                    <a:lnTo>
                      <a:pt x="106" y="27"/>
                    </a:lnTo>
                    <a:lnTo>
                      <a:pt x="104" y="27"/>
                    </a:lnTo>
                    <a:lnTo>
                      <a:pt x="104" y="29"/>
                    </a:lnTo>
                    <a:lnTo>
                      <a:pt x="102" y="29"/>
                    </a:lnTo>
                    <a:lnTo>
                      <a:pt x="104" y="29"/>
                    </a:lnTo>
                    <a:lnTo>
                      <a:pt x="106" y="29"/>
                    </a:lnTo>
                    <a:lnTo>
                      <a:pt x="104" y="31"/>
                    </a:lnTo>
                    <a:lnTo>
                      <a:pt x="104" y="33"/>
                    </a:lnTo>
                    <a:lnTo>
                      <a:pt x="106" y="33"/>
                    </a:lnTo>
                    <a:lnTo>
                      <a:pt x="106" y="35"/>
                    </a:lnTo>
                    <a:lnTo>
                      <a:pt x="106" y="37"/>
                    </a:lnTo>
                    <a:lnTo>
                      <a:pt x="106" y="38"/>
                    </a:lnTo>
                    <a:lnTo>
                      <a:pt x="104" y="38"/>
                    </a:lnTo>
                    <a:lnTo>
                      <a:pt x="102" y="38"/>
                    </a:lnTo>
                    <a:lnTo>
                      <a:pt x="104" y="38"/>
                    </a:lnTo>
                    <a:lnTo>
                      <a:pt x="102" y="38"/>
                    </a:lnTo>
                    <a:lnTo>
                      <a:pt x="102" y="40"/>
                    </a:lnTo>
                    <a:lnTo>
                      <a:pt x="104" y="40"/>
                    </a:lnTo>
                    <a:lnTo>
                      <a:pt x="104" y="42"/>
                    </a:lnTo>
                    <a:lnTo>
                      <a:pt x="104" y="44"/>
                    </a:lnTo>
                    <a:lnTo>
                      <a:pt x="104" y="46"/>
                    </a:lnTo>
                    <a:lnTo>
                      <a:pt x="106" y="44"/>
                    </a:lnTo>
                    <a:lnTo>
                      <a:pt x="104" y="48"/>
                    </a:lnTo>
                    <a:lnTo>
                      <a:pt x="104" y="50"/>
                    </a:lnTo>
                    <a:lnTo>
                      <a:pt x="104" y="52"/>
                    </a:lnTo>
                    <a:lnTo>
                      <a:pt x="104" y="54"/>
                    </a:lnTo>
                    <a:lnTo>
                      <a:pt x="106" y="56"/>
                    </a:lnTo>
                    <a:lnTo>
                      <a:pt x="104" y="58"/>
                    </a:lnTo>
                    <a:lnTo>
                      <a:pt x="102" y="58"/>
                    </a:lnTo>
                    <a:lnTo>
                      <a:pt x="102" y="60"/>
                    </a:lnTo>
                    <a:lnTo>
                      <a:pt x="104" y="62"/>
                    </a:lnTo>
                    <a:lnTo>
                      <a:pt x="104" y="63"/>
                    </a:lnTo>
                    <a:lnTo>
                      <a:pt x="104" y="65"/>
                    </a:lnTo>
                    <a:lnTo>
                      <a:pt x="104" y="67"/>
                    </a:lnTo>
                    <a:lnTo>
                      <a:pt x="104" y="69"/>
                    </a:lnTo>
                    <a:lnTo>
                      <a:pt x="104" y="71"/>
                    </a:lnTo>
                    <a:lnTo>
                      <a:pt x="106" y="73"/>
                    </a:lnTo>
                    <a:lnTo>
                      <a:pt x="106" y="75"/>
                    </a:lnTo>
                    <a:lnTo>
                      <a:pt x="108" y="77"/>
                    </a:lnTo>
                    <a:lnTo>
                      <a:pt x="108" y="79"/>
                    </a:lnTo>
                    <a:lnTo>
                      <a:pt x="108" y="81"/>
                    </a:lnTo>
                    <a:lnTo>
                      <a:pt x="106" y="81"/>
                    </a:lnTo>
                    <a:lnTo>
                      <a:pt x="108" y="81"/>
                    </a:lnTo>
                    <a:lnTo>
                      <a:pt x="108" y="83"/>
                    </a:lnTo>
                    <a:lnTo>
                      <a:pt x="108" y="85"/>
                    </a:lnTo>
                    <a:lnTo>
                      <a:pt x="108" y="87"/>
                    </a:lnTo>
                    <a:lnTo>
                      <a:pt x="108" y="88"/>
                    </a:lnTo>
                    <a:lnTo>
                      <a:pt x="108" y="92"/>
                    </a:lnTo>
                    <a:lnTo>
                      <a:pt x="108" y="94"/>
                    </a:lnTo>
                    <a:lnTo>
                      <a:pt x="106" y="102"/>
                    </a:lnTo>
                    <a:lnTo>
                      <a:pt x="104" y="102"/>
                    </a:lnTo>
                    <a:lnTo>
                      <a:pt x="100" y="104"/>
                    </a:lnTo>
                    <a:lnTo>
                      <a:pt x="100" y="102"/>
                    </a:lnTo>
                    <a:lnTo>
                      <a:pt x="98" y="102"/>
                    </a:lnTo>
                    <a:lnTo>
                      <a:pt x="98" y="104"/>
                    </a:lnTo>
                    <a:lnTo>
                      <a:pt x="98" y="102"/>
                    </a:lnTo>
                    <a:lnTo>
                      <a:pt x="98" y="104"/>
                    </a:lnTo>
                    <a:lnTo>
                      <a:pt x="96" y="104"/>
                    </a:lnTo>
                    <a:lnTo>
                      <a:pt x="96" y="106"/>
                    </a:lnTo>
                    <a:lnTo>
                      <a:pt x="98" y="106"/>
                    </a:lnTo>
                    <a:lnTo>
                      <a:pt x="98" y="108"/>
                    </a:lnTo>
                    <a:lnTo>
                      <a:pt x="96" y="108"/>
                    </a:lnTo>
                    <a:lnTo>
                      <a:pt x="94" y="106"/>
                    </a:lnTo>
                    <a:lnTo>
                      <a:pt x="94" y="108"/>
                    </a:lnTo>
                    <a:lnTo>
                      <a:pt x="92" y="110"/>
                    </a:lnTo>
                    <a:lnTo>
                      <a:pt x="94" y="112"/>
                    </a:lnTo>
                    <a:lnTo>
                      <a:pt x="92" y="112"/>
                    </a:lnTo>
                    <a:lnTo>
                      <a:pt x="92" y="113"/>
                    </a:lnTo>
                    <a:lnTo>
                      <a:pt x="92" y="112"/>
                    </a:lnTo>
                    <a:lnTo>
                      <a:pt x="92" y="113"/>
                    </a:lnTo>
                    <a:lnTo>
                      <a:pt x="91" y="113"/>
                    </a:lnTo>
                    <a:lnTo>
                      <a:pt x="89" y="115"/>
                    </a:lnTo>
                    <a:lnTo>
                      <a:pt x="89" y="113"/>
                    </a:lnTo>
                    <a:lnTo>
                      <a:pt x="87" y="112"/>
                    </a:lnTo>
                    <a:lnTo>
                      <a:pt x="87" y="113"/>
                    </a:lnTo>
                    <a:lnTo>
                      <a:pt x="85" y="115"/>
                    </a:lnTo>
                    <a:lnTo>
                      <a:pt x="85" y="117"/>
                    </a:lnTo>
                    <a:lnTo>
                      <a:pt x="83" y="117"/>
                    </a:lnTo>
                    <a:lnTo>
                      <a:pt x="83" y="119"/>
                    </a:lnTo>
                    <a:lnTo>
                      <a:pt x="81" y="119"/>
                    </a:lnTo>
                    <a:lnTo>
                      <a:pt x="81" y="121"/>
                    </a:lnTo>
                    <a:lnTo>
                      <a:pt x="79" y="119"/>
                    </a:lnTo>
                    <a:lnTo>
                      <a:pt x="79" y="121"/>
                    </a:lnTo>
                    <a:lnTo>
                      <a:pt x="79" y="119"/>
                    </a:lnTo>
                    <a:lnTo>
                      <a:pt x="77" y="119"/>
                    </a:lnTo>
                    <a:lnTo>
                      <a:pt x="77" y="121"/>
                    </a:lnTo>
                    <a:lnTo>
                      <a:pt x="77" y="119"/>
                    </a:lnTo>
                    <a:lnTo>
                      <a:pt x="75" y="121"/>
                    </a:lnTo>
                    <a:lnTo>
                      <a:pt x="75" y="123"/>
                    </a:lnTo>
                    <a:lnTo>
                      <a:pt x="73" y="123"/>
                    </a:lnTo>
                    <a:lnTo>
                      <a:pt x="73" y="125"/>
                    </a:lnTo>
                    <a:lnTo>
                      <a:pt x="71" y="125"/>
                    </a:lnTo>
                    <a:lnTo>
                      <a:pt x="73" y="127"/>
                    </a:lnTo>
                    <a:lnTo>
                      <a:pt x="71" y="127"/>
                    </a:lnTo>
                    <a:lnTo>
                      <a:pt x="73" y="127"/>
                    </a:lnTo>
                    <a:lnTo>
                      <a:pt x="71" y="127"/>
                    </a:lnTo>
                    <a:lnTo>
                      <a:pt x="71" y="129"/>
                    </a:lnTo>
                    <a:lnTo>
                      <a:pt x="71" y="127"/>
                    </a:lnTo>
                    <a:lnTo>
                      <a:pt x="71" y="129"/>
                    </a:lnTo>
                    <a:lnTo>
                      <a:pt x="71" y="131"/>
                    </a:lnTo>
                    <a:lnTo>
                      <a:pt x="69" y="131"/>
                    </a:lnTo>
                    <a:lnTo>
                      <a:pt x="67" y="131"/>
                    </a:lnTo>
                    <a:lnTo>
                      <a:pt x="67" y="133"/>
                    </a:lnTo>
                    <a:lnTo>
                      <a:pt x="66" y="133"/>
                    </a:lnTo>
                    <a:lnTo>
                      <a:pt x="66" y="135"/>
                    </a:lnTo>
                    <a:lnTo>
                      <a:pt x="64" y="135"/>
                    </a:lnTo>
                    <a:lnTo>
                      <a:pt x="64" y="136"/>
                    </a:lnTo>
                    <a:lnTo>
                      <a:pt x="64" y="138"/>
                    </a:lnTo>
                    <a:lnTo>
                      <a:pt x="62" y="138"/>
                    </a:lnTo>
                    <a:lnTo>
                      <a:pt x="60" y="138"/>
                    </a:lnTo>
                    <a:lnTo>
                      <a:pt x="60" y="140"/>
                    </a:lnTo>
                    <a:lnTo>
                      <a:pt x="58" y="140"/>
                    </a:lnTo>
                    <a:lnTo>
                      <a:pt x="58" y="142"/>
                    </a:lnTo>
                    <a:lnTo>
                      <a:pt x="54" y="142"/>
                    </a:lnTo>
                    <a:lnTo>
                      <a:pt x="52" y="142"/>
                    </a:lnTo>
                    <a:lnTo>
                      <a:pt x="52" y="144"/>
                    </a:lnTo>
                    <a:lnTo>
                      <a:pt x="50" y="144"/>
                    </a:lnTo>
                    <a:lnTo>
                      <a:pt x="50" y="146"/>
                    </a:lnTo>
                    <a:lnTo>
                      <a:pt x="48" y="148"/>
                    </a:lnTo>
                    <a:lnTo>
                      <a:pt x="48" y="150"/>
                    </a:lnTo>
                    <a:lnTo>
                      <a:pt x="46" y="150"/>
                    </a:lnTo>
                    <a:lnTo>
                      <a:pt x="48" y="148"/>
                    </a:lnTo>
                    <a:lnTo>
                      <a:pt x="46" y="148"/>
                    </a:lnTo>
                    <a:lnTo>
                      <a:pt x="44" y="148"/>
                    </a:lnTo>
                    <a:lnTo>
                      <a:pt x="43" y="148"/>
                    </a:lnTo>
                    <a:lnTo>
                      <a:pt x="43" y="146"/>
                    </a:lnTo>
                    <a:lnTo>
                      <a:pt x="41" y="146"/>
                    </a:lnTo>
                    <a:lnTo>
                      <a:pt x="41" y="144"/>
                    </a:lnTo>
                    <a:lnTo>
                      <a:pt x="43" y="144"/>
                    </a:lnTo>
                    <a:lnTo>
                      <a:pt x="43" y="142"/>
                    </a:lnTo>
                    <a:lnTo>
                      <a:pt x="44" y="142"/>
                    </a:lnTo>
                    <a:lnTo>
                      <a:pt x="44" y="140"/>
                    </a:lnTo>
                    <a:lnTo>
                      <a:pt x="43" y="140"/>
                    </a:lnTo>
                    <a:lnTo>
                      <a:pt x="43" y="138"/>
                    </a:lnTo>
                    <a:lnTo>
                      <a:pt x="43" y="136"/>
                    </a:lnTo>
                    <a:lnTo>
                      <a:pt x="43" y="138"/>
                    </a:lnTo>
                    <a:lnTo>
                      <a:pt x="41" y="138"/>
                    </a:lnTo>
                    <a:lnTo>
                      <a:pt x="41" y="136"/>
                    </a:lnTo>
                    <a:lnTo>
                      <a:pt x="41" y="135"/>
                    </a:lnTo>
                    <a:lnTo>
                      <a:pt x="39" y="136"/>
                    </a:lnTo>
                    <a:lnTo>
                      <a:pt x="39" y="135"/>
                    </a:lnTo>
                    <a:lnTo>
                      <a:pt x="39" y="136"/>
                    </a:lnTo>
                    <a:lnTo>
                      <a:pt x="39" y="138"/>
                    </a:lnTo>
                    <a:lnTo>
                      <a:pt x="39" y="140"/>
                    </a:lnTo>
                    <a:lnTo>
                      <a:pt x="37" y="140"/>
                    </a:lnTo>
                    <a:lnTo>
                      <a:pt x="37" y="142"/>
                    </a:lnTo>
                    <a:lnTo>
                      <a:pt x="37" y="140"/>
                    </a:lnTo>
                    <a:lnTo>
                      <a:pt x="37" y="142"/>
                    </a:lnTo>
                    <a:lnTo>
                      <a:pt x="37" y="140"/>
                    </a:lnTo>
                    <a:lnTo>
                      <a:pt x="35" y="140"/>
                    </a:lnTo>
                    <a:lnTo>
                      <a:pt x="37" y="138"/>
                    </a:lnTo>
                    <a:lnTo>
                      <a:pt x="35" y="136"/>
                    </a:lnTo>
                    <a:lnTo>
                      <a:pt x="35" y="138"/>
                    </a:lnTo>
                    <a:lnTo>
                      <a:pt x="33" y="138"/>
                    </a:lnTo>
                    <a:lnTo>
                      <a:pt x="33" y="136"/>
                    </a:lnTo>
                    <a:lnTo>
                      <a:pt x="31" y="136"/>
                    </a:lnTo>
                    <a:lnTo>
                      <a:pt x="31" y="135"/>
                    </a:lnTo>
                    <a:lnTo>
                      <a:pt x="31" y="133"/>
                    </a:lnTo>
                    <a:lnTo>
                      <a:pt x="29" y="133"/>
                    </a:lnTo>
                    <a:lnTo>
                      <a:pt x="31" y="133"/>
                    </a:lnTo>
                    <a:lnTo>
                      <a:pt x="31" y="131"/>
                    </a:lnTo>
                    <a:lnTo>
                      <a:pt x="29" y="131"/>
                    </a:lnTo>
                    <a:lnTo>
                      <a:pt x="27" y="131"/>
                    </a:lnTo>
                    <a:lnTo>
                      <a:pt x="29" y="129"/>
                    </a:lnTo>
                    <a:lnTo>
                      <a:pt x="27" y="129"/>
                    </a:lnTo>
                    <a:lnTo>
                      <a:pt x="27" y="127"/>
                    </a:lnTo>
                    <a:lnTo>
                      <a:pt x="25" y="127"/>
                    </a:lnTo>
                    <a:lnTo>
                      <a:pt x="25" y="125"/>
                    </a:lnTo>
                    <a:lnTo>
                      <a:pt x="25" y="123"/>
                    </a:lnTo>
                    <a:lnTo>
                      <a:pt x="23" y="123"/>
                    </a:lnTo>
                    <a:lnTo>
                      <a:pt x="23" y="121"/>
                    </a:lnTo>
                    <a:lnTo>
                      <a:pt x="23" y="119"/>
                    </a:lnTo>
                    <a:lnTo>
                      <a:pt x="21" y="119"/>
                    </a:lnTo>
                    <a:lnTo>
                      <a:pt x="23" y="119"/>
                    </a:lnTo>
                    <a:lnTo>
                      <a:pt x="21" y="119"/>
                    </a:lnTo>
                    <a:lnTo>
                      <a:pt x="21" y="121"/>
                    </a:lnTo>
                    <a:lnTo>
                      <a:pt x="21" y="119"/>
                    </a:lnTo>
                    <a:lnTo>
                      <a:pt x="21" y="121"/>
                    </a:lnTo>
                    <a:lnTo>
                      <a:pt x="19" y="119"/>
                    </a:lnTo>
                    <a:lnTo>
                      <a:pt x="19" y="117"/>
                    </a:lnTo>
                    <a:lnTo>
                      <a:pt x="18" y="117"/>
                    </a:lnTo>
                    <a:lnTo>
                      <a:pt x="18" y="115"/>
                    </a:lnTo>
                    <a:lnTo>
                      <a:pt x="18" y="117"/>
                    </a:lnTo>
                    <a:lnTo>
                      <a:pt x="18" y="115"/>
                    </a:lnTo>
                    <a:lnTo>
                      <a:pt x="16" y="115"/>
                    </a:lnTo>
                    <a:lnTo>
                      <a:pt x="16" y="117"/>
                    </a:lnTo>
                    <a:lnTo>
                      <a:pt x="16" y="119"/>
                    </a:lnTo>
                    <a:lnTo>
                      <a:pt x="14" y="117"/>
                    </a:lnTo>
                    <a:lnTo>
                      <a:pt x="12" y="117"/>
                    </a:lnTo>
                    <a:lnTo>
                      <a:pt x="10" y="117"/>
                    </a:lnTo>
                    <a:lnTo>
                      <a:pt x="8" y="117"/>
                    </a:lnTo>
                    <a:lnTo>
                      <a:pt x="8" y="115"/>
                    </a:lnTo>
                    <a:lnTo>
                      <a:pt x="6" y="115"/>
                    </a:lnTo>
                    <a:lnTo>
                      <a:pt x="6" y="113"/>
                    </a:lnTo>
                    <a:lnTo>
                      <a:pt x="4" y="113"/>
                    </a:lnTo>
                    <a:lnTo>
                      <a:pt x="4" y="112"/>
                    </a:lnTo>
                    <a:lnTo>
                      <a:pt x="4" y="113"/>
                    </a:lnTo>
                    <a:lnTo>
                      <a:pt x="2" y="112"/>
                    </a:lnTo>
                    <a:lnTo>
                      <a:pt x="4" y="110"/>
                    </a:lnTo>
                    <a:lnTo>
                      <a:pt x="6" y="108"/>
                    </a:lnTo>
                    <a:lnTo>
                      <a:pt x="8" y="106"/>
                    </a:lnTo>
                    <a:lnTo>
                      <a:pt x="8" y="108"/>
                    </a:lnTo>
                    <a:lnTo>
                      <a:pt x="8" y="106"/>
                    </a:lnTo>
                    <a:lnTo>
                      <a:pt x="10" y="106"/>
                    </a:lnTo>
                    <a:lnTo>
                      <a:pt x="10" y="104"/>
                    </a:lnTo>
                    <a:lnTo>
                      <a:pt x="8" y="102"/>
                    </a:lnTo>
                    <a:lnTo>
                      <a:pt x="8" y="100"/>
                    </a:lnTo>
                    <a:lnTo>
                      <a:pt x="6" y="100"/>
                    </a:lnTo>
                    <a:lnTo>
                      <a:pt x="6" y="102"/>
                    </a:lnTo>
                    <a:lnTo>
                      <a:pt x="6" y="100"/>
                    </a:lnTo>
                    <a:lnTo>
                      <a:pt x="6" y="98"/>
                    </a:lnTo>
                    <a:lnTo>
                      <a:pt x="4" y="96"/>
                    </a:lnTo>
                    <a:lnTo>
                      <a:pt x="4" y="98"/>
                    </a:lnTo>
                    <a:lnTo>
                      <a:pt x="4" y="96"/>
                    </a:lnTo>
                    <a:lnTo>
                      <a:pt x="2" y="96"/>
                    </a:lnTo>
                    <a:lnTo>
                      <a:pt x="2" y="94"/>
                    </a:lnTo>
                    <a:lnTo>
                      <a:pt x="0" y="94"/>
                    </a:lnTo>
                    <a:lnTo>
                      <a:pt x="0" y="92"/>
                    </a:lnTo>
                    <a:lnTo>
                      <a:pt x="0" y="90"/>
                    </a:lnTo>
                    <a:lnTo>
                      <a:pt x="2" y="90"/>
                    </a:lnTo>
                    <a:lnTo>
                      <a:pt x="0" y="90"/>
                    </a:lnTo>
                    <a:lnTo>
                      <a:pt x="2" y="90"/>
                    </a:lnTo>
                    <a:lnTo>
                      <a:pt x="4" y="90"/>
                    </a:lnTo>
                    <a:lnTo>
                      <a:pt x="4" y="88"/>
                    </a:lnTo>
                    <a:lnTo>
                      <a:pt x="4" y="90"/>
                    </a:lnTo>
                    <a:lnTo>
                      <a:pt x="4" y="88"/>
                    </a:lnTo>
                    <a:lnTo>
                      <a:pt x="4" y="90"/>
                    </a:lnTo>
                    <a:lnTo>
                      <a:pt x="6" y="90"/>
                    </a:lnTo>
                    <a:lnTo>
                      <a:pt x="6" y="88"/>
                    </a:lnTo>
                    <a:lnTo>
                      <a:pt x="6" y="87"/>
                    </a:lnTo>
                    <a:lnTo>
                      <a:pt x="8" y="87"/>
                    </a:lnTo>
                    <a:lnTo>
                      <a:pt x="6" y="87"/>
                    </a:lnTo>
                    <a:lnTo>
                      <a:pt x="6" y="85"/>
                    </a:lnTo>
                    <a:lnTo>
                      <a:pt x="8" y="85"/>
                    </a:lnTo>
                    <a:lnTo>
                      <a:pt x="8" y="83"/>
                    </a:lnTo>
                    <a:lnTo>
                      <a:pt x="10" y="83"/>
                    </a:lnTo>
                    <a:lnTo>
                      <a:pt x="12" y="83"/>
                    </a:lnTo>
                    <a:lnTo>
                      <a:pt x="10" y="83"/>
                    </a:lnTo>
                    <a:lnTo>
                      <a:pt x="10" y="81"/>
                    </a:lnTo>
                    <a:lnTo>
                      <a:pt x="12" y="81"/>
                    </a:lnTo>
                    <a:lnTo>
                      <a:pt x="14" y="81"/>
                    </a:lnTo>
                    <a:lnTo>
                      <a:pt x="14" y="83"/>
                    </a:lnTo>
                    <a:lnTo>
                      <a:pt x="14" y="81"/>
                    </a:lnTo>
                    <a:lnTo>
                      <a:pt x="16" y="81"/>
                    </a:lnTo>
                    <a:lnTo>
                      <a:pt x="16" y="83"/>
                    </a:lnTo>
                    <a:lnTo>
                      <a:pt x="16" y="81"/>
                    </a:lnTo>
                    <a:lnTo>
                      <a:pt x="16" y="79"/>
                    </a:lnTo>
                    <a:lnTo>
                      <a:pt x="16" y="77"/>
                    </a:lnTo>
                    <a:lnTo>
                      <a:pt x="16" y="75"/>
                    </a:lnTo>
                    <a:lnTo>
                      <a:pt x="14" y="75"/>
                    </a:lnTo>
                    <a:lnTo>
                      <a:pt x="12" y="75"/>
                    </a:lnTo>
                    <a:lnTo>
                      <a:pt x="14" y="73"/>
                    </a:lnTo>
                    <a:lnTo>
                      <a:pt x="14" y="71"/>
                    </a:lnTo>
                    <a:lnTo>
                      <a:pt x="14" y="69"/>
                    </a:lnTo>
                    <a:lnTo>
                      <a:pt x="12" y="69"/>
                    </a:lnTo>
                    <a:lnTo>
                      <a:pt x="14" y="69"/>
                    </a:lnTo>
                    <a:lnTo>
                      <a:pt x="12" y="67"/>
                    </a:lnTo>
                    <a:lnTo>
                      <a:pt x="10" y="65"/>
                    </a:lnTo>
                    <a:lnTo>
                      <a:pt x="10" y="63"/>
                    </a:lnTo>
                    <a:lnTo>
                      <a:pt x="8" y="63"/>
                    </a:lnTo>
                    <a:lnTo>
                      <a:pt x="8" y="62"/>
                    </a:lnTo>
                    <a:lnTo>
                      <a:pt x="10" y="62"/>
                    </a:lnTo>
                    <a:lnTo>
                      <a:pt x="10" y="60"/>
                    </a:lnTo>
                    <a:lnTo>
                      <a:pt x="12" y="60"/>
                    </a:lnTo>
                    <a:lnTo>
                      <a:pt x="12" y="58"/>
                    </a:lnTo>
                    <a:lnTo>
                      <a:pt x="10" y="60"/>
                    </a:lnTo>
                    <a:lnTo>
                      <a:pt x="10" y="58"/>
                    </a:lnTo>
                    <a:lnTo>
                      <a:pt x="8" y="56"/>
                    </a:lnTo>
                    <a:lnTo>
                      <a:pt x="10" y="56"/>
                    </a:lnTo>
                    <a:lnTo>
                      <a:pt x="10" y="54"/>
                    </a:lnTo>
                    <a:lnTo>
                      <a:pt x="8" y="54"/>
                    </a:lnTo>
                    <a:lnTo>
                      <a:pt x="10" y="52"/>
                    </a:lnTo>
                    <a:lnTo>
                      <a:pt x="8" y="52"/>
                    </a:lnTo>
                    <a:lnTo>
                      <a:pt x="8" y="50"/>
                    </a:lnTo>
                    <a:lnTo>
                      <a:pt x="8" y="48"/>
                    </a:lnTo>
                    <a:lnTo>
                      <a:pt x="6" y="48"/>
                    </a:lnTo>
                    <a:lnTo>
                      <a:pt x="6" y="46"/>
                    </a:lnTo>
                    <a:lnTo>
                      <a:pt x="8" y="46"/>
                    </a:lnTo>
                    <a:lnTo>
                      <a:pt x="8" y="44"/>
                    </a:lnTo>
                    <a:lnTo>
                      <a:pt x="6" y="44"/>
                    </a:lnTo>
                    <a:lnTo>
                      <a:pt x="8" y="42"/>
                    </a:lnTo>
                    <a:lnTo>
                      <a:pt x="8" y="40"/>
                    </a:lnTo>
                    <a:lnTo>
                      <a:pt x="10" y="40"/>
                    </a:lnTo>
                    <a:lnTo>
                      <a:pt x="10" y="38"/>
                    </a:lnTo>
                    <a:lnTo>
                      <a:pt x="8" y="38"/>
                    </a:lnTo>
                    <a:lnTo>
                      <a:pt x="10" y="37"/>
                    </a:lnTo>
                    <a:lnTo>
                      <a:pt x="8" y="37"/>
                    </a:lnTo>
                    <a:lnTo>
                      <a:pt x="10" y="37"/>
                    </a:lnTo>
                    <a:lnTo>
                      <a:pt x="12" y="37"/>
                    </a:lnTo>
                    <a:lnTo>
                      <a:pt x="12" y="35"/>
                    </a:lnTo>
                    <a:lnTo>
                      <a:pt x="12" y="37"/>
                    </a:lnTo>
                    <a:lnTo>
                      <a:pt x="14" y="37"/>
                    </a:lnTo>
                    <a:lnTo>
                      <a:pt x="14" y="35"/>
                    </a:lnTo>
                    <a:lnTo>
                      <a:pt x="16" y="37"/>
                    </a:lnTo>
                    <a:lnTo>
                      <a:pt x="14" y="37"/>
                    </a:lnTo>
                    <a:lnTo>
                      <a:pt x="16" y="37"/>
                    </a:lnTo>
                    <a:lnTo>
                      <a:pt x="16" y="35"/>
                    </a:lnTo>
                    <a:lnTo>
                      <a:pt x="18" y="35"/>
                    </a:lnTo>
                    <a:lnTo>
                      <a:pt x="19" y="31"/>
                    </a:lnTo>
                    <a:lnTo>
                      <a:pt x="19" y="29"/>
                    </a:lnTo>
                    <a:lnTo>
                      <a:pt x="19" y="27"/>
                    </a:lnTo>
                    <a:lnTo>
                      <a:pt x="21" y="27"/>
                    </a:lnTo>
                    <a:lnTo>
                      <a:pt x="21" y="25"/>
                    </a:lnTo>
                    <a:lnTo>
                      <a:pt x="23" y="27"/>
                    </a:lnTo>
                    <a:lnTo>
                      <a:pt x="23" y="25"/>
                    </a:lnTo>
                    <a:lnTo>
                      <a:pt x="25" y="25"/>
                    </a:lnTo>
                    <a:lnTo>
                      <a:pt x="25" y="23"/>
                    </a:lnTo>
                    <a:lnTo>
                      <a:pt x="23" y="21"/>
                    </a:lnTo>
                    <a:lnTo>
                      <a:pt x="25" y="21"/>
                    </a:lnTo>
                    <a:lnTo>
                      <a:pt x="25" y="23"/>
                    </a:lnTo>
                    <a:lnTo>
                      <a:pt x="27" y="23"/>
                    </a:lnTo>
                    <a:lnTo>
                      <a:pt x="27" y="21"/>
                    </a:lnTo>
                    <a:lnTo>
                      <a:pt x="29" y="21"/>
                    </a:lnTo>
                    <a:lnTo>
                      <a:pt x="29" y="19"/>
                    </a:lnTo>
                    <a:lnTo>
                      <a:pt x="29" y="17"/>
                    </a:lnTo>
                    <a:lnTo>
                      <a:pt x="31" y="17"/>
                    </a:lnTo>
                    <a:lnTo>
                      <a:pt x="31" y="15"/>
                    </a:lnTo>
                    <a:lnTo>
                      <a:pt x="31" y="13"/>
                    </a:lnTo>
                    <a:lnTo>
                      <a:pt x="33" y="12"/>
                    </a:lnTo>
                    <a:lnTo>
                      <a:pt x="33" y="10"/>
                    </a:lnTo>
                    <a:lnTo>
                      <a:pt x="35" y="8"/>
                    </a:lnTo>
                    <a:lnTo>
                      <a:pt x="37" y="6"/>
                    </a:lnTo>
                    <a:lnTo>
                      <a:pt x="39" y="6"/>
                    </a:lnTo>
                    <a:lnTo>
                      <a:pt x="39" y="8"/>
                    </a:lnTo>
                    <a:lnTo>
                      <a:pt x="41" y="6"/>
                    </a:lnTo>
                    <a:lnTo>
                      <a:pt x="43" y="6"/>
                    </a:lnTo>
                    <a:lnTo>
                      <a:pt x="41" y="6"/>
                    </a:lnTo>
                    <a:lnTo>
                      <a:pt x="43" y="6"/>
                    </a:lnTo>
                    <a:lnTo>
                      <a:pt x="44" y="4"/>
                    </a:lnTo>
                    <a:lnTo>
                      <a:pt x="44" y="6"/>
                    </a:lnTo>
                    <a:lnTo>
                      <a:pt x="44" y="8"/>
                    </a:lnTo>
                    <a:lnTo>
                      <a:pt x="46" y="8"/>
                    </a:lnTo>
                    <a:lnTo>
                      <a:pt x="46" y="6"/>
                    </a:lnTo>
                    <a:lnTo>
                      <a:pt x="48" y="6"/>
                    </a:lnTo>
                    <a:lnTo>
                      <a:pt x="50" y="6"/>
                    </a:lnTo>
                    <a:lnTo>
                      <a:pt x="50" y="4"/>
                    </a:lnTo>
                    <a:lnTo>
                      <a:pt x="50" y="2"/>
                    </a:lnTo>
                    <a:lnTo>
                      <a:pt x="52" y="2"/>
                    </a:lnTo>
                    <a:lnTo>
                      <a:pt x="52" y="0"/>
                    </a:lnTo>
                    <a:lnTo>
                      <a:pt x="52" y="2"/>
                    </a:lnTo>
                    <a:lnTo>
                      <a:pt x="52" y="4"/>
                    </a:lnTo>
                    <a:lnTo>
                      <a:pt x="54" y="4"/>
                    </a:lnTo>
                    <a:lnTo>
                      <a:pt x="56" y="4"/>
                    </a:lnTo>
                    <a:lnTo>
                      <a:pt x="56" y="2"/>
                    </a:lnTo>
                    <a:lnTo>
                      <a:pt x="56" y="4"/>
                    </a:lnTo>
                    <a:lnTo>
                      <a:pt x="58" y="4"/>
                    </a:lnTo>
                    <a:lnTo>
                      <a:pt x="58" y="2"/>
                    </a:lnTo>
                    <a:lnTo>
                      <a:pt x="58" y="4"/>
                    </a:lnTo>
                    <a:lnTo>
                      <a:pt x="60" y="4"/>
                    </a:lnTo>
                    <a:lnTo>
                      <a:pt x="60" y="2"/>
                    </a:lnTo>
                    <a:lnTo>
                      <a:pt x="62" y="2"/>
                    </a:lnTo>
                    <a:lnTo>
                      <a:pt x="64" y="2"/>
                    </a:lnTo>
                    <a:lnTo>
                      <a:pt x="64" y="4"/>
                    </a:lnTo>
                    <a:lnTo>
                      <a:pt x="66" y="4"/>
                    </a:lnTo>
                    <a:lnTo>
                      <a:pt x="64" y="4"/>
                    </a:lnTo>
                    <a:lnTo>
                      <a:pt x="64" y="6"/>
                    </a:lnTo>
                    <a:lnTo>
                      <a:pt x="64" y="8"/>
                    </a:lnTo>
                    <a:lnTo>
                      <a:pt x="64" y="10"/>
                    </a:lnTo>
                    <a:lnTo>
                      <a:pt x="66" y="10"/>
                    </a:lnTo>
                    <a:lnTo>
                      <a:pt x="67" y="8"/>
                    </a:lnTo>
                    <a:lnTo>
                      <a:pt x="67" y="10"/>
                    </a:lnTo>
                    <a:lnTo>
                      <a:pt x="69" y="12"/>
                    </a:lnTo>
                    <a:lnTo>
                      <a:pt x="69" y="13"/>
                    </a:lnTo>
                    <a:lnTo>
                      <a:pt x="69" y="15"/>
                    </a:lnTo>
                    <a:lnTo>
                      <a:pt x="67" y="15"/>
                    </a:lnTo>
                    <a:lnTo>
                      <a:pt x="69" y="15"/>
                    </a:lnTo>
                    <a:lnTo>
                      <a:pt x="69" y="17"/>
                    </a:lnTo>
                    <a:lnTo>
                      <a:pt x="71" y="17"/>
                    </a:lnTo>
                    <a:lnTo>
                      <a:pt x="73" y="17"/>
                    </a:lnTo>
                    <a:lnTo>
                      <a:pt x="73" y="15"/>
                    </a:lnTo>
                    <a:lnTo>
                      <a:pt x="75" y="15"/>
                    </a:lnTo>
                    <a:lnTo>
                      <a:pt x="75" y="17"/>
                    </a:lnTo>
                    <a:lnTo>
                      <a:pt x="77" y="17"/>
                    </a:lnTo>
                    <a:lnTo>
                      <a:pt x="77" y="15"/>
                    </a:lnTo>
                    <a:lnTo>
                      <a:pt x="77" y="13"/>
                    </a:lnTo>
                    <a:lnTo>
                      <a:pt x="79" y="15"/>
                    </a:lnTo>
                    <a:lnTo>
                      <a:pt x="81" y="15"/>
                    </a:lnTo>
                    <a:lnTo>
                      <a:pt x="83" y="13"/>
                    </a:lnTo>
                    <a:lnTo>
                      <a:pt x="83" y="12"/>
                    </a:lnTo>
                    <a:lnTo>
                      <a:pt x="85" y="8"/>
                    </a:lnTo>
                    <a:lnTo>
                      <a:pt x="87" y="6"/>
                    </a:lnTo>
                    <a:lnTo>
                      <a:pt x="89" y="2"/>
                    </a:lnTo>
                    <a:lnTo>
                      <a:pt x="91" y="2"/>
                    </a:lnTo>
                    <a:lnTo>
                      <a:pt x="92" y="2"/>
                    </a:lnTo>
                    <a:lnTo>
                      <a:pt x="94" y="4"/>
                    </a:lnTo>
                    <a:lnTo>
                      <a:pt x="96" y="2"/>
                    </a:lnTo>
                    <a:lnTo>
                      <a:pt x="98" y="4"/>
                    </a:lnTo>
                    <a:lnTo>
                      <a:pt x="98" y="6"/>
                    </a:lnTo>
                    <a:lnTo>
                      <a:pt x="96" y="6"/>
                    </a:lnTo>
                    <a:lnTo>
                      <a:pt x="98" y="6"/>
                    </a:lnTo>
                    <a:lnTo>
                      <a:pt x="100" y="4"/>
                    </a:lnTo>
                    <a:lnTo>
                      <a:pt x="102" y="6"/>
                    </a:lnTo>
                    <a:lnTo>
                      <a:pt x="104" y="6"/>
                    </a:lnTo>
                    <a:lnTo>
                      <a:pt x="104" y="8"/>
                    </a:lnTo>
                    <a:lnTo>
                      <a:pt x="104" y="6"/>
                    </a:lnTo>
                    <a:lnTo>
                      <a:pt x="104" y="8"/>
                    </a:lnTo>
                    <a:lnTo>
                      <a:pt x="106" y="6"/>
                    </a:lnTo>
                    <a:lnTo>
                      <a:pt x="106" y="8"/>
                    </a:lnTo>
                    <a:lnTo>
                      <a:pt x="108" y="8"/>
                    </a:lnTo>
                    <a:lnTo>
                      <a:pt x="108" y="10"/>
                    </a:lnTo>
                    <a:lnTo>
                      <a:pt x="110" y="10"/>
                    </a:lnTo>
                    <a:lnTo>
                      <a:pt x="112" y="10"/>
                    </a:lnTo>
                    <a:lnTo>
                      <a:pt x="112" y="12"/>
                    </a:lnTo>
                    <a:lnTo>
                      <a:pt x="114" y="1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2" name="Freeform 132"/>
              <p:cNvSpPr>
                <a:spLocks/>
              </p:cNvSpPr>
              <p:nvPr/>
            </p:nvSpPr>
            <p:spPr bwMode="auto">
              <a:xfrm>
                <a:off x="2898536" y="2726114"/>
                <a:ext cx="763958" cy="645235"/>
              </a:xfrm>
              <a:custGeom>
                <a:avLst/>
                <a:gdLst>
                  <a:gd name="T0" fmla="*/ 315 w 444"/>
                  <a:gd name="T1" fmla="*/ 58 h 375"/>
                  <a:gd name="T2" fmla="*/ 313 w 444"/>
                  <a:gd name="T3" fmla="*/ 73 h 375"/>
                  <a:gd name="T4" fmla="*/ 309 w 444"/>
                  <a:gd name="T5" fmla="*/ 91 h 375"/>
                  <a:gd name="T6" fmla="*/ 350 w 444"/>
                  <a:gd name="T7" fmla="*/ 97 h 375"/>
                  <a:gd name="T8" fmla="*/ 394 w 444"/>
                  <a:gd name="T9" fmla="*/ 118 h 375"/>
                  <a:gd name="T10" fmla="*/ 405 w 444"/>
                  <a:gd name="T11" fmla="*/ 147 h 375"/>
                  <a:gd name="T12" fmla="*/ 417 w 444"/>
                  <a:gd name="T13" fmla="*/ 171 h 375"/>
                  <a:gd name="T14" fmla="*/ 402 w 444"/>
                  <a:gd name="T15" fmla="*/ 208 h 375"/>
                  <a:gd name="T16" fmla="*/ 427 w 444"/>
                  <a:gd name="T17" fmla="*/ 235 h 375"/>
                  <a:gd name="T18" fmla="*/ 444 w 444"/>
                  <a:gd name="T19" fmla="*/ 243 h 375"/>
                  <a:gd name="T20" fmla="*/ 444 w 444"/>
                  <a:gd name="T21" fmla="*/ 248 h 375"/>
                  <a:gd name="T22" fmla="*/ 438 w 444"/>
                  <a:gd name="T23" fmla="*/ 260 h 375"/>
                  <a:gd name="T24" fmla="*/ 432 w 444"/>
                  <a:gd name="T25" fmla="*/ 268 h 375"/>
                  <a:gd name="T26" fmla="*/ 427 w 444"/>
                  <a:gd name="T27" fmla="*/ 268 h 375"/>
                  <a:gd name="T28" fmla="*/ 421 w 444"/>
                  <a:gd name="T29" fmla="*/ 295 h 375"/>
                  <a:gd name="T30" fmla="*/ 407 w 444"/>
                  <a:gd name="T31" fmla="*/ 312 h 375"/>
                  <a:gd name="T32" fmla="*/ 382 w 444"/>
                  <a:gd name="T33" fmla="*/ 329 h 375"/>
                  <a:gd name="T34" fmla="*/ 373 w 444"/>
                  <a:gd name="T35" fmla="*/ 323 h 375"/>
                  <a:gd name="T36" fmla="*/ 367 w 444"/>
                  <a:gd name="T37" fmla="*/ 323 h 375"/>
                  <a:gd name="T38" fmla="*/ 361 w 444"/>
                  <a:gd name="T39" fmla="*/ 323 h 375"/>
                  <a:gd name="T40" fmla="*/ 350 w 444"/>
                  <a:gd name="T41" fmla="*/ 321 h 375"/>
                  <a:gd name="T42" fmla="*/ 340 w 444"/>
                  <a:gd name="T43" fmla="*/ 321 h 375"/>
                  <a:gd name="T44" fmla="*/ 329 w 444"/>
                  <a:gd name="T45" fmla="*/ 331 h 375"/>
                  <a:gd name="T46" fmla="*/ 317 w 444"/>
                  <a:gd name="T47" fmla="*/ 345 h 375"/>
                  <a:gd name="T48" fmla="*/ 300 w 444"/>
                  <a:gd name="T49" fmla="*/ 345 h 375"/>
                  <a:gd name="T50" fmla="*/ 286 w 444"/>
                  <a:gd name="T51" fmla="*/ 348 h 375"/>
                  <a:gd name="T52" fmla="*/ 271 w 444"/>
                  <a:gd name="T53" fmla="*/ 356 h 375"/>
                  <a:gd name="T54" fmla="*/ 254 w 444"/>
                  <a:gd name="T55" fmla="*/ 360 h 375"/>
                  <a:gd name="T56" fmla="*/ 248 w 444"/>
                  <a:gd name="T57" fmla="*/ 373 h 375"/>
                  <a:gd name="T58" fmla="*/ 236 w 444"/>
                  <a:gd name="T59" fmla="*/ 371 h 375"/>
                  <a:gd name="T60" fmla="*/ 240 w 444"/>
                  <a:gd name="T61" fmla="*/ 362 h 375"/>
                  <a:gd name="T62" fmla="*/ 235 w 444"/>
                  <a:gd name="T63" fmla="*/ 341 h 375"/>
                  <a:gd name="T64" fmla="*/ 235 w 444"/>
                  <a:gd name="T65" fmla="*/ 333 h 375"/>
                  <a:gd name="T66" fmla="*/ 235 w 444"/>
                  <a:gd name="T67" fmla="*/ 316 h 375"/>
                  <a:gd name="T68" fmla="*/ 225 w 444"/>
                  <a:gd name="T69" fmla="*/ 318 h 375"/>
                  <a:gd name="T70" fmla="*/ 221 w 444"/>
                  <a:gd name="T71" fmla="*/ 320 h 375"/>
                  <a:gd name="T72" fmla="*/ 204 w 444"/>
                  <a:gd name="T73" fmla="*/ 323 h 375"/>
                  <a:gd name="T74" fmla="*/ 144 w 444"/>
                  <a:gd name="T75" fmla="*/ 310 h 375"/>
                  <a:gd name="T76" fmla="*/ 110 w 444"/>
                  <a:gd name="T77" fmla="*/ 262 h 375"/>
                  <a:gd name="T78" fmla="*/ 31 w 444"/>
                  <a:gd name="T79" fmla="*/ 235 h 375"/>
                  <a:gd name="T80" fmla="*/ 8 w 444"/>
                  <a:gd name="T81" fmla="*/ 202 h 375"/>
                  <a:gd name="T82" fmla="*/ 8 w 444"/>
                  <a:gd name="T83" fmla="*/ 150 h 375"/>
                  <a:gd name="T84" fmla="*/ 33 w 444"/>
                  <a:gd name="T85" fmla="*/ 112 h 375"/>
                  <a:gd name="T86" fmla="*/ 50 w 444"/>
                  <a:gd name="T87" fmla="*/ 85 h 375"/>
                  <a:gd name="T88" fmla="*/ 73 w 444"/>
                  <a:gd name="T89" fmla="*/ 62 h 375"/>
                  <a:gd name="T90" fmla="*/ 81 w 444"/>
                  <a:gd name="T91" fmla="*/ 43 h 375"/>
                  <a:gd name="T92" fmla="*/ 81 w 444"/>
                  <a:gd name="T93" fmla="*/ 27 h 375"/>
                  <a:gd name="T94" fmla="*/ 92 w 444"/>
                  <a:gd name="T95" fmla="*/ 20 h 375"/>
                  <a:gd name="T96" fmla="*/ 92 w 444"/>
                  <a:gd name="T97" fmla="*/ 16 h 375"/>
                  <a:gd name="T98" fmla="*/ 90 w 444"/>
                  <a:gd name="T99" fmla="*/ 12 h 375"/>
                  <a:gd name="T100" fmla="*/ 96 w 444"/>
                  <a:gd name="T101" fmla="*/ 0 h 375"/>
                  <a:gd name="T102" fmla="*/ 119 w 444"/>
                  <a:gd name="T103" fmla="*/ 10 h 375"/>
                  <a:gd name="T104" fmla="*/ 142 w 444"/>
                  <a:gd name="T105" fmla="*/ 10 h 375"/>
                  <a:gd name="T106" fmla="*/ 148 w 444"/>
                  <a:gd name="T107" fmla="*/ 12 h 375"/>
                  <a:gd name="T108" fmla="*/ 154 w 444"/>
                  <a:gd name="T109" fmla="*/ 12 h 375"/>
                  <a:gd name="T110" fmla="*/ 160 w 444"/>
                  <a:gd name="T111" fmla="*/ 16 h 375"/>
                  <a:gd name="T112" fmla="*/ 160 w 444"/>
                  <a:gd name="T113" fmla="*/ 25 h 375"/>
                  <a:gd name="T114" fmla="*/ 179 w 444"/>
                  <a:gd name="T115" fmla="*/ 25 h 375"/>
                  <a:gd name="T116" fmla="*/ 211 w 444"/>
                  <a:gd name="T117" fmla="*/ 33 h 375"/>
                  <a:gd name="T118" fmla="*/ 248 w 444"/>
                  <a:gd name="T119" fmla="*/ 33 h 375"/>
                  <a:gd name="T120" fmla="*/ 298 w 444"/>
                  <a:gd name="T121" fmla="*/ 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 h="375">
                    <a:moveTo>
                      <a:pt x="306" y="31"/>
                    </a:moveTo>
                    <a:lnTo>
                      <a:pt x="306" y="33"/>
                    </a:lnTo>
                    <a:lnTo>
                      <a:pt x="306" y="35"/>
                    </a:lnTo>
                    <a:lnTo>
                      <a:pt x="308" y="35"/>
                    </a:lnTo>
                    <a:lnTo>
                      <a:pt x="309" y="39"/>
                    </a:lnTo>
                    <a:lnTo>
                      <a:pt x="311" y="45"/>
                    </a:lnTo>
                    <a:lnTo>
                      <a:pt x="311" y="48"/>
                    </a:lnTo>
                    <a:lnTo>
                      <a:pt x="313" y="52"/>
                    </a:lnTo>
                    <a:lnTo>
                      <a:pt x="313" y="54"/>
                    </a:lnTo>
                    <a:lnTo>
                      <a:pt x="315" y="56"/>
                    </a:lnTo>
                    <a:lnTo>
                      <a:pt x="315" y="58"/>
                    </a:lnTo>
                    <a:lnTo>
                      <a:pt x="315" y="60"/>
                    </a:lnTo>
                    <a:lnTo>
                      <a:pt x="317" y="62"/>
                    </a:lnTo>
                    <a:lnTo>
                      <a:pt x="317" y="64"/>
                    </a:lnTo>
                    <a:lnTo>
                      <a:pt x="317" y="66"/>
                    </a:lnTo>
                    <a:lnTo>
                      <a:pt x="317" y="68"/>
                    </a:lnTo>
                    <a:lnTo>
                      <a:pt x="315" y="66"/>
                    </a:lnTo>
                    <a:lnTo>
                      <a:pt x="315" y="68"/>
                    </a:lnTo>
                    <a:lnTo>
                      <a:pt x="315" y="70"/>
                    </a:lnTo>
                    <a:lnTo>
                      <a:pt x="315" y="72"/>
                    </a:lnTo>
                    <a:lnTo>
                      <a:pt x="313" y="72"/>
                    </a:lnTo>
                    <a:lnTo>
                      <a:pt x="313" y="73"/>
                    </a:lnTo>
                    <a:lnTo>
                      <a:pt x="313" y="75"/>
                    </a:lnTo>
                    <a:lnTo>
                      <a:pt x="311" y="75"/>
                    </a:lnTo>
                    <a:lnTo>
                      <a:pt x="311" y="77"/>
                    </a:lnTo>
                    <a:lnTo>
                      <a:pt x="311" y="79"/>
                    </a:lnTo>
                    <a:lnTo>
                      <a:pt x="309" y="81"/>
                    </a:lnTo>
                    <a:lnTo>
                      <a:pt x="309" y="85"/>
                    </a:lnTo>
                    <a:lnTo>
                      <a:pt x="309" y="87"/>
                    </a:lnTo>
                    <a:lnTo>
                      <a:pt x="308" y="87"/>
                    </a:lnTo>
                    <a:lnTo>
                      <a:pt x="308" y="89"/>
                    </a:lnTo>
                    <a:lnTo>
                      <a:pt x="308" y="91"/>
                    </a:lnTo>
                    <a:lnTo>
                      <a:pt x="309" y="91"/>
                    </a:lnTo>
                    <a:lnTo>
                      <a:pt x="311" y="95"/>
                    </a:lnTo>
                    <a:lnTo>
                      <a:pt x="313" y="97"/>
                    </a:lnTo>
                    <a:lnTo>
                      <a:pt x="317" y="97"/>
                    </a:lnTo>
                    <a:lnTo>
                      <a:pt x="323" y="97"/>
                    </a:lnTo>
                    <a:lnTo>
                      <a:pt x="327" y="97"/>
                    </a:lnTo>
                    <a:lnTo>
                      <a:pt x="332" y="98"/>
                    </a:lnTo>
                    <a:lnTo>
                      <a:pt x="334" y="98"/>
                    </a:lnTo>
                    <a:lnTo>
                      <a:pt x="336" y="98"/>
                    </a:lnTo>
                    <a:lnTo>
                      <a:pt x="346" y="97"/>
                    </a:lnTo>
                    <a:lnTo>
                      <a:pt x="348" y="97"/>
                    </a:lnTo>
                    <a:lnTo>
                      <a:pt x="350" y="97"/>
                    </a:lnTo>
                    <a:lnTo>
                      <a:pt x="350" y="95"/>
                    </a:lnTo>
                    <a:lnTo>
                      <a:pt x="352" y="95"/>
                    </a:lnTo>
                    <a:lnTo>
                      <a:pt x="369" y="97"/>
                    </a:lnTo>
                    <a:lnTo>
                      <a:pt x="371" y="98"/>
                    </a:lnTo>
                    <a:lnTo>
                      <a:pt x="377" y="100"/>
                    </a:lnTo>
                    <a:lnTo>
                      <a:pt x="381" y="102"/>
                    </a:lnTo>
                    <a:lnTo>
                      <a:pt x="382" y="102"/>
                    </a:lnTo>
                    <a:lnTo>
                      <a:pt x="382" y="110"/>
                    </a:lnTo>
                    <a:lnTo>
                      <a:pt x="384" y="116"/>
                    </a:lnTo>
                    <a:lnTo>
                      <a:pt x="392" y="118"/>
                    </a:lnTo>
                    <a:lnTo>
                      <a:pt x="394" y="118"/>
                    </a:lnTo>
                    <a:lnTo>
                      <a:pt x="394" y="120"/>
                    </a:lnTo>
                    <a:lnTo>
                      <a:pt x="396" y="122"/>
                    </a:lnTo>
                    <a:lnTo>
                      <a:pt x="396" y="123"/>
                    </a:lnTo>
                    <a:lnTo>
                      <a:pt x="396" y="125"/>
                    </a:lnTo>
                    <a:lnTo>
                      <a:pt x="398" y="127"/>
                    </a:lnTo>
                    <a:lnTo>
                      <a:pt x="398" y="131"/>
                    </a:lnTo>
                    <a:lnTo>
                      <a:pt x="400" y="133"/>
                    </a:lnTo>
                    <a:lnTo>
                      <a:pt x="400" y="135"/>
                    </a:lnTo>
                    <a:lnTo>
                      <a:pt x="404" y="143"/>
                    </a:lnTo>
                    <a:lnTo>
                      <a:pt x="404" y="147"/>
                    </a:lnTo>
                    <a:lnTo>
                      <a:pt x="405" y="147"/>
                    </a:lnTo>
                    <a:lnTo>
                      <a:pt x="409" y="147"/>
                    </a:lnTo>
                    <a:lnTo>
                      <a:pt x="415" y="147"/>
                    </a:lnTo>
                    <a:lnTo>
                      <a:pt x="421" y="145"/>
                    </a:lnTo>
                    <a:lnTo>
                      <a:pt x="425" y="145"/>
                    </a:lnTo>
                    <a:lnTo>
                      <a:pt x="427" y="145"/>
                    </a:lnTo>
                    <a:lnTo>
                      <a:pt x="425" y="150"/>
                    </a:lnTo>
                    <a:lnTo>
                      <a:pt x="430" y="164"/>
                    </a:lnTo>
                    <a:lnTo>
                      <a:pt x="429" y="166"/>
                    </a:lnTo>
                    <a:lnTo>
                      <a:pt x="423" y="168"/>
                    </a:lnTo>
                    <a:lnTo>
                      <a:pt x="419" y="171"/>
                    </a:lnTo>
                    <a:lnTo>
                      <a:pt x="417" y="171"/>
                    </a:lnTo>
                    <a:lnTo>
                      <a:pt x="415" y="173"/>
                    </a:lnTo>
                    <a:lnTo>
                      <a:pt x="413" y="177"/>
                    </a:lnTo>
                    <a:lnTo>
                      <a:pt x="411" y="181"/>
                    </a:lnTo>
                    <a:lnTo>
                      <a:pt x="407" y="189"/>
                    </a:lnTo>
                    <a:lnTo>
                      <a:pt x="405" y="189"/>
                    </a:lnTo>
                    <a:lnTo>
                      <a:pt x="405" y="191"/>
                    </a:lnTo>
                    <a:lnTo>
                      <a:pt x="404" y="193"/>
                    </a:lnTo>
                    <a:lnTo>
                      <a:pt x="402" y="195"/>
                    </a:lnTo>
                    <a:lnTo>
                      <a:pt x="402" y="196"/>
                    </a:lnTo>
                    <a:lnTo>
                      <a:pt x="402" y="200"/>
                    </a:lnTo>
                    <a:lnTo>
                      <a:pt x="402" y="208"/>
                    </a:lnTo>
                    <a:lnTo>
                      <a:pt x="404" y="214"/>
                    </a:lnTo>
                    <a:lnTo>
                      <a:pt x="404" y="216"/>
                    </a:lnTo>
                    <a:lnTo>
                      <a:pt x="404" y="218"/>
                    </a:lnTo>
                    <a:lnTo>
                      <a:pt x="405" y="221"/>
                    </a:lnTo>
                    <a:lnTo>
                      <a:pt x="405" y="223"/>
                    </a:lnTo>
                    <a:lnTo>
                      <a:pt x="409" y="225"/>
                    </a:lnTo>
                    <a:lnTo>
                      <a:pt x="413" y="227"/>
                    </a:lnTo>
                    <a:lnTo>
                      <a:pt x="419" y="229"/>
                    </a:lnTo>
                    <a:lnTo>
                      <a:pt x="423" y="229"/>
                    </a:lnTo>
                    <a:lnTo>
                      <a:pt x="427" y="233"/>
                    </a:lnTo>
                    <a:lnTo>
                      <a:pt x="427" y="235"/>
                    </a:lnTo>
                    <a:lnTo>
                      <a:pt x="429" y="235"/>
                    </a:lnTo>
                    <a:lnTo>
                      <a:pt x="430" y="237"/>
                    </a:lnTo>
                    <a:lnTo>
                      <a:pt x="432" y="235"/>
                    </a:lnTo>
                    <a:lnTo>
                      <a:pt x="434" y="237"/>
                    </a:lnTo>
                    <a:lnTo>
                      <a:pt x="436" y="237"/>
                    </a:lnTo>
                    <a:lnTo>
                      <a:pt x="440" y="237"/>
                    </a:lnTo>
                    <a:lnTo>
                      <a:pt x="442" y="237"/>
                    </a:lnTo>
                    <a:lnTo>
                      <a:pt x="442" y="239"/>
                    </a:lnTo>
                    <a:lnTo>
                      <a:pt x="444" y="239"/>
                    </a:lnTo>
                    <a:lnTo>
                      <a:pt x="444" y="241"/>
                    </a:lnTo>
                    <a:lnTo>
                      <a:pt x="444" y="243"/>
                    </a:lnTo>
                    <a:lnTo>
                      <a:pt x="444" y="245"/>
                    </a:lnTo>
                    <a:lnTo>
                      <a:pt x="442" y="245"/>
                    </a:lnTo>
                    <a:lnTo>
                      <a:pt x="444" y="245"/>
                    </a:lnTo>
                    <a:lnTo>
                      <a:pt x="442" y="245"/>
                    </a:lnTo>
                    <a:lnTo>
                      <a:pt x="442" y="246"/>
                    </a:lnTo>
                    <a:lnTo>
                      <a:pt x="444" y="246"/>
                    </a:lnTo>
                    <a:lnTo>
                      <a:pt x="442" y="246"/>
                    </a:lnTo>
                    <a:lnTo>
                      <a:pt x="444" y="246"/>
                    </a:lnTo>
                    <a:lnTo>
                      <a:pt x="442" y="246"/>
                    </a:lnTo>
                    <a:lnTo>
                      <a:pt x="442" y="248"/>
                    </a:lnTo>
                    <a:lnTo>
                      <a:pt x="444" y="248"/>
                    </a:lnTo>
                    <a:lnTo>
                      <a:pt x="442" y="250"/>
                    </a:lnTo>
                    <a:lnTo>
                      <a:pt x="444" y="250"/>
                    </a:lnTo>
                    <a:lnTo>
                      <a:pt x="442" y="250"/>
                    </a:lnTo>
                    <a:lnTo>
                      <a:pt x="442" y="252"/>
                    </a:lnTo>
                    <a:lnTo>
                      <a:pt x="442" y="254"/>
                    </a:lnTo>
                    <a:lnTo>
                      <a:pt x="444" y="256"/>
                    </a:lnTo>
                    <a:lnTo>
                      <a:pt x="442" y="256"/>
                    </a:lnTo>
                    <a:lnTo>
                      <a:pt x="444" y="256"/>
                    </a:lnTo>
                    <a:lnTo>
                      <a:pt x="442" y="258"/>
                    </a:lnTo>
                    <a:lnTo>
                      <a:pt x="442" y="260"/>
                    </a:lnTo>
                    <a:lnTo>
                      <a:pt x="438" y="260"/>
                    </a:lnTo>
                    <a:lnTo>
                      <a:pt x="434" y="260"/>
                    </a:lnTo>
                    <a:lnTo>
                      <a:pt x="434" y="262"/>
                    </a:lnTo>
                    <a:lnTo>
                      <a:pt x="434" y="264"/>
                    </a:lnTo>
                    <a:lnTo>
                      <a:pt x="434" y="266"/>
                    </a:lnTo>
                    <a:lnTo>
                      <a:pt x="434" y="268"/>
                    </a:lnTo>
                    <a:lnTo>
                      <a:pt x="436" y="268"/>
                    </a:lnTo>
                    <a:lnTo>
                      <a:pt x="434" y="268"/>
                    </a:lnTo>
                    <a:lnTo>
                      <a:pt x="432" y="268"/>
                    </a:lnTo>
                    <a:lnTo>
                      <a:pt x="434" y="268"/>
                    </a:lnTo>
                    <a:lnTo>
                      <a:pt x="434" y="266"/>
                    </a:lnTo>
                    <a:lnTo>
                      <a:pt x="432" y="268"/>
                    </a:lnTo>
                    <a:lnTo>
                      <a:pt x="432" y="270"/>
                    </a:lnTo>
                    <a:lnTo>
                      <a:pt x="430" y="268"/>
                    </a:lnTo>
                    <a:lnTo>
                      <a:pt x="432" y="268"/>
                    </a:lnTo>
                    <a:lnTo>
                      <a:pt x="432" y="266"/>
                    </a:lnTo>
                    <a:lnTo>
                      <a:pt x="430" y="266"/>
                    </a:lnTo>
                    <a:lnTo>
                      <a:pt x="430" y="268"/>
                    </a:lnTo>
                    <a:lnTo>
                      <a:pt x="429" y="270"/>
                    </a:lnTo>
                    <a:lnTo>
                      <a:pt x="429" y="271"/>
                    </a:lnTo>
                    <a:lnTo>
                      <a:pt x="427" y="271"/>
                    </a:lnTo>
                    <a:lnTo>
                      <a:pt x="427" y="270"/>
                    </a:lnTo>
                    <a:lnTo>
                      <a:pt x="427" y="268"/>
                    </a:lnTo>
                    <a:lnTo>
                      <a:pt x="425" y="273"/>
                    </a:lnTo>
                    <a:lnTo>
                      <a:pt x="423" y="277"/>
                    </a:lnTo>
                    <a:lnTo>
                      <a:pt x="421" y="285"/>
                    </a:lnTo>
                    <a:lnTo>
                      <a:pt x="417" y="285"/>
                    </a:lnTo>
                    <a:lnTo>
                      <a:pt x="415" y="289"/>
                    </a:lnTo>
                    <a:lnTo>
                      <a:pt x="413" y="291"/>
                    </a:lnTo>
                    <a:lnTo>
                      <a:pt x="413" y="293"/>
                    </a:lnTo>
                    <a:lnTo>
                      <a:pt x="415" y="293"/>
                    </a:lnTo>
                    <a:lnTo>
                      <a:pt x="417" y="295"/>
                    </a:lnTo>
                    <a:lnTo>
                      <a:pt x="419" y="295"/>
                    </a:lnTo>
                    <a:lnTo>
                      <a:pt x="421" y="295"/>
                    </a:lnTo>
                    <a:lnTo>
                      <a:pt x="419" y="298"/>
                    </a:lnTo>
                    <a:lnTo>
                      <a:pt x="417" y="306"/>
                    </a:lnTo>
                    <a:lnTo>
                      <a:pt x="415" y="314"/>
                    </a:lnTo>
                    <a:lnTo>
                      <a:pt x="413" y="314"/>
                    </a:lnTo>
                    <a:lnTo>
                      <a:pt x="413" y="316"/>
                    </a:lnTo>
                    <a:lnTo>
                      <a:pt x="411" y="314"/>
                    </a:lnTo>
                    <a:lnTo>
                      <a:pt x="411" y="312"/>
                    </a:lnTo>
                    <a:lnTo>
                      <a:pt x="409" y="312"/>
                    </a:lnTo>
                    <a:lnTo>
                      <a:pt x="409" y="310"/>
                    </a:lnTo>
                    <a:lnTo>
                      <a:pt x="409" y="312"/>
                    </a:lnTo>
                    <a:lnTo>
                      <a:pt x="407" y="312"/>
                    </a:lnTo>
                    <a:lnTo>
                      <a:pt x="405" y="312"/>
                    </a:lnTo>
                    <a:lnTo>
                      <a:pt x="405" y="314"/>
                    </a:lnTo>
                    <a:lnTo>
                      <a:pt x="402" y="316"/>
                    </a:lnTo>
                    <a:lnTo>
                      <a:pt x="400" y="318"/>
                    </a:lnTo>
                    <a:lnTo>
                      <a:pt x="398" y="320"/>
                    </a:lnTo>
                    <a:lnTo>
                      <a:pt x="396" y="321"/>
                    </a:lnTo>
                    <a:lnTo>
                      <a:pt x="390" y="323"/>
                    </a:lnTo>
                    <a:lnTo>
                      <a:pt x="390" y="325"/>
                    </a:lnTo>
                    <a:lnTo>
                      <a:pt x="386" y="327"/>
                    </a:lnTo>
                    <a:lnTo>
                      <a:pt x="384" y="327"/>
                    </a:lnTo>
                    <a:lnTo>
                      <a:pt x="382" y="329"/>
                    </a:lnTo>
                    <a:lnTo>
                      <a:pt x="382" y="327"/>
                    </a:lnTo>
                    <a:lnTo>
                      <a:pt x="382" y="325"/>
                    </a:lnTo>
                    <a:lnTo>
                      <a:pt x="382" y="323"/>
                    </a:lnTo>
                    <a:lnTo>
                      <a:pt x="382" y="321"/>
                    </a:lnTo>
                    <a:lnTo>
                      <a:pt x="382" y="320"/>
                    </a:lnTo>
                    <a:lnTo>
                      <a:pt x="381" y="321"/>
                    </a:lnTo>
                    <a:lnTo>
                      <a:pt x="379" y="321"/>
                    </a:lnTo>
                    <a:lnTo>
                      <a:pt x="377" y="323"/>
                    </a:lnTo>
                    <a:lnTo>
                      <a:pt x="375" y="323"/>
                    </a:lnTo>
                    <a:lnTo>
                      <a:pt x="375" y="325"/>
                    </a:lnTo>
                    <a:lnTo>
                      <a:pt x="373" y="323"/>
                    </a:lnTo>
                    <a:lnTo>
                      <a:pt x="375" y="321"/>
                    </a:lnTo>
                    <a:lnTo>
                      <a:pt x="373" y="321"/>
                    </a:lnTo>
                    <a:lnTo>
                      <a:pt x="371" y="321"/>
                    </a:lnTo>
                    <a:lnTo>
                      <a:pt x="369" y="321"/>
                    </a:lnTo>
                    <a:lnTo>
                      <a:pt x="369" y="320"/>
                    </a:lnTo>
                    <a:lnTo>
                      <a:pt x="367" y="320"/>
                    </a:lnTo>
                    <a:lnTo>
                      <a:pt x="367" y="321"/>
                    </a:lnTo>
                    <a:lnTo>
                      <a:pt x="367" y="323"/>
                    </a:lnTo>
                    <a:lnTo>
                      <a:pt x="367" y="321"/>
                    </a:lnTo>
                    <a:lnTo>
                      <a:pt x="369" y="323"/>
                    </a:lnTo>
                    <a:lnTo>
                      <a:pt x="367" y="323"/>
                    </a:lnTo>
                    <a:lnTo>
                      <a:pt x="369" y="323"/>
                    </a:lnTo>
                    <a:lnTo>
                      <a:pt x="367" y="323"/>
                    </a:lnTo>
                    <a:lnTo>
                      <a:pt x="367" y="325"/>
                    </a:lnTo>
                    <a:lnTo>
                      <a:pt x="369" y="325"/>
                    </a:lnTo>
                    <a:lnTo>
                      <a:pt x="367" y="325"/>
                    </a:lnTo>
                    <a:lnTo>
                      <a:pt x="367" y="327"/>
                    </a:lnTo>
                    <a:lnTo>
                      <a:pt x="365" y="327"/>
                    </a:lnTo>
                    <a:lnTo>
                      <a:pt x="363" y="327"/>
                    </a:lnTo>
                    <a:lnTo>
                      <a:pt x="361" y="327"/>
                    </a:lnTo>
                    <a:lnTo>
                      <a:pt x="361" y="325"/>
                    </a:lnTo>
                    <a:lnTo>
                      <a:pt x="361" y="323"/>
                    </a:lnTo>
                    <a:lnTo>
                      <a:pt x="361" y="325"/>
                    </a:lnTo>
                    <a:lnTo>
                      <a:pt x="359" y="325"/>
                    </a:lnTo>
                    <a:lnTo>
                      <a:pt x="359" y="327"/>
                    </a:lnTo>
                    <a:lnTo>
                      <a:pt x="357" y="327"/>
                    </a:lnTo>
                    <a:lnTo>
                      <a:pt x="357" y="325"/>
                    </a:lnTo>
                    <a:lnTo>
                      <a:pt x="357" y="323"/>
                    </a:lnTo>
                    <a:lnTo>
                      <a:pt x="356" y="321"/>
                    </a:lnTo>
                    <a:lnTo>
                      <a:pt x="354" y="321"/>
                    </a:lnTo>
                    <a:lnTo>
                      <a:pt x="352" y="320"/>
                    </a:lnTo>
                    <a:lnTo>
                      <a:pt x="350" y="320"/>
                    </a:lnTo>
                    <a:lnTo>
                      <a:pt x="350" y="321"/>
                    </a:lnTo>
                    <a:lnTo>
                      <a:pt x="350" y="323"/>
                    </a:lnTo>
                    <a:lnTo>
                      <a:pt x="350" y="321"/>
                    </a:lnTo>
                    <a:lnTo>
                      <a:pt x="348" y="321"/>
                    </a:lnTo>
                    <a:lnTo>
                      <a:pt x="348" y="323"/>
                    </a:lnTo>
                    <a:lnTo>
                      <a:pt x="346" y="323"/>
                    </a:lnTo>
                    <a:lnTo>
                      <a:pt x="344" y="325"/>
                    </a:lnTo>
                    <a:lnTo>
                      <a:pt x="344" y="323"/>
                    </a:lnTo>
                    <a:lnTo>
                      <a:pt x="342" y="325"/>
                    </a:lnTo>
                    <a:lnTo>
                      <a:pt x="342" y="323"/>
                    </a:lnTo>
                    <a:lnTo>
                      <a:pt x="342" y="321"/>
                    </a:lnTo>
                    <a:lnTo>
                      <a:pt x="340" y="321"/>
                    </a:lnTo>
                    <a:lnTo>
                      <a:pt x="340" y="320"/>
                    </a:lnTo>
                    <a:lnTo>
                      <a:pt x="338" y="320"/>
                    </a:lnTo>
                    <a:lnTo>
                      <a:pt x="336" y="320"/>
                    </a:lnTo>
                    <a:lnTo>
                      <a:pt x="336" y="321"/>
                    </a:lnTo>
                    <a:lnTo>
                      <a:pt x="334" y="323"/>
                    </a:lnTo>
                    <a:lnTo>
                      <a:pt x="334" y="325"/>
                    </a:lnTo>
                    <a:lnTo>
                      <a:pt x="332" y="325"/>
                    </a:lnTo>
                    <a:lnTo>
                      <a:pt x="332" y="327"/>
                    </a:lnTo>
                    <a:lnTo>
                      <a:pt x="331" y="329"/>
                    </a:lnTo>
                    <a:lnTo>
                      <a:pt x="329" y="329"/>
                    </a:lnTo>
                    <a:lnTo>
                      <a:pt x="329" y="331"/>
                    </a:lnTo>
                    <a:lnTo>
                      <a:pt x="325" y="331"/>
                    </a:lnTo>
                    <a:lnTo>
                      <a:pt x="323" y="333"/>
                    </a:lnTo>
                    <a:lnTo>
                      <a:pt x="321" y="335"/>
                    </a:lnTo>
                    <a:lnTo>
                      <a:pt x="323" y="337"/>
                    </a:lnTo>
                    <a:lnTo>
                      <a:pt x="321" y="337"/>
                    </a:lnTo>
                    <a:lnTo>
                      <a:pt x="319" y="337"/>
                    </a:lnTo>
                    <a:lnTo>
                      <a:pt x="319" y="339"/>
                    </a:lnTo>
                    <a:lnTo>
                      <a:pt x="317" y="339"/>
                    </a:lnTo>
                    <a:lnTo>
                      <a:pt x="313" y="341"/>
                    </a:lnTo>
                    <a:lnTo>
                      <a:pt x="315" y="343"/>
                    </a:lnTo>
                    <a:lnTo>
                      <a:pt x="317" y="345"/>
                    </a:lnTo>
                    <a:lnTo>
                      <a:pt x="313" y="345"/>
                    </a:lnTo>
                    <a:lnTo>
                      <a:pt x="309" y="345"/>
                    </a:lnTo>
                    <a:lnTo>
                      <a:pt x="309" y="346"/>
                    </a:lnTo>
                    <a:lnTo>
                      <a:pt x="308" y="345"/>
                    </a:lnTo>
                    <a:lnTo>
                      <a:pt x="306" y="345"/>
                    </a:lnTo>
                    <a:lnTo>
                      <a:pt x="308" y="345"/>
                    </a:lnTo>
                    <a:lnTo>
                      <a:pt x="306" y="343"/>
                    </a:lnTo>
                    <a:lnTo>
                      <a:pt x="304" y="343"/>
                    </a:lnTo>
                    <a:lnTo>
                      <a:pt x="302" y="343"/>
                    </a:lnTo>
                    <a:lnTo>
                      <a:pt x="302" y="345"/>
                    </a:lnTo>
                    <a:lnTo>
                      <a:pt x="300" y="345"/>
                    </a:lnTo>
                    <a:lnTo>
                      <a:pt x="298" y="345"/>
                    </a:lnTo>
                    <a:lnTo>
                      <a:pt x="298" y="346"/>
                    </a:lnTo>
                    <a:lnTo>
                      <a:pt x="298" y="348"/>
                    </a:lnTo>
                    <a:lnTo>
                      <a:pt x="296" y="348"/>
                    </a:lnTo>
                    <a:lnTo>
                      <a:pt x="294" y="350"/>
                    </a:lnTo>
                    <a:lnTo>
                      <a:pt x="294" y="348"/>
                    </a:lnTo>
                    <a:lnTo>
                      <a:pt x="292" y="348"/>
                    </a:lnTo>
                    <a:lnTo>
                      <a:pt x="292" y="346"/>
                    </a:lnTo>
                    <a:lnTo>
                      <a:pt x="290" y="346"/>
                    </a:lnTo>
                    <a:lnTo>
                      <a:pt x="288" y="348"/>
                    </a:lnTo>
                    <a:lnTo>
                      <a:pt x="286" y="348"/>
                    </a:lnTo>
                    <a:lnTo>
                      <a:pt x="284" y="348"/>
                    </a:lnTo>
                    <a:lnTo>
                      <a:pt x="284" y="350"/>
                    </a:lnTo>
                    <a:lnTo>
                      <a:pt x="283" y="350"/>
                    </a:lnTo>
                    <a:lnTo>
                      <a:pt x="281" y="350"/>
                    </a:lnTo>
                    <a:lnTo>
                      <a:pt x="279" y="350"/>
                    </a:lnTo>
                    <a:lnTo>
                      <a:pt x="279" y="352"/>
                    </a:lnTo>
                    <a:lnTo>
                      <a:pt x="277" y="352"/>
                    </a:lnTo>
                    <a:lnTo>
                      <a:pt x="275" y="352"/>
                    </a:lnTo>
                    <a:lnTo>
                      <a:pt x="275" y="354"/>
                    </a:lnTo>
                    <a:lnTo>
                      <a:pt x="273" y="356"/>
                    </a:lnTo>
                    <a:lnTo>
                      <a:pt x="271" y="356"/>
                    </a:lnTo>
                    <a:lnTo>
                      <a:pt x="271" y="354"/>
                    </a:lnTo>
                    <a:lnTo>
                      <a:pt x="269" y="352"/>
                    </a:lnTo>
                    <a:lnTo>
                      <a:pt x="267" y="350"/>
                    </a:lnTo>
                    <a:lnTo>
                      <a:pt x="263" y="352"/>
                    </a:lnTo>
                    <a:lnTo>
                      <a:pt x="259" y="352"/>
                    </a:lnTo>
                    <a:lnTo>
                      <a:pt x="259" y="354"/>
                    </a:lnTo>
                    <a:lnTo>
                      <a:pt x="258" y="354"/>
                    </a:lnTo>
                    <a:lnTo>
                      <a:pt x="258" y="356"/>
                    </a:lnTo>
                    <a:lnTo>
                      <a:pt x="256" y="358"/>
                    </a:lnTo>
                    <a:lnTo>
                      <a:pt x="256" y="360"/>
                    </a:lnTo>
                    <a:lnTo>
                      <a:pt x="254" y="360"/>
                    </a:lnTo>
                    <a:lnTo>
                      <a:pt x="252" y="364"/>
                    </a:lnTo>
                    <a:lnTo>
                      <a:pt x="254" y="364"/>
                    </a:lnTo>
                    <a:lnTo>
                      <a:pt x="252" y="364"/>
                    </a:lnTo>
                    <a:lnTo>
                      <a:pt x="252" y="366"/>
                    </a:lnTo>
                    <a:lnTo>
                      <a:pt x="252" y="368"/>
                    </a:lnTo>
                    <a:lnTo>
                      <a:pt x="250" y="368"/>
                    </a:lnTo>
                    <a:lnTo>
                      <a:pt x="248" y="368"/>
                    </a:lnTo>
                    <a:lnTo>
                      <a:pt x="250" y="370"/>
                    </a:lnTo>
                    <a:lnTo>
                      <a:pt x="248" y="370"/>
                    </a:lnTo>
                    <a:lnTo>
                      <a:pt x="248" y="371"/>
                    </a:lnTo>
                    <a:lnTo>
                      <a:pt x="248" y="373"/>
                    </a:lnTo>
                    <a:lnTo>
                      <a:pt x="246" y="373"/>
                    </a:lnTo>
                    <a:lnTo>
                      <a:pt x="246" y="375"/>
                    </a:lnTo>
                    <a:lnTo>
                      <a:pt x="242" y="373"/>
                    </a:lnTo>
                    <a:lnTo>
                      <a:pt x="244" y="373"/>
                    </a:lnTo>
                    <a:lnTo>
                      <a:pt x="242" y="373"/>
                    </a:lnTo>
                    <a:lnTo>
                      <a:pt x="242" y="371"/>
                    </a:lnTo>
                    <a:lnTo>
                      <a:pt x="242" y="373"/>
                    </a:lnTo>
                    <a:lnTo>
                      <a:pt x="240" y="373"/>
                    </a:lnTo>
                    <a:lnTo>
                      <a:pt x="240" y="371"/>
                    </a:lnTo>
                    <a:lnTo>
                      <a:pt x="238" y="371"/>
                    </a:lnTo>
                    <a:lnTo>
                      <a:pt x="236" y="371"/>
                    </a:lnTo>
                    <a:lnTo>
                      <a:pt x="236" y="373"/>
                    </a:lnTo>
                    <a:lnTo>
                      <a:pt x="236" y="371"/>
                    </a:lnTo>
                    <a:lnTo>
                      <a:pt x="235" y="371"/>
                    </a:lnTo>
                    <a:lnTo>
                      <a:pt x="235" y="370"/>
                    </a:lnTo>
                    <a:lnTo>
                      <a:pt x="233" y="370"/>
                    </a:lnTo>
                    <a:lnTo>
                      <a:pt x="233" y="368"/>
                    </a:lnTo>
                    <a:lnTo>
                      <a:pt x="235" y="368"/>
                    </a:lnTo>
                    <a:lnTo>
                      <a:pt x="236" y="366"/>
                    </a:lnTo>
                    <a:lnTo>
                      <a:pt x="236" y="364"/>
                    </a:lnTo>
                    <a:lnTo>
                      <a:pt x="238" y="362"/>
                    </a:lnTo>
                    <a:lnTo>
                      <a:pt x="240" y="362"/>
                    </a:lnTo>
                    <a:lnTo>
                      <a:pt x="240" y="360"/>
                    </a:lnTo>
                    <a:lnTo>
                      <a:pt x="240" y="358"/>
                    </a:lnTo>
                    <a:lnTo>
                      <a:pt x="238" y="354"/>
                    </a:lnTo>
                    <a:lnTo>
                      <a:pt x="238" y="352"/>
                    </a:lnTo>
                    <a:lnTo>
                      <a:pt x="236" y="350"/>
                    </a:lnTo>
                    <a:lnTo>
                      <a:pt x="236" y="348"/>
                    </a:lnTo>
                    <a:lnTo>
                      <a:pt x="236" y="346"/>
                    </a:lnTo>
                    <a:lnTo>
                      <a:pt x="238" y="345"/>
                    </a:lnTo>
                    <a:lnTo>
                      <a:pt x="236" y="345"/>
                    </a:lnTo>
                    <a:lnTo>
                      <a:pt x="235" y="343"/>
                    </a:lnTo>
                    <a:lnTo>
                      <a:pt x="235" y="341"/>
                    </a:lnTo>
                    <a:lnTo>
                      <a:pt x="235" y="343"/>
                    </a:lnTo>
                    <a:lnTo>
                      <a:pt x="235" y="341"/>
                    </a:lnTo>
                    <a:lnTo>
                      <a:pt x="236" y="341"/>
                    </a:lnTo>
                    <a:lnTo>
                      <a:pt x="235" y="339"/>
                    </a:lnTo>
                    <a:lnTo>
                      <a:pt x="236" y="339"/>
                    </a:lnTo>
                    <a:lnTo>
                      <a:pt x="236" y="337"/>
                    </a:lnTo>
                    <a:lnTo>
                      <a:pt x="235" y="335"/>
                    </a:lnTo>
                    <a:lnTo>
                      <a:pt x="235" y="337"/>
                    </a:lnTo>
                    <a:lnTo>
                      <a:pt x="233" y="337"/>
                    </a:lnTo>
                    <a:lnTo>
                      <a:pt x="233" y="335"/>
                    </a:lnTo>
                    <a:lnTo>
                      <a:pt x="235" y="333"/>
                    </a:lnTo>
                    <a:lnTo>
                      <a:pt x="236" y="331"/>
                    </a:lnTo>
                    <a:lnTo>
                      <a:pt x="235" y="331"/>
                    </a:lnTo>
                    <a:lnTo>
                      <a:pt x="236" y="329"/>
                    </a:lnTo>
                    <a:lnTo>
                      <a:pt x="236" y="327"/>
                    </a:lnTo>
                    <a:lnTo>
                      <a:pt x="236" y="325"/>
                    </a:lnTo>
                    <a:lnTo>
                      <a:pt x="238" y="323"/>
                    </a:lnTo>
                    <a:lnTo>
                      <a:pt x="240" y="323"/>
                    </a:lnTo>
                    <a:lnTo>
                      <a:pt x="242" y="321"/>
                    </a:lnTo>
                    <a:lnTo>
                      <a:pt x="236" y="314"/>
                    </a:lnTo>
                    <a:lnTo>
                      <a:pt x="235" y="314"/>
                    </a:lnTo>
                    <a:lnTo>
                      <a:pt x="235" y="316"/>
                    </a:lnTo>
                    <a:lnTo>
                      <a:pt x="233" y="316"/>
                    </a:lnTo>
                    <a:lnTo>
                      <a:pt x="231" y="316"/>
                    </a:lnTo>
                    <a:lnTo>
                      <a:pt x="231" y="314"/>
                    </a:lnTo>
                    <a:lnTo>
                      <a:pt x="229" y="314"/>
                    </a:lnTo>
                    <a:lnTo>
                      <a:pt x="227" y="314"/>
                    </a:lnTo>
                    <a:lnTo>
                      <a:pt x="227" y="316"/>
                    </a:lnTo>
                    <a:lnTo>
                      <a:pt x="225" y="316"/>
                    </a:lnTo>
                    <a:lnTo>
                      <a:pt x="227" y="318"/>
                    </a:lnTo>
                    <a:lnTo>
                      <a:pt x="225" y="318"/>
                    </a:lnTo>
                    <a:lnTo>
                      <a:pt x="227" y="318"/>
                    </a:lnTo>
                    <a:lnTo>
                      <a:pt x="225" y="318"/>
                    </a:lnTo>
                    <a:lnTo>
                      <a:pt x="225" y="320"/>
                    </a:lnTo>
                    <a:lnTo>
                      <a:pt x="227" y="320"/>
                    </a:lnTo>
                    <a:lnTo>
                      <a:pt x="225" y="320"/>
                    </a:lnTo>
                    <a:lnTo>
                      <a:pt x="227" y="320"/>
                    </a:lnTo>
                    <a:lnTo>
                      <a:pt x="227" y="321"/>
                    </a:lnTo>
                    <a:lnTo>
                      <a:pt x="225" y="321"/>
                    </a:lnTo>
                    <a:lnTo>
                      <a:pt x="223" y="321"/>
                    </a:lnTo>
                    <a:lnTo>
                      <a:pt x="223" y="320"/>
                    </a:lnTo>
                    <a:lnTo>
                      <a:pt x="221" y="320"/>
                    </a:lnTo>
                    <a:lnTo>
                      <a:pt x="221" y="321"/>
                    </a:lnTo>
                    <a:lnTo>
                      <a:pt x="221" y="320"/>
                    </a:lnTo>
                    <a:lnTo>
                      <a:pt x="221" y="321"/>
                    </a:lnTo>
                    <a:lnTo>
                      <a:pt x="219" y="321"/>
                    </a:lnTo>
                    <a:lnTo>
                      <a:pt x="217" y="321"/>
                    </a:lnTo>
                    <a:lnTo>
                      <a:pt x="215" y="321"/>
                    </a:lnTo>
                    <a:lnTo>
                      <a:pt x="213" y="321"/>
                    </a:lnTo>
                    <a:lnTo>
                      <a:pt x="211" y="321"/>
                    </a:lnTo>
                    <a:lnTo>
                      <a:pt x="211" y="323"/>
                    </a:lnTo>
                    <a:lnTo>
                      <a:pt x="210" y="323"/>
                    </a:lnTo>
                    <a:lnTo>
                      <a:pt x="208" y="323"/>
                    </a:lnTo>
                    <a:lnTo>
                      <a:pt x="206" y="323"/>
                    </a:lnTo>
                    <a:lnTo>
                      <a:pt x="204" y="323"/>
                    </a:lnTo>
                    <a:lnTo>
                      <a:pt x="202" y="323"/>
                    </a:lnTo>
                    <a:lnTo>
                      <a:pt x="198" y="323"/>
                    </a:lnTo>
                    <a:lnTo>
                      <a:pt x="194" y="325"/>
                    </a:lnTo>
                    <a:lnTo>
                      <a:pt x="185" y="327"/>
                    </a:lnTo>
                    <a:lnTo>
                      <a:pt x="183" y="325"/>
                    </a:lnTo>
                    <a:lnTo>
                      <a:pt x="181" y="320"/>
                    </a:lnTo>
                    <a:lnTo>
                      <a:pt x="181" y="318"/>
                    </a:lnTo>
                    <a:lnTo>
                      <a:pt x="175" y="306"/>
                    </a:lnTo>
                    <a:lnTo>
                      <a:pt x="160" y="308"/>
                    </a:lnTo>
                    <a:lnTo>
                      <a:pt x="148" y="308"/>
                    </a:lnTo>
                    <a:lnTo>
                      <a:pt x="144" y="310"/>
                    </a:lnTo>
                    <a:lnTo>
                      <a:pt x="142" y="308"/>
                    </a:lnTo>
                    <a:lnTo>
                      <a:pt x="140" y="302"/>
                    </a:lnTo>
                    <a:lnTo>
                      <a:pt x="138" y="296"/>
                    </a:lnTo>
                    <a:lnTo>
                      <a:pt x="135" y="291"/>
                    </a:lnTo>
                    <a:lnTo>
                      <a:pt x="135" y="289"/>
                    </a:lnTo>
                    <a:lnTo>
                      <a:pt x="131" y="283"/>
                    </a:lnTo>
                    <a:lnTo>
                      <a:pt x="129" y="277"/>
                    </a:lnTo>
                    <a:lnTo>
                      <a:pt x="127" y="273"/>
                    </a:lnTo>
                    <a:lnTo>
                      <a:pt x="123" y="270"/>
                    </a:lnTo>
                    <a:lnTo>
                      <a:pt x="117" y="266"/>
                    </a:lnTo>
                    <a:lnTo>
                      <a:pt x="110" y="262"/>
                    </a:lnTo>
                    <a:lnTo>
                      <a:pt x="106" y="260"/>
                    </a:lnTo>
                    <a:lnTo>
                      <a:pt x="98" y="256"/>
                    </a:lnTo>
                    <a:lnTo>
                      <a:pt x="92" y="254"/>
                    </a:lnTo>
                    <a:lnTo>
                      <a:pt x="94" y="250"/>
                    </a:lnTo>
                    <a:lnTo>
                      <a:pt x="92" y="250"/>
                    </a:lnTo>
                    <a:lnTo>
                      <a:pt x="85" y="248"/>
                    </a:lnTo>
                    <a:lnTo>
                      <a:pt x="71" y="246"/>
                    </a:lnTo>
                    <a:lnTo>
                      <a:pt x="50" y="243"/>
                    </a:lnTo>
                    <a:lnTo>
                      <a:pt x="46" y="243"/>
                    </a:lnTo>
                    <a:lnTo>
                      <a:pt x="39" y="237"/>
                    </a:lnTo>
                    <a:lnTo>
                      <a:pt x="31" y="235"/>
                    </a:lnTo>
                    <a:lnTo>
                      <a:pt x="25" y="233"/>
                    </a:lnTo>
                    <a:lnTo>
                      <a:pt x="21" y="233"/>
                    </a:lnTo>
                    <a:lnTo>
                      <a:pt x="21" y="231"/>
                    </a:lnTo>
                    <a:lnTo>
                      <a:pt x="19" y="227"/>
                    </a:lnTo>
                    <a:lnTo>
                      <a:pt x="19" y="223"/>
                    </a:lnTo>
                    <a:lnTo>
                      <a:pt x="19" y="221"/>
                    </a:lnTo>
                    <a:lnTo>
                      <a:pt x="15" y="221"/>
                    </a:lnTo>
                    <a:lnTo>
                      <a:pt x="15" y="220"/>
                    </a:lnTo>
                    <a:lnTo>
                      <a:pt x="14" y="204"/>
                    </a:lnTo>
                    <a:lnTo>
                      <a:pt x="12" y="204"/>
                    </a:lnTo>
                    <a:lnTo>
                      <a:pt x="8" y="202"/>
                    </a:lnTo>
                    <a:lnTo>
                      <a:pt x="10" y="198"/>
                    </a:lnTo>
                    <a:lnTo>
                      <a:pt x="12" y="191"/>
                    </a:lnTo>
                    <a:lnTo>
                      <a:pt x="14" y="183"/>
                    </a:lnTo>
                    <a:lnTo>
                      <a:pt x="12" y="179"/>
                    </a:lnTo>
                    <a:lnTo>
                      <a:pt x="10" y="177"/>
                    </a:lnTo>
                    <a:lnTo>
                      <a:pt x="0" y="168"/>
                    </a:lnTo>
                    <a:lnTo>
                      <a:pt x="8" y="164"/>
                    </a:lnTo>
                    <a:lnTo>
                      <a:pt x="4" y="156"/>
                    </a:lnTo>
                    <a:lnTo>
                      <a:pt x="4" y="152"/>
                    </a:lnTo>
                    <a:lnTo>
                      <a:pt x="6" y="150"/>
                    </a:lnTo>
                    <a:lnTo>
                      <a:pt x="8" y="150"/>
                    </a:lnTo>
                    <a:lnTo>
                      <a:pt x="14" y="147"/>
                    </a:lnTo>
                    <a:lnTo>
                      <a:pt x="8" y="137"/>
                    </a:lnTo>
                    <a:lnTo>
                      <a:pt x="12" y="135"/>
                    </a:lnTo>
                    <a:lnTo>
                      <a:pt x="10" y="131"/>
                    </a:lnTo>
                    <a:lnTo>
                      <a:pt x="12" y="131"/>
                    </a:lnTo>
                    <a:lnTo>
                      <a:pt x="19" y="125"/>
                    </a:lnTo>
                    <a:lnTo>
                      <a:pt x="21" y="123"/>
                    </a:lnTo>
                    <a:lnTo>
                      <a:pt x="27" y="120"/>
                    </a:lnTo>
                    <a:lnTo>
                      <a:pt x="31" y="116"/>
                    </a:lnTo>
                    <a:lnTo>
                      <a:pt x="31" y="114"/>
                    </a:lnTo>
                    <a:lnTo>
                      <a:pt x="33" y="112"/>
                    </a:lnTo>
                    <a:lnTo>
                      <a:pt x="33" y="108"/>
                    </a:lnTo>
                    <a:lnTo>
                      <a:pt x="33" y="102"/>
                    </a:lnTo>
                    <a:lnTo>
                      <a:pt x="33" y="98"/>
                    </a:lnTo>
                    <a:lnTo>
                      <a:pt x="35" y="98"/>
                    </a:lnTo>
                    <a:lnTo>
                      <a:pt x="37" y="97"/>
                    </a:lnTo>
                    <a:lnTo>
                      <a:pt x="39" y="97"/>
                    </a:lnTo>
                    <a:lnTo>
                      <a:pt x="40" y="93"/>
                    </a:lnTo>
                    <a:lnTo>
                      <a:pt x="42" y="89"/>
                    </a:lnTo>
                    <a:lnTo>
                      <a:pt x="44" y="89"/>
                    </a:lnTo>
                    <a:lnTo>
                      <a:pt x="46" y="87"/>
                    </a:lnTo>
                    <a:lnTo>
                      <a:pt x="50" y="85"/>
                    </a:lnTo>
                    <a:lnTo>
                      <a:pt x="52" y="81"/>
                    </a:lnTo>
                    <a:lnTo>
                      <a:pt x="56" y="81"/>
                    </a:lnTo>
                    <a:lnTo>
                      <a:pt x="60" y="81"/>
                    </a:lnTo>
                    <a:lnTo>
                      <a:pt x="62" y="81"/>
                    </a:lnTo>
                    <a:lnTo>
                      <a:pt x="64" y="81"/>
                    </a:lnTo>
                    <a:lnTo>
                      <a:pt x="67" y="81"/>
                    </a:lnTo>
                    <a:lnTo>
                      <a:pt x="67" y="79"/>
                    </a:lnTo>
                    <a:lnTo>
                      <a:pt x="67" y="77"/>
                    </a:lnTo>
                    <a:lnTo>
                      <a:pt x="69" y="73"/>
                    </a:lnTo>
                    <a:lnTo>
                      <a:pt x="71" y="72"/>
                    </a:lnTo>
                    <a:lnTo>
                      <a:pt x="73" y="62"/>
                    </a:lnTo>
                    <a:lnTo>
                      <a:pt x="75" y="54"/>
                    </a:lnTo>
                    <a:lnTo>
                      <a:pt x="75" y="52"/>
                    </a:lnTo>
                    <a:lnTo>
                      <a:pt x="77" y="50"/>
                    </a:lnTo>
                    <a:lnTo>
                      <a:pt x="77" y="48"/>
                    </a:lnTo>
                    <a:lnTo>
                      <a:pt x="75" y="48"/>
                    </a:lnTo>
                    <a:lnTo>
                      <a:pt x="75" y="47"/>
                    </a:lnTo>
                    <a:lnTo>
                      <a:pt x="77" y="47"/>
                    </a:lnTo>
                    <a:lnTo>
                      <a:pt x="77" y="45"/>
                    </a:lnTo>
                    <a:lnTo>
                      <a:pt x="79" y="45"/>
                    </a:lnTo>
                    <a:lnTo>
                      <a:pt x="79" y="43"/>
                    </a:lnTo>
                    <a:lnTo>
                      <a:pt x="81" y="43"/>
                    </a:lnTo>
                    <a:lnTo>
                      <a:pt x="81" y="41"/>
                    </a:lnTo>
                    <a:lnTo>
                      <a:pt x="81" y="39"/>
                    </a:lnTo>
                    <a:lnTo>
                      <a:pt x="83" y="37"/>
                    </a:lnTo>
                    <a:lnTo>
                      <a:pt x="81" y="37"/>
                    </a:lnTo>
                    <a:lnTo>
                      <a:pt x="83" y="37"/>
                    </a:lnTo>
                    <a:lnTo>
                      <a:pt x="83" y="35"/>
                    </a:lnTo>
                    <a:lnTo>
                      <a:pt x="81" y="35"/>
                    </a:lnTo>
                    <a:lnTo>
                      <a:pt x="81" y="33"/>
                    </a:lnTo>
                    <a:lnTo>
                      <a:pt x="81" y="31"/>
                    </a:lnTo>
                    <a:lnTo>
                      <a:pt x="81" y="29"/>
                    </a:lnTo>
                    <a:lnTo>
                      <a:pt x="81" y="27"/>
                    </a:lnTo>
                    <a:lnTo>
                      <a:pt x="83" y="27"/>
                    </a:lnTo>
                    <a:lnTo>
                      <a:pt x="83" y="25"/>
                    </a:lnTo>
                    <a:lnTo>
                      <a:pt x="83" y="23"/>
                    </a:lnTo>
                    <a:lnTo>
                      <a:pt x="85" y="23"/>
                    </a:lnTo>
                    <a:lnTo>
                      <a:pt x="87" y="23"/>
                    </a:lnTo>
                    <a:lnTo>
                      <a:pt x="87" y="22"/>
                    </a:lnTo>
                    <a:lnTo>
                      <a:pt x="88" y="22"/>
                    </a:lnTo>
                    <a:lnTo>
                      <a:pt x="90" y="22"/>
                    </a:lnTo>
                    <a:lnTo>
                      <a:pt x="90" y="20"/>
                    </a:lnTo>
                    <a:lnTo>
                      <a:pt x="92" y="22"/>
                    </a:lnTo>
                    <a:lnTo>
                      <a:pt x="92" y="20"/>
                    </a:lnTo>
                    <a:lnTo>
                      <a:pt x="90" y="20"/>
                    </a:lnTo>
                    <a:lnTo>
                      <a:pt x="92" y="20"/>
                    </a:lnTo>
                    <a:lnTo>
                      <a:pt x="92" y="18"/>
                    </a:lnTo>
                    <a:lnTo>
                      <a:pt x="90" y="18"/>
                    </a:lnTo>
                    <a:lnTo>
                      <a:pt x="92" y="18"/>
                    </a:lnTo>
                    <a:lnTo>
                      <a:pt x="90" y="18"/>
                    </a:lnTo>
                    <a:lnTo>
                      <a:pt x="92" y="18"/>
                    </a:lnTo>
                    <a:lnTo>
                      <a:pt x="90" y="18"/>
                    </a:lnTo>
                    <a:lnTo>
                      <a:pt x="92" y="18"/>
                    </a:lnTo>
                    <a:lnTo>
                      <a:pt x="90" y="18"/>
                    </a:lnTo>
                    <a:lnTo>
                      <a:pt x="92" y="16"/>
                    </a:lnTo>
                    <a:lnTo>
                      <a:pt x="92" y="18"/>
                    </a:lnTo>
                    <a:lnTo>
                      <a:pt x="92" y="16"/>
                    </a:lnTo>
                    <a:lnTo>
                      <a:pt x="92" y="14"/>
                    </a:lnTo>
                    <a:lnTo>
                      <a:pt x="92" y="16"/>
                    </a:lnTo>
                    <a:lnTo>
                      <a:pt x="90" y="16"/>
                    </a:lnTo>
                    <a:lnTo>
                      <a:pt x="90" y="14"/>
                    </a:lnTo>
                    <a:lnTo>
                      <a:pt x="90" y="16"/>
                    </a:lnTo>
                    <a:lnTo>
                      <a:pt x="90" y="14"/>
                    </a:lnTo>
                    <a:lnTo>
                      <a:pt x="88" y="14"/>
                    </a:lnTo>
                    <a:lnTo>
                      <a:pt x="90" y="14"/>
                    </a:lnTo>
                    <a:lnTo>
                      <a:pt x="90" y="12"/>
                    </a:lnTo>
                    <a:lnTo>
                      <a:pt x="92" y="10"/>
                    </a:lnTo>
                    <a:lnTo>
                      <a:pt x="94" y="10"/>
                    </a:lnTo>
                    <a:lnTo>
                      <a:pt x="94" y="8"/>
                    </a:lnTo>
                    <a:lnTo>
                      <a:pt x="94" y="6"/>
                    </a:lnTo>
                    <a:lnTo>
                      <a:pt x="94" y="4"/>
                    </a:lnTo>
                    <a:lnTo>
                      <a:pt x="96" y="2"/>
                    </a:lnTo>
                    <a:lnTo>
                      <a:pt x="94" y="2"/>
                    </a:lnTo>
                    <a:lnTo>
                      <a:pt x="96" y="2"/>
                    </a:lnTo>
                    <a:lnTo>
                      <a:pt x="96" y="0"/>
                    </a:lnTo>
                    <a:lnTo>
                      <a:pt x="94" y="0"/>
                    </a:lnTo>
                    <a:lnTo>
                      <a:pt x="96" y="0"/>
                    </a:lnTo>
                    <a:lnTo>
                      <a:pt x="98" y="0"/>
                    </a:lnTo>
                    <a:lnTo>
                      <a:pt x="100" y="2"/>
                    </a:lnTo>
                    <a:lnTo>
                      <a:pt x="102" y="2"/>
                    </a:lnTo>
                    <a:lnTo>
                      <a:pt x="104" y="4"/>
                    </a:lnTo>
                    <a:lnTo>
                      <a:pt x="106" y="4"/>
                    </a:lnTo>
                    <a:lnTo>
                      <a:pt x="108" y="4"/>
                    </a:lnTo>
                    <a:lnTo>
                      <a:pt x="112" y="4"/>
                    </a:lnTo>
                    <a:lnTo>
                      <a:pt x="113" y="6"/>
                    </a:lnTo>
                    <a:lnTo>
                      <a:pt x="115" y="8"/>
                    </a:lnTo>
                    <a:lnTo>
                      <a:pt x="117" y="10"/>
                    </a:lnTo>
                    <a:lnTo>
                      <a:pt x="119" y="10"/>
                    </a:lnTo>
                    <a:lnTo>
                      <a:pt x="119" y="12"/>
                    </a:lnTo>
                    <a:lnTo>
                      <a:pt x="121" y="12"/>
                    </a:lnTo>
                    <a:lnTo>
                      <a:pt x="121" y="10"/>
                    </a:lnTo>
                    <a:lnTo>
                      <a:pt x="125" y="8"/>
                    </a:lnTo>
                    <a:lnTo>
                      <a:pt x="127" y="8"/>
                    </a:lnTo>
                    <a:lnTo>
                      <a:pt x="129" y="10"/>
                    </a:lnTo>
                    <a:lnTo>
                      <a:pt x="131" y="10"/>
                    </a:lnTo>
                    <a:lnTo>
                      <a:pt x="135" y="12"/>
                    </a:lnTo>
                    <a:lnTo>
                      <a:pt x="138" y="12"/>
                    </a:lnTo>
                    <a:lnTo>
                      <a:pt x="140" y="10"/>
                    </a:lnTo>
                    <a:lnTo>
                      <a:pt x="142" y="10"/>
                    </a:lnTo>
                    <a:lnTo>
                      <a:pt x="142" y="12"/>
                    </a:lnTo>
                    <a:lnTo>
                      <a:pt x="144" y="14"/>
                    </a:lnTo>
                    <a:lnTo>
                      <a:pt x="144" y="16"/>
                    </a:lnTo>
                    <a:lnTo>
                      <a:pt x="144" y="14"/>
                    </a:lnTo>
                    <a:lnTo>
                      <a:pt x="144" y="16"/>
                    </a:lnTo>
                    <a:lnTo>
                      <a:pt x="144" y="14"/>
                    </a:lnTo>
                    <a:lnTo>
                      <a:pt x="146" y="14"/>
                    </a:lnTo>
                    <a:lnTo>
                      <a:pt x="146" y="16"/>
                    </a:lnTo>
                    <a:lnTo>
                      <a:pt x="146" y="14"/>
                    </a:lnTo>
                    <a:lnTo>
                      <a:pt x="148" y="14"/>
                    </a:lnTo>
                    <a:lnTo>
                      <a:pt x="148" y="12"/>
                    </a:lnTo>
                    <a:lnTo>
                      <a:pt x="148" y="14"/>
                    </a:lnTo>
                    <a:lnTo>
                      <a:pt x="150" y="14"/>
                    </a:lnTo>
                    <a:lnTo>
                      <a:pt x="150" y="12"/>
                    </a:lnTo>
                    <a:lnTo>
                      <a:pt x="152" y="12"/>
                    </a:lnTo>
                    <a:lnTo>
                      <a:pt x="150" y="12"/>
                    </a:lnTo>
                    <a:lnTo>
                      <a:pt x="152" y="12"/>
                    </a:lnTo>
                    <a:lnTo>
                      <a:pt x="152" y="14"/>
                    </a:lnTo>
                    <a:lnTo>
                      <a:pt x="154" y="14"/>
                    </a:lnTo>
                    <a:lnTo>
                      <a:pt x="154" y="12"/>
                    </a:lnTo>
                    <a:lnTo>
                      <a:pt x="154" y="14"/>
                    </a:lnTo>
                    <a:lnTo>
                      <a:pt x="154" y="12"/>
                    </a:lnTo>
                    <a:lnTo>
                      <a:pt x="156" y="12"/>
                    </a:lnTo>
                    <a:lnTo>
                      <a:pt x="156" y="14"/>
                    </a:lnTo>
                    <a:lnTo>
                      <a:pt x="156" y="12"/>
                    </a:lnTo>
                    <a:lnTo>
                      <a:pt x="158" y="12"/>
                    </a:lnTo>
                    <a:lnTo>
                      <a:pt x="156" y="12"/>
                    </a:lnTo>
                    <a:lnTo>
                      <a:pt x="158" y="12"/>
                    </a:lnTo>
                    <a:lnTo>
                      <a:pt x="156" y="12"/>
                    </a:lnTo>
                    <a:lnTo>
                      <a:pt x="158" y="12"/>
                    </a:lnTo>
                    <a:lnTo>
                      <a:pt x="158" y="14"/>
                    </a:lnTo>
                    <a:lnTo>
                      <a:pt x="160" y="14"/>
                    </a:lnTo>
                    <a:lnTo>
                      <a:pt x="160" y="16"/>
                    </a:lnTo>
                    <a:lnTo>
                      <a:pt x="158" y="16"/>
                    </a:lnTo>
                    <a:lnTo>
                      <a:pt x="160" y="16"/>
                    </a:lnTo>
                    <a:lnTo>
                      <a:pt x="160" y="18"/>
                    </a:lnTo>
                    <a:lnTo>
                      <a:pt x="158" y="18"/>
                    </a:lnTo>
                    <a:lnTo>
                      <a:pt x="160" y="18"/>
                    </a:lnTo>
                    <a:lnTo>
                      <a:pt x="160" y="20"/>
                    </a:lnTo>
                    <a:lnTo>
                      <a:pt x="158" y="20"/>
                    </a:lnTo>
                    <a:lnTo>
                      <a:pt x="158" y="22"/>
                    </a:lnTo>
                    <a:lnTo>
                      <a:pt x="160" y="22"/>
                    </a:lnTo>
                    <a:lnTo>
                      <a:pt x="160" y="23"/>
                    </a:lnTo>
                    <a:lnTo>
                      <a:pt x="160" y="25"/>
                    </a:lnTo>
                    <a:lnTo>
                      <a:pt x="161" y="25"/>
                    </a:lnTo>
                    <a:lnTo>
                      <a:pt x="163" y="25"/>
                    </a:lnTo>
                    <a:lnTo>
                      <a:pt x="163" y="23"/>
                    </a:lnTo>
                    <a:lnTo>
                      <a:pt x="165" y="23"/>
                    </a:lnTo>
                    <a:lnTo>
                      <a:pt x="165" y="25"/>
                    </a:lnTo>
                    <a:lnTo>
                      <a:pt x="165" y="23"/>
                    </a:lnTo>
                    <a:lnTo>
                      <a:pt x="167" y="23"/>
                    </a:lnTo>
                    <a:lnTo>
                      <a:pt x="169" y="23"/>
                    </a:lnTo>
                    <a:lnTo>
                      <a:pt x="175" y="25"/>
                    </a:lnTo>
                    <a:lnTo>
                      <a:pt x="177" y="25"/>
                    </a:lnTo>
                    <a:lnTo>
                      <a:pt x="179" y="25"/>
                    </a:lnTo>
                    <a:lnTo>
                      <a:pt x="185" y="27"/>
                    </a:lnTo>
                    <a:lnTo>
                      <a:pt x="186" y="25"/>
                    </a:lnTo>
                    <a:lnTo>
                      <a:pt x="192" y="23"/>
                    </a:lnTo>
                    <a:lnTo>
                      <a:pt x="198" y="23"/>
                    </a:lnTo>
                    <a:lnTo>
                      <a:pt x="200" y="20"/>
                    </a:lnTo>
                    <a:lnTo>
                      <a:pt x="210" y="25"/>
                    </a:lnTo>
                    <a:lnTo>
                      <a:pt x="210" y="27"/>
                    </a:lnTo>
                    <a:lnTo>
                      <a:pt x="210" y="29"/>
                    </a:lnTo>
                    <a:lnTo>
                      <a:pt x="210" y="31"/>
                    </a:lnTo>
                    <a:lnTo>
                      <a:pt x="211" y="31"/>
                    </a:lnTo>
                    <a:lnTo>
                      <a:pt x="211" y="33"/>
                    </a:lnTo>
                    <a:lnTo>
                      <a:pt x="221" y="37"/>
                    </a:lnTo>
                    <a:lnTo>
                      <a:pt x="225" y="35"/>
                    </a:lnTo>
                    <a:lnTo>
                      <a:pt x="233" y="37"/>
                    </a:lnTo>
                    <a:lnTo>
                      <a:pt x="235" y="39"/>
                    </a:lnTo>
                    <a:lnTo>
                      <a:pt x="238" y="43"/>
                    </a:lnTo>
                    <a:lnTo>
                      <a:pt x="240" y="45"/>
                    </a:lnTo>
                    <a:lnTo>
                      <a:pt x="244" y="43"/>
                    </a:lnTo>
                    <a:lnTo>
                      <a:pt x="248" y="41"/>
                    </a:lnTo>
                    <a:lnTo>
                      <a:pt x="248" y="37"/>
                    </a:lnTo>
                    <a:lnTo>
                      <a:pt x="248" y="35"/>
                    </a:lnTo>
                    <a:lnTo>
                      <a:pt x="248" y="33"/>
                    </a:lnTo>
                    <a:lnTo>
                      <a:pt x="254" y="29"/>
                    </a:lnTo>
                    <a:lnTo>
                      <a:pt x="258" y="27"/>
                    </a:lnTo>
                    <a:lnTo>
                      <a:pt x="261" y="25"/>
                    </a:lnTo>
                    <a:lnTo>
                      <a:pt x="273" y="18"/>
                    </a:lnTo>
                    <a:lnTo>
                      <a:pt x="275" y="16"/>
                    </a:lnTo>
                    <a:lnTo>
                      <a:pt x="279" y="16"/>
                    </a:lnTo>
                    <a:lnTo>
                      <a:pt x="284" y="16"/>
                    </a:lnTo>
                    <a:lnTo>
                      <a:pt x="290" y="25"/>
                    </a:lnTo>
                    <a:lnTo>
                      <a:pt x="294" y="27"/>
                    </a:lnTo>
                    <a:lnTo>
                      <a:pt x="296" y="29"/>
                    </a:lnTo>
                    <a:lnTo>
                      <a:pt x="298" y="31"/>
                    </a:lnTo>
                    <a:lnTo>
                      <a:pt x="302" y="31"/>
                    </a:lnTo>
                    <a:lnTo>
                      <a:pt x="304" y="31"/>
                    </a:lnTo>
                    <a:lnTo>
                      <a:pt x="306" y="31"/>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3" name="Freeform 133"/>
              <p:cNvSpPr>
                <a:spLocks/>
              </p:cNvSpPr>
              <p:nvPr/>
            </p:nvSpPr>
            <p:spPr bwMode="auto">
              <a:xfrm>
                <a:off x="670327" y="2552332"/>
                <a:ext cx="192710" cy="223681"/>
              </a:xfrm>
              <a:custGeom>
                <a:avLst/>
                <a:gdLst>
                  <a:gd name="T0" fmla="*/ 100 w 112"/>
                  <a:gd name="T1" fmla="*/ 65 h 130"/>
                  <a:gd name="T2" fmla="*/ 96 w 112"/>
                  <a:gd name="T3" fmla="*/ 71 h 130"/>
                  <a:gd name="T4" fmla="*/ 98 w 112"/>
                  <a:gd name="T5" fmla="*/ 76 h 130"/>
                  <a:gd name="T6" fmla="*/ 94 w 112"/>
                  <a:gd name="T7" fmla="*/ 84 h 130"/>
                  <a:gd name="T8" fmla="*/ 91 w 112"/>
                  <a:gd name="T9" fmla="*/ 86 h 130"/>
                  <a:gd name="T10" fmla="*/ 91 w 112"/>
                  <a:gd name="T11" fmla="*/ 94 h 130"/>
                  <a:gd name="T12" fmla="*/ 85 w 112"/>
                  <a:gd name="T13" fmla="*/ 101 h 130"/>
                  <a:gd name="T14" fmla="*/ 79 w 112"/>
                  <a:gd name="T15" fmla="*/ 103 h 130"/>
                  <a:gd name="T16" fmla="*/ 75 w 112"/>
                  <a:gd name="T17" fmla="*/ 107 h 130"/>
                  <a:gd name="T18" fmla="*/ 67 w 112"/>
                  <a:gd name="T19" fmla="*/ 113 h 130"/>
                  <a:gd name="T20" fmla="*/ 62 w 112"/>
                  <a:gd name="T21" fmla="*/ 113 h 130"/>
                  <a:gd name="T22" fmla="*/ 62 w 112"/>
                  <a:gd name="T23" fmla="*/ 119 h 130"/>
                  <a:gd name="T24" fmla="*/ 62 w 112"/>
                  <a:gd name="T25" fmla="*/ 124 h 130"/>
                  <a:gd name="T26" fmla="*/ 56 w 112"/>
                  <a:gd name="T27" fmla="*/ 130 h 130"/>
                  <a:gd name="T28" fmla="*/ 52 w 112"/>
                  <a:gd name="T29" fmla="*/ 126 h 130"/>
                  <a:gd name="T30" fmla="*/ 44 w 112"/>
                  <a:gd name="T31" fmla="*/ 126 h 130"/>
                  <a:gd name="T32" fmla="*/ 41 w 112"/>
                  <a:gd name="T33" fmla="*/ 119 h 130"/>
                  <a:gd name="T34" fmla="*/ 33 w 112"/>
                  <a:gd name="T35" fmla="*/ 117 h 130"/>
                  <a:gd name="T36" fmla="*/ 33 w 112"/>
                  <a:gd name="T37" fmla="*/ 107 h 130"/>
                  <a:gd name="T38" fmla="*/ 33 w 112"/>
                  <a:gd name="T39" fmla="*/ 99 h 130"/>
                  <a:gd name="T40" fmla="*/ 29 w 112"/>
                  <a:gd name="T41" fmla="*/ 90 h 130"/>
                  <a:gd name="T42" fmla="*/ 19 w 112"/>
                  <a:gd name="T43" fmla="*/ 86 h 130"/>
                  <a:gd name="T44" fmla="*/ 18 w 112"/>
                  <a:gd name="T45" fmla="*/ 84 h 130"/>
                  <a:gd name="T46" fmla="*/ 12 w 112"/>
                  <a:gd name="T47" fmla="*/ 78 h 130"/>
                  <a:gd name="T48" fmla="*/ 12 w 112"/>
                  <a:gd name="T49" fmla="*/ 69 h 130"/>
                  <a:gd name="T50" fmla="*/ 6 w 112"/>
                  <a:gd name="T51" fmla="*/ 65 h 130"/>
                  <a:gd name="T52" fmla="*/ 8 w 112"/>
                  <a:gd name="T53" fmla="*/ 57 h 130"/>
                  <a:gd name="T54" fmla="*/ 0 w 112"/>
                  <a:gd name="T55" fmla="*/ 49 h 130"/>
                  <a:gd name="T56" fmla="*/ 6 w 112"/>
                  <a:gd name="T57" fmla="*/ 44 h 130"/>
                  <a:gd name="T58" fmla="*/ 6 w 112"/>
                  <a:gd name="T59" fmla="*/ 38 h 130"/>
                  <a:gd name="T60" fmla="*/ 8 w 112"/>
                  <a:gd name="T61" fmla="*/ 30 h 130"/>
                  <a:gd name="T62" fmla="*/ 18 w 112"/>
                  <a:gd name="T63" fmla="*/ 28 h 130"/>
                  <a:gd name="T64" fmla="*/ 23 w 112"/>
                  <a:gd name="T65" fmla="*/ 24 h 130"/>
                  <a:gd name="T66" fmla="*/ 23 w 112"/>
                  <a:gd name="T67" fmla="*/ 19 h 130"/>
                  <a:gd name="T68" fmla="*/ 25 w 112"/>
                  <a:gd name="T69" fmla="*/ 15 h 130"/>
                  <a:gd name="T70" fmla="*/ 33 w 112"/>
                  <a:gd name="T71" fmla="*/ 17 h 130"/>
                  <a:gd name="T72" fmla="*/ 39 w 112"/>
                  <a:gd name="T73" fmla="*/ 19 h 130"/>
                  <a:gd name="T74" fmla="*/ 46 w 112"/>
                  <a:gd name="T75" fmla="*/ 21 h 130"/>
                  <a:gd name="T76" fmla="*/ 50 w 112"/>
                  <a:gd name="T77" fmla="*/ 24 h 130"/>
                  <a:gd name="T78" fmla="*/ 56 w 112"/>
                  <a:gd name="T79" fmla="*/ 23 h 130"/>
                  <a:gd name="T80" fmla="*/ 62 w 112"/>
                  <a:gd name="T81" fmla="*/ 17 h 130"/>
                  <a:gd name="T82" fmla="*/ 62 w 112"/>
                  <a:gd name="T83" fmla="*/ 13 h 130"/>
                  <a:gd name="T84" fmla="*/ 67 w 112"/>
                  <a:gd name="T85" fmla="*/ 9 h 130"/>
                  <a:gd name="T86" fmla="*/ 73 w 112"/>
                  <a:gd name="T87" fmla="*/ 11 h 130"/>
                  <a:gd name="T88" fmla="*/ 81 w 112"/>
                  <a:gd name="T89" fmla="*/ 3 h 130"/>
                  <a:gd name="T90" fmla="*/ 89 w 112"/>
                  <a:gd name="T91" fmla="*/ 3 h 130"/>
                  <a:gd name="T92" fmla="*/ 91 w 112"/>
                  <a:gd name="T93" fmla="*/ 9 h 130"/>
                  <a:gd name="T94" fmla="*/ 96 w 112"/>
                  <a:gd name="T95" fmla="*/ 15 h 130"/>
                  <a:gd name="T96" fmla="*/ 102 w 112"/>
                  <a:gd name="T97" fmla="*/ 11 h 130"/>
                  <a:gd name="T98" fmla="*/ 102 w 112"/>
                  <a:gd name="T99" fmla="*/ 21 h 130"/>
                  <a:gd name="T100" fmla="*/ 106 w 112"/>
                  <a:gd name="T101" fmla="*/ 26 h 130"/>
                  <a:gd name="T102" fmla="*/ 110 w 112"/>
                  <a:gd name="T103" fmla="*/ 32 h 130"/>
                  <a:gd name="T104" fmla="*/ 110 w 112"/>
                  <a:gd name="T105" fmla="*/ 38 h 130"/>
                  <a:gd name="T106" fmla="*/ 104 w 112"/>
                  <a:gd name="T107" fmla="*/ 38 h 130"/>
                  <a:gd name="T108" fmla="*/ 102 w 112"/>
                  <a:gd name="T109" fmla="*/ 46 h 130"/>
                  <a:gd name="T110" fmla="*/ 100 w 112"/>
                  <a:gd name="T111" fmla="*/ 51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2" h="130">
                    <a:moveTo>
                      <a:pt x="102" y="59"/>
                    </a:moveTo>
                    <a:lnTo>
                      <a:pt x="102" y="61"/>
                    </a:lnTo>
                    <a:lnTo>
                      <a:pt x="104" y="61"/>
                    </a:lnTo>
                    <a:lnTo>
                      <a:pt x="102" y="61"/>
                    </a:lnTo>
                    <a:lnTo>
                      <a:pt x="102" y="63"/>
                    </a:lnTo>
                    <a:lnTo>
                      <a:pt x="102" y="65"/>
                    </a:lnTo>
                    <a:lnTo>
                      <a:pt x="100" y="65"/>
                    </a:lnTo>
                    <a:lnTo>
                      <a:pt x="102" y="65"/>
                    </a:lnTo>
                    <a:lnTo>
                      <a:pt x="102" y="67"/>
                    </a:lnTo>
                    <a:lnTo>
                      <a:pt x="102" y="69"/>
                    </a:lnTo>
                    <a:lnTo>
                      <a:pt x="100" y="69"/>
                    </a:lnTo>
                    <a:lnTo>
                      <a:pt x="98" y="69"/>
                    </a:lnTo>
                    <a:lnTo>
                      <a:pt x="96" y="69"/>
                    </a:lnTo>
                    <a:lnTo>
                      <a:pt x="96" y="71"/>
                    </a:lnTo>
                    <a:lnTo>
                      <a:pt x="96" y="73"/>
                    </a:lnTo>
                    <a:lnTo>
                      <a:pt x="96" y="74"/>
                    </a:lnTo>
                    <a:lnTo>
                      <a:pt x="96" y="76"/>
                    </a:lnTo>
                    <a:lnTo>
                      <a:pt x="96" y="74"/>
                    </a:lnTo>
                    <a:lnTo>
                      <a:pt x="98" y="74"/>
                    </a:lnTo>
                    <a:lnTo>
                      <a:pt x="96" y="74"/>
                    </a:lnTo>
                    <a:lnTo>
                      <a:pt x="98" y="76"/>
                    </a:lnTo>
                    <a:lnTo>
                      <a:pt x="96" y="76"/>
                    </a:lnTo>
                    <a:lnTo>
                      <a:pt x="96" y="78"/>
                    </a:lnTo>
                    <a:lnTo>
                      <a:pt x="94" y="78"/>
                    </a:lnTo>
                    <a:lnTo>
                      <a:pt x="94" y="80"/>
                    </a:lnTo>
                    <a:lnTo>
                      <a:pt x="96" y="80"/>
                    </a:lnTo>
                    <a:lnTo>
                      <a:pt x="96" y="82"/>
                    </a:lnTo>
                    <a:lnTo>
                      <a:pt x="94" y="84"/>
                    </a:lnTo>
                    <a:lnTo>
                      <a:pt x="92" y="82"/>
                    </a:lnTo>
                    <a:lnTo>
                      <a:pt x="92" y="84"/>
                    </a:lnTo>
                    <a:lnTo>
                      <a:pt x="92" y="86"/>
                    </a:lnTo>
                    <a:lnTo>
                      <a:pt x="92" y="88"/>
                    </a:lnTo>
                    <a:lnTo>
                      <a:pt x="92" y="86"/>
                    </a:lnTo>
                    <a:lnTo>
                      <a:pt x="91" y="88"/>
                    </a:lnTo>
                    <a:lnTo>
                      <a:pt x="91" y="86"/>
                    </a:lnTo>
                    <a:lnTo>
                      <a:pt x="91" y="88"/>
                    </a:lnTo>
                    <a:lnTo>
                      <a:pt x="91" y="90"/>
                    </a:lnTo>
                    <a:lnTo>
                      <a:pt x="89" y="90"/>
                    </a:lnTo>
                    <a:lnTo>
                      <a:pt x="89" y="92"/>
                    </a:lnTo>
                    <a:lnTo>
                      <a:pt x="91" y="92"/>
                    </a:lnTo>
                    <a:lnTo>
                      <a:pt x="92" y="92"/>
                    </a:lnTo>
                    <a:lnTo>
                      <a:pt x="91" y="94"/>
                    </a:lnTo>
                    <a:lnTo>
                      <a:pt x="91" y="96"/>
                    </a:lnTo>
                    <a:lnTo>
                      <a:pt x="89" y="96"/>
                    </a:lnTo>
                    <a:lnTo>
                      <a:pt x="89" y="98"/>
                    </a:lnTo>
                    <a:lnTo>
                      <a:pt x="87" y="98"/>
                    </a:lnTo>
                    <a:lnTo>
                      <a:pt x="87" y="99"/>
                    </a:lnTo>
                    <a:lnTo>
                      <a:pt x="85" y="99"/>
                    </a:lnTo>
                    <a:lnTo>
                      <a:pt x="85" y="101"/>
                    </a:lnTo>
                    <a:lnTo>
                      <a:pt x="87" y="101"/>
                    </a:lnTo>
                    <a:lnTo>
                      <a:pt x="87" y="103"/>
                    </a:lnTo>
                    <a:lnTo>
                      <a:pt x="85" y="103"/>
                    </a:lnTo>
                    <a:lnTo>
                      <a:pt x="83" y="105"/>
                    </a:lnTo>
                    <a:lnTo>
                      <a:pt x="83" y="103"/>
                    </a:lnTo>
                    <a:lnTo>
                      <a:pt x="81" y="103"/>
                    </a:lnTo>
                    <a:lnTo>
                      <a:pt x="79" y="103"/>
                    </a:lnTo>
                    <a:lnTo>
                      <a:pt x="77" y="103"/>
                    </a:lnTo>
                    <a:lnTo>
                      <a:pt x="75" y="103"/>
                    </a:lnTo>
                    <a:lnTo>
                      <a:pt x="75" y="105"/>
                    </a:lnTo>
                    <a:lnTo>
                      <a:pt x="77" y="105"/>
                    </a:lnTo>
                    <a:lnTo>
                      <a:pt x="75" y="105"/>
                    </a:lnTo>
                    <a:lnTo>
                      <a:pt x="77" y="107"/>
                    </a:lnTo>
                    <a:lnTo>
                      <a:pt x="75" y="107"/>
                    </a:lnTo>
                    <a:lnTo>
                      <a:pt x="73" y="107"/>
                    </a:lnTo>
                    <a:lnTo>
                      <a:pt x="73" y="109"/>
                    </a:lnTo>
                    <a:lnTo>
                      <a:pt x="73" y="111"/>
                    </a:lnTo>
                    <a:lnTo>
                      <a:pt x="73" y="113"/>
                    </a:lnTo>
                    <a:lnTo>
                      <a:pt x="71" y="113"/>
                    </a:lnTo>
                    <a:lnTo>
                      <a:pt x="69" y="113"/>
                    </a:lnTo>
                    <a:lnTo>
                      <a:pt x="67" y="113"/>
                    </a:lnTo>
                    <a:lnTo>
                      <a:pt x="67" y="111"/>
                    </a:lnTo>
                    <a:lnTo>
                      <a:pt x="66" y="111"/>
                    </a:lnTo>
                    <a:lnTo>
                      <a:pt x="64" y="111"/>
                    </a:lnTo>
                    <a:lnTo>
                      <a:pt x="64" y="113"/>
                    </a:lnTo>
                    <a:lnTo>
                      <a:pt x="62" y="113"/>
                    </a:lnTo>
                    <a:lnTo>
                      <a:pt x="64" y="113"/>
                    </a:lnTo>
                    <a:lnTo>
                      <a:pt x="62" y="113"/>
                    </a:lnTo>
                    <a:lnTo>
                      <a:pt x="64" y="115"/>
                    </a:lnTo>
                    <a:lnTo>
                      <a:pt x="62" y="115"/>
                    </a:lnTo>
                    <a:lnTo>
                      <a:pt x="64" y="115"/>
                    </a:lnTo>
                    <a:lnTo>
                      <a:pt x="64" y="117"/>
                    </a:lnTo>
                    <a:lnTo>
                      <a:pt x="62" y="119"/>
                    </a:lnTo>
                    <a:lnTo>
                      <a:pt x="64" y="119"/>
                    </a:lnTo>
                    <a:lnTo>
                      <a:pt x="62" y="119"/>
                    </a:lnTo>
                    <a:lnTo>
                      <a:pt x="62" y="121"/>
                    </a:lnTo>
                    <a:lnTo>
                      <a:pt x="62" y="119"/>
                    </a:lnTo>
                    <a:lnTo>
                      <a:pt x="62" y="121"/>
                    </a:lnTo>
                    <a:lnTo>
                      <a:pt x="60" y="121"/>
                    </a:lnTo>
                    <a:lnTo>
                      <a:pt x="60" y="123"/>
                    </a:lnTo>
                    <a:lnTo>
                      <a:pt x="60" y="124"/>
                    </a:lnTo>
                    <a:lnTo>
                      <a:pt x="62" y="124"/>
                    </a:lnTo>
                    <a:lnTo>
                      <a:pt x="60" y="124"/>
                    </a:lnTo>
                    <a:lnTo>
                      <a:pt x="60" y="126"/>
                    </a:lnTo>
                    <a:lnTo>
                      <a:pt x="58" y="126"/>
                    </a:lnTo>
                    <a:lnTo>
                      <a:pt x="58" y="128"/>
                    </a:lnTo>
                    <a:lnTo>
                      <a:pt x="56" y="126"/>
                    </a:lnTo>
                    <a:lnTo>
                      <a:pt x="56" y="128"/>
                    </a:lnTo>
                    <a:lnTo>
                      <a:pt x="56" y="130"/>
                    </a:lnTo>
                    <a:lnTo>
                      <a:pt x="56" y="128"/>
                    </a:lnTo>
                    <a:lnTo>
                      <a:pt x="54" y="128"/>
                    </a:lnTo>
                    <a:lnTo>
                      <a:pt x="52" y="130"/>
                    </a:lnTo>
                    <a:lnTo>
                      <a:pt x="50" y="130"/>
                    </a:lnTo>
                    <a:lnTo>
                      <a:pt x="52" y="130"/>
                    </a:lnTo>
                    <a:lnTo>
                      <a:pt x="52" y="128"/>
                    </a:lnTo>
                    <a:lnTo>
                      <a:pt x="52" y="126"/>
                    </a:lnTo>
                    <a:lnTo>
                      <a:pt x="50" y="126"/>
                    </a:lnTo>
                    <a:lnTo>
                      <a:pt x="50" y="128"/>
                    </a:lnTo>
                    <a:lnTo>
                      <a:pt x="48" y="128"/>
                    </a:lnTo>
                    <a:lnTo>
                      <a:pt x="46" y="126"/>
                    </a:lnTo>
                    <a:lnTo>
                      <a:pt x="46" y="128"/>
                    </a:lnTo>
                    <a:lnTo>
                      <a:pt x="44" y="128"/>
                    </a:lnTo>
                    <a:lnTo>
                      <a:pt x="44" y="126"/>
                    </a:lnTo>
                    <a:lnTo>
                      <a:pt x="44" y="124"/>
                    </a:lnTo>
                    <a:lnTo>
                      <a:pt x="43" y="124"/>
                    </a:lnTo>
                    <a:lnTo>
                      <a:pt x="43" y="123"/>
                    </a:lnTo>
                    <a:lnTo>
                      <a:pt x="43" y="121"/>
                    </a:lnTo>
                    <a:lnTo>
                      <a:pt x="41" y="121"/>
                    </a:lnTo>
                    <a:lnTo>
                      <a:pt x="43" y="119"/>
                    </a:lnTo>
                    <a:lnTo>
                      <a:pt x="41" y="119"/>
                    </a:lnTo>
                    <a:lnTo>
                      <a:pt x="39" y="119"/>
                    </a:lnTo>
                    <a:lnTo>
                      <a:pt x="39" y="117"/>
                    </a:lnTo>
                    <a:lnTo>
                      <a:pt x="37" y="117"/>
                    </a:lnTo>
                    <a:lnTo>
                      <a:pt x="37" y="115"/>
                    </a:lnTo>
                    <a:lnTo>
                      <a:pt x="35" y="115"/>
                    </a:lnTo>
                    <a:lnTo>
                      <a:pt x="35" y="117"/>
                    </a:lnTo>
                    <a:lnTo>
                      <a:pt x="33" y="117"/>
                    </a:lnTo>
                    <a:lnTo>
                      <a:pt x="33" y="115"/>
                    </a:lnTo>
                    <a:lnTo>
                      <a:pt x="33" y="113"/>
                    </a:lnTo>
                    <a:lnTo>
                      <a:pt x="33" y="111"/>
                    </a:lnTo>
                    <a:lnTo>
                      <a:pt x="35" y="111"/>
                    </a:lnTo>
                    <a:lnTo>
                      <a:pt x="33" y="111"/>
                    </a:lnTo>
                    <a:lnTo>
                      <a:pt x="33" y="109"/>
                    </a:lnTo>
                    <a:lnTo>
                      <a:pt x="33" y="107"/>
                    </a:lnTo>
                    <a:lnTo>
                      <a:pt x="31" y="107"/>
                    </a:lnTo>
                    <a:lnTo>
                      <a:pt x="29" y="107"/>
                    </a:lnTo>
                    <a:lnTo>
                      <a:pt x="29" y="105"/>
                    </a:lnTo>
                    <a:lnTo>
                      <a:pt x="29" y="103"/>
                    </a:lnTo>
                    <a:lnTo>
                      <a:pt x="31" y="101"/>
                    </a:lnTo>
                    <a:lnTo>
                      <a:pt x="31" y="99"/>
                    </a:lnTo>
                    <a:lnTo>
                      <a:pt x="33" y="99"/>
                    </a:lnTo>
                    <a:lnTo>
                      <a:pt x="33" y="98"/>
                    </a:lnTo>
                    <a:lnTo>
                      <a:pt x="35" y="96"/>
                    </a:lnTo>
                    <a:lnTo>
                      <a:pt x="33" y="96"/>
                    </a:lnTo>
                    <a:lnTo>
                      <a:pt x="31" y="96"/>
                    </a:lnTo>
                    <a:lnTo>
                      <a:pt x="31" y="94"/>
                    </a:lnTo>
                    <a:lnTo>
                      <a:pt x="31" y="92"/>
                    </a:lnTo>
                    <a:lnTo>
                      <a:pt x="29" y="90"/>
                    </a:lnTo>
                    <a:lnTo>
                      <a:pt x="29" y="92"/>
                    </a:lnTo>
                    <a:lnTo>
                      <a:pt x="29" y="90"/>
                    </a:lnTo>
                    <a:lnTo>
                      <a:pt x="25" y="90"/>
                    </a:lnTo>
                    <a:lnTo>
                      <a:pt x="23" y="90"/>
                    </a:lnTo>
                    <a:lnTo>
                      <a:pt x="21" y="88"/>
                    </a:lnTo>
                    <a:lnTo>
                      <a:pt x="21" y="86"/>
                    </a:lnTo>
                    <a:lnTo>
                      <a:pt x="19" y="86"/>
                    </a:lnTo>
                    <a:lnTo>
                      <a:pt x="18" y="86"/>
                    </a:lnTo>
                    <a:lnTo>
                      <a:pt x="18" y="84"/>
                    </a:lnTo>
                    <a:lnTo>
                      <a:pt x="19" y="84"/>
                    </a:lnTo>
                    <a:lnTo>
                      <a:pt x="19" y="82"/>
                    </a:lnTo>
                    <a:lnTo>
                      <a:pt x="18" y="84"/>
                    </a:lnTo>
                    <a:lnTo>
                      <a:pt x="18" y="82"/>
                    </a:lnTo>
                    <a:lnTo>
                      <a:pt x="18" y="84"/>
                    </a:lnTo>
                    <a:lnTo>
                      <a:pt x="18" y="82"/>
                    </a:lnTo>
                    <a:lnTo>
                      <a:pt x="16" y="82"/>
                    </a:lnTo>
                    <a:lnTo>
                      <a:pt x="14" y="82"/>
                    </a:lnTo>
                    <a:lnTo>
                      <a:pt x="16" y="82"/>
                    </a:lnTo>
                    <a:lnTo>
                      <a:pt x="14" y="80"/>
                    </a:lnTo>
                    <a:lnTo>
                      <a:pt x="12" y="80"/>
                    </a:lnTo>
                    <a:lnTo>
                      <a:pt x="12" y="78"/>
                    </a:lnTo>
                    <a:lnTo>
                      <a:pt x="12" y="76"/>
                    </a:lnTo>
                    <a:lnTo>
                      <a:pt x="12" y="74"/>
                    </a:lnTo>
                    <a:lnTo>
                      <a:pt x="12" y="73"/>
                    </a:lnTo>
                    <a:lnTo>
                      <a:pt x="14" y="73"/>
                    </a:lnTo>
                    <a:lnTo>
                      <a:pt x="14" y="71"/>
                    </a:lnTo>
                    <a:lnTo>
                      <a:pt x="12" y="71"/>
                    </a:lnTo>
                    <a:lnTo>
                      <a:pt x="12" y="69"/>
                    </a:lnTo>
                    <a:lnTo>
                      <a:pt x="12" y="71"/>
                    </a:lnTo>
                    <a:lnTo>
                      <a:pt x="10" y="71"/>
                    </a:lnTo>
                    <a:lnTo>
                      <a:pt x="8" y="71"/>
                    </a:lnTo>
                    <a:lnTo>
                      <a:pt x="8" y="69"/>
                    </a:lnTo>
                    <a:lnTo>
                      <a:pt x="8" y="67"/>
                    </a:lnTo>
                    <a:lnTo>
                      <a:pt x="8" y="65"/>
                    </a:lnTo>
                    <a:lnTo>
                      <a:pt x="6" y="65"/>
                    </a:lnTo>
                    <a:lnTo>
                      <a:pt x="8" y="65"/>
                    </a:lnTo>
                    <a:lnTo>
                      <a:pt x="6" y="65"/>
                    </a:lnTo>
                    <a:lnTo>
                      <a:pt x="6" y="63"/>
                    </a:lnTo>
                    <a:lnTo>
                      <a:pt x="6" y="61"/>
                    </a:lnTo>
                    <a:lnTo>
                      <a:pt x="6" y="59"/>
                    </a:lnTo>
                    <a:lnTo>
                      <a:pt x="6" y="57"/>
                    </a:lnTo>
                    <a:lnTo>
                      <a:pt x="8" y="57"/>
                    </a:lnTo>
                    <a:lnTo>
                      <a:pt x="8" y="55"/>
                    </a:lnTo>
                    <a:lnTo>
                      <a:pt x="6" y="55"/>
                    </a:lnTo>
                    <a:lnTo>
                      <a:pt x="6" y="53"/>
                    </a:lnTo>
                    <a:lnTo>
                      <a:pt x="4" y="53"/>
                    </a:lnTo>
                    <a:lnTo>
                      <a:pt x="2" y="51"/>
                    </a:lnTo>
                    <a:lnTo>
                      <a:pt x="2" y="49"/>
                    </a:lnTo>
                    <a:lnTo>
                      <a:pt x="0" y="49"/>
                    </a:lnTo>
                    <a:lnTo>
                      <a:pt x="0" y="48"/>
                    </a:lnTo>
                    <a:lnTo>
                      <a:pt x="2" y="48"/>
                    </a:lnTo>
                    <a:lnTo>
                      <a:pt x="4" y="48"/>
                    </a:lnTo>
                    <a:lnTo>
                      <a:pt x="2" y="46"/>
                    </a:lnTo>
                    <a:lnTo>
                      <a:pt x="2" y="44"/>
                    </a:lnTo>
                    <a:lnTo>
                      <a:pt x="4" y="44"/>
                    </a:lnTo>
                    <a:lnTo>
                      <a:pt x="6" y="44"/>
                    </a:lnTo>
                    <a:lnTo>
                      <a:pt x="8" y="42"/>
                    </a:lnTo>
                    <a:lnTo>
                      <a:pt x="6" y="42"/>
                    </a:lnTo>
                    <a:lnTo>
                      <a:pt x="6" y="40"/>
                    </a:lnTo>
                    <a:lnTo>
                      <a:pt x="8" y="40"/>
                    </a:lnTo>
                    <a:lnTo>
                      <a:pt x="6" y="40"/>
                    </a:lnTo>
                    <a:lnTo>
                      <a:pt x="4" y="40"/>
                    </a:lnTo>
                    <a:lnTo>
                      <a:pt x="6" y="38"/>
                    </a:lnTo>
                    <a:lnTo>
                      <a:pt x="6" y="36"/>
                    </a:lnTo>
                    <a:lnTo>
                      <a:pt x="6" y="34"/>
                    </a:lnTo>
                    <a:lnTo>
                      <a:pt x="8" y="36"/>
                    </a:lnTo>
                    <a:lnTo>
                      <a:pt x="8" y="34"/>
                    </a:lnTo>
                    <a:lnTo>
                      <a:pt x="10" y="34"/>
                    </a:lnTo>
                    <a:lnTo>
                      <a:pt x="8" y="32"/>
                    </a:lnTo>
                    <a:lnTo>
                      <a:pt x="8" y="30"/>
                    </a:lnTo>
                    <a:lnTo>
                      <a:pt x="10" y="30"/>
                    </a:lnTo>
                    <a:lnTo>
                      <a:pt x="10" y="32"/>
                    </a:lnTo>
                    <a:lnTo>
                      <a:pt x="12" y="32"/>
                    </a:lnTo>
                    <a:lnTo>
                      <a:pt x="12" y="30"/>
                    </a:lnTo>
                    <a:lnTo>
                      <a:pt x="14" y="28"/>
                    </a:lnTo>
                    <a:lnTo>
                      <a:pt x="16" y="28"/>
                    </a:lnTo>
                    <a:lnTo>
                      <a:pt x="18" y="28"/>
                    </a:lnTo>
                    <a:lnTo>
                      <a:pt x="18" y="30"/>
                    </a:lnTo>
                    <a:lnTo>
                      <a:pt x="19" y="30"/>
                    </a:lnTo>
                    <a:lnTo>
                      <a:pt x="19" y="28"/>
                    </a:lnTo>
                    <a:lnTo>
                      <a:pt x="19" y="26"/>
                    </a:lnTo>
                    <a:lnTo>
                      <a:pt x="21" y="26"/>
                    </a:lnTo>
                    <a:lnTo>
                      <a:pt x="21" y="24"/>
                    </a:lnTo>
                    <a:lnTo>
                      <a:pt x="23" y="24"/>
                    </a:lnTo>
                    <a:lnTo>
                      <a:pt x="25" y="24"/>
                    </a:lnTo>
                    <a:lnTo>
                      <a:pt x="27" y="23"/>
                    </a:lnTo>
                    <a:lnTo>
                      <a:pt x="25" y="21"/>
                    </a:lnTo>
                    <a:lnTo>
                      <a:pt x="23" y="21"/>
                    </a:lnTo>
                    <a:lnTo>
                      <a:pt x="23" y="19"/>
                    </a:lnTo>
                    <a:lnTo>
                      <a:pt x="25" y="19"/>
                    </a:lnTo>
                    <a:lnTo>
                      <a:pt x="23" y="19"/>
                    </a:lnTo>
                    <a:lnTo>
                      <a:pt x="23" y="21"/>
                    </a:lnTo>
                    <a:lnTo>
                      <a:pt x="25" y="21"/>
                    </a:lnTo>
                    <a:lnTo>
                      <a:pt x="25" y="19"/>
                    </a:lnTo>
                    <a:lnTo>
                      <a:pt x="23" y="19"/>
                    </a:lnTo>
                    <a:lnTo>
                      <a:pt x="23" y="17"/>
                    </a:lnTo>
                    <a:lnTo>
                      <a:pt x="25" y="17"/>
                    </a:lnTo>
                    <a:lnTo>
                      <a:pt x="25" y="15"/>
                    </a:lnTo>
                    <a:lnTo>
                      <a:pt x="27" y="15"/>
                    </a:lnTo>
                    <a:lnTo>
                      <a:pt x="27" y="17"/>
                    </a:lnTo>
                    <a:lnTo>
                      <a:pt x="29" y="17"/>
                    </a:lnTo>
                    <a:lnTo>
                      <a:pt x="29" y="19"/>
                    </a:lnTo>
                    <a:lnTo>
                      <a:pt x="31" y="19"/>
                    </a:lnTo>
                    <a:lnTo>
                      <a:pt x="31" y="17"/>
                    </a:lnTo>
                    <a:lnTo>
                      <a:pt x="33" y="17"/>
                    </a:lnTo>
                    <a:lnTo>
                      <a:pt x="35" y="17"/>
                    </a:lnTo>
                    <a:lnTo>
                      <a:pt x="35" y="19"/>
                    </a:lnTo>
                    <a:lnTo>
                      <a:pt x="35" y="21"/>
                    </a:lnTo>
                    <a:lnTo>
                      <a:pt x="35" y="19"/>
                    </a:lnTo>
                    <a:lnTo>
                      <a:pt x="37" y="19"/>
                    </a:lnTo>
                    <a:lnTo>
                      <a:pt x="37" y="21"/>
                    </a:lnTo>
                    <a:lnTo>
                      <a:pt x="39" y="19"/>
                    </a:lnTo>
                    <a:lnTo>
                      <a:pt x="41" y="19"/>
                    </a:lnTo>
                    <a:lnTo>
                      <a:pt x="43" y="19"/>
                    </a:lnTo>
                    <a:lnTo>
                      <a:pt x="43" y="17"/>
                    </a:lnTo>
                    <a:lnTo>
                      <a:pt x="43" y="19"/>
                    </a:lnTo>
                    <a:lnTo>
                      <a:pt x="44" y="19"/>
                    </a:lnTo>
                    <a:lnTo>
                      <a:pt x="46" y="19"/>
                    </a:lnTo>
                    <a:lnTo>
                      <a:pt x="46" y="21"/>
                    </a:lnTo>
                    <a:lnTo>
                      <a:pt x="48" y="19"/>
                    </a:lnTo>
                    <a:lnTo>
                      <a:pt x="48" y="21"/>
                    </a:lnTo>
                    <a:lnTo>
                      <a:pt x="48" y="23"/>
                    </a:lnTo>
                    <a:lnTo>
                      <a:pt x="50" y="23"/>
                    </a:lnTo>
                    <a:lnTo>
                      <a:pt x="48" y="23"/>
                    </a:lnTo>
                    <a:lnTo>
                      <a:pt x="48" y="24"/>
                    </a:lnTo>
                    <a:lnTo>
                      <a:pt x="50" y="24"/>
                    </a:lnTo>
                    <a:lnTo>
                      <a:pt x="50" y="23"/>
                    </a:lnTo>
                    <a:lnTo>
                      <a:pt x="50" y="24"/>
                    </a:lnTo>
                    <a:lnTo>
                      <a:pt x="52" y="24"/>
                    </a:lnTo>
                    <a:lnTo>
                      <a:pt x="54" y="24"/>
                    </a:lnTo>
                    <a:lnTo>
                      <a:pt x="56" y="26"/>
                    </a:lnTo>
                    <a:lnTo>
                      <a:pt x="56" y="24"/>
                    </a:lnTo>
                    <a:lnTo>
                      <a:pt x="56" y="23"/>
                    </a:lnTo>
                    <a:lnTo>
                      <a:pt x="58" y="23"/>
                    </a:lnTo>
                    <a:lnTo>
                      <a:pt x="58" y="21"/>
                    </a:lnTo>
                    <a:lnTo>
                      <a:pt x="60" y="21"/>
                    </a:lnTo>
                    <a:lnTo>
                      <a:pt x="60" y="19"/>
                    </a:lnTo>
                    <a:lnTo>
                      <a:pt x="62" y="19"/>
                    </a:lnTo>
                    <a:lnTo>
                      <a:pt x="60" y="17"/>
                    </a:lnTo>
                    <a:lnTo>
                      <a:pt x="62" y="17"/>
                    </a:lnTo>
                    <a:lnTo>
                      <a:pt x="60" y="17"/>
                    </a:lnTo>
                    <a:lnTo>
                      <a:pt x="58" y="17"/>
                    </a:lnTo>
                    <a:lnTo>
                      <a:pt x="58" y="15"/>
                    </a:lnTo>
                    <a:lnTo>
                      <a:pt x="60" y="15"/>
                    </a:lnTo>
                    <a:lnTo>
                      <a:pt x="60" y="13"/>
                    </a:lnTo>
                    <a:lnTo>
                      <a:pt x="62" y="11"/>
                    </a:lnTo>
                    <a:lnTo>
                      <a:pt x="62" y="13"/>
                    </a:lnTo>
                    <a:lnTo>
                      <a:pt x="64" y="11"/>
                    </a:lnTo>
                    <a:lnTo>
                      <a:pt x="64" y="9"/>
                    </a:lnTo>
                    <a:lnTo>
                      <a:pt x="66" y="9"/>
                    </a:lnTo>
                    <a:lnTo>
                      <a:pt x="66" y="7"/>
                    </a:lnTo>
                    <a:lnTo>
                      <a:pt x="66" y="9"/>
                    </a:lnTo>
                    <a:lnTo>
                      <a:pt x="67" y="7"/>
                    </a:lnTo>
                    <a:lnTo>
                      <a:pt x="67" y="9"/>
                    </a:lnTo>
                    <a:lnTo>
                      <a:pt x="69" y="9"/>
                    </a:lnTo>
                    <a:lnTo>
                      <a:pt x="69" y="11"/>
                    </a:lnTo>
                    <a:lnTo>
                      <a:pt x="67" y="13"/>
                    </a:lnTo>
                    <a:lnTo>
                      <a:pt x="69" y="13"/>
                    </a:lnTo>
                    <a:lnTo>
                      <a:pt x="69" y="15"/>
                    </a:lnTo>
                    <a:lnTo>
                      <a:pt x="71" y="13"/>
                    </a:lnTo>
                    <a:lnTo>
                      <a:pt x="73" y="11"/>
                    </a:lnTo>
                    <a:lnTo>
                      <a:pt x="75" y="11"/>
                    </a:lnTo>
                    <a:lnTo>
                      <a:pt x="77" y="9"/>
                    </a:lnTo>
                    <a:lnTo>
                      <a:pt x="77" y="7"/>
                    </a:lnTo>
                    <a:lnTo>
                      <a:pt x="79" y="7"/>
                    </a:lnTo>
                    <a:lnTo>
                      <a:pt x="79" y="5"/>
                    </a:lnTo>
                    <a:lnTo>
                      <a:pt x="81" y="5"/>
                    </a:lnTo>
                    <a:lnTo>
                      <a:pt x="81" y="3"/>
                    </a:lnTo>
                    <a:lnTo>
                      <a:pt x="83" y="1"/>
                    </a:lnTo>
                    <a:lnTo>
                      <a:pt x="85" y="1"/>
                    </a:lnTo>
                    <a:lnTo>
                      <a:pt x="85" y="0"/>
                    </a:lnTo>
                    <a:lnTo>
                      <a:pt x="85" y="1"/>
                    </a:lnTo>
                    <a:lnTo>
                      <a:pt x="87" y="1"/>
                    </a:lnTo>
                    <a:lnTo>
                      <a:pt x="89" y="1"/>
                    </a:lnTo>
                    <a:lnTo>
                      <a:pt x="89" y="3"/>
                    </a:lnTo>
                    <a:lnTo>
                      <a:pt x="91" y="3"/>
                    </a:lnTo>
                    <a:lnTo>
                      <a:pt x="89" y="3"/>
                    </a:lnTo>
                    <a:lnTo>
                      <a:pt x="91" y="5"/>
                    </a:lnTo>
                    <a:lnTo>
                      <a:pt x="91" y="7"/>
                    </a:lnTo>
                    <a:lnTo>
                      <a:pt x="89" y="7"/>
                    </a:lnTo>
                    <a:lnTo>
                      <a:pt x="89" y="9"/>
                    </a:lnTo>
                    <a:lnTo>
                      <a:pt x="91" y="9"/>
                    </a:lnTo>
                    <a:lnTo>
                      <a:pt x="91" y="11"/>
                    </a:lnTo>
                    <a:lnTo>
                      <a:pt x="89" y="11"/>
                    </a:lnTo>
                    <a:lnTo>
                      <a:pt x="91" y="11"/>
                    </a:lnTo>
                    <a:lnTo>
                      <a:pt x="91" y="13"/>
                    </a:lnTo>
                    <a:lnTo>
                      <a:pt x="92" y="15"/>
                    </a:lnTo>
                    <a:lnTo>
                      <a:pt x="94" y="15"/>
                    </a:lnTo>
                    <a:lnTo>
                      <a:pt x="96" y="15"/>
                    </a:lnTo>
                    <a:lnTo>
                      <a:pt x="96" y="13"/>
                    </a:lnTo>
                    <a:lnTo>
                      <a:pt x="98" y="13"/>
                    </a:lnTo>
                    <a:lnTo>
                      <a:pt x="96" y="11"/>
                    </a:lnTo>
                    <a:lnTo>
                      <a:pt x="98" y="11"/>
                    </a:lnTo>
                    <a:lnTo>
                      <a:pt x="98" y="9"/>
                    </a:lnTo>
                    <a:lnTo>
                      <a:pt x="98" y="11"/>
                    </a:lnTo>
                    <a:lnTo>
                      <a:pt x="102" y="11"/>
                    </a:lnTo>
                    <a:lnTo>
                      <a:pt x="104" y="13"/>
                    </a:lnTo>
                    <a:lnTo>
                      <a:pt x="104" y="15"/>
                    </a:lnTo>
                    <a:lnTo>
                      <a:pt x="104" y="17"/>
                    </a:lnTo>
                    <a:lnTo>
                      <a:pt x="102" y="17"/>
                    </a:lnTo>
                    <a:lnTo>
                      <a:pt x="104" y="17"/>
                    </a:lnTo>
                    <a:lnTo>
                      <a:pt x="104" y="19"/>
                    </a:lnTo>
                    <a:lnTo>
                      <a:pt x="102" y="21"/>
                    </a:lnTo>
                    <a:lnTo>
                      <a:pt x="102" y="23"/>
                    </a:lnTo>
                    <a:lnTo>
                      <a:pt x="104" y="23"/>
                    </a:lnTo>
                    <a:lnTo>
                      <a:pt x="104" y="24"/>
                    </a:lnTo>
                    <a:lnTo>
                      <a:pt x="104" y="26"/>
                    </a:lnTo>
                    <a:lnTo>
                      <a:pt x="104" y="24"/>
                    </a:lnTo>
                    <a:lnTo>
                      <a:pt x="106" y="24"/>
                    </a:lnTo>
                    <a:lnTo>
                      <a:pt x="106" y="26"/>
                    </a:lnTo>
                    <a:lnTo>
                      <a:pt x="104" y="26"/>
                    </a:lnTo>
                    <a:lnTo>
                      <a:pt x="106" y="28"/>
                    </a:lnTo>
                    <a:lnTo>
                      <a:pt x="108" y="28"/>
                    </a:lnTo>
                    <a:lnTo>
                      <a:pt x="108" y="30"/>
                    </a:lnTo>
                    <a:lnTo>
                      <a:pt x="110" y="30"/>
                    </a:lnTo>
                    <a:lnTo>
                      <a:pt x="108" y="32"/>
                    </a:lnTo>
                    <a:lnTo>
                      <a:pt x="110" y="32"/>
                    </a:lnTo>
                    <a:lnTo>
                      <a:pt x="110" y="34"/>
                    </a:lnTo>
                    <a:lnTo>
                      <a:pt x="112" y="32"/>
                    </a:lnTo>
                    <a:lnTo>
                      <a:pt x="112" y="34"/>
                    </a:lnTo>
                    <a:lnTo>
                      <a:pt x="112" y="36"/>
                    </a:lnTo>
                    <a:lnTo>
                      <a:pt x="110" y="36"/>
                    </a:lnTo>
                    <a:lnTo>
                      <a:pt x="112" y="36"/>
                    </a:lnTo>
                    <a:lnTo>
                      <a:pt x="110" y="38"/>
                    </a:lnTo>
                    <a:lnTo>
                      <a:pt x="108" y="38"/>
                    </a:lnTo>
                    <a:lnTo>
                      <a:pt x="108" y="40"/>
                    </a:lnTo>
                    <a:lnTo>
                      <a:pt x="108" y="38"/>
                    </a:lnTo>
                    <a:lnTo>
                      <a:pt x="106" y="40"/>
                    </a:lnTo>
                    <a:lnTo>
                      <a:pt x="106" y="38"/>
                    </a:lnTo>
                    <a:lnTo>
                      <a:pt x="106" y="40"/>
                    </a:lnTo>
                    <a:lnTo>
                      <a:pt x="104" y="38"/>
                    </a:lnTo>
                    <a:lnTo>
                      <a:pt x="104" y="40"/>
                    </a:lnTo>
                    <a:lnTo>
                      <a:pt x="104" y="42"/>
                    </a:lnTo>
                    <a:lnTo>
                      <a:pt x="102" y="42"/>
                    </a:lnTo>
                    <a:lnTo>
                      <a:pt x="102" y="44"/>
                    </a:lnTo>
                    <a:lnTo>
                      <a:pt x="104" y="44"/>
                    </a:lnTo>
                    <a:lnTo>
                      <a:pt x="102" y="44"/>
                    </a:lnTo>
                    <a:lnTo>
                      <a:pt x="102" y="46"/>
                    </a:lnTo>
                    <a:lnTo>
                      <a:pt x="104" y="46"/>
                    </a:lnTo>
                    <a:lnTo>
                      <a:pt x="102" y="46"/>
                    </a:lnTo>
                    <a:lnTo>
                      <a:pt x="102" y="48"/>
                    </a:lnTo>
                    <a:lnTo>
                      <a:pt x="104" y="49"/>
                    </a:lnTo>
                    <a:lnTo>
                      <a:pt x="102" y="49"/>
                    </a:lnTo>
                    <a:lnTo>
                      <a:pt x="102" y="51"/>
                    </a:lnTo>
                    <a:lnTo>
                      <a:pt x="100" y="51"/>
                    </a:lnTo>
                    <a:lnTo>
                      <a:pt x="102" y="51"/>
                    </a:lnTo>
                    <a:lnTo>
                      <a:pt x="100" y="51"/>
                    </a:lnTo>
                    <a:lnTo>
                      <a:pt x="100" y="53"/>
                    </a:lnTo>
                    <a:lnTo>
                      <a:pt x="100" y="55"/>
                    </a:lnTo>
                    <a:lnTo>
                      <a:pt x="102" y="57"/>
                    </a:lnTo>
                    <a:lnTo>
                      <a:pt x="102" y="5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4" name="Freeform 134"/>
              <p:cNvSpPr>
                <a:spLocks/>
              </p:cNvSpPr>
              <p:nvPr/>
            </p:nvSpPr>
            <p:spPr bwMode="auto">
              <a:xfrm>
                <a:off x="604943" y="2118735"/>
                <a:ext cx="466290" cy="277021"/>
              </a:xfrm>
              <a:custGeom>
                <a:avLst/>
                <a:gdLst>
                  <a:gd name="T0" fmla="*/ 257 w 271"/>
                  <a:gd name="T1" fmla="*/ 57 h 161"/>
                  <a:gd name="T2" fmla="*/ 255 w 271"/>
                  <a:gd name="T3" fmla="*/ 71 h 161"/>
                  <a:gd name="T4" fmla="*/ 248 w 271"/>
                  <a:gd name="T5" fmla="*/ 78 h 161"/>
                  <a:gd name="T6" fmla="*/ 242 w 271"/>
                  <a:gd name="T7" fmla="*/ 82 h 161"/>
                  <a:gd name="T8" fmla="*/ 240 w 271"/>
                  <a:gd name="T9" fmla="*/ 92 h 161"/>
                  <a:gd name="T10" fmla="*/ 238 w 271"/>
                  <a:gd name="T11" fmla="*/ 111 h 161"/>
                  <a:gd name="T12" fmla="*/ 244 w 271"/>
                  <a:gd name="T13" fmla="*/ 127 h 161"/>
                  <a:gd name="T14" fmla="*/ 236 w 271"/>
                  <a:gd name="T15" fmla="*/ 134 h 161"/>
                  <a:gd name="T16" fmla="*/ 230 w 271"/>
                  <a:gd name="T17" fmla="*/ 146 h 161"/>
                  <a:gd name="T18" fmla="*/ 223 w 271"/>
                  <a:gd name="T19" fmla="*/ 152 h 161"/>
                  <a:gd name="T20" fmla="*/ 219 w 271"/>
                  <a:gd name="T21" fmla="*/ 157 h 161"/>
                  <a:gd name="T22" fmla="*/ 215 w 271"/>
                  <a:gd name="T23" fmla="*/ 142 h 161"/>
                  <a:gd name="T24" fmla="*/ 200 w 271"/>
                  <a:gd name="T25" fmla="*/ 144 h 161"/>
                  <a:gd name="T26" fmla="*/ 190 w 271"/>
                  <a:gd name="T27" fmla="*/ 146 h 161"/>
                  <a:gd name="T28" fmla="*/ 178 w 271"/>
                  <a:gd name="T29" fmla="*/ 150 h 161"/>
                  <a:gd name="T30" fmla="*/ 165 w 271"/>
                  <a:gd name="T31" fmla="*/ 146 h 161"/>
                  <a:gd name="T32" fmla="*/ 146 w 271"/>
                  <a:gd name="T33" fmla="*/ 144 h 161"/>
                  <a:gd name="T34" fmla="*/ 140 w 271"/>
                  <a:gd name="T35" fmla="*/ 134 h 161"/>
                  <a:gd name="T36" fmla="*/ 134 w 271"/>
                  <a:gd name="T37" fmla="*/ 128 h 161"/>
                  <a:gd name="T38" fmla="*/ 127 w 271"/>
                  <a:gd name="T39" fmla="*/ 140 h 161"/>
                  <a:gd name="T40" fmla="*/ 115 w 271"/>
                  <a:gd name="T41" fmla="*/ 146 h 161"/>
                  <a:gd name="T42" fmla="*/ 105 w 271"/>
                  <a:gd name="T43" fmla="*/ 146 h 161"/>
                  <a:gd name="T44" fmla="*/ 92 w 271"/>
                  <a:gd name="T45" fmla="*/ 144 h 161"/>
                  <a:gd name="T46" fmla="*/ 88 w 271"/>
                  <a:gd name="T47" fmla="*/ 132 h 161"/>
                  <a:gd name="T48" fmla="*/ 77 w 271"/>
                  <a:gd name="T49" fmla="*/ 119 h 161"/>
                  <a:gd name="T50" fmla="*/ 67 w 271"/>
                  <a:gd name="T51" fmla="*/ 121 h 161"/>
                  <a:gd name="T52" fmla="*/ 52 w 271"/>
                  <a:gd name="T53" fmla="*/ 128 h 161"/>
                  <a:gd name="T54" fmla="*/ 40 w 271"/>
                  <a:gd name="T55" fmla="*/ 125 h 161"/>
                  <a:gd name="T56" fmla="*/ 32 w 271"/>
                  <a:gd name="T57" fmla="*/ 119 h 161"/>
                  <a:gd name="T58" fmla="*/ 27 w 271"/>
                  <a:gd name="T59" fmla="*/ 111 h 161"/>
                  <a:gd name="T60" fmla="*/ 17 w 271"/>
                  <a:gd name="T61" fmla="*/ 107 h 161"/>
                  <a:gd name="T62" fmla="*/ 15 w 271"/>
                  <a:gd name="T63" fmla="*/ 102 h 161"/>
                  <a:gd name="T64" fmla="*/ 6 w 271"/>
                  <a:gd name="T65" fmla="*/ 96 h 161"/>
                  <a:gd name="T66" fmla="*/ 6 w 271"/>
                  <a:gd name="T67" fmla="*/ 82 h 161"/>
                  <a:gd name="T68" fmla="*/ 17 w 271"/>
                  <a:gd name="T69" fmla="*/ 69 h 161"/>
                  <a:gd name="T70" fmla="*/ 21 w 271"/>
                  <a:gd name="T71" fmla="*/ 55 h 161"/>
                  <a:gd name="T72" fmla="*/ 21 w 271"/>
                  <a:gd name="T73" fmla="*/ 38 h 161"/>
                  <a:gd name="T74" fmla="*/ 23 w 271"/>
                  <a:gd name="T75" fmla="*/ 27 h 161"/>
                  <a:gd name="T76" fmla="*/ 29 w 271"/>
                  <a:gd name="T77" fmla="*/ 21 h 161"/>
                  <a:gd name="T78" fmla="*/ 38 w 271"/>
                  <a:gd name="T79" fmla="*/ 13 h 161"/>
                  <a:gd name="T80" fmla="*/ 52 w 271"/>
                  <a:gd name="T81" fmla="*/ 25 h 161"/>
                  <a:gd name="T82" fmla="*/ 63 w 271"/>
                  <a:gd name="T83" fmla="*/ 23 h 161"/>
                  <a:gd name="T84" fmla="*/ 71 w 271"/>
                  <a:gd name="T85" fmla="*/ 27 h 161"/>
                  <a:gd name="T86" fmla="*/ 82 w 271"/>
                  <a:gd name="T87" fmla="*/ 23 h 161"/>
                  <a:gd name="T88" fmla="*/ 92 w 271"/>
                  <a:gd name="T89" fmla="*/ 25 h 161"/>
                  <a:gd name="T90" fmla="*/ 107 w 271"/>
                  <a:gd name="T91" fmla="*/ 23 h 161"/>
                  <a:gd name="T92" fmla="*/ 113 w 271"/>
                  <a:gd name="T93" fmla="*/ 32 h 161"/>
                  <a:gd name="T94" fmla="*/ 127 w 271"/>
                  <a:gd name="T95" fmla="*/ 21 h 161"/>
                  <a:gd name="T96" fmla="*/ 138 w 271"/>
                  <a:gd name="T97" fmla="*/ 19 h 161"/>
                  <a:gd name="T98" fmla="*/ 148 w 271"/>
                  <a:gd name="T99" fmla="*/ 4 h 161"/>
                  <a:gd name="T100" fmla="*/ 165 w 271"/>
                  <a:gd name="T101" fmla="*/ 5 h 161"/>
                  <a:gd name="T102" fmla="*/ 175 w 271"/>
                  <a:gd name="T103" fmla="*/ 15 h 161"/>
                  <a:gd name="T104" fmla="*/ 182 w 271"/>
                  <a:gd name="T105" fmla="*/ 17 h 161"/>
                  <a:gd name="T106" fmla="*/ 202 w 271"/>
                  <a:gd name="T107" fmla="*/ 21 h 161"/>
                  <a:gd name="T108" fmla="*/ 213 w 271"/>
                  <a:gd name="T109" fmla="*/ 19 h 161"/>
                  <a:gd name="T110" fmla="*/ 225 w 271"/>
                  <a:gd name="T111" fmla="*/ 25 h 161"/>
                  <a:gd name="T112" fmla="*/ 242 w 271"/>
                  <a:gd name="T113" fmla="*/ 30 h 161"/>
                  <a:gd name="T114" fmla="*/ 250 w 271"/>
                  <a:gd name="T115" fmla="*/ 25 h 161"/>
                  <a:gd name="T116" fmla="*/ 263 w 271"/>
                  <a:gd name="T117" fmla="*/ 19 h 161"/>
                  <a:gd name="T118" fmla="*/ 269 w 271"/>
                  <a:gd name="T119" fmla="*/ 28 h 161"/>
                  <a:gd name="T120" fmla="*/ 271 w 271"/>
                  <a:gd name="T121" fmla="*/ 5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1" h="161">
                    <a:moveTo>
                      <a:pt x="271" y="53"/>
                    </a:moveTo>
                    <a:lnTo>
                      <a:pt x="269" y="55"/>
                    </a:lnTo>
                    <a:lnTo>
                      <a:pt x="269" y="53"/>
                    </a:lnTo>
                    <a:lnTo>
                      <a:pt x="269" y="55"/>
                    </a:lnTo>
                    <a:lnTo>
                      <a:pt x="267" y="55"/>
                    </a:lnTo>
                    <a:lnTo>
                      <a:pt x="265" y="55"/>
                    </a:lnTo>
                    <a:lnTo>
                      <a:pt x="263" y="55"/>
                    </a:lnTo>
                    <a:lnTo>
                      <a:pt x="261" y="55"/>
                    </a:lnTo>
                    <a:lnTo>
                      <a:pt x="261" y="53"/>
                    </a:lnTo>
                    <a:lnTo>
                      <a:pt x="261" y="55"/>
                    </a:lnTo>
                    <a:lnTo>
                      <a:pt x="259" y="55"/>
                    </a:lnTo>
                    <a:lnTo>
                      <a:pt x="257" y="55"/>
                    </a:lnTo>
                    <a:lnTo>
                      <a:pt x="257" y="57"/>
                    </a:lnTo>
                    <a:lnTo>
                      <a:pt x="257" y="59"/>
                    </a:lnTo>
                    <a:lnTo>
                      <a:pt x="257" y="61"/>
                    </a:lnTo>
                    <a:lnTo>
                      <a:pt x="255" y="61"/>
                    </a:lnTo>
                    <a:lnTo>
                      <a:pt x="255" y="59"/>
                    </a:lnTo>
                    <a:lnTo>
                      <a:pt x="255" y="61"/>
                    </a:lnTo>
                    <a:lnTo>
                      <a:pt x="253" y="61"/>
                    </a:lnTo>
                    <a:lnTo>
                      <a:pt x="251" y="61"/>
                    </a:lnTo>
                    <a:lnTo>
                      <a:pt x="253" y="63"/>
                    </a:lnTo>
                    <a:lnTo>
                      <a:pt x="253" y="65"/>
                    </a:lnTo>
                    <a:lnTo>
                      <a:pt x="253" y="67"/>
                    </a:lnTo>
                    <a:lnTo>
                      <a:pt x="255" y="67"/>
                    </a:lnTo>
                    <a:lnTo>
                      <a:pt x="255" y="69"/>
                    </a:lnTo>
                    <a:lnTo>
                      <a:pt x="255" y="71"/>
                    </a:lnTo>
                    <a:lnTo>
                      <a:pt x="255" y="73"/>
                    </a:lnTo>
                    <a:lnTo>
                      <a:pt x="255" y="75"/>
                    </a:lnTo>
                    <a:lnTo>
                      <a:pt x="257" y="75"/>
                    </a:lnTo>
                    <a:lnTo>
                      <a:pt x="257" y="77"/>
                    </a:lnTo>
                    <a:lnTo>
                      <a:pt x="255" y="77"/>
                    </a:lnTo>
                    <a:lnTo>
                      <a:pt x="253" y="75"/>
                    </a:lnTo>
                    <a:lnTo>
                      <a:pt x="251" y="75"/>
                    </a:lnTo>
                    <a:lnTo>
                      <a:pt x="251" y="77"/>
                    </a:lnTo>
                    <a:lnTo>
                      <a:pt x="250" y="75"/>
                    </a:lnTo>
                    <a:lnTo>
                      <a:pt x="250" y="77"/>
                    </a:lnTo>
                    <a:lnTo>
                      <a:pt x="248" y="78"/>
                    </a:lnTo>
                    <a:lnTo>
                      <a:pt x="250" y="78"/>
                    </a:lnTo>
                    <a:lnTo>
                      <a:pt x="248" y="78"/>
                    </a:lnTo>
                    <a:lnTo>
                      <a:pt x="246" y="78"/>
                    </a:lnTo>
                    <a:lnTo>
                      <a:pt x="246" y="77"/>
                    </a:lnTo>
                    <a:lnTo>
                      <a:pt x="244" y="77"/>
                    </a:lnTo>
                    <a:lnTo>
                      <a:pt x="244" y="75"/>
                    </a:lnTo>
                    <a:lnTo>
                      <a:pt x="244" y="77"/>
                    </a:lnTo>
                    <a:lnTo>
                      <a:pt x="242" y="77"/>
                    </a:lnTo>
                    <a:lnTo>
                      <a:pt x="242" y="78"/>
                    </a:lnTo>
                    <a:lnTo>
                      <a:pt x="244" y="78"/>
                    </a:lnTo>
                    <a:lnTo>
                      <a:pt x="244" y="80"/>
                    </a:lnTo>
                    <a:lnTo>
                      <a:pt x="242" y="80"/>
                    </a:lnTo>
                    <a:lnTo>
                      <a:pt x="244" y="82"/>
                    </a:lnTo>
                    <a:lnTo>
                      <a:pt x="242" y="80"/>
                    </a:lnTo>
                    <a:lnTo>
                      <a:pt x="242" y="82"/>
                    </a:lnTo>
                    <a:lnTo>
                      <a:pt x="242" y="80"/>
                    </a:lnTo>
                    <a:lnTo>
                      <a:pt x="240" y="80"/>
                    </a:lnTo>
                    <a:lnTo>
                      <a:pt x="240" y="82"/>
                    </a:lnTo>
                    <a:lnTo>
                      <a:pt x="242" y="82"/>
                    </a:lnTo>
                    <a:lnTo>
                      <a:pt x="242" y="84"/>
                    </a:lnTo>
                    <a:lnTo>
                      <a:pt x="240" y="84"/>
                    </a:lnTo>
                    <a:lnTo>
                      <a:pt x="240" y="86"/>
                    </a:lnTo>
                    <a:lnTo>
                      <a:pt x="238" y="84"/>
                    </a:lnTo>
                    <a:lnTo>
                      <a:pt x="238" y="86"/>
                    </a:lnTo>
                    <a:lnTo>
                      <a:pt x="240" y="86"/>
                    </a:lnTo>
                    <a:lnTo>
                      <a:pt x="240" y="88"/>
                    </a:lnTo>
                    <a:lnTo>
                      <a:pt x="240" y="90"/>
                    </a:lnTo>
                    <a:lnTo>
                      <a:pt x="240" y="92"/>
                    </a:lnTo>
                    <a:lnTo>
                      <a:pt x="240" y="94"/>
                    </a:lnTo>
                    <a:lnTo>
                      <a:pt x="240" y="96"/>
                    </a:lnTo>
                    <a:lnTo>
                      <a:pt x="240" y="98"/>
                    </a:lnTo>
                    <a:lnTo>
                      <a:pt x="240" y="100"/>
                    </a:lnTo>
                    <a:lnTo>
                      <a:pt x="240" y="102"/>
                    </a:lnTo>
                    <a:lnTo>
                      <a:pt x="240" y="103"/>
                    </a:lnTo>
                    <a:lnTo>
                      <a:pt x="242" y="103"/>
                    </a:lnTo>
                    <a:lnTo>
                      <a:pt x="242" y="105"/>
                    </a:lnTo>
                    <a:lnTo>
                      <a:pt x="242" y="107"/>
                    </a:lnTo>
                    <a:lnTo>
                      <a:pt x="240" y="107"/>
                    </a:lnTo>
                    <a:lnTo>
                      <a:pt x="240" y="109"/>
                    </a:lnTo>
                    <a:lnTo>
                      <a:pt x="238" y="109"/>
                    </a:lnTo>
                    <a:lnTo>
                      <a:pt x="238" y="111"/>
                    </a:lnTo>
                    <a:lnTo>
                      <a:pt x="238" y="113"/>
                    </a:lnTo>
                    <a:lnTo>
                      <a:pt x="236" y="113"/>
                    </a:lnTo>
                    <a:lnTo>
                      <a:pt x="236" y="115"/>
                    </a:lnTo>
                    <a:lnTo>
                      <a:pt x="236" y="117"/>
                    </a:lnTo>
                    <a:lnTo>
                      <a:pt x="236" y="119"/>
                    </a:lnTo>
                    <a:lnTo>
                      <a:pt x="236" y="121"/>
                    </a:lnTo>
                    <a:lnTo>
                      <a:pt x="236" y="123"/>
                    </a:lnTo>
                    <a:lnTo>
                      <a:pt x="238" y="123"/>
                    </a:lnTo>
                    <a:lnTo>
                      <a:pt x="238" y="125"/>
                    </a:lnTo>
                    <a:lnTo>
                      <a:pt x="240" y="127"/>
                    </a:lnTo>
                    <a:lnTo>
                      <a:pt x="242" y="125"/>
                    </a:lnTo>
                    <a:lnTo>
                      <a:pt x="242" y="127"/>
                    </a:lnTo>
                    <a:lnTo>
                      <a:pt x="244" y="127"/>
                    </a:lnTo>
                    <a:lnTo>
                      <a:pt x="246" y="127"/>
                    </a:lnTo>
                    <a:lnTo>
                      <a:pt x="246" y="128"/>
                    </a:lnTo>
                    <a:lnTo>
                      <a:pt x="244" y="130"/>
                    </a:lnTo>
                    <a:lnTo>
                      <a:pt x="244" y="132"/>
                    </a:lnTo>
                    <a:lnTo>
                      <a:pt x="242" y="132"/>
                    </a:lnTo>
                    <a:lnTo>
                      <a:pt x="242" y="134"/>
                    </a:lnTo>
                    <a:lnTo>
                      <a:pt x="242" y="132"/>
                    </a:lnTo>
                    <a:lnTo>
                      <a:pt x="240" y="132"/>
                    </a:lnTo>
                    <a:lnTo>
                      <a:pt x="240" y="134"/>
                    </a:lnTo>
                    <a:lnTo>
                      <a:pt x="240" y="132"/>
                    </a:lnTo>
                    <a:lnTo>
                      <a:pt x="238" y="132"/>
                    </a:lnTo>
                    <a:lnTo>
                      <a:pt x="236" y="132"/>
                    </a:lnTo>
                    <a:lnTo>
                      <a:pt x="236" y="134"/>
                    </a:lnTo>
                    <a:lnTo>
                      <a:pt x="234" y="134"/>
                    </a:lnTo>
                    <a:lnTo>
                      <a:pt x="234" y="136"/>
                    </a:lnTo>
                    <a:lnTo>
                      <a:pt x="236" y="136"/>
                    </a:lnTo>
                    <a:lnTo>
                      <a:pt x="236" y="138"/>
                    </a:lnTo>
                    <a:lnTo>
                      <a:pt x="234" y="138"/>
                    </a:lnTo>
                    <a:lnTo>
                      <a:pt x="234" y="140"/>
                    </a:lnTo>
                    <a:lnTo>
                      <a:pt x="234" y="142"/>
                    </a:lnTo>
                    <a:lnTo>
                      <a:pt x="232" y="142"/>
                    </a:lnTo>
                    <a:lnTo>
                      <a:pt x="234" y="142"/>
                    </a:lnTo>
                    <a:lnTo>
                      <a:pt x="234" y="144"/>
                    </a:lnTo>
                    <a:lnTo>
                      <a:pt x="232" y="144"/>
                    </a:lnTo>
                    <a:lnTo>
                      <a:pt x="232" y="146"/>
                    </a:lnTo>
                    <a:lnTo>
                      <a:pt x="230" y="146"/>
                    </a:lnTo>
                    <a:lnTo>
                      <a:pt x="228" y="148"/>
                    </a:lnTo>
                    <a:lnTo>
                      <a:pt x="228" y="146"/>
                    </a:lnTo>
                    <a:lnTo>
                      <a:pt x="227" y="148"/>
                    </a:lnTo>
                    <a:lnTo>
                      <a:pt x="228" y="148"/>
                    </a:lnTo>
                    <a:lnTo>
                      <a:pt x="227" y="148"/>
                    </a:lnTo>
                    <a:lnTo>
                      <a:pt x="227" y="150"/>
                    </a:lnTo>
                    <a:lnTo>
                      <a:pt x="228" y="150"/>
                    </a:lnTo>
                    <a:lnTo>
                      <a:pt x="227" y="150"/>
                    </a:lnTo>
                    <a:lnTo>
                      <a:pt x="227" y="152"/>
                    </a:lnTo>
                    <a:lnTo>
                      <a:pt x="225" y="152"/>
                    </a:lnTo>
                    <a:lnTo>
                      <a:pt x="223" y="152"/>
                    </a:lnTo>
                    <a:lnTo>
                      <a:pt x="221" y="152"/>
                    </a:lnTo>
                    <a:lnTo>
                      <a:pt x="223" y="152"/>
                    </a:lnTo>
                    <a:lnTo>
                      <a:pt x="223" y="153"/>
                    </a:lnTo>
                    <a:lnTo>
                      <a:pt x="221" y="153"/>
                    </a:lnTo>
                    <a:lnTo>
                      <a:pt x="221" y="155"/>
                    </a:lnTo>
                    <a:lnTo>
                      <a:pt x="223" y="155"/>
                    </a:lnTo>
                    <a:lnTo>
                      <a:pt x="223" y="157"/>
                    </a:lnTo>
                    <a:lnTo>
                      <a:pt x="225" y="157"/>
                    </a:lnTo>
                    <a:lnTo>
                      <a:pt x="223" y="157"/>
                    </a:lnTo>
                    <a:lnTo>
                      <a:pt x="223" y="159"/>
                    </a:lnTo>
                    <a:lnTo>
                      <a:pt x="223" y="161"/>
                    </a:lnTo>
                    <a:lnTo>
                      <a:pt x="221" y="161"/>
                    </a:lnTo>
                    <a:lnTo>
                      <a:pt x="221" y="159"/>
                    </a:lnTo>
                    <a:lnTo>
                      <a:pt x="219" y="159"/>
                    </a:lnTo>
                    <a:lnTo>
                      <a:pt x="219" y="157"/>
                    </a:lnTo>
                    <a:lnTo>
                      <a:pt x="217" y="157"/>
                    </a:lnTo>
                    <a:lnTo>
                      <a:pt x="217" y="155"/>
                    </a:lnTo>
                    <a:lnTo>
                      <a:pt x="215" y="155"/>
                    </a:lnTo>
                    <a:lnTo>
                      <a:pt x="217" y="153"/>
                    </a:lnTo>
                    <a:lnTo>
                      <a:pt x="217" y="152"/>
                    </a:lnTo>
                    <a:lnTo>
                      <a:pt x="219" y="150"/>
                    </a:lnTo>
                    <a:lnTo>
                      <a:pt x="217" y="150"/>
                    </a:lnTo>
                    <a:lnTo>
                      <a:pt x="219" y="148"/>
                    </a:lnTo>
                    <a:lnTo>
                      <a:pt x="217" y="148"/>
                    </a:lnTo>
                    <a:lnTo>
                      <a:pt x="217" y="146"/>
                    </a:lnTo>
                    <a:lnTo>
                      <a:pt x="217" y="144"/>
                    </a:lnTo>
                    <a:lnTo>
                      <a:pt x="215" y="144"/>
                    </a:lnTo>
                    <a:lnTo>
                      <a:pt x="215" y="142"/>
                    </a:lnTo>
                    <a:lnTo>
                      <a:pt x="215" y="140"/>
                    </a:lnTo>
                    <a:lnTo>
                      <a:pt x="213" y="140"/>
                    </a:lnTo>
                    <a:lnTo>
                      <a:pt x="211" y="140"/>
                    </a:lnTo>
                    <a:lnTo>
                      <a:pt x="209" y="140"/>
                    </a:lnTo>
                    <a:lnTo>
                      <a:pt x="207" y="140"/>
                    </a:lnTo>
                    <a:lnTo>
                      <a:pt x="207" y="142"/>
                    </a:lnTo>
                    <a:lnTo>
                      <a:pt x="205" y="142"/>
                    </a:lnTo>
                    <a:lnTo>
                      <a:pt x="205" y="144"/>
                    </a:lnTo>
                    <a:lnTo>
                      <a:pt x="203" y="144"/>
                    </a:lnTo>
                    <a:lnTo>
                      <a:pt x="203" y="146"/>
                    </a:lnTo>
                    <a:lnTo>
                      <a:pt x="202" y="146"/>
                    </a:lnTo>
                    <a:lnTo>
                      <a:pt x="202" y="144"/>
                    </a:lnTo>
                    <a:lnTo>
                      <a:pt x="200" y="144"/>
                    </a:lnTo>
                    <a:lnTo>
                      <a:pt x="198" y="144"/>
                    </a:lnTo>
                    <a:lnTo>
                      <a:pt x="196" y="144"/>
                    </a:lnTo>
                    <a:lnTo>
                      <a:pt x="196" y="142"/>
                    </a:lnTo>
                    <a:lnTo>
                      <a:pt x="196" y="144"/>
                    </a:lnTo>
                    <a:lnTo>
                      <a:pt x="194" y="144"/>
                    </a:lnTo>
                    <a:lnTo>
                      <a:pt x="194" y="142"/>
                    </a:lnTo>
                    <a:lnTo>
                      <a:pt x="196" y="142"/>
                    </a:lnTo>
                    <a:lnTo>
                      <a:pt x="196" y="140"/>
                    </a:lnTo>
                    <a:lnTo>
                      <a:pt x="194" y="142"/>
                    </a:lnTo>
                    <a:lnTo>
                      <a:pt x="192" y="142"/>
                    </a:lnTo>
                    <a:lnTo>
                      <a:pt x="190" y="142"/>
                    </a:lnTo>
                    <a:lnTo>
                      <a:pt x="190" y="144"/>
                    </a:lnTo>
                    <a:lnTo>
                      <a:pt x="190" y="146"/>
                    </a:lnTo>
                    <a:lnTo>
                      <a:pt x="188" y="146"/>
                    </a:lnTo>
                    <a:lnTo>
                      <a:pt x="188" y="148"/>
                    </a:lnTo>
                    <a:lnTo>
                      <a:pt x="186" y="148"/>
                    </a:lnTo>
                    <a:lnTo>
                      <a:pt x="186" y="150"/>
                    </a:lnTo>
                    <a:lnTo>
                      <a:pt x="186" y="152"/>
                    </a:lnTo>
                    <a:lnTo>
                      <a:pt x="184" y="152"/>
                    </a:lnTo>
                    <a:lnTo>
                      <a:pt x="182" y="152"/>
                    </a:lnTo>
                    <a:lnTo>
                      <a:pt x="182" y="153"/>
                    </a:lnTo>
                    <a:lnTo>
                      <a:pt x="182" y="152"/>
                    </a:lnTo>
                    <a:lnTo>
                      <a:pt x="182" y="153"/>
                    </a:lnTo>
                    <a:lnTo>
                      <a:pt x="180" y="153"/>
                    </a:lnTo>
                    <a:lnTo>
                      <a:pt x="180" y="152"/>
                    </a:lnTo>
                    <a:lnTo>
                      <a:pt x="178" y="150"/>
                    </a:lnTo>
                    <a:lnTo>
                      <a:pt x="180" y="150"/>
                    </a:lnTo>
                    <a:lnTo>
                      <a:pt x="180" y="148"/>
                    </a:lnTo>
                    <a:lnTo>
                      <a:pt x="178" y="148"/>
                    </a:lnTo>
                    <a:lnTo>
                      <a:pt x="178" y="146"/>
                    </a:lnTo>
                    <a:lnTo>
                      <a:pt x="177" y="146"/>
                    </a:lnTo>
                    <a:lnTo>
                      <a:pt x="177" y="144"/>
                    </a:lnTo>
                    <a:lnTo>
                      <a:pt x="177" y="146"/>
                    </a:lnTo>
                    <a:lnTo>
                      <a:pt x="175" y="146"/>
                    </a:lnTo>
                    <a:lnTo>
                      <a:pt x="173" y="146"/>
                    </a:lnTo>
                    <a:lnTo>
                      <a:pt x="171" y="146"/>
                    </a:lnTo>
                    <a:lnTo>
                      <a:pt x="169" y="146"/>
                    </a:lnTo>
                    <a:lnTo>
                      <a:pt x="167" y="146"/>
                    </a:lnTo>
                    <a:lnTo>
                      <a:pt x="165" y="146"/>
                    </a:lnTo>
                    <a:lnTo>
                      <a:pt x="163" y="144"/>
                    </a:lnTo>
                    <a:lnTo>
                      <a:pt x="161" y="144"/>
                    </a:lnTo>
                    <a:lnTo>
                      <a:pt x="159" y="144"/>
                    </a:lnTo>
                    <a:lnTo>
                      <a:pt x="157" y="144"/>
                    </a:lnTo>
                    <a:lnTo>
                      <a:pt x="155" y="144"/>
                    </a:lnTo>
                    <a:lnTo>
                      <a:pt x="152" y="142"/>
                    </a:lnTo>
                    <a:lnTo>
                      <a:pt x="152" y="144"/>
                    </a:lnTo>
                    <a:lnTo>
                      <a:pt x="150" y="144"/>
                    </a:lnTo>
                    <a:lnTo>
                      <a:pt x="148" y="144"/>
                    </a:lnTo>
                    <a:lnTo>
                      <a:pt x="148" y="146"/>
                    </a:lnTo>
                    <a:lnTo>
                      <a:pt x="148" y="144"/>
                    </a:lnTo>
                    <a:lnTo>
                      <a:pt x="146" y="146"/>
                    </a:lnTo>
                    <a:lnTo>
                      <a:pt x="146" y="144"/>
                    </a:lnTo>
                    <a:lnTo>
                      <a:pt x="148" y="144"/>
                    </a:lnTo>
                    <a:lnTo>
                      <a:pt x="148" y="142"/>
                    </a:lnTo>
                    <a:lnTo>
                      <a:pt x="148" y="144"/>
                    </a:lnTo>
                    <a:lnTo>
                      <a:pt x="148" y="142"/>
                    </a:lnTo>
                    <a:lnTo>
                      <a:pt x="146" y="142"/>
                    </a:lnTo>
                    <a:lnTo>
                      <a:pt x="144" y="140"/>
                    </a:lnTo>
                    <a:lnTo>
                      <a:pt x="144" y="138"/>
                    </a:lnTo>
                    <a:lnTo>
                      <a:pt x="142" y="138"/>
                    </a:lnTo>
                    <a:lnTo>
                      <a:pt x="144" y="138"/>
                    </a:lnTo>
                    <a:lnTo>
                      <a:pt x="142" y="138"/>
                    </a:lnTo>
                    <a:lnTo>
                      <a:pt x="142" y="136"/>
                    </a:lnTo>
                    <a:lnTo>
                      <a:pt x="140" y="136"/>
                    </a:lnTo>
                    <a:lnTo>
                      <a:pt x="140" y="134"/>
                    </a:lnTo>
                    <a:lnTo>
                      <a:pt x="140" y="132"/>
                    </a:lnTo>
                    <a:lnTo>
                      <a:pt x="140" y="130"/>
                    </a:lnTo>
                    <a:lnTo>
                      <a:pt x="140" y="128"/>
                    </a:lnTo>
                    <a:lnTo>
                      <a:pt x="138" y="128"/>
                    </a:lnTo>
                    <a:lnTo>
                      <a:pt x="138" y="130"/>
                    </a:lnTo>
                    <a:lnTo>
                      <a:pt x="138" y="128"/>
                    </a:lnTo>
                    <a:lnTo>
                      <a:pt x="136" y="128"/>
                    </a:lnTo>
                    <a:lnTo>
                      <a:pt x="136" y="130"/>
                    </a:lnTo>
                    <a:lnTo>
                      <a:pt x="134" y="128"/>
                    </a:lnTo>
                    <a:lnTo>
                      <a:pt x="136" y="128"/>
                    </a:lnTo>
                    <a:lnTo>
                      <a:pt x="136" y="127"/>
                    </a:lnTo>
                    <a:lnTo>
                      <a:pt x="134" y="127"/>
                    </a:lnTo>
                    <a:lnTo>
                      <a:pt x="134" y="128"/>
                    </a:lnTo>
                    <a:lnTo>
                      <a:pt x="132" y="128"/>
                    </a:lnTo>
                    <a:lnTo>
                      <a:pt x="132" y="130"/>
                    </a:lnTo>
                    <a:lnTo>
                      <a:pt x="132" y="132"/>
                    </a:lnTo>
                    <a:lnTo>
                      <a:pt x="134" y="130"/>
                    </a:lnTo>
                    <a:lnTo>
                      <a:pt x="134" y="132"/>
                    </a:lnTo>
                    <a:lnTo>
                      <a:pt x="132" y="132"/>
                    </a:lnTo>
                    <a:lnTo>
                      <a:pt x="132" y="134"/>
                    </a:lnTo>
                    <a:lnTo>
                      <a:pt x="130" y="134"/>
                    </a:lnTo>
                    <a:lnTo>
                      <a:pt x="130" y="136"/>
                    </a:lnTo>
                    <a:lnTo>
                      <a:pt x="130" y="138"/>
                    </a:lnTo>
                    <a:lnTo>
                      <a:pt x="129" y="138"/>
                    </a:lnTo>
                    <a:lnTo>
                      <a:pt x="129" y="140"/>
                    </a:lnTo>
                    <a:lnTo>
                      <a:pt x="127" y="140"/>
                    </a:lnTo>
                    <a:lnTo>
                      <a:pt x="127" y="138"/>
                    </a:lnTo>
                    <a:lnTo>
                      <a:pt x="125" y="138"/>
                    </a:lnTo>
                    <a:lnTo>
                      <a:pt x="123" y="138"/>
                    </a:lnTo>
                    <a:lnTo>
                      <a:pt x="123" y="140"/>
                    </a:lnTo>
                    <a:lnTo>
                      <a:pt x="121" y="140"/>
                    </a:lnTo>
                    <a:lnTo>
                      <a:pt x="121" y="142"/>
                    </a:lnTo>
                    <a:lnTo>
                      <a:pt x="119" y="142"/>
                    </a:lnTo>
                    <a:lnTo>
                      <a:pt x="119" y="144"/>
                    </a:lnTo>
                    <a:lnTo>
                      <a:pt x="117" y="142"/>
                    </a:lnTo>
                    <a:lnTo>
                      <a:pt x="117" y="144"/>
                    </a:lnTo>
                    <a:lnTo>
                      <a:pt x="119" y="146"/>
                    </a:lnTo>
                    <a:lnTo>
                      <a:pt x="117" y="146"/>
                    </a:lnTo>
                    <a:lnTo>
                      <a:pt x="115" y="146"/>
                    </a:lnTo>
                    <a:lnTo>
                      <a:pt x="115" y="148"/>
                    </a:lnTo>
                    <a:lnTo>
                      <a:pt x="115" y="146"/>
                    </a:lnTo>
                    <a:lnTo>
                      <a:pt x="113" y="146"/>
                    </a:lnTo>
                    <a:lnTo>
                      <a:pt x="113" y="148"/>
                    </a:lnTo>
                    <a:lnTo>
                      <a:pt x="111" y="148"/>
                    </a:lnTo>
                    <a:lnTo>
                      <a:pt x="109" y="148"/>
                    </a:lnTo>
                    <a:lnTo>
                      <a:pt x="109" y="150"/>
                    </a:lnTo>
                    <a:lnTo>
                      <a:pt x="107" y="148"/>
                    </a:lnTo>
                    <a:lnTo>
                      <a:pt x="107" y="150"/>
                    </a:lnTo>
                    <a:lnTo>
                      <a:pt x="105" y="150"/>
                    </a:lnTo>
                    <a:lnTo>
                      <a:pt x="107" y="148"/>
                    </a:lnTo>
                    <a:lnTo>
                      <a:pt x="105" y="148"/>
                    </a:lnTo>
                    <a:lnTo>
                      <a:pt x="105" y="146"/>
                    </a:lnTo>
                    <a:lnTo>
                      <a:pt x="107" y="146"/>
                    </a:lnTo>
                    <a:lnTo>
                      <a:pt x="105" y="146"/>
                    </a:lnTo>
                    <a:lnTo>
                      <a:pt x="104" y="146"/>
                    </a:lnTo>
                    <a:lnTo>
                      <a:pt x="104" y="144"/>
                    </a:lnTo>
                    <a:lnTo>
                      <a:pt x="102" y="144"/>
                    </a:lnTo>
                    <a:lnTo>
                      <a:pt x="100" y="144"/>
                    </a:lnTo>
                    <a:lnTo>
                      <a:pt x="100" y="142"/>
                    </a:lnTo>
                    <a:lnTo>
                      <a:pt x="98" y="142"/>
                    </a:lnTo>
                    <a:lnTo>
                      <a:pt x="98" y="140"/>
                    </a:lnTo>
                    <a:lnTo>
                      <a:pt x="96" y="142"/>
                    </a:lnTo>
                    <a:lnTo>
                      <a:pt x="94" y="142"/>
                    </a:lnTo>
                    <a:lnTo>
                      <a:pt x="94" y="144"/>
                    </a:lnTo>
                    <a:lnTo>
                      <a:pt x="92" y="144"/>
                    </a:lnTo>
                    <a:lnTo>
                      <a:pt x="92" y="142"/>
                    </a:lnTo>
                    <a:lnTo>
                      <a:pt x="92" y="140"/>
                    </a:lnTo>
                    <a:lnTo>
                      <a:pt x="90" y="140"/>
                    </a:lnTo>
                    <a:lnTo>
                      <a:pt x="90" y="138"/>
                    </a:lnTo>
                    <a:lnTo>
                      <a:pt x="90" y="136"/>
                    </a:lnTo>
                    <a:lnTo>
                      <a:pt x="90" y="134"/>
                    </a:lnTo>
                    <a:lnTo>
                      <a:pt x="88" y="134"/>
                    </a:lnTo>
                    <a:lnTo>
                      <a:pt x="90" y="134"/>
                    </a:lnTo>
                    <a:lnTo>
                      <a:pt x="90" y="132"/>
                    </a:lnTo>
                    <a:lnTo>
                      <a:pt x="90" y="130"/>
                    </a:lnTo>
                    <a:lnTo>
                      <a:pt x="88" y="132"/>
                    </a:lnTo>
                    <a:lnTo>
                      <a:pt x="88" y="130"/>
                    </a:lnTo>
                    <a:lnTo>
                      <a:pt x="88" y="132"/>
                    </a:lnTo>
                    <a:lnTo>
                      <a:pt x="86" y="132"/>
                    </a:lnTo>
                    <a:lnTo>
                      <a:pt x="86" y="130"/>
                    </a:lnTo>
                    <a:lnTo>
                      <a:pt x="86" y="128"/>
                    </a:lnTo>
                    <a:lnTo>
                      <a:pt x="86" y="127"/>
                    </a:lnTo>
                    <a:lnTo>
                      <a:pt x="86" y="125"/>
                    </a:lnTo>
                    <a:lnTo>
                      <a:pt x="84" y="125"/>
                    </a:lnTo>
                    <a:lnTo>
                      <a:pt x="82" y="125"/>
                    </a:lnTo>
                    <a:lnTo>
                      <a:pt x="81" y="125"/>
                    </a:lnTo>
                    <a:lnTo>
                      <a:pt x="81" y="123"/>
                    </a:lnTo>
                    <a:lnTo>
                      <a:pt x="79" y="123"/>
                    </a:lnTo>
                    <a:lnTo>
                      <a:pt x="79" y="121"/>
                    </a:lnTo>
                    <a:lnTo>
                      <a:pt x="77" y="121"/>
                    </a:lnTo>
                    <a:lnTo>
                      <a:pt x="77" y="119"/>
                    </a:lnTo>
                    <a:lnTo>
                      <a:pt x="75" y="123"/>
                    </a:lnTo>
                    <a:lnTo>
                      <a:pt x="75" y="121"/>
                    </a:lnTo>
                    <a:lnTo>
                      <a:pt x="73" y="121"/>
                    </a:lnTo>
                    <a:lnTo>
                      <a:pt x="73" y="123"/>
                    </a:lnTo>
                    <a:lnTo>
                      <a:pt x="71" y="123"/>
                    </a:lnTo>
                    <a:lnTo>
                      <a:pt x="73" y="123"/>
                    </a:lnTo>
                    <a:lnTo>
                      <a:pt x="73" y="125"/>
                    </a:lnTo>
                    <a:lnTo>
                      <a:pt x="71" y="125"/>
                    </a:lnTo>
                    <a:lnTo>
                      <a:pt x="69" y="125"/>
                    </a:lnTo>
                    <a:lnTo>
                      <a:pt x="71" y="125"/>
                    </a:lnTo>
                    <a:lnTo>
                      <a:pt x="69" y="123"/>
                    </a:lnTo>
                    <a:lnTo>
                      <a:pt x="67" y="123"/>
                    </a:lnTo>
                    <a:lnTo>
                      <a:pt x="67" y="121"/>
                    </a:lnTo>
                    <a:lnTo>
                      <a:pt x="67" y="123"/>
                    </a:lnTo>
                    <a:lnTo>
                      <a:pt x="67" y="125"/>
                    </a:lnTo>
                    <a:lnTo>
                      <a:pt x="65" y="125"/>
                    </a:lnTo>
                    <a:lnTo>
                      <a:pt x="65" y="127"/>
                    </a:lnTo>
                    <a:lnTo>
                      <a:pt x="63" y="127"/>
                    </a:lnTo>
                    <a:lnTo>
                      <a:pt x="61" y="127"/>
                    </a:lnTo>
                    <a:lnTo>
                      <a:pt x="59" y="127"/>
                    </a:lnTo>
                    <a:lnTo>
                      <a:pt x="59" y="128"/>
                    </a:lnTo>
                    <a:lnTo>
                      <a:pt x="59" y="127"/>
                    </a:lnTo>
                    <a:lnTo>
                      <a:pt x="57" y="128"/>
                    </a:lnTo>
                    <a:lnTo>
                      <a:pt x="56" y="128"/>
                    </a:lnTo>
                    <a:lnTo>
                      <a:pt x="54" y="128"/>
                    </a:lnTo>
                    <a:lnTo>
                      <a:pt x="52" y="128"/>
                    </a:lnTo>
                    <a:lnTo>
                      <a:pt x="50" y="128"/>
                    </a:lnTo>
                    <a:lnTo>
                      <a:pt x="50" y="127"/>
                    </a:lnTo>
                    <a:lnTo>
                      <a:pt x="50" y="128"/>
                    </a:lnTo>
                    <a:lnTo>
                      <a:pt x="48" y="128"/>
                    </a:lnTo>
                    <a:lnTo>
                      <a:pt x="46" y="128"/>
                    </a:lnTo>
                    <a:lnTo>
                      <a:pt x="48" y="128"/>
                    </a:lnTo>
                    <a:lnTo>
                      <a:pt x="48" y="127"/>
                    </a:lnTo>
                    <a:lnTo>
                      <a:pt x="46" y="127"/>
                    </a:lnTo>
                    <a:lnTo>
                      <a:pt x="44" y="127"/>
                    </a:lnTo>
                    <a:lnTo>
                      <a:pt x="42" y="128"/>
                    </a:lnTo>
                    <a:lnTo>
                      <a:pt x="40" y="128"/>
                    </a:lnTo>
                    <a:lnTo>
                      <a:pt x="40" y="127"/>
                    </a:lnTo>
                    <a:lnTo>
                      <a:pt x="40" y="125"/>
                    </a:lnTo>
                    <a:lnTo>
                      <a:pt x="40" y="127"/>
                    </a:lnTo>
                    <a:lnTo>
                      <a:pt x="38" y="127"/>
                    </a:lnTo>
                    <a:lnTo>
                      <a:pt x="38" y="125"/>
                    </a:lnTo>
                    <a:lnTo>
                      <a:pt x="38" y="123"/>
                    </a:lnTo>
                    <a:lnTo>
                      <a:pt x="38" y="125"/>
                    </a:lnTo>
                    <a:lnTo>
                      <a:pt x="36" y="125"/>
                    </a:lnTo>
                    <a:lnTo>
                      <a:pt x="36" y="123"/>
                    </a:lnTo>
                    <a:lnTo>
                      <a:pt x="36" y="125"/>
                    </a:lnTo>
                    <a:lnTo>
                      <a:pt x="36" y="123"/>
                    </a:lnTo>
                    <a:lnTo>
                      <a:pt x="34" y="123"/>
                    </a:lnTo>
                    <a:lnTo>
                      <a:pt x="34" y="121"/>
                    </a:lnTo>
                    <a:lnTo>
                      <a:pt x="32" y="121"/>
                    </a:lnTo>
                    <a:lnTo>
                      <a:pt x="32" y="119"/>
                    </a:lnTo>
                    <a:lnTo>
                      <a:pt x="31" y="117"/>
                    </a:lnTo>
                    <a:lnTo>
                      <a:pt x="31" y="115"/>
                    </a:lnTo>
                    <a:lnTo>
                      <a:pt x="31" y="117"/>
                    </a:lnTo>
                    <a:lnTo>
                      <a:pt x="29" y="117"/>
                    </a:lnTo>
                    <a:lnTo>
                      <a:pt x="29" y="115"/>
                    </a:lnTo>
                    <a:lnTo>
                      <a:pt x="27" y="115"/>
                    </a:lnTo>
                    <a:lnTo>
                      <a:pt x="27" y="117"/>
                    </a:lnTo>
                    <a:lnTo>
                      <a:pt x="25" y="117"/>
                    </a:lnTo>
                    <a:lnTo>
                      <a:pt x="25" y="115"/>
                    </a:lnTo>
                    <a:lnTo>
                      <a:pt x="27" y="115"/>
                    </a:lnTo>
                    <a:lnTo>
                      <a:pt x="29" y="113"/>
                    </a:lnTo>
                    <a:lnTo>
                      <a:pt x="29" y="111"/>
                    </a:lnTo>
                    <a:lnTo>
                      <a:pt x="27" y="111"/>
                    </a:lnTo>
                    <a:lnTo>
                      <a:pt x="25" y="113"/>
                    </a:lnTo>
                    <a:lnTo>
                      <a:pt x="25" y="111"/>
                    </a:lnTo>
                    <a:lnTo>
                      <a:pt x="25" y="109"/>
                    </a:lnTo>
                    <a:lnTo>
                      <a:pt x="25" y="111"/>
                    </a:lnTo>
                    <a:lnTo>
                      <a:pt x="23" y="111"/>
                    </a:lnTo>
                    <a:lnTo>
                      <a:pt x="25" y="111"/>
                    </a:lnTo>
                    <a:lnTo>
                      <a:pt x="25" y="109"/>
                    </a:lnTo>
                    <a:lnTo>
                      <a:pt x="23" y="109"/>
                    </a:lnTo>
                    <a:lnTo>
                      <a:pt x="23" y="107"/>
                    </a:lnTo>
                    <a:lnTo>
                      <a:pt x="21" y="109"/>
                    </a:lnTo>
                    <a:lnTo>
                      <a:pt x="19" y="109"/>
                    </a:lnTo>
                    <a:lnTo>
                      <a:pt x="19" y="107"/>
                    </a:lnTo>
                    <a:lnTo>
                      <a:pt x="17" y="107"/>
                    </a:lnTo>
                    <a:lnTo>
                      <a:pt x="17" y="105"/>
                    </a:lnTo>
                    <a:lnTo>
                      <a:pt x="17" y="107"/>
                    </a:lnTo>
                    <a:lnTo>
                      <a:pt x="15" y="107"/>
                    </a:lnTo>
                    <a:lnTo>
                      <a:pt x="15" y="105"/>
                    </a:lnTo>
                    <a:lnTo>
                      <a:pt x="15" y="107"/>
                    </a:lnTo>
                    <a:lnTo>
                      <a:pt x="13" y="105"/>
                    </a:lnTo>
                    <a:lnTo>
                      <a:pt x="13" y="107"/>
                    </a:lnTo>
                    <a:lnTo>
                      <a:pt x="13" y="105"/>
                    </a:lnTo>
                    <a:lnTo>
                      <a:pt x="13" y="103"/>
                    </a:lnTo>
                    <a:lnTo>
                      <a:pt x="15" y="105"/>
                    </a:lnTo>
                    <a:lnTo>
                      <a:pt x="17" y="103"/>
                    </a:lnTo>
                    <a:lnTo>
                      <a:pt x="15" y="103"/>
                    </a:lnTo>
                    <a:lnTo>
                      <a:pt x="15" y="102"/>
                    </a:lnTo>
                    <a:lnTo>
                      <a:pt x="17" y="102"/>
                    </a:lnTo>
                    <a:lnTo>
                      <a:pt x="15" y="100"/>
                    </a:lnTo>
                    <a:lnTo>
                      <a:pt x="15" y="98"/>
                    </a:lnTo>
                    <a:lnTo>
                      <a:pt x="13" y="98"/>
                    </a:lnTo>
                    <a:lnTo>
                      <a:pt x="13" y="96"/>
                    </a:lnTo>
                    <a:lnTo>
                      <a:pt x="11" y="96"/>
                    </a:lnTo>
                    <a:lnTo>
                      <a:pt x="9" y="96"/>
                    </a:lnTo>
                    <a:lnTo>
                      <a:pt x="9" y="98"/>
                    </a:lnTo>
                    <a:lnTo>
                      <a:pt x="8" y="100"/>
                    </a:lnTo>
                    <a:lnTo>
                      <a:pt x="8" y="98"/>
                    </a:lnTo>
                    <a:lnTo>
                      <a:pt x="6" y="98"/>
                    </a:lnTo>
                    <a:lnTo>
                      <a:pt x="8" y="96"/>
                    </a:lnTo>
                    <a:lnTo>
                      <a:pt x="6" y="96"/>
                    </a:lnTo>
                    <a:lnTo>
                      <a:pt x="6" y="94"/>
                    </a:lnTo>
                    <a:lnTo>
                      <a:pt x="4" y="94"/>
                    </a:lnTo>
                    <a:lnTo>
                      <a:pt x="4" y="92"/>
                    </a:lnTo>
                    <a:lnTo>
                      <a:pt x="2" y="92"/>
                    </a:lnTo>
                    <a:lnTo>
                      <a:pt x="0" y="92"/>
                    </a:lnTo>
                    <a:lnTo>
                      <a:pt x="0" y="90"/>
                    </a:lnTo>
                    <a:lnTo>
                      <a:pt x="2" y="90"/>
                    </a:lnTo>
                    <a:lnTo>
                      <a:pt x="2" y="88"/>
                    </a:lnTo>
                    <a:lnTo>
                      <a:pt x="2" y="86"/>
                    </a:lnTo>
                    <a:lnTo>
                      <a:pt x="2" y="84"/>
                    </a:lnTo>
                    <a:lnTo>
                      <a:pt x="4" y="84"/>
                    </a:lnTo>
                    <a:lnTo>
                      <a:pt x="4" y="82"/>
                    </a:lnTo>
                    <a:lnTo>
                      <a:pt x="6" y="82"/>
                    </a:lnTo>
                    <a:lnTo>
                      <a:pt x="6" y="80"/>
                    </a:lnTo>
                    <a:lnTo>
                      <a:pt x="6" y="78"/>
                    </a:lnTo>
                    <a:lnTo>
                      <a:pt x="6" y="77"/>
                    </a:lnTo>
                    <a:lnTo>
                      <a:pt x="8" y="77"/>
                    </a:lnTo>
                    <a:lnTo>
                      <a:pt x="9" y="77"/>
                    </a:lnTo>
                    <a:lnTo>
                      <a:pt x="9" y="75"/>
                    </a:lnTo>
                    <a:lnTo>
                      <a:pt x="11" y="75"/>
                    </a:lnTo>
                    <a:lnTo>
                      <a:pt x="13" y="75"/>
                    </a:lnTo>
                    <a:lnTo>
                      <a:pt x="15" y="75"/>
                    </a:lnTo>
                    <a:lnTo>
                      <a:pt x="15" y="73"/>
                    </a:lnTo>
                    <a:lnTo>
                      <a:pt x="15" y="71"/>
                    </a:lnTo>
                    <a:lnTo>
                      <a:pt x="15" y="69"/>
                    </a:lnTo>
                    <a:lnTo>
                      <a:pt x="17" y="69"/>
                    </a:lnTo>
                    <a:lnTo>
                      <a:pt x="19" y="69"/>
                    </a:lnTo>
                    <a:lnTo>
                      <a:pt x="21" y="67"/>
                    </a:lnTo>
                    <a:lnTo>
                      <a:pt x="19" y="65"/>
                    </a:lnTo>
                    <a:lnTo>
                      <a:pt x="21" y="63"/>
                    </a:lnTo>
                    <a:lnTo>
                      <a:pt x="23" y="63"/>
                    </a:lnTo>
                    <a:lnTo>
                      <a:pt x="25" y="61"/>
                    </a:lnTo>
                    <a:lnTo>
                      <a:pt x="25" y="59"/>
                    </a:lnTo>
                    <a:lnTo>
                      <a:pt x="23" y="59"/>
                    </a:lnTo>
                    <a:lnTo>
                      <a:pt x="23" y="57"/>
                    </a:lnTo>
                    <a:lnTo>
                      <a:pt x="21" y="57"/>
                    </a:lnTo>
                    <a:lnTo>
                      <a:pt x="23" y="57"/>
                    </a:lnTo>
                    <a:lnTo>
                      <a:pt x="21" y="57"/>
                    </a:lnTo>
                    <a:lnTo>
                      <a:pt x="21" y="55"/>
                    </a:lnTo>
                    <a:lnTo>
                      <a:pt x="19" y="55"/>
                    </a:lnTo>
                    <a:lnTo>
                      <a:pt x="19" y="53"/>
                    </a:lnTo>
                    <a:lnTo>
                      <a:pt x="19" y="52"/>
                    </a:lnTo>
                    <a:lnTo>
                      <a:pt x="21" y="52"/>
                    </a:lnTo>
                    <a:lnTo>
                      <a:pt x="21" y="50"/>
                    </a:lnTo>
                    <a:lnTo>
                      <a:pt x="23" y="50"/>
                    </a:lnTo>
                    <a:lnTo>
                      <a:pt x="23" y="48"/>
                    </a:lnTo>
                    <a:lnTo>
                      <a:pt x="21" y="46"/>
                    </a:lnTo>
                    <a:lnTo>
                      <a:pt x="21" y="44"/>
                    </a:lnTo>
                    <a:lnTo>
                      <a:pt x="19" y="42"/>
                    </a:lnTo>
                    <a:lnTo>
                      <a:pt x="19" y="40"/>
                    </a:lnTo>
                    <a:lnTo>
                      <a:pt x="21" y="40"/>
                    </a:lnTo>
                    <a:lnTo>
                      <a:pt x="21" y="38"/>
                    </a:lnTo>
                    <a:lnTo>
                      <a:pt x="21" y="40"/>
                    </a:lnTo>
                    <a:lnTo>
                      <a:pt x="21" y="38"/>
                    </a:lnTo>
                    <a:lnTo>
                      <a:pt x="23" y="38"/>
                    </a:lnTo>
                    <a:lnTo>
                      <a:pt x="23" y="36"/>
                    </a:lnTo>
                    <a:lnTo>
                      <a:pt x="25" y="36"/>
                    </a:lnTo>
                    <a:lnTo>
                      <a:pt x="27" y="34"/>
                    </a:lnTo>
                    <a:lnTo>
                      <a:pt x="29" y="34"/>
                    </a:lnTo>
                    <a:lnTo>
                      <a:pt x="27" y="34"/>
                    </a:lnTo>
                    <a:lnTo>
                      <a:pt x="27" y="32"/>
                    </a:lnTo>
                    <a:lnTo>
                      <a:pt x="25" y="30"/>
                    </a:lnTo>
                    <a:lnTo>
                      <a:pt x="23" y="30"/>
                    </a:lnTo>
                    <a:lnTo>
                      <a:pt x="23" y="28"/>
                    </a:lnTo>
                    <a:lnTo>
                      <a:pt x="23" y="27"/>
                    </a:lnTo>
                    <a:lnTo>
                      <a:pt x="23" y="25"/>
                    </a:lnTo>
                    <a:lnTo>
                      <a:pt x="25" y="25"/>
                    </a:lnTo>
                    <a:lnTo>
                      <a:pt x="25" y="23"/>
                    </a:lnTo>
                    <a:lnTo>
                      <a:pt x="23" y="23"/>
                    </a:lnTo>
                    <a:lnTo>
                      <a:pt x="25" y="23"/>
                    </a:lnTo>
                    <a:lnTo>
                      <a:pt x="25" y="25"/>
                    </a:lnTo>
                    <a:lnTo>
                      <a:pt x="25" y="23"/>
                    </a:lnTo>
                    <a:lnTo>
                      <a:pt x="27" y="23"/>
                    </a:lnTo>
                    <a:lnTo>
                      <a:pt x="25" y="23"/>
                    </a:lnTo>
                    <a:lnTo>
                      <a:pt x="25" y="21"/>
                    </a:lnTo>
                    <a:lnTo>
                      <a:pt x="27" y="21"/>
                    </a:lnTo>
                    <a:lnTo>
                      <a:pt x="27" y="19"/>
                    </a:lnTo>
                    <a:lnTo>
                      <a:pt x="29" y="21"/>
                    </a:lnTo>
                    <a:lnTo>
                      <a:pt x="31" y="21"/>
                    </a:lnTo>
                    <a:lnTo>
                      <a:pt x="31" y="19"/>
                    </a:lnTo>
                    <a:lnTo>
                      <a:pt x="32" y="19"/>
                    </a:lnTo>
                    <a:lnTo>
                      <a:pt x="31" y="19"/>
                    </a:lnTo>
                    <a:lnTo>
                      <a:pt x="31" y="17"/>
                    </a:lnTo>
                    <a:lnTo>
                      <a:pt x="32" y="17"/>
                    </a:lnTo>
                    <a:lnTo>
                      <a:pt x="32" y="19"/>
                    </a:lnTo>
                    <a:lnTo>
                      <a:pt x="34" y="19"/>
                    </a:lnTo>
                    <a:lnTo>
                      <a:pt x="34" y="17"/>
                    </a:lnTo>
                    <a:lnTo>
                      <a:pt x="36" y="17"/>
                    </a:lnTo>
                    <a:lnTo>
                      <a:pt x="36" y="15"/>
                    </a:lnTo>
                    <a:lnTo>
                      <a:pt x="38" y="15"/>
                    </a:lnTo>
                    <a:lnTo>
                      <a:pt x="38" y="13"/>
                    </a:lnTo>
                    <a:lnTo>
                      <a:pt x="38" y="15"/>
                    </a:lnTo>
                    <a:lnTo>
                      <a:pt x="40" y="15"/>
                    </a:lnTo>
                    <a:lnTo>
                      <a:pt x="40" y="13"/>
                    </a:lnTo>
                    <a:lnTo>
                      <a:pt x="40" y="15"/>
                    </a:lnTo>
                    <a:lnTo>
                      <a:pt x="40" y="17"/>
                    </a:lnTo>
                    <a:lnTo>
                      <a:pt x="40" y="19"/>
                    </a:lnTo>
                    <a:lnTo>
                      <a:pt x="42" y="19"/>
                    </a:lnTo>
                    <a:lnTo>
                      <a:pt x="44" y="21"/>
                    </a:lnTo>
                    <a:lnTo>
                      <a:pt x="46" y="21"/>
                    </a:lnTo>
                    <a:lnTo>
                      <a:pt x="46" y="23"/>
                    </a:lnTo>
                    <a:lnTo>
                      <a:pt x="48" y="25"/>
                    </a:lnTo>
                    <a:lnTo>
                      <a:pt x="50" y="25"/>
                    </a:lnTo>
                    <a:lnTo>
                      <a:pt x="52" y="25"/>
                    </a:lnTo>
                    <a:lnTo>
                      <a:pt x="52" y="27"/>
                    </a:lnTo>
                    <a:lnTo>
                      <a:pt x="54" y="25"/>
                    </a:lnTo>
                    <a:lnTo>
                      <a:pt x="54" y="27"/>
                    </a:lnTo>
                    <a:lnTo>
                      <a:pt x="54" y="25"/>
                    </a:lnTo>
                    <a:lnTo>
                      <a:pt x="56" y="25"/>
                    </a:lnTo>
                    <a:lnTo>
                      <a:pt x="57" y="25"/>
                    </a:lnTo>
                    <a:lnTo>
                      <a:pt x="57" y="27"/>
                    </a:lnTo>
                    <a:lnTo>
                      <a:pt x="59" y="27"/>
                    </a:lnTo>
                    <a:lnTo>
                      <a:pt x="57" y="27"/>
                    </a:lnTo>
                    <a:lnTo>
                      <a:pt x="57" y="25"/>
                    </a:lnTo>
                    <a:lnTo>
                      <a:pt x="59" y="23"/>
                    </a:lnTo>
                    <a:lnTo>
                      <a:pt x="61" y="23"/>
                    </a:lnTo>
                    <a:lnTo>
                      <a:pt x="63" y="23"/>
                    </a:lnTo>
                    <a:lnTo>
                      <a:pt x="63" y="21"/>
                    </a:lnTo>
                    <a:lnTo>
                      <a:pt x="65" y="21"/>
                    </a:lnTo>
                    <a:lnTo>
                      <a:pt x="65" y="23"/>
                    </a:lnTo>
                    <a:lnTo>
                      <a:pt x="67" y="23"/>
                    </a:lnTo>
                    <a:lnTo>
                      <a:pt x="69" y="23"/>
                    </a:lnTo>
                    <a:lnTo>
                      <a:pt x="69" y="25"/>
                    </a:lnTo>
                    <a:lnTo>
                      <a:pt x="69" y="23"/>
                    </a:lnTo>
                    <a:lnTo>
                      <a:pt x="69" y="25"/>
                    </a:lnTo>
                    <a:lnTo>
                      <a:pt x="67" y="25"/>
                    </a:lnTo>
                    <a:lnTo>
                      <a:pt x="67" y="27"/>
                    </a:lnTo>
                    <a:lnTo>
                      <a:pt x="67" y="25"/>
                    </a:lnTo>
                    <a:lnTo>
                      <a:pt x="71" y="25"/>
                    </a:lnTo>
                    <a:lnTo>
                      <a:pt x="71" y="27"/>
                    </a:lnTo>
                    <a:lnTo>
                      <a:pt x="71" y="25"/>
                    </a:lnTo>
                    <a:lnTo>
                      <a:pt x="73" y="25"/>
                    </a:lnTo>
                    <a:lnTo>
                      <a:pt x="75" y="25"/>
                    </a:lnTo>
                    <a:lnTo>
                      <a:pt x="77" y="25"/>
                    </a:lnTo>
                    <a:lnTo>
                      <a:pt x="79" y="25"/>
                    </a:lnTo>
                    <a:lnTo>
                      <a:pt x="79" y="27"/>
                    </a:lnTo>
                    <a:lnTo>
                      <a:pt x="79" y="25"/>
                    </a:lnTo>
                    <a:lnTo>
                      <a:pt x="81" y="27"/>
                    </a:lnTo>
                    <a:lnTo>
                      <a:pt x="81" y="25"/>
                    </a:lnTo>
                    <a:lnTo>
                      <a:pt x="82" y="25"/>
                    </a:lnTo>
                    <a:lnTo>
                      <a:pt x="81" y="25"/>
                    </a:lnTo>
                    <a:lnTo>
                      <a:pt x="82" y="25"/>
                    </a:lnTo>
                    <a:lnTo>
                      <a:pt x="82" y="23"/>
                    </a:lnTo>
                    <a:lnTo>
                      <a:pt x="84" y="23"/>
                    </a:lnTo>
                    <a:lnTo>
                      <a:pt x="84" y="25"/>
                    </a:lnTo>
                    <a:lnTo>
                      <a:pt x="82" y="25"/>
                    </a:lnTo>
                    <a:lnTo>
                      <a:pt x="84" y="25"/>
                    </a:lnTo>
                    <a:lnTo>
                      <a:pt x="84" y="27"/>
                    </a:lnTo>
                    <a:lnTo>
                      <a:pt x="86" y="27"/>
                    </a:lnTo>
                    <a:lnTo>
                      <a:pt x="86" y="25"/>
                    </a:lnTo>
                    <a:lnTo>
                      <a:pt x="86" y="27"/>
                    </a:lnTo>
                    <a:lnTo>
                      <a:pt x="88" y="25"/>
                    </a:lnTo>
                    <a:lnTo>
                      <a:pt x="90" y="25"/>
                    </a:lnTo>
                    <a:lnTo>
                      <a:pt x="90" y="27"/>
                    </a:lnTo>
                    <a:lnTo>
                      <a:pt x="90" y="25"/>
                    </a:lnTo>
                    <a:lnTo>
                      <a:pt x="92" y="25"/>
                    </a:lnTo>
                    <a:lnTo>
                      <a:pt x="94" y="25"/>
                    </a:lnTo>
                    <a:lnTo>
                      <a:pt x="94" y="27"/>
                    </a:lnTo>
                    <a:lnTo>
                      <a:pt x="94" y="25"/>
                    </a:lnTo>
                    <a:lnTo>
                      <a:pt x="96" y="27"/>
                    </a:lnTo>
                    <a:lnTo>
                      <a:pt x="96" y="25"/>
                    </a:lnTo>
                    <a:lnTo>
                      <a:pt x="98" y="25"/>
                    </a:lnTo>
                    <a:lnTo>
                      <a:pt x="100" y="25"/>
                    </a:lnTo>
                    <a:lnTo>
                      <a:pt x="100" y="23"/>
                    </a:lnTo>
                    <a:lnTo>
                      <a:pt x="102" y="23"/>
                    </a:lnTo>
                    <a:lnTo>
                      <a:pt x="104" y="23"/>
                    </a:lnTo>
                    <a:lnTo>
                      <a:pt x="105" y="21"/>
                    </a:lnTo>
                    <a:lnTo>
                      <a:pt x="105" y="23"/>
                    </a:lnTo>
                    <a:lnTo>
                      <a:pt x="107" y="23"/>
                    </a:lnTo>
                    <a:lnTo>
                      <a:pt x="105" y="23"/>
                    </a:lnTo>
                    <a:lnTo>
                      <a:pt x="107" y="25"/>
                    </a:lnTo>
                    <a:lnTo>
                      <a:pt x="109" y="25"/>
                    </a:lnTo>
                    <a:lnTo>
                      <a:pt x="109" y="27"/>
                    </a:lnTo>
                    <a:lnTo>
                      <a:pt x="109" y="28"/>
                    </a:lnTo>
                    <a:lnTo>
                      <a:pt x="111" y="28"/>
                    </a:lnTo>
                    <a:lnTo>
                      <a:pt x="111" y="27"/>
                    </a:lnTo>
                    <a:lnTo>
                      <a:pt x="113" y="27"/>
                    </a:lnTo>
                    <a:lnTo>
                      <a:pt x="113" y="28"/>
                    </a:lnTo>
                    <a:lnTo>
                      <a:pt x="115" y="28"/>
                    </a:lnTo>
                    <a:lnTo>
                      <a:pt x="115" y="30"/>
                    </a:lnTo>
                    <a:lnTo>
                      <a:pt x="113" y="30"/>
                    </a:lnTo>
                    <a:lnTo>
                      <a:pt x="113" y="32"/>
                    </a:lnTo>
                    <a:lnTo>
                      <a:pt x="115" y="32"/>
                    </a:lnTo>
                    <a:lnTo>
                      <a:pt x="115" y="34"/>
                    </a:lnTo>
                    <a:lnTo>
                      <a:pt x="115" y="32"/>
                    </a:lnTo>
                    <a:lnTo>
                      <a:pt x="117" y="32"/>
                    </a:lnTo>
                    <a:lnTo>
                      <a:pt x="117" y="30"/>
                    </a:lnTo>
                    <a:lnTo>
                      <a:pt x="117" y="28"/>
                    </a:lnTo>
                    <a:lnTo>
                      <a:pt x="119" y="27"/>
                    </a:lnTo>
                    <a:lnTo>
                      <a:pt x="121" y="27"/>
                    </a:lnTo>
                    <a:lnTo>
                      <a:pt x="123" y="27"/>
                    </a:lnTo>
                    <a:lnTo>
                      <a:pt x="123" y="25"/>
                    </a:lnTo>
                    <a:lnTo>
                      <a:pt x="125" y="25"/>
                    </a:lnTo>
                    <a:lnTo>
                      <a:pt x="125" y="23"/>
                    </a:lnTo>
                    <a:lnTo>
                      <a:pt x="127" y="21"/>
                    </a:lnTo>
                    <a:lnTo>
                      <a:pt x="127" y="23"/>
                    </a:lnTo>
                    <a:lnTo>
                      <a:pt x="127" y="21"/>
                    </a:lnTo>
                    <a:lnTo>
                      <a:pt x="130" y="21"/>
                    </a:lnTo>
                    <a:lnTo>
                      <a:pt x="130" y="23"/>
                    </a:lnTo>
                    <a:lnTo>
                      <a:pt x="132" y="23"/>
                    </a:lnTo>
                    <a:lnTo>
                      <a:pt x="132" y="21"/>
                    </a:lnTo>
                    <a:lnTo>
                      <a:pt x="134" y="21"/>
                    </a:lnTo>
                    <a:lnTo>
                      <a:pt x="134" y="23"/>
                    </a:lnTo>
                    <a:lnTo>
                      <a:pt x="136" y="23"/>
                    </a:lnTo>
                    <a:lnTo>
                      <a:pt x="136" y="21"/>
                    </a:lnTo>
                    <a:lnTo>
                      <a:pt x="136" y="19"/>
                    </a:lnTo>
                    <a:lnTo>
                      <a:pt x="138" y="17"/>
                    </a:lnTo>
                    <a:lnTo>
                      <a:pt x="138" y="19"/>
                    </a:lnTo>
                    <a:lnTo>
                      <a:pt x="138" y="17"/>
                    </a:lnTo>
                    <a:lnTo>
                      <a:pt x="140" y="15"/>
                    </a:lnTo>
                    <a:lnTo>
                      <a:pt x="142" y="15"/>
                    </a:lnTo>
                    <a:lnTo>
                      <a:pt x="144" y="15"/>
                    </a:lnTo>
                    <a:lnTo>
                      <a:pt x="146" y="15"/>
                    </a:lnTo>
                    <a:lnTo>
                      <a:pt x="148" y="11"/>
                    </a:lnTo>
                    <a:lnTo>
                      <a:pt x="148" y="9"/>
                    </a:lnTo>
                    <a:lnTo>
                      <a:pt x="150" y="9"/>
                    </a:lnTo>
                    <a:lnTo>
                      <a:pt x="150" y="7"/>
                    </a:lnTo>
                    <a:lnTo>
                      <a:pt x="148" y="7"/>
                    </a:lnTo>
                    <a:lnTo>
                      <a:pt x="150" y="5"/>
                    </a:lnTo>
                    <a:lnTo>
                      <a:pt x="148" y="5"/>
                    </a:lnTo>
                    <a:lnTo>
                      <a:pt x="148" y="4"/>
                    </a:lnTo>
                    <a:lnTo>
                      <a:pt x="152" y="2"/>
                    </a:lnTo>
                    <a:lnTo>
                      <a:pt x="154" y="2"/>
                    </a:lnTo>
                    <a:lnTo>
                      <a:pt x="155" y="2"/>
                    </a:lnTo>
                    <a:lnTo>
                      <a:pt x="157" y="0"/>
                    </a:lnTo>
                    <a:lnTo>
                      <a:pt x="157" y="2"/>
                    </a:lnTo>
                    <a:lnTo>
                      <a:pt x="159" y="4"/>
                    </a:lnTo>
                    <a:lnTo>
                      <a:pt x="157" y="4"/>
                    </a:lnTo>
                    <a:lnTo>
                      <a:pt x="159" y="4"/>
                    </a:lnTo>
                    <a:lnTo>
                      <a:pt x="161" y="4"/>
                    </a:lnTo>
                    <a:lnTo>
                      <a:pt x="161" y="5"/>
                    </a:lnTo>
                    <a:lnTo>
                      <a:pt x="163" y="5"/>
                    </a:lnTo>
                    <a:lnTo>
                      <a:pt x="165" y="4"/>
                    </a:lnTo>
                    <a:lnTo>
                      <a:pt x="165" y="5"/>
                    </a:lnTo>
                    <a:lnTo>
                      <a:pt x="167" y="5"/>
                    </a:lnTo>
                    <a:lnTo>
                      <a:pt x="169" y="5"/>
                    </a:lnTo>
                    <a:lnTo>
                      <a:pt x="169" y="7"/>
                    </a:lnTo>
                    <a:lnTo>
                      <a:pt x="171" y="7"/>
                    </a:lnTo>
                    <a:lnTo>
                      <a:pt x="171" y="9"/>
                    </a:lnTo>
                    <a:lnTo>
                      <a:pt x="173" y="9"/>
                    </a:lnTo>
                    <a:lnTo>
                      <a:pt x="171" y="11"/>
                    </a:lnTo>
                    <a:lnTo>
                      <a:pt x="173" y="13"/>
                    </a:lnTo>
                    <a:lnTo>
                      <a:pt x="173" y="11"/>
                    </a:lnTo>
                    <a:lnTo>
                      <a:pt x="175" y="13"/>
                    </a:lnTo>
                    <a:lnTo>
                      <a:pt x="173" y="13"/>
                    </a:lnTo>
                    <a:lnTo>
                      <a:pt x="175" y="13"/>
                    </a:lnTo>
                    <a:lnTo>
                      <a:pt x="175" y="15"/>
                    </a:lnTo>
                    <a:lnTo>
                      <a:pt x="177" y="15"/>
                    </a:lnTo>
                    <a:lnTo>
                      <a:pt x="177" y="17"/>
                    </a:lnTo>
                    <a:lnTo>
                      <a:pt x="175" y="17"/>
                    </a:lnTo>
                    <a:lnTo>
                      <a:pt x="175" y="19"/>
                    </a:lnTo>
                    <a:lnTo>
                      <a:pt x="177" y="19"/>
                    </a:lnTo>
                    <a:lnTo>
                      <a:pt x="177" y="23"/>
                    </a:lnTo>
                    <a:lnTo>
                      <a:pt x="178" y="23"/>
                    </a:lnTo>
                    <a:lnTo>
                      <a:pt x="180" y="23"/>
                    </a:lnTo>
                    <a:lnTo>
                      <a:pt x="182" y="21"/>
                    </a:lnTo>
                    <a:lnTo>
                      <a:pt x="182" y="19"/>
                    </a:lnTo>
                    <a:lnTo>
                      <a:pt x="182" y="17"/>
                    </a:lnTo>
                    <a:lnTo>
                      <a:pt x="184" y="17"/>
                    </a:lnTo>
                    <a:lnTo>
                      <a:pt x="182" y="17"/>
                    </a:lnTo>
                    <a:lnTo>
                      <a:pt x="186" y="17"/>
                    </a:lnTo>
                    <a:lnTo>
                      <a:pt x="188" y="15"/>
                    </a:lnTo>
                    <a:lnTo>
                      <a:pt x="188" y="17"/>
                    </a:lnTo>
                    <a:lnTo>
                      <a:pt x="190" y="19"/>
                    </a:lnTo>
                    <a:lnTo>
                      <a:pt x="190" y="21"/>
                    </a:lnTo>
                    <a:lnTo>
                      <a:pt x="192" y="21"/>
                    </a:lnTo>
                    <a:lnTo>
                      <a:pt x="192" y="23"/>
                    </a:lnTo>
                    <a:lnTo>
                      <a:pt x="194" y="23"/>
                    </a:lnTo>
                    <a:lnTo>
                      <a:pt x="196" y="23"/>
                    </a:lnTo>
                    <a:lnTo>
                      <a:pt x="198" y="23"/>
                    </a:lnTo>
                    <a:lnTo>
                      <a:pt x="200" y="23"/>
                    </a:lnTo>
                    <a:lnTo>
                      <a:pt x="202" y="23"/>
                    </a:lnTo>
                    <a:lnTo>
                      <a:pt x="202" y="21"/>
                    </a:lnTo>
                    <a:lnTo>
                      <a:pt x="203" y="19"/>
                    </a:lnTo>
                    <a:lnTo>
                      <a:pt x="205" y="17"/>
                    </a:lnTo>
                    <a:lnTo>
                      <a:pt x="203" y="17"/>
                    </a:lnTo>
                    <a:lnTo>
                      <a:pt x="205" y="17"/>
                    </a:lnTo>
                    <a:lnTo>
                      <a:pt x="207" y="15"/>
                    </a:lnTo>
                    <a:lnTo>
                      <a:pt x="207" y="17"/>
                    </a:lnTo>
                    <a:lnTo>
                      <a:pt x="209" y="17"/>
                    </a:lnTo>
                    <a:lnTo>
                      <a:pt x="211" y="19"/>
                    </a:lnTo>
                    <a:lnTo>
                      <a:pt x="211" y="17"/>
                    </a:lnTo>
                    <a:lnTo>
                      <a:pt x="211" y="19"/>
                    </a:lnTo>
                    <a:lnTo>
                      <a:pt x="213" y="19"/>
                    </a:lnTo>
                    <a:lnTo>
                      <a:pt x="213" y="17"/>
                    </a:lnTo>
                    <a:lnTo>
                      <a:pt x="213" y="19"/>
                    </a:lnTo>
                    <a:lnTo>
                      <a:pt x="215" y="19"/>
                    </a:lnTo>
                    <a:lnTo>
                      <a:pt x="215" y="17"/>
                    </a:lnTo>
                    <a:lnTo>
                      <a:pt x="215" y="19"/>
                    </a:lnTo>
                    <a:lnTo>
                      <a:pt x="217" y="19"/>
                    </a:lnTo>
                    <a:lnTo>
                      <a:pt x="217" y="21"/>
                    </a:lnTo>
                    <a:lnTo>
                      <a:pt x="219" y="23"/>
                    </a:lnTo>
                    <a:lnTo>
                      <a:pt x="221" y="23"/>
                    </a:lnTo>
                    <a:lnTo>
                      <a:pt x="219" y="23"/>
                    </a:lnTo>
                    <a:lnTo>
                      <a:pt x="221" y="25"/>
                    </a:lnTo>
                    <a:lnTo>
                      <a:pt x="223" y="25"/>
                    </a:lnTo>
                    <a:lnTo>
                      <a:pt x="223" y="27"/>
                    </a:lnTo>
                    <a:lnTo>
                      <a:pt x="225" y="27"/>
                    </a:lnTo>
                    <a:lnTo>
                      <a:pt x="225" y="25"/>
                    </a:lnTo>
                    <a:lnTo>
                      <a:pt x="227" y="25"/>
                    </a:lnTo>
                    <a:lnTo>
                      <a:pt x="228" y="25"/>
                    </a:lnTo>
                    <a:lnTo>
                      <a:pt x="230" y="25"/>
                    </a:lnTo>
                    <a:lnTo>
                      <a:pt x="232" y="25"/>
                    </a:lnTo>
                    <a:lnTo>
                      <a:pt x="232" y="27"/>
                    </a:lnTo>
                    <a:lnTo>
                      <a:pt x="234" y="27"/>
                    </a:lnTo>
                    <a:lnTo>
                      <a:pt x="236" y="27"/>
                    </a:lnTo>
                    <a:lnTo>
                      <a:pt x="236" y="28"/>
                    </a:lnTo>
                    <a:lnTo>
                      <a:pt x="236" y="30"/>
                    </a:lnTo>
                    <a:lnTo>
                      <a:pt x="238" y="30"/>
                    </a:lnTo>
                    <a:lnTo>
                      <a:pt x="238" y="28"/>
                    </a:lnTo>
                    <a:lnTo>
                      <a:pt x="240" y="30"/>
                    </a:lnTo>
                    <a:lnTo>
                      <a:pt x="242" y="30"/>
                    </a:lnTo>
                    <a:lnTo>
                      <a:pt x="240" y="30"/>
                    </a:lnTo>
                    <a:lnTo>
                      <a:pt x="242" y="30"/>
                    </a:lnTo>
                    <a:lnTo>
                      <a:pt x="244" y="30"/>
                    </a:lnTo>
                    <a:lnTo>
                      <a:pt x="244" y="28"/>
                    </a:lnTo>
                    <a:lnTo>
                      <a:pt x="244" y="27"/>
                    </a:lnTo>
                    <a:lnTo>
                      <a:pt x="246" y="27"/>
                    </a:lnTo>
                    <a:lnTo>
                      <a:pt x="248" y="28"/>
                    </a:lnTo>
                    <a:lnTo>
                      <a:pt x="248" y="27"/>
                    </a:lnTo>
                    <a:lnTo>
                      <a:pt x="248" y="28"/>
                    </a:lnTo>
                    <a:lnTo>
                      <a:pt x="250" y="28"/>
                    </a:lnTo>
                    <a:lnTo>
                      <a:pt x="248" y="27"/>
                    </a:lnTo>
                    <a:lnTo>
                      <a:pt x="250" y="27"/>
                    </a:lnTo>
                    <a:lnTo>
                      <a:pt x="250" y="25"/>
                    </a:lnTo>
                    <a:lnTo>
                      <a:pt x="251" y="25"/>
                    </a:lnTo>
                    <a:lnTo>
                      <a:pt x="253" y="23"/>
                    </a:lnTo>
                    <a:lnTo>
                      <a:pt x="253" y="25"/>
                    </a:lnTo>
                    <a:lnTo>
                      <a:pt x="253" y="23"/>
                    </a:lnTo>
                    <a:lnTo>
                      <a:pt x="255" y="25"/>
                    </a:lnTo>
                    <a:lnTo>
                      <a:pt x="257" y="25"/>
                    </a:lnTo>
                    <a:lnTo>
                      <a:pt x="259" y="25"/>
                    </a:lnTo>
                    <a:lnTo>
                      <a:pt x="259" y="23"/>
                    </a:lnTo>
                    <a:lnTo>
                      <a:pt x="257" y="21"/>
                    </a:lnTo>
                    <a:lnTo>
                      <a:pt x="259" y="21"/>
                    </a:lnTo>
                    <a:lnTo>
                      <a:pt x="259" y="19"/>
                    </a:lnTo>
                    <a:lnTo>
                      <a:pt x="261" y="21"/>
                    </a:lnTo>
                    <a:lnTo>
                      <a:pt x="263" y="19"/>
                    </a:lnTo>
                    <a:lnTo>
                      <a:pt x="265" y="21"/>
                    </a:lnTo>
                    <a:lnTo>
                      <a:pt x="263" y="21"/>
                    </a:lnTo>
                    <a:lnTo>
                      <a:pt x="265" y="21"/>
                    </a:lnTo>
                    <a:lnTo>
                      <a:pt x="267" y="23"/>
                    </a:lnTo>
                    <a:lnTo>
                      <a:pt x="269" y="23"/>
                    </a:lnTo>
                    <a:lnTo>
                      <a:pt x="269" y="21"/>
                    </a:lnTo>
                    <a:lnTo>
                      <a:pt x="269" y="23"/>
                    </a:lnTo>
                    <a:lnTo>
                      <a:pt x="271" y="23"/>
                    </a:lnTo>
                    <a:lnTo>
                      <a:pt x="269" y="23"/>
                    </a:lnTo>
                    <a:lnTo>
                      <a:pt x="269" y="25"/>
                    </a:lnTo>
                    <a:lnTo>
                      <a:pt x="271" y="25"/>
                    </a:lnTo>
                    <a:lnTo>
                      <a:pt x="271" y="27"/>
                    </a:lnTo>
                    <a:lnTo>
                      <a:pt x="269" y="28"/>
                    </a:lnTo>
                    <a:lnTo>
                      <a:pt x="269" y="32"/>
                    </a:lnTo>
                    <a:lnTo>
                      <a:pt x="269" y="34"/>
                    </a:lnTo>
                    <a:lnTo>
                      <a:pt x="267" y="36"/>
                    </a:lnTo>
                    <a:lnTo>
                      <a:pt x="267" y="38"/>
                    </a:lnTo>
                    <a:lnTo>
                      <a:pt x="269" y="38"/>
                    </a:lnTo>
                    <a:lnTo>
                      <a:pt x="269" y="40"/>
                    </a:lnTo>
                    <a:lnTo>
                      <a:pt x="267" y="42"/>
                    </a:lnTo>
                    <a:lnTo>
                      <a:pt x="267" y="44"/>
                    </a:lnTo>
                    <a:lnTo>
                      <a:pt x="269" y="46"/>
                    </a:lnTo>
                    <a:lnTo>
                      <a:pt x="269" y="48"/>
                    </a:lnTo>
                    <a:lnTo>
                      <a:pt x="269" y="50"/>
                    </a:lnTo>
                    <a:lnTo>
                      <a:pt x="269" y="53"/>
                    </a:lnTo>
                    <a:lnTo>
                      <a:pt x="271" y="5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5" name="Freeform 135"/>
              <p:cNvSpPr>
                <a:spLocks/>
              </p:cNvSpPr>
              <p:nvPr/>
            </p:nvSpPr>
            <p:spPr bwMode="auto">
              <a:xfrm>
                <a:off x="2316965" y="2732997"/>
                <a:ext cx="602219" cy="559203"/>
              </a:xfrm>
              <a:custGeom>
                <a:avLst/>
                <a:gdLst>
                  <a:gd name="T0" fmla="*/ 334 w 350"/>
                  <a:gd name="T1" fmla="*/ 143 h 325"/>
                  <a:gd name="T2" fmla="*/ 323 w 350"/>
                  <a:gd name="T3" fmla="*/ 150 h 325"/>
                  <a:gd name="T4" fmla="*/ 273 w 350"/>
                  <a:gd name="T5" fmla="*/ 154 h 325"/>
                  <a:gd name="T6" fmla="*/ 246 w 350"/>
                  <a:gd name="T7" fmla="*/ 148 h 325"/>
                  <a:gd name="T8" fmla="*/ 223 w 350"/>
                  <a:gd name="T9" fmla="*/ 141 h 325"/>
                  <a:gd name="T10" fmla="*/ 227 w 350"/>
                  <a:gd name="T11" fmla="*/ 121 h 325"/>
                  <a:gd name="T12" fmla="*/ 223 w 350"/>
                  <a:gd name="T13" fmla="*/ 112 h 325"/>
                  <a:gd name="T14" fmla="*/ 213 w 350"/>
                  <a:gd name="T15" fmla="*/ 110 h 325"/>
                  <a:gd name="T16" fmla="*/ 192 w 350"/>
                  <a:gd name="T17" fmla="*/ 146 h 325"/>
                  <a:gd name="T18" fmla="*/ 194 w 350"/>
                  <a:gd name="T19" fmla="*/ 171 h 325"/>
                  <a:gd name="T20" fmla="*/ 183 w 350"/>
                  <a:gd name="T21" fmla="*/ 183 h 325"/>
                  <a:gd name="T22" fmla="*/ 190 w 350"/>
                  <a:gd name="T23" fmla="*/ 191 h 325"/>
                  <a:gd name="T24" fmla="*/ 196 w 350"/>
                  <a:gd name="T25" fmla="*/ 183 h 325"/>
                  <a:gd name="T26" fmla="*/ 204 w 350"/>
                  <a:gd name="T27" fmla="*/ 187 h 325"/>
                  <a:gd name="T28" fmla="*/ 206 w 350"/>
                  <a:gd name="T29" fmla="*/ 200 h 325"/>
                  <a:gd name="T30" fmla="*/ 211 w 350"/>
                  <a:gd name="T31" fmla="*/ 229 h 325"/>
                  <a:gd name="T32" fmla="*/ 196 w 350"/>
                  <a:gd name="T33" fmla="*/ 233 h 325"/>
                  <a:gd name="T34" fmla="*/ 186 w 350"/>
                  <a:gd name="T35" fmla="*/ 244 h 325"/>
                  <a:gd name="T36" fmla="*/ 183 w 350"/>
                  <a:gd name="T37" fmla="*/ 248 h 325"/>
                  <a:gd name="T38" fmla="*/ 175 w 350"/>
                  <a:gd name="T39" fmla="*/ 260 h 325"/>
                  <a:gd name="T40" fmla="*/ 177 w 350"/>
                  <a:gd name="T41" fmla="*/ 269 h 325"/>
                  <a:gd name="T42" fmla="*/ 161 w 350"/>
                  <a:gd name="T43" fmla="*/ 281 h 325"/>
                  <a:gd name="T44" fmla="*/ 163 w 350"/>
                  <a:gd name="T45" fmla="*/ 285 h 325"/>
                  <a:gd name="T46" fmla="*/ 161 w 350"/>
                  <a:gd name="T47" fmla="*/ 296 h 325"/>
                  <a:gd name="T48" fmla="*/ 158 w 350"/>
                  <a:gd name="T49" fmla="*/ 304 h 325"/>
                  <a:gd name="T50" fmla="*/ 148 w 350"/>
                  <a:gd name="T51" fmla="*/ 321 h 325"/>
                  <a:gd name="T52" fmla="*/ 129 w 350"/>
                  <a:gd name="T53" fmla="*/ 310 h 325"/>
                  <a:gd name="T54" fmla="*/ 119 w 350"/>
                  <a:gd name="T55" fmla="*/ 302 h 325"/>
                  <a:gd name="T56" fmla="*/ 108 w 350"/>
                  <a:gd name="T57" fmla="*/ 296 h 325"/>
                  <a:gd name="T58" fmla="*/ 102 w 350"/>
                  <a:gd name="T59" fmla="*/ 302 h 325"/>
                  <a:gd name="T60" fmla="*/ 88 w 350"/>
                  <a:gd name="T61" fmla="*/ 289 h 325"/>
                  <a:gd name="T62" fmla="*/ 85 w 350"/>
                  <a:gd name="T63" fmla="*/ 269 h 325"/>
                  <a:gd name="T64" fmla="*/ 75 w 350"/>
                  <a:gd name="T65" fmla="*/ 266 h 325"/>
                  <a:gd name="T66" fmla="*/ 60 w 350"/>
                  <a:gd name="T67" fmla="*/ 252 h 325"/>
                  <a:gd name="T68" fmla="*/ 50 w 350"/>
                  <a:gd name="T69" fmla="*/ 241 h 325"/>
                  <a:gd name="T70" fmla="*/ 35 w 350"/>
                  <a:gd name="T71" fmla="*/ 237 h 325"/>
                  <a:gd name="T72" fmla="*/ 21 w 350"/>
                  <a:gd name="T73" fmla="*/ 229 h 325"/>
                  <a:gd name="T74" fmla="*/ 8 w 350"/>
                  <a:gd name="T75" fmla="*/ 206 h 325"/>
                  <a:gd name="T76" fmla="*/ 2 w 350"/>
                  <a:gd name="T77" fmla="*/ 198 h 325"/>
                  <a:gd name="T78" fmla="*/ 0 w 350"/>
                  <a:gd name="T79" fmla="*/ 185 h 325"/>
                  <a:gd name="T80" fmla="*/ 4 w 350"/>
                  <a:gd name="T81" fmla="*/ 171 h 325"/>
                  <a:gd name="T82" fmla="*/ 12 w 350"/>
                  <a:gd name="T83" fmla="*/ 160 h 325"/>
                  <a:gd name="T84" fmla="*/ 13 w 350"/>
                  <a:gd name="T85" fmla="*/ 137 h 325"/>
                  <a:gd name="T86" fmla="*/ 19 w 350"/>
                  <a:gd name="T87" fmla="*/ 119 h 325"/>
                  <a:gd name="T88" fmla="*/ 36 w 350"/>
                  <a:gd name="T89" fmla="*/ 108 h 325"/>
                  <a:gd name="T90" fmla="*/ 46 w 350"/>
                  <a:gd name="T91" fmla="*/ 110 h 325"/>
                  <a:gd name="T92" fmla="*/ 54 w 350"/>
                  <a:gd name="T93" fmla="*/ 104 h 325"/>
                  <a:gd name="T94" fmla="*/ 65 w 350"/>
                  <a:gd name="T95" fmla="*/ 87 h 325"/>
                  <a:gd name="T96" fmla="*/ 75 w 350"/>
                  <a:gd name="T97" fmla="*/ 64 h 325"/>
                  <a:gd name="T98" fmla="*/ 108 w 350"/>
                  <a:gd name="T99" fmla="*/ 46 h 325"/>
                  <a:gd name="T100" fmla="*/ 156 w 350"/>
                  <a:gd name="T101" fmla="*/ 39 h 325"/>
                  <a:gd name="T102" fmla="*/ 192 w 350"/>
                  <a:gd name="T103" fmla="*/ 12 h 325"/>
                  <a:gd name="T104" fmla="*/ 204 w 350"/>
                  <a:gd name="T105" fmla="*/ 4 h 325"/>
                  <a:gd name="T106" fmla="*/ 221 w 350"/>
                  <a:gd name="T107" fmla="*/ 12 h 325"/>
                  <a:gd name="T108" fmla="*/ 242 w 350"/>
                  <a:gd name="T109" fmla="*/ 25 h 325"/>
                  <a:gd name="T110" fmla="*/ 263 w 350"/>
                  <a:gd name="T111" fmla="*/ 44 h 325"/>
                  <a:gd name="T112" fmla="*/ 275 w 350"/>
                  <a:gd name="T113" fmla="*/ 68 h 325"/>
                  <a:gd name="T114" fmla="*/ 290 w 350"/>
                  <a:gd name="T115" fmla="*/ 83 h 325"/>
                  <a:gd name="T116" fmla="*/ 311 w 350"/>
                  <a:gd name="T117" fmla="*/ 108 h 325"/>
                  <a:gd name="T118" fmla="*/ 344 w 350"/>
                  <a:gd name="T119" fmla="*/ 12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0" h="325">
                    <a:moveTo>
                      <a:pt x="348" y="127"/>
                    </a:moveTo>
                    <a:lnTo>
                      <a:pt x="350" y="131"/>
                    </a:lnTo>
                    <a:lnTo>
                      <a:pt x="346" y="133"/>
                    </a:lnTo>
                    <a:lnTo>
                      <a:pt x="344" y="135"/>
                    </a:lnTo>
                    <a:lnTo>
                      <a:pt x="340" y="137"/>
                    </a:lnTo>
                    <a:lnTo>
                      <a:pt x="340" y="139"/>
                    </a:lnTo>
                    <a:lnTo>
                      <a:pt x="338" y="141"/>
                    </a:lnTo>
                    <a:lnTo>
                      <a:pt x="338" y="143"/>
                    </a:lnTo>
                    <a:lnTo>
                      <a:pt x="336" y="143"/>
                    </a:lnTo>
                    <a:lnTo>
                      <a:pt x="334" y="143"/>
                    </a:lnTo>
                    <a:lnTo>
                      <a:pt x="330" y="144"/>
                    </a:lnTo>
                    <a:lnTo>
                      <a:pt x="330" y="146"/>
                    </a:lnTo>
                    <a:lnTo>
                      <a:pt x="329" y="146"/>
                    </a:lnTo>
                    <a:lnTo>
                      <a:pt x="329" y="148"/>
                    </a:lnTo>
                    <a:lnTo>
                      <a:pt x="327" y="148"/>
                    </a:lnTo>
                    <a:lnTo>
                      <a:pt x="329" y="148"/>
                    </a:lnTo>
                    <a:lnTo>
                      <a:pt x="329" y="150"/>
                    </a:lnTo>
                    <a:lnTo>
                      <a:pt x="327" y="150"/>
                    </a:lnTo>
                    <a:lnTo>
                      <a:pt x="325" y="150"/>
                    </a:lnTo>
                    <a:lnTo>
                      <a:pt x="323" y="150"/>
                    </a:lnTo>
                    <a:lnTo>
                      <a:pt x="321" y="152"/>
                    </a:lnTo>
                    <a:lnTo>
                      <a:pt x="319" y="152"/>
                    </a:lnTo>
                    <a:lnTo>
                      <a:pt x="317" y="154"/>
                    </a:lnTo>
                    <a:lnTo>
                      <a:pt x="313" y="156"/>
                    </a:lnTo>
                    <a:lnTo>
                      <a:pt x="290" y="152"/>
                    </a:lnTo>
                    <a:lnTo>
                      <a:pt x="282" y="148"/>
                    </a:lnTo>
                    <a:lnTo>
                      <a:pt x="280" y="148"/>
                    </a:lnTo>
                    <a:lnTo>
                      <a:pt x="275" y="152"/>
                    </a:lnTo>
                    <a:lnTo>
                      <a:pt x="273" y="152"/>
                    </a:lnTo>
                    <a:lnTo>
                      <a:pt x="273" y="154"/>
                    </a:lnTo>
                    <a:lnTo>
                      <a:pt x="271" y="154"/>
                    </a:lnTo>
                    <a:lnTo>
                      <a:pt x="271" y="156"/>
                    </a:lnTo>
                    <a:lnTo>
                      <a:pt x="269" y="156"/>
                    </a:lnTo>
                    <a:lnTo>
                      <a:pt x="267" y="156"/>
                    </a:lnTo>
                    <a:lnTo>
                      <a:pt x="259" y="154"/>
                    </a:lnTo>
                    <a:lnTo>
                      <a:pt x="257" y="154"/>
                    </a:lnTo>
                    <a:lnTo>
                      <a:pt x="252" y="152"/>
                    </a:lnTo>
                    <a:lnTo>
                      <a:pt x="248" y="150"/>
                    </a:lnTo>
                    <a:lnTo>
                      <a:pt x="248" y="148"/>
                    </a:lnTo>
                    <a:lnTo>
                      <a:pt x="246" y="148"/>
                    </a:lnTo>
                    <a:lnTo>
                      <a:pt x="246" y="146"/>
                    </a:lnTo>
                    <a:lnTo>
                      <a:pt x="246" y="144"/>
                    </a:lnTo>
                    <a:lnTo>
                      <a:pt x="244" y="143"/>
                    </a:lnTo>
                    <a:lnTo>
                      <a:pt x="240" y="143"/>
                    </a:lnTo>
                    <a:lnTo>
                      <a:pt x="231" y="143"/>
                    </a:lnTo>
                    <a:lnTo>
                      <a:pt x="229" y="143"/>
                    </a:lnTo>
                    <a:lnTo>
                      <a:pt x="227" y="143"/>
                    </a:lnTo>
                    <a:lnTo>
                      <a:pt x="225" y="143"/>
                    </a:lnTo>
                    <a:lnTo>
                      <a:pt x="225" y="141"/>
                    </a:lnTo>
                    <a:lnTo>
                      <a:pt x="223" y="141"/>
                    </a:lnTo>
                    <a:lnTo>
                      <a:pt x="221" y="141"/>
                    </a:lnTo>
                    <a:lnTo>
                      <a:pt x="219" y="141"/>
                    </a:lnTo>
                    <a:lnTo>
                      <a:pt x="219" y="139"/>
                    </a:lnTo>
                    <a:lnTo>
                      <a:pt x="221" y="139"/>
                    </a:lnTo>
                    <a:lnTo>
                      <a:pt x="221" y="137"/>
                    </a:lnTo>
                    <a:lnTo>
                      <a:pt x="221" y="135"/>
                    </a:lnTo>
                    <a:lnTo>
                      <a:pt x="223" y="129"/>
                    </a:lnTo>
                    <a:lnTo>
                      <a:pt x="225" y="123"/>
                    </a:lnTo>
                    <a:lnTo>
                      <a:pt x="227" y="123"/>
                    </a:lnTo>
                    <a:lnTo>
                      <a:pt x="227" y="121"/>
                    </a:lnTo>
                    <a:lnTo>
                      <a:pt x="229" y="119"/>
                    </a:lnTo>
                    <a:lnTo>
                      <a:pt x="227" y="119"/>
                    </a:lnTo>
                    <a:lnTo>
                      <a:pt x="227" y="118"/>
                    </a:lnTo>
                    <a:lnTo>
                      <a:pt x="225" y="118"/>
                    </a:lnTo>
                    <a:lnTo>
                      <a:pt x="225" y="116"/>
                    </a:lnTo>
                    <a:lnTo>
                      <a:pt x="223" y="116"/>
                    </a:lnTo>
                    <a:lnTo>
                      <a:pt x="223" y="114"/>
                    </a:lnTo>
                    <a:lnTo>
                      <a:pt x="223" y="112"/>
                    </a:lnTo>
                    <a:lnTo>
                      <a:pt x="223" y="114"/>
                    </a:lnTo>
                    <a:lnTo>
                      <a:pt x="223" y="112"/>
                    </a:lnTo>
                    <a:lnTo>
                      <a:pt x="223" y="110"/>
                    </a:lnTo>
                    <a:lnTo>
                      <a:pt x="223" y="112"/>
                    </a:lnTo>
                    <a:lnTo>
                      <a:pt x="223" y="110"/>
                    </a:lnTo>
                    <a:lnTo>
                      <a:pt x="221" y="110"/>
                    </a:lnTo>
                    <a:lnTo>
                      <a:pt x="219" y="110"/>
                    </a:lnTo>
                    <a:lnTo>
                      <a:pt x="219" y="108"/>
                    </a:lnTo>
                    <a:lnTo>
                      <a:pt x="217" y="108"/>
                    </a:lnTo>
                    <a:lnTo>
                      <a:pt x="215" y="108"/>
                    </a:lnTo>
                    <a:lnTo>
                      <a:pt x="215" y="110"/>
                    </a:lnTo>
                    <a:lnTo>
                      <a:pt x="213" y="110"/>
                    </a:lnTo>
                    <a:lnTo>
                      <a:pt x="215" y="110"/>
                    </a:lnTo>
                    <a:lnTo>
                      <a:pt x="213" y="110"/>
                    </a:lnTo>
                    <a:lnTo>
                      <a:pt x="213" y="112"/>
                    </a:lnTo>
                    <a:lnTo>
                      <a:pt x="200" y="133"/>
                    </a:lnTo>
                    <a:lnTo>
                      <a:pt x="196" y="141"/>
                    </a:lnTo>
                    <a:lnTo>
                      <a:pt x="194" y="143"/>
                    </a:lnTo>
                    <a:lnTo>
                      <a:pt x="192" y="143"/>
                    </a:lnTo>
                    <a:lnTo>
                      <a:pt x="190" y="144"/>
                    </a:lnTo>
                    <a:lnTo>
                      <a:pt x="192" y="144"/>
                    </a:lnTo>
                    <a:lnTo>
                      <a:pt x="192" y="146"/>
                    </a:lnTo>
                    <a:lnTo>
                      <a:pt x="192" y="148"/>
                    </a:lnTo>
                    <a:lnTo>
                      <a:pt x="192" y="150"/>
                    </a:lnTo>
                    <a:lnTo>
                      <a:pt x="190" y="152"/>
                    </a:lnTo>
                    <a:lnTo>
                      <a:pt x="192" y="154"/>
                    </a:lnTo>
                    <a:lnTo>
                      <a:pt x="192" y="156"/>
                    </a:lnTo>
                    <a:lnTo>
                      <a:pt x="194" y="158"/>
                    </a:lnTo>
                    <a:lnTo>
                      <a:pt x="192" y="167"/>
                    </a:lnTo>
                    <a:lnTo>
                      <a:pt x="194" y="167"/>
                    </a:lnTo>
                    <a:lnTo>
                      <a:pt x="196" y="169"/>
                    </a:lnTo>
                    <a:lnTo>
                      <a:pt x="194" y="171"/>
                    </a:lnTo>
                    <a:lnTo>
                      <a:pt x="194" y="173"/>
                    </a:lnTo>
                    <a:lnTo>
                      <a:pt x="192" y="173"/>
                    </a:lnTo>
                    <a:lnTo>
                      <a:pt x="190" y="173"/>
                    </a:lnTo>
                    <a:lnTo>
                      <a:pt x="190" y="175"/>
                    </a:lnTo>
                    <a:lnTo>
                      <a:pt x="188" y="175"/>
                    </a:lnTo>
                    <a:lnTo>
                      <a:pt x="186" y="177"/>
                    </a:lnTo>
                    <a:lnTo>
                      <a:pt x="184" y="177"/>
                    </a:lnTo>
                    <a:lnTo>
                      <a:pt x="183" y="179"/>
                    </a:lnTo>
                    <a:lnTo>
                      <a:pt x="183" y="181"/>
                    </a:lnTo>
                    <a:lnTo>
                      <a:pt x="183" y="183"/>
                    </a:lnTo>
                    <a:lnTo>
                      <a:pt x="184" y="187"/>
                    </a:lnTo>
                    <a:lnTo>
                      <a:pt x="186" y="187"/>
                    </a:lnTo>
                    <a:lnTo>
                      <a:pt x="188" y="187"/>
                    </a:lnTo>
                    <a:lnTo>
                      <a:pt x="188" y="189"/>
                    </a:lnTo>
                    <a:lnTo>
                      <a:pt x="188" y="191"/>
                    </a:lnTo>
                    <a:lnTo>
                      <a:pt x="186" y="191"/>
                    </a:lnTo>
                    <a:lnTo>
                      <a:pt x="186" y="192"/>
                    </a:lnTo>
                    <a:lnTo>
                      <a:pt x="188" y="192"/>
                    </a:lnTo>
                    <a:lnTo>
                      <a:pt x="190" y="192"/>
                    </a:lnTo>
                    <a:lnTo>
                      <a:pt x="190" y="191"/>
                    </a:lnTo>
                    <a:lnTo>
                      <a:pt x="192" y="191"/>
                    </a:lnTo>
                    <a:lnTo>
                      <a:pt x="192" y="189"/>
                    </a:lnTo>
                    <a:lnTo>
                      <a:pt x="194" y="189"/>
                    </a:lnTo>
                    <a:lnTo>
                      <a:pt x="192" y="187"/>
                    </a:lnTo>
                    <a:lnTo>
                      <a:pt x="192" y="185"/>
                    </a:lnTo>
                    <a:lnTo>
                      <a:pt x="194" y="187"/>
                    </a:lnTo>
                    <a:lnTo>
                      <a:pt x="194" y="185"/>
                    </a:lnTo>
                    <a:lnTo>
                      <a:pt x="194" y="183"/>
                    </a:lnTo>
                    <a:lnTo>
                      <a:pt x="196" y="185"/>
                    </a:lnTo>
                    <a:lnTo>
                      <a:pt x="196" y="183"/>
                    </a:lnTo>
                    <a:lnTo>
                      <a:pt x="198" y="183"/>
                    </a:lnTo>
                    <a:lnTo>
                      <a:pt x="198" y="185"/>
                    </a:lnTo>
                    <a:lnTo>
                      <a:pt x="200" y="185"/>
                    </a:lnTo>
                    <a:lnTo>
                      <a:pt x="200" y="183"/>
                    </a:lnTo>
                    <a:lnTo>
                      <a:pt x="202" y="183"/>
                    </a:lnTo>
                    <a:lnTo>
                      <a:pt x="202" y="185"/>
                    </a:lnTo>
                    <a:lnTo>
                      <a:pt x="202" y="187"/>
                    </a:lnTo>
                    <a:lnTo>
                      <a:pt x="202" y="185"/>
                    </a:lnTo>
                    <a:lnTo>
                      <a:pt x="204" y="185"/>
                    </a:lnTo>
                    <a:lnTo>
                      <a:pt x="204" y="187"/>
                    </a:lnTo>
                    <a:lnTo>
                      <a:pt x="202" y="191"/>
                    </a:lnTo>
                    <a:lnTo>
                      <a:pt x="204" y="191"/>
                    </a:lnTo>
                    <a:lnTo>
                      <a:pt x="204" y="192"/>
                    </a:lnTo>
                    <a:lnTo>
                      <a:pt x="202" y="192"/>
                    </a:lnTo>
                    <a:lnTo>
                      <a:pt x="202" y="194"/>
                    </a:lnTo>
                    <a:lnTo>
                      <a:pt x="202" y="196"/>
                    </a:lnTo>
                    <a:lnTo>
                      <a:pt x="204" y="196"/>
                    </a:lnTo>
                    <a:lnTo>
                      <a:pt x="206" y="196"/>
                    </a:lnTo>
                    <a:lnTo>
                      <a:pt x="206" y="198"/>
                    </a:lnTo>
                    <a:lnTo>
                      <a:pt x="206" y="200"/>
                    </a:lnTo>
                    <a:lnTo>
                      <a:pt x="206" y="202"/>
                    </a:lnTo>
                    <a:lnTo>
                      <a:pt x="207" y="204"/>
                    </a:lnTo>
                    <a:lnTo>
                      <a:pt x="207" y="206"/>
                    </a:lnTo>
                    <a:lnTo>
                      <a:pt x="207" y="208"/>
                    </a:lnTo>
                    <a:lnTo>
                      <a:pt x="211" y="216"/>
                    </a:lnTo>
                    <a:lnTo>
                      <a:pt x="213" y="219"/>
                    </a:lnTo>
                    <a:lnTo>
                      <a:pt x="213" y="221"/>
                    </a:lnTo>
                    <a:lnTo>
                      <a:pt x="213" y="227"/>
                    </a:lnTo>
                    <a:lnTo>
                      <a:pt x="213" y="229"/>
                    </a:lnTo>
                    <a:lnTo>
                      <a:pt x="211" y="229"/>
                    </a:lnTo>
                    <a:lnTo>
                      <a:pt x="209" y="229"/>
                    </a:lnTo>
                    <a:lnTo>
                      <a:pt x="209" y="231"/>
                    </a:lnTo>
                    <a:lnTo>
                      <a:pt x="209" y="233"/>
                    </a:lnTo>
                    <a:lnTo>
                      <a:pt x="207" y="235"/>
                    </a:lnTo>
                    <a:lnTo>
                      <a:pt x="206" y="233"/>
                    </a:lnTo>
                    <a:lnTo>
                      <a:pt x="204" y="233"/>
                    </a:lnTo>
                    <a:lnTo>
                      <a:pt x="202" y="235"/>
                    </a:lnTo>
                    <a:lnTo>
                      <a:pt x="200" y="235"/>
                    </a:lnTo>
                    <a:lnTo>
                      <a:pt x="198" y="233"/>
                    </a:lnTo>
                    <a:lnTo>
                      <a:pt x="196" y="233"/>
                    </a:lnTo>
                    <a:lnTo>
                      <a:pt x="194" y="233"/>
                    </a:lnTo>
                    <a:lnTo>
                      <a:pt x="194" y="231"/>
                    </a:lnTo>
                    <a:lnTo>
                      <a:pt x="194" y="229"/>
                    </a:lnTo>
                    <a:lnTo>
                      <a:pt x="192" y="229"/>
                    </a:lnTo>
                    <a:lnTo>
                      <a:pt x="190" y="233"/>
                    </a:lnTo>
                    <a:lnTo>
                      <a:pt x="194" y="235"/>
                    </a:lnTo>
                    <a:lnTo>
                      <a:pt x="192" y="239"/>
                    </a:lnTo>
                    <a:lnTo>
                      <a:pt x="190" y="241"/>
                    </a:lnTo>
                    <a:lnTo>
                      <a:pt x="188" y="241"/>
                    </a:lnTo>
                    <a:lnTo>
                      <a:pt x="186" y="244"/>
                    </a:lnTo>
                    <a:lnTo>
                      <a:pt x="184" y="244"/>
                    </a:lnTo>
                    <a:lnTo>
                      <a:pt x="184" y="242"/>
                    </a:lnTo>
                    <a:lnTo>
                      <a:pt x="183" y="242"/>
                    </a:lnTo>
                    <a:lnTo>
                      <a:pt x="181" y="242"/>
                    </a:lnTo>
                    <a:lnTo>
                      <a:pt x="179" y="244"/>
                    </a:lnTo>
                    <a:lnTo>
                      <a:pt x="181" y="246"/>
                    </a:lnTo>
                    <a:lnTo>
                      <a:pt x="181" y="244"/>
                    </a:lnTo>
                    <a:lnTo>
                      <a:pt x="183" y="244"/>
                    </a:lnTo>
                    <a:lnTo>
                      <a:pt x="183" y="246"/>
                    </a:lnTo>
                    <a:lnTo>
                      <a:pt x="183" y="248"/>
                    </a:lnTo>
                    <a:lnTo>
                      <a:pt x="184" y="248"/>
                    </a:lnTo>
                    <a:lnTo>
                      <a:pt x="184" y="250"/>
                    </a:lnTo>
                    <a:lnTo>
                      <a:pt x="183" y="252"/>
                    </a:lnTo>
                    <a:lnTo>
                      <a:pt x="183" y="254"/>
                    </a:lnTo>
                    <a:lnTo>
                      <a:pt x="181" y="254"/>
                    </a:lnTo>
                    <a:lnTo>
                      <a:pt x="179" y="256"/>
                    </a:lnTo>
                    <a:lnTo>
                      <a:pt x="177" y="256"/>
                    </a:lnTo>
                    <a:lnTo>
                      <a:pt x="175" y="256"/>
                    </a:lnTo>
                    <a:lnTo>
                      <a:pt x="175" y="258"/>
                    </a:lnTo>
                    <a:lnTo>
                      <a:pt x="175" y="260"/>
                    </a:lnTo>
                    <a:lnTo>
                      <a:pt x="175" y="258"/>
                    </a:lnTo>
                    <a:lnTo>
                      <a:pt x="177" y="258"/>
                    </a:lnTo>
                    <a:lnTo>
                      <a:pt x="177" y="260"/>
                    </a:lnTo>
                    <a:lnTo>
                      <a:pt x="175" y="260"/>
                    </a:lnTo>
                    <a:lnTo>
                      <a:pt x="177" y="262"/>
                    </a:lnTo>
                    <a:lnTo>
                      <a:pt x="177" y="264"/>
                    </a:lnTo>
                    <a:lnTo>
                      <a:pt x="179" y="264"/>
                    </a:lnTo>
                    <a:lnTo>
                      <a:pt x="179" y="266"/>
                    </a:lnTo>
                    <a:lnTo>
                      <a:pt x="179" y="267"/>
                    </a:lnTo>
                    <a:lnTo>
                      <a:pt x="177" y="269"/>
                    </a:lnTo>
                    <a:lnTo>
                      <a:pt x="177" y="271"/>
                    </a:lnTo>
                    <a:lnTo>
                      <a:pt x="175" y="277"/>
                    </a:lnTo>
                    <a:lnTo>
                      <a:pt x="173" y="279"/>
                    </a:lnTo>
                    <a:lnTo>
                      <a:pt x="171" y="279"/>
                    </a:lnTo>
                    <a:lnTo>
                      <a:pt x="167" y="279"/>
                    </a:lnTo>
                    <a:lnTo>
                      <a:pt x="165" y="277"/>
                    </a:lnTo>
                    <a:lnTo>
                      <a:pt x="161" y="277"/>
                    </a:lnTo>
                    <a:lnTo>
                      <a:pt x="161" y="279"/>
                    </a:lnTo>
                    <a:lnTo>
                      <a:pt x="159" y="281"/>
                    </a:lnTo>
                    <a:lnTo>
                      <a:pt x="161" y="281"/>
                    </a:lnTo>
                    <a:lnTo>
                      <a:pt x="163" y="283"/>
                    </a:lnTo>
                    <a:lnTo>
                      <a:pt x="163" y="281"/>
                    </a:lnTo>
                    <a:lnTo>
                      <a:pt x="165" y="281"/>
                    </a:lnTo>
                    <a:lnTo>
                      <a:pt x="167" y="281"/>
                    </a:lnTo>
                    <a:lnTo>
                      <a:pt x="169" y="281"/>
                    </a:lnTo>
                    <a:lnTo>
                      <a:pt x="169" y="283"/>
                    </a:lnTo>
                    <a:lnTo>
                      <a:pt x="169" y="285"/>
                    </a:lnTo>
                    <a:lnTo>
                      <a:pt x="167" y="285"/>
                    </a:lnTo>
                    <a:lnTo>
                      <a:pt x="165" y="285"/>
                    </a:lnTo>
                    <a:lnTo>
                      <a:pt x="163" y="285"/>
                    </a:lnTo>
                    <a:lnTo>
                      <a:pt x="161" y="285"/>
                    </a:lnTo>
                    <a:lnTo>
                      <a:pt x="161" y="287"/>
                    </a:lnTo>
                    <a:lnTo>
                      <a:pt x="163" y="287"/>
                    </a:lnTo>
                    <a:lnTo>
                      <a:pt x="161" y="287"/>
                    </a:lnTo>
                    <a:lnTo>
                      <a:pt x="161" y="289"/>
                    </a:lnTo>
                    <a:lnTo>
                      <a:pt x="159" y="289"/>
                    </a:lnTo>
                    <a:lnTo>
                      <a:pt x="159" y="291"/>
                    </a:lnTo>
                    <a:lnTo>
                      <a:pt x="159" y="292"/>
                    </a:lnTo>
                    <a:lnTo>
                      <a:pt x="159" y="294"/>
                    </a:lnTo>
                    <a:lnTo>
                      <a:pt x="161" y="296"/>
                    </a:lnTo>
                    <a:lnTo>
                      <a:pt x="163" y="296"/>
                    </a:lnTo>
                    <a:lnTo>
                      <a:pt x="165" y="298"/>
                    </a:lnTo>
                    <a:lnTo>
                      <a:pt x="165" y="300"/>
                    </a:lnTo>
                    <a:lnTo>
                      <a:pt x="163" y="300"/>
                    </a:lnTo>
                    <a:lnTo>
                      <a:pt x="163" y="302"/>
                    </a:lnTo>
                    <a:lnTo>
                      <a:pt x="161" y="304"/>
                    </a:lnTo>
                    <a:lnTo>
                      <a:pt x="161" y="306"/>
                    </a:lnTo>
                    <a:lnTo>
                      <a:pt x="159" y="306"/>
                    </a:lnTo>
                    <a:lnTo>
                      <a:pt x="159" y="304"/>
                    </a:lnTo>
                    <a:lnTo>
                      <a:pt x="158" y="304"/>
                    </a:lnTo>
                    <a:lnTo>
                      <a:pt x="156" y="304"/>
                    </a:lnTo>
                    <a:lnTo>
                      <a:pt x="154" y="308"/>
                    </a:lnTo>
                    <a:lnTo>
                      <a:pt x="152" y="310"/>
                    </a:lnTo>
                    <a:lnTo>
                      <a:pt x="152" y="312"/>
                    </a:lnTo>
                    <a:lnTo>
                      <a:pt x="152" y="314"/>
                    </a:lnTo>
                    <a:lnTo>
                      <a:pt x="152" y="316"/>
                    </a:lnTo>
                    <a:lnTo>
                      <a:pt x="152" y="317"/>
                    </a:lnTo>
                    <a:lnTo>
                      <a:pt x="150" y="317"/>
                    </a:lnTo>
                    <a:lnTo>
                      <a:pt x="148" y="319"/>
                    </a:lnTo>
                    <a:lnTo>
                      <a:pt x="148" y="321"/>
                    </a:lnTo>
                    <a:lnTo>
                      <a:pt x="144" y="323"/>
                    </a:lnTo>
                    <a:lnTo>
                      <a:pt x="140" y="325"/>
                    </a:lnTo>
                    <a:lnTo>
                      <a:pt x="138" y="323"/>
                    </a:lnTo>
                    <a:lnTo>
                      <a:pt x="136" y="321"/>
                    </a:lnTo>
                    <a:lnTo>
                      <a:pt x="136" y="319"/>
                    </a:lnTo>
                    <a:lnTo>
                      <a:pt x="133" y="319"/>
                    </a:lnTo>
                    <a:lnTo>
                      <a:pt x="133" y="317"/>
                    </a:lnTo>
                    <a:lnTo>
                      <a:pt x="131" y="314"/>
                    </a:lnTo>
                    <a:lnTo>
                      <a:pt x="131" y="312"/>
                    </a:lnTo>
                    <a:lnTo>
                      <a:pt x="129" y="310"/>
                    </a:lnTo>
                    <a:lnTo>
                      <a:pt x="129" y="308"/>
                    </a:lnTo>
                    <a:lnTo>
                      <a:pt x="127" y="308"/>
                    </a:lnTo>
                    <a:lnTo>
                      <a:pt x="125" y="306"/>
                    </a:lnTo>
                    <a:lnTo>
                      <a:pt x="123" y="306"/>
                    </a:lnTo>
                    <a:lnTo>
                      <a:pt x="121" y="306"/>
                    </a:lnTo>
                    <a:lnTo>
                      <a:pt x="119" y="306"/>
                    </a:lnTo>
                    <a:lnTo>
                      <a:pt x="119" y="304"/>
                    </a:lnTo>
                    <a:lnTo>
                      <a:pt x="117" y="304"/>
                    </a:lnTo>
                    <a:lnTo>
                      <a:pt x="119" y="304"/>
                    </a:lnTo>
                    <a:lnTo>
                      <a:pt x="119" y="302"/>
                    </a:lnTo>
                    <a:lnTo>
                      <a:pt x="117" y="302"/>
                    </a:lnTo>
                    <a:lnTo>
                      <a:pt x="115" y="302"/>
                    </a:lnTo>
                    <a:lnTo>
                      <a:pt x="115" y="304"/>
                    </a:lnTo>
                    <a:lnTo>
                      <a:pt x="113" y="304"/>
                    </a:lnTo>
                    <a:lnTo>
                      <a:pt x="111" y="304"/>
                    </a:lnTo>
                    <a:lnTo>
                      <a:pt x="109" y="304"/>
                    </a:lnTo>
                    <a:lnTo>
                      <a:pt x="109" y="302"/>
                    </a:lnTo>
                    <a:lnTo>
                      <a:pt x="109" y="300"/>
                    </a:lnTo>
                    <a:lnTo>
                      <a:pt x="109" y="298"/>
                    </a:lnTo>
                    <a:lnTo>
                      <a:pt x="108" y="296"/>
                    </a:lnTo>
                    <a:lnTo>
                      <a:pt x="106" y="296"/>
                    </a:lnTo>
                    <a:lnTo>
                      <a:pt x="106" y="294"/>
                    </a:lnTo>
                    <a:lnTo>
                      <a:pt x="104" y="294"/>
                    </a:lnTo>
                    <a:lnTo>
                      <a:pt x="102" y="296"/>
                    </a:lnTo>
                    <a:lnTo>
                      <a:pt x="102" y="298"/>
                    </a:lnTo>
                    <a:lnTo>
                      <a:pt x="104" y="300"/>
                    </a:lnTo>
                    <a:lnTo>
                      <a:pt x="104" y="302"/>
                    </a:lnTo>
                    <a:lnTo>
                      <a:pt x="104" y="306"/>
                    </a:lnTo>
                    <a:lnTo>
                      <a:pt x="102" y="304"/>
                    </a:lnTo>
                    <a:lnTo>
                      <a:pt x="102" y="302"/>
                    </a:lnTo>
                    <a:lnTo>
                      <a:pt x="100" y="300"/>
                    </a:lnTo>
                    <a:lnTo>
                      <a:pt x="98" y="298"/>
                    </a:lnTo>
                    <a:lnTo>
                      <a:pt x="96" y="296"/>
                    </a:lnTo>
                    <a:lnTo>
                      <a:pt x="94" y="298"/>
                    </a:lnTo>
                    <a:lnTo>
                      <a:pt x="94" y="296"/>
                    </a:lnTo>
                    <a:lnTo>
                      <a:pt x="92" y="292"/>
                    </a:lnTo>
                    <a:lnTo>
                      <a:pt x="90" y="292"/>
                    </a:lnTo>
                    <a:lnTo>
                      <a:pt x="88" y="292"/>
                    </a:lnTo>
                    <a:lnTo>
                      <a:pt x="88" y="291"/>
                    </a:lnTo>
                    <a:lnTo>
                      <a:pt x="88" y="289"/>
                    </a:lnTo>
                    <a:lnTo>
                      <a:pt x="86" y="287"/>
                    </a:lnTo>
                    <a:lnTo>
                      <a:pt x="86" y="285"/>
                    </a:lnTo>
                    <a:lnTo>
                      <a:pt x="86" y="283"/>
                    </a:lnTo>
                    <a:lnTo>
                      <a:pt x="86" y="281"/>
                    </a:lnTo>
                    <a:lnTo>
                      <a:pt x="85" y="279"/>
                    </a:lnTo>
                    <a:lnTo>
                      <a:pt x="83" y="279"/>
                    </a:lnTo>
                    <a:lnTo>
                      <a:pt x="83" y="277"/>
                    </a:lnTo>
                    <a:lnTo>
                      <a:pt x="83" y="275"/>
                    </a:lnTo>
                    <a:lnTo>
                      <a:pt x="85" y="271"/>
                    </a:lnTo>
                    <a:lnTo>
                      <a:pt x="85" y="269"/>
                    </a:lnTo>
                    <a:lnTo>
                      <a:pt x="83" y="269"/>
                    </a:lnTo>
                    <a:lnTo>
                      <a:pt x="81" y="269"/>
                    </a:lnTo>
                    <a:lnTo>
                      <a:pt x="79" y="269"/>
                    </a:lnTo>
                    <a:lnTo>
                      <a:pt x="77" y="271"/>
                    </a:lnTo>
                    <a:lnTo>
                      <a:pt x="75" y="271"/>
                    </a:lnTo>
                    <a:lnTo>
                      <a:pt x="75" y="269"/>
                    </a:lnTo>
                    <a:lnTo>
                      <a:pt x="73" y="269"/>
                    </a:lnTo>
                    <a:lnTo>
                      <a:pt x="73" y="267"/>
                    </a:lnTo>
                    <a:lnTo>
                      <a:pt x="75" y="267"/>
                    </a:lnTo>
                    <a:lnTo>
                      <a:pt x="75" y="266"/>
                    </a:lnTo>
                    <a:lnTo>
                      <a:pt x="73" y="266"/>
                    </a:lnTo>
                    <a:lnTo>
                      <a:pt x="71" y="266"/>
                    </a:lnTo>
                    <a:lnTo>
                      <a:pt x="67" y="266"/>
                    </a:lnTo>
                    <a:lnTo>
                      <a:pt x="67" y="264"/>
                    </a:lnTo>
                    <a:lnTo>
                      <a:pt x="65" y="266"/>
                    </a:lnTo>
                    <a:lnTo>
                      <a:pt x="65" y="264"/>
                    </a:lnTo>
                    <a:lnTo>
                      <a:pt x="61" y="264"/>
                    </a:lnTo>
                    <a:lnTo>
                      <a:pt x="61" y="262"/>
                    </a:lnTo>
                    <a:lnTo>
                      <a:pt x="61" y="256"/>
                    </a:lnTo>
                    <a:lnTo>
                      <a:pt x="60" y="252"/>
                    </a:lnTo>
                    <a:lnTo>
                      <a:pt x="61" y="252"/>
                    </a:lnTo>
                    <a:lnTo>
                      <a:pt x="60" y="250"/>
                    </a:lnTo>
                    <a:lnTo>
                      <a:pt x="60" y="246"/>
                    </a:lnTo>
                    <a:lnTo>
                      <a:pt x="61" y="246"/>
                    </a:lnTo>
                    <a:lnTo>
                      <a:pt x="60" y="244"/>
                    </a:lnTo>
                    <a:lnTo>
                      <a:pt x="56" y="244"/>
                    </a:lnTo>
                    <a:lnTo>
                      <a:pt x="54" y="242"/>
                    </a:lnTo>
                    <a:lnTo>
                      <a:pt x="52" y="242"/>
                    </a:lnTo>
                    <a:lnTo>
                      <a:pt x="52" y="241"/>
                    </a:lnTo>
                    <a:lnTo>
                      <a:pt x="50" y="241"/>
                    </a:lnTo>
                    <a:lnTo>
                      <a:pt x="44" y="241"/>
                    </a:lnTo>
                    <a:lnTo>
                      <a:pt x="46" y="237"/>
                    </a:lnTo>
                    <a:lnTo>
                      <a:pt x="44" y="237"/>
                    </a:lnTo>
                    <a:lnTo>
                      <a:pt x="44" y="235"/>
                    </a:lnTo>
                    <a:lnTo>
                      <a:pt x="42" y="235"/>
                    </a:lnTo>
                    <a:lnTo>
                      <a:pt x="42" y="237"/>
                    </a:lnTo>
                    <a:lnTo>
                      <a:pt x="40" y="237"/>
                    </a:lnTo>
                    <a:lnTo>
                      <a:pt x="36" y="237"/>
                    </a:lnTo>
                    <a:lnTo>
                      <a:pt x="35" y="239"/>
                    </a:lnTo>
                    <a:lnTo>
                      <a:pt x="35" y="237"/>
                    </a:lnTo>
                    <a:lnTo>
                      <a:pt x="35" y="235"/>
                    </a:lnTo>
                    <a:lnTo>
                      <a:pt x="33" y="233"/>
                    </a:lnTo>
                    <a:lnTo>
                      <a:pt x="33" y="229"/>
                    </a:lnTo>
                    <a:lnTo>
                      <a:pt x="31" y="229"/>
                    </a:lnTo>
                    <a:lnTo>
                      <a:pt x="29" y="229"/>
                    </a:lnTo>
                    <a:lnTo>
                      <a:pt x="27" y="229"/>
                    </a:lnTo>
                    <a:lnTo>
                      <a:pt x="25" y="231"/>
                    </a:lnTo>
                    <a:lnTo>
                      <a:pt x="23" y="231"/>
                    </a:lnTo>
                    <a:lnTo>
                      <a:pt x="21" y="231"/>
                    </a:lnTo>
                    <a:lnTo>
                      <a:pt x="21" y="229"/>
                    </a:lnTo>
                    <a:lnTo>
                      <a:pt x="17" y="223"/>
                    </a:lnTo>
                    <a:lnTo>
                      <a:pt x="17" y="221"/>
                    </a:lnTo>
                    <a:lnTo>
                      <a:pt x="17" y="219"/>
                    </a:lnTo>
                    <a:lnTo>
                      <a:pt x="17" y="216"/>
                    </a:lnTo>
                    <a:lnTo>
                      <a:pt x="15" y="216"/>
                    </a:lnTo>
                    <a:lnTo>
                      <a:pt x="15" y="214"/>
                    </a:lnTo>
                    <a:lnTo>
                      <a:pt x="17" y="210"/>
                    </a:lnTo>
                    <a:lnTo>
                      <a:pt x="13" y="208"/>
                    </a:lnTo>
                    <a:lnTo>
                      <a:pt x="10" y="208"/>
                    </a:lnTo>
                    <a:lnTo>
                      <a:pt x="8" y="206"/>
                    </a:lnTo>
                    <a:lnTo>
                      <a:pt x="6" y="206"/>
                    </a:lnTo>
                    <a:lnTo>
                      <a:pt x="4" y="206"/>
                    </a:lnTo>
                    <a:lnTo>
                      <a:pt x="2" y="204"/>
                    </a:lnTo>
                    <a:lnTo>
                      <a:pt x="0" y="202"/>
                    </a:lnTo>
                    <a:lnTo>
                      <a:pt x="0" y="200"/>
                    </a:lnTo>
                    <a:lnTo>
                      <a:pt x="2" y="200"/>
                    </a:lnTo>
                    <a:lnTo>
                      <a:pt x="4" y="202"/>
                    </a:lnTo>
                    <a:lnTo>
                      <a:pt x="4" y="200"/>
                    </a:lnTo>
                    <a:lnTo>
                      <a:pt x="4" y="198"/>
                    </a:lnTo>
                    <a:lnTo>
                      <a:pt x="2" y="198"/>
                    </a:lnTo>
                    <a:lnTo>
                      <a:pt x="2" y="196"/>
                    </a:lnTo>
                    <a:lnTo>
                      <a:pt x="2" y="194"/>
                    </a:lnTo>
                    <a:lnTo>
                      <a:pt x="2" y="192"/>
                    </a:lnTo>
                    <a:lnTo>
                      <a:pt x="0" y="192"/>
                    </a:lnTo>
                    <a:lnTo>
                      <a:pt x="0" y="191"/>
                    </a:lnTo>
                    <a:lnTo>
                      <a:pt x="0" y="189"/>
                    </a:lnTo>
                    <a:lnTo>
                      <a:pt x="0" y="187"/>
                    </a:lnTo>
                    <a:lnTo>
                      <a:pt x="2" y="187"/>
                    </a:lnTo>
                    <a:lnTo>
                      <a:pt x="2" y="185"/>
                    </a:lnTo>
                    <a:lnTo>
                      <a:pt x="0" y="185"/>
                    </a:lnTo>
                    <a:lnTo>
                      <a:pt x="2" y="185"/>
                    </a:lnTo>
                    <a:lnTo>
                      <a:pt x="2" y="183"/>
                    </a:lnTo>
                    <a:lnTo>
                      <a:pt x="2" y="181"/>
                    </a:lnTo>
                    <a:lnTo>
                      <a:pt x="4" y="181"/>
                    </a:lnTo>
                    <a:lnTo>
                      <a:pt x="4" y="179"/>
                    </a:lnTo>
                    <a:lnTo>
                      <a:pt x="2" y="179"/>
                    </a:lnTo>
                    <a:lnTo>
                      <a:pt x="4" y="177"/>
                    </a:lnTo>
                    <a:lnTo>
                      <a:pt x="4" y="175"/>
                    </a:lnTo>
                    <a:lnTo>
                      <a:pt x="4" y="173"/>
                    </a:lnTo>
                    <a:lnTo>
                      <a:pt x="4" y="171"/>
                    </a:lnTo>
                    <a:lnTo>
                      <a:pt x="4" y="169"/>
                    </a:lnTo>
                    <a:lnTo>
                      <a:pt x="12" y="173"/>
                    </a:lnTo>
                    <a:lnTo>
                      <a:pt x="13" y="167"/>
                    </a:lnTo>
                    <a:lnTo>
                      <a:pt x="17" y="164"/>
                    </a:lnTo>
                    <a:lnTo>
                      <a:pt x="13" y="164"/>
                    </a:lnTo>
                    <a:lnTo>
                      <a:pt x="12" y="166"/>
                    </a:lnTo>
                    <a:lnTo>
                      <a:pt x="10" y="162"/>
                    </a:lnTo>
                    <a:lnTo>
                      <a:pt x="12" y="160"/>
                    </a:lnTo>
                    <a:lnTo>
                      <a:pt x="10" y="160"/>
                    </a:lnTo>
                    <a:lnTo>
                      <a:pt x="12" y="160"/>
                    </a:lnTo>
                    <a:lnTo>
                      <a:pt x="10" y="158"/>
                    </a:lnTo>
                    <a:lnTo>
                      <a:pt x="12" y="158"/>
                    </a:lnTo>
                    <a:lnTo>
                      <a:pt x="12" y="154"/>
                    </a:lnTo>
                    <a:lnTo>
                      <a:pt x="12" y="152"/>
                    </a:lnTo>
                    <a:lnTo>
                      <a:pt x="13" y="148"/>
                    </a:lnTo>
                    <a:lnTo>
                      <a:pt x="13" y="146"/>
                    </a:lnTo>
                    <a:lnTo>
                      <a:pt x="13" y="143"/>
                    </a:lnTo>
                    <a:lnTo>
                      <a:pt x="15" y="141"/>
                    </a:lnTo>
                    <a:lnTo>
                      <a:pt x="13" y="139"/>
                    </a:lnTo>
                    <a:lnTo>
                      <a:pt x="13" y="137"/>
                    </a:lnTo>
                    <a:lnTo>
                      <a:pt x="12" y="137"/>
                    </a:lnTo>
                    <a:lnTo>
                      <a:pt x="12" y="135"/>
                    </a:lnTo>
                    <a:lnTo>
                      <a:pt x="13" y="133"/>
                    </a:lnTo>
                    <a:lnTo>
                      <a:pt x="13" y="131"/>
                    </a:lnTo>
                    <a:lnTo>
                      <a:pt x="13" y="129"/>
                    </a:lnTo>
                    <a:lnTo>
                      <a:pt x="15" y="125"/>
                    </a:lnTo>
                    <a:lnTo>
                      <a:pt x="17" y="125"/>
                    </a:lnTo>
                    <a:lnTo>
                      <a:pt x="19" y="123"/>
                    </a:lnTo>
                    <a:lnTo>
                      <a:pt x="19" y="121"/>
                    </a:lnTo>
                    <a:lnTo>
                      <a:pt x="19" y="119"/>
                    </a:lnTo>
                    <a:lnTo>
                      <a:pt x="21" y="119"/>
                    </a:lnTo>
                    <a:lnTo>
                      <a:pt x="21" y="118"/>
                    </a:lnTo>
                    <a:lnTo>
                      <a:pt x="19" y="118"/>
                    </a:lnTo>
                    <a:lnTo>
                      <a:pt x="19" y="116"/>
                    </a:lnTo>
                    <a:lnTo>
                      <a:pt x="19" y="114"/>
                    </a:lnTo>
                    <a:lnTo>
                      <a:pt x="21" y="112"/>
                    </a:lnTo>
                    <a:lnTo>
                      <a:pt x="27" y="110"/>
                    </a:lnTo>
                    <a:lnTo>
                      <a:pt x="31" y="110"/>
                    </a:lnTo>
                    <a:lnTo>
                      <a:pt x="33" y="108"/>
                    </a:lnTo>
                    <a:lnTo>
                      <a:pt x="36" y="108"/>
                    </a:lnTo>
                    <a:lnTo>
                      <a:pt x="38" y="106"/>
                    </a:lnTo>
                    <a:lnTo>
                      <a:pt x="40" y="106"/>
                    </a:lnTo>
                    <a:lnTo>
                      <a:pt x="40" y="108"/>
                    </a:lnTo>
                    <a:lnTo>
                      <a:pt x="40" y="110"/>
                    </a:lnTo>
                    <a:lnTo>
                      <a:pt x="40" y="112"/>
                    </a:lnTo>
                    <a:lnTo>
                      <a:pt x="40" y="114"/>
                    </a:lnTo>
                    <a:lnTo>
                      <a:pt x="42" y="112"/>
                    </a:lnTo>
                    <a:lnTo>
                      <a:pt x="44" y="112"/>
                    </a:lnTo>
                    <a:lnTo>
                      <a:pt x="44" y="110"/>
                    </a:lnTo>
                    <a:lnTo>
                      <a:pt x="46" y="110"/>
                    </a:lnTo>
                    <a:lnTo>
                      <a:pt x="46" y="108"/>
                    </a:lnTo>
                    <a:lnTo>
                      <a:pt x="48" y="108"/>
                    </a:lnTo>
                    <a:lnTo>
                      <a:pt x="46" y="106"/>
                    </a:lnTo>
                    <a:lnTo>
                      <a:pt x="48" y="106"/>
                    </a:lnTo>
                    <a:lnTo>
                      <a:pt x="48" y="104"/>
                    </a:lnTo>
                    <a:lnTo>
                      <a:pt x="50" y="106"/>
                    </a:lnTo>
                    <a:lnTo>
                      <a:pt x="52" y="106"/>
                    </a:lnTo>
                    <a:lnTo>
                      <a:pt x="52" y="108"/>
                    </a:lnTo>
                    <a:lnTo>
                      <a:pt x="54" y="106"/>
                    </a:lnTo>
                    <a:lnTo>
                      <a:pt x="54" y="104"/>
                    </a:lnTo>
                    <a:lnTo>
                      <a:pt x="56" y="104"/>
                    </a:lnTo>
                    <a:lnTo>
                      <a:pt x="60" y="104"/>
                    </a:lnTo>
                    <a:lnTo>
                      <a:pt x="60" y="102"/>
                    </a:lnTo>
                    <a:lnTo>
                      <a:pt x="61" y="102"/>
                    </a:lnTo>
                    <a:lnTo>
                      <a:pt x="63" y="102"/>
                    </a:lnTo>
                    <a:lnTo>
                      <a:pt x="65" y="102"/>
                    </a:lnTo>
                    <a:lnTo>
                      <a:pt x="67" y="102"/>
                    </a:lnTo>
                    <a:lnTo>
                      <a:pt x="65" y="94"/>
                    </a:lnTo>
                    <a:lnTo>
                      <a:pt x="65" y="91"/>
                    </a:lnTo>
                    <a:lnTo>
                      <a:pt x="65" y="87"/>
                    </a:lnTo>
                    <a:lnTo>
                      <a:pt x="65" y="85"/>
                    </a:lnTo>
                    <a:lnTo>
                      <a:pt x="67" y="83"/>
                    </a:lnTo>
                    <a:lnTo>
                      <a:pt x="67" y="81"/>
                    </a:lnTo>
                    <a:lnTo>
                      <a:pt x="67" y="79"/>
                    </a:lnTo>
                    <a:lnTo>
                      <a:pt x="67" y="77"/>
                    </a:lnTo>
                    <a:lnTo>
                      <a:pt x="69" y="68"/>
                    </a:lnTo>
                    <a:lnTo>
                      <a:pt x="71" y="66"/>
                    </a:lnTo>
                    <a:lnTo>
                      <a:pt x="71" y="64"/>
                    </a:lnTo>
                    <a:lnTo>
                      <a:pt x="71" y="62"/>
                    </a:lnTo>
                    <a:lnTo>
                      <a:pt x="75" y="64"/>
                    </a:lnTo>
                    <a:lnTo>
                      <a:pt x="77" y="64"/>
                    </a:lnTo>
                    <a:lnTo>
                      <a:pt x="79" y="64"/>
                    </a:lnTo>
                    <a:lnTo>
                      <a:pt x="83" y="66"/>
                    </a:lnTo>
                    <a:lnTo>
                      <a:pt x="83" y="68"/>
                    </a:lnTo>
                    <a:lnTo>
                      <a:pt x="88" y="66"/>
                    </a:lnTo>
                    <a:lnTo>
                      <a:pt x="98" y="66"/>
                    </a:lnTo>
                    <a:lnTo>
                      <a:pt x="100" y="58"/>
                    </a:lnTo>
                    <a:lnTo>
                      <a:pt x="102" y="48"/>
                    </a:lnTo>
                    <a:lnTo>
                      <a:pt x="106" y="48"/>
                    </a:lnTo>
                    <a:lnTo>
                      <a:pt x="108" y="46"/>
                    </a:lnTo>
                    <a:lnTo>
                      <a:pt x="109" y="50"/>
                    </a:lnTo>
                    <a:lnTo>
                      <a:pt x="113" y="48"/>
                    </a:lnTo>
                    <a:lnTo>
                      <a:pt x="119" y="46"/>
                    </a:lnTo>
                    <a:lnTo>
                      <a:pt x="129" y="44"/>
                    </a:lnTo>
                    <a:lnTo>
                      <a:pt x="133" y="41"/>
                    </a:lnTo>
                    <a:lnTo>
                      <a:pt x="134" y="39"/>
                    </a:lnTo>
                    <a:lnTo>
                      <a:pt x="138" y="39"/>
                    </a:lnTo>
                    <a:lnTo>
                      <a:pt x="142" y="41"/>
                    </a:lnTo>
                    <a:lnTo>
                      <a:pt x="146" y="41"/>
                    </a:lnTo>
                    <a:lnTo>
                      <a:pt x="156" y="39"/>
                    </a:lnTo>
                    <a:lnTo>
                      <a:pt x="158" y="35"/>
                    </a:lnTo>
                    <a:lnTo>
                      <a:pt x="161" y="31"/>
                    </a:lnTo>
                    <a:lnTo>
                      <a:pt x="163" y="29"/>
                    </a:lnTo>
                    <a:lnTo>
                      <a:pt x="165" y="23"/>
                    </a:lnTo>
                    <a:lnTo>
                      <a:pt x="167" y="21"/>
                    </a:lnTo>
                    <a:lnTo>
                      <a:pt x="171" y="23"/>
                    </a:lnTo>
                    <a:lnTo>
                      <a:pt x="183" y="18"/>
                    </a:lnTo>
                    <a:lnTo>
                      <a:pt x="190" y="16"/>
                    </a:lnTo>
                    <a:lnTo>
                      <a:pt x="192" y="14"/>
                    </a:lnTo>
                    <a:lnTo>
                      <a:pt x="192" y="12"/>
                    </a:lnTo>
                    <a:lnTo>
                      <a:pt x="190" y="10"/>
                    </a:lnTo>
                    <a:lnTo>
                      <a:pt x="188" y="6"/>
                    </a:lnTo>
                    <a:lnTo>
                      <a:pt x="186" y="4"/>
                    </a:lnTo>
                    <a:lnTo>
                      <a:pt x="188" y="2"/>
                    </a:lnTo>
                    <a:lnTo>
                      <a:pt x="190" y="2"/>
                    </a:lnTo>
                    <a:lnTo>
                      <a:pt x="194" y="0"/>
                    </a:lnTo>
                    <a:lnTo>
                      <a:pt x="198" y="2"/>
                    </a:lnTo>
                    <a:lnTo>
                      <a:pt x="200" y="2"/>
                    </a:lnTo>
                    <a:lnTo>
                      <a:pt x="202" y="4"/>
                    </a:lnTo>
                    <a:lnTo>
                      <a:pt x="204" y="4"/>
                    </a:lnTo>
                    <a:lnTo>
                      <a:pt x="204" y="6"/>
                    </a:lnTo>
                    <a:lnTo>
                      <a:pt x="204" y="8"/>
                    </a:lnTo>
                    <a:lnTo>
                      <a:pt x="207" y="10"/>
                    </a:lnTo>
                    <a:lnTo>
                      <a:pt x="209" y="10"/>
                    </a:lnTo>
                    <a:lnTo>
                      <a:pt x="211" y="10"/>
                    </a:lnTo>
                    <a:lnTo>
                      <a:pt x="213" y="10"/>
                    </a:lnTo>
                    <a:lnTo>
                      <a:pt x="215" y="10"/>
                    </a:lnTo>
                    <a:lnTo>
                      <a:pt x="217" y="10"/>
                    </a:lnTo>
                    <a:lnTo>
                      <a:pt x="219" y="10"/>
                    </a:lnTo>
                    <a:lnTo>
                      <a:pt x="221" y="12"/>
                    </a:lnTo>
                    <a:lnTo>
                      <a:pt x="223" y="14"/>
                    </a:lnTo>
                    <a:lnTo>
                      <a:pt x="223" y="16"/>
                    </a:lnTo>
                    <a:lnTo>
                      <a:pt x="223" y="18"/>
                    </a:lnTo>
                    <a:lnTo>
                      <a:pt x="225" y="18"/>
                    </a:lnTo>
                    <a:lnTo>
                      <a:pt x="225" y="19"/>
                    </a:lnTo>
                    <a:lnTo>
                      <a:pt x="227" y="19"/>
                    </a:lnTo>
                    <a:lnTo>
                      <a:pt x="231" y="19"/>
                    </a:lnTo>
                    <a:lnTo>
                      <a:pt x="234" y="18"/>
                    </a:lnTo>
                    <a:lnTo>
                      <a:pt x="236" y="19"/>
                    </a:lnTo>
                    <a:lnTo>
                      <a:pt x="242" y="25"/>
                    </a:lnTo>
                    <a:lnTo>
                      <a:pt x="244" y="23"/>
                    </a:lnTo>
                    <a:lnTo>
                      <a:pt x="248" y="19"/>
                    </a:lnTo>
                    <a:lnTo>
                      <a:pt x="250" y="29"/>
                    </a:lnTo>
                    <a:lnTo>
                      <a:pt x="252" y="31"/>
                    </a:lnTo>
                    <a:lnTo>
                      <a:pt x="254" y="31"/>
                    </a:lnTo>
                    <a:lnTo>
                      <a:pt x="256" y="35"/>
                    </a:lnTo>
                    <a:lnTo>
                      <a:pt x="256" y="39"/>
                    </a:lnTo>
                    <a:lnTo>
                      <a:pt x="261" y="41"/>
                    </a:lnTo>
                    <a:lnTo>
                      <a:pt x="263" y="43"/>
                    </a:lnTo>
                    <a:lnTo>
                      <a:pt x="263" y="44"/>
                    </a:lnTo>
                    <a:lnTo>
                      <a:pt x="263" y="46"/>
                    </a:lnTo>
                    <a:lnTo>
                      <a:pt x="263" y="48"/>
                    </a:lnTo>
                    <a:lnTo>
                      <a:pt x="265" y="48"/>
                    </a:lnTo>
                    <a:lnTo>
                      <a:pt x="267" y="48"/>
                    </a:lnTo>
                    <a:lnTo>
                      <a:pt x="269" y="50"/>
                    </a:lnTo>
                    <a:lnTo>
                      <a:pt x="271" y="54"/>
                    </a:lnTo>
                    <a:lnTo>
                      <a:pt x="271" y="58"/>
                    </a:lnTo>
                    <a:lnTo>
                      <a:pt x="273" y="62"/>
                    </a:lnTo>
                    <a:lnTo>
                      <a:pt x="275" y="64"/>
                    </a:lnTo>
                    <a:lnTo>
                      <a:pt x="275" y="68"/>
                    </a:lnTo>
                    <a:lnTo>
                      <a:pt x="277" y="69"/>
                    </a:lnTo>
                    <a:lnTo>
                      <a:pt x="275" y="71"/>
                    </a:lnTo>
                    <a:lnTo>
                      <a:pt x="275" y="73"/>
                    </a:lnTo>
                    <a:lnTo>
                      <a:pt x="275" y="75"/>
                    </a:lnTo>
                    <a:lnTo>
                      <a:pt x="277" y="77"/>
                    </a:lnTo>
                    <a:lnTo>
                      <a:pt x="277" y="79"/>
                    </a:lnTo>
                    <a:lnTo>
                      <a:pt x="282" y="81"/>
                    </a:lnTo>
                    <a:lnTo>
                      <a:pt x="284" y="81"/>
                    </a:lnTo>
                    <a:lnTo>
                      <a:pt x="286" y="81"/>
                    </a:lnTo>
                    <a:lnTo>
                      <a:pt x="290" y="83"/>
                    </a:lnTo>
                    <a:lnTo>
                      <a:pt x="288" y="89"/>
                    </a:lnTo>
                    <a:lnTo>
                      <a:pt x="288" y="91"/>
                    </a:lnTo>
                    <a:lnTo>
                      <a:pt x="290" y="96"/>
                    </a:lnTo>
                    <a:lnTo>
                      <a:pt x="286" y="98"/>
                    </a:lnTo>
                    <a:lnTo>
                      <a:pt x="286" y="100"/>
                    </a:lnTo>
                    <a:lnTo>
                      <a:pt x="290" y="102"/>
                    </a:lnTo>
                    <a:lnTo>
                      <a:pt x="302" y="108"/>
                    </a:lnTo>
                    <a:lnTo>
                      <a:pt x="304" y="106"/>
                    </a:lnTo>
                    <a:lnTo>
                      <a:pt x="307" y="106"/>
                    </a:lnTo>
                    <a:lnTo>
                      <a:pt x="311" y="108"/>
                    </a:lnTo>
                    <a:lnTo>
                      <a:pt x="311" y="110"/>
                    </a:lnTo>
                    <a:lnTo>
                      <a:pt x="315" y="112"/>
                    </a:lnTo>
                    <a:lnTo>
                      <a:pt x="317" y="116"/>
                    </a:lnTo>
                    <a:lnTo>
                      <a:pt x="319" y="118"/>
                    </a:lnTo>
                    <a:lnTo>
                      <a:pt x="325" y="118"/>
                    </a:lnTo>
                    <a:lnTo>
                      <a:pt x="330" y="119"/>
                    </a:lnTo>
                    <a:lnTo>
                      <a:pt x="332" y="119"/>
                    </a:lnTo>
                    <a:lnTo>
                      <a:pt x="338" y="121"/>
                    </a:lnTo>
                    <a:lnTo>
                      <a:pt x="342" y="125"/>
                    </a:lnTo>
                    <a:lnTo>
                      <a:pt x="344" y="125"/>
                    </a:lnTo>
                    <a:lnTo>
                      <a:pt x="348" y="12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6" name="Freeform 136"/>
              <p:cNvSpPr>
                <a:spLocks/>
              </p:cNvSpPr>
              <p:nvPr/>
            </p:nvSpPr>
            <p:spPr bwMode="auto">
              <a:xfrm>
                <a:off x="1582258" y="2588464"/>
                <a:ext cx="242609" cy="306271"/>
              </a:xfrm>
              <a:custGeom>
                <a:avLst/>
                <a:gdLst>
                  <a:gd name="T0" fmla="*/ 135 w 141"/>
                  <a:gd name="T1" fmla="*/ 36 h 178"/>
                  <a:gd name="T2" fmla="*/ 137 w 141"/>
                  <a:gd name="T3" fmla="*/ 50 h 178"/>
                  <a:gd name="T4" fmla="*/ 133 w 141"/>
                  <a:gd name="T5" fmla="*/ 67 h 178"/>
                  <a:gd name="T6" fmla="*/ 125 w 141"/>
                  <a:gd name="T7" fmla="*/ 78 h 178"/>
                  <a:gd name="T8" fmla="*/ 125 w 141"/>
                  <a:gd name="T9" fmla="*/ 84 h 178"/>
                  <a:gd name="T10" fmla="*/ 122 w 141"/>
                  <a:gd name="T11" fmla="*/ 94 h 178"/>
                  <a:gd name="T12" fmla="*/ 123 w 141"/>
                  <a:gd name="T13" fmla="*/ 107 h 178"/>
                  <a:gd name="T14" fmla="*/ 122 w 141"/>
                  <a:gd name="T15" fmla="*/ 119 h 178"/>
                  <a:gd name="T16" fmla="*/ 100 w 141"/>
                  <a:gd name="T17" fmla="*/ 130 h 178"/>
                  <a:gd name="T18" fmla="*/ 95 w 141"/>
                  <a:gd name="T19" fmla="*/ 130 h 178"/>
                  <a:gd name="T20" fmla="*/ 97 w 141"/>
                  <a:gd name="T21" fmla="*/ 136 h 178"/>
                  <a:gd name="T22" fmla="*/ 98 w 141"/>
                  <a:gd name="T23" fmla="*/ 144 h 178"/>
                  <a:gd name="T24" fmla="*/ 100 w 141"/>
                  <a:gd name="T25" fmla="*/ 155 h 178"/>
                  <a:gd name="T26" fmla="*/ 98 w 141"/>
                  <a:gd name="T27" fmla="*/ 165 h 178"/>
                  <a:gd name="T28" fmla="*/ 85 w 141"/>
                  <a:gd name="T29" fmla="*/ 173 h 178"/>
                  <a:gd name="T30" fmla="*/ 72 w 141"/>
                  <a:gd name="T31" fmla="*/ 177 h 178"/>
                  <a:gd name="T32" fmla="*/ 56 w 141"/>
                  <a:gd name="T33" fmla="*/ 178 h 178"/>
                  <a:gd name="T34" fmla="*/ 58 w 141"/>
                  <a:gd name="T35" fmla="*/ 169 h 178"/>
                  <a:gd name="T36" fmla="*/ 66 w 141"/>
                  <a:gd name="T37" fmla="*/ 163 h 178"/>
                  <a:gd name="T38" fmla="*/ 70 w 141"/>
                  <a:gd name="T39" fmla="*/ 155 h 178"/>
                  <a:gd name="T40" fmla="*/ 64 w 141"/>
                  <a:gd name="T41" fmla="*/ 153 h 178"/>
                  <a:gd name="T42" fmla="*/ 58 w 141"/>
                  <a:gd name="T43" fmla="*/ 161 h 178"/>
                  <a:gd name="T44" fmla="*/ 56 w 141"/>
                  <a:gd name="T45" fmla="*/ 155 h 178"/>
                  <a:gd name="T46" fmla="*/ 54 w 141"/>
                  <a:gd name="T47" fmla="*/ 150 h 178"/>
                  <a:gd name="T48" fmla="*/ 56 w 141"/>
                  <a:gd name="T49" fmla="*/ 144 h 178"/>
                  <a:gd name="T50" fmla="*/ 66 w 141"/>
                  <a:gd name="T51" fmla="*/ 134 h 178"/>
                  <a:gd name="T52" fmla="*/ 62 w 141"/>
                  <a:gd name="T53" fmla="*/ 132 h 178"/>
                  <a:gd name="T54" fmla="*/ 54 w 141"/>
                  <a:gd name="T55" fmla="*/ 138 h 178"/>
                  <a:gd name="T56" fmla="*/ 45 w 141"/>
                  <a:gd name="T57" fmla="*/ 140 h 178"/>
                  <a:gd name="T58" fmla="*/ 50 w 141"/>
                  <a:gd name="T59" fmla="*/ 152 h 178"/>
                  <a:gd name="T60" fmla="*/ 45 w 141"/>
                  <a:gd name="T61" fmla="*/ 153 h 178"/>
                  <a:gd name="T62" fmla="*/ 37 w 141"/>
                  <a:gd name="T63" fmla="*/ 152 h 178"/>
                  <a:gd name="T64" fmla="*/ 29 w 141"/>
                  <a:gd name="T65" fmla="*/ 148 h 178"/>
                  <a:gd name="T66" fmla="*/ 25 w 141"/>
                  <a:gd name="T67" fmla="*/ 153 h 178"/>
                  <a:gd name="T68" fmla="*/ 20 w 141"/>
                  <a:gd name="T69" fmla="*/ 153 h 178"/>
                  <a:gd name="T70" fmla="*/ 10 w 141"/>
                  <a:gd name="T71" fmla="*/ 152 h 178"/>
                  <a:gd name="T72" fmla="*/ 8 w 141"/>
                  <a:gd name="T73" fmla="*/ 146 h 178"/>
                  <a:gd name="T74" fmla="*/ 0 w 141"/>
                  <a:gd name="T75" fmla="*/ 146 h 178"/>
                  <a:gd name="T76" fmla="*/ 8 w 141"/>
                  <a:gd name="T77" fmla="*/ 140 h 178"/>
                  <a:gd name="T78" fmla="*/ 10 w 141"/>
                  <a:gd name="T79" fmla="*/ 130 h 178"/>
                  <a:gd name="T80" fmla="*/ 10 w 141"/>
                  <a:gd name="T81" fmla="*/ 123 h 178"/>
                  <a:gd name="T82" fmla="*/ 8 w 141"/>
                  <a:gd name="T83" fmla="*/ 113 h 178"/>
                  <a:gd name="T84" fmla="*/ 18 w 141"/>
                  <a:gd name="T85" fmla="*/ 100 h 178"/>
                  <a:gd name="T86" fmla="*/ 31 w 141"/>
                  <a:gd name="T87" fmla="*/ 92 h 178"/>
                  <a:gd name="T88" fmla="*/ 27 w 141"/>
                  <a:gd name="T89" fmla="*/ 82 h 178"/>
                  <a:gd name="T90" fmla="*/ 29 w 141"/>
                  <a:gd name="T91" fmla="*/ 75 h 178"/>
                  <a:gd name="T92" fmla="*/ 31 w 141"/>
                  <a:gd name="T93" fmla="*/ 61 h 178"/>
                  <a:gd name="T94" fmla="*/ 54 w 141"/>
                  <a:gd name="T95" fmla="*/ 52 h 178"/>
                  <a:gd name="T96" fmla="*/ 64 w 141"/>
                  <a:gd name="T97" fmla="*/ 44 h 178"/>
                  <a:gd name="T98" fmla="*/ 68 w 141"/>
                  <a:gd name="T99" fmla="*/ 36 h 178"/>
                  <a:gd name="T100" fmla="*/ 73 w 141"/>
                  <a:gd name="T101" fmla="*/ 25 h 178"/>
                  <a:gd name="T102" fmla="*/ 72 w 141"/>
                  <a:gd name="T103" fmla="*/ 13 h 178"/>
                  <a:gd name="T104" fmla="*/ 81 w 141"/>
                  <a:gd name="T105" fmla="*/ 7 h 178"/>
                  <a:gd name="T106" fmla="*/ 89 w 141"/>
                  <a:gd name="T107" fmla="*/ 0 h 178"/>
                  <a:gd name="T108" fmla="*/ 110 w 141"/>
                  <a:gd name="T109" fmla="*/ 13 h 178"/>
                  <a:gd name="T110" fmla="*/ 122 w 141"/>
                  <a:gd name="T111" fmla="*/ 7 h 178"/>
                  <a:gd name="T112" fmla="*/ 129 w 141"/>
                  <a:gd name="T113" fmla="*/ 21 h 178"/>
                  <a:gd name="T114" fmla="*/ 139 w 141"/>
                  <a:gd name="T115" fmla="*/ 2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1" h="178">
                    <a:moveTo>
                      <a:pt x="141" y="23"/>
                    </a:moveTo>
                    <a:lnTo>
                      <a:pt x="139" y="25"/>
                    </a:lnTo>
                    <a:lnTo>
                      <a:pt x="139" y="27"/>
                    </a:lnTo>
                    <a:lnTo>
                      <a:pt x="139" y="28"/>
                    </a:lnTo>
                    <a:lnTo>
                      <a:pt x="139" y="30"/>
                    </a:lnTo>
                    <a:lnTo>
                      <a:pt x="141" y="32"/>
                    </a:lnTo>
                    <a:lnTo>
                      <a:pt x="139" y="32"/>
                    </a:lnTo>
                    <a:lnTo>
                      <a:pt x="139" y="34"/>
                    </a:lnTo>
                    <a:lnTo>
                      <a:pt x="137" y="34"/>
                    </a:lnTo>
                    <a:lnTo>
                      <a:pt x="135" y="36"/>
                    </a:lnTo>
                    <a:lnTo>
                      <a:pt x="135" y="38"/>
                    </a:lnTo>
                    <a:lnTo>
                      <a:pt x="137" y="40"/>
                    </a:lnTo>
                    <a:lnTo>
                      <a:pt x="137" y="42"/>
                    </a:lnTo>
                    <a:lnTo>
                      <a:pt x="135" y="42"/>
                    </a:lnTo>
                    <a:lnTo>
                      <a:pt x="137" y="42"/>
                    </a:lnTo>
                    <a:lnTo>
                      <a:pt x="137" y="44"/>
                    </a:lnTo>
                    <a:lnTo>
                      <a:pt x="137" y="46"/>
                    </a:lnTo>
                    <a:lnTo>
                      <a:pt x="135" y="46"/>
                    </a:lnTo>
                    <a:lnTo>
                      <a:pt x="135" y="48"/>
                    </a:lnTo>
                    <a:lnTo>
                      <a:pt x="137" y="50"/>
                    </a:lnTo>
                    <a:lnTo>
                      <a:pt x="137" y="52"/>
                    </a:lnTo>
                    <a:lnTo>
                      <a:pt x="137" y="53"/>
                    </a:lnTo>
                    <a:lnTo>
                      <a:pt x="137" y="55"/>
                    </a:lnTo>
                    <a:lnTo>
                      <a:pt x="137" y="57"/>
                    </a:lnTo>
                    <a:lnTo>
                      <a:pt x="135" y="59"/>
                    </a:lnTo>
                    <a:lnTo>
                      <a:pt x="135" y="61"/>
                    </a:lnTo>
                    <a:lnTo>
                      <a:pt x="135" y="63"/>
                    </a:lnTo>
                    <a:lnTo>
                      <a:pt x="135" y="65"/>
                    </a:lnTo>
                    <a:lnTo>
                      <a:pt x="133" y="65"/>
                    </a:lnTo>
                    <a:lnTo>
                      <a:pt x="133" y="67"/>
                    </a:lnTo>
                    <a:lnTo>
                      <a:pt x="133" y="69"/>
                    </a:lnTo>
                    <a:lnTo>
                      <a:pt x="131" y="71"/>
                    </a:lnTo>
                    <a:lnTo>
                      <a:pt x="131" y="73"/>
                    </a:lnTo>
                    <a:lnTo>
                      <a:pt x="131" y="75"/>
                    </a:lnTo>
                    <a:lnTo>
                      <a:pt x="129" y="73"/>
                    </a:lnTo>
                    <a:lnTo>
                      <a:pt x="127" y="73"/>
                    </a:lnTo>
                    <a:lnTo>
                      <a:pt x="127" y="75"/>
                    </a:lnTo>
                    <a:lnTo>
                      <a:pt x="127" y="77"/>
                    </a:lnTo>
                    <a:lnTo>
                      <a:pt x="127" y="78"/>
                    </a:lnTo>
                    <a:lnTo>
                      <a:pt x="125" y="78"/>
                    </a:lnTo>
                    <a:lnTo>
                      <a:pt x="123" y="80"/>
                    </a:lnTo>
                    <a:lnTo>
                      <a:pt x="123" y="78"/>
                    </a:lnTo>
                    <a:lnTo>
                      <a:pt x="123" y="80"/>
                    </a:lnTo>
                    <a:lnTo>
                      <a:pt x="122" y="78"/>
                    </a:lnTo>
                    <a:lnTo>
                      <a:pt x="122" y="80"/>
                    </a:lnTo>
                    <a:lnTo>
                      <a:pt x="123" y="80"/>
                    </a:lnTo>
                    <a:lnTo>
                      <a:pt x="123" y="82"/>
                    </a:lnTo>
                    <a:lnTo>
                      <a:pt x="122" y="82"/>
                    </a:lnTo>
                    <a:lnTo>
                      <a:pt x="123" y="84"/>
                    </a:lnTo>
                    <a:lnTo>
                      <a:pt x="125" y="84"/>
                    </a:lnTo>
                    <a:lnTo>
                      <a:pt x="127" y="84"/>
                    </a:lnTo>
                    <a:lnTo>
                      <a:pt x="125" y="86"/>
                    </a:lnTo>
                    <a:lnTo>
                      <a:pt x="125" y="88"/>
                    </a:lnTo>
                    <a:lnTo>
                      <a:pt x="125" y="90"/>
                    </a:lnTo>
                    <a:lnTo>
                      <a:pt x="127" y="90"/>
                    </a:lnTo>
                    <a:lnTo>
                      <a:pt x="127" y="92"/>
                    </a:lnTo>
                    <a:lnTo>
                      <a:pt x="125" y="92"/>
                    </a:lnTo>
                    <a:lnTo>
                      <a:pt x="123" y="94"/>
                    </a:lnTo>
                    <a:lnTo>
                      <a:pt x="123" y="92"/>
                    </a:lnTo>
                    <a:lnTo>
                      <a:pt x="122" y="94"/>
                    </a:lnTo>
                    <a:lnTo>
                      <a:pt x="120" y="96"/>
                    </a:lnTo>
                    <a:lnTo>
                      <a:pt x="120" y="98"/>
                    </a:lnTo>
                    <a:lnTo>
                      <a:pt x="122" y="98"/>
                    </a:lnTo>
                    <a:lnTo>
                      <a:pt x="122" y="100"/>
                    </a:lnTo>
                    <a:lnTo>
                      <a:pt x="125" y="102"/>
                    </a:lnTo>
                    <a:lnTo>
                      <a:pt x="123" y="102"/>
                    </a:lnTo>
                    <a:lnTo>
                      <a:pt x="123" y="103"/>
                    </a:lnTo>
                    <a:lnTo>
                      <a:pt x="122" y="103"/>
                    </a:lnTo>
                    <a:lnTo>
                      <a:pt x="123" y="105"/>
                    </a:lnTo>
                    <a:lnTo>
                      <a:pt x="123" y="107"/>
                    </a:lnTo>
                    <a:lnTo>
                      <a:pt x="122" y="107"/>
                    </a:lnTo>
                    <a:lnTo>
                      <a:pt x="122" y="109"/>
                    </a:lnTo>
                    <a:lnTo>
                      <a:pt x="120" y="111"/>
                    </a:lnTo>
                    <a:lnTo>
                      <a:pt x="118" y="113"/>
                    </a:lnTo>
                    <a:lnTo>
                      <a:pt x="120" y="113"/>
                    </a:lnTo>
                    <a:lnTo>
                      <a:pt x="118" y="113"/>
                    </a:lnTo>
                    <a:lnTo>
                      <a:pt x="120" y="115"/>
                    </a:lnTo>
                    <a:lnTo>
                      <a:pt x="120" y="117"/>
                    </a:lnTo>
                    <a:lnTo>
                      <a:pt x="120" y="119"/>
                    </a:lnTo>
                    <a:lnTo>
                      <a:pt x="122" y="119"/>
                    </a:lnTo>
                    <a:lnTo>
                      <a:pt x="120" y="121"/>
                    </a:lnTo>
                    <a:lnTo>
                      <a:pt x="118" y="121"/>
                    </a:lnTo>
                    <a:lnTo>
                      <a:pt x="116" y="121"/>
                    </a:lnTo>
                    <a:lnTo>
                      <a:pt x="112" y="119"/>
                    </a:lnTo>
                    <a:lnTo>
                      <a:pt x="110" y="121"/>
                    </a:lnTo>
                    <a:lnTo>
                      <a:pt x="106" y="127"/>
                    </a:lnTo>
                    <a:lnTo>
                      <a:pt x="104" y="128"/>
                    </a:lnTo>
                    <a:lnTo>
                      <a:pt x="102" y="128"/>
                    </a:lnTo>
                    <a:lnTo>
                      <a:pt x="102" y="130"/>
                    </a:lnTo>
                    <a:lnTo>
                      <a:pt x="100" y="130"/>
                    </a:lnTo>
                    <a:lnTo>
                      <a:pt x="98" y="130"/>
                    </a:lnTo>
                    <a:lnTo>
                      <a:pt x="98" y="128"/>
                    </a:lnTo>
                    <a:lnTo>
                      <a:pt x="98" y="125"/>
                    </a:lnTo>
                    <a:lnTo>
                      <a:pt x="97" y="125"/>
                    </a:lnTo>
                    <a:lnTo>
                      <a:pt x="95" y="125"/>
                    </a:lnTo>
                    <a:lnTo>
                      <a:pt x="97" y="127"/>
                    </a:lnTo>
                    <a:lnTo>
                      <a:pt x="95" y="127"/>
                    </a:lnTo>
                    <a:lnTo>
                      <a:pt x="95" y="128"/>
                    </a:lnTo>
                    <a:lnTo>
                      <a:pt x="97" y="128"/>
                    </a:lnTo>
                    <a:lnTo>
                      <a:pt x="95" y="130"/>
                    </a:lnTo>
                    <a:lnTo>
                      <a:pt x="97" y="132"/>
                    </a:lnTo>
                    <a:lnTo>
                      <a:pt x="95" y="134"/>
                    </a:lnTo>
                    <a:lnTo>
                      <a:pt x="93" y="134"/>
                    </a:lnTo>
                    <a:lnTo>
                      <a:pt x="93" y="136"/>
                    </a:lnTo>
                    <a:lnTo>
                      <a:pt x="91" y="136"/>
                    </a:lnTo>
                    <a:lnTo>
                      <a:pt x="91" y="138"/>
                    </a:lnTo>
                    <a:lnTo>
                      <a:pt x="93" y="138"/>
                    </a:lnTo>
                    <a:lnTo>
                      <a:pt x="93" y="136"/>
                    </a:lnTo>
                    <a:lnTo>
                      <a:pt x="95" y="136"/>
                    </a:lnTo>
                    <a:lnTo>
                      <a:pt x="97" y="136"/>
                    </a:lnTo>
                    <a:lnTo>
                      <a:pt x="95" y="138"/>
                    </a:lnTo>
                    <a:lnTo>
                      <a:pt x="97" y="138"/>
                    </a:lnTo>
                    <a:lnTo>
                      <a:pt x="98" y="136"/>
                    </a:lnTo>
                    <a:lnTo>
                      <a:pt x="100" y="138"/>
                    </a:lnTo>
                    <a:lnTo>
                      <a:pt x="98" y="138"/>
                    </a:lnTo>
                    <a:lnTo>
                      <a:pt x="98" y="140"/>
                    </a:lnTo>
                    <a:lnTo>
                      <a:pt x="97" y="140"/>
                    </a:lnTo>
                    <a:lnTo>
                      <a:pt x="97" y="142"/>
                    </a:lnTo>
                    <a:lnTo>
                      <a:pt x="98" y="142"/>
                    </a:lnTo>
                    <a:lnTo>
                      <a:pt x="98" y="144"/>
                    </a:lnTo>
                    <a:lnTo>
                      <a:pt x="98" y="146"/>
                    </a:lnTo>
                    <a:lnTo>
                      <a:pt x="100" y="146"/>
                    </a:lnTo>
                    <a:lnTo>
                      <a:pt x="98" y="148"/>
                    </a:lnTo>
                    <a:lnTo>
                      <a:pt x="100" y="148"/>
                    </a:lnTo>
                    <a:lnTo>
                      <a:pt x="98" y="150"/>
                    </a:lnTo>
                    <a:lnTo>
                      <a:pt x="98" y="152"/>
                    </a:lnTo>
                    <a:lnTo>
                      <a:pt x="102" y="152"/>
                    </a:lnTo>
                    <a:lnTo>
                      <a:pt x="102" y="153"/>
                    </a:lnTo>
                    <a:lnTo>
                      <a:pt x="102" y="155"/>
                    </a:lnTo>
                    <a:lnTo>
                      <a:pt x="100" y="155"/>
                    </a:lnTo>
                    <a:lnTo>
                      <a:pt x="100" y="157"/>
                    </a:lnTo>
                    <a:lnTo>
                      <a:pt x="100" y="159"/>
                    </a:lnTo>
                    <a:lnTo>
                      <a:pt x="100" y="161"/>
                    </a:lnTo>
                    <a:lnTo>
                      <a:pt x="98" y="161"/>
                    </a:lnTo>
                    <a:lnTo>
                      <a:pt x="98" y="163"/>
                    </a:lnTo>
                    <a:lnTo>
                      <a:pt x="100" y="163"/>
                    </a:lnTo>
                    <a:lnTo>
                      <a:pt x="100" y="165"/>
                    </a:lnTo>
                    <a:lnTo>
                      <a:pt x="100" y="163"/>
                    </a:lnTo>
                    <a:lnTo>
                      <a:pt x="100" y="165"/>
                    </a:lnTo>
                    <a:lnTo>
                      <a:pt x="98" y="165"/>
                    </a:lnTo>
                    <a:lnTo>
                      <a:pt x="98" y="167"/>
                    </a:lnTo>
                    <a:lnTo>
                      <a:pt x="97" y="167"/>
                    </a:lnTo>
                    <a:lnTo>
                      <a:pt x="95" y="167"/>
                    </a:lnTo>
                    <a:lnTo>
                      <a:pt x="93" y="167"/>
                    </a:lnTo>
                    <a:lnTo>
                      <a:pt x="93" y="169"/>
                    </a:lnTo>
                    <a:lnTo>
                      <a:pt x="91" y="169"/>
                    </a:lnTo>
                    <a:lnTo>
                      <a:pt x="89" y="169"/>
                    </a:lnTo>
                    <a:lnTo>
                      <a:pt x="87" y="171"/>
                    </a:lnTo>
                    <a:lnTo>
                      <a:pt x="85" y="171"/>
                    </a:lnTo>
                    <a:lnTo>
                      <a:pt x="85" y="173"/>
                    </a:lnTo>
                    <a:lnTo>
                      <a:pt x="83" y="175"/>
                    </a:lnTo>
                    <a:lnTo>
                      <a:pt x="81" y="177"/>
                    </a:lnTo>
                    <a:lnTo>
                      <a:pt x="79" y="177"/>
                    </a:lnTo>
                    <a:lnTo>
                      <a:pt x="77" y="175"/>
                    </a:lnTo>
                    <a:lnTo>
                      <a:pt x="77" y="173"/>
                    </a:lnTo>
                    <a:lnTo>
                      <a:pt x="75" y="173"/>
                    </a:lnTo>
                    <a:lnTo>
                      <a:pt x="75" y="175"/>
                    </a:lnTo>
                    <a:lnTo>
                      <a:pt x="73" y="175"/>
                    </a:lnTo>
                    <a:lnTo>
                      <a:pt x="73" y="177"/>
                    </a:lnTo>
                    <a:lnTo>
                      <a:pt x="72" y="177"/>
                    </a:lnTo>
                    <a:lnTo>
                      <a:pt x="70" y="177"/>
                    </a:lnTo>
                    <a:lnTo>
                      <a:pt x="70" y="175"/>
                    </a:lnTo>
                    <a:lnTo>
                      <a:pt x="70" y="177"/>
                    </a:lnTo>
                    <a:lnTo>
                      <a:pt x="68" y="178"/>
                    </a:lnTo>
                    <a:lnTo>
                      <a:pt x="66" y="178"/>
                    </a:lnTo>
                    <a:lnTo>
                      <a:pt x="64" y="177"/>
                    </a:lnTo>
                    <a:lnTo>
                      <a:pt x="62" y="178"/>
                    </a:lnTo>
                    <a:lnTo>
                      <a:pt x="60" y="178"/>
                    </a:lnTo>
                    <a:lnTo>
                      <a:pt x="58" y="178"/>
                    </a:lnTo>
                    <a:lnTo>
                      <a:pt x="56" y="178"/>
                    </a:lnTo>
                    <a:lnTo>
                      <a:pt x="54" y="177"/>
                    </a:lnTo>
                    <a:lnTo>
                      <a:pt x="52" y="175"/>
                    </a:lnTo>
                    <a:lnTo>
                      <a:pt x="54" y="175"/>
                    </a:lnTo>
                    <a:lnTo>
                      <a:pt x="52" y="173"/>
                    </a:lnTo>
                    <a:lnTo>
                      <a:pt x="52" y="171"/>
                    </a:lnTo>
                    <a:lnTo>
                      <a:pt x="54" y="171"/>
                    </a:lnTo>
                    <a:lnTo>
                      <a:pt x="56" y="173"/>
                    </a:lnTo>
                    <a:lnTo>
                      <a:pt x="56" y="171"/>
                    </a:lnTo>
                    <a:lnTo>
                      <a:pt x="58" y="171"/>
                    </a:lnTo>
                    <a:lnTo>
                      <a:pt x="58" y="169"/>
                    </a:lnTo>
                    <a:lnTo>
                      <a:pt x="60" y="171"/>
                    </a:lnTo>
                    <a:lnTo>
                      <a:pt x="60" y="169"/>
                    </a:lnTo>
                    <a:lnTo>
                      <a:pt x="62" y="169"/>
                    </a:lnTo>
                    <a:lnTo>
                      <a:pt x="60" y="169"/>
                    </a:lnTo>
                    <a:lnTo>
                      <a:pt x="62" y="169"/>
                    </a:lnTo>
                    <a:lnTo>
                      <a:pt x="64" y="169"/>
                    </a:lnTo>
                    <a:lnTo>
                      <a:pt x="64" y="167"/>
                    </a:lnTo>
                    <a:lnTo>
                      <a:pt x="64" y="165"/>
                    </a:lnTo>
                    <a:lnTo>
                      <a:pt x="66" y="165"/>
                    </a:lnTo>
                    <a:lnTo>
                      <a:pt x="66" y="163"/>
                    </a:lnTo>
                    <a:lnTo>
                      <a:pt x="68" y="163"/>
                    </a:lnTo>
                    <a:lnTo>
                      <a:pt x="70" y="165"/>
                    </a:lnTo>
                    <a:lnTo>
                      <a:pt x="70" y="163"/>
                    </a:lnTo>
                    <a:lnTo>
                      <a:pt x="72" y="161"/>
                    </a:lnTo>
                    <a:lnTo>
                      <a:pt x="72" y="159"/>
                    </a:lnTo>
                    <a:lnTo>
                      <a:pt x="72" y="157"/>
                    </a:lnTo>
                    <a:lnTo>
                      <a:pt x="73" y="157"/>
                    </a:lnTo>
                    <a:lnTo>
                      <a:pt x="72" y="157"/>
                    </a:lnTo>
                    <a:lnTo>
                      <a:pt x="72" y="155"/>
                    </a:lnTo>
                    <a:lnTo>
                      <a:pt x="70" y="155"/>
                    </a:lnTo>
                    <a:lnTo>
                      <a:pt x="70" y="153"/>
                    </a:lnTo>
                    <a:lnTo>
                      <a:pt x="72" y="153"/>
                    </a:lnTo>
                    <a:lnTo>
                      <a:pt x="70" y="153"/>
                    </a:lnTo>
                    <a:lnTo>
                      <a:pt x="70" y="152"/>
                    </a:lnTo>
                    <a:lnTo>
                      <a:pt x="68" y="153"/>
                    </a:lnTo>
                    <a:lnTo>
                      <a:pt x="68" y="152"/>
                    </a:lnTo>
                    <a:lnTo>
                      <a:pt x="66" y="153"/>
                    </a:lnTo>
                    <a:lnTo>
                      <a:pt x="66" y="152"/>
                    </a:lnTo>
                    <a:lnTo>
                      <a:pt x="64" y="152"/>
                    </a:lnTo>
                    <a:lnTo>
                      <a:pt x="64" y="153"/>
                    </a:lnTo>
                    <a:lnTo>
                      <a:pt x="64" y="155"/>
                    </a:lnTo>
                    <a:lnTo>
                      <a:pt x="64" y="159"/>
                    </a:lnTo>
                    <a:lnTo>
                      <a:pt x="64" y="161"/>
                    </a:lnTo>
                    <a:lnTo>
                      <a:pt x="62" y="161"/>
                    </a:lnTo>
                    <a:lnTo>
                      <a:pt x="64" y="163"/>
                    </a:lnTo>
                    <a:lnTo>
                      <a:pt x="62" y="163"/>
                    </a:lnTo>
                    <a:lnTo>
                      <a:pt x="62" y="165"/>
                    </a:lnTo>
                    <a:lnTo>
                      <a:pt x="60" y="163"/>
                    </a:lnTo>
                    <a:lnTo>
                      <a:pt x="60" y="161"/>
                    </a:lnTo>
                    <a:lnTo>
                      <a:pt x="58" y="161"/>
                    </a:lnTo>
                    <a:lnTo>
                      <a:pt x="58" y="159"/>
                    </a:lnTo>
                    <a:lnTo>
                      <a:pt x="58" y="161"/>
                    </a:lnTo>
                    <a:lnTo>
                      <a:pt x="58" y="159"/>
                    </a:lnTo>
                    <a:lnTo>
                      <a:pt x="58" y="157"/>
                    </a:lnTo>
                    <a:lnTo>
                      <a:pt x="58" y="155"/>
                    </a:lnTo>
                    <a:lnTo>
                      <a:pt x="58" y="157"/>
                    </a:lnTo>
                    <a:lnTo>
                      <a:pt x="56" y="157"/>
                    </a:lnTo>
                    <a:lnTo>
                      <a:pt x="56" y="159"/>
                    </a:lnTo>
                    <a:lnTo>
                      <a:pt x="54" y="157"/>
                    </a:lnTo>
                    <a:lnTo>
                      <a:pt x="56" y="155"/>
                    </a:lnTo>
                    <a:lnTo>
                      <a:pt x="58" y="155"/>
                    </a:lnTo>
                    <a:lnTo>
                      <a:pt x="58" y="153"/>
                    </a:lnTo>
                    <a:lnTo>
                      <a:pt x="56" y="153"/>
                    </a:lnTo>
                    <a:lnTo>
                      <a:pt x="56" y="152"/>
                    </a:lnTo>
                    <a:lnTo>
                      <a:pt x="56" y="153"/>
                    </a:lnTo>
                    <a:lnTo>
                      <a:pt x="54" y="153"/>
                    </a:lnTo>
                    <a:lnTo>
                      <a:pt x="54" y="152"/>
                    </a:lnTo>
                    <a:lnTo>
                      <a:pt x="56" y="152"/>
                    </a:lnTo>
                    <a:lnTo>
                      <a:pt x="54" y="152"/>
                    </a:lnTo>
                    <a:lnTo>
                      <a:pt x="54" y="150"/>
                    </a:lnTo>
                    <a:lnTo>
                      <a:pt x="56" y="150"/>
                    </a:lnTo>
                    <a:lnTo>
                      <a:pt x="54" y="150"/>
                    </a:lnTo>
                    <a:lnTo>
                      <a:pt x="54" y="148"/>
                    </a:lnTo>
                    <a:lnTo>
                      <a:pt x="56" y="148"/>
                    </a:lnTo>
                    <a:lnTo>
                      <a:pt x="56" y="146"/>
                    </a:lnTo>
                    <a:lnTo>
                      <a:pt x="56" y="148"/>
                    </a:lnTo>
                    <a:lnTo>
                      <a:pt x="56" y="146"/>
                    </a:lnTo>
                    <a:lnTo>
                      <a:pt x="58" y="146"/>
                    </a:lnTo>
                    <a:lnTo>
                      <a:pt x="56" y="146"/>
                    </a:lnTo>
                    <a:lnTo>
                      <a:pt x="56" y="144"/>
                    </a:lnTo>
                    <a:lnTo>
                      <a:pt x="58" y="144"/>
                    </a:lnTo>
                    <a:lnTo>
                      <a:pt x="58" y="142"/>
                    </a:lnTo>
                    <a:lnTo>
                      <a:pt x="60" y="142"/>
                    </a:lnTo>
                    <a:lnTo>
                      <a:pt x="60" y="140"/>
                    </a:lnTo>
                    <a:lnTo>
                      <a:pt x="62" y="138"/>
                    </a:lnTo>
                    <a:lnTo>
                      <a:pt x="62" y="136"/>
                    </a:lnTo>
                    <a:lnTo>
                      <a:pt x="64" y="138"/>
                    </a:lnTo>
                    <a:lnTo>
                      <a:pt x="64" y="136"/>
                    </a:lnTo>
                    <a:lnTo>
                      <a:pt x="66" y="136"/>
                    </a:lnTo>
                    <a:lnTo>
                      <a:pt x="66" y="134"/>
                    </a:lnTo>
                    <a:lnTo>
                      <a:pt x="68" y="134"/>
                    </a:lnTo>
                    <a:lnTo>
                      <a:pt x="68" y="132"/>
                    </a:lnTo>
                    <a:lnTo>
                      <a:pt x="66" y="132"/>
                    </a:lnTo>
                    <a:lnTo>
                      <a:pt x="64" y="130"/>
                    </a:lnTo>
                    <a:lnTo>
                      <a:pt x="64" y="132"/>
                    </a:lnTo>
                    <a:lnTo>
                      <a:pt x="62" y="132"/>
                    </a:lnTo>
                    <a:lnTo>
                      <a:pt x="60" y="132"/>
                    </a:lnTo>
                    <a:lnTo>
                      <a:pt x="60" y="130"/>
                    </a:lnTo>
                    <a:lnTo>
                      <a:pt x="60" y="132"/>
                    </a:lnTo>
                    <a:lnTo>
                      <a:pt x="62" y="132"/>
                    </a:lnTo>
                    <a:lnTo>
                      <a:pt x="62" y="134"/>
                    </a:lnTo>
                    <a:lnTo>
                      <a:pt x="60" y="134"/>
                    </a:lnTo>
                    <a:lnTo>
                      <a:pt x="62" y="134"/>
                    </a:lnTo>
                    <a:lnTo>
                      <a:pt x="62" y="136"/>
                    </a:lnTo>
                    <a:lnTo>
                      <a:pt x="60" y="136"/>
                    </a:lnTo>
                    <a:lnTo>
                      <a:pt x="58" y="138"/>
                    </a:lnTo>
                    <a:lnTo>
                      <a:pt x="56" y="138"/>
                    </a:lnTo>
                    <a:lnTo>
                      <a:pt x="54" y="138"/>
                    </a:lnTo>
                    <a:lnTo>
                      <a:pt x="54" y="136"/>
                    </a:lnTo>
                    <a:lnTo>
                      <a:pt x="54" y="138"/>
                    </a:lnTo>
                    <a:lnTo>
                      <a:pt x="52" y="136"/>
                    </a:lnTo>
                    <a:lnTo>
                      <a:pt x="52" y="138"/>
                    </a:lnTo>
                    <a:lnTo>
                      <a:pt x="50" y="140"/>
                    </a:lnTo>
                    <a:lnTo>
                      <a:pt x="49" y="140"/>
                    </a:lnTo>
                    <a:lnTo>
                      <a:pt x="49" y="142"/>
                    </a:lnTo>
                    <a:lnTo>
                      <a:pt x="49" y="140"/>
                    </a:lnTo>
                    <a:lnTo>
                      <a:pt x="47" y="140"/>
                    </a:lnTo>
                    <a:lnTo>
                      <a:pt x="47" y="142"/>
                    </a:lnTo>
                    <a:lnTo>
                      <a:pt x="47" y="140"/>
                    </a:lnTo>
                    <a:lnTo>
                      <a:pt x="45" y="140"/>
                    </a:lnTo>
                    <a:lnTo>
                      <a:pt x="45" y="142"/>
                    </a:lnTo>
                    <a:lnTo>
                      <a:pt x="43" y="144"/>
                    </a:lnTo>
                    <a:lnTo>
                      <a:pt x="45" y="146"/>
                    </a:lnTo>
                    <a:lnTo>
                      <a:pt x="47" y="146"/>
                    </a:lnTo>
                    <a:lnTo>
                      <a:pt x="49" y="146"/>
                    </a:lnTo>
                    <a:lnTo>
                      <a:pt x="49" y="148"/>
                    </a:lnTo>
                    <a:lnTo>
                      <a:pt x="50" y="150"/>
                    </a:lnTo>
                    <a:lnTo>
                      <a:pt x="49" y="150"/>
                    </a:lnTo>
                    <a:lnTo>
                      <a:pt x="49" y="152"/>
                    </a:lnTo>
                    <a:lnTo>
                      <a:pt x="50" y="152"/>
                    </a:lnTo>
                    <a:lnTo>
                      <a:pt x="50" y="153"/>
                    </a:lnTo>
                    <a:lnTo>
                      <a:pt x="49" y="153"/>
                    </a:lnTo>
                    <a:lnTo>
                      <a:pt x="47" y="153"/>
                    </a:lnTo>
                    <a:lnTo>
                      <a:pt x="49" y="155"/>
                    </a:lnTo>
                    <a:lnTo>
                      <a:pt x="47" y="157"/>
                    </a:lnTo>
                    <a:lnTo>
                      <a:pt x="47" y="155"/>
                    </a:lnTo>
                    <a:lnTo>
                      <a:pt x="47" y="153"/>
                    </a:lnTo>
                    <a:lnTo>
                      <a:pt x="45" y="153"/>
                    </a:lnTo>
                    <a:lnTo>
                      <a:pt x="45" y="152"/>
                    </a:lnTo>
                    <a:lnTo>
                      <a:pt x="45" y="153"/>
                    </a:lnTo>
                    <a:lnTo>
                      <a:pt x="45" y="155"/>
                    </a:lnTo>
                    <a:lnTo>
                      <a:pt x="45" y="157"/>
                    </a:lnTo>
                    <a:lnTo>
                      <a:pt x="43" y="159"/>
                    </a:lnTo>
                    <a:lnTo>
                      <a:pt x="43" y="161"/>
                    </a:lnTo>
                    <a:lnTo>
                      <a:pt x="41" y="161"/>
                    </a:lnTo>
                    <a:lnTo>
                      <a:pt x="41" y="159"/>
                    </a:lnTo>
                    <a:lnTo>
                      <a:pt x="39" y="157"/>
                    </a:lnTo>
                    <a:lnTo>
                      <a:pt x="39" y="155"/>
                    </a:lnTo>
                    <a:lnTo>
                      <a:pt x="37" y="153"/>
                    </a:lnTo>
                    <a:lnTo>
                      <a:pt x="37" y="152"/>
                    </a:lnTo>
                    <a:lnTo>
                      <a:pt x="35" y="152"/>
                    </a:lnTo>
                    <a:lnTo>
                      <a:pt x="35" y="153"/>
                    </a:lnTo>
                    <a:lnTo>
                      <a:pt x="35" y="155"/>
                    </a:lnTo>
                    <a:lnTo>
                      <a:pt x="33" y="155"/>
                    </a:lnTo>
                    <a:lnTo>
                      <a:pt x="33" y="153"/>
                    </a:lnTo>
                    <a:lnTo>
                      <a:pt x="31" y="153"/>
                    </a:lnTo>
                    <a:lnTo>
                      <a:pt x="31" y="152"/>
                    </a:lnTo>
                    <a:lnTo>
                      <a:pt x="31" y="150"/>
                    </a:lnTo>
                    <a:lnTo>
                      <a:pt x="29" y="150"/>
                    </a:lnTo>
                    <a:lnTo>
                      <a:pt x="29" y="148"/>
                    </a:lnTo>
                    <a:lnTo>
                      <a:pt x="27" y="150"/>
                    </a:lnTo>
                    <a:lnTo>
                      <a:pt x="27" y="148"/>
                    </a:lnTo>
                    <a:lnTo>
                      <a:pt x="27" y="150"/>
                    </a:lnTo>
                    <a:lnTo>
                      <a:pt x="29" y="150"/>
                    </a:lnTo>
                    <a:lnTo>
                      <a:pt x="29" y="152"/>
                    </a:lnTo>
                    <a:lnTo>
                      <a:pt x="27" y="152"/>
                    </a:lnTo>
                    <a:lnTo>
                      <a:pt x="29" y="152"/>
                    </a:lnTo>
                    <a:lnTo>
                      <a:pt x="27" y="152"/>
                    </a:lnTo>
                    <a:lnTo>
                      <a:pt x="25" y="152"/>
                    </a:lnTo>
                    <a:lnTo>
                      <a:pt x="25" y="153"/>
                    </a:lnTo>
                    <a:lnTo>
                      <a:pt x="25" y="155"/>
                    </a:lnTo>
                    <a:lnTo>
                      <a:pt x="25" y="157"/>
                    </a:lnTo>
                    <a:lnTo>
                      <a:pt x="24" y="155"/>
                    </a:lnTo>
                    <a:lnTo>
                      <a:pt x="24" y="157"/>
                    </a:lnTo>
                    <a:lnTo>
                      <a:pt x="22" y="157"/>
                    </a:lnTo>
                    <a:lnTo>
                      <a:pt x="22" y="159"/>
                    </a:lnTo>
                    <a:lnTo>
                      <a:pt x="20" y="157"/>
                    </a:lnTo>
                    <a:lnTo>
                      <a:pt x="18" y="157"/>
                    </a:lnTo>
                    <a:lnTo>
                      <a:pt x="20" y="155"/>
                    </a:lnTo>
                    <a:lnTo>
                      <a:pt x="20" y="153"/>
                    </a:lnTo>
                    <a:lnTo>
                      <a:pt x="20" y="152"/>
                    </a:lnTo>
                    <a:lnTo>
                      <a:pt x="18" y="152"/>
                    </a:lnTo>
                    <a:lnTo>
                      <a:pt x="18" y="150"/>
                    </a:lnTo>
                    <a:lnTo>
                      <a:pt x="16" y="152"/>
                    </a:lnTo>
                    <a:lnTo>
                      <a:pt x="14" y="153"/>
                    </a:lnTo>
                    <a:lnTo>
                      <a:pt x="14" y="152"/>
                    </a:lnTo>
                    <a:lnTo>
                      <a:pt x="12" y="152"/>
                    </a:lnTo>
                    <a:lnTo>
                      <a:pt x="12" y="153"/>
                    </a:lnTo>
                    <a:lnTo>
                      <a:pt x="10" y="153"/>
                    </a:lnTo>
                    <a:lnTo>
                      <a:pt x="10" y="152"/>
                    </a:lnTo>
                    <a:lnTo>
                      <a:pt x="12" y="152"/>
                    </a:lnTo>
                    <a:lnTo>
                      <a:pt x="10" y="152"/>
                    </a:lnTo>
                    <a:lnTo>
                      <a:pt x="10" y="150"/>
                    </a:lnTo>
                    <a:lnTo>
                      <a:pt x="12" y="150"/>
                    </a:lnTo>
                    <a:lnTo>
                      <a:pt x="12" y="148"/>
                    </a:lnTo>
                    <a:lnTo>
                      <a:pt x="10" y="148"/>
                    </a:lnTo>
                    <a:lnTo>
                      <a:pt x="10" y="150"/>
                    </a:lnTo>
                    <a:lnTo>
                      <a:pt x="8" y="150"/>
                    </a:lnTo>
                    <a:lnTo>
                      <a:pt x="8" y="148"/>
                    </a:lnTo>
                    <a:lnTo>
                      <a:pt x="8" y="146"/>
                    </a:lnTo>
                    <a:lnTo>
                      <a:pt x="8" y="148"/>
                    </a:lnTo>
                    <a:lnTo>
                      <a:pt x="8" y="146"/>
                    </a:lnTo>
                    <a:lnTo>
                      <a:pt x="8" y="148"/>
                    </a:lnTo>
                    <a:lnTo>
                      <a:pt x="6" y="148"/>
                    </a:lnTo>
                    <a:lnTo>
                      <a:pt x="6" y="146"/>
                    </a:lnTo>
                    <a:lnTo>
                      <a:pt x="4" y="146"/>
                    </a:lnTo>
                    <a:lnTo>
                      <a:pt x="4" y="148"/>
                    </a:lnTo>
                    <a:lnTo>
                      <a:pt x="2" y="148"/>
                    </a:lnTo>
                    <a:lnTo>
                      <a:pt x="2" y="146"/>
                    </a:lnTo>
                    <a:lnTo>
                      <a:pt x="0" y="146"/>
                    </a:lnTo>
                    <a:lnTo>
                      <a:pt x="0" y="144"/>
                    </a:lnTo>
                    <a:lnTo>
                      <a:pt x="2" y="144"/>
                    </a:lnTo>
                    <a:lnTo>
                      <a:pt x="2" y="142"/>
                    </a:lnTo>
                    <a:lnTo>
                      <a:pt x="2" y="140"/>
                    </a:lnTo>
                    <a:lnTo>
                      <a:pt x="4" y="140"/>
                    </a:lnTo>
                    <a:lnTo>
                      <a:pt x="6" y="140"/>
                    </a:lnTo>
                    <a:lnTo>
                      <a:pt x="6" y="138"/>
                    </a:lnTo>
                    <a:lnTo>
                      <a:pt x="8" y="140"/>
                    </a:lnTo>
                    <a:lnTo>
                      <a:pt x="8" y="138"/>
                    </a:lnTo>
                    <a:lnTo>
                      <a:pt x="8" y="140"/>
                    </a:lnTo>
                    <a:lnTo>
                      <a:pt x="10" y="140"/>
                    </a:lnTo>
                    <a:lnTo>
                      <a:pt x="12" y="140"/>
                    </a:lnTo>
                    <a:lnTo>
                      <a:pt x="12" y="138"/>
                    </a:lnTo>
                    <a:lnTo>
                      <a:pt x="12" y="136"/>
                    </a:lnTo>
                    <a:lnTo>
                      <a:pt x="10" y="136"/>
                    </a:lnTo>
                    <a:lnTo>
                      <a:pt x="6" y="134"/>
                    </a:lnTo>
                    <a:lnTo>
                      <a:pt x="8" y="134"/>
                    </a:lnTo>
                    <a:lnTo>
                      <a:pt x="8" y="132"/>
                    </a:lnTo>
                    <a:lnTo>
                      <a:pt x="8" y="130"/>
                    </a:lnTo>
                    <a:lnTo>
                      <a:pt x="10" y="130"/>
                    </a:lnTo>
                    <a:lnTo>
                      <a:pt x="10" y="128"/>
                    </a:lnTo>
                    <a:lnTo>
                      <a:pt x="8" y="128"/>
                    </a:lnTo>
                    <a:lnTo>
                      <a:pt x="6" y="130"/>
                    </a:lnTo>
                    <a:lnTo>
                      <a:pt x="6" y="128"/>
                    </a:lnTo>
                    <a:lnTo>
                      <a:pt x="8" y="128"/>
                    </a:lnTo>
                    <a:lnTo>
                      <a:pt x="12" y="127"/>
                    </a:lnTo>
                    <a:lnTo>
                      <a:pt x="10" y="127"/>
                    </a:lnTo>
                    <a:lnTo>
                      <a:pt x="12" y="125"/>
                    </a:lnTo>
                    <a:lnTo>
                      <a:pt x="10" y="125"/>
                    </a:lnTo>
                    <a:lnTo>
                      <a:pt x="10" y="123"/>
                    </a:lnTo>
                    <a:lnTo>
                      <a:pt x="10" y="121"/>
                    </a:lnTo>
                    <a:lnTo>
                      <a:pt x="8" y="121"/>
                    </a:lnTo>
                    <a:lnTo>
                      <a:pt x="8" y="119"/>
                    </a:lnTo>
                    <a:lnTo>
                      <a:pt x="10" y="119"/>
                    </a:lnTo>
                    <a:lnTo>
                      <a:pt x="8" y="119"/>
                    </a:lnTo>
                    <a:lnTo>
                      <a:pt x="10" y="119"/>
                    </a:lnTo>
                    <a:lnTo>
                      <a:pt x="10" y="117"/>
                    </a:lnTo>
                    <a:lnTo>
                      <a:pt x="10" y="115"/>
                    </a:lnTo>
                    <a:lnTo>
                      <a:pt x="12" y="115"/>
                    </a:lnTo>
                    <a:lnTo>
                      <a:pt x="8" y="113"/>
                    </a:lnTo>
                    <a:lnTo>
                      <a:pt x="8" y="111"/>
                    </a:lnTo>
                    <a:lnTo>
                      <a:pt x="8" y="109"/>
                    </a:lnTo>
                    <a:lnTo>
                      <a:pt x="10" y="107"/>
                    </a:lnTo>
                    <a:lnTo>
                      <a:pt x="8" y="107"/>
                    </a:lnTo>
                    <a:lnTo>
                      <a:pt x="10" y="105"/>
                    </a:lnTo>
                    <a:lnTo>
                      <a:pt x="10" y="103"/>
                    </a:lnTo>
                    <a:lnTo>
                      <a:pt x="12" y="102"/>
                    </a:lnTo>
                    <a:lnTo>
                      <a:pt x="14" y="100"/>
                    </a:lnTo>
                    <a:lnTo>
                      <a:pt x="16" y="96"/>
                    </a:lnTo>
                    <a:lnTo>
                      <a:pt x="18" y="100"/>
                    </a:lnTo>
                    <a:lnTo>
                      <a:pt x="22" y="102"/>
                    </a:lnTo>
                    <a:lnTo>
                      <a:pt x="24" y="98"/>
                    </a:lnTo>
                    <a:lnTo>
                      <a:pt x="24" y="96"/>
                    </a:lnTo>
                    <a:lnTo>
                      <a:pt x="24" y="94"/>
                    </a:lnTo>
                    <a:lnTo>
                      <a:pt x="25" y="94"/>
                    </a:lnTo>
                    <a:lnTo>
                      <a:pt x="25" y="96"/>
                    </a:lnTo>
                    <a:lnTo>
                      <a:pt x="25" y="94"/>
                    </a:lnTo>
                    <a:lnTo>
                      <a:pt x="27" y="94"/>
                    </a:lnTo>
                    <a:lnTo>
                      <a:pt x="29" y="92"/>
                    </a:lnTo>
                    <a:lnTo>
                      <a:pt x="31" y="92"/>
                    </a:lnTo>
                    <a:lnTo>
                      <a:pt x="31" y="90"/>
                    </a:lnTo>
                    <a:lnTo>
                      <a:pt x="31" y="88"/>
                    </a:lnTo>
                    <a:lnTo>
                      <a:pt x="31" y="90"/>
                    </a:lnTo>
                    <a:lnTo>
                      <a:pt x="29" y="88"/>
                    </a:lnTo>
                    <a:lnTo>
                      <a:pt x="29" y="86"/>
                    </a:lnTo>
                    <a:lnTo>
                      <a:pt x="29" y="84"/>
                    </a:lnTo>
                    <a:lnTo>
                      <a:pt x="27" y="84"/>
                    </a:lnTo>
                    <a:lnTo>
                      <a:pt x="27" y="82"/>
                    </a:lnTo>
                    <a:lnTo>
                      <a:pt x="29" y="82"/>
                    </a:lnTo>
                    <a:lnTo>
                      <a:pt x="27" y="82"/>
                    </a:lnTo>
                    <a:lnTo>
                      <a:pt x="29" y="82"/>
                    </a:lnTo>
                    <a:lnTo>
                      <a:pt x="27" y="82"/>
                    </a:lnTo>
                    <a:lnTo>
                      <a:pt x="27" y="80"/>
                    </a:lnTo>
                    <a:lnTo>
                      <a:pt x="29" y="80"/>
                    </a:lnTo>
                    <a:lnTo>
                      <a:pt x="27" y="78"/>
                    </a:lnTo>
                    <a:lnTo>
                      <a:pt x="29" y="78"/>
                    </a:lnTo>
                    <a:lnTo>
                      <a:pt x="27" y="77"/>
                    </a:lnTo>
                    <a:lnTo>
                      <a:pt x="29" y="77"/>
                    </a:lnTo>
                    <a:lnTo>
                      <a:pt x="27" y="75"/>
                    </a:lnTo>
                    <a:lnTo>
                      <a:pt x="29" y="75"/>
                    </a:lnTo>
                    <a:lnTo>
                      <a:pt x="27" y="73"/>
                    </a:lnTo>
                    <a:lnTo>
                      <a:pt x="29" y="71"/>
                    </a:lnTo>
                    <a:lnTo>
                      <a:pt x="31" y="71"/>
                    </a:lnTo>
                    <a:lnTo>
                      <a:pt x="29" y="69"/>
                    </a:lnTo>
                    <a:lnTo>
                      <a:pt x="31" y="65"/>
                    </a:lnTo>
                    <a:lnTo>
                      <a:pt x="29" y="65"/>
                    </a:lnTo>
                    <a:lnTo>
                      <a:pt x="31" y="63"/>
                    </a:lnTo>
                    <a:lnTo>
                      <a:pt x="31" y="61"/>
                    </a:lnTo>
                    <a:lnTo>
                      <a:pt x="29" y="61"/>
                    </a:lnTo>
                    <a:lnTo>
                      <a:pt x="31" y="61"/>
                    </a:lnTo>
                    <a:lnTo>
                      <a:pt x="31" y="59"/>
                    </a:lnTo>
                    <a:lnTo>
                      <a:pt x="33" y="55"/>
                    </a:lnTo>
                    <a:lnTo>
                      <a:pt x="37" y="52"/>
                    </a:lnTo>
                    <a:lnTo>
                      <a:pt x="37" y="50"/>
                    </a:lnTo>
                    <a:lnTo>
                      <a:pt x="45" y="52"/>
                    </a:lnTo>
                    <a:lnTo>
                      <a:pt x="49" y="53"/>
                    </a:lnTo>
                    <a:lnTo>
                      <a:pt x="50" y="55"/>
                    </a:lnTo>
                    <a:lnTo>
                      <a:pt x="50" y="53"/>
                    </a:lnTo>
                    <a:lnTo>
                      <a:pt x="52" y="52"/>
                    </a:lnTo>
                    <a:lnTo>
                      <a:pt x="54" y="52"/>
                    </a:lnTo>
                    <a:lnTo>
                      <a:pt x="54" y="53"/>
                    </a:lnTo>
                    <a:lnTo>
                      <a:pt x="56" y="53"/>
                    </a:lnTo>
                    <a:lnTo>
                      <a:pt x="56" y="52"/>
                    </a:lnTo>
                    <a:lnTo>
                      <a:pt x="58" y="52"/>
                    </a:lnTo>
                    <a:lnTo>
                      <a:pt x="58" y="50"/>
                    </a:lnTo>
                    <a:lnTo>
                      <a:pt x="58" y="52"/>
                    </a:lnTo>
                    <a:lnTo>
                      <a:pt x="60" y="50"/>
                    </a:lnTo>
                    <a:lnTo>
                      <a:pt x="62" y="48"/>
                    </a:lnTo>
                    <a:lnTo>
                      <a:pt x="64" y="46"/>
                    </a:lnTo>
                    <a:lnTo>
                      <a:pt x="64" y="44"/>
                    </a:lnTo>
                    <a:lnTo>
                      <a:pt x="66" y="44"/>
                    </a:lnTo>
                    <a:lnTo>
                      <a:pt x="66" y="42"/>
                    </a:lnTo>
                    <a:lnTo>
                      <a:pt x="68" y="42"/>
                    </a:lnTo>
                    <a:lnTo>
                      <a:pt x="70" y="42"/>
                    </a:lnTo>
                    <a:lnTo>
                      <a:pt x="70" y="40"/>
                    </a:lnTo>
                    <a:lnTo>
                      <a:pt x="70" y="38"/>
                    </a:lnTo>
                    <a:lnTo>
                      <a:pt x="70" y="36"/>
                    </a:lnTo>
                    <a:lnTo>
                      <a:pt x="68" y="36"/>
                    </a:lnTo>
                    <a:lnTo>
                      <a:pt x="68" y="34"/>
                    </a:lnTo>
                    <a:lnTo>
                      <a:pt x="68" y="36"/>
                    </a:lnTo>
                    <a:lnTo>
                      <a:pt x="68" y="34"/>
                    </a:lnTo>
                    <a:lnTo>
                      <a:pt x="70" y="34"/>
                    </a:lnTo>
                    <a:lnTo>
                      <a:pt x="70" y="32"/>
                    </a:lnTo>
                    <a:lnTo>
                      <a:pt x="70" y="30"/>
                    </a:lnTo>
                    <a:lnTo>
                      <a:pt x="72" y="30"/>
                    </a:lnTo>
                    <a:lnTo>
                      <a:pt x="72" y="28"/>
                    </a:lnTo>
                    <a:lnTo>
                      <a:pt x="73" y="28"/>
                    </a:lnTo>
                    <a:lnTo>
                      <a:pt x="73" y="27"/>
                    </a:lnTo>
                    <a:lnTo>
                      <a:pt x="75" y="27"/>
                    </a:lnTo>
                    <a:lnTo>
                      <a:pt x="73" y="25"/>
                    </a:lnTo>
                    <a:lnTo>
                      <a:pt x="73" y="23"/>
                    </a:lnTo>
                    <a:lnTo>
                      <a:pt x="73" y="25"/>
                    </a:lnTo>
                    <a:lnTo>
                      <a:pt x="73" y="23"/>
                    </a:lnTo>
                    <a:lnTo>
                      <a:pt x="73" y="21"/>
                    </a:lnTo>
                    <a:lnTo>
                      <a:pt x="75" y="21"/>
                    </a:lnTo>
                    <a:lnTo>
                      <a:pt x="75" y="19"/>
                    </a:lnTo>
                    <a:lnTo>
                      <a:pt x="75" y="17"/>
                    </a:lnTo>
                    <a:lnTo>
                      <a:pt x="75" y="15"/>
                    </a:lnTo>
                    <a:lnTo>
                      <a:pt x="73" y="15"/>
                    </a:lnTo>
                    <a:lnTo>
                      <a:pt x="72" y="13"/>
                    </a:lnTo>
                    <a:lnTo>
                      <a:pt x="73" y="13"/>
                    </a:lnTo>
                    <a:lnTo>
                      <a:pt x="73" y="11"/>
                    </a:lnTo>
                    <a:lnTo>
                      <a:pt x="75" y="11"/>
                    </a:lnTo>
                    <a:lnTo>
                      <a:pt x="75" y="9"/>
                    </a:lnTo>
                    <a:lnTo>
                      <a:pt x="77" y="9"/>
                    </a:lnTo>
                    <a:lnTo>
                      <a:pt x="77" y="7"/>
                    </a:lnTo>
                    <a:lnTo>
                      <a:pt x="77" y="9"/>
                    </a:lnTo>
                    <a:lnTo>
                      <a:pt x="77" y="7"/>
                    </a:lnTo>
                    <a:lnTo>
                      <a:pt x="79" y="7"/>
                    </a:lnTo>
                    <a:lnTo>
                      <a:pt x="81" y="7"/>
                    </a:lnTo>
                    <a:lnTo>
                      <a:pt x="79" y="7"/>
                    </a:lnTo>
                    <a:lnTo>
                      <a:pt x="81" y="7"/>
                    </a:lnTo>
                    <a:lnTo>
                      <a:pt x="81" y="5"/>
                    </a:lnTo>
                    <a:lnTo>
                      <a:pt x="81" y="3"/>
                    </a:lnTo>
                    <a:lnTo>
                      <a:pt x="81" y="2"/>
                    </a:lnTo>
                    <a:lnTo>
                      <a:pt x="83" y="2"/>
                    </a:lnTo>
                    <a:lnTo>
                      <a:pt x="83" y="3"/>
                    </a:lnTo>
                    <a:lnTo>
                      <a:pt x="85" y="2"/>
                    </a:lnTo>
                    <a:lnTo>
                      <a:pt x="87" y="0"/>
                    </a:lnTo>
                    <a:lnTo>
                      <a:pt x="89" y="0"/>
                    </a:lnTo>
                    <a:lnTo>
                      <a:pt x="93" y="0"/>
                    </a:lnTo>
                    <a:lnTo>
                      <a:pt x="97" y="0"/>
                    </a:lnTo>
                    <a:lnTo>
                      <a:pt x="97" y="2"/>
                    </a:lnTo>
                    <a:lnTo>
                      <a:pt x="98" y="2"/>
                    </a:lnTo>
                    <a:lnTo>
                      <a:pt x="98" y="3"/>
                    </a:lnTo>
                    <a:lnTo>
                      <a:pt x="98" y="5"/>
                    </a:lnTo>
                    <a:lnTo>
                      <a:pt x="100" y="5"/>
                    </a:lnTo>
                    <a:lnTo>
                      <a:pt x="104" y="9"/>
                    </a:lnTo>
                    <a:lnTo>
                      <a:pt x="106" y="11"/>
                    </a:lnTo>
                    <a:lnTo>
                      <a:pt x="110" y="13"/>
                    </a:lnTo>
                    <a:lnTo>
                      <a:pt x="112" y="15"/>
                    </a:lnTo>
                    <a:lnTo>
                      <a:pt x="114" y="15"/>
                    </a:lnTo>
                    <a:lnTo>
                      <a:pt x="114" y="13"/>
                    </a:lnTo>
                    <a:lnTo>
                      <a:pt x="116" y="11"/>
                    </a:lnTo>
                    <a:lnTo>
                      <a:pt x="118" y="9"/>
                    </a:lnTo>
                    <a:lnTo>
                      <a:pt x="118" y="7"/>
                    </a:lnTo>
                    <a:lnTo>
                      <a:pt x="120" y="7"/>
                    </a:lnTo>
                    <a:lnTo>
                      <a:pt x="122" y="7"/>
                    </a:lnTo>
                    <a:lnTo>
                      <a:pt x="122" y="9"/>
                    </a:lnTo>
                    <a:lnTo>
                      <a:pt x="122" y="7"/>
                    </a:lnTo>
                    <a:lnTo>
                      <a:pt x="125" y="9"/>
                    </a:lnTo>
                    <a:lnTo>
                      <a:pt x="123" y="11"/>
                    </a:lnTo>
                    <a:lnTo>
                      <a:pt x="123" y="13"/>
                    </a:lnTo>
                    <a:lnTo>
                      <a:pt x="123" y="15"/>
                    </a:lnTo>
                    <a:lnTo>
                      <a:pt x="125" y="17"/>
                    </a:lnTo>
                    <a:lnTo>
                      <a:pt x="123" y="19"/>
                    </a:lnTo>
                    <a:lnTo>
                      <a:pt x="125" y="21"/>
                    </a:lnTo>
                    <a:lnTo>
                      <a:pt x="127" y="23"/>
                    </a:lnTo>
                    <a:lnTo>
                      <a:pt x="127" y="21"/>
                    </a:lnTo>
                    <a:lnTo>
                      <a:pt x="129" y="21"/>
                    </a:lnTo>
                    <a:lnTo>
                      <a:pt x="131" y="21"/>
                    </a:lnTo>
                    <a:lnTo>
                      <a:pt x="131" y="19"/>
                    </a:lnTo>
                    <a:lnTo>
                      <a:pt x="133" y="19"/>
                    </a:lnTo>
                    <a:lnTo>
                      <a:pt x="133" y="21"/>
                    </a:lnTo>
                    <a:lnTo>
                      <a:pt x="135" y="21"/>
                    </a:lnTo>
                    <a:lnTo>
                      <a:pt x="137" y="19"/>
                    </a:lnTo>
                    <a:lnTo>
                      <a:pt x="137" y="21"/>
                    </a:lnTo>
                    <a:lnTo>
                      <a:pt x="137" y="19"/>
                    </a:lnTo>
                    <a:lnTo>
                      <a:pt x="137" y="21"/>
                    </a:lnTo>
                    <a:lnTo>
                      <a:pt x="139" y="23"/>
                    </a:lnTo>
                    <a:lnTo>
                      <a:pt x="141" y="2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7" name="Freeform 137"/>
              <p:cNvSpPr>
                <a:spLocks/>
              </p:cNvSpPr>
              <p:nvPr/>
            </p:nvSpPr>
            <p:spPr bwMode="auto">
              <a:xfrm>
                <a:off x="1165867" y="2832794"/>
                <a:ext cx="275300" cy="264976"/>
              </a:xfrm>
              <a:custGeom>
                <a:avLst/>
                <a:gdLst>
                  <a:gd name="T0" fmla="*/ 158 w 160"/>
                  <a:gd name="T1" fmla="*/ 86 h 154"/>
                  <a:gd name="T2" fmla="*/ 152 w 160"/>
                  <a:gd name="T3" fmla="*/ 98 h 154"/>
                  <a:gd name="T4" fmla="*/ 143 w 160"/>
                  <a:gd name="T5" fmla="*/ 104 h 154"/>
                  <a:gd name="T6" fmla="*/ 139 w 160"/>
                  <a:gd name="T7" fmla="*/ 111 h 154"/>
                  <a:gd name="T8" fmla="*/ 131 w 160"/>
                  <a:gd name="T9" fmla="*/ 106 h 154"/>
                  <a:gd name="T10" fmla="*/ 121 w 160"/>
                  <a:gd name="T11" fmla="*/ 104 h 154"/>
                  <a:gd name="T12" fmla="*/ 108 w 160"/>
                  <a:gd name="T13" fmla="*/ 96 h 154"/>
                  <a:gd name="T14" fmla="*/ 93 w 160"/>
                  <a:gd name="T15" fmla="*/ 100 h 154"/>
                  <a:gd name="T16" fmla="*/ 87 w 160"/>
                  <a:gd name="T17" fmla="*/ 100 h 154"/>
                  <a:gd name="T18" fmla="*/ 83 w 160"/>
                  <a:gd name="T19" fmla="*/ 100 h 154"/>
                  <a:gd name="T20" fmla="*/ 81 w 160"/>
                  <a:gd name="T21" fmla="*/ 106 h 154"/>
                  <a:gd name="T22" fmla="*/ 72 w 160"/>
                  <a:gd name="T23" fmla="*/ 106 h 154"/>
                  <a:gd name="T24" fmla="*/ 64 w 160"/>
                  <a:gd name="T25" fmla="*/ 106 h 154"/>
                  <a:gd name="T26" fmla="*/ 60 w 160"/>
                  <a:gd name="T27" fmla="*/ 117 h 154"/>
                  <a:gd name="T28" fmla="*/ 58 w 160"/>
                  <a:gd name="T29" fmla="*/ 131 h 154"/>
                  <a:gd name="T30" fmla="*/ 62 w 160"/>
                  <a:gd name="T31" fmla="*/ 136 h 154"/>
                  <a:gd name="T32" fmla="*/ 62 w 160"/>
                  <a:gd name="T33" fmla="*/ 150 h 154"/>
                  <a:gd name="T34" fmla="*/ 48 w 160"/>
                  <a:gd name="T35" fmla="*/ 150 h 154"/>
                  <a:gd name="T36" fmla="*/ 41 w 160"/>
                  <a:gd name="T37" fmla="*/ 150 h 154"/>
                  <a:gd name="T38" fmla="*/ 37 w 160"/>
                  <a:gd name="T39" fmla="*/ 152 h 154"/>
                  <a:gd name="T40" fmla="*/ 33 w 160"/>
                  <a:gd name="T41" fmla="*/ 148 h 154"/>
                  <a:gd name="T42" fmla="*/ 27 w 160"/>
                  <a:gd name="T43" fmla="*/ 152 h 154"/>
                  <a:gd name="T44" fmla="*/ 14 w 160"/>
                  <a:gd name="T45" fmla="*/ 148 h 154"/>
                  <a:gd name="T46" fmla="*/ 8 w 160"/>
                  <a:gd name="T47" fmla="*/ 146 h 154"/>
                  <a:gd name="T48" fmla="*/ 6 w 160"/>
                  <a:gd name="T49" fmla="*/ 144 h 154"/>
                  <a:gd name="T50" fmla="*/ 0 w 160"/>
                  <a:gd name="T51" fmla="*/ 138 h 154"/>
                  <a:gd name="T52" fmla="*/ 8 w 160"/>
                  <a:gd name="T53" fmla="*/ 131 h 154"/>
                  <a:gd name="T54" fmla="*/ 14 w 160"/>
                  <a:gd name="T55" fmla="*/ 121 h 154"/>
                  <a:gd name="T56" fmla="*/ 22 w 160"/>
                  <a:gd name="T57" fmla="*/ 109 h 154"/>
                  <a:gd name="T58" fmla="*/ 25 w 160"/>
                  <a:gd name="T59" fmla="*/ 98 h 154"/>
                  <a:gd name="T60" fmla="*/ 23 w 160"/>
                  <a:gd name="T61" fmla="*/ 88 h 154"/>
                  <a:gd name="T62" fmla="*/ 22 w 160"/>
                  <a:gd name="T63" fmla="*/ 81 h 154"/>
                  <a:gd name="T64" fmla="*/ 20 w 160"/>
                  <a:gd name="T65" fmla="*/ 77 h 154"/>
                  <a:gd name="T66" fmla="*/ 22 w 160"/>
                  <a:gd name="T67" fmla="*/ 63 h 154"/>
                  <a:gd name="T68" fmla="*/ 20 w 160"/>
                  <a:gd name="T69" fmla="*/ 54 h 154"/>
                  <a:gd name="T70" fmla="*/ 23 w 160"/>
                  <a:gd name="T71" fmla="*/ 46 h 154"/>
                  <a:gd name="T72" fmla="*/ 20 w 160"/>
                  <a:gd name="T73" fmla="*/ 36 h 154"/>
                  <a:gd name="T74" fmla="*/ 14 w 160"/>
                  <a:gd name="T75" fmla="*/ 38 h 154"/>
                  <a:gd name="T76" fmla="*/ 22 w 160"/>
                  <a:gd name="T77" fmla="*/ 35 h 154"/>
                  <a:gd name="T78" fmla="*/ 29 w 160"/>
                  <a:gd name="T79" fmla="*/ 33 h 154"/>
                  <a:gd name="T80" fmla="*/ 39 w 160"/>
                  <a:gd name="T81" fmla="*/ 35 h 154"/>
                  <a:gd name="T82" fmla="*/ 45 w 160"/>
                  <a:gd name="T83" fmla="*/ 33 h 154"/>
                  <a:gd name="T84" fmla="*/ 50 w 160"/>
                  <a:gd name="T85" fmla="*/ 33 h 154"/>
                  <a:gd name="T86" fmla="*/ 52 w 160"/>
                  <a:gd name="T87" fmla="*/ 25 h 154"/>
                  <a:gd name="T88" fmla="*/ 52 w 160"/>
                  <a:gd name="T89" fmla="*/ 17 h 154"/>
                  <a:gd name="T90" fmla="*/ 52 w 160"/>
                  <a:gd name="T91" fmla="*/ 13 h 154"/>
                  <a:gd name="T92" fmla="*/ 56 w 160"/>
                  <a:gd name="T93" fmla="*/ 4 h 154"/>
                  <a:gd name="T94" fmla="*/ 60 w 160"/>
                  <a:gd name="T95" fmla="*/ 2 h 154"/>
                  <a:gd name="T96" fmla="*/ 66 w 160"/>
                  <a:gd name="T97" fmla="*/ 11 h 154"/>
                  <a:gd name="T98" fmla="*/ 73 w 160"/>
                  <a:gd name="T99" fmla="*/ 15 h 154"/>
                  <a:gd name="T100" fmla="*/ 81 w 160"/>
                  <a:gd name="T101" fmla="*/ 21 h 154"/>
                  <a:gd name="T102" fmla="*/ 79 w 160"/>
                  <a:gd name="T103" fmla="*/ 33 h 154"/>
                  <a:gd name="T104" fmla="*/ 89 w 160"/>
                  <a:gd name="T105" fmla="*/ 31 h 154"/>
                  <a:gd name="T106" fmla="*/ 98 w 160"/>
                  <a:gd name="T107" fmla="*/ 25 h 154"/>
                  <a:gd name="T108" fmla="*/ 100 w 160"/>
                  <a:gd name="T109" fmla="*/ 29 h 154"/>
                  <a:gd name="T110" fmla="*/ 108 w 160"/>
                  <a:gd name="T111" fmla="*/ 29 h 154"/>
                  <a:gd name="T112" fmla="*/ 110 w 160"/>
                  <a:gd name="T113" fmla="*/ 36 h 154"/>
                  <a:gd name="T114" fmla="*/ 133 w 160"/>
                  <a:gd name="T115" fmla="*/ 36 h 154"/>
                  <a:gd name="T116" fmla="*/ 145 w 160"/>
                  <a:gd name="T117" fmla="*/ 38 h 154"/>
                  <a:gd name="T118" fmla="*/ 150 w 160"/>
                  <a:gd name="T119" fmla="*/ 42 h 154"/>
                  <a:gd name="T120" fmla="*/ 150 w 160"/>
                  <a:gd name="T121" fmla="*/ 52 h 154"/>
                  <a:gd name="T122" fmla="*/ 146 w 160"/>
                  <a:gd name="T123" fmla="*/ 58 h 154"/>
                  <a:gd name="T124" fmla="*/ 152 w 160"/>
                  <a:gd name="T125" fmla="*/ 6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0" h="154">
                    <a:moveTo>
                      <a:pt x="160" y="73"/>
                    </a:moveTo>
                    <a:lnTo>
                      <a:pt x="160" y="75"/>
                    </a:lnTo>
                    <a:lnTo>
                      <a:pt x="158" y="79"/>
                    </a:lnTo>
                    <a:lnTo>
                      <a:pt x="160" y="79"/>
                    </a:lnTo>
                    <a:lnTo>
                      <a:pt x="158" y="81"/>
                    </a:lnTo>
                    <a:lnTo>
                      <a:pt x="158" y="83"/>
                    </a:lnTo>
                    <a:lnTo>
                      <a:pt x="158" y="85"/>
                    </a:lnTo>
                    <a:lnTo>
                      <a:pt x="158" y="86"/>
                    </a:lnTo>
                    <a:lnTo>
                      <a:pt x="158" y="88"/>
                    </a:lnTo>
                    <a:lnTo>
                      <a:pt x="156" y="88"/>
                    </a:lnTo>
                    <a:lnTo>
                      <a:pt x="156" y="92"/>
                    </a:lnTo>
                    <a:lnTo>
                      <a:pt x="156" y="94"/>
                    </a:lnTo>
                    <a:lnTo>
                      <a:pt x="154" y="94"/>
                    </a:lnTo>
                    <a:lnTo>
                      <a:pt x="154" y="96"/>
                    </a:lnTo>
                    <a:lnTo>
                      <a:pt x="152" y="96"/>
                    </a:lnTo>
                    <a:lnTo>
                      <a:pt x="152" y="98"/>
                    </a:lnTo>
                    <a:lnTo>
                      <a:pt x="152" y="100"/>
                    </a:lnTo>
                    <a:lnTo>
                      <a:pt x="150" y="100"/>
                    </a:lnTo>
                    <a:lnTo>
                      <a:pt x="150" y="102"/>
                    </a:lnTo>
                    <a:lnTo>
                      <a:pt x="150" y="104"/>
                    </a:lnTo>
                    <a:lnTo>
                      <a:pt x="148" y="104"/>
                    </a:lnTo>
                    <a:lnTo>
                      <a:pt x="146" y="104"/>
                    </a:lnTo>
                    <a:lnTo>
                      <a:pt x="145" y="104"/>
                    </a:lnTo>
                    <a:lnTo>
                      <a:pt x="143" y="104"/>
                    </a:lnTo>
                    <a:lnTo>
                      <a:pt x="143" y="106"/>
                    </a:lnTo>
                    <a:lnTo>
                      <a:pt x="143" y="104"/>
                    </a:lnTo>
                    <a:lnTo>
                      <a:pt x="141" y="104"/>
                    </a:lnTo>
                    <a:lnTo>
                      <a:pt x="139" y="106"/>
                    </a:lnTo>
                    <a:lnTo>
                      <a:pt x="137" y="108"/>
                    </a:lnTo>
                    <a:lnTo>
                      <a:pt x="137" y="109"/>
                    </a:lnTo>
                    <a:lnTo>
                      <a:pt x="139" y="109"/>
                    </a:lnTo>
                    <a:lnTo>
                      <a:pt x="139" y="111"/>
                    </a:lnTo>
                    <a:lnTo>
                      <a:pt x="139" y="113"/>
                    </a:lnTo>
                    <a:lnTo>
                      <a:pt x="137" y="115"/>
                    </a:lnTo>
                    <a:lnTo>
                      <a:pt x="137" y="113"/>
                    </a:lnTo>
                    <a:lnTo>
                      <a:pt x="133" y="111"/>
                    </a:lnTo>
                    <a:lnTo>
                      <a:pt x="133" y="109"/>
                    </a:lnTo>
                    <a:lnTo>
                      <a:pt x="135" y="108"/>
                    </a:lnTo>
                    <a:lnTo>
                      <a:pt x="133" y="108"/>
                    </a:lnTo>
                    <a:lnTo>
                      <a:pt x="131" y="106"/>
                    </a:lnTo>
                    <a:lnTo>
                      <a:pt x="129" y="106"/>
                    </a:lnTo>
                    <a:lnTo>
                      <a:pt x="129" y="108"/>
                    </a:lnTo>
                    <a:lnTo>
                      <a:pt x="127" y="108"/>
                    </a:lnTo>
                    <a:lnTo>
                      <a:pt x="125" y="108"/>
                    </a:lnTo>
                    <a:lnTo>
                      <a:pt x="123" y="109"/>
                    </a:lnTo>
                    <a:lnTo>
                      <a:pt x="123" y="108"/>
                    </a:lnTo>
                    <a:lnTo>
                      <a:pt x="125" y="106"/>
                    </a:lnTo>
                    <a:lnTo>
                      <a:pt x="121" y="104"/>
                    </a:lnTo>
                    <a:lnTo>
                      <a:pt x="120" y="104"/>
                    </a:lnTo>
                    <a:lnTo>
                      <a:pt x="120" y="102"/>
                    </a:lnTo>
                    <a:lnTo>
                      <a:pt x="118" y="100"/>
                    </a:lnTo>
                    <a:lnTo>
                      <a:pt x="116" y="102"/>
                    </a:lnTo>
                    <a:lnTo>
                      <a:pt x="114" y="102"/>
                    </a:lnTo>
                    <a:lnTo>
                      <a:pt x="114" y="98"/>
                    </a:lnTo>
                    <a:lnTo>
                      <a:pt x="110" y="96"/>
                    </a:lnTo>
                    <a:lnTo>
                      <a:pt x="108" y="96"/>
                    </a:lnTo>
                    <a:lnTo>
                      <a:pt x="106" y="98"/>
                    </a:lnTo>
                    <a:lnTo>
                      <a:pt x="104" y="100"/>
                    </a:lnTo>
                    <a:lnTo>
                      <a:pt x="98" y="104"/>
                    </a:lnTo>
                    <a:lnTo>
                      <a:pt x="98" y="102"/>
                    </a:lnTo>
                    <a:lnTo>
                      <a:pt x="96" y="102"/>
                    </a:lnTo>
                    <a:lnTo>
                      <a:pt x="96" y="100"/>
                    </a:lnTo>
                    <a:lnTo>
                      <a:pt x="95" y="100"/>
                    </a:lnTo>
                    <a:lnTo>
                      <a:pt x="93" y="100"/>
                    </a:lnTo>
                    <a:lnTo>
                      <a:pt x="93" y="98"/>
                    </a:lnTo>
                    <a:lnTo>
                      <a:pt x="91" y="98"/>
                    </a:lnTo>
                    <a:lnTo>
                      <a:pt x="91" y="96"/>
                    </a:lnTo>
                    <a:lnTo>
                      <a:pt x="89" y="94"/>
                    </a:lnTo>
                    <a:lnTo>
                      <a:pt x="87" y="94"/>
                    </a:lnTo>
                    <a:lnTo>
                      <a:pt x="87" y="96"/>
                    </a:lnTo>
                    <a:lnTo>
                      <a:pt x="87" y="98"/>
                    </a:lnTo>
                    <a:lnTo>
                      <a:pt x="87" y="100"/>
                    </a:lnTo>
                    <a:lnTo>
                      <a:pt x="87" y="102"/>
                    </a:lnTo>
                    <a:lnTo>
                      <a:pt x="89" y="102"/>
                    </a:lnTo>
                    <a:lnTo>
                      <a:pt x="87" y="102"/>
                    </a:lnTo>
                    <a:lnTo>
                      <a:pt x="85" y="102"/>
                    </a:lnTo>
                    <a:lnTo>
                      <a:pt x="85" y="100"/>
                    </a:lnTo>
                    <a:lnTo>
                      <a:pt x="83" y="100"/>
                    </a:lnTo>
                    <a:lnTo>
                      <a:pt x="81" y="100"/>
                    </a:lnTo>
                    <a:lnTo>
                      <a:pt x="83" y="100"/>
                    </a:lnTo>
                    <a:lnTo>
                      <a:pt x="81" y="102"/>
                    </a:lnTo>
                    <a:lnTo>
                      <a:pt x="81" y="100"/>
                    </a:lnTo>
                    <a:lnTo>
                      <a:pt x="81" y="98"/>
                    </a:lnTo>
                    <a:lnTo>
                      <a:pt x="79" y="98"/>
                    </a:lnTo>
                    <a:lnTo>
                      <a:pt x="79" y="100"/>
                    </a:lnTo>
                    <a:lnTo>
                      <a:pt x="79" y="102"/>
                    </a:lnTo>
                    <a:lnTo>
                      <a:pt x="79" y="104"/>
                    </a:lnTo>
                    <a:lnTo>
                      <a:pt x="81" y="106"/>
                    </a:lnTo>
                    <a:lnTo>
                      <a:pt x="79" y="106"/>
                    </a:lnTo>
                    <a:lnTo>
                      <a:pt x="77" y="108"/>
                    </a:lnTo>
                    <a:lnTo>
                      <a:pt x="77" y="109"/>
                    </a:lnTo>
                    <a:lnTo>
                      <a:pt x="75" y="109"/>
                    </a:lnTo>
                    <a:lnTo>
                      <a:pt x="73" y="109"/>
                    </a:lnTo>
                    <a:lnTo>
                      <a:pt x="72" y="109"/>
                    </a:lnTo>
                    <a:lnTo>
                      <a:pt x="72" y="108"/>
                    </a:lnTo>
                    <a:lnTo>
                      <a:pt x="72" y="106"/>
                    </a:lnTo>
                    <a:lnTo>
                      <a:pt x="70" y="106"/>
                    </a:lnTo>
                    <a:lnTo>
                      <a:pt x="70" y="108"/>
                    </a:lnTo>
                    <a:lnTo>
                      <a:pt x="70" y="106"/>
                    </a:lnTo>
                    <a:lnTo>
                      <a:pt x="68" y="104"/>
                    </a:lnTo>
                    <a:lnTo>
                      <a:pt x="68" y="106"/>
                    </a:lnTo>
                    <a:lnTo>
                      <a:pt x="66" y="104"/>
                    </a:lnTo>
                    <a:lnTo>
                      <a:pt x="64" y="104"/>
                    </a:lnTo>
                    <a:lnTo>
                      <a:pt x="64" y="106"/>
                    </a:lnTo>
                    <a:lnTo>
                      <a:pt x="62" y="108"/>
                    </a:lnTo>
                    <a:lnTo>
                      <a:pt x="60" y="109"/>
                    </a:lnTo>
                    <a:lnTo>
                      <a:pt x="58" y="109"/>
                    </a:lnTo>
                    <a:lnTo>
                      <a:pt x="58" y="111"/>
                    </a:lnTo>
                    <a:lnTo>
                      <a:pt x="60" y="111"/>
                    </a:lnTo>
                    <a:lnTo>
                      <a:pt x="60" y="113"/>
                    </a:lnTo>
                    <a:lnTo>
                      <a:pt x="60" y="115"/>
                    </a:lnTo>
                    <a:lnTo>
                      <a:pt x="60" y="117"/>
                    </a:lnTo>
                    <a:lnTo>
                      <a:pt x="60" y="119"/>
                    </a:lnTo>
                    <a:lnTo>
                      <a:pt x="60" y="121"/>
                    </a:lnTo>
                    <a:lnTo>
                      <a:pt x="58" y="123"/>
                    </a:lnTo>
                    <a:lnTo>
                      <a:pt x="60" y="125"/>
                    </a:lnTo>
                    <a:lnTo>
                      <a:pt x="60" y="127"/>
                    </a:lnTo>
                    <a:lnTo>
                      <a:pt x="60" y="129"/>
                    </a:lnTo>
                    <a:lnTo>
                      <a:pt x="58" y="129"/>
                    </a:lnTo>
                    <a:lnTo>
                      <a:pt x="58" y="131"/>
                    </a:lnTo>
                    <a:lnTo>
                      <a:pt x="56" y="131"/>
                    </a:lnTo>
                    <a:lnTo>
                      <a:pt x="54" y="133"/>
                    </a:lnTo>
                    <a:lnTo>
                      <a:pt x="56" y="133"/>
                    </a:lnTo>
                    <a:lnTo>
                      <a:pt x="56" y="134"/>
                    </a:lnTo>
                    <a:lnTo>
                      <a:pt x="56" y="136"/>
                    </a:lnTo>
                    <a:lnTo>
                      <a:pt x="60" y="133"/>
                    </a:lnTo>
                    <a:lnTo>
                      <a:pt x="62" y="134"/>
                    </a:lnTo>
                    <a:lnTo>
                      <a:pt x="62" y="136"/>
                    </a:lnTo>
                    <a:lnTo>
                      <a:pt x="60" y="138"/>
                    </a:lnTo>
                    <a:lnTo>
                      <a:pt x="60" y="140"/>
                    </a:lnTo>
                    <a:lnTo>
                      <a:pt x="62" y="142"/>
                    </a:lnTo>
                    <a:lnTo>
                      <a:pt x="62" y="144"/>
                    </a:lnTo>
                    <a:lnTo>
                      <a:pt x="64" y="144"/>
                    </a:lnTo>
                    <a:lnTo>
                      <a:pt x="64" y="146"/>
                    </a:lnTo>
                    <a:lnTo>
                      <a:pt x="64" y="148"/>
                    </a:lnTo>
                    <a:lnTo>
                      <a:pt x="62" y="150"/>
                    </a:lnTo>
                    <a:lnTo>
                      <a:pt x="58" y="150"/>
                    </a:lnTo>
                    <a:lnTo>
                      <a:pt x="56" y="152"/>
                    </a:lnTo>
                    <a:lnTo>
                      <a:pt x="54" y="152"/>
                    </a:lnTo>
                    <a:lnTo>
                      <a:pt x="52" y="152"/>
                    </a:lnTo>
                    <a:lnTo>
                      <a:pt x="52" y="150"/>
                    </a:lnTo>
                    <a:lnTo>
                      <a:pt x="52" y="148"/>
                    </a:lnTo>
                    <a:lnTo>
                      <a:pt x="50" y="148"/>
                    </a:lnTo>
                    <a:lnTo>
                      <a:pt x="48" y="150"/>
                    </a:lnTo>
                    <a:lnTo>
                      <a:pt x="47" y="150"/>
                    </a:lnTo>
                    <a:lnTo>
                      <a:pt x="47" y="148"/>
                    </a:lnTo>
                    <a:lnTo>
                      <a:pt x="45" y="148"/>
                    </a:lnTo>
                    <a:lnTo>
                      <a:pt x="43" y="148"/>
                    </a:lnTo>
                    <a:lnTo>
                      <a:pt x="45" y="148"/>
                    </a:lnTo>
                    <a:lnTo>
                      <a:pt x="43" y="148"/>
                    </a:lnTo>
                    <a:lnTo>
                      <a:pt x="41" y="148"/>
                    </a:lnTo>
                    <a:lnTo>
                      <a:pt x="41" y="150"/>
                    </a:lnTo>
                    <a:lnTo>
                      <a:pt x="43" y="150"/>
                    </a:lnTo>
                    <a:lnTo>
                      <a:pt x="43" y="152"/>
                    </a:lnTo>
                    <a:lnTo>
                      <a:pt x="41" y="154"/>
                    </a:lnTo>
                    <a:lnTo>
                      <a:pt x="39" y="154"/>
                    </a:lnTo>
                    <a:lnTo>
                      <a:pt x="37" y="154"/>
                    </a:lnTo>
                    <a:lnTo>
                      <a:pt x="37" y="152"/>
                    </a:lnTo>
                    <a:lnTo>
                      <a:pt x="35" y="152"/>
                    </a:lnTo>
                    <a:lnTo>
                      <a:pt x="37" y="152"/>
                    </a:lnTo>
                    <a:lnTo>
                      <a:pt x="37" y="150"/>
                    </a:lnTo>
                    <a:lnTo>
                      <a:pt x="37" y="148"/>
                    </a:lnTo>
                    <a:lnTo>
                      <a:pt x="37" y="146"/>
                    </a:lnTo>
                    <a:lnTo>
                      <a:pt x="35" y="146"/>
                    </a:lnTo>
                    <a:lnTo>
                      <a:pt x="35" y="148"/>
                    </a:lnTo>
                    <a:lnTo>
                      <a:pt x="33" y="148"/>
                    </a:lnTo>
                    <a:lnTo>
                      <a:pt x="35" y="148"/>
                    </a:lnTo>
                    <a:lnTo>
                      <a:pt x="33" y="148"/>
                    </a:lnTo>
                    <a:lnTo>
                      <a:pt x="33" y="150"/>
                    </a:lnTo>
                    <a:lnTo>
                      <a:pt x="31" y="150"/>
                    </a:lnTo>
                    <a:lnTo>
                      <a:pt x="31" y="148"/>
                    </a:lnTo>
                    <a:lnTo>
                      <a:pt x="31" y="150"/>
                    </a:lnTo>
                    <a:lnTo>
                      <a:pt x="29" y="152"/>
                    </a:lnTo>
                    <a:lnTo>
                      <a:pt x="29" y="154"/>
                    </a:lnTo>
                    <a:lnTo>
                      <a:pt x="27" y="154"/>
                    </a:lnTo>
                    <a:lnTo>
                      <a:pt x="27" y="152"/>
                    </a:lnTo>
                    <a:lnTo>
                      <a:pt x="25" y="152"/>
                    </a:lnTo>
                    <a:lnTo>
                      <a:pt x="25" y="150"/>
                    </a:lnTo>
                    <a:lnTo>
                      <a:pt x="23" y="150"/>
                    </a:lnTo>
                    <a:lnTo>
                      <a:pt x="22" y="150"/>
                    </a:lnTo>
                    <a:lnTo>
                      <a:pt x="18" y="150"/>
                    </a:lnTo>
                    <a:lnTo>
                      <a:pt x="16" y="150"/>
                    </a:lnTo>
                    <a:lnTo>
                      <a:pt x="16" y="148"/>
                    </a:lnTo>
                    <a:lnTo>
                      <a:pt x="14" y="148"/>
                    </a:lnTo>
                    <a:lnTo>
                      <a:pt x="12" y="148"/>
                    </a:lnTo>
                    <a:lnTo>
                      <a:pt x="12" y="146"/>
                    </a:lnTo>
                    <a:lnTo>
                      <a:pt x="12" y="148"/>
                    </a:lnTo>
                    <a:lnTo>
                      <a:pt x="10" y="148"/>
                    </a:lnTo>
                    <a:lnTo>
                      <a:pt x="10" y="146"/>
                    </a:lnTo>
                    <a:lnTo>
                      <a:pt x="10" y="148"/>
                    </a:lnTo>
                    <a:lnTo>
                      <a:pt x="10" y="146"/>
                    </a:lnTo>
                    <a:lnTo>
                      <a:pt x="8" y="146"/>
                    </a:lnTo>
                    <a:lnTo>
                      <a:pt x="10" y="146"/>
                    </a:lnTo>
                    <a:lnTo>
                      <a:pt x="10" y="144"/>
                    </a:lnTo>
                    <a:lnTo>
                      <a:pt x="8" y="144"/>
                    </a:lnTo>
                    <a:lnTo>
                      <a:pt x="6" y="144"/>
                    </a:lnTo>
                    <a:lnTo>
                      <a:pt x="6" y="146"/>
                    </a:lnTo>
                    <a:lnTo>
                      <a:pt x="4" y="146"/>
                    </a:lnTo>
                    <a:lnTo>
                      <a:pt x="4" y="144"/>
                    </a:lnTo>
                    <a:lnTo>
                      <a:pt x="6" y="144"/>
                    </a:lnTo>
                    <a:lnTo>
                      <a:pt x="6" y="142"/>
                    </a:lnTo>
                    <a:lnTo>
                      <a:pt x="4" y="142"/>
                    </a:lnTo>
                    <a:lnTo>
                      <a:pt x="4" y="140"/>
                    </a:lnTo>
                    <a:lnTo>
                      <a:pt x="6" y="140"/>
                    </a:lnTo>
                    <a:lnTo>
                      <a:pt x="6" y="138"/>
                    </a:lnTo>
                    <a:lnTo>
                      <a:pt x="4" y="138"/>
                    </a:lnTo>
                    <a:lnTo>
                      <a:pt x="2" y="138"/>
                    </a:lnTo>
                    <a:lnTo>
                      <a:pt x="0" y="138"/>
                    </a:lnTo>
                    <a:lnTo>
                      <a:pt x="0" y="136"/>
                    </a:lnTo>
                    <a:lnTo>
                      <a:pt x="0" y="134"/>
                    </a:lnTo>
                    <a:lnTo>
                      <a:pt x="2" y="134"/>
                    </a:lnTo>
                    <a:lnTo>
                      <a:pt x="2" y="133"/>
                    </a:lnTo>
                    <a:lnTo>
                      <a:pt x="4" y="133"/>
                    </a:lnTo>
                    <a:lnTo>
                      <a:pt x="6" y="133"/>
                    </a:lnTo>
                    <a:lnTo>
                      <a:pt x="8" y="133"/>
                    </a:lnTo>
                    <a:lnTo>
                      <a:pt x="8" y="131"/>
                    </a:lnTo>
                    <a:lnTo>
                      <a:pt x="10" y="131"/>
                    </a:lnTo>
                    <a:lnTo>
                      <a:pt x="10" y="129"/>
                    </a:lnTo>
                    <a:lnTo>
                      <a:pt x="12" y="127"/>
                    </a:lnTo>
                    <a:lnTo>
                      <a:pt x="10" y="127"/>
                    </a:lnTo>
                    <a:lnTo>
                      <a:pt x="12" y="125"/>
                    </a:lnTo>
                    <a:lnTo>
                      <a:pt x="12" y="123"/>
                    </a:lnTo>
                    <a:lnTo>
                      <a:pt x="12" y="121"/>
                    </a:lnTo>
                    <a:lnTo>
                      <a:pt x="14" y="121"/>
                    </a:lnTo>
                    <a:lnTo>
                      <a:pt x="14" y="119"/>
                    </a:lnTo>
                    <a:lnTo>
                      <a:pt x="16" y="117"/>
                    </a:lnTo>
                    <a:lnTo>
                      <a:pt x="14" y="117"/>
                    </a:lnTo>
                    <a:lnTo>
                      <a:pt x="18" y="113"/>
                    </a:lnTo>
                    <a:lnTo>
                      <a:pt x="20" y="109"/>
                    </a:lnTo>
                    <a:lnTo>
                      <a:pt x="18" y="109"/>
                    </a:lnTo>
                    <a:lnTo>
                      <a:pt x="20" y="109"/>
                    </a:lnTo>
                    <a:lnTo>
                      <a:pt x="22" y="109"/>
                    </a:lnTo>
                    <a:lnTo>
                      <a:pt x="22" y="108"/>
                    </a:lnTo>
                    <a:lnTo>
                      <a:pt x="22" y="106"/>
                    </a:lnTo>
                    <a:lnTo>
                      <a:pt x="20" y="104"/>
                    </a:lnTo>
                    <a:lnTo>
                      <a:pt x="22" y="102"/>
                    </a:lnTo>
                    <a:lnTo>
                      <a:pt x="22" y="100"/>
                    </a:lnTo>
                    <a:lnTo>
                      <a:pt x="23" y="100"/>
                    </a:lnTo>
                    <a:lnTo>
                      <a:pt x="25" y="100"/>
                    </a:lnTo>
                    <a:lnTo>
                      <a:pt x="25" y="98"/>
                    </a:lnTo>
                    <a:lnTo>
                      <a:pt x="23" y="98"/>
                    </a:lnTo>
                    <a:lnTo>
                      <a:pt x="25" y="94"/>
                    </a:lnTo>
                    <a:lnTo>
                      <a:pt x="27" y="94"/>
                    </a:lnTo>
                    <a:lnTo>
                      <a:pt x="25" y="94"/>
                    </a:lnTo>
                    <a:lnTo>
                      <a:pt x="25" y="92"/>
                    </a:lnTo>
                    <a:lnTo>
                      <a:pt x="25" y="90"/>
                    </a:lnTo>
                    <a:lnTo>
                      <a:pt x="25" y="88"/>
                    </a:lnTo>
                    <a:lnTo>
                      <a:pt x="23" y="88"/>
                    </a:lnTo>
                    <a:lnTo>
                      <a:pt x="23" y="86"/>
                    </a:lnTo>
                    <a:lnTo>
                      <a:pt x="23" y="85"/>
                    </a:lnTo>
                    <a:lnTo>
                      <a:pt x="22" y="86"/>
                    </a:lnTo>
                    <a:lnTo>
                      <a:pt x="22" y="85"/>
                    </a:lnTo>
                    <a:lnTo>
                      <a:pt x="23" y="85"/>
                    </a:lnTo>
                    <a:lnTo>
                      <a:pt x="23" y="83"/>
                    </a:lnTo>
                    <a:lnTo>
                      <a:pt x="22" y="83"/>
                    </a:lnTo>
                    <a:lnTo>
                      <a:pt x="22" y="81"/>
                    </a:lnTo>
                    <a:lnTo>
                      <a:pt x="20" y="81"/>
                    </a:lnTo>
                    <a:lnTo>
                      <a:pt x="22" y="79"/>
                    </a:lnTo>
                    <a:lnTo>
                      <a:pt x="20" y="79"/>
                    </a:lnTo>
                    <a:lnTo>
                      <a:pt x="20" y="81"/>
                    </a:lnTo>
                    <a:lnTo>
                      <a:pt x="20" y="79"/>
                    </a:lnTo>
                    <a:lnTo>
                      <a:pt x="18" y="79"/>
                    </a:lnTo>
                    <a:lnTo>
                      <a:pt x="18" y="77"/>
                    </a:lnTo>
                    <a:lnTo>
                      <a:pt x="20" y="77"/>
                    </a:lnTo>
                    <a:lnTo>
                      <a:pt x="20" y="75"/>
                    </a:lnTo>
                    <a:lnTo>
                      <a:pt x="22" y="71"/>
                    </a:lnTo>
                    <a:lnTo>
                      <a:pt x="22" y="69"/>
                    </a:lnTo>
                    <a:lnTo>
                      <a:pt x="23" y="69"/>
                    </a:lnTo>
                    <a:lnTo>
                      <a:pt x="23" y="67"/>
                    </a:lnTo>
                    <a:lnTo>
                      <a:pt x="22" y="67"/>
                    </a:lnTo>
                    <a:lnTo>
                      <a:pt x="22" y="65"/>
                    </a:lnTo>
                    <a:lnTo>
                      <a:pt x="22" y="63"/>
                    </a:lnTo>
                    <a:lnTo>
                      <a:pt x="22" y="61"/>
                    </a:lnTo>
                    <a:lnTo>
                      <a:pt x="22" y="60"/>
                    </a:lnTo>
                    <a:lnTo>
                      <a:pt x="20" y="60"/>
                    </a:lnTo>
                    <a:lnTo>
                      <a:pt x="20" y="58"/>
                    </a:lnTo>
                    <a:lnTo>
                      <a:pt x="22" y="58"/>
                    </a:lnTo>
                    <a:lnTo>
                      <a:pt x="22" y="56"/>
                    </a:lnTo>
                    <a:lnTo>
                      <a:pt x="20" y="56"/>
                    </a:lnTo>
                    <a:lnTo>
                      <a:pt x="20" y="54"/>
                    </a:lnTo>
                    <a:lnTo>
                      <a:pt x="18" y="54"/>
                    </a:lnTo>
                    <a:lnTo>
                      <a:pt x="20" y="54"/>
                    </a:lnTo>
                    <a:lnTo>
                      <a:pt x="20" y="52"/>
                    </a:lnTo>
                    <a:lnTo>
                      <a:pt x="22" y="52"/>
                    </a:lnTo>
                    <a:lnTo>
                      <a:pt x="22" y="50"/>
                    </a:lnTo>
                    <a:lnTo>
                      <a:pt x="23" y="50"/>
                    </a:lnTo>
                    <a:lnTo>
                      <a:pt x="23" y="48"/>
                    </a:lnTo>
                    <a:lnTo>
                      <a:pt x="23" y="46"/>
                    </a:lnTo>
                    <a:lnTo>
                      <a:pt x="22" y="46"/>
                    </a:lnTo>
                    <a:lnTo>
                      <a:pt x="22" y="44"/>
                    </a:lnTo>
                    <a:lnTo>
                      <a:pt x="22" y="42"/>
                    </a:lnTo>
                    <a:lnTo>
                      <a:pt x="20" y="42"/>
                    </a:lnTo>
                    <a:lnTo>
                      <a:pt x="22" y="40"/>
                    </a:lnTo>
                    <a:lnTo>
                      <a:pt x="20" y="40"/>
                    </a:lnTo>
                    <a:lnTo>
                      <a:pt x="20" y="38"/>
                    </a:lnTo>
                    <a:lnTo>
                      <a:pt x="20" y="36"/>
                    </a:lnTo>
                    <a:lnTo>
                      <a:pt x="20" y="38"/>
                    </a:lnTo>
                    <a:lnTo>
                      <a:pt x="18" y="38"/>
                    </a:lnTo>
                    <a:lnTo>
                      <a:pt x="18" y="40"/>
                    </a:lnTo>
                    <a:lnTo>
                      <a:pt x="18" y="38"/>
                    </a:lnTo>
                    <a:lnTo>
                      <a:pt x="16" y="38"/>
                    </a:lnTo>
                    <a:lnTo>
                      <a:pt x="14" y="38"/>
                    </a:lnTo>
                    <a:lnTo>
                      <a:pt x="12" y="38"/>
                    </a:lnTo>
                    <a:lnTo>
                      <a:pt x="14" y="38"/>
                    </a:lnTo>
                    <a:lnTo>
                      <a:pt x="14" y="36"/>
                    </a:lnTo>
                    <a:lnTo>
                      <a:pt x="14" y="38"/>
                    </a:lnTo>
                    <a:lnTo>
                      <a:pt x="14" y="36"/>
                    </a:lnTo>
                    <a:lnTo>
                      <a:pt x="16" y="36"/>
                    </a:lnTo>
                    <a:lnTo>
                      <a:pt x="16" y="38"/>
                    </a:lnTo>
                    <a:lnTo>
                      <a:pt x="18" y="36"/>
                    </a:lnTo>
                    <a:lnTo>
                      <a:pt x="20" y="35"/>
                    </a:lnTo>
                    <a:lnTo>
                      <a:pt x="22" y="35"/>
                    </a:lnTo>
                    <a:lnTo>
                      <a:pt x="22" y="33"/>
                    </a:lnTo>
                    <a:lnTo>
                      <a:pt x="23" y="33"/>
                    </a:lnTo>
                    <a:lnTo>
                      <a:pt x="23" y="31"/>
                    </a:lnTo>
                    <a:lnTo>
                      <a:pt x="25" y="31"/>
                    </a:lnTo>
                    <a:lnTo>
                      <a:pt x="27" y="29"/>
                    </a:lnTo>
                    <a:lnTo>
                      <a:pt x="27" y="31"/>
                    </a:lnTo>
                    <a:lnTo>
                      <a:pt x="29" y="31"/>
                    </a:lnTo>
                    <a:lnTo>
                      <a:pt x="29" y="33"/>
                    </a:lnTo>
                    <a:lnTo>
                      <a:pt x="31" y="33"/>
                    </a:lnTo>
                    <a:lnTo>
                      <a:pt x="33" y="33"/>
                    </a:lnTo>
                    <a:lnTo>
                      <a:pt x="35" y="33"/>
                    </a:lnTo>
                    <a:lnTo>
                      <a:pt x="37" y="33"/>
                    </a:lnTo>
                    <a:lnTo>
                      <a:pt x="37" y="35"/>
                    </a:lnTo>
                    <a:lnTo>
                      <a:pt x="37" y="33"/>
                    </a:lnTo>
                    <a:lnTo>
                      <a:pt x="37" y="35"/>
                    </a:lnTo>
                    <a:lnTo>
                      <a:pt x="39" y="35"/>
                    </a:lnTo>
                    <a:lnTo>
                      <a:pt x="39" y="33"/>
                    </a:lnTo>
                    <a:lnTo>
                      <a:pt x="41" y="33"/>
                    </a:lnTo>
                    <a:lnTo>
                      <a:pt x="41" y="35"/>
                    </a:lnTo>
                    <a:lnTo>
                      <a:pt x="41" y="33"/>
                    </a:lnTo>
                    <a:lnTo>
                      <a:pt x="43" y="33"/>
                    </a:lnTo>
                    <a:lnTo>
                      <a:pt x="43" y="31"/>
                    </a:lnTo>
                    <a:lnTo>
                      <a:pt x="43" y="33"/>
                    </a:lnTo>
                    <a:lnTo>
                      <a:pt x="45" y="33"/>
                    </a:lnTo>
                    <a:lnTo>
                      <a:pt x="47" y="33"/>
                    </a:lnTo>
                    <a:lnTo>
                      <a:pt x="45" y="33"/>
                    </a:lnTo>
                    <a:lnTo>
                      <a:pt x="47" y="33"/>
                    </a:lnTo>
                    <a:lnTo>
                      <a:pt x="47" y="31"/>
                    </a:lnTo>
                    <a:lnTo>
                      <a:pt x="48" y="33"/>
                    </a:lnTo>
                    <a:lnTo>
                      <a:pt x="48" y="31"/>
                    </a:lnTo>
                    <a:lnTo>
                      <a:pt x="48" y="33"/>
                    </a:lnTo>
                    <a:lnTo>
                      <a:pt x="50" y="33"/>
                    </a:lnTo>
                    <a:lnTo>
                      <a:pt x="52" y="33"/>
                    </a:lnTo>
                    <a:lnTo>
                      <a:pt x="52" y="31"/>
                    </a:lnTo>
                    <a:lnTo>
                      <a:pt x="54" y="29"/>
                    </a:lnTo>
                    <a:lnTo>
                      <a:pt x="54" y="27"/>
                    </a:lnTo>
                    <a:lnTo>
                      <a:pt x="54" y="29"/>
                    </a:lnTo>
                    <a:lnTo>
                      <a:pt x="54" y="27"/>
                    </a:lnTo>
                    <a:lnTo>
                      <a:pt x="52" y="27"/>
                    </a:lnTo>
                    <a:lnTo>
                      <a:pt x="52" y="25"/>
                    </a:lnTo>
                    <a:lnTo>
                      <a:pt x="52" y="23"/>
                    </a:lnTo>
                    <a:lnTo>
                      <a:pt x="52" y="21"/>
                    </a:lnTo>
                    <a:lnTo>
                      <a:pt x="52" y="19"/>
                    </a:lnTo>
                    <a:lnTo>
                      <a:pt x="54" y="19"/>
                    </a:lnTo>
                    <a:lnTo>
                      <a:pt x="52" y="19"/>
                    </a:lnTo>
                    <a:lnTo>
                      <a:pt x="50" y="19"/>
                    </a:lnTo>
                    <a:lnTo>
                      <a:pt x="50" y="17"/>
                    </a:lnTo>
                    <a:lnTo>
                      <a:pt x="52" y="17"/>
                    </a:lnTo>
                    <a:lnTo>
                      <a:pt x="54" y="17"/>
                    </a:lnTo>
                    <a:lnTo>
                      <a:pt x="54" y="15"/>
                    </a:lnTo>
                    <a:lnTo>
                      <a:pt x="54" y="13"/>
                    </a:lnTo>
                    <a:lnTo>
                      <a:pt x="56" y="13"/>
                    </a:lnTo>
                    <a:lnTo>
                      <a:pt x="54" y="13"/>
                    </a:lnTo>
                    <a:lnTo>
                      <a:pt x="52" y="13"/>
                    </a:lnTo>
                    <a:lnTo>
                      <a:pt x="52" y="11"/>
                    </a:lnTo>
                    <a:lnTo>
                      <a:pt x="52" y="13"/>
                    </a:lnTo>
                    <a:lnTo>
                      <a:pt x="52" y="11"/>
                    </a:lnTo>
                    <a:lnTo>
                      <a:pt x="54" y="11"/>
                    </a:lnTo>
                    <a:lnTo>
                      <a:pt x="54" y="10"/>
                    </a:lnTo>
                    <a:lnTo>
                      <a:pt x="56" y="10"/>
                    </a:lnTo>
                    <a:lnTo>
                      <a:pt x="58" y="10"/>
                    </a:lnTo>
                    <a:lnTo>
                      <a:pt x="58" y="8"/>
                    </a:lnTo>
                    <a:lnTo>
                      <a:pt x="56" y="6"/>
                    </a:lnTo>
                    <a:lnTo>
                      <a:pt x="56" y="4"/>
                    </a:lnTo>
                    <a:lnTo>
                      <a:pt x="58" y="4"/>
                    </a:lnTo>
                    <a:lnTo>
                      <a:pt x="58" y="2"/>
                    </a:lnTo>
                    <a:lnTo>
                      <a:pt x="56" y="2"/>
                    </a:lnTo>
                    <a:lnTo>
                      <a:pt x="58" y="2"/>
                    </a:lnTo>
                    <a:lnTo>
                      <a:pt x="56" y="2"/>
                    </a:lnTo>
                    <a:lnTo>
                      <a:pt x="58" y="2"/>
                    </a:lnTo>
                    <a:lnTo>
                      <a:pt x="58" y="0"/>
                    </a:lnTo>
                    <a:lnTo>
                      <a:pt x="60" y="2"/>
                    </a:lnTo>
                    <a:lnTo>
                      <a:pt x="60" y="4"/>
                    </a:lnTo>
                    <a:lnTo>
                      <a:pt x="60" y="6"/>
                    </a:lnTo>
                    <a:lnTo>
                      <a:pt x="62" y="6"/>
                    </a:lnTo>
                    <a:lnTo>
                      <a:pt x="62" y="8"/>
                    </a:lnTo>
                    <a:lnTo>
                      <a:pt x="62" y="10"/>
                    </a:lnTo>
                    <a:lnTo>
                      <a:pt x="64" y="10"/>
                    </a:lnTo>
                    <a:lnTo>
                      <a:pt x="66" y="10"/>
                    </a:lnTo>
                    <a:lnTo>
                      <a:pt x="66" y="11"/>
                    </a:lnTo>
                    <a:lnTo>
                      <a:pt x="66" y="13"/>
                    </a:lnTo>
                    <a:lnTo>
                      <a:pt x="66" y="15"/>
                    </a:lnTo>
                    <a:lnTo>
                      <a:pt x="68" y="15"/>
                    </a:lnTo>
                    <a:lnTo>
                      <a:pt x="68" y="13"/>
                    </a:lnTo>
                    <a:lnTo>
                      <a:pt x="68" y="15"/>
                    </a:lnTo>
                    <a:lnTo>
                      <a:pt x="70" y="15"/>
                    </a:lnTo>
                    <a:lnTo>
                      <a:pt x="72" y="13"/>
                    </a:lnTo>
                    <a:lnTo>
                      <a:pt x="73" y="15"/>
                    </a:lnTo>
                    <a:lnTo>
                      <a:pt x="75" y="13"/>
                    </a:lnTo>
                    <a:lnTo>
                      <a:pt x="75" y="15"/>
                    </a:lnTo>
                    <a:lnTo>
                      <a:pt x="75" y="17"/>
                    </a:lnTo>
                    <a:lnTo>
                      <a:pt x="77" y="17"/>
                    </a:lnTo>
                    <a:lnTo>
                      <a:pt x="77" y="19"/>
                    </a:lnTo>
                    <a:lnTo>
                      <a:pt x="79" y="19"/>
                    </a:lnTo>
                    <a:lnTo>
                      <a:pt x="81" y="19"/>
                    </a:lnTo>
                    <a:lnTo>
                      <a:pt x="81" y="21"/>
                    </a:lnTo>
                    <a:lnTo>
                      <a:pt x="83" y="21"/>
                    </a:lnTo>
                    <a:lnTo>
                      <a:pt x="81" y="21"/>
                    </a:lnTo>
                    <a:lnTo>
                      <a:pt x="81" y="23"/>
                    </a:lnTo>
                    <a:lnTo>
                      <a:pt x="81" y="25"/>
                    </a:lnTo>
                    <a:lnTo>
                      <a:pt x="79" y="27"/>
                    </a:lnTo>
                    <a:lnTo>
                      <a:pt x="79" y="29"/>
                    </a:lnTo>
                    <a:lnTo>
                      <a:pt x="79" y="31"/>
                    </a:lnTo>
                    <a:lnTo>
                      <a:pt x="79" y="33"/>
                    </a:lnTo>
                    <a:lnTo>
                      <a:pt x="79" y="31"/>
                    </a:lnTo>
                    <a:lnTo>
                      <a:pt x="81" y="31"/>
                    </a:lnTo>
                    <a:lnTo>
                      <a:pt x="81" y="29"/>
                    </a:lnTo>
                    <a:lnTo>
                      <a:pt x="83" y="29"/>
                    </a:lnTo>
                    <a:lnTo>
                      <a:pt x="83" y="31"/>
                    </a:lnTo>
                    <a:lnTo>
                      <a:pt x="85" y="33"/>
                    </a:lnTo>
                    <a:lnTo>
                      <a:pt x="87" y="31"/>
                    </a:lnTo>
                    <a:lnTo>
                      <a:pt x="89" y="31"/>
                    </a:lnTo>
                    <a:lnTo>
                      <a:pt x="89" y="29"/>
                    </a:lnTo>
                    <a:lnTo>
                      <a:pt x="91" y="29"/>
                    </a:lnTo>
                    <a:lnTo>
                      <a:pt x="93" y="27"/>
                    </a:lnTo>
                    <a:lnTo>
                      <a:pt x="93" y="25"/>
                    </a:lnTo>
                    <a:lnTo>
                      <a:pt x="95" y="25"/>
                    </a:lnTo>
                    <a:lnTo>
                      <a:pt x="95" y="23"/>
                    </a:lnTo>
                    <a:lnTo>
                      <a:pt x="96" y="23"/>
                    </a:lnTo>
                    <a:lnTo>
                      <a:pt x="98" y="25"/>
                    </a:lnTo>
                    <a:lnTo>
                      <a:pt x="98" y="27"/>
                    </a:lnTo>
                    <a:lnTo>
                      <a:pt x="96" y="27"/>
                    </a:lnTo>
                    <a:lnTo>
                      <a:pt x="96" y="29"/>
                    </a:lnTo>
                    <a:lnTo>
                      <a:pt x="96" y="31"/>
                    </a:lnTo>
                    <a:lnTo>
                      <a:pt x="98" y="31"/>
                    </a:lnTo>
                    <a:lnTo>
                      <a:pt x="100" y="31"/>
                    </a:lnTo>
                    <a:lnTo>
                      <a:pt x="98" y="29"/>
                    </a:lnTo>
                    <a:lnTo>
                      <a:pt x="100" y="29"/>
                    </a:lnTo>
                    <a:lnTo>
                      <a:pt x="102" y="27"/>
                    </a:lnTo>
                    <a:lnTo>
                      <a:pt x="102" y="29"/>
                    </a:lnTo>
                    <a:lnTo>
                      <a:pt x="104" y="29"/>
                    </a:lnTo>
                    <a:lnTo>
                      <a:pt x="104" y="27"/>
                    </a:lnTo>
                    <a:lnTo>
                      <a:pt x="104" y="29"/>
                    </a:lnTo>
                    <a:lnTo>
                      <a:pt x="106" y="29"/>
                    </a:lnTo>
                    <a:lnTo>
                      <a:pt x="108" y="27"/>
                    </a:lnTo>
                    <a:lnTo>
                      <a:pt x="108" y="29"/>
                    </a:lnTo>
                    <a:lnTo>
                      <a:pt x="110" y="31"/>
                    </a:lnTo>
                    <a:lnTo>
                      <a:pt x="112" y="33"/>
                    </a:lnTo>
                    <a:lnTo>
                      <a:pt x="112" y="31"/>
                    </a:lnTo>
                    <a:lnTo>
                      <a:pt x="112" y="33"/>
                    </a:lnTo>
                    <a:lnTo>
                      <a:pt x="112" y="31"/>
                    </a:lnTo>
                    <a:lnTo>
                      <a:pt x="112" y="33"/>
                    </a:lnTo>
                    <a:lnTo>
                      <a:pt x="110" y="33"/>
                    </a:lnTo>
                    <a:lnTo>
                      <a:pt x="110" y="36"/>
                    </a:lnTo>
                    <a:lnTo>
                      <a:pt x="114" y="35"/>
                    </a:lnTo>
                    <a:lnTo>
                      <a:pt x="114" y="36"/>
                    </a:lnTo>
                    <a:lnTo>
                      <a:pt x="112" y="36"/>
                    </a:lnTo>
                    <a:lnTo>
                      <a:pt x="114" y="38"/>
                    </a:lnTo>
                    <a:lnTo>
                      <a:pt x="116" y="40"/>
                    </a:lnTo>
                    <a:lnTo>
                      <a:pt x="127" y="48"/>
                    </a:lnTo>
                    <a:lnTo>
                      <a:pt x="129" y="44"/>
                    </a:lnTo>
                    <a:lnTo>
                      <a:pt x="133" y="36"/>
                    </a:lnTo>
                    <a:lnTo>
                      <a:pt x="137" y="38"/>
                    </a:lnTo>
                    <a:lnTo>
                      <a:pt x="139" y="40"/>
                    </a:lnTo>
                    <a:lnTo>
                      <a:pt x="137" y="40"/>
                    </a:lnTo>
                    <a:lnTo>
                      <a:pt x="139" y="40"/>
                    </a:lnTo>
                    <a:lnTo>
                      <a:pt x="141" y="40"/>
                    </a:lnTo>
                    <a:lnTo>
                      <a:pt x="141" y="38"/>
                    </a:lnTo>
                    <a:lnTo>
                      <a:pt x="143" y="38"/>
                    </a:lnTo>
                    <a:lnTo>
                      <a:pt x="145" y="38"/>
                    </a:lnTo>
                    <a:lnTo>
                      <a:pt x="145" y="40"/>
                    </a:lnTo>
                    <a:lnTo>
                      <a:pt x="146" y="38"/>
                    </a:lnTo>
                    <a:lnTo>
                      <a:pt x="146" y="36"/>
                    </a:lnTo>
                    <a:lnTo>
                      <a:pt x="148" y="36"/>
                    </a:lnTo>
                    <a:lnTo>
                      <a:pt x="148" y="38"/>
                    </a:lnTo>
                    <a:lnTo>
                      <a:pt x="148" y="40"/>
                    </a:lnTo>
                    <a:lnTo>
                      <a:pt x="148" y="42"/>
                    </a:lnTo>
                    <a:lnTo>
                      <a:pt x="150" y="42"/>
                    </a:lnTo>
                    <a:lnTo>
                      <a:pt x="148" y="42"/>
                    </a:lnTo>
                    <a:lnTo>
                      <a:pt x="150" y="44"/>
                    </a:lnTo>
                    <a:lnTo>
                      <a:pt x="150" y="46"/>
                    </a:lnTo>
                    <a:lnTo>
                      <a:pt x="150" y="48"/>
                    </a:lnTo>
                    <a:lnTo>
                      <a:pt x="148" y="48"/>
                    </a:lnTo>
                    <a:lnTo>
                      <a:pt x="148" y="50"/>
                    </a:lnTo>
                    <a:lnTo>
                      <a:pt x="150" y="50"/>
                    </a:lnTo>
                    <a:lnTo>
                      <a:pt x="150" y="52"/>
                    </a:lnTo>
                    <a:lnTo>
                      <a:pt x="148" y="52"/>
                    </a:lnTo>
                    <a:lnTo>
                      <a:pt x="146" y="52"/>
                    </a:lnTo>
                    <a:lnTo>
                      <a:pt x="148" y="52"/>
                    </a:lnTo>
                    <a:lnTo>
                      <a:pt x="148" y="54"/>
                    </a:lnTo>
                    <a:lnTo>
                      <a:pt x="148" y="52"/>
                    </a:lnTo>
                    <a:lnTo>
                      <a:pt x="148" y="54"/>
                    </a:lnTo>
                    <a:lnTo>
                      <a:pt x="148" y="56"/>
                    </a:lnTo>
                    <a:lnTo>
                      <a:pt x="146" y="58"/>
                    </a:lnTo>
                    <a:lnTo>
                      <a:pt x="148" y="58"/>
                    </a:lnTo>
                    <a:lnTo>
                      <a:pt x="148" y="60"/>
                    </a:lnTo>
                    <a:lnTo>
                      <a:pt x="146" y="60"/>
                    </a:lnTo>
                    <a:lnTo>
                      <a:pt x="146" y="61"/>
                    </a:lnTo>
                    <a:lnTo>
                      <a:pt x="148" y="63"/>
                    </a:lnTo>
                    <a:lnTo>
                      <a:pt x="148" y="61"/>
                    </a:lnTo>
                    <a:lnTo>
                      <a:pt x="150" y="63"/>
                    </a:lnTo>
                    <a:lnTo>
                      <a:pt x="152" y="63"/>
                    </a:lnTo>
                    <a:lnTo>
                      <a:pt x="152" y="65"/>
                    </a:lnTo>
                    <a:lnTo>
                      <a:pt x="154" y="67"/>
                    </a:lnTo>
                    <a:lnTo>
                      <a:pt x="156" y="69"/>
                    </a:lnTo>
                    <a:lnTo>
                      <a:pt x="156" y="71"/>
                    </a:lnTo>
                    <a:lnTo>
                      <a:pt x="158" y="71"/>
                    </a:lnTo>
                    <a:lnTo>
                      <a:pt x="160" y="73"/>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8" name="Freeform 138"/>
              <p:cNvSpPr>
                <a:spLocks/>
              </p:cNvSpPr>
              <p:nvPr/>
            </p:nvSpPr>
            <p:spPr bwMode="auto">
              <a:xfrm>
                <a:off x="4392039" y="3574383"/>
                <a:ext cx="242609" cy="194431"/>
              </a:xfrm>
              <a:custGeom>
                <a:avLst/>
                <a:gdLst>
                  <a:gd name="T0" fmla="*/ 27 w 141"/>
                  <a:gd name="T1" fmla="*/ 15 h 113"/>
                  <a:gd name="T2" fmla="*/ 37 w 141"/>
                  <a:gd name="T3" fmla="*/ 19 h 113"/>
                  <a:gd name="T4" fmla="*/ 41 w 141"/>
                  <a:gd name="T5" fmla="*/ 32 h 113"/>
                  <a:gd name="T6" fmla="*/ 45 w 141"/>
                  <a:gd name="T7" fmla="*/ 23 h 113"/>
                  <a:gd name="T8" fmla="*/ 50 w 141"/>
                  <a:gd name="T9" fmla="*/ 19 h 113"/>
                  <a:gd name="T10" fmla="*/ 56 w 141"/>
                  <a:gd name="T11" fmla="*/ 9 h 113"/>
                  <a:gd name="T12" fmla="*/ 66 w 141"/>
                  <a:gd name="T13" fmla="*/ 1 h 113"/>
                  <a:gd name="T14" fmla="*/ 73 w 141"/>
                  <a:gd name="T15" fmla="*/ 7 h 113"/>
                  <a:gd name="T16" fmla="*/ 77 w 141"/>
                  <a:gd name="T17" fmla="*/ 21 h 113"/>
                  <a:gd name="T18" fmla="*/ 79 w 141"/>
                  <a:gd name="T19" fmla="*/ 28 h 113"/>
                  <a:gd name="T20" fmla="*/ 87 w 141"/>
                  <a:gd name="T21" fmla="*/ 34 h 113"/>
                  <a:gd name="T22" fmla="*/ 91 w 141"/>
                  <a:gd name="T23" fmla="*/ 42 h 113"/>
                  <a:gd name="T24" fmla="*/ 102 w 141"/>
                  <a:gd name="T25" fmla="*/ 40 h 113"/>
                  <a:gd name="T26" fmla="*/ 112 w 141"/>
                  <a:gd name="T27" fmla="*/ 38 h 113"/>
                  <a:gd name="T28" fmla="*/ 122 w 141"/>
                  <a:gd name="T29" fmla="*/ 32 h 113"/>
                  <a:gd name="T30" fmla="*/ 120 w 141"/>
                  <a:gd name="T31" fmla="*/ 25 h 113"/>
                  <a:gd name="T32" fmla="*/ 127 w 141"/>
                  <a:gd name="T33" fmla="*/ 34 h 113"/>
                  <a:gd name="T34" fmla="*/ 131 w 141"/>
                  <a:gd name="T35" fmla="*/ 42 h 113"/>
                  <a:gd name="T36" fmla="*/ 135 w 141"/>
                  <a:gd name="T37" fmla="*/ 44 h 113"/>
                  <a:gd name="T38" fmla="*/ 141 w 141"/>
                  <a:gd name="T39" fmla="*/ 51 h 113"/>
                  <a:gd name="T40" fmla="*/ 133 w 141"/>
                  <a:gd name="T41" fmla="*/ 59 h 113"/>
                  <a:gd name="T42" fmla="*/ 129 w 141"/>
                  <a:gd name="T43" fmla="*/ 71 h 113"/>
                  <a:gd name="T44" fmla="*/ 129 w 141"/>
                  <a:gd name="T45" fmla="*/ 84 h 113"/>
                  <a:gd name="T46" fmla="*/ 122 w 141"/>
                  <a:gd name="T47" fmla="*/ 92 h 113"/>
                  <a:gd name="T48" fmla="*/ 114 w 141"/>
                  <a:gd name="T49" fmla="*/ 100 h 113"/>
                  <a:gd name="T50" fmla="*/ 110 w 141"/>
                  <a:gd name="T51" fmla="*/ 109 h 113"/>
                  <a:gd name="T52" fmla="*/ 98 w 141"/>
                  <a:gd name="T53" fmla="*/ 109 h 113"/>
                  <a:gd name="T54" fmla="*/ 97 w 141"/>
                  <a:gd name="T55" fmla="*/ 101 h 113"/>
                  <a:gd name="T56" fmla="*/ 89 w 141"/>
                  <a:gd name="T57" fmla="*/ 92 h 113"/>
                  <a:gd name="T58" fmla="*/ 85 w 141"/>
                  <a:gd name="T59" fmla="*/ 84 h 113"/>
                  <a:gd name="T60" fmla="*/ 79 w 141"/>
                  <a:gd name="T61" fmla="*/ 80 h 113"/>
                  <a:gd name="T62" fmla="*/ 83 w 141"/>
                  <a:gd name="T63" fmla="*/ 71 h 113"/>
                  <a:gd name="T64" fmla="*/ 79 w 141"/>
                  <a:gd name="T65" fmla="*/ 69 h 113"/>
                  <a:gd name="T66" fmla="*/ 72 w 141"/>
                  <a:gd name="T67" fmla="*/ 71 h 113"/>
                  <a:gd name="T68" fmla="*/ 64 w 141"/>
                  <a:gd name="T69" fmla="*/ 76 h 113"/>
                  <a:gd name="T70" fmla="*/ 66 w 141"/>
                  <a:gd name="T71" fmla="*/ 92 h 113"/>
                  <a:gd name="T72" fmla="*/ 62 w 141"/>
                  <a:gd name="T73" fmla="*/ 94 h 113"/>
                  <a:gd name="T74" fmla="*/ 58 w 141"/>
                  <a:gd name="T75" fmla="*/ 86 h 113"/>
                  <a:gd name="T76" fmla="*/ 52 w 141"/>
                  <a:gd name="T77" fmla="*/ 78 h 113"/>
                  <a:gd name="T78" fmla="*/ 45 w 141"/>
                  <a:gd name="T79" fmla="*/ 73 h 113"/>
                  <a:gd name="T80" fmla="*/ 43 w 141"/>
                  <a:gd name="T81" fmla="*/ 59 h 113"/>
                  <a:gd name="T82" fmla="*/ 39 w 141"/>
                  <a:gd name="T83" fmla="*/ 55 h 113"/>
                  <a:gd name="T84" fmla="*/ 29 w 141"/>
                  <a:gd name="T85" fmla="*/ 57 h 113"/>
                  <a:gd name="T86" fmla="*/ 25 w 141"/>
                  <a:gd name="T87" fmla="*/ 65 h 113"/>
                  <a:gd name="T88" fmla="*/ 22 w 141"/>
                  <a:gd name="T89" fmla="*/ 76 h 113"/>
                  <a:gd name="T90" fmla="*/ 18 w 141"/>
                  <a:gd name="T91" fmla="*/ 75 h 113"/>
                  <a:gd name="T92" fmla="*/ 10 w 141"/>
                  <a:gd name="T93" fmla="*/ 71 h 113"/>
                  <a:gd name="T94" fmla="*/ 2 w 141"/>
                  <a:gd name="T95" fmla="*/ 67 h 113"/>
                  <a:gd name="T96" fmla="*/ 0 w 141"/>
                  <a:gd name="T97" fmla="*/ 57 h 113"/>
                  <a:gd name="T98" fmla="*/ 12 w 141"/>
                  <a:gd name="T99" fmla="*/ 51 h 113"/>
                  <a:gd name="T100" fmla="*/ 18 w 141"/>
                  <a:gd name="T101" fmla="*/ 46 h 113"/>
                  <a:gd name="T102" fmla="*/ 18 w 141"/>
                  <a:gd name="T103" fmla="*/ 36 h 113"/>
                  <a:gd name="T104" fmla="*/ 14 w 141"/>
                  <a:gd name="T105" fmla="*/ 28 h 113"/>
                  <a:gd name="T106" fmla="*/ 4 w 141"/>
                  <a:gd name="T107" fmla="*/ 23 h 113"/>
                  <a:gd name="T108" fmla="*/ 8 w 141"/>
                  <a:gd name="T109" fmla="*/ 17 h 113"/>
                  <a:gd name="T110" fmla="*/ 14 w 141"/>
                  <a:gd name="T111" fmla="*/ 7 h 113"/>
                  <a:gd name="T112" fmla="*/ 20 w 141"/>
                  <a:gd name="T113" fmla="*/ 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1" h="113">
                    <a:moveTo>
                      <a:pt x="24" y="7"/>
                    </a:moveTo>
                    <a:lnTo>
                      <a:pt x="24" y="11"/>
                    </a:lnTo>
                    <a:lnTo>
                      <a:pt x="24" y="13"/>
                    </a:lnTo>
                    <a:lnTo>
                      <a:pt x="25" y="15"/>
                    </a:lnTo>
                    <a:lnTo>
                      <a:pt x="25" y="13"/>
                    </a:lnTo>
                    <a:lnTo>
                      <a:pt x="27" y="13"/>
                    </a:lnTo>
                    <a:lnTo>
                      <a:pt x="27" y="15"/>
                    </a:lnTo>
                    <a:lnTo>
                      <a:pt x="29" y="15"/>
                    </a:lnTo>
                    <a:lnTo>
                      <a:pt x="29" y="17"/>
                    </a:lnTo>
                    <a:lnTo>
                      <a:pt x="31" y="17"/>
                    </a:lnTo>
                    <a:lnTo>
                      <a:pt x="33" y="17"/>
                    </a:lnTo>
                    <a:lnTo>
                      <a:pt x="35" y="17"/>
                    </a:lnTo>
                    <a:lnTo>
                      <a:pt x="37" y="17"/>
                    </a:lnTo>
                    <a:lnTo>
                      <a:pt x="37" y="19"/>
                    </a:lnTo>
                    <a:lnTo>
                      <a:pt x="39" y="23"/>
                    </a:lnTo>
                    <a:lnTo>
                      <a:pt x="39" y="25"/>
                    </a:lnTo>
                    <a:lnTo>
                      <a:pt x="39" y="26"/>
                    </a:lnTo>
                    <a:lnTo>
                      <a:pt x="41" y="26"/>
                    </a:lnTo>
                    <a:lnTo>
                      <a:pt x="41" y="28"/>
                    </a:lnTo>
                    <a:lnTo>
                      <a:pt x="41" y="30"/>
                    </a:lnTo>
                    <a:lnTo>
                      <a:pt x="41" y="32"/>
                    </a:lnTo>
                    <a:lnTo>
                      <a:pt x="45" y="32"/>
                    </a:lnTo>
                    <a:lnTo>
                      <a:pt x="47" y="32"/>
                    </a:lnTo>
                    <a:lnTo>
                      <a:pt x="47" y="30"/>
                    </a:lnTo>
                    <a:lnTo>
                      <a:pt x="47" y="28"/>
                    </a:lnTo>
                    <a:lnTo>
                      <a:pt x="47" y="26"/>
                    </a:lnTo>
                    <a:lnTo>
                      <a:pt x="47" y="25"/>
                    </a:lnTo>
                    <a:lnTo>
                      <a:pt x="45" y="23"/>
                    </a:lnTo>
                    <a:lnTo>
                      <a:pt x="45" y="21"/>
                    </a:lnTo>
                    <a:lnTo>
                      <a:pt x="47" y="21"/>
                    </a:lnTo>
                    <a:lnTo>
                      <a:pt x="47" y="19"/>
                    </a:lnTo>
                    <a:lnTo>
                      <a:pt x="47" y="21"/>
                    </a:lnTo>
                    <a:lnTo>
                      <a:pt x="49" y="21"/>
                    </a:lnTo>
                    <a:lnTo>
                      <a:pt x="50" y="21"/>
                    </a:lnTo>
                    <a:lnTo>
                      <a:pt x="50" y="19"/>
                    </a:lnTo>
                    <a:lnTo>
                      <a:pt x="52" y="19"/>
                    </a:lnTo>
                    <a:lnTo>
                      <a:pt x="52" y="17"/>
                    </a:lnTo>
                    <a:lnTo>
                      <a:pt x="54" y="17"/>
                    </a:lnTo>
                    <a:lnTo>
                      <a:pt x="56" y="15"/>
                    </a:lnTo>
                    <a:lnTo>
                      <a:pt x="56" y="13"/>
                    </a:lnTo>
                    <a:lnTo>
                      <a:pt x="56" y="11"/>
                    </a:lnTo>
                    <a:lnTo>
                      <a:pt x="56" y="9"/>
                    </a:lnTo>
                    <a:lnTo>
                      <a:pt x="58" y="9"/>
                    </a:lnTo>
                    <a:lnTo>
                      <a:pt x="60" y="7"/>
                    </a:lnTo>
                    <a:lnTo>
                      <a:pt x="62" y="7"/>
                    </a:lnTo>
                    <a:lnTo>
                      <a:pt x="64" y="9"/>
                    </a:lnTo>
                    <a:lnTo>
                      <a:pt x="66" y="5"/>
                    </a:lnTo>
                    <a:lnTo>
                      <a:pt x="66" y="3"/>
                    </a:lnTo>
                    <a:lnTo>
                      <a:pt x="66" y="1"/>
                    </a:lnTo>
                    <a:lnTo>
                      <a:pt x="70" y="0"/>
                    </a:lnTo>
                    <a:lnTo>
                      <a:pt x="72" y="0"/>
                    </a:lnTo>
                    <a:lnTo>
                      <a:pt x="72" y="1"/>
                    </a:lnTo>
                    <a:lnTo>
                      <a:pt x="73" y="1"/>
                    </a:lnTo>
                    <a:lnTo>
                      <a:pt x="73" y="3"/>
                    </a:lnTo>
                    <a:lnTo>
                      <a:pt x="73" y="5"/>
                    </a:lnTo>
                    <a:lnTo>
                      <a:pt x="73" y="7"/>
                    </a:lnTo>
                    <a:lnTo>
                      <a:pt x="73" y="9"/>
                    </a:lnTo>
                    <a:lnTo>
                      <a:pt x="73" y="11"/>
                    </a:lnTo>
                    <a:lnTo>
                      <a:pt x="73" y="13"/>
                    </a:lnTo>
                    <a:lnTo>
                      <a:pt x="73" y="15"/>
                    </a:lnTo>
                    <a:lnTo>
                      <a:pt x="75" y="17"/>
                    </a:lnTo>
                    <a:lnTo>
                      <a:pt x="75" y="19"/>
                    </a:lnTo>
                    <a:lnTo>
                      <a:pt x="77" y="21"/>
                    </a:lnTo>
                    <a:lnTo>
                      <a:pt x="75" y="21"/>
                    </a:lnTo>
                    <a:lnTo>
                      <a:pt x="75" y="23"/>
                    </a:lnTo>
                    <a:lnTo>
                      <a:pt x="75" y="25"/>
                    </a:lnTo>
                    <a:lnTo>
                      <a:pt x="77" y="25"/>
                    </a:lnTo>
                    <a:lnTo>
                      <a:pt x="77" y="26"/>
                    </a:lnTo>
                    <a:lnTo>
                      <a:pt x="79" y="26"/>
                    </a:lnTo>
                    <a:lnTo>
                      <a:pt x="79" y="28"/>
                    </a:lnTo>
                    <a:lnTo>
                      <a:pt x="81" y="28"/>
                    </a:lnTo>
                    <a:lnTo>
                      <a:pt x="79" y="30"/>
                    </a:lnTo>
                    <a:lnTo>
                      <a:pt x="81" y="30"/>
                    </a:lnTo>
                    <a:lnTo>
                      <a:pt x="81" y="32"/>
                    </a:lnTo>
                    <a:lnTo>
                      <a:pt x="83" y="32"/>
                    </a:lnTo>
                    <a:lnTo>
                      <a:pt x="85" y="34"/>
                    </a:lnTo>
                    <a:lnTo>
                      <a:pt x="87" y="34"/>
                    </a:lnTo>
                    <a:lnTo>
                      <a:pt x="89" y="34"/>
                    </a:lnTo>
                    <a:lnTo>
                      <a:pt x="89" y="36"/>
                    </a:lnTo>
                    <a:lnTo>
                      <a:pt x="89" y="38"/>
                    </a:lnTo>
                    <a:lnTo>
                      <a:pt x="89" y="40"/>
                    </a:lnTo>
                    <a:lnTo>
                      <a:pt x="89" y="42"/>
                    </a:lnTo>
                    <a:lnTo>
                      <a:pt x="89" y="44"/>
                    </a:lnTo>
                    <a:lnTo>
                      <a:pt x="91" y="42"/>
                    </a:lnTo>
                    <a:lnTo>
                      <a:pt x="93" y="42"/>
                    </a:lnTo>
                    <a:lnTo>
                      <a:pt x="93" y="44"/>
                    </a:lnTo>
                    <a:lnTo>
                      <a:pt x="95" y="42"/>
                    </a:lnTo>
                    <a:lnTo>
                      <a:pt x="97" y="42"/>
                    </a:lnTo>
                    <a:lnTo>
                      <a:pt x="98" y="42"/>
                    </a:lnTo>
                    <a:lnTo>
                      <a:pt x="100" y="40"/>
                    </a:lnTo>
                    <a:lnTo>
                      <a:pt x="102" y="40"/>
                    </a:lnTo>
                    <a:lnTo>
                      <a:pt x="104" y="40"/>
                    </a:lnTo>
                    <a:lnTo>
                      <a:pt x="104" y="38"/>
                    </a:lnTo>
                    <a:lnTo>
                      <a:pt x="106" y="38"/>
                    </a:lnTo>
                    <a:lnTo>
                      <a:pt x="108" y="38"/>
                    </a:lnTo>
                    <a:lnTo>
                      <a:pt x="108" y="36"/>
                    </a:lnTo>
                    <a:lnTo>
                      <a:pt x="110" y="38"/>
                    </a:lnTo>
                    <a:lnTo>
                      <a:pt x="112" y="38"/>
                    </a:lnTo>
                    <a:lnTo>
                      <a:pt x="112" y="36"/>
                    </a:lnTo>
                    <a:lnTo>
                      <a:pt x="114" y="36"/>
                    </a:lnTo>
                    <a:lnTo>
                      <a:pt x="116" y="38"/>
                    </a:lnTo>
                    <a:lnTo>
                      <a:pt x="118" y="40"/>
                    </a:lnTo>
                    <a:lnTo>
                      <a:pt x="118" y="38"/>
                    </a:lnTo>
                    <a:lnTo>
                      <a:pt x="120" y="36"/>
                    </a:lnTo>
                    <a:lnTo>
                      <a:pt x="122" y="32"/>
                    </a:lnTo>
                    <a:lnTo>
                      <a:pt x="120" y="32"/>
                    </a:lnTo>
                    <a:lnTo>
                      <a:pt x="120" y="30"/>
                    </a:lnTo>
                    <a:lnTo>
                      <a:pt x="118" y="30"/>
                    </a:lnTo>
                    <a:lnTo>
                      <a:pt x="120" y="30"/>
                    </a:lnTo>
                    <a:lnTo>
                      <a:pt x="120" y="28"/>
                    </a:lnTo>
                    <a:lnTo>
                      <a:pt x="120" y="26"/>
                    </a:lnTo>
                    <a:lnTo>
                      <a:pt x="120" y="25"/>
                    </a:lnTo>
                    <a:lnTo>
                      <a:pt x="122" y="25"/>
                    </a:lnTo>
                    <a:lnTo>
                      <a:pt x="123" y="25"/>
                    </a:lnTo>
                    <a:lnTo>
                      <a:pt x="125" y="26"/>
                    </a:lnTo>
                    <a:lnTo>
                      <a:pt x="125" y="28"/>
                    </a:lnTo>
                    <a:lnTo>
                      <a:pt x="125" y="30"/>
                    </a:lnTo>
                    <a:lnTo>
                      <a:pt x="125" y="32"/>
                    </a:lnTo>
                    <a:lnTo>
                      <a:pt x="127" y="34"/>
                    </a:lnTo>
                    <a:lnTo>
                      <a:pt x="125" y="36"/>
                    </a:lnTo>
                    <a:lnTo>
                      <a:pt x="125" y="38"/>
                    </a:lnTo>
                    <a:lnTo>
                      <a:pt x="123" y="38"/>
                    </a:lnTo>
                    <a:lnTo>
                      <a:pt x="125" y="40"/>
                    </a:lnTo>
                    <a:lnTo>
                      <a:pt x="129" y="44"/>
                    </a:lnTo>
                    <a:lnTo>
                      <a:pt x="131" y="44"/>
                    </a:lnTo>
                    <a:lnTo>
                      <a:pt x="131" y="42"/>
                    </a:lnTo>
                    <a:lnTo>
                      <a:pt x="133" y="40"/>
                    </a:lnTo>
                    <a:lnTo>
                      <a:pt x="133" y="38"/>
                    </a:lnTo>
                    <a:lnTo>
                      <a:pt x="135" y="38"/>
                    </a:lnTo>
                    <a:lnTo>
                      <a:pt x="135" y="40"/>
                    </a:lnTo>
                    <a:lnTo>
                      <a:pt x="133" y="40"/>
                    </a:lnTo>
                    <a:lnTo>
                      <a:pt x="133" y="42"/>
                    </a:lnTo>
                    <a:lnTo>
                      <a:pt x="135" y="44"/>
                    </a:lnTo>
                    <a:lnTo>
                      <a:pt x="135" y="46"/>
                    </a:lnTo>
                    <a:lnTo>
                      <a:pt x="137" y="46"/>
                    </a:lnTo>
                    <a:lnTo>
                      <a:pt x="137" y="48"/>
                    </a:lnTo>
                    <a:lnTo>
                      <a:pt x="139" y="48"/>
                    </a:lnTo>
                    <a:lnTo>
                      <a:pt x="141" y="48"/>
                    </a:lnTo>
                    <a:lnTo>
                      <a:pt x="141" y="50"/>
                    </a:lnTo>
                    <a:lnTo>
                      <a:pt x="141" y="51"/>
                    </a:lnTo>
                    <a:lnTo>
                      <a:pt x="139" y="51"/>
                    </a:lnTo>
                    <a:lnTo>
                      <a:pt x="139" y="53"/>
                    </a:lnTo>
                    <a:lnTo>
                      <a:pt x="137" y="53"/>
                    </a:lnTo>
                    <a:lnTo>
                      <a:pt x="135" y="53"/>
                    </a:lnTo>
                    <a:lnTo>
                      <a:pt x="135" y="55"/>
                    </a:lnTo>
                    <a:lnTo>
                      <a:pt x="133" y="57"/>
                    </a:lnTo>
                    <a:lnTo>
                      <a:pt x="133" y="59"/>
                    </a:lnTo>
                    <a:lnTo>
                      <a:pt x="133" y="61"/>
                    </a:lnTo>
                    <a:lnTo>
                      <a:pt x="133" y="63"/>
                    </a:lnTo>
                    <a:lnTo>
                      <a:pt x="133" y="65"/>
                    </a:lnTo>
                    <a:lnTo>
                      <a:pt x="131" y="65"/>
                    </a:lnTo>
                    <a:lnTo>
                      <a:pt x="131" y="67"/>
                    </a:lnTo>
                    <a:lnTo>
                      <a:pt x="131" y="69"/>
                    </a:lnTo>
                    <a:lnTo>
                      <a:pt x="129" y="71"/>
                    </a:lnTo>
                    <a:lnTo>
                      <a:pt x="129" y="73"/>
                    </a:lnTo>
                    <a:lnTo>
                      <a:pt x="129" y="75"/>
                    </a:lnTo>
                    <a:lnTo>
                      <a:pt x="129" y="76"/>
                    </a:lnTo>
                    <a:lnTo>
                      <a:pt x="129" y="80"/>
                    </a:lnTo>
                    <a:lnTo>
                      <a:pt x="127" y="82"/>
                    </a:lnTo>
                    <a:lnTo>
                      <a:pt x="127" y="84"/>
                    </a:lnTo>
                    <a:lnTo>
                      <a:pt x="129" y="84"/>
                    </a:lnTo>
                    <a:lnTo>
                      <a:pt x="127" y="84"/>
                    </a:lnTo>
                    <a:lnTo>
                      <a:pt x="125" y="86"/>
                    </a:lnTo>
                    <a:lnTo>
                      <a:pt x="123" y="86"/>
                    </a:lnTo>
                    <a:lnTo>
                      <a:pt x="122" y="86"/>
                    </a:lnTo>
                    <a:lnTo>
                      <a:pt x="122" y="88"/>
                    </a:lnTo>
                    <a:lnTo>
                      <a:pt x="122" y="90"/>
                    </a:lnTo>
                    <a:lnTo>
                      <a:pt x="122" y="92"/>
                    </a:lnTo>
                    <a:lnTo>
                      <a:pt x="120" y="92"/>
                    </a:lnTo>
                    <a:lnTo>
                      <a:pt x="120" y="94"/>
                    </a:lnTo>
                    <a:lnTo>
                      <a:pt x="118" y="96"/>
                    </a:lnTo>
                    <a:lnTo>
                      <a:pt x="116" y="96"/>
                    </a:lnTo>
                    <a:lnTo>
                      <a:pt x="116" y="98"/>
                    </a:lnTo>
                    <a:lnTo>
                      <a:pt x="114" y="98"/>
                    </a:lnTo>
                    <a:lnTo>
                      <a:pt x="114" y="100"/>
                    </a:lnTo>
                    <a:lnTo>
                      <a:pt x="114" y="101"/>
                    </a:lnTo>
                    <a:lnTo>
                      <a:pt x="114" y="103"/>
                    </a:lnTo>
                    <a:lnTo>
                      <a:pt x="112" y="103"/>
                    </a:lnTo>
                    <a:lnTo>
                      <a:pt x="112" y="105"/>
                    </a:lnTo>
                    <a:lnTo>
                      <a:pt x="112" y="107"/>
                    </a:lnTo>
                    <a:lnTo>
                      <a:pt x="110" y="107"/>
                    </a:lnTo>
                    <a:lnTo>
                      <a:pt x="110" y="109"/>
                    </a:lnTo>
                    <a:lnTo>
                      <a:pt x="108" y="109"/>
                    </a:lnTo>
                    <a:lnTo>
                      <a:pt x="108" y="111"/>
                    </a:lnTo>
                    <a:lnTo>
                      <a:pt x="106" y="111"/>
                    </a:lnTo>
                    <a:lnTo>
                      <a:pt x="104" y="113"/>
                    </a:lnTo>
                    <a:lnTo>
                      <a:pt x="102" y="111"/>
                    </a:lnTo>
                    <a:lnTo>
                      <a:pt x="100" y="109"/>
                    </a:lnTo>
                    <a:lnTo>
                      <a:pt x="98" y="109"/>
                    </a:lnTo>
                    <a:lnTo>
                      <a:pt x="98" y="107"/>
                    </a:lnTo>
                    <a:lnTo>
                      <a:pt x="97" y="107"/>
                    </a:lnTo>
                    <a:lnTo>
                      <a:pt x="97" y="105"/>
                    </a:lnTo>
                    <a:lnTo>
                      <a:pt x="97" y="103"/>
                    </a:lnTo>
                    <a:lnTo>
                      <a:pt x="95" y="103"/>
                    </a:lnTo>
                    <a:lnTo>
                      <a:pt x="95" y="101"/>
                    </a:lnTo>
                    <a:lnTo>
                      <a:pt x="97" y="101"/>
                    </a:lnTo>
                    <a:lnTo>
                      <a:pt x="95" y="101"/>
                    </a:lnTo>
                    <a:lnTo>
                      <a:pt x="95" y="100"/>
                    </a:lnTo>
                    <a:lnTo>
                      <a:pt x="93" y="100"/>
                    </a:lnTo>
                    <a:lnTo>
                      <a:pt x="93" y="98"/>
                    </a:lnTo>
                    <a:lnTo>
                      <a:pt x="91" y="96"/>
                    </a:lnTo>
                    <a:lnTo>
                      <a:pt x="89" y="94"/>
                    </a:lnTo>
                    <a:lnTo>
                      <a:pt x="89" y="92"/>
                    </a:lnTo>
                    <a:lnTo>
                      <a:pt x="87" y="92"/>
                    </a:lnTo>
                    <a:lnTo>
                      <a:pt x="87" y="90"/>
                    </a:lnTo>
                    <a:lnTo>
                      <a:pt x="89" y="90"/>
                    </a:lnTo>
                    <a:lnTo>
                      <a:pt x="87" y="88"/>
                    </a:lnTo>
                    <a:lnTo>
                      <a:pt x="85" y="88"/>
                    </a:lnTo>
                    <a:lnTo>
                      <a:pt x="85" y="86"/>
                    </a:lnTo>
                    <a:lnTo>
                      <a:pt x="85" y="84"/>
                    </a:lnTo>
                    <a:lnTo>
                      <a:pt x="83" y="84"/>
                    </a:lnTo>
                    <a:lnTo>
                      <a:pt x="83" y="82"/>
                    </a:lnTo>
                    <a:lnTo>
                      <a:pt x="83" y="84"/>
                    </a:lnTo>
                    <a:lnTo>
                      <a:pt x="81" y="84"/>
                    </a:lnTo>
                    <a:lnTo>
                      <a:pt x="81" y="82"/>
                    </a:lnTo>
                    <a:lnTo>
                      <a:pt x="79" y="82"/>
                    </a:lnTo>
                    <a:lnTo>
                      <a:pt x="79" y="80"/>
                    </a:lnTo>
                    <a:lnTo>
                      <a:pt x="79" y="78"/>
                    </a:lnTo>
                    <a:lnTo>
                      <a:pt x="77" y="76"/>
                    </a:lnTo>
                    <a:lnTo>
                      <a:pt x="79" y="76"/>
                    </a:lnTo>
                    <a:lnTo>
                      <a:pt x="81" y="76"/>
                    </a:lnTo>
                    <a:lnTo>
                      <a:pt x="81" y="75"/>
                    </a:lnTo>
                    <a:lnTo>
                      <a:pt x="83" y="73"/>
                    </a:lnTo>
                    <a:lnTo>
                      <a:pt x="83" y="71"/>
                    </a:lnTo>
                    <a:lnTo>
                      <a:pt x="83" y="69"/>
                    </a:lnTo>
                    <a:lnTo>
                      <a:pt x="83" y="71"/>
                    </a:lnTo>
                    <a:lnTo>
                      <a:pt x="81" y="71"/>
                    </a:lnTo>
                    <a:lnTo>
                      <a:pt x="81" y="69"/>
                    </a:lnTo>
                    <a:lnTo>
                      <a:pt x="79" y="69"/>
                    </a:lnTo>
                    <a:lnTo>
                      <a:pt x="79" y="71"/>
                    </a:lnTo>
                    <a:lnTo>
                      <a:pt x="79" y="69"/>
                    </a:lnTo>
                    <a:lnTo>
                      <a:pt x="77" y="69"/>
                    </a:lnTo>
                    <a:lnTo>
                      <a:pt x="77" y="71"/>
                    </a:lnTo>
                    <a:lnTo>
                      <a:pt x="77" y="69"/>
                    </a:lnTo>
                    <a:lnTo>
                      <a:pt x="75" y="69"/>
                    </a:lnTo>
                    <a:lnTo>
                      <a:pt x="75" y="71"/>
                    </a:lnTo>
                    <a:lnTo>
                      <a:pt x="73" y="71"/>
                    </a:lnTo>
                    <a:lnTo>
                      <a:pt x="72" y="71"/>
                    </a:lnTo>
                    <a:lnTo>
                      <a:pt x="70" y="71"/>
                    </a:lnTo>
                    <a:lnTo>
                      <a:pt x="68" y="71"/>
                    </a:lnTo>
                    <a:lnTo>
                      <a:pt x="68" y="73"/>
                    </a:lnTo>
                    <a:lnTo>
                      <a:pt x="66" y="73"/>
                    </a:lnTo>
                    <a:lnTo>
                      <a:pt x="66" y="75"/>
                    </a:lnTo>
                    <a:lnTo>
                      <a:pt x="64" y="75"/>
                    </a:lnTo>
                    <a:lnTo>
                      <a:pt x="64" y="76"/>
                    </a:lnTo>
                    <a:lnTo>
                      <a:pt x="64" y="78"/>
                    </a:lnTo>
                    <a:lnTo>
                      <a:pt x="64" y="80"/>
                    </a:lnTo>
                    <a:lnTo>
                      <a:pt x="64" y="82"/>
                    </a:lnTo>
                    <a:lnTo>
                      <a:pt x="64" y="84"/>
                    </a:lnTo>
                    <a:lnTo>
                      <a:pt x="66" y="88"/>
                    </a:lnTo>
                    <a:lnTo>
                      <a:pt x="66" y="90"/>
                    </a:lnTo>
                    <a:lnTo>
                      <a:pt x="66" y="92"/>
                    </a:lnTo>
                    <a:lnTo>
                      <a:pt x="68" y="92"/>
                    </a:lnTo>
                    <a:lnTo>
                      <a:pt x="68" y="94"/>
                    </a:lnTo>
                    <a:lnTo>
                      <a:pt x="66" y="94"/>
                    </a:lnTo>
                    <a:lnTo>
                      <a:pt x="66" y="92"/>
                    </a:lnTo>
                    <a:lnTo>
                      <a:pt x="64" y="92"/>
                    </a:lnTo>
                    <a:lnTo>
                      <a:pt x="64" y="94"/>
                    </a:lnTo>
                    <a:lnTo>
                      <a:pt x="62" y="94"/>
                    </a:lnTo>
                    <a:lnTo>
                      <a:pt x="62" y="96"/>
                    </a:lnTo>
                    <a:lnTo>
                      <a:pt x="62" y="94"/>
                    </a:lnTo>
                    <a:lnTo>
                      <a:pt x="60" y="94"/>
                    </a:lnTo>
                    <a:lnTo>
                      <a:pt x="60" y="92"/>
                    </a:lnTo>
                    <a:lnTo>
                      <a:pt x="58" y="90"/>
                    </a:lnTo>
                    <a:lnTo>
                      <a:pt x="58" y="88"/>
                    </a:lnTo>
                    <a:lnTo>
                      <a:pt x="58" y="86"/>
                    </a:lnTo>
                    <a:lnTo>
                      <a:pt x="58" y="84"/>
                    </a:lnTo>
                    <a:lnTo>
                      <a:pt x="58" y="82"/>
                    </a:lnTo>
                    <a:lnTo>
                      <a:pt x="56" y="82"/>
                    </a:lnTo>
                    <a:lnTo>
                      <a:pt x="56" y="80"/>
                    </a:lnTo>
                    <a:lnTo>
                      <a:pt x="56" y="78"/>
                    </a:lnTo>
                    <a:lnTo>
                      <a:pt x="54" y="78"/>
                    </a:lnTo>
                    <a:lnTo>
                      <a:pt x="52" y="78"/>
                    </a:lnTo>
                    <a:lnTo>
                      <a:pt x="52" y="76"/>
                    </a:lnTo>
                    <a:lnTo>
                      <a:pt x="50" y="76"/>
                    </a:lnTo>
                    <a:lnTo>
                      <a:pt x="49" y="76"/>
                    </a:lnTo>
                    <a:lnTo>
                      <a:pt x="47" y="76"/>
                    </a:lnTo>
                    <a:lnTo>
                      <a:pt x="47" y="75"/>
                    </a:lnTo>
                    <a:lnTo>
                      <a:pt x="45" y="75"/>
                    </a:lnTo>
                    <a:lnTo>
                      <a:pt x="45" y="73"/>
                    </a:lnTo>
                    <a:lnTo>
                      <a:pt x="45" y="71"/>
                    </a:lnTo>
                    <a:lnTo>
                      <a:pt x="45" y="69"/>
                    </a:lnTo>
                    <a:lnTo>
                      <a:pt x="45" y="67"/>
                    </a:lnTo>
                    <a:lnTo>
                      <a:pt x="45" y="65"/>
                    </a:lnTo>
                    <a:lnTo>
                      <a:pt x="43" y="63"/>
                    </a:lnTo>
                    <a:lnTo>
                      <a:pt x="43" y="61"/>
                    </a:lnTo>
                    <a:lnTo>
                      <a:pt x="43" y="59"/>
                    </a:lnTo>
                    <a:lnTo>
                      <a:pt x="43" y="57"/>
                    </a:lnTo>
                    <a:lnTo>
                      <a:pt x="45" y="55"/>
                    </a:lnTo>
                    <a:lnTo>
                      <a:pt x="45" y="53"/>
                    </a:lnTo>
                    <a:lnTo>
                      <a:pt x="43" y="53"/>
                    </a:lnTo>
                    <a:lnTo>
                      <a:pt x="41" y="53"/>
                    </a:lnTo>
                    <a:lnTo>
                      <a:pt x="39" y="53"/>
                    </a:lnTo>
                    <a:lnTo>
                      <a:pt x="39" y="55"/>
                    </a:lnTo>
                    <a:lnTo>
                      <a:pt x="37" y="55"/>
                    </a:lnTo>
                    <a:lnTo>
                      <a:pt x="35" y="55"/>
                    </a:lnTo>
                    <a:lnTo>
                      <a:pt x="35" y="57"/>
                    </a:lnTo>
                    <a:lnTo>
                      <a:pt x="35" y="59"/>
                    </a:lnTo>
                    <a:lnTo>
                      <a:pt x="33" y="59"/>
                    </a:lnTo>
                    <a:lnTo>
                      <a:pt x="31" y="59"/>
                    </a:lnTo>
                    <a:lnTo>
                      <a:pt x="29" y="57"/>
                    </a:lnTo>
                    <a:lnTo>
                      <a:pt x="29" y="55"/>
                    </a:lnTo>
                    <a:lnTo>
                      <a:pt x="27" y="57"/>
                    </a:lnTo>
                    <a:lnTo>
                      <a:pt x="27" y="59"/>
                    </a:lnTo>
                    <a:lnTo>
                      <a:pt x="27" y="61"/>
                    </a:lnTo>
                    <a:lnTo>
                      <a:pt x="27" y="63"/>
                    </a:lnTo>
                    <a:lnTo>
                      <a:pt x="25" y="63"/>
                    </a:lnTo>
                    <a:lnTo>
                      <a:pt x="25" y="65"/>
                    </a:lnTo>
                    <a:lnTo>
                      <a:pt x="25" y="67"/>
                    </a:lnTo>
                    <a:lnTo>
                      <a:pt x="24" y="69"/>
                    </a:lnTo>
                    <a:lnTo>
                      <a:pt x="24" y="71"/>
                    </a:lnTo>
                    <a:lnTo>
                      <a:pt x="24" y="73"/>
                    </a:lnTo>
                    <a:lnTo>
                      <a:pt x="22" y="76"/>
                    </a:lnTo>
                    <a:lnTo>
                      <a:pt x="22" y="78"/>
                    </a:lnTo>
                    <a:lnTo>
                      <a:pt x="22" y="76"/>
                    </a:lnTo>
                    <a:lnTo>
                      <a:pt x="20" y="76"/>
                    </a:lnTo>
                    <a:lnTo>
                      <a:pt x="18" y="76"/>
                    </a:lnTo>
                    <a:lnTo>
                      <a:pt x="18" y="75"/>
                    </a:lnTo>
                    <a:lnTo>
                      <a:pt x="18" y="76"/>
                    </a:lnTo>
                    <a:lnTo>
                      <a:pt x="18" y="75"/>
                    </a:lnTo>
                    <a:lnTo>
                      <a:pt x="18" y="76"/>
                    </a:lnTo>
                    <a:lnTo>
                      <a:pt x="18" y="75"/>
                    </a:lnTo>
                    <a:lnTo>
                      <a:pt x="16" y="76"/>
                    </a:lnTo>
                    <a:lnTo>
                      <a:pt x="16" y="75"/>
                    </a:lnTo>
                    <a:lnTo>
                      <a:pt x="14" y="75"/>
                    </a:lnTo>
                    <a:lnTo>
                      <a:pt x="14" y="73"/>
                    </a:lnTo>
                    <a:lnTo>
                      <a:pt x="12" y="73"/>
                    </a:lnTo>
                    <a:lnTo>
                      <a:pt x="12" y="71"/>
                    </a:lnTo>
                    <a:lnTo>
                      <a:pt x="10" y="71"/>
                    </a:lnTo>
                    <a:lnTo>
                      <a:pt x="10" y="69"/>
                    </a:lnTo>
                    <a:lnTo>
                      <a:pt x="8" y="67"/>
                    </a:lnTo>
                    <a:lnTo>
                      <a:pt x="6" y="67"/>
                    </a:lnTo>
                    <a:lnTo>
                      <a:pt x="6" y="65"/>
                    </a:lnTo>
                    <a:lnTo>
                      <a:pt x="4" y="65"/>
                    </a:lnTo>
                    <a:lnTo>
                      <a:pt x="4" y="67"/>
                    </a:lnTo>
                    <a:lnTo>
                      <a:pt x="2" y="67"/>
                    </a:lnTo>
                    <a:lnTo>
                      <a:pt x="0" y="65"/>
                    </a:lnTo>
                    <a:lnTo>
                      <a:pt x="2" y="63"/>
                    </a:lnTo>
                    <a:lnTo>
                      <a:pt x="0" y="63"/>
                    </a:lnTo>
                    <a:lnTo>
                      <a:pt x="0" y="61"/>
                    </a:lnTo>
                    <a:lnTo>
                      <a:pt x="2" y="59"/>
                    </a:lnTo>
                    <a:lnTo>
                      <a:pt x="0" y="59"/>
                    </a:lnTo>
                    <a:lnTo>
                      <a:pt x="0" y="57"/>
                    </a:lnTo>
                    <a:lnTo>
                      <a:pt x="2" y="57"/>
                    </a:lnTo>
                    <a:lnTo>
                      <a:pt x="4" y="57"/>
                    </a:lnTo>
                    <a:lnTo>
                      <a:pt x="6" y="55"/>
                    </a:lnTo>
                    <a:lnTo>
                      <a:pt x="8" y="53"/>
                    </a:lnTo>
                    <a:lnTo>
                      <a:pt x="8" y="51"/>
                    </a:lnTo>
                    <a:lnTo>
                      <a:pt x="10" y="51"/>
                    </a:lnTo>
                    <a:lnTo>
                      <a:pt x="12" y="51"/>
                    </a:lnTo>
                    <a:lnTo>
                      <a:pt x="12" y="53"/>
                    </a:lnTo>
                    <a:lnTo>
                      <a:pt x="16" y="51"/>
                    </a:lnTo>
                    <a:lnTo>
                      <a:pt x="16" y="50"/>
                    </a:lnTo>
                    <a:lnTo>
                      <a:pt x="14" y="50"/>
                    </a:lnTo>
                    <a:lnTo>
                      <a:pt x="16" y="50"/>
                    </a:lnTo>
                    <a:lnTo>
                      <a:pt x="16" y="48"/>
                    </a:lnTo>
                    <a:lnTo>
                      <a:pt x="18" y="46"/>
                    </a:lnTo>
                    <a:lnTo>
                      <a:pt x="18" y="44"/>
                    </a:lnTo>
                    <a:lnTo>
                      <a:pt x="20" y="44"/>
                    </a:lnTo>
                    <a:lnTo>
                      <a:pt x="18" y="42"/>
                    </a:lnTo>
                    <a:lnTo>
                      <a:pt x="18" y="40"/>
                    </a:lnTo>
                    <a:lnTo>
                      <a:pt x="20" y="40"/>
                    </a:lnTo>
                    <a:lnTo>
                      <a:pt x="20" y="38"/>
                    </a:lnTo>
                    <a:lnTo>
                      <a:pt x="18" y="36"/>
                    </a:lnTo>
                    <a:lnTo>
                      <a:pt x="18" y="34"/>
                    </a:lnTo>
                    <a:lnTo>
                      <a:pt x="16" y="34"/>
                    </a:lnTo>
                    <a:lnTo>
                      <a:pt x="14" y="34"/>
                    </a:lnTo>
                    <a:lnTo>
                      <a:pt x="12" y="34"/>
                    </a:lnTo>
                    <a:lnTo>
                      <a:pt x="12" y="32"/>
                    </a:lnTo>
                    <a:lnTo>
                      <a:pt x="12" y="30"/>
                    </a:lnTo>
                    <a:lnTo>
                      <a:pt x="14" y="28"/>
                    </a:lnTo>
                    <a:lnTo>
                      <a:pt x="12" y="26"/>
                    </a:lnTo>
                    <a:lnTo>
                      <a:pt x="12" y="25"/>
                    </a:lnTo>
                    <a:lnTo>
                      <a:pt x="10" y="25"/>
                    </a:lnTo>
                    <a:lnTo>
                      <a:pt x="8" y="25"/>
                    </a:lnTo>
                    <a:lnTo>
                      <a:pt x="8" y="23"/>
                    </a:lnTo>
                    <a:lnTo>
                      <a:pt x="6" y="23"/>
                    </a:lnTo>
                    <a:lnTo>
                      <a:pt x="4" y="23"/>
                    </a:lnTo>
                    <a:lnTo>
                      <a:pt x="4" y="21"/>
                    </a:lnTo>
                    <a:lnTo>
                      <a:pt x="4" y="19"/>
                    </a:lnTo>
                    <a:lnTo>
                      <a:pt x="6" y="19"/>
                    </a:lnTo>
                    <a:lnTo>
                      <a:pt x="6" y="17"/>
                    </a:lnTo>
                    <a:lnTo>
                      <a:pt x="6" y="15"/>
                    </a:lnTo>
                    <a:lnTo>
                      <a:pt x="6" y="17"/>
                    </a:lnTo>
                    <a:lnTo>
                      <a:pt x="8" y="17"/>
                    </a:lnTo>
                    <a:lnTo>
                      <a:pt x="10" y="17"/>
                    </a:lnTo>
                    <a:lnTo>
                      <a:pt x="10" y="15"/>
                    </a:lnTo>
                    <a:lnTo>
                      <a:pt x="10" y="13"/>
                    </a:lnTo>
                    <a:lnTo>
                      <a:pt x="10" y="11"/>
                    </a:lnTo>
                    <a:lnTo>
                      <a:pt x="10" y="9"/>
                    </a:lnTo>
                    <a:lnTo>
                      <a:pt x="12" y="9"/>
                    </a:lnTo>
                    <a:lnTo>
                      <a:pt x="14" y="7"/>
                    </a:lnTo>
                    <a:lnTo>
                      <a:pt x="14" y="9"/>
                    </a:lnTo>
                    <a:lnTo>
                      <a:pt x="16" y="9"/>
                    </a:lnTo>
                    <a:lnTo>
                      <a:pt x="18" y="9"/>
                    </a:lnTo>
                    <a:lnTo>
                      <a:pt x="18" y="7"/>
                    </a:lnTo>
                    <a:lnTo>
                      <a:pt x="20" y="7"/>
                    </a:lnTo>
                    <a:lnTo>
                      <a:pt x="20" y="5"/>
                    </a:lnTo>
                    <a:lnTo>
                      <a:pt x="20" y="3"/>
                    </a:lnTo>
                    <a:lnTo>
                      <a:pt x="22" y="5"/>
                    </a:lnTo>
                    <a:lnTo>
                      <a:pt x="24" y="5"/>
                    </a:lnTo>
                    <a:lnTo>
                      <a:pt x="25" y="5"/>
                    </a:lnTo>
                    <a:lnTo>
                      <a:pt x="24" y="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59" name="Freeform 139"/>
              <p:cNvSpPr>
                <a:spLocks/>
              </p:cNvSpPr>
              <p:nvPr/>
            </p:nvSpPr>
            <p:spPr bwMode="auto">
              <a:xfrm>
                <a:off x="952509" y="2406078"/>
                <a:ext cx="223681" cy="258094"/>
              </a:xfrm>
              <a:custGeom>
                <a:avLst/>
                <a:gdLst>
                  <a:gd name="T0" fmla="*/ 128 w 130"/>
                  <a:gd name="T1" fmla="*/ 100 h 150"/>
                  <a:gd name="T2" fmla="*/ 128 w 130"/>
                  <a:gd name="T3" fmla="*/ 108 h 150"/>
                  <a:gd name="T4" fmla="*/ 123 w 130"/>
                  <a:gd name="T5" fmla="*/ 109 h 150"/>
                  <a:gd name="T6" fmla="*/ 117 w 130"/>
                  <a:gd name="T7" fmla="*/ 113 h 150"/>
                  <a:gd name="T8" fmla="*/ 109 w 130"/>
                  <a:gd name="T9" fmla="*/ 115 h 150"/>
                  <a:gd name="T10" fmla="*/ 103 w 130"/>
                  <a:gd name="T11" fmla="*/ 119 h 150"/>
                  <a:gd name="T12" fmla="*/ 92 w 130"/>
                  <a:gd name="T13" fmla="*/ 123 h 150"/>
                  <a:gd name="T14" fmla="*/ 84 w 130"/>
                  <a:gd name="T15" fmla="*/ 125 h 150"/>
                  <a:gd name="T16" fmla="*/ 82 w 130"/>
                  <a:gd name="T17" fmla="*/ 138 h 150"/>
                  <a:gd name="T18" fmla="*/ 71 w 130"/>
                  <a:gd name="T19" fmla="*/ 140 h 150"/>
                  <a:gd name="T20" fmla="*/ 65 w 130"/>
                  <a:gd name="T21" fmla="*/ 148 h 150"/>
                  <a:gd name="T22" fmla="*/ 55 w 130"/>
                  <a:gd name="T23" fmla="*/ 146 h 150"/>
                  <a:gd name="T24" fmla="*/ 48 w 130"/>
                  <a:gd name="T25" fmla="*/ 138 h 150"/>
                  <a:gd name="T26" fmla="*/ 42 w 130"/>
                  <a:gd name="T27" fmla="*/ 133 h 150"/>
                  <a:gd name="T28" fmla="*/ 36 w 130"/>
                  <a:gd name="T29" fmla="*/ 129 h 150"/>
                  <a:gd name="T30" fmla="*/ 28 w 130"/>
                  <a:gd name="T31" fmla="*/ 125 h 150"/>
                  <a:gd name="T32" fmla="*/ 32 w 130"/>
                  <a:gd name="T33" fmla="*/ 117 h 150"/>
                  <a:gd name="T34" fmla="*/ 25 w 130"/>
                  <a:gd name="T35" fmla="*/ 111 h 150"/>
                  <a:gd name="T36" fmla="*/ 25 w 130"/>
                  <a:gd name="T37" fmla="*/ 102 h 150"/>
                  <a:gd name="T38" fmla="*/ 25 w 130"/>
                  <a:gd name="T39" fmla="*/ 96 h 150"/>
                  <a:gd name="T40" fmla="*/ 28 w 130"/>
                  <a:gd name="T41" fmla="*/ 88 h 150"/>
                  <a:gd name="T42" fmla="*/ 30 w 130"/>
                  <a:gd name="T43" fmla="*/ 75 h 150"/>
                  <a:gd name="T44" fmla="*/ 21 w 130"/>
                  <a:gd name="T45" fmla="*/ 73 h 150"/>
                  <a:gd name="T46" fmla="*/ 15 w 130"/>
                  <a:gd name="T47" fmla="*/ 69 h 150"/>
                  <a:gd name="T48" fmla="*/ 17 w 130"/>
                  <a:gd name="T49" fmla="*/ 65 h 150"/>
                  <a:gd name="T50" fmla="*/ 9 w 130"/>
                  <a:gd name="T51" fmla="*/ 61 h 150"/>
                  <a:gd name="T52" fmla="*/ 11 w 130"/>
                  <a:gd name="T53" fmla="*/ 56 h 150"/>
                  <a:gd name="T54" fmla="*/ 7 w 130"/>
                  <a:gd name="T55" fmla="*/ 54 h 150"/>
                  <a:gd name="T56" fmla="*/ 1 w 130"/>
                  <a:gd name="T57" fmla="*/ 44 h 150"/>
                  <a:gd name="T58" fmla="*/ 1 w 130"/>
                  <a:gd name="T59" fmla="*/ 38 h 150"/>
                  <a:gd name="T60" fmla="*/ 5 w 130"/>
                  <a:gd name="T61" fmla="*/ 29 h 150"/>
                  <a:gd name="T62" fmla="*/ 9 w 130"/>
                  <a:gd name="T63" fmla="*/ 21 h 150"/>
                  <a:gd name="T64" fmla="*/ 11 w 130"/>
                  <a:gd name="T65" fmla="*/ 11 h 150"/>
                  <a:gd name="T66" fmla="*/ 19 w 130"/>
                  <a:gd name="T67" fmla="*/ 2 h 150"/>
                  <a:gd name="T68" fmla="*/ 21 w 130"/>
                  <a:gd name="T69" fmla="*/ 4 h 150"/>
                  <a:gd name="T70" fmla="*/ 23 w 130"/>
                  <a:gd name="T71" fmla="*/ 11 h 150"/>
                  <a:gd name="T72" fmla="*/ 28 w 130"/>
                  <a:gd name="T73" fmla="*/ 13 h 150"/>
                  <a:gd name="T74" fmla="*/ 34 w 130"/>
                  <a:gd name="T75" fmla="*/ 19 h 150"/>
                  <a:gd name="T76" fmla="*/ 42 w 130"/>
                  <a:gd name="T77" fmla="*/ 23 h 150"/>
                  <a:gd name="T78" fmla="*/ 48 w 130"/>
                  <a:gd name="T79" fmla="*/ 17 h 150"/>
                  <a:gd name="T80" fmla="*/ 51 w 130"/>
                  <a:gd name="T81" fmla="*/ 15 h 150"/>
                  <a:gd name="T82" fmla="*/ 59 w 130"/>
                  <a:gd name="T83" fmla="*/ 15 h 150"/>
                  <a:gd name="T84" fmla="*/ 63 w 130"/>
                  <a:gd name="T85" fmla="*/ 23 h 150"/>
                  <a:gd name="T86" fmla="*/ 59 w 130"/>
                  <a:gd name="T87" fmla="*/ 33 h 150"/>
                  <a:gd name="T88" fmla="*/ 59 w 130"/>
                  <a:gd name="T89" fmla="*/ 40 h 150"/>
                  <a:gd name="T90" fmla="*/ 65 w 130"/>
                  <a:gd name="T91" fmla="*/ 44 h 150"/>
                  <a:gd name="T92" fmla="*/ 73 w 130"/>
                  <a:gd name="T93" fmla="*/ 44 h 150"/>
                  <a:gd name="T94" fmla="*/ 82 w 130"/>
                  <a:gd name="T95" fmla="*/ 48 h 150"/>
                  <a:gd name="T96" fmla="*/ 84 w 130"/>
                  <a:gd name="T97" fmla="*/ 54 h 150"/>
                  <a:gd name="T98" fmla="*/ 88 w 130"/>
                  <a:gd name="T99" fmla="*/ 58 h 150"/>
                  <a:gd name="T100" fmla="*/ 96 w 130"/>
                  <a:gd name="T101" fmla="*/ 61 h 150"/>
                  <a:gd name="T102" fmla="*/ 105 w 130"/>
                  <a:gd name="T103" fmla="*/ 67 h 150"/>
                  <a:gd name="T104" fmla="*/ 111 w 130"/>
                  <a:gd name="T105" fmla="*/ 71 h 150"/>
                  <a:gd name="T106" fmla="*/ 109 w 130"/>
                  <a:gd name="T107" fmla="*/ 81 h 150"/>
                  <a:gd name="T108" fmla="*/ 113 w 130"/>
                  <a:gd name="T109" fmla="*/ 81 h 150"/>
                  <a:gd name="T110" fmla="*/ 121 w 130"/>
                  <a:gd name="T111" fmla="*/ 81 h 150"/>
                  <a:gd name="T112" fmla="*/ 128 w 130"/>
                  <a:gd name="T113" fmla="*/ 8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50">
                    <a:moveTo>
                      <a:pt x="128" y="88"/>
                    </a:moveTo>
                    <a:lnTo>
                      <a:pt x="128" y="90"/>
                    </a:lnTo>
                    <a:lnTo>
                      <a:pt x="128" y="92"/>
                    </a:lnTo>
                    <a:lnTo>
                      <a:pt x="128" y="94"/>
                    </a:lnTo>
                    <a:lnTo>
                      <a:pt x="130" y="96"/>
                    </a:lnTo>
                    <a:lnTo>
                      <a:pt x="128" y="96"/>
                    </a:lnTo>
                    <a:lnTo>
                      <a:pt x="128" y="98"/>
                    </a:lnTo>
                    <a:lnTo>
                      <a:pt x="128" y="100"/>
                    </a:lnTo>
                    <a:lnTo>
                      <a:pt x="126" y="100"/>
                    </a:lnTo>
                    <a:lnTo>
                      <a:pt x="126" y="102"/>
                    </a:lnTo>
                    <a:lnTo>
                      <a:pt x="124" y="102"/>
                    </a:lnTo>
                    <a:lnTo>
                      <a:pt x="124" y="104"/>
                    </a:lnTo>
                    <a:lnTo>
                      <a:pt x="126" y="104"/>
                    </a:lnTo>
                    <a:lnTo>
                      <a:pt x="126" y="106"/>
                    </a:lnTo>
                    <a:lnTo>
                      <a:pt x="128" y="106"/>
                    </a:lnTo>
                    <a:lnTo>
                      <a:pt x="128" y="108"/>
                    </a:lnTo>
                    <a:lnTo>
                      <a:pt x="128" y="109"/>
                    </a:lnTo>
                    <a:lnTo>
                      <a:pt x="126" y="109"/>
                    </a:lnTo>
                    <a:lnTo>
                      <a:pt x="124" y="109"/>
                    </a:lnTo>
                    <a:lnTo>
                      <a:pt x="124" y="108"/>
                    </a:lnTo>
                    <a:lnTo>
                      <a:pt x="124" y="109"/>
                    </a:lnTo>
                    <a:lnTo>
                      <a:pt x="123" y="109"/>
                    </a:lnTo>
                    <a:lnTo>
                      <a:pt x="123" y="108"/>
                    </a:lnTo>
                    <a:lnTo>
                      <a:pt x="123" y="109"/>
                    </a:lnTo>
                    <a:lnTo>
                      <a:pt x="121" y="109"/>
                    </a:lnTo>
                    <a:lnTo>
                      <a:pt x="119" y="109"/>
                    </a:lnTo>
                    <a:lnTo>
                      <a:pt x="119" y="108"/>
                    </a:lnTo>
                    <a:lnTo>
                      <a:pt x="119" y="109"/>
                    </a:lnTo>
                    <a:lnTo>
                      <a:pt x="117" y="109"/>
                    </a:lnTo>
                    <a:lnTo>
                      <a:pt x="117" y="111"/>
                    </a:lnTo>
                    <a:lnTo>
                      <a:pt x="119" y="111"/>
                    </a:lnTo>
                    <a:lnTo>
                      <a:pt x="117" y="113"/>
                    </a:lnTo>
                    <a:lnTo>
                      <a:pt x="117" y="115"/>
                    </a:lnTo>
                    <a:lnTo>
                      <a:pt x="115" y="115"/>
                    </a:lnTo>
                    <a:lnTo>
                      <a:pt x="115" y="117"/>
                    </a:lnTo>
                    <a:lnTo>
                      <a:pt x="115" y="115"/>
                    </a:lnTo>
                    <a:lnTo>
                      <a:pt x="113" y="115"/>
                    </a:lnTo>
                    <a:lnTo>
                      <a:pt x="111" y="117"/>
                    </a:lnTo>
                    <a:lnTo>
                      <a:pt x="111" y="115"/>
                    </a:lnTo>
                    <a:lnTo>
                      <a:pt x="109" y="115"/>
                    </a:lnTo>
                    <a:lnTo>
                      <a:pt x="111" y="115"/>
                    </a:lnTo>
                    <a:lnTo>
                      <a:pt x="109" y="113"/>
                    </a:lnTo>
                    <a:lnTo>
                      <a:pt x="109" y="115"/>
                    </a:lnTo>
                    <a:lnTo>
                      <a:pt x="107" y="115"/>
                    </a:lnTo>
                    <a:lnTo>
                      <a:pt x="107" y="117"/>
                    </a:lnTo>
                    <a:lnTo>
                      <a:pt x="105" y="117"/>
                    </a:lnTo>
                    <a:lnTo>
                      <a:pt x="105" y="119"/>
                    </a:lnTo>
                    <a:lnTo>
                      <a:pt x="103" y="119"/>
                    </a:lnTo>
                    <a:lnTo>
                      <a:pt x="101" y="119"/>
                    </a:lnTo>
                    <a:lnTo>
                      <a:pt x="101" y="121"/>
                    </a:lnTo>
                    <a:lnTo>
                      <a:pt x="99" y="121"/>
                    </a:lnTo>
                    <a:lnTo>
                      <a:pt x="98" y="121"/>
                    </a:lnTo>
                    <a:lnTo>
                      <a:pt x="96" y="121"/>
                    </a:lnTo>
                    <a:lnTo>
                      <a:pt x="94" y="121"/>
                    </a:lnTo>
                    <a:lnTo>
                      <a:pt x="94" y="123"/>
                    </a:lnTo>
                    <a:lnTo>
                      <a:pt x="92" y="123"/>
                    </a:lnTo>
                    <a:lnTo>
                      <a:pt x="90" y="123"/>
                    </a:lnTo>
                    <a:lnTo>
                      <a:pt x="90" y="125"/>
                    </a:lnTo>
                    <a:lnTo>
                      <a:pt x="90" y="123"/>
                    </a:lnTo>
                    <a:lnTo>
                      <a:pt x="88" y="123"/>
                    </a:lnTo>
                    <a:lnTo>
                      <a:pt x="88" y="125"/>
                    </a:lnTo>
                    <a:lnTo>
                      <a:pt x="88" y="127"/>
                    </a:lnTo>
                    <a:lnTo>
                      <a:pt x="86" y="127"/>
                    </a:lnTo>
                    <a:lnTo>
                      <a:pt x="84" y="125"/>
                    </a:lnTo>
                    <a:lnTo>
                      <a:pt x="84" y="127"/>
                    </a:lnTo>
                    <a:lnTo>
                      <a:pt x="84" y="129"/>
                    </a:lnTo>
                    <a:lnTo>
                      <a:pt x="82" y="131"/>
                    </a:lnTo>
                    <a:lnTo>
                      <a:pt x="82" y="133"/>
                    </a:lnTo>
                    <a:lnTo>
                      <a:pt x="80" y="133"/>
                    </a:lnTo>
                    <a:lnTo>
                      <a:pt x="80" y="134"/>
                    </a:lnTo>
                    <a:lnTo>
                      <a:pt x="82" y="136"/>
                    </a:lnTo>
                    <a:lnTo>
                      <a:pt x="82" y="138"/>
                    </a:lnTo>
                    <a:lnTo>
                      <a:pt x="80" y="138"/>
                    </a:lnTo>
                    <a:lnTo>
                      <a:pt x="78" y="138"/>
                    </a:lnTo>
                    <a:lnTo>
                      <a:pt x="76" y="138"/>
                    </a:lnTo>
                    <a:lnTo>
                      <a:pt x="74" y="138"/>
                    </a:lnTo>
                    <a:lnTo>
                      <a:pt x="74" y="140"/>
                    </a:lnTo>
                    <a:lnTo>
                      <a:pt x="73" y="142"/>
                    </a:lnTo>
                    <a:lnTo>
                      <a:pt x="73" y="140"/>
                    </a:lnTo>
                    <a:lnTo>
                      <a:pt x="71" y="140"/>
                    </a:lnTo>
                    <a:lnTo>
                      <a:pt x="71" y="142"/>
                    </a:lnTo>
                    <a:lnTo>
                      <a:pt x="71" y="144"/>
                    </a:lnTo>
                    <a:lnTo>
                      <a:pt x="69" y="144"/>
                    </a:lnTo>
                    <a:lnTo>
                      <a:pt x="67" y="144"/>
                    </a:lnTo>
                    <a:lnTo>
                      <a:pt x="65" y="144"/>
                    </a:lnTo>
                    <a:lnTo>
                      <a:pt x="65" y="146"/>
                    </a:lnTo>
                    <a:lnTo>
                      <a:pt x="67" y="146"/>
                    </a:lnTo>
                    <a:lnTo>
                      <a:pt x="65" y="148"/>
                    </a:lnTo>
                    <a:lnTo>
                      <a:pt x="63" y="148"/>
                    </a:lnTo>
                    <a:lnTo>
                      <a:pt x="61" y="148"/>
                    </a:lnTo>
                    <a:lnTo>
                      <a:pt x="61" y="150"/>
                    </a:lnTo>
                    <a:lnTo>
                      <a:pt x="59" y="150"/>
                    </a:lnTo>
                    <a:lnTo>
                      <a:pt x="59" y="148"/>
                    </a:lnTo>
                    <a:lnTo>
                      <a:pt x="57" y="148"/>
                    </a:lnTo>
                    <a:lnTo>
                      <a:pt x="55" y="148"/>
                    </a:lnTo>
                    <a:lnTo>
                      <a:pt x="55" y="146"/>
                    </a:lnTo>
                    <a:lnTo>
                      <a:pt x="53" y="144"/>
                    </a:lnTo>
                    <a:lnTo>
                      <a:pt x="53" y="142"/>
                    </a:lnTo>
                    <a:lnTo>
                      <a:pt x="51" y="142"/>
                    </a:lnTo>
                    <a:lnTo>
                      <a:pt x="49" y="142"/>
                    </a:lnTo>
                    <a:lnTo>
                      <a:pt x="49" y="144"/>
                    </a:lnTo>
                    <a:lnTo>
                      <a:pt x="49" y="142"/>
                    </a:lnTo>
                    <a:lnTo>
                      <a:pt x="49" y="140"/>
                    </a:lnTo>
                    <a:lnTo>
                      <a:pt x="48" y="138"/>
                    </a:lnTo>
                    <a:lnTo>
                      <a:pt x="49" y="136"/>
                    </a:lnTo>
                    <a:lnTo>
                      <a:pt x="49" y="134"/>
                    </a:lnTo>
                    <a:lnTo>
                      <a:pt x="48" y="134"/>
                    </a:lnTo>
                    <a:lnTo>
                      <a:pt x="46" y="133"/>
                    </a:lnTo>
                    <a:lnTo>
                      <a:pt x="44" y="133"/>
                    </a:lnTo>
                    <a:lnTo>
                      <a:pt x="42" y="133"/>
                    </a:lnTo>
                    <a:lnTo>
                      <a:pt x="42" y="134"/>
                    </a:lnTo>
                    <a:lnTo>
                      <a:pt x="42" y="133"/>
                    </a:lnTo>
                    <a:lnTo>
                      <a:pt x="42" y="131"/>
                    </a:lnTo>
                    <a:lnTo>
                      <a:pt x="42" y="129"/>
                    </a:lnTo>
                    <a:lnTo>
                      <a:pt x="42" y="127"/>
                    </a:lnTo>
                    <a:lnTo>
                      <a:pt x="40" y="125"/>
                    </a:lnTo>
                    <a:lnTo>
                      <a:pt x="40" y="127"/>
                    </a:lnTo>
                    <a:lnTo>
                      <a:pt x="38" y="129"/>
                    </a:lnTo>
                    <a:lnTo>
                      <a:pt x="36" y="127"/>
                    </a:lnTo>
                    <a:lnTo>
                      <a:pt x="36" y="129"/>
                    </a:lnTo>
                    <a:lnTo>
                      <a:pt x="36" y="127"/>
                    </a:lnTo>
                    <a:lnTo>
                      <a:pt x="34" y="127"/>
                    </a:lnTo>
                    <a:lnTo>
                      <a:pt x="34" y="125"/>
                    </a:lnTo>
                    <a:lnTo>
                      <a:pt x="32" y="127"/>
                    </a:lnTo>
                    <a:lnTo>
                      <a:pt x="30" y="127"/>
                    </a:lnTo>
                    <a:lnTo>
                      <a:pt x="32" y="125"/>
                    </a:lnTo>
                    <a:lnTo>
                      <a:pt x="30" y="125"/>
                    </a:lnTo>
                    <a:lnTo>
                      <a:pt x="28" y="125"/>
                    </a:lnTo>
                    <a:lnTo>
                      <a:pt x="30" y="125"/>
                    </a:lnTo>
                    <a:lnTo>
                      <a:pt x="28" y="125"/>
                    </a:lnTo>
                    <a:lnTo>
                      <a:pt x="28" y="123"/>
                    </a:lnTo>
                    <a:lnTo>
                      <a:pt x="30" y="123"/>
                    </a:lnTo>
                    <a:lnTo>
                      <a:pt x="28" y="121"/>
                    </a:lnTo>
                    <a:lnTo>
                      <a:pt x="30" y="119"/>
                    </a:lnTo>
                    <a:lnTo>
                      <a:pt x="30" y="117"/>
                    </a:lnTo>
                    <a:lnTo>
                      <a:pt x="32" y="117"/>
                    </a:lnTo>
                    <a:lnTo>
                      <a:pt x="32" y="115"/>
                    </a:lnTo>
                    <a:lnTo>
                      <a:pt x="30" y="115"/>
                    </a:lnTo>
                    <a:lnTo>
                      <a:pt x="28" y="115"/>
                    </a:lnTo>
                    <a:lnTo>
                      <a:pt x="28" y="117"/>
                    </a:lnTo>
                    <a:lnTo>
                      <a:pt x="26" y="115"/>
                    </a:lnTo>
                    <a:lnTo>
                      <a:pt x="25" y="115"/>
                    </a:lnTo>
                    <a:lnTo>
                      <a:pt x="25" y="113"/>
                    </a:lnTo>
                    <a:lnTo>
                      <a:pt x="25" y="111"/>
                    </a:lnTo>
                    <a:lnTo>
                      <a:pt x="26" y="111"/>
                    </a:lnTo>
                    <a:lnTo>
                      <a:pt x="25" y="111"/>
                    </a:lnTo>
                    <a:lnTo>
                      <a:pt x="25" y="109"/>
                    </a:lnTo>
                    <a:lnTo>
                      <a:pt x="23" y="109"/>
                    </a:lnTo>
                    <a:lnTo>
                      <a:pt x="23" y="108"/>
                    </a:lnTo>
                    <a:lnTo>
                      <a:pt x="23" y="106"/>
                    </a:lnTo>
                    <a:lnTo>
                      <a:pt x="23" y="104"/>
                    </a:lnTo>
                    <a:lnTo>
                      <a:pt x="25" y="102"/>
                    </a:lnTo>
                    <a:lnTo>
                      <a:pt x="26" y="102"/>
                    </a:lnTo>
                    <a:lnTo>
                      <a:pt x="28" y="100"/>
                    </a:lnTo>
                    <a:lnTo>
                      <a:pt x="26" y="100"/>
                    </a:lnTo>
                    <a:lnTo>
                      <a:pt x="26" y="98"/>
                    </a:lnTo>
                    <a:lnTo>
                      <a:pt x="28" y="98"/>
                    </a:lnTo>
                    <a:lnTo>
                      <a:pt x="26" y="98"/>
                    </a:lnTo>
                    <a:lnTo>
                      <a:pt x="26" y="96"/>
                    </a:lnTo>
                    <a:lnTo>
                      <a:pt x="25" y="96"/>
                    </a:lnTo>
                    <a:lnTo>
                      <a:pt x="26" y="94"/>
                    </a:lnTo>
                    <a:lnTo>
                      <a:pt x="25" y="94"/>
                    </a:lnTo>
                    <a:lnTo>
                      <a:pt x="26" y="94"/>
                    </a:lnTo>
                    <a:lnTo>
                      <a:pt x="26" y="92"/>
                    </a:lnTo>
                    <a:lnTo>
                      <a:pt x="26" y="94"/>
                    </a:lnTo>
                    <a:lnTo>
                      <a:pt x="28" y="92"/>
                    </a:lnTo>
                    <a:lnTo>
                      <a:pt x="28" y="90"/>
                    </a:lnTo>
                    <a:lnTo>
                      <a:pt x="28" y="88"/>
                    </a:lnTo>
                    <a:lnTo>
                      <a:pt x="28" y="86"/>
                    </a:lnTo>
                    <a:lnTo>
                      <a:pt x="28" y="85"/>
                    </a:lnTo>
                    <a:lnTo>
                      <a:pt x="28" y="83"/>
                    </a:lnTo>
                    <a:lnTo>
                      <a:pt x="28" y="81"/>
                    </a:lnTo>
                    <a:lnTo>
                      <a:pt x="28" y="79"/>
                    </a:lnTo>
                    <a:lnTo>
                      <a:pt x="30" y="79"/>
                    </a:lnTo>
                    <a:lnTo>
                      <a:pt x="30" y="77"/>
                    </a:lnTo>
                    <a:lnTo>
                      <a:pt x="30" y="75"/>
                    </a:lnTo>
                    <a:lnTo>
                      <a:pt x="28" y="75"/>
                    </a:lnTo>
                    <a:lnTo>
                      <a:pt x="28" y="73"/>
                    </a:lnTo>
                    <a:lnTo>
                      <a:pt x="26" y="73"/>
                    </a:lnTo>
                    <a:lnTo>
                      <a:pt x="25" y="73"/>
                    </a:lnTo>
                    <a:lnTo>
                      <a:pt x="25" y="75"/>
                    </a:lnTo>
                    <a:lnTo>
                      <a:pt x="23" y="75"/>
                    </a:lnTo>
                    <a:lnTo>
                      <a:pt x="23" y="73"/>
                    </a:lnTo>
                    <a:lnTo>
                      <a:pt x="21" y="73"/>
                    </a:lnTo>
                    <a:lnTo>
                      <a:pt x="19" y="71"/>
                    </a:lnTo>
                    <a:lnTo>
                      <a:pt x="19" y="73"/>
                    </a:lnTo>
                    <a:lnTo>
                      <a:pt x="17" y="73"/>
                    </a:lnTo>
                    <a:lnTo>
                      <a:pt x="17" y="75"/>
                    </a:lnTo>
                    <a:lnTo>
                      <a:pt x="17" y="73"/>
                    </a:lnTo>
                    <a:lnTo>
                      <a:pt x="17" y="71"/>
                    </a:lnTo>
                    <a:lnTo>
                      <a:pt x="15" y="71"/>
                    </a:lnTo>
                    <a:lnTo>
                      <a:pt x="15" y="69"/>
                    </a:lnTo>
                    <a:lnTo>
                      <a:pt x="15" y="71"/>
                    </a:lnTo>
                    <a:lnTo>
                      <a:pt x="15" y="69"/>
                    </a:lnTo>
                    <a:lnTo>
                      <a:pt x="13" y="69"/>
                    </a:lnTo>
                    <a:lnTo>
                      <a:pt x="13" y="67"/>
                    </a:lnTo>
                    <a:lnTo>
                      <a:pt x="15" y="67"/>
                    </a:lnTo>
                    <a:lnTo>
                      <a:pt x="13" y="67"/>
                    </a:lnTo>
                    <a:lnTo>
                      <a:pt x="15" y="65"/>
                    </a:lnTo>
                    <a:lnTo>
                      <a:pt x="17" y="65"/>
                    </a:lnTo>
                    <a:lnTo>
                      <a:pt x="15" y="63"/>
                    </a:lnTo>
                    <a:lnTo>
                      <a:pt x="15" y="65"/>
                    </a:lnTo>
                    <a:lnTo>
                      <a:pt x="15" y="63"/>
                    </a:lnTo>
                    <a:lnTo>
                      <a:pt x="15" y="65"/>
                    </a:lnTo>
                    <a:lnTo>
                      <a:pt x="15" y="63"/>
                    </a:lnTo>
                    <a:lnTo>
                      <a:pt x="13" y="63"/>
                    </a:lnTo>
                    <a:lnTo>
                      <a:pt x="11" y="61"/>
                    </a:lnTo>
                    <a:lnTo>
                      <a:pt x="9" y="61"/>
                    </a:lnTo>
                    <a:lnTo>
                      <a:pt x="9" y="60"/>
                    </a:lnTo>
                    <a:lnTo>
                      <a:pt x="9" y="58"/>
                    </a:lnTo>
                    <a:lnTo>
                      <a:pt x="11" y="58"/>
                    </a:lnTo>
                    <a:lnTo>
                      <a:pt x="9" y="58"/>
                    </a:lnTo>
                    <a:lnTo>
                      <a:pt x="11" y="58"/>
                    </a:lnTo>
                    <a:lnTo>
                      <a:pt x="9" y="58"/>
                    </a:lnTo>
                    <a:lnTo>
                      <a:pt x="9" y="56"/>
                    </a:lnTo>
                    <a:lnTo>
                      <a:pt x="11" y="56"/>
                    </a:lnTo>
                    <a:lnTo>
                      <a:pt x="9" y="56"/>
                    </a:lnTo>
                    <a:lnTo>
                      <a:pt x="11" y="56"/>
                    </a:lnTo>
                    <a:lnTo>
                      <a:pt x="9" y="54"/>
                    </a:lnTo>
                    <a:lnTo>
                      <a:pt x="11" y="54"/>
                    </a:lnTo>
                    <a:lnTo>
                      <a:pt x="11" y="56"/>
                    </a:lnTo>
                    <a:lnTo>
                      <a:pt x="11" y="54"/>
                    </a:lnTo>
                    <a:lnTo>
                      <a:pt x="9" y="54"/>
                    </a:lnTo>
                    <a:lnTo>
                      <a:pt x="7" y="54"/>
                    </a:lnTo>
                    <a:lnTo>
                      <a:pt x="7" y="52"/>
                    </a:lnTo>
                    <a:lnTo>
                      <a:pt x="5" y="52"/>
                    </a:lnTo>
                    <a:lnTo>
                      <a:pt x="5" y="50"/>
                    </a:lnTo>
                    <a:lnTo>
                      <a:pt x="3" y="48"/>
                    </a:lnTo>
                    <a:lnTo>
                      <a:pt x="3" y="46"/>
                    </a:lnTo>
                    <a:lnTo>
                      <a:pt x="1" y="44"/>
                    </a:lnTo>
                    <a:lnTo>
                      <a:pt x="0" y="44"/>
                    </a:lnTo>
                    <a:lnTo>
                      <a:pt x="1" y="44"/>
                    </a:lnTo>
                    <a:lnTo>
                      <a:pt x="1" y="42"/>
                    </a:lnTo>
                    <a:lnTo>
                      <a:pt x="1" y="44"/>
                    </a:lnTo>
                    <a:lnTo>
                      <a:pt x="1" y="42"/>
                    </a:lnTo>
                    <a:lnTo>
                      <a:pt x="1" y="40"/>
                    </a:lnTo>
                    <a:lnTo>
                      <a:pt x="3" y="40"/>
                    </a:lnTo>
                    <a:lnTo>
                      <a:pt x="1" y="38"/>
                    </a:lnTo>
                    <a:lnTo>
                      <a:pt x="3" y="38"/>
                    </a:lnTo>
                    <a:lnTo>
                      <a:pt x="1" y="38"/>
                    </a:lnTo>
                    <a:lnTo>
                      <a:pt x="3" y="38"/>
                    </a:lnTo>
                    <a:lnTo>
                      <a:pt x="3" y="36"/>
                    </a:lnTo>
                    <a:lnTo>
                      <a:pt x="3" y="35"/>
                    </a:lnTo>
                    <a:lnTo>
                      <a:pt x="5" y="35"/>
                    </a:lnTo>
                    <a:lnTo>
                      <a:pt x="5" y="33"/>
                    </a:lnTo>
                    <a:lnTo>
                      <a:pt x="5" y="31"/>
                    </a:lnTo>
                    <a:lnTo>
                      <a:pt x="7" y="31"/>
                    </a:lnTo>
                    <a:lnTo>
                      <a:pt x="5" y="29"/>
                    </a:lnTo>
                    <a:lnTo>
                      <a:pt x="3" y="29"/>
                    </a:lnTo>
                    <a:lnTo>
                      <a:pt x="5" y="27"/>
                    </a:lnTo>
                    <a:lnTo>
                      <a:pt x="5" y="25"/>
                    </a:lnTo>
                    <a:lnTo>
                      <a:pt x="5" y="23"/>
                    </a:lnTo>
                    <a:lnTo>
                      <a:pt x="7" y="25"/>
                    </a:lnTo>
                    <a:lnTo>
                      <a:pt x="7" y="23"/>
                    </a:lnTo>
                    <a:lnTo>
                      <a:pt x="7" y="21"/>
                    </a:lnTo>
                    <a:lnTo>
                      <a:pt x="9" y="21"/>
                    </a:lnTo>
                    <a:lnTo>
                      <a:pt x="9" y="19"/>
                    </a:lnTo>
                    <a:lnTo>
                      <a:pt x="11" y="19"/>
                    </a:lnTo>
                    <a:lnTo>
                      <a:pt x="11" y="17"/>
                    </a:lnTo>
                    <a:lnTo>
                      <a:pt x="11" y="15"/>
                    </a:lnTo>
                    <a:lnTo>
                      <a:pt x="13" y="15"/>
                    </a:lnTo>
                    <a:lnTo>
                      <a:pt x="13" y="13"/>
                    </a:lnTo>
                    <a:lnTo>
                      <a:pt x="11" y="13"/>
                    </a:lnTo>
                    <a:lnTo>
                      <a:pt x="11" y="11"/>
                    </a:lnTo>
                    <a:lnTo>
                      <a:pt x="11" y="10"/>
                    </a:lnTo>
                    <a:lnTo>
                      <a:pt x="13" y="10"/>
                    </a:lnTo>
                    <a:lnTo>
                      <a:pt x="13" y="8"/>
                    </a:lnTo>
                    <a:lnTo>
                      <a:pt x="15" y="6"/>
                    </a:lnTo>
                    <a:lnTo>
                      <a:pt x="17" y="6"/>
                    </a:lnTo>
                    <a:lnTo>
                      <a:pt x="17" y="4"/>
                    </a:lnTo>
                    <a:lnTo>
                      <a:pt x="19" y="4"/>
                    </a:lnTo>
                    <a:lnTo>
                      <a:pt x="19" y="2"/>
                    </a:lnTo>
                    <a:lnTo>
                      <a:pt x="17" y="2"/>
                    </a:lnTo>
                    <a:lnTo>
                      <a:pt x="19" y="2"/>
                    </a:lnTo>
                    <a:lnTo>
                      <a:pt x="19" y="0"/>
                    </a:lnTo>
                    <a:lnTo>
                      <a:pt x="21" y="0"/>
                    </a:lnTo>
                    <a:lnTo>
                      <a:pt x="23" y="0"/>
                    </a:lnTo>
                    <a:lnTo>
                      <a:pt x="21" y="0"/>
                    </a:lnTo>
                    <a:lnTo>
                      <a:pt x="21" y="2"/>
                    </a:lnTo>
                    <a:lnTo>
                      <a:pt x="21" y="4"/>
                    </a:lnTo>
                    <a:lnTo>
                      <a:pt x="23" y="4"/>
                    </a:lnTo>
                    <a:lnTo>
                      <a:pt x="23" y="6"/>
                    </a:lnTo>
                    <a:lnTo>
                      <a:pt x="23" y="8"/>
                    </a:lnTo>
                    <a:lnTo>
                      <a:pt x="21" y="10"/>
                    </a:lnTo>
                    <a:lnTo>
                      <a:pt x="21" y="11"/>
                    </a:lnTo>
                    <a:lnTo>
                      <a:pt x="21" y="13"/>
                    </a:lnTo>
                    <a:lnTo>
                      <a:pt x="21" y="11"/>
                    </a:lnTo>
                    <a:lnTo>
                      <a:pt x="23" y="11"/>
                    </a:lnTo>
                    <a:lnTo>
                      <a:pt x="25" y="10"/>
                    </a:lnTo>
                    <a:lnTo>
                      <a:pt x="25" y="11"/>
                    </a:lnTo>
                    <a:lnTo>
                      <a:pt x="26" y="11"/>
                    </a:lnTo>
                    <a:lnTo>
                      <a:pt x="25" y="11"/>
                    </a:lnTo>
                    <a:lnTo>
                      <a:pt x="26" y="11"/>
                    </a:lnTo>
                    <a:lnTo>
                      <a:pt x="26" y="13"/>
                    </a:lnTo>
                    <a:lnTo>
                      <a:pt x="28" y="11"/>
                    </a:lnTo>
                    <a:lnTo>
                      <a:pt x="28" y="13"/>
                    </a:lnTo>
                    <a:lnTo>
                      <a:pt x="30" y="13"/>
                    </a:lnTo>
                    <a:lnTo>
                      <a:pt x="30" y="15"/>
                    </a:lnTo>
                    <a:lnTo>
                      <a:pt x="28" y="15"/>
                    </a:lnTo>
                    <a:lnTo>
                      <a:pt x="30" y="15"/>
                    </a:lnTo>
                    <a:lnTo>
                      <a:pt x="30" y="17"/>
                    </a:lnTo>
                    <a:lnTo>
                      <a:pt x="30" y="19"/>
                    </a:lnTo>
                    <a:lnTo>
                      <a:pt x="32" y="19"/>
                    </a:lnTo>
                    <a:lnTo>
                      <a:pt x="34" y="19"/>
                    </a:lnTo>
                    <a:lnTo>
                      <a:pt x="36" y="19"/>
                    </a:lnTo>
                    <a:lnTo>
                      <a:pt x="38" y="19"/>
                    </a:lnTo>
                    <a:lnTo>
                      <a:pt x="38" y="21"/>
                    </a:lnTo>
                    <a:lnTo>
                      <a:pt x="38" y="23"/>
                    </a:lnTo>
                    <a:lnTo>
                      <a:pt x="40" y="23"/>
                    </a:lnTo>
                    <a:lnTo>
                      <a:pt x="40" y="25"/>
                    </a:lnTo>
                    <a:lnTo>
                      <a:pt x="40" y="23"/>
                    </a:lnTo>
                    <a:lnTo>
                      <a:pt x="42" y="23"/>
                    </a:lnTo>
                    <a:lnTo>
                      <a:pt x="42" y="21"/>
                    </a:lnTo>
                    <a:lnTo>
                      <a:pt x="42" y="23"/>
                    </a:lnTo>
                    <a:lnTo>
                      <a:pt x="44" y="23"/>
                    </a:lnTo>
                    <a:lnTo>
                      <a:pt x="44" y="21"/>
                    </a:lnTo>
                    <a:lnTo>
                      <a:pt x="44" y="19"/>
                    </a:lnTo>
                    <a:lnTo>
                      <a:pt x="46" y="19"/>
                    </a:lnTo>
                    <a:lnTo>
                      <a:pt x="46" y="17"/>
                    </a:lnTo>
                    <a:lnTo>
                      <a:pt x="48" y="17"/>
                    </a:lnTo>
                    <a:lnTo>
                      <a:pt x="48" y="15"/>
                    </a:lnTo>
                    <a:lnTo>
                      <a:pt x="49" y="15"/>
                    </a:lnTo>
                    <a:lnTo>
                      <a:pt x="48" y="15"/>
                    </a:lnTo>
                    <a:lnTo>
                      <a:pt x="49" y="15"/>
                    </a:lnTo>
                    <a:lnTo>
                      <a:pt x="48" y="13"/>
                    </a:lnTo>
                    <a:lnTo>
                      <a:pt x="49" y="13"/>
                    </a:lnTo>
                    <a:lnTo>
                      <a:pt x="51" y="13"/>
                    </a:lnTo>
                    <a:lnTo>
                      <a:pt x="51" y="15"/>
                    </a:lnTo>
                    <a:lnTo>
                      <a:pt x="53" y="15"/>
                    </a:lnTo>
                    <a:lnTo>
                      <a:pt x="53" y="17"/>
                    </a:lnTo>
                    <a:lnTo>
                      <a:pt x="53" y="15"/>
                    </a:lnTo>
                    <a:lnTo>
                      <a:pt x="55" y="15"/>
                    </a:lnTo>
                    <a:lnTo>
                      <a:pt x="57" y="15"/>
                    </a:lnTo>
                    <a:lnTo>
                      <a:pt x="57" y="13"/>
                    </a:lnTo>
                    <a:lnTo>
                      <a:pt x="57" y="15"/>
                    </a:lnTo>
                    <a:lnTo>
                      <a:pt x="59" y="15"/>
                    </a:lnTo>
                    <a:lnTo>
                      <a:pt x="61" y="15"/>
                    </a:lnTo>
                    <a:lnTo>
                      <a:pt x="61" y="17"/>
                    </a:lnTo>
                    <a:lnTo>
                      <a:pt x="61" y="19"/>
                    </a:lnTo>
                    <a:lnTo>
                      <a:pt x="63" y="19"/>
                    </a:lnTo>
                    <a:lnTo>
                      <a:pt x="63" y="21"/>
                    </a:lnTo>
                    <a:lnTo>
                      <a:pt x="65" y="21"/>
                    </a:lnTo>
                    <a:lnTo>
                      <a:pt x="65" y="23"/>
                    </a:lnTo>
                    <a:lnTo>
                      <a:pt x="63" y="23"/>
                    </a:lnTo>
                    <a:lnTo>
                      <a:pt x="61" y="25"/>
                    </a:lnTo>
                    <a:lnTo>
                      <a:pt x="61" y="27"/>
                    </a:lnTo>
                    <a:lnTo>
                      <a:pt x="61" y="29"/>
                    </a:lnTo>
                    <a:lnTo>
                      <a:pt x="59" y="29"/>
                    </a:lnTo>
                    <a:lnTo>
                      <a:pt x="57" y="29"/>
                    </a:lnTo>
                    <a:lnTo>
                      <a:pt x="57" y="31"/>
                    </a:lnTo>
                    <a:lnTo>
                      <a:pt x="59" y="31"/>
                    </a:lnTo>
                    <a:lnTo>
                      <a:pt x="59" y="33"/>
                    </a:lnTo>
                    <a:lnTo>
                      <a:pt x="57" y="33"/>
                    </a:lnTo>
                    <a:lnTo>
                      <a:pt x="57" y="35"/>
                    </a:lnTo>
                    <a:lnTo>
                      <a:pt x="57" y="36"/>
                    </a:lnTo>
                    <a:lnTo>
                      <a:pt x="57" y="38"/>
                    </a:lnTo>
                    <a:lnTo>
                      <a:pt x="55" y="38"/>
                    </a:lnTo>
                    <a:lnTo>
                      <a:pt x="55" y="40"/>
                    </a:lnTo>
                    <a:lnTo>
                      <a:pt x="57" y="40"/>
                    </a:lnTo>
                    <a:lnTo>
                      <a:pt x="59" y="40"/>
                    </a:lnTo>
                    <a:lnTo>
                      <a:pt x="59" y="42"/>
                    </a:lnTo>
                    <a:lnTo>
                      <a:pt x="61" y="42"/>
                    </a:lnTo>
                    <a:lnTo>
                      <a:pt x="59" y="42"/>
                    </a:lnTo>
                    <a:lnTo>
                      <a:pt x="61" y="44"/>
                    </a:lnTo>
                    <a:lnTo>
                      <a:pt x="61" y="46"/>
                    </a:lnTo>
                    <a:lnTo>
                      <a:pt x="63" y="46"/>
                    </a:lnTo>
                    <a:lnTo>
                      <a:pt x="65" y="46"/>
                    </a:lnTo>
                    <a:lnTo>
                      <a:pt x="65" y="44"/>
                    </a:lnTo>
                    <a:lnTo>
                      <a:pt x="67" y="44"/>
                    </a:lnTo>
                    <a:lnTo>
                      <a:pt x="69" y="44"/>
                    </a:lnTo>
                    <a:lnTo>
                      <a:pt x="71" y="44"/>
                    </a:lnTo>
                    <a:lnTo>
                      <a:pt x="71" y="46"/>
                    </a:lnTo>
                    <a:lnTo>
                      <a:pt x="71" y="44"/>
                    </a:lnTo>
                    <a:lnTo>
                      <a:pt x="73" y="44"/>
                    </a:lnTo>
                    <a:lnTo>
                      <a:pt x="71" y="44"/>
                    </a:lnTo>
                    <a:lnTo>
                      <a:pt x="73" y="44"/>
                    </a:lnTo>
                    <a:lnTo>
                      <a:pt x="74" y="44"/>
                    </a:lnTo>
                    <a:lnTo>
                      <a:pt x="74" y="42"/>
                    </a:lnTo>
                    <a:lnTo>
                      <a:pt x="76" y="44"/>
                    </a:lnTo>
                    <a:lnTo>
                      <a:pt x="78" y="44"/>
                    </a:lnTo>
                    <a:lnTo>
                      <a:pt x="78" y="46"/>
                    </a:lnTo>
                    <a:lnTo>
                      <a:pt x="80" y="46"/>
                    </a:lnTo>
                    <a:lnTo>
                      <a:pt x="82" y="46"/>
                    </a:lnTo>
                    <a:lnTo>
                      <a:pt x="82" y="48"/>
                    </a:lnTo>
                    <a:lnTo>
                      <a:pt x="82" y="50"/>
                    </a:lnTo>
                    <a:lnTo>
                      <a:pt x="84" y="52"/>
                    </a:lnTo>
                    <a:lnTo>
                      <a:pt x="82" y="52"/>
                    </a:lnTo>
                    <a:lnTo>
                      <a:pt x="82" y="54"/>
                    </a:lnTo>
                    <a:lnTo>
                      <a:pt x="84" y="52"/>
                    </a:lnTo>
                    <a:lnTo>
                      <a:pt x="84" y="54"/>
                    </a:lnTo>
                    <a:lnTo>
                      <a:pt x="82" y="54"/>
                    </a:lnTo>
                    <a:lnTo>
                      <a:pt x="84" y="54"/>
                    </a:lnTo>
                    <a:lnTo>
                      <a:pt x="86" y="54"/>
                    </a:lnTo>
                    <a:lnTo>
                      <a:pt x="86" y="56"/>
                    </a:lnTo>
                    <a:lnTo>
                      <a:pt x="88" y="56"/>
                    </a:lnTo>
                    <a:lnTo>
                      <a:pt x="86" y="56"/>
                    </a:lnTo>
                    <a:lnTo>
                      <a:pt x="86" y="58"/>
                    </a:lnTo>
                    <a:lnTo>
                      <a:pt x="88" y="58"/>
                    </a:lnTo>
                    <a:lnTo>
                      <a:pt x="88" y="60"/>
                    </a:lnTo>
                    <a:lnTo>
                      <a:pt x="88" y="58"/>
                    </a:lnTo>
                    <a:lnTo>
                      <a:pt x="88" y="60"/>
                    </a:lnTo>
                    <a:lnTo>
                      <a:pt x="90" y="60"/>
                    </a:lnTo>
                    <a:lnTo>
                      <a:pt x="92" y="60"/>
                    </a:lnTo>
                    <a:lnTo>
                      <a:pt x="92" y="61"/>
                    </a:lnTo>
                    <a:lnTo>
                      <a:pt x="94" y="61"/>
                    </a:lnTo>
                    <a:lnTo>
                      <a:pt x="96" y="61"/>
                    </a:lnTo>
                    <a:lnTo>
                      <a:pt x="96" y="63"/>
                    </a:lnTo>
                    <a:lnTo>
                      <a:pt x="96" y="61"/>
                    </a:lnTo>
                    <a:lnTo>
                      <a:pt x="96" y="63"/>
                    </a:lnTo>
                    <a:lnTo>
                      <a:pt x="98" y="63"/>
                    </a:lnTo>
                    <a:lnTo>
                      <a:pt x="98" y="65"/>
                    </a:lnTo>
                    <a:lnTo>
                      <a:pt x="99" y="65"/>
                    </a:lnTo>
                    <a:lnTo>
                      <a:pt x="101" y="65"/>
                    </a:lnTo>
                    <a:lnTo>
                      <a:pt x="101" y="67"/>
                    </a:lnTo>
                    <a:lnTo>
                      <a:pt x="103" y="67"/>
                    </a:lnTo>
                    <a:lnTo>
                      <a:pt x="105" y="67"/>
                    </a:lnTo>
                    <a:lnTo>
                      <a:pt x="105" y="69"/>
                    </a:lnTo>
                    <a:lnTo>
                      <a:pt x="107" y="69"/>
                    </a:lnTo>
                    <a:lnTo>
                      <a:pt x="109" y="71"/>
                    </a:lnTo>
                    <a:lnTo>
                      <a:pt x="109" y="69"/>
                    </a:lnTo>
                    <a:lnTo>
                      <a:pt x="111" y="69"/>
                    </a:lnTo>
                    <a:lnTo>
                      <a:pt x="111" y="71"/>
                    </a:lnTo>
                    <a:lnTo>
                      <a:pt x="113" y="71"/>
                    </a:lnTo>
                    <a:lnTo>
                      <a:pt x="111" y="71"/>
                    </a:lnTo>
                    <a:lnTo>
                      <a:pt x="111" y="73"/>
                    </a:lnTo>
                    <a:lnTo>
                      <a:pt x="111" y="75"/>
                    </a:lnTo>
                    <a:lnTo>
                      <a:pt x="111" y="77"/>
                    </a:lnTo>
                    <a:lnTo>
                      <a:pt x="111" y="75"/>
                    </a:lnTo>
                    <a:lnTo>
                      <a:pt x="111" y="77"/>
                    </a:lnTo>
                    <a:lnTo>
                      <a:pt x="109" y="77"/>
                    </a:lnTo>
                    <a:lnTo>
                      <a:pt x="109" y="79"/>
                    </a:lnTo>
                    <a:lnTo>
                      <a:pt x="109" y="81"/>
                    </a:lnTo>
                    <a:lnTo>
                      <a:pt x="107" y="81"/>
                    </a:lnTo>
                    <a:lnTo>
                      <a:pt x="109" y="81"/>
                    </a:lnTo>
                    <a:lnTo>
                      <a:pt x="111" y="81"/>
                    </a:lnTo>
                    <a:lnTo>
                      <a:pt x="109" y="81"/>
                    </a:lnTo>
                    <a:lnTo>
                      <a:pt x="109" y="83"/>
                    </a:lnTo>
                    <a:lnTo>
                      <a:pt x="111" y="83"/>
                    </a:lnTo>
                    <a:lnTo>
                      <a:pt x="113" y="83"/>
                    </a:lnTo>
                    <a:lnTo>
                      <a:pt x="113" y="81"/>
                    </a:lnTo>
                    <a:lnTo>
                      <a:pt x="115" y="83"/>
                    </a:lnTo>
                    <a:lnTo>
                      <a:pt x="115" y="81"/>
                    </a:lnTo>
                    <a:lnTo>
                      <a:pt x="117" y="81"/>
                    </a:lnTo>
                    <a:lnTo>
                      <a:pt x="117" y="79"/>
                    </a:lnTo>
                    <a:lnTo>
                      <a:pt x="117" y="81"/>
                    </a:lnTo>
                    <a:lnTo>
                      <a:pt x="119" y="81"/>
                    </a:lnTo>
                    <a:lnTo>
                      <a:pt x="119" y="83"/>
                    </a:lnTo>
                    <a:lnTo>
                      <a:pt x="121" y="81"/>
                    </a:lnTo>
                    <a:lnTo>
                      <a:pt x="121" y="83"/>
                    </a:lnTo>
                    <a:lnTo>
                      <a:pt x="123" y="83"/>
                    </a:lnTo>
                    <a:lnTo>
                      <a:pt x="123" y="85"/>
                    </a:lnTo>
                    <a:lnTo>
                      <a:pt x="124" y="85"/>
                    </a:lnTo>
                    <a:lnTo>
                      <a:pt x="124" y="86"/>
                    </a:lnTo>
                    <a:lnTo>
                      <a:pt x="126" y="86"/>
                    </a:lnTo>
                    <a:lnTo>
                      <a:pt x="126" y="88"/>
                    </a:lnTo>
                    <a:lnTo>
                      <a:pt x="128" y="88"/>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0" name="Freeform 140"/>
              <p:cNvSpPr>
                <a:spLocks/>
              </p:cNvSpPr>
              <p:nvPr/>
            </p:nvSpPr>
            <p:spPr bwMode="auto">
              <a:xfrm>
                <a:off x="630752" y="3066798"/>
                <a:ext cx="443921" cy="443921"/>
              </a:xfrm>
              <a:custGeom>
                <a:avLst/>
                <a:gdLst>
                  <a:gd name="T0" fmla="*/ 148 w 258"/>
                  <a:gd name="T1" fmla="*/ 39 h 258"/>
                  <a:gd name="T2" fmla="*/ 163 w 258"/>
                  <a:gd name="T3" fmla="*/ 39 h 258"/>
                  <a:gd name="T4" fmla="*/ 173 w 258"/>
                  <a:gd name="T5" fmla="*/ 39 h 258"/>
                  <a:gd name="T6" fmla="*/ 179 w 258"/>
                  <a:gd name="T7" fmla="*/ 48 h 258"/>
                  <a:gd name="T8" fmla="*/ 188 w 258"/>
                  <a:gd name="T9" fmla="*/ 47 h 258"/>
                  <a:gd name="T10" fmla="*/ 194 w 258"/>
                  <a:gd name="T11" fmla="*/ 52 h 258"/>
                  <a:gd name="T12" fmla="*/ 202 w 258"/>
                  <a:gd name="T13" fmla="*/ 56 h 258"/>
                  <a:gd name="T14" fmla="*/ 204 w 258"/>
                  <a:gd name="T15" fmla="*/ 60 h 258"/>
                  <a:gd name="T16" fmla="*/ 208 w 258"/>
                  <a:gd name="T17" fmla="*/ 70 h 258"/>
                  <a:gd name="T18" fmla="*/ 206 w 258"/>
                  <a:gd name="T19" fmla="*/ 77 h 258"/>
                  <a:gd name="T20" fmla="*/ 200 w 258"/>
                  <a:gd name="T21" fmla="*/ 89 h 258"/>
                  <a:gd name="T22" fmla="*/ 198 w 258"/>
                  <a:gd name="T23" fmla="*/ 98 h 258"/>
                  <a:gd name="T24" fmla="*/ 204 w 258"/>
                  <a:gd name="T25" fmla="*/ 102 h 258"/>
                  <a:gd name="T26" fmla="*/ 215 w 258"/>
                  <a:gd name="T27" fmla="*/ 97 h 258"/>
                  <a:gd name="T28" fmla="*/ 223 w 258"/>
                  <a:gd name="T29" fmla="*/ 110 h 258"/>
                  <a:gd name="T30" fmla="*/ 233 w 258"/>
                  <a:gd name="T31" fmla="*/ 120 h 258"/>
                  <a:gd name="T32" fmla="*/ 242 w 258"/>
                  <a:gd name="T33" fmla="*/ 114 h 258"/>
                  <a:gd name="T34" fmla="*/ 248 w 258"/>
                  <a:gd name="T35" fmla="*/ 122 h 258"/>
                  <a:gd name="T36" fmla="*/ 250 w 258"/>
                  <a:gd name="T37" fmla="*/ 133 h 258"/>
                  <a:gd name="T38" fmla="*/ 254 w 258"/>
                  <a:gd name="T39" fmla="*/ 150 h 258"/>
                  <a:gd name="T40" fmla="*/ 225 w 258"/>
                  <a:gd name="T41" fmla="*/ 170 h 258"/>
                  <a:gd name="T42" fmla="*/ 206 w 258"/>
                  <a:gd name="T43" fmla="*/ 206 h 258"/>
                  <a:gd name="T44" fmla="*/ 175 w 258"/>
                  <a:gd name="T45" fmla="*/ 239 h 258"/>
                  <a:gd name="T46" fmla="*/ 162 w 258"/>
                  <a:gd name="T47" fmla="*/ 216 h 258"/>
                  <a:gd name="T48" fmla="*/ 140 w 258"/>
                  <a:gd name="T49" fmla="*/ 223 h 258"/>
                  <a:gd name="T50" fmla="*/ 131 w 258"/>
                  <a:gd name="T51" fmla="*/ 221 h 258"/>
                  <a:gd name="T52" fmla="*/ 125 w 258"/>
                  <a:gd name="T53" fmla="*/ 220 h 258"/>
                  <a:gd name="T54" fmla="*/ 127 w 258"/>
                  <a:gd name="T55" fmla="*/ 227 h 258"/>
                  <a:gd name="T56" fmla="*/ 119 w 258"/>
                  <a:gd name="T57" fmla="*/ 223 h 258"/>
                  <a:gd name="T58" fmla="*/ 108 w 258"/>
                  <a:gd name="T59" fmla="*/ 231 h 258"/>
                  <a:gd name="T60" fmla="*/ 106 w 258"/>
                  <a:gd name="T61" fmla="*/ 239 h 258"/>
                  <a:gd name="T62" fmla="*/ 92 w 258"/>
                  <a:gd name="T63" fmla="*/ 239 h 258"/>
                  <a:gd name="T64" fmla="*/ 89 w 258"/>
                  <a:gd name="T65" fmla="*/ 225 h 258"/>
                  <a:gd name="T66" fmla="*/ 75 w 258"/>
                  <a:gd name="T67" fmla="*/ 245 h 258"/>
                  <a:gd name="T68" fmla="*/ 62 w 258"/>
                  <a:gd name="T69" fmla="*/ 243 h 258"/>
                  <a:gd name="T70" fmla="*/ 39 w 258"/>
                  <a:gd name="T71" fmla="*/ 252 h 258"/>
                  <a:gd name="T72" fmla="*/ 35 w 258"/>
                  <a:gd name="T73" fmla="*/ 254 h 258"/>
                  <a:gd name="T74" fmla="*/ 19 w 258"/>
                  <a:gd name="T75" fmla="*/ 245 h 258"/>
                  <a:gd name="T76" fmla="*/ 16 w 258"/>
                  <a:gd name="T77" fmla="*/ 231 h 258"/>
                  <a:gd name="T78" fmla="*/ 17 w 258"/>
                  <a:gd name="T79" fmla="*/ 208 h 258"/>
                  <a:gd name="T80" fmla="*/ 14 w 258"/>
                  <a:gd name="T81" fmla="*/ 198 h 258"/>
                  <a:gd name="T82" fmla="*/ 2 w 258"/>
                  <a:gd name="T83" fmla="*/ 191 h 258"/>
                  <a:gd name="T84" fmla="*/ 10 w 258"/>
                  <a:gd name="T85" fmla="*/ 179 h 258"/>
                  <a:gd name="T86" fmla="*/ 29 w 258"/>
                  <a:gd name="T87" fmla="*/ 170 h 258"/>
                  <a:gd name="T88" fmla="*/ 35 w 258"/>
                  <a:gd name="T89" fmla="*/ 172 h 258"/>
                  <a:gd name="T90" fmla="*/ 41 w 258"/>
                  <a:gd name="T91" fmla="*/ 170 h 258"/>
                  <a:gd name="T92" fmla="*/ 52 w 258"/>
                  <a:gd name="T93" fmla="*/ 160 h 258"/>
                  <a:gd name="T94" fmla="*/ 52 w 258"/>
                  <a:gd name="T95" fmla="*/ 143 h 258"/>
                  <a:gd name="T96" fmla="*/ 50 w 258"/>
                  <a:gd name="T97" fmla="*/ 133 h 258"/>
                  <a:gd name="T98" fmla="*/ 44 w 258"/>
                  <a:gd name="T99" fmla="*/ 123 h 258"/>
                  <a:gd name="T100" fmla="*/ 48 w 258"/>
                  <a:gd name="T101" fmla="*/ 114 h 258"/>
                  <a:gd name="T102" fmla="*/ 60 w 258"/>
                  <a:gd name="T103" fmla="*/ 100 h 258"/>
                  <a:gd name="T104" fmla="*/ 64 w 258"/>
                  <a:gd name="T105" fmla="*/ 81 h 258"/>
                  <a:gd name="T106" fmla="*/ 58 w 258"/>
                  <a:gd name="T107" fmla="*/ 64 h 258"/>
                  <a:gd name="T108" fmla="*/ 71 w 258"/>
                  <a:gd name="T109" fmla="*/ 33 h 258"/>
                  <a:gd name="T110" fmla="*/ 73 w 258"/>
                  <a:gd name="T111" fmla="*/ 10 h 258"/>
                  <a:gd name="T112" fmla="*/ 90 w 258"/>
                  <a:gd name="T113" fmla="*/ 6 h 258"/>
                  <a:gd name="T114" fmla="*/ 108 w 258"/>
                  <a:gd name="T115" fmla="*/ 0 h 258"/>
                  <a:gd name="T116" fmla="*/ 121 w 258"/>
                  <a:gd name="T117" fmla="*/ 10 h 258"/>
                  <a:gd name="T118" fmla="*/ 142 w 258"/>
                  <a:gd name="T119" fmla="*/ 1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 h="258">
                    <a:moveTo>
                      <a:pt x="142" y="16"/>
                    </a:moveTo>
                    <a:lnTo>
                      <a:pt x="144" y="22"/>
                    </a:lnTo>
                    <a:lnTo>
                      <a:pt x="144" y="23"/>
                    </a:lnTo>
                    <a:lnTo>
                      <a:pt x="146" y="25"/>
                    </a:lnTo>
                    <a:lnTo>
                      <a:pt x="146" y="27"/>
                    </a:lnTo>
                    <a:lnTo>
                      <a:pt x="148" y="29"/>
                    </a:lnTo>
                    <a:lnTo>
                      <a:pt x="148" y="31"/>
                    </a:lnTo>
                    <a:lnTo>
                      <a:pt x="148" y="33"/>
                    </a:lnTo>
                    <a:lnTo>
                      <a:pt x="148" y="37"/>
                    </a:lnTo>
                    <a:lnTo>
                      <a:pt x="148" y="39"/>
                    </a:lnTo>
                    <a:lnTo>
                      <a:pt x="150" y="39"/>
                    </a:lnTo>
                    <a:lnTo>
                      <a:pt x="152" y="39"/>
                    </a:lnTo>
                    <a:lnTo>
                      <a:pt x="152" y="37"/>
                    </a:lnTo>
                    <a:lnTo>
                      <a:pt x="152" y="39"/>
                    </a:lnTo>
                    <a:lnTo>
                      <a:pt x="156" y="39"/>
                    </a:lnTo>
                    <a:lnTo>
                      <a:pt x="158" y="39"/>
                    </a:lnTo>
                    <a:lnTo>
                      <a:pt x="160" y="41"/>
                    </a:lnTo>
                    <a:lnTo>
                      <a:pt x="162" y="41"/>
                    </a:lnTo>
                    <a:lnTo>
                      <a:pt x="162" y="39"/>
                    </a:lnTo>
                    <a:lnTo>
                      <a:pt x="163" y="39"/>
                    </a:lnTo>
                    <a:lnTo>
                      <a:pt x="162" y="39"/>
                    </a:lnTo>
                    <a:lnTo>
                      <a:pt x="163" y="39"/>
                    </a:lnTo>
                    <a:lnTo>
                      <a:pt x="163" y="37"/>
                    </a:lnTo>
                    <a:lnTo>
                      <a:pt x="163" y="39"/>
                    </a:lnTo>
                    <a:lnTo>
                      <a:pt x="165" y="39"/>
                    </a:lnTo>
                    <a:lnTo>
                      <a:pt x="167" y="39"/>
                    </a:lnTo>
                    <a:lnTo>
                      <a:pt x="167" y="41"/>
                    </a:lnTo>
                    <a:lnTo>
                      <a:pt x="169" y="41"/>
                    </a:lnTo>
                    <a:lnTo>
                      <a:pt x="171" y="39"/>
                    </a:lnTo>
                    <a:lnTo>
                      <a:pt x="173" y="39"/>
                    </a:lnTo>
                    <a:lnTo>
                      <a:pt x="173" y="41"/>
                    </a:lnTo>
                    <a:lnTo>
                      <a:pt x="175" y="41"/>
                    </a:lnTo>
                    <a:lnTo>
                      <a:pt x="175" y="43"/>
                    </a:lnTo>
                    <a:lnTo>
                      <a:pt x="173" y="47"/>
                    </a:lnTo>
                    <a:lnTo>
                      <a:pt x="173" y="45"/>
                    </a:lnTo>
                    <a:lnTo>
                      <a:pt x="175" y="45"/>
                    </a:lnTo>
                    <a:lnTo>
                      <a:pt x="175" y="47"/>
                    </a:lnTo>
                    <a:lnTo>
                      <a:pt x="177" y="45"/>
                    </a:lnTo>
                    <a:lnTo>
                      <a:pt x="177" y="47"/>
                    </a:lnTo>
                    <a:lnTo>
                      <a:pt x="179" y="48"/>
                    </a:lnTo>
                    <a:lnTo>
                      <a:pt x="179" y="47"/>
                    </a:lnTo>
                    <a:lnTo>
                      <a:pt x="181" y="47"/>
                    </a:lnTo>
                    <a:lnTo>
                      <a:pt x="181" y="45"/>
                    </a:lnTo>
                    <a:lnTo>
                      <a:pt x="183" y="43"/>
                    </a:lnTo>
                    <a:lnTo>
                      <a:pt x="185" y="43"/>
                    </a:lnTo>
                    <a:lnTo>
                      <a:pt x="185" y="45"/>
                    </a:lnTo>
                    <a:lnTo>
                      <a:pt x="187" y="45"/>
                    </a:lnTo>
                    <a:lnTo>
                      <a:pt x="187" y="47"/>
                    </a:lnTo>
                    <a:lnTo>
                      <a:pt x="187" y="45"/>
                    </a:lnTo>
                    <a:lnTo>
                      <a:pt x="188" y="47"/>
                    </a:lnTo>
                    <a:lnTo>
                      <a:pt x="190" y="47"/>
                    </a:lnTo>
                    <a:lnTo>
                      <a:pt x="190" y="45"/>
                    </a:lnTo>
                    <a:lnTo>
                      <a:pt x="190" y="47"/>
                    </a:lnTo>
                    <a:lnTo>
                      <a:pt x="192" y="47"/>
                    </a:lnTo>
                    <a:lnTo>
                      <a:pt x="192" y="48"/>
                    </a:lnTo>
                    <a:lnTo>
                      <a:pt x="192" y="50"/>
                    </a:lnTo>
                    <a:lnTo>
                      <a:pt x="190" y="52"/>
                    </a:lnTo>
                    <a:lnTo>
                      <a:pt x="192" y="52"/>
                    </a:lnTo>
                    <a:lnTo>
                      <a:pt x="192" y="54"/>
                    </a:lnTo>
                    <a:lnTo>
                      <a:pt x="194" y="52"/>
                    </a:lnTo>
                    <a:lnTo>
                      <a:pt x="194" y="50"/>
                    </a:lnTo>
                    <a:lnTo>
                      <a:pt x="196" y="52"/>
                    </a:lnTo>
                    <a:lnTo>
                      <a:pt x="198" y="54"/>
                    </a:lnTo>
                    <a:lnTo>
                      <a:pt x="198" y="56"/>
                    </a:lnTo>
                    <a:lnTo>
                      <a:pt x="200" y="56"/>
                    </a:lnTo>
                    <a:lnTo>
                      <a:pt x="200" y="54"/>
                    </a:lnTo>
                    <a:lnTo>
                      <a:pt x="200" y="56"/>
                    </a:lnTo>
                    <a:lnTo>
                      <a:pt x="200" y="54"/>
                    </a:lnTo>
                    <a:lnTo>
                      <a:pt x="200" y="56"/>
                    </a:lnTo>
                    <a:lnTo>
                      <a:pt x="202" y="56"/>
                    </a:lnTo>
                    <a:lnTo>
                      <a:pt x="202" y="54"/>
                    </a:lnTo>
                    <a:lnTo>
                      <a:pt x="202" y="56"/>
                    </a:lnTo>
                    <a:lnTo>
                      <a:pt x="202" y="54"/>
                    </a:lnTo>
                    <a:lnTo>
                      <a:pt x="202" y="56"/>
                    </a:lnTo>
                    <a:lnTo>
                      <a:pt x="204" y="56"/>
                    </a:lnTo>
                    <a:lnTo>
                      <a:pt x="202" y="58"/>
                    </a:lnTo>
                    <a:lnTo>
                      <a:pt x="202" y="60"/>
                    </a:lnTo>
                    <a:lnTo>
                      <a:pt x="204" y="60"/>
                    </a:lnTo>
                    <a:lnTo>
                      <a:pt x="206" y="60"/>
                    </a:lnTo>
                    <a:lnTo>
                      <a:pt x="204" y="60"/>
                    </a:lnTo>
                    <a:lnTo>
                      <a:pt x="206" y="58"/>
                    </a:lnTo>
                    <a:lnTo>
                      <a:pt x="206" y="60"/>
                    </a:lnTo>
                    <a:lnTo>
                      <a:pt x="206" y="62"/>
                    </a:lnTo>
                    <a:lnTo>
                      <a:pt x="208" y="62"/>
                    </a:lnTo>
                    <a:lnTo>
                      <a:pt x="206" y="62"/>
                    </a:lnTo>
                    <a:lnTo>
                      <a:pt x="206" y="64"/>
                    </a:lnTo>
                    <a:lnTo>
                      <a:pt x="206" y="66"/>
                    </a:lnTo>
                    <a:lnTo>
                      <a:pt x="208" y="66"/>
                    </a:lnTo>
                    <a:lnTo>
                      <a:pt x="208" y="68"/>
                    </a:lnTo>
                    <a:lnTo>
                      <a:pt x="208" y="70"/>
                    </a:lnTo>
                    <a:lnTo>
                      <a:pt x="210" y="70"/>
                    </a:lnTo>
                    <a:lnTo>
                      <a:pt x="208" y="70"/>
                    </a:lnTo>
                    <a:lnTo>
                      <a:pt x="208" y="72"/>
                    </a:lnTo>
                    <a:lnTo>
                      <a:pt x="208" y="73"/>
                    </a:lnTo>
                    <a:lnTo>
                      <a:pt x="206" y="73"/>
                    </a:lnTo>
                    <a:lnTo>
                      <a:pt x="206" y="75"/>
                    </a:lnTo>
                    <a:lnTo>
                      <a:pt x="208" y="75"/>
                    </a:lnTo>
                    <a:lnTo>
                      <a:pt x="206" y="77"/>
                    </a:lnTo>
                    <a:lnTo>
                      <a:pt x="206" y="75"/>
                    </a:lnTo>
                    <a:lnTo>
                      <a:pt x="206" y="77"/>
                    </a:lnTo>
                    <a:lnTo>
                      <a:pt x="208" y="77"/>
                    </a:lnTo>
                    <a:lnTo>
                      <a:pt x="208" y="79"/>
                    </a:lnTo>
                    <a:lnTo>
                      <a:pt x="208" y="81"/>
                    </a:lnTo>
                    <a:lnTo>
                      <a:pt x="206" y="81"/>
                    </a:lnTo>
                    <a:lnTo>
                      <a:pt x="208" y="81"/>
                    </a:lnTo>
                    <a:lnTo>
                      <a:pt x="206" y="81"/>
                    </a:lnTo>
                    <a:lnTo>
                      <a:pt x="204" y="85"/>
                    </a:lnTo>
                    <a:lnTo>
                      <a:pt x="204" y="87"/>
                    </a:lnTo>
                    <a:lnTo>
                      <a:pt x="202" y="87"/>
                    </a:lnTo>
                    <a:lnTo>
                      <a:pt x="200" y="89"/>
                    </a:lnTo>
                    <a:lnTo>
                      <a:pt x="198" y="89"/>
                    </a:lnTo>
                    <a:lnTo>
                      <a:pt x="196" y="89"/>
                    </a:lnTo>
                    <a:lnTo>
                      <a:pt x="196" y="91"/>
                    </a:lnTo>
                    <a:lnTo>
                      <a:pt x="198" y="91"/>
                    </a:lnTo>
                    <a:lnTo>
                      <a:pt x="196" y="93"/>
                    </a:lnTo>
                    <a:lnTo>
                      <a:pt x="194" y="95"/>
                    </a:lnTo>
                    <a:lnTo>
                      <a:pt x="194" y="97"/>
                    </a:lnTo>
                    <a:lnTo>
                      <a:pt x="192" y="97"/>
                    </a:lnTo>
                    <a:lnTo>
                      <a:pt x="196" y="98"/>
                    </a:lnTo>
                    <a:lnTo>
                      <a:pt x="198" y="98"/>
                    </a:lnTo>
                    <a:lnTo>
                      <a:pt x="200" y="100"/>
                    </a:lnTo>
                    <a:lnTo>
                      <a:pt x="200" y="98"/>
                    </a:lnTo>
                    <a:lnTo>
                      <a:pt x="202" y="98"/>
                    </a:lnTo>
                    <a:lnTo>
                      <a:pt x="200" y="98"/>
                    </a:lnTo>
                    <a:lnTo>
                      <a:pt x="202" y="100"/>
                    </a:lnTo>
                    <a:lnTo>
                      <a:pt x="204" y="100"/>
                    </a:lnTo>
                    <a:lnTo>
                      <a:pt x="202" y="102"/>
                    </a:lnTo>
                    <a:lnTo>
                      <a:pt x="202" y="104"/>
                    </a:lnTo>
                    <a:lnTo>
                      <a:pt x="204" y="104"/>
                    </a:lnTo>
                    <a:lnTo>
                      <a:pt x="204" y="102"/>
                    </a:lnTo>
                    <a:lnTo>
                      <a:pt x="206" y="102"/>
                    </a:lnTo>
                    <a:lnTo>
                      <a:pt x="206" y="104"/>
                    </a:lnTo>
                    <a:lnTo>
                      <a:pt x="208" y="104"/>
                    </a:lnTo>
                    <a:lnTo>
                      <a:pt x="208" y="106"/>
                    </a:lnTo>
                    <a:lnTo>
                      <a:pt x="210" y="106"/>
                    </a:lnTo>
                    <a:lnTo>
                      <a:pt x="210" y="104"/>
                    </a:lnTo>
                    <a:lnTo>
                      <a:pt x="212" y="100"/>
                    </a:lnTo>
                    <a:lnTo>
                      <a:pt x="212" y="98"/>
                    </a:lnTo>
                    <a:lnTo>
                      <a:pt x="213" y="97"/>
                    </a:lnTo>
                    <a:lnTo>
                      <a:pt x="215" y="97"/>
                    </a:lnTo>
                    <a:lnTo>
                      <a:pt x="217" y="97"/>
                    </a:lnTo>
                    <a:lnTo>
                      <a:pt x="221" y="97"/>
                    </a:lnTo>
                    <a:lnTo>
                      <a:pt x="221" y="98"/>
                    </a:lnTo>
                    <a:lnTo>
                      <a:pt x="221" y="100"/>
                    </a:lnTo>
                    <a:lnTo>
                      <a:pt x="221" y="102"/>
                    </a:lnTo>
                    <a:lnTo>
                      <a:pt x="221" y="104"/>
                    </a:lnTo>
                    <a:lnTo>
                      <a:pt x="223" y="104"/>
                    </a:lnTo>
                    <a:lnTo>
                      <a:pt x="223" y="106"/>
                    </a:lnTo>
                    <a:lnTo>
                      <a:pt x="225" y="108"/>
                    </a:lnTo>
                    <a:lnTo>
                      <a:pt x="223" y="110"/>
                    </a:lnTo>
                    <a:lnTo>
                      <a:pt x="221" y="110"/>
                    </a:lnTo>
                    <a:lnTo>
                      <a:pt x="219" y="116"/>
                    </a:lnTo>
                    <a:lnTo>
                      <a:pt x="225" y="120"/>
                    </a:lnTo>
                    <a:lnTo>
                      <a:pt x="227" y="116"/>
                    </a:lnTo>
                    <a:lnTo>
                      <a:pt x="229" y="118"/>
                    </a:lnTo>
                    <a:lnTo>
                      <a:pt x="231" y="120"/>
                    </a:lnTo>
                    <a:lnTo>
                      <a:pt x="233" y="122"/>
                    </a:lnTo>
                    <a:lnTo>
                      <a:pt x="235" y="122"/>
                    </a:lnTo>
                    <a:lnTo>
                      <a:pt x="233" y="122"/>
                    </a:lnTo>
                    <a:lnTo>
                      <a:pt x="233" y="120"/>
                    </a:lnTo>
                    <a:lnTo>
                      <a:pt x="233" y="122"/>
                    </a:lnTo>
                    <a:lnTo>
                      <a:pt x="233" y="120"/>
                    </a:lnTo>
                    <a:lnTo>
                      <a:pt x="233" y="118"/>
                    </a:lnTo>
                    <a:lnTo>
                      <a:pt x="235" y="118"/>
                    </a:lnTo>
                    <a:lnTo>
                      <a:pt x="235" y="116"/>
                    </a:lnTo>
                    <a:lnTo>
                      <a:pt x="236" y="116"/>
                    </a:lnTo>
                    <a:lnTo>
                      <a:pt x="236" y="118"/>
                    </a:lnTo>
                    <a:lnTo>
                      <a:pt x="238" y="118"/>
                    </a:lnTo>
                    <a:lnTo>
                      <a:pt x="240" y="114"/>
                    </a:lnTo>
                    <a:lnTo>
                      <a:pt x="242" y="114"/>
                    </a:lnTo>
                    <a:lnTo>
                      <a:pt x="242" y="116"/>
                    </a:lnTo>
                    <a:lnTo>
                      <a:pt x="244" y="116"/>
                    </a:lnTo>
                    <a:lnTo>
                      <a:pt x="244" y="118"/>
                    </a:lnTo>
                    <a:lnTo>
                      <a:pt x="244" y="116"/>
                    </a:lnTo>
                    <a:lnTo>
                      <a:pt x="246" y="116"/>
                    </a:lnTo>
                    <a:lnTo>
                      <a:pt x="246" y="118"/>
                    </a:lnTo>
                    <a:lnTo>
                      <a:pt x="246" y="120"/>
                    </a:lnTo>
                    <a:lnTo>
                      <a:pt x="244" y="120"/>
                    </a:lnTo>
                    <a:lnTo>
                      <a:pt x="246" y="122"/>
                    </a:lnTo>
                    <a:lnTo>
                      <a:pt x="248" y="122"/>
                    </a:lnTo>
                    <a:lnTo>
                      <a:pt x="246" y="123"/>
                    </a:lnTo>
                    <a:lnTo>
                      <a:pt x="244" y="125"/>
                    </a:lnTo>
                    <a:lnTo>
                      <a:pt x="246" y="125"/>
                    </a:lnTo>
                    <a:lnTo>
                      <a:pt x="246" y="127"/>
                    </a:lnTo>
                    <a:lnTo>
                      <a:pt x="244" y="129"/>
                    </a:lnTo>
                    <a:lnTo>
                      <a:pt x="246" y="129"/>
                    </a:lnTo>
                    <a:lnTo>
                      <a:pt x="246" y="131"/>
                    </a:lnTo>
                    <a:lnTo>
                      <a:pt x="246" y="133"/>
                    </a:lnTo>
                    <a:lnTo>
                      <a:pt x="250" y="135"/>
                    </a:lnTo>
                    <a:lnTo>
                      <a:pt x="250" y="133"/>
                    </a:lnTo>
                    <a:lnTo>
                      <a:pt x="256" y="137"/>
                    </a:lnTo>
                    <a:lnTo>
                      <a:pt x="252" y="141"/>
                    </a:lnTo>
                    <a:lnTo>
                      <a:pt x="254" y="141"/>
                    </a:lnTo>
                    <a:lnTo>
                      <a:pt x="252" y="145"/>
                    </a:lnTo>
                    <a:lnTo>
                      <a:pt x="254" y="147"/>
                    </a:lnTo>
                    <a:lnTo>
                      <a:pt x="254" y="145"/>
                    </a:lnTo>
                    <a:lnTo>
                      <a:pt x="258" y="148"/>
                    </a:lnTo>
                    <a:lnTo>
                      <a:pt x="258" y="150"/>
                    </a:lnTo>
                    <a:lnTo>
                      <a:pt x="256" y="150"/>
                    </a:lnTo>
                    <a:lnTo>
                      <a:pt x="254" y="150"/>
                    </a:lnTo>
                    <a:lnTo>
                      <a:pt x="252" y="150"/>
                    </a:lnTo>
                    <a:lnTo>
                      <a:pt x="250" y="152"/>
                    </a:lnTo>
                    <a:lnTo>
                      <a:pt x="250" y="154"/>
                    </a:lnTo>
                    <a:lnTo>
                      <a:pt x="246" y="156"/>
                    </a:lnTo>
                    <a:lnTo>
                      <a:pt x="248" y="160"/>
                    </a:lnTo>
                    <a:lnTo>
                      <a:pt x="246" y="164"/>
                    </a:lnTo>
                    <a:lnTo>
                      <a:pt x="236" y="172"/>
                    </a:lnTo>
                    <a:lnTo>
                      <a:pt x="231" y="172"/>
                    </a:lnTo>
                    <a:lnTo>
                      <a:pt x="227" y="172"/>
                    </a:lnTo>
                    <a:lnTo>
                      <a:pt x="225" y="170"/>
                    </a:lnTo>
                    <a:lnTo>
                      <a:pt x="225" y="172"/>
                    </a:lnTo>
                    <a:lnTo>
                      <a:pt x="223" y="173"/>
                    </a:lnTo>
                    <a:lnTo>
                      <a:pt x="221" y="175"/>
                    </a:lnTo>
                    <a:lnTo>
                      <a:pt x="219" y="179"/>
                    </a:lnTo>
                    <a:lnTo>
                      <a:pt x="215" y="183"/>
                    </a:lnTo>
                    <a:lnTo>
                      <a:pt x="212" y="187"/>
                    </a:lnTo>
                    <a:lnTo>
                      <a:pt x="208" y="193"/>
                    </a:lnTo>
                    <a:lnTo>
                      <a:pt x="204" y="200"/>
                    </a:lnTo>
                    <a:lnTo>
                      <a:pt x="204" y="202"/>
                    </a:lnTo>
                    <a:lnTo>
                      <a:pt x="206" y="206"/>
                    </a:lnTo>
                    <a:lnTo>
                      <a:pt x="208" y="210"/>
                    </a:lnTo>
                    <a:lnTo>
                      <a:pt x="206" y="216"/>
                    </a:lnTo>
                    <a:lnTo>
                      <a:pt x="206" y="218"/>
                    </a:lnTo>
                    <a:lnTo>
                      <a:pt x="204" y="220"/>
                    </a:lnTo>
                    <a:lnTo>
                      <a:pt x="200" y="223"/>
                    </a:lnTo>
                    <a:lnTo>
                      <a:pt x="198" y="223"/>
                    </a:lnTo>
                    <a:lnTo>
                      <a:pt x="196" y="223"/>
                    </a:lnTo>
                    <a:lnTo>
                      <a:pt x="190" y="225"/>
                    </a:lnTo>
                    <a:lnTo>
                      <a:pt x="181" y="235"/>
                    </a:lnTo>
                    <a:lnTo>
                      <a:pt x="175" y="239"/>
                    </a:lnTo>
                    <a:lnTo>
                      <a:pt x="173" y="231"/>
                    </a:lnTo>
                    <a:lnTo>
                      <a:pt x="173" y="229"/>
                    </a:lnTo>
                    <a:lnTo>
                      <a:pt x="171" y="223"/>
                    </a:lnTo>
                    <a:lnTo>
                      <a:pt x="167" y="221"/>
                    </a:lnTo>
                    <a:lnTo>
                      <a:pt x="167" y="220"/>
                    </a:lnTo>
                    <a:lnTo>
                      <a:pt x="165" y="218"/>
                    </a:lnTo>
                    <a:lnTo>
                      <a:pt x="165" y="220"/>
                    </a:lnTo>
                    <a:lnTo>
                      <a:pt x="163" y="218"/>
                    </a:lnTo>
                    <a:lnTo>
                      <a:pt x="163" y="216"/>
                    </a:lnTo>
                    <a:lnTo>
                      <a:pt x="162" y="216"/>
                    </a:lnTo>
                    <a:lnTo>
                      <a:pt x="160" y="216"/>
                    </a:lnTo>
                    <a:lnTo>
                      <a:pt x="158" y="218"/>
                    </a:lnTo>
                    <a:lnTo>
                      <a:pt x="158" y="220"/>
                    </a:lnTo>
                    <a:lnTo>
                      <a:pt x="156" y="220"/>
                    </a:lnTo>
                    <a:lnTo>
                      <a:pt x="154" y="221"/>
                    </a:lnTo>
                    <a:lnTo>
                      <a:pt x="152" y="221"/>
                    </a:lnTo>
                    <a:lnTo>
                      <a:pt x="146" y="223"/>
                    </a:lnTo>
                    <a:lnTo>
                      <a:pt x="144" y="223"/>
                    </a:lnTo>
                    <a:lnTo>
                      <a:pt x="142" y="223"/>
                    </a:lnTo>
                    <a:lnTo>
                      <a:pt x="140" y="223"/>
                    </a:lnTo>
                    <a:lnTo>
                      <a:pt x="139" y="223"/>
                    </a:lnTo>
                    <a:lnTo>
                      <a:pt x="139" y="225"/>
                    </a:lnTo>
                    <a:lnTo>
                      <a:pt x="139" y="223"/>
                    </a:lnTo>
                    <a:lnTo>
                      <a:pt x="137" y="223"/>
                    </a:lnTo>
                    <a:lnTo>
                      <a:pt x="135" y="223"/>
                    </a:lnTo>
                    <a:lnTo>
                      <a:pt x="135" y="221"/>
                    </a:lnTo>
                    <a:lnTo>
                      <a:pt x="133" y="221"/>
                    </a:lnTo>
                    <a:lnTo>
                      <a:pt x="133" y="223"/>
                    </a:lnTo>
                    <a:lnTo>
                      <a:pt x="133" y="221"/>
                    </a:lnTo>
                    <a:lnTo>
                      <a:pt x="131" y="221"/>
                    </a:lnTo>
                    <a:lnTo>
                      <a:pt x="131" y="223"/>
                    </a:lnTo>
                    <a:lnTo>
                      <a:pt x="131" y="221"/>
                    </a:lnTo>
                    <a:lnTo>
                      <a:pt x="131" y="223"/>
                    </a:lnTo>
                    <a:lnTo>
                      <a:pt x="131" y="221"/>
                    </a:lnTo>
                    <a:lnTo>
                      <a:pt x="129" y="221"/>
                    </a:lnTo>
                    <a:lnTo>
                      <a:pt x="129" y="220"/>
                    </a:lnTo>
                    <a:lnTo>
                      <a:pt x="129" y="221"/>
                    </a:lnTo>
                    <a:lnTo>
                      <a:pt x="127" y="221"/>
                    </a:lnTo>
                    <a:lnTo>
                      <a:pt x="127" y="220"/>
                    </a:lnTo>
                    <a:lnTo>
                      <a:pt x="125" y="220"/>
                    </a:lnTo>
                    <a:lnTo>
                      <a:pt x="125" y="221"/>
                    </a:lnTo>
                    <a:lnTo>
                      <a:pt x="125" y="223"/>
                    </a:lnTo>
                    <a:lnTo>
                      <a:pt x="125" y="221"/>
                    </a:lnTo>
                    <a:lnTo>
                      <a:pt x="125" y="223"/>
                    </a:lnTo>
                    <a:lnTo>
                      <a:pt x="127" y="223"/>
                    </a:lnTo>
                    <a:lnTo>
                      <a:pt x="127" y="225"/>
                    </a:lnTo>
                    <a:lnTo>
                      <a:pt x="129" y="225"/>
                    </a:lnTo>
                    <a:lnTo>
                      <a:pt x="127" y="227"/>
                    </a:lnTo>
                    <a:lnTo>
                      <a:pt x="129" y="227"/>
                    </a:lnTo>
                    <a:lnTo>
                      <a:pt x="127" y="227"/>
                    </a:lnTo>
                    <a:lnTo>
                      <a:pt x="129" y="227"/>
                    </a:lnTo>
                    <a:lnTo>
                      <a:pt x="129" y="229"/>
                    </a:lnTo>
                    <a:lnTo>
                      <a:pt x="127" y="229"/>
                    </a:lnTo>
                    <a:lnTo>
                      <a:pt x="125" y="229"/>
                    </a:lnTo>
                    <a:lnTo>
                      <a:pt x="125" y="227"/>
                    </a:lnTo>
                    <a:lnTo>
                      <a:pt x="125" y="225"/>
                    </a:lnTo>
                    <a:lnTo>
                      <a:pt x="123" y="225"/>
                    </a:lnTo>
                    <a:lnTo>
                      <a:pt x="121" y="225"/>
                    </a:lnTo>
                    <a:lnTo>
                      <a:pt x="121" y="223"/>
                    </a:lnTo>
                    <a:lnTo>
                      <a:pt x="119" y="223"/>
                    </a:lnTo>
                    <a:lnTo>
                      <a:pt x="117" y="223"/>
                    </a:lnTo>
                    <a:lnTo>
                      <a:pt x="117" y="225"/>
                    </a:lnTo>
                    <a:lnTo>
                      <a:pt x="115" y="225"/>
                    </a:lnTo>
                    <a:lnTo>
                      <a:pt x="114" y="223"/>
                    </a:lnTo>
                    <a:lnTo>
                      <a:pt x="114" y="225"/>
                    </a:lnTo>
                    <a:lnTo>
                      <a:pt x="114" y="227"/>
                    </a:lnTo>
                    <a:lnTo>
                      <a:pt x="112" y="229"/>
                    </a:lnTo>
                    <a:lnTo>
                      <a:pt x="112" y="227"/>
                    </a:lnTo>
                    <a:lnTo>
                      <a:pt x="112" y="229"/>
                    </a:lnTo>
                    <a:lnTo>
                      <a:pt x="108" y="231"/>
                    </a:lnTo>
                    <a:lnTo>
                      <a:pt x="108" y="233"/>
                    </a:lnTo>
                    <a:lnTo>
                      <a:pt x="110" y="237"/>
                    </a:lnTo>
                    <a:lnTo>
                      <a:pt x="114" y="239"/>
                    </a:lnTo>
                    <a:lnTo>
                      <a:pt x="112" y="241"/>
                    </a:lnTo>
                    <a:lnTo>
                      <a:pt x="114" y="245"/>
                    </a:lnTo>
                    <a:lnTo>
                      <a:pt x="112" y="248"/>
                    </a:lnTo>
                    <a:lnTo>
                      <a:pt x="110" y="246"/>
                    </a:lnTo>
                    <a:lnTo>
                      <a:pt x="108" y="245"/>
                    </a:lnTo>
                    <a:lnTo>
                      <a:pt x="106" y="241"/>
                    </a:lnTo>
                    <a:lnTo>
                      <a:pt x="106" y="239"/>
                    </a:lnTo>
                    <a:lnTo>
                      <a:pt x="104" y="239"/>
                    </a:lnTo>
                    <a:lnTo>
                      <a:pt x="104" y="237"/>
                    </a:lnTo>
                    <a:lnTo>
                      <a:pt x="102" y="237"/>
                    </a:lnTo>
                    <a:lnTo>
                      <a:pt x="102" y="239"/>
                    </a:lnTo>
                    <a:lnTo>
                      <a:pt x="102" y="241"/>
                    </a:lnTo>
                    <a:lnTo>
                      <a:pt x="100" y="241"/>
                    </a:lnTo>
                    <a:lnTo>
                      <a:pt x="96" y="243"/>
                    </a:lnTo>
                    <a:lnTo>
                      <a:pt x="94" y="243"/>
                    </a:lnTo>
                    <a:lnTo>
                      <a:pt x="92" y="241"/>
                    </a:lnTo>
                    <a:lnTo>
                      <a:pt x="92" y="239"/>
                    </a:lnTo>
                    <a:lnTo>
                      <a:pt x="90" y="239"/>
                    </a:lnTo>
                    <a:lnTo>
                      <a:pt x="90" y="241"/>
                    </a:lnTo>
                    <a:lnTo>
                      <a:pt x="89" y="241"/>
                    </a:lnTo>
                    <a:lnTo>
                      <a:pt x="89" y="239"/>
                    </a:lnTo>
                    <a:lnTo>
                      <a:pt x="87" y="239"/>
                    </a:lnTo>
                    <a:lnTo>
                      <a:pt x="89" y="233"/>
                    </a:lnTo>
                    <a:lnTo>
                      <a:pt x="90" y="229"/>
                    </a:lnTo>
                    <a:lnTo>
                      <a:pt x="89" y="229"/>
                    </a:lnTo>
                    <a:lnTo>
                      <a:pt x="89" y="227"/>
                    </a:lnTo>
                    <a:lnTo>
                      <a:pt x="89" y="225"/>
                    </a:lnTo>
                    <a:lnTo>
                      <a:pt x="87" y="225"/>
                    </a:lnTo>
                    <a:lnTo>
                      <a:pt x="87" y="223"/>
                    </a:lnTo>
                    <a:lnTo>
                      <a:pt x="85" y="223"/>
                    </a:lnTo>
                    <a:lnTo>
                      <a:pt x="79" y="235"/>
                    </a:lnTo>
                    <a:lnTo>
                      <a:pt x="81" y="237"/>
                    </a:lnTo>
                    <a:lnTo>
                      <a:pt x="81" y="239"/>
                    </a:lnTo>
                    <a:lnTo>
                      <a:pt x="79" y="241"/>
                    </a:lnTo>
                    <a:lnTo>
                      <a:pt x="79" y="243"/>
                    </a:lnTo>
                    <a:lnTo>
                      <a:pt x="77" y="243"/>
                    </a:lnTo>
                    <a:lnTo>
                      <a:pt x="75" y="245"/>
                    </a:lnTo>
                    <a:lnTo>
                      <a:pt x="73" y="246"/>
                    </a:lnTo>
                    <a:lnTo>
                      <a:pt x="71" y="246"/>
                    </a:lnTo>
                    <a:lnTo>
                      <a:pt x="71" y="245"/>
                    </a:lnTo>
                    <a:lnTo>
                      <a:pt x="67" y="241"/>
                    </a:lnTo>
                    <a:lnTo>
                      <a:pt x="67" y="243"/>
                    </a:lnTo>
                    <a:lnTo>
                      <a:pt x="67" y="241"/>
                    </a:lnTo>
                    <a:lnTo>
                      <a:pt x="66" y="239"/>
                    </a:lnTo>
                    <a:lnTo>
                      <a:pt x="64" y="239"/>
                    </a:lnTo>
                    <a:lnTo>
                      <a:pt x="62" y="241"/>
                    </a:lnTo>
                    <a:lnTo>
                      <a:pt x="62" y="243"/>
                    </a:lnTo>
                    <a:lnTo>
                      <a:pt x="60" y="243"/>
                    </a:lnTo>
                    <a:lnTo>
                      <a:pt x="56" y="245"/>
                    </a:lnTo>
                    <a:lnTo>
                      <a:pt x="54" y="245"/>
                    </a:lnTo>
                    <a:lnTo>
                      <a:pt x="54" y="243"/>
                    </a:lnTo>
                    <a:lnTo>
                      <a:pt x="54" y="245"/>
                    </a:lnTo>
                    <a:lnTo>
                      <a:pt x="54" y="243"/>
                    </a:lnTo>
                    <a:lnTo>
                      <a:pt x="50" y="243"/>
                    </a:lnTo>
                    <a:lnTo>
                      <a:pt x="48" y="243"/>
                    </a:lnTo>
                    <a:lnTo>
                      <a:pt x="46" y="243"/>
                    </a:lnTo>
                    <a:lnTo>
                      <a:pt x="39" y="252"/>
                    </a:lnTo>
                    <a:lnTo>
                      <a:pt x="39" y="256"/>
                    </a:lnTo>
                    <a:lnTo>
                      <a:pt x="39" y="258"/>
                    </a:lnTo>
                    <a:lnTo>
                      <a:pt x="37" y="258"/>
                    </a:lnTo>
                    <a:lnTo>
                      <a:pt x="37" y="256"/>
                    </a:lnTo>
                    <a:lnTo>
                      <a:pt x="37" y="258"/>
                    </a:lnTo>
                    <a:lnTo>
                      <a:pt x="37" y="256"/>
                    </a:lnTo>
                    <a:lnTo>
                      <a:pt x="37" y="258"/>
                    </a:lnTo>
                    <a:lnTo>
                      <a:pt x="35" y="258"/>
                    </a:lnTo>
                    <a:lnTo>
                      <a:pt x="35" y="256"/>
                    </a:lnTo>
                    <a:lnTo>
                      <a:pt x="35" y="254"/>
                    </a:lnTo>
                    <a:lnTo>
                      <a:pt x="33" y="252"/>
                    </a:lnTo>
                    <a:lnTo>
                      <a:pt x="31" y="252"/>
                    </a:lnTo>
                    <a:lnTo>
                      <a:pt x="29" y="252"/>
                    </a:lnTo>
                    <a:lnTo>
                      <a:pt x="27" y="252"/>
                    </a:lnTo>
                    <a:lnTo>
                      <a:pt x="25" y="250"/>
                    </a:lnTo>
                    <a:lnTo>
                      <a:pt x="23" y="250"/>
                    </a:lnTo>
                    <a:lnTo>
                      <a:pt x="21" y="250"/>
                    </a:lnTo>
                    <a:lnTo>
                      <a:pt x="19" y="248"/>
                    </a:lnTo>
                    <a:lnTo>
                      <a:pt x="19" y="246"/>
                    </a:lnTo>
                    <a:lnTo>
                      <a:pt x="19" y="245"/>
                    </a:lnTo>
                    <a:lnTo>
                      <a:pt x="21" y="245"/>
                    </a:lnTo>
                    <a:lnTo>
                      <a:pt x="21" y="243"/>
                    </a:lnTo>
                    <a:lnTo>
                      <a:pt x="23" y="243"/>
                    </a:lnTo>
                    <a:lnTo>
                      <a:pt x="23" y="241"/>
                    </a:lnTo>
                    <a:lnTo>
                      <a:pt x="19" y="239"/>
                    </a:lnTo>
                    <a:lnTo>
                      <a:pt x="17" y="241"/>
                    </a:lnTo>
                    <a:lnTo>
                      <a:pt x="16" y="241"/>
                    </a:lnTo>
                    <a:lnTo>
                      <a:pt x="14" y="241"/>
                    </a:lnTo>
                    <a:lnTo>
                      <a:pt x="14" y="239"/>
                    </a:lnTo>
                    <a:lnTo>
                      <a:pt x="16" y="231"/>
                    </a:lnTo>
                    <a:lnTo>
                      <a:pt x="16" y="229"/>
                    </a:lnTo>
                    <a:lnTo>
                      <a:pt x="16" y="225"/>
                    </a:lnTo>
                    <a:lnTo>
                      <a:pt x="16" y="221"/>
                    </a:lnTo>
                    <a:lnTo>
                      <a:pt x="17" y="220"/>
                    </a:lnTo>
                    <a:lnTo>
                      <a:pt x="17" y="218"/>
                    </a:lnTo>
                    <a:lnTo>
                      <a:pt x="17" y="216"/>
                    </a:lnTo>
                    <a:lnTo>
                      <a:pt x="19" y="214"/>
                    </a:lnTo>
                    <a:lnTo>
                      <a:pt x="17" y="212"/>
                    </a:lnTo>
                    <a:lnTo>
                      <a:pt x="17" y="210"/>
                    </a:lnTo>
                    <a:lnTo>
                      <a:pt x="17" y="208"/>
                    </a:lnTo>
                    <a:lnTo>
                      <a:pt x="17" y="206"/>
                    </a:lnTo>
                    <a:lnTo>
                      <a:pt x="17" y="204"/>
                    </a:lnTo>
                    <a:lnTo>
                      <a:pt x="17" y="202"/>
                    </a:lnTo>
                    <a:lnTo>
                      <a:pt x="16" y="200"/>
                    </a:lnTo>
                    <a:lnTo>
                      <a:pt x="16" y="198"/>
                    </a:lnTo>
                    <a:lnTo>
                      <a:pt x="16" y="200"/>
                    </a:lnTo>
                    <a:lnTo>
                      <a:pt x="14" y="200"/>
                    </a:lnTo>
                    <a:lnTo>
                      <a:pt x="14" y="198"/>
                    </a:lnTo>
                    <a:lnTo>
                      <a:pt x="12" y="198"/>
                    </a:lnTo>
                    <a:lnTo>
                      <a:pt x="14" y="198"/>
                    </a:lnTo>
                    <a:lnTo>
                      <a:pt x="14" y="197"/>
                    </a:lnTo>
                    <a:lnTo>
                      <a:pt x="12" y="197"/>
                    </a:lnTo>
                    <a:lnTo>
                      <a:pt x="8" y="195"/>
                    </a:lnTo>
                    <a:lnTo>
                      <a:pt x="6" y="195"/>
                    </a:lnTo>
                    <a:lnTo>
                      <a:pt x="4" y="195"/>
                    </a:lnTo>
                    <a:lnTo>
                      <a:pt x="6" y="195"/>
                    </a:lnTo>
                    <a:lnTo>
                      <a:pt x="6" y="193"/>
                    </a:lnTo>
                    <a:lnTo>
                      <a:pt x="4" y="193"/>
                    </a:lnTo>
                    <a:lnTo>
                      <a:pt x="2" y="193"/>
                    </a:lnTo>
                    <a:lnTo>
                      <a:pt x="2" y="191"/>
                    </a:lnTo>
                    <a:lnTo>
                      <a:pt x="0" y="191"/>
                    </a:lnTo>
                    <a:lnTo>
                      <a:pt x="2" y="191"/>
                    </a:lnTo>
                    <a:lnTo>
                      <a:pt x="2" y="189"/>
                    </a:lnTo>
                    <a:lnTo>
                      <a:pt x="4" y="187"/>
                    </a:lnTo>
                    <a:lnTo>
                      <a:pt x="6" y="187"/>
                    </a:lnTo>
                    <a:lnTo>
                      <a:pt x="8" y="185"/>
                    </a:lnTo>
                    <a:lnTo>
                      <a:pt x="8" y="187"/>
                    </a:lnTo>
                    <a:lnTo>
                      <a:pt x="10" y="181"/>
                    </a:lnTo>
                    <a:lnTo>
                      <a:pt x="12" y="179"/>
                    </a:lnTo>
                    <a:lnTo>
                      <a:pt x="10" y="179"/>
                    </a:lnTo>
                    <a:lnTo>
                      <a:pt x="12" y="177"/>
                    </a:lnTo>
                    <a:lnTo>
                      <a:pt x="16" y="179"/>
                    </a:lnTo>
                    <a:lnTo>
                      <a:pt x="17" y="172"/>
                    </a:lnTo>
                    <a:lnTo>
                      <a:pt x="17" y="170"/>
                    </a:lnTo>
                    <a:lnTo>
                      <a:pt x="19" y="170"/>
                    </a:lnTo>
                    <a:lnTo>
                      <a:pt x="21" y="168"/>
                    </a:lnTo>
                    <a:lnTo>
                      <a:pt x="23" y="168"/>
                    </a:lnTo>
                    <a:lnTo>
                      <a:pt x="27" y="168"/>
                    </a:lnTo>
                    <a:lnTo>
                      <a:pt x="29" y="168"/>
                    </a:lnTo>
                    <a:lnTo>
                      <a:pt x="29" y="170"/>
                    </a:lnTo>
                    <a:lnTo>
                      <a:pt x="29" y="168"/>
                    </a:lnTo>
                    <a:lnTo>
                      <a:pt x="29" y="170"/>
                    </a:lnTo>
                    <a:lnTo>
                      <a:pt x="31" y="170"/>
                    </a:lnTo>
                    <a:lnTo>
                      <a:pt x="33" y="170"/>
                    </a:lnTo>
                    <a:lnTo>
                      <a:pt x="31" y="170"/>
                    </a:lnTo>
                    <a:lnTo>
                      <a:pt x="33" y="170"/>
                    </a:lnTo>
                    <a:lnTo>
                      <a:pt x="33" y="172"/>
                    </a:lnTo>
                    <a:lnTo>
                      <a:pt x="33" y="170"/>
                    </a:lnTo>
                    <a:lnTo>
                      <a:pt x="33" y="172"/>
                    </a:lnTo>
                    <a:lnTo>
                      <a:pt x="35" y="172"/>
                    </a:lnTo>
                    <a:lnTo>
                      <a:pt x="35" y="170"/>
                    </a:lnTo>
                    <a:lnTo>
                      <a:pt x="35" y="172"/>
                    </a:lnTo>
                    <a:lnTo>
                      <a:pt x="37" y="172"/>
                    </a:lnTo>
                    <a:lnTo>
                      <a:pt x="39" y="172"/>
                    </a:lnTo>
                    <a:lnTo>
                      <a:pt x="37" y="172"/>
                    </a:lnTo>
                    <a:lnTo>
                      <a:pt x="39" y="172"/>
                    </a:lnTo>
                    <a:lnTo>
                      <a:pt x="39" y="170"/>
                    </a:lnTo>
                    <a:lnTo>
                      <a:pt x="39" y="172"/>
                    </a:lnTo>
                    <a:lnTo>
                      <a:pt x="41" y="172"/>
                    </a:lnTo>
                    <a:lnTo>
                      <a:pt x="41" y="170"/>
                    </a:lnTo>
                    <a:lnTo>
                      <a:pt x="42" y="170"/>
                    </a:lnTo>
                    <a:lnTo>
                      <a:pt x="44" y="172"/>
                    </a:lnTo>
                    <a:lnTo>
                      <a:pt x="44" y="170"/>
                    </a:lnTo>
                    <a:lnTo>
                      <a:pt x="44" y="168"/>
                    </a:lnTo>
                    <a:lnTo>
                      <a:pt x="44" y="166"/>
                    </a:lnTo>
                    <a:lnTo>
                      <a:pt x="46" y="166"/>
                    </a:lnTo>
                    <a:lnTo>
                      <a:pt x="46" y="164"/>
                    </a:lnTo>
                    <a:lnTo>
                      <a:pt x="46" y="162"/>
                    </a:lnTo>
                    <a:lnTo>
                      <a:pt x="48" y="162"/>
                    </a:lnTo>
                    <a:lnTo>
                      <a:pt x="52" y="160"/>
                    </a:lnTo>
                    <a:lnTo>
                      <a:pt x="54" y="158"/>
                    </a:lnTo>
                    <a:lnTo>
                      <a:pt x="54" y="156"/>
                    </a:lnTo>
                    <a:lnTo>
                      <a:pt x="54" y="154"/>
                    </a:lnTo>
                    <a:lnTo>
                      <a:pt x="52" y="154"/>
                    </a:lnTo>
                    <a:lnTo>
                      <a:pt x="52" y="152"/>
                    </a:lnTo>
                    <a:lnTo>
                      <a:pt x="56" y="148"/>
                    </a:lnTo>
                    <a:lnTo>
                      <a:pt x="54" y="148"/>
                    </a:lnTo>
                    <a:lnTo>
                      <a:pt x="54" y="147"/>
                    </a:lnTo>
                    <a:lnTo>
                      <a:pt x="52" y="145"/>
                    </a:lnTo>
                    <a:lnTo>
                      <a:pt x="52" y="143"/>
                    </a:lnTo>
                    <a:lnTo>
                      <a:pt x="52" y="141"/>
                    </a:lnTo>
                    <a:lnTo>
                      <a:pt x="50" y="141"/>
                    </a:lnTo>
                    <a:lnTo>
                      <a:pt x="48" y="141"/>
                    </a:lnTo>
                    <a:lnTo>
                      <a:pt x="48" y="139"/>
                    </a:lnTo>
                    <a:lnTo>
                      <a:pt x="48" y="137"/>
                    </a:lnTo>
                    <a:lnTo>
                      <a:pt x="48" y="135"/>
                    </a:lnTo>
                    <a:lnTo>
                      <a:pt x="50" y="137"/>
                    </a:lnTo>
                    <a:lnTo>
                      <a:pt x="50" y="135"/>
                    </a:lnTo>
                    <a:lnTo>
                      <a:pt x="52" y="133"/>
                    </a:lnTo>
                    <a:lnTo>
                      <a:pt x="50" y="133"/>
                    </a:lnTo>
                    <a:lnTo>
                      <a:pt x="50" y="131"/>
                    </a:lnTo>
                    <a:lnTo>
                      <a:pt x="52" y="131"/>
                    </a:lnTo>
                    <a:lnTo>
                      <a:pt x="46" y="129"/>
                    </a:lnTo>
                    <a:lnTo>
                      <a:pt x="44" y="127"/>
                    </a:lnTo>
                    <a:lnTo>
                      <a:pt x="42" y="127"/>
                    </a:lnTo>
                    <a:lnTo>
                      <a:pt x="42" y="125"/>
                    </a:lnTo>
                    <a:lnTo>
                      <a:pt x="42" y="123"/>
                    </a:lnTo>
                    <a:lnTo>
                      <a:pt x="44" y="123"/>
                    </a:lnTo>
                    <a:lnTo>
                      <a:pt x="42" y="123"/>
                    </a:lnTo>
                    <a:lnTo>
                      <a:pt x="44" y="123"/>
                    </a:lnTo>
                    <a:lnTo>
                      <a:pt x="46" y="123"/>
                    </a:lnTo>
                    <a:lnTo>
                      <a:pt x="44" y="122"/>
                    </a:lnTo>
                    <a:lnTo>
                      <a:pt x="44" y="120"/>
                    </a:lnTo>
                    <a:lnTo>
                      <a:pt x="46" y="118"/>
                    </a:lnTo>
                    <a:lnTo>
                      <a:pt x="46" y="120"/>
                    </a:lnTo>
                    <a:lnTo>
                      <a:pt x="48" y="118"/>
                    </a:lnTo>
                    <a:lnTo>
                      <a:pt x="50" y="116"/>
                    </a:lnTo>
                    <a:lnTo>
                      <a:pt x="48" y="116"/>
                    </a:lnTo>
                    <a:lnTo>
                      <a:pt x="50" y="114"/>
                    </a:lnTo>
                    <a:lnTo>
                      <a:pt x="48" y="114"/>
                    </a:lnTo>
                    <a:lnTo>
                      <a:pt x="48" y="112"/>
                    </a:lnTo>
                    <a:lnTo>
                      <a:pt x="50" y="112"/>
                    </a:lnTo>
                    <a:lnTo>
                      <a:pt x="50" y="110"/>
                    </a:lnTo>
                    <a:lnTo>
                      <a:pt x="52" y="108"/>
                    </a:lnTo>
                    <a:lnTo>
                      <a:pt x="54" y="106"/>
                    </a:lnTo>
                    <a:lnTo>
                      <a:pt x="54" y="104"/>
                    </a:lnTo>
                    <a:lnTo>
                      <a:pt x="56" y="104"/>
                    </a:lnTo>
                    <a:lnTo>
                      <a:pt x="58" y="104"/>
                    </a:lnTo>
                    <a:lnTo>
                      <a:pt x="58" y="102"/>
                    </a:lnTo>
                    <a:lnTo>
                      <a:pt x="60" y="100"/>
                    </a:lnTo>
                    <a:lnTo>
                      <a:pt x="62" y="98"/>
                    </a:lnTo>
                    <a:lnTo>
                      <a:pt x="66" y="97"/>
                    </a:lnTo>
                    <a:lnTo>
                      <a:pt x="66" y="95"/>
                    </a:lnTo>
                    <a:lnTo>
                      <a:pt x="66" y="93"/>
                    </a:lnTo>
                    <a:lnTo>
                      <a:pt x="66" y="91"/>
                    </a:lnTo>
                    <a:lnTo>
                      <a:pt x="66" y="89"/>
                    </a:lnTo>
                    <a:lnTo>
                      <a:pt x="66" y="87"/>
                    </a:lnTo>
                    <a:lnTo>
                      <a:pt x="66" y="85"/>
                    </a:lnTo>
                    <a:lnTo>
                      <a:pt x="64" y="83"/>
                    </a:lnTo>
                    <a:lnTo>
                      <a:pt x="64" y="81"/>
                    </a:lnTo>
                    <a:lnTo>
                      <a:pt x="64" y="79"/>
                    </a:lnTo>
                    <a:lnTo>
                      <a:pt x="64" y="77"/>
                    </a:lnTo>
                    <a:lnTo>
                      <a:pt x="64" y="75"/>
                    </a:lnTo>
                    <a:lnTo>
                      <a:pt x="62" y="75"/>
                    </a:lnTo>
                    <a:lnTo>
                      <a:pt x="60" y="73"/>
                    </a:lnTo>
                    <a:lnTo>
                      <a:pt x="60" y="72"/>
                    </a:lnTo>
                    <a:lnTo>
                      <a:pt x="60" y="70"/>
                    </a:lnTo>
                    <a:lnTo>
                      <a:pt x="58" y="68"/>
                    </a:lnTo>
                    <a:lnTo>
                      <a:pt x="58" y="66"/>
                    </a:lnTo>
                    <a:lnTo>
                      <a:pt x="58" y="64"/>
                    </a:lnTo>
                    <a:lnTo>
                      <a:pt x="60" y="64"/>
                    </a:lnTo>
                    <a:lnTo>
                      <a:pt x="60" y="62"/>
                    </a:lnTo>
                    <a:lnTo>
                      <a:pt x="58" y="58"/>
                    </a:lnTo>
                    <a:lnTo>
                      <a:pt x="58" y="56"/>
                    </a:lnTo>
                    <a:lnTo>
                      <a:pt x="58" y="54"/>
                    </a:lnTo>
                    <a:lnTo>
                      <a:pt x="60" y="48"/>
                    </a:lnTo>
                    <a:lnTo>
                      <a:pt x="62" y="47"/>
                    </a:lnTo>
                    <a:lnTo>
                      <a:pt x="69" y="43"/>
                    </a:lnTo>
                    <a:lnTo>
                      <a:pt x="69" y="39"/>
                    </a:lnTo>
                    <a:lnTo>
                      <a:pt x="71" y="33"/>
                    </a:lnTo>
                    <a:lnTo>
                      <a:pt x="75" y="29"/>
                    </a:lnTo>
                    <a:lnTo>
                      <a:pt x="77" y="29"/>
                    </a:lnTo>
                    <a:lnTo>
                      <a:pt x="77" y="27"/>
                    </a:lnTo>
                    <a:lnTo>
                      <a:pt x="75" y="25"/>
                    </a:lnTo>
                    <a:lnTo>
                      <a:pt x="75" y="22"/>
                    </a:lnTo>
                    <a:lnTo>
                      <a:pt x="75" y="20"/>
                    </a:lnTo>
                    <a:lnTo>
                      <a:pt x="75" y="18"/>
                    </a:lnTo>
                    <a:lnTo>
                      <a:pt x="75" y="14"/>
                    </a:lnTo>
                    <a:lnTo>
                      <a:pt x="73" y="12"/>
                    </a:lnTo>
                    <a:lnTo>
                      <a:pt x="73" y="10"/>
                    </a:lnTo>
                    <a:lnTo>
                      <a:pt x="73" y="12"/>
                    </a:lnTo>
                    <a:lnTo>
                      <a:pt x="79" y="12"/>
                    </a:lnTo>
                    <a:lnTo>
                      <a:pt x="81" y="12"/>
                    </a:lnTo>
                    <a:lnTo>
                      <a:pt x="83" y="12"/>
                    </a:lnTo>
                    <a:lnTo>
                      <a:pt x="83" y="10"/>
                    </a:lnTo>
                    <a:lnTo>
                      <a:pt x="85" y="10"/>
                    </a:lnTo>
                    <a:lnTo>
                      <a:pt x="85" y="8"/>
                    </a:lnTo>
                    <a:lnTo>
                      <a:pt x="87" y="8"/>
                    </a:lnTo>
                    <a:lnTo>
                      <a:pt x="89" y="6"/>
                    </a:lnTo>
                    <a:lnTo>
                      <a:pt x="90" y="6"/>
                    </a:lnTo>
                    <a:lnTo>
                      <a:pt x="90" y="8"/>
                    </a:lnTo>
                    <a:lnTo>
                      <a:pt x="94" y="6"/>
                    </a:lnTo>
                    <a:lnTo>
                      <a:pt x="94" y="8"/>
                    </a:lnTo>
                    <a:lnTo>
                      <a:pt x="98" y="8"/>
                    </a:lnTo>
                    <a:lnTo>
                      <a:pt x="100" y="8"/>
                    </a:lnTo>
                    <a:lnTo>
                      <a:pt x="102" y="6"/>
                    </a:lnTo>
                    <a:lnTo>
                      <a:pt x="104" y="4"/>
                    </a:lnTo>
                    <a:lnTo>
                      <a:pt x="104" y="2"/>
                    </a:lnTo>
                    <a:lnTo>
                      <a:pt x="106" y="2"/>
                    </a:lnTo>
                    <a:lnTo>
                      <a:pt x="108" y="0"/>
                    </a:lnTo>
                    <a:lnTo>
                      <a:pt x="110" y="0"/>
                    </a:lnTo>
                    <a:lnTo>
                      <a:pt x="112" y="0"/>
                    </a:lnTo>
                    <a:lnTo>
                      <a:pt x="112" y="2"/>
                    </a:lnTo>
                    <a:lnTo>
                      <a:pt x="114" y="2"/>
                    </a:lnTo>
                    <a:lnTo>
                      <a:pt x="112" y="2"/>
                    </a:lnTo>
                    <a:lnTo>
                      <a:pt x="114" y="2"/>
                    </a:lnTo>
                    <a:lnTo>
                      <a:pt x="114" y="4"/>
                    </a:lnTo>
                    <a:lnTo>
                      <a:pt x="114" y="6"/>
                    </a:lnTo>
                    <a:lnTo>
                      <a:pt x="117" y="8"/>
                    </a:lnTo>
                    <a:lnTo>
                      <a:pt x="121" y="10"/>
                    </a:lnTo>
                    <a:lnTo>
                      <a:pt x="125" y="12"/>
                    </a:lnTo>
                    <a:lnTo>
                      <a:pt x="125" y="14"/>
                    </a:lnTo>
                    <a:lnTo>
                      <a:pt x="127" y="14"/>
                    </a:lnTo>
                    <a:lnTo>
                      <a:pt x="129" y="16"/>
                    </a:lnTo>
                    <a:lnTo>
                      <a:pt x="131" y="16"/>
                    </a:lnTo>
                    <a:lnTo>
                      <a:pt x="135" y="12"/>
                    </a:lnTo>
                    <a:lnTo>
                      <a:pt x="137" y="12"/>
                    </a:lnTo>
                    <a:lnTo>
                      <a:pt x="139" y="12"/>
                    </a:lnTo>
                    <a:lnTo>
                      <a:pt x="139" y="14"/>
                    </a:lnTo>
                    <a:lnTo>
                      <a:pt x="142" y="14"/>
                    </a:lnTo>
                    <a:lnTo>
                      <a:pt x="142" y="1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1" name="Freeform 141"/>
              <p:cNvSpPr>
                <a:spLocks/>
              </p:cNvSpPr>
              <p:nvPr/>
            </p:nvSpPr>
            <p:spPr bwMode="auto">
              <a:xfrm>
                <a:off x="978318" y="1889890"/>
                <a:ext cx="650397" cy="480055"/>
              </a:xfrm>
              <a:custGeom>
                <a:avLst/>
                <a:gdLst>
                  <a:gd name="T0" fmla="*/ 159 w 378"/>
                  <a:gd name="T1" fmla="*/ 44 h 279"/>
                  <a:gd name="T2" fmla="*/ 159 w 378"/>
                  <a:gd name="T3" fmla="*/ 62 h 279"/>
                  <a:gd name="T4" fmla="*/ 159 w 378"/>
                  <a:gd name="T5" fmla="*/ 77 h 279"/>
                  <a:gd name="T6" fmla="*/ 171 w 378"/>
                  <a:gd name="T7" fmla="*/ 88 h 279"/>
                  <a:gd name="T8" fmla="*/ 184 w 378"/>
                  <a:gd name="T9" fmla="*/ 92 h 279"/>
                  <a:gd name="T10" fmla="*/ 200 w 378"/>
                  <a:gd name="T11" fmla="*/ 106 h 279"/>
                  <a:gd name="T12" fmla="*/ 213 w 378"/>
                  <a:gd name="T13" fmla="*/ 112 h 279"/>
                  <a:gd name="T14" fmla="*/ 230 w 378"/>
                  <a:gd name="T15" fmla="*/ 117 h 279"/>
                  <a:gd name="T16" fmla="*/ 244 w 378"/>
                  <a:gd name="T17" fmla="*/ 117 h 279"/>
                  <a:gd name="T18" fmla="*/ 250 w 378"/>
                  <a:gd name="T19" fmla="*/ 125 h 279"/>
                  <a:gd name="T20" fmla="*/ 261 w 378"/>
                  <a:gd name="T21" fmla="*/ 133 h 279"/>
                  <a:gd name="T22" fmla="*/ 269 w 378"/>
                  <a:gd name="T23" fmla="*/ 133 h 279"/>
                  <a:gd name="T24" fmla="*/ 278 w 378"/>
                  <a:gd name="T25" fmla="*/ 142 h 279"/>
                  <a:gd name="T26" fmla="*/ 296 w 378"/>
                  <a:gd name="T27" fmla="*/ 146 h 279"/>
                  <a:gd name="T28" fmla="*/ 311 w 378"/>
                  <a:gd name="T29" fmla="*/ 150 h 279"/>
                  <a:gd name="T30" fmla="*/ 363 w 378"/>
                  <a:gd name="T31" fmla="*/ 179 h 279"/>
                  <a:gd name="T32" fmla="*/ 373 w 378"/>
                  <a:gd name="T33" fmla="*/ 185 h 279"/>
                  <a:gd name="T34" fmla="*/ 369 w 378"/>
                  <a:gd name="T35" fmla="*/ 206 h 279"/>
                  <a:gd name="T36" fmla="*/ 367 w 378"/>
                  <a:gd name="T37" fmla="*/ 213 h 279"/>
                  <a:gd name="T38" fmla="*/ 355 w 378"/>
                  <a:gd name="T39" fmla="*/ 223 h 279"/>
                  <a:gd name="T40" fmla="*/ 338 w 378"/>
                  <a:gd name="T41" fmla="*/ 227 h 279"/>
                  <a:gd name="T42" fmla="*/ 346 w 378"/>
                  <a:gd name="T43" fmla="*/ 238 h 279"/>
                  <a:gd name="T44" fmla="*/ 332 w 378"/>
                  <a:gd name="T45" fmla="*/ 263 h 279"/>
                  <a:gd name="T46" fmla="*/ 277 w 378"/>
                  <a:gd name="T47" fmla="*/ 265 h 279"/>
                  <a:gd name="T48" fmla="*/ 250 w 378"/>
                  <a:gd name="T49" fmla="*/ 250 h 279"/>
                  <a:gd name="T50" fmla="*/ 236 w 378"/>
                  <a:gd name="T51" fmla="*/ 242 h 279"/>
                  <a:gd name="T52" fmla="*/ 227 w 378"/>
                  <a:gd name="T53" fmla="*/ 236 h 279"/>
                  <a:gd name="T54" fmla="*/ 217 w 378"/>
                  <a:gd name="T55" fmla="*/ 231 h 279"/>
                  <a:gd name="T56" fmla="*/ 213 w 378"/>
                  <a:gd name="T57" fmla="*/ 223 h 279"/>
                  <a:gd name="T58" fmla="*/ 205 w 378"/>
                  <a:gd name="T59" fmla="*/ 208 h 279"/>
                  <a:gd name="T60" fmla="*/ 196 w 378"/>
                  <a:gd name="T61" fmla="*/ 215 h 279"/>
                  <a:gd name="T62" fmla="*/ 179 w 378"/>
                  <a:gd name="T63" fmla="*/ 219 h 279"/>
                  <a:gd name="T64" fmla="*/ 159 w 378"/>
                  <a:gd name="T65" fmla="*/ 221 h 279"/>
                  <a:gd name="T66" fmla="*/ 152 w 378"/>
                  <a:gd name="T67" fmla="*/ 233 h 279"/>
                  <a:gd name="T68" fmla="*/ 138 w 378"/>
                  <a:gd name="T69" fmla="*/ 233 h 279"/>
                  <a:gd name="T70" fmla="*/ 127 w 378"/>
                  <a:gd name="T71" fmla="*/ 229 h 279"/>
                  <a:gd name="T72" fmla="*/ 125 w 378"/>
                  <a:gd name="T73" fmla="*/ 211 h 279"/>
                  <a:gd name="T74" fmla="*/ 119 w 378"/>
                  <a:gd name="T75" fmla="*/ 194 h 279"/>
                  <a:gd name="T76" fmla="*/ 109 w 378"/>
                  <a:gd name="T77" fmla="*/ 186 h 279"/>
                  <a:gd name="T78" fmla="*/ 98 w 378"/>
                  <a:gd name="T79" fmla="*/ 188 h 279"/>
                  <a:gd name="T80" fmla="*/ 92 w 378"/>
                  <a:gd name="T81" fmla="*/ 186 h 279"/>
                  <a:gd name="T82" fmla="*/ 84 w 378"/>
                  <a:gd name="T83" fmla="*/ 188 h 279"/>
                  <a:gd name="T84" fmla="*/ 61 w 378"/>
                  <a:gd name="T85" fmla="*/ 179 h 279"/>
                  <a:gd name="T86" fmla="*/ 52 w 378"/>
                  <a:gd name="T87" fmla="*/ 173 h 279"/>
                  <a:gd name="T88" fmla="*/ 52 w 378"/>
                  <a:gd name="T89" fmla="*/ 156 h 279"/>
                  <a:gd name="T90" fmla="*/ 36 w 378"/>
                  <a:gd name="T91" fmla="*/ 156 h 279"/>
                  <a:gd name="T92" fmla="*/ 27 w 378"/>
                  <a:gd name="T93" fmla="*/ 163 h 279"/>
                  <a:gd name="T94" fmla="*/ 15 w 378"/>
                  <a:gd name="T95" fmla="*/ 158 h 279"/>
                  <a:gd name="T96" fmla="*/ 21 w 378"/>
                  <a:gd name="T97" fmla="*/ 144 h 279"/>
                  <a:gd name="T98" fmla="*/ 17 w 378"/>
                  <a:gd name="T99" fmla="*/ 135 h 279"/>
                  <a:gd name="T100" fmla="*/ 8 w 378"/>
                  <a:gd name="T101" fmla="*/ 127 h 279"/>
                  <a:gd name="T102" fmla="*/ 4 w 378"/>
                  <a:gd name="T103" fmla="*/ 123 h 279"/>
                  <a:gd name="T104" fmla="*/ 6 w 378"/>
                  <a:gd name="T105" fmla="*/ 115 h 279"/>
                  <a:gd name="T106" fmla="*/ 2 w 378"/>
                  <a:gd name="T107" fmla="*/ 104 h 279"/>
                  <a:gd name="T108" fmla="*/ 17 w 378"/>
                  <a:gd name="T109" fmla="*/ 98 h 279"/>
                  <a:gd name="T110" fmla="*/ 31 w 378"/>
                  <a:gd name="T111" fmla="*/ 96 h 279"/>
                  <a:gd name="T112" fmla="*/ 38 w 378"/>
                  <a:gd name="T113" fmla="*/ 90 h 279"/>
                  <a:gd name="T114" fmla="*/ 50 w 378"/>
                  <a:gd name="T115" fmla="*/ 67 h 279"/>
                  <a:gd name="T116" fmla="*/ 52 w 378"/>
                  <a:gd name="T117" fmla="*/ 54 h 279"/>
                  <a:gd name="T118" fmla="*/ 73 w 378"/>
                  <a:gd name="T119" fmla="*/ 29 h 279"/>
                  <a:gd name="T120" fmla="*/ 84 w 378"/>
                  <a:gd name="T121" fmla="*/ 17 h 279"/>
                  <a:gd name="T122" fmla="*/ 146 w 378"/>
                  <a:gd name="T123" fmla="*/ 4 h 279"/>
                  <a:gd name="T124" fmla="*/ 161 w 378"/>
                  <a:gd name="T125" fmla="*/ 1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8" h="279">
                    <a:moveTo>
                      <a:pt x="167" y="19"/>
                    </a:moveTo>
                    <a:lnTo>
                      <a:pt x="167" y="21"/>
                    </a:lnTo>
                    <a:lnTo>
                      <a:pt x="165" y="23"/>
                    </a:lnTo>
                    <a:lnTo>
                      <a:pt x="165" y="25"/>
                    </a:lnTo>
                    <a:lnTo>
                      <a:pt x="163" y="27"/>
                    </a:lnTo>
                    <a:lnTo>
                      <a:pt x="163" y="29"/>
                    </a:lnTo>
                    <a:lnTo>
                      <a:pt x="163" y="31"/>
                    </a:lnTo>
                    <a:lnTo>
                      <a:pt x="161" y="33"/>
                    </a:lnTo>
                    <a:lnTo>
                      <a:pt x="161" y="35"/>
                    </a:lnTo>
                    <a:lnTo>
                      <a:pt x="161" y="37"/>
                    </a:lnTo>
                    <a:lnTo>
                      <a:pt x="161" y="38"/>
                    </a:lnTo>
                    <a:lnTo>
                      <a:pt x="161" y="40"/>
                    </a:lnTo>
                    <a:lnTo>
                      <a:pt x="159" y="42"/>
                    </a:lnTo>
                    <a:lnTo>
                      <a:pt x="159" y="44"/>
                    </a:lnTo>
                    <a:lnTo>
                      <a:pt x="161" y="44"/>
                    </a:lnTo>
                    <a:lnTo>
                      <a:pt x="163" y="48"/>
                    </a:lnTo>
                    <a:lnTo>
                      <a:pt x="161" y="48"/>
                    </a:lnTo>
                    <a:lnTo>
                      <a:pt x="161" y="52"/>
                    </a:lnTo>
                    <a:lnTo>
                      <a:pt x="163" y="52"/>
                    </a:lnTo>
                    <a:lnTo>
                      <a:pt x="159" y="52"/>
                    </a:lnTo>
                    <a:lnTo>
                      <a:pt x="159" y="54"/>
                    </a:lnTo>
                    <a:lnTo>
                      <a:pt x="159" y="56"/>
                    </a:lnTo>
                    <a:lnTo>
                      <a:pt x="157" y="56"/>
                    </a:lnTo>
                    <a:lnTo>
                      <a:pt x="157" y="58"/>
                    </a:lnTo>
                    <a:lnTo>
                      <a:pt x="157" y="60"/>
                    </a:lnTo>
                    <a:lnTo>
                      <a:pt x="159" y="62"/>
                    </a:lnTo>
                    <a:lnTo>
                      <a:pt x="157" y="62"/>
                    </a:lnTo>
                    <a:lnTo>
                      <a:pt x="159" y="62"/>
                    </a:lnTo>
                    <a:lnTo>
                      <a:pt x="159" y="60"/>
                    </a:lnTo>
                    <a:lnTo>
                      <a:pt x="161" y="60"/>
                    </a:lnTo>
                    <a:lnTo>
                      <a:pt x="161" y="62"/>
                    </a:lnTo>
                    <a:lnTo>
                      <a:pt x="159" y="62"/>
                    </a:lnTo>
                    <a:lnTo>
                      <a:pt x="159" y="63"/>
                    </a:lnTo>
                    <a:lnTo>
                      <a:pt x="159" y="65"/>
                    </a:lnTo>
                    <a:lnTo>
                      <a:pt x="157" y="65"/>
                    </a:lnTo>
                    <a:lnTo>
                      <a:pt x="157" y="67"/>
                    </a:lnTo>
                    <a:lnTo>
                      <a:pt x="157" y="69"/>
                    </a:lnTo>
                    <a:lnTo>
                      <a:pt x="161" y="71"/>
                    </a:lnTo>
                    <a:lnTo>
                      <a:pt x="161" y="73"/>
                    </a:lnTo>
                    <a:lnTo>
                      <a:pt x="159" y="73"/>
                    </a:lnTo>
                    <a:lnTo>
                      <a:pt x="159" y="75"/>
                    </a:lnTo>
                    <a:lnTo>
                      <a:pt x="159" y="77"/>
                    </a:lnTo>
                    <a:lnTo>
                      <a:pt x="159" y="79"/>
                    </a:lnTo>
                    <a:lnTo>
                      <a:pt x="161" y="79"/>
                    </a:lnTo>
                    <a:lnTo>
                      <a:pt x="163" y="81"/>
                    </a:lnTo>
                    <a:lnTo>
                      <a:pt x="165" y="79"/>
                    </a:lnTo>
                    <a:lnTo>
                      <a:pt x="167" y="79"/>
                    </a:lnTo>
                    <a:lnTo>
                      <a:pt x="169" y="79"/>
                    </a:lnTo>
                    <a:lnTo>
                      <a:pt x="169" y="81"/>
                    </a:lnTo>
                    <a:lnTo>
                      <a:pt x="169" y="83"/>
                    </a:lnTo>
                    <a:lnTo>
                      <a:pt x="169" y="85"/>
                    </a:lnTo>
                    <a:lnTo>
                      <a:pt x="171" y="85"/>
                    </a:lnTo>
                    <a:lnTo>
                      <a:pt x="171" y="87"/>
                    </a:lnTo>
                    <a:lnTo>
                      <a:pt x="171" y="88"/>
                    </a:lnTo>
                    <a:lnTo>
                      <a:pt x="171" y="90"/>
                    </a:lnTo>
                    <a:lnTo>
                      <a:pt x="171" y="88"/>
                    </a:lnTo>
                    <a:lnTo>
                      <a:pt x="171" y="87"/>
                    </a:lnTo>
                    <a:lnTo>
                      <a:pt x="173" y="87"/>
                    </a:lnTo>
                    <a:lnTo>
                      <a:pt x="175" y="87"/>
                    </a:lnTo>
                    <a:lnTo>
                      <a:pt x="173" y="87"/>
                    </a:lnTo>
                    <a:lnTo>
                      <a:pt x="175" y="87"/>
                    </a:lnTo>
                    <a:lnTo>
                      <a:pt x="175" y="88"/>
                    </a:lnTo>
                    <a:lnTo>
                      <a:pt x="175" y="90"/>
                    </a:lnTo>
                    <a:lnTo>
                      <a:pt x="177" y="90"/>
                    </a:lnTo>
                    <a:lnTo>
                      <a:pt x="179" y="90"/>
                    </a:lnTo>
                    <a:lnTo>
                      <a:pt x="179" y="92"/>
                    </a:lnTo>
                    <a:lnTo>
                      <a:pt x="181" y="92"/>
                    </a:lnTo>
                    <a:lnTo>
                      <a:pt x="182" y="92"/>
                    </a:lnTo>
                    <a:lnTo>
                      <a:pt x="186" y="92"/>
                    </a:lnTo>
                    <a:lnTo>
                      <a:pt x="184" y="92"/>
                    </a:lnTo>
                    <a:lnTo>
                      <a:pt x="184" y="94"/>
                    </a:lnTo>
                    <a:lnTo>
                      <a:pt x="186" y="92"/>
                    </a:lnTo>
                    <a:lnTo>
                      <a:pt x="186" y="94"/>
                    </a:lnTo>
                    <a:lnTo>
                      <a:pt x="188" y="94"/>
                    </a:lnTo>
                    <a:lnTo>
                      <a:pt x="188" y="96"/>
                    </a:lnTo>
                    <a:lnTo>
                      <a:pt x="188" y="98"/>
                    </a:lnTo>
                    <a:lnTo>
                      <a:pt x="188" y="100"/>
                    </a:lnTo>
                    <a:lnTo>
                      <a:pt x="192" y="104"/>
                    </a:lnTo>
                    <a:lnTo>
                      <a:pt x="192" y="102"/>
                    </a:lnTo>
                    <a:lnTo>
                      <a:pt x="194" y="102"/>
                    </a:lnTo>
                    <a:lnTo>
                      <a:pt x="196" y="104"/>
                    </a:lnTo>
                    <a:lnTo>
                      <a:pt x="198" y="104"/>
                    </a:lnTo>
                    <a:lnTo>
                      <a:pt x="198" y="106"/>
                    </a:lnTo>
                    <a:lnTo>
                      <a:pt x="200" y="106"/>
                    </a:lnTo>
                    <a:lnTo>
                      <a:pt x="202" y="106"/>
                    </a:lnTo>
                    <a:lnTo>
                      <a:pt x="204" y="104"/>
                    </a:lnTo>
                    <a:lnTo>
                      <a:pt x="205" y="102"/>
                    </a:lnTo>
                    <a:lnTo>
                      <a:pt x="207" y="102"/>
                    </a:lnTo>
                    <a:lnTo>
                      <a:pt x="207" y="104"/>
                    </a:lnTo>
                    <a:lnTo>
                      <a:pt x="207" y="106"/>
                    </a:lnTo>
                    <a:lnTo>
                      <a:pt x="207" y="108"/>
                    </a:lnTo>
                    <a:lnTo>
                      <a:pt x="209" y="108"/>
                    </a:lnTo>
                    <a:lnTo>
                      <a:pt x="211" y="108"/>
                    </a:lnTo>
                    <a:lnTo>
                      <a:pt x="213" y="108"/>
                    </a:lnTo>
                    <a:lnTo>
                      <a:pt x="213" y="106"/>
                    </a:lnTo>
                    <a:lnTo>
                      <a:pt x="215" y="108"/>
                    </a:lnTo>
                    <a:lnTo>
                      <a:pt x="213" y="110"/>
                    </a:lnTo>
                    <a:lnTo>
                      <a:pt x="213" y="112"/>
                    </a:lnTo>
                    <a:lnTo>
                      <a:pt x="213" y="113"/>
                    </a:lnTo>
                    <a:lnTo>
                      <a:pt x="215" y="113"/>
                    </a:lnTo>
                    <a:lnTo>
                      <a:pt x="215" y="115"/>
                    </a:lnTo>
                    <a:lnTo>
                      <a:pt x="219" y="117"/>
                    </a:lnTo>
                    <a:lnTo>
                      <a:pt x="221" y="121"/>
                    </a:lnTo>
                    <a:lnTo>
                      <a:pt x="223" y="121"/>
                    </a:lnTo>
                    <a:lnTo>
                      <a:pt x="223" y="123"/>
                    </a:lnTo>
                    <a:lnTo>
                      <a:pt x="223" y="121"/>
                    </a:lnTo>
                    <a:lnTo>
                      <a:pt x="225" y="123"/>
                    </a:lnTo>
                    <a:lnTo>
                      <a:pt x="225" y="125"/>
                    </a:lnTo>
                    <a:lnTo>
                      <a:pt x="227" y="123"/>
                    </a:lnTo>
                    <a:lnTo>
                      <a:pt x="227" y="121"/>
                    </a:lnTo>
                    <a:lnTo>
                      <a:pt x="229" y="119"/>
                    </a:lnTo>
                    <a:lnTo>
                      <a:pt x="230" y="117"/>
                    </a:lnTo>
                    <a:lnTo>
                      <a:pt x="232" y="115"/>
                    </a:lnTo>
                    <a:lnTo>
                      <a:pt x="232" y="113"/>
                    </a:lnTo>
                    <a:lnTo>
                      <a:pt x="234" y="113"/>
                    </a:lnTo>
                    <a:lnTo>
                      <a:pt x="234" y="112"/>
                    </a:lnTo>
                    <a:lnTo>
                      <a:pt x="238" y="112"/>
                    </a:lnTo>
                    <a:lnTo>
                      <a:pt x="240" y="113"/>
                    </a:lnTo>
                    <a:lnTo>
                      <a:pt x="238" y="113"/>
                    </a:lnTo>
                    <a:lnTo>
                      <a:pt x="240" y="113"/>
                    </a:lnTo>
                    <a:lnTo>
                      <a:pt x="240" y="115"/>
                    </a:lnTo>
                    <a:lnTo>
                      <a:pt x="242" y="115"/>
                    </a:lnTo>
                    <a:lnTo>
                      <a:pt x="240" y="115"/>
                    </a:lnTo>
                    <a:lnTo>
                      <a:pt x="240" y="117"/>
                    </a:lnTo>
                    <a:lnTo>
                      <a:pt x="242" y="117"/>
                    </a:lnTo>
                    <a:lnTo>
                      <a:pt x="244" y="117"/>
                    </a:lnTo>
                    <a:lnTo>
                      <a:pt x="246" y="117"/>
                    </a:lnTo>
                    <a:lnTo>
                      <a:pt x="246" y="115"/>
                    </a:lnTo>
                    <a:lnTo>
                      <a:pt x="248" y="117"/>
                    </a:lnTo>
                    <a:lnTo>
                      <a:pt x="248" y="119"/>
                    </a:lnTo>
                    <a:lnTo>
                      <a:pt x="250" y="117"/>
                    </a:lnTo>
                    <a:lnTo>
                      <a:pt x="250" y="119"/>
                    </a:lnTo>
                    <a:lnTo>
                      <a:pt x="248" y="121"/>
                    </a:lnTo>
                    <a:lnTo>
                      <a:pt x="246" y="121"/>
                    </a:lnTo>
                    <a:lnTo>
                      <a:pt x="248" y="123"/>
                    </a:lnTo>
                    <a:lnTo>
                      <a:pt x="246" y="123"/>
                    </a:lnTo>
                    <a:lnTo>
                      <a:pt x="248" y="125"/>
                    </a:lnTo>
                    <a:lnTo>
                      <a:pt x="248" y="123"/>
                    </a:lnTo>
                    <a:lnTo>
                      <a:pt x="250" y="123"/>
                    </a:lnTo>
                    <a:lnTo>
                      <a:pt x="250" y="125"/>
                    </a:lnTo>
                    <a:lnTo>
                      <a:pt x="252" y="125"/>
                    </a:lnTo>
                    <a:lnTo>
                      <a:pt x="250" y="125"/>
                    </a:lnTo>
                    <a:lnTo>
                      <a:pt x="252" y="127"/>
                    </a:lnTo>
                    <a:lnTo>
                      <a:pt x="250" y="129"/>
                    </a:lnTo>
                    <a:lnTo>
                      <a:pt x="252" y="129"/>
                    </a:lnTo>
                    <a:lnTo>
                      <a:pt x="254" y="131"/>
                    </a:lnTo>
                    <a:lnTo>
                      <a:pt x="255" y="133"/>
                    </a:lnTo>
                    <a:lnTo>
                      <a:pt x="257" y="133"/>
                    </a:lnTo>
                    <a:lnTo>
                      <a:pt x="257" y="135"/>
                    </a:lnTo>
                    <a:lnTo>
                      <a:pt x="257" y="133"/>
                    </a:lnTo>
                    <a:lnTo>
                      <a:pt x="259" y="133"/>
                    </a:lnTo>
                    <a:lnTo>
                      <a:pt x="259" y="135"/>
                    </a:lnTo>
                    <a:lnTo>
                      <a:pt x="259" y="133"/>
                    </a:lnTo>
                    <a:lnTo>
                      <a:pt x="261" y="133"/>
                    </a:lnTo>
                    <a:lnTo>
                      <a:pt x="259" y="135"/>
                    </a:lnTo>
                    <a:lnTo>
                      <a:pt x="261" y="135"/>
                    </a:lnTo>
                    <a:lnTo>
                      <a:pt x="261" y="133"/>
                    </a:lnTo>
                    <a:lnTo>
                      <a:pt x="261" y="135"/>
                    </a:lnTo>
                    <a:lnTo>
                      <a:pt x="259" y="135"/>
                    </a:lnTo>
                    <a:lnTo>
                      <a:pt x="261" y="133"/>
                    </a:lnTo>
                    <a:lnTo>
                      <a:pt x="263" y="131"/>
                    </a:lnTo>
                    <a:lnTo>
                      <a:pt x="263" y="133"/>
                    </a:lnTo>
                    <a:lnTo>
                      <a:pt x="263" y="131"/>
                    </a:lnTo>
                    <a:lnTo>
                      <a:pt x="263" y="133"/>
                    </a:lnTo>
                    <a:lnTo>
                      <a:pt x="263" y="131"/>
                    </a:lnTo>
                    <a:lnTo>
                      <a:pt x="265" y="131"/>
                    </a:lnTo>
                    <a:lnTo>
                      <a:pt x="267" y="131"/>
                    </a:lnTo>
                    <a:lnTo>
                      <a:pt x="269" y="133"/>
                    </a:lnTo>
                    <a:lnTo>
                      <a:pt x="269" y="135"/>
                    </a:lnTo>
                    <a:lnTo>
                      <a:pt x="271" y="137"/>
                    </a:lnTo>
                    <a:lnTo>
                      <a:pt x="271" y="138"/>
                    </a:lnTo>
                    <a:lnTo>
                      <a:pt x="269" y="140"/>
                    </a:lnTo>
                    <a:lnTo>
                      <a:pt x="271" y="140"/>
                    </a:lnTo>
                    <a:lnTo>
                      <a:pt x="271" y="142"/>
                    </a:lnTo>
                    <a:lnTo>
                      <a:pt x="269" y="144"/>
                    </a:lnTo>
                    <a:lnTo>
                      <a:pt x="271" y="144"/>
                    </a:lnTo>
                    <a:lnTo>
                      <a:pt x="273" y="144"/>
                    </a:lnTo>
                    <a:lnTo>
                      <a:pt x="275" y="142"/>
                    </a:lnTo>
                    <a:lnTo>
                      <a:pt x="277" y="142"/>
                    </a:lnTo>
                    <a:lnTo>
                      <a:pt x="277" y="144"/>
                    </a:lnTo>
                    <a:lnTo>
                      <a:pt x="277" y="142"/>
                    </a:lnTo>
                    <a:lnTo>
                      <a:pt x="278" y="142"/>
                    </a:lnTo>
                    <a:lnTo>
                      <a:pt x="278" y="144"/>
                    </a:lnTo>
                    <a:lnTo>
                      <a:pt x="277" y="144"/>
                    </a:lnTo>
                    <a:lnTo>
                      <a:pt x="278" y="144"/>
                    </a:lnTo>
                    <a:lnTo>
                      <a:pt x="280" y="146"/>
                    </a:lnTo>
                    <a:lnTo>
                      <a:pt x="280" y="148"/>
                    </a:lnTo>
                    <a:lnTo>
                      <a:pt x="282" y="148"/>
                    </a:lnTo>
                    <a:lnTo>
                      <a:pt x="284" y="150"/>
                    </a:lnTo>
                    <a:lnTo>
                      <a:pt x="286" y="146"/>
                    </a:lnTo>
                    <a:lnTo>
                      <a:pt x="288" y="146"/>
                    </a:lnTo>
                    <a:lnTo>
                      <a:pt x="290" y="146"/>
                    </a:lnTo>
                    <a:lnTo>
                      <a:pt x="292" y="146"/>
                    </a:lnTo>
                    <a:lnTo>
                      <a:pt x="292" y="144"/>
                    </a:lnTo>
                    <a:lnTo>
                      <a:pt x="294" y="146"/>
                    </a:lnTo>
                    <a:lnTo>
                      <a:pt x="296" y="146"/>
                    </a:lnTo>
                    <a:lnTo>
                      <a:pt x="294" y="144"/>
                    </a:lnTo>
                    <a:lnTo>
                      <a:pt x="296" y="144"/>
                    </a:lnTo>
                    <a:lnTo>
                      <a:pt x="296" y="142"/>
                    </a:lnTo>
                    <a:lnTo>
                      <a:pt x="300" y="138"/>
                    </a:lnTo>
                    <a:lnTo>
                      <a:pt x="302" y="138"/>
                    </a:lnTo>
                    <a:lnTo>
                      <a:pt x="302" y="140"/>
                    </a:lnTo>
                    <a:lnTo>
                      <a:pt x="303" y="140"/>
                    </a:lnTo>
                    <a:lnTo>
                      <a:pt x="305" y="140"/>
                    </a:lnTo>
                    <a:lnTo>
                      <a:pt x="307" y="140"/>
                    </a:lnTo>
                    <a:lnTo>
                      <a:pt x="309" y="142"/>
                    </a:lnTo>
                    <a:lnTo>
                      <a:pt x="311" y="142"/>
                    </a:lnTo>
                    <a:lnTo>
                      <a:pt x="309" y="146"/>
                    </a:lnTo>
                    <a:lnTo>
                      <a:pt x="307" y="148"/>
                    </a:lnTo>
                    <a:lnTo>
                      <a:pt x="311" y="150"/>
                    </a:lnTo>
                    <a:lnTo>
                      <a:pt x="319" y="158"/>
                    </a:lnTo>
                    <a:lnTo>
                      <a:pt x="321" y="160"/>
                    </a:lnTo>
                    <a:lnTo>
                      <a:pt x="328" y="163"/>
                    </a:lnTo>
                    <a:lnTo>
                      <a:pt x="330" y="165"/>
                    </a:lnTo>
                    <a:lnTo>
                      <a:pt x="332" y="167"/>
                    </a:lnTo>
                    <a:lnTo>
                      <a:pt x="344" y="152"/>
                    </a:lnTo>
                    <a:lnTo>
                      <a:pt x="346" y="152"/>
                    </a:lnTo>
                    <a:lnTo>
                      <a:pt x="348" y="154"/>
                    </a:lnTo>
                    <a:lnTo>
                      <a:pt x="350" y="156"/>
                    </a:lnTo>
                    <a:lnTo>
                      <a:pt x="351" y="158"/>
                    </a:lnTo>
                    <a:lnTo>
                      <a:pt x="355" y="160"/>
                    </a:lnTo>
                    <a:lnTo>
                      <a:pt x="353" y="165"/>
                    </a:lnTo>
                    <a:lnTo>
                      <a:pt x="350" y="169"/>
                    </a:lnTo>
                    <a:lnTo>
                      <a:pt x="363" y="179"/>
                    </a:lnTo>
                    <a:lnTo>
                      <a:pt x="363" y="177"/>
                    </a:lnTo>
                    <a:lnTo>
                      <a:pt x="365" y="177"/>
                    </a:lnTo>
                    <a:lnTo>
                      <a:pt x="367" y="177"/>
                    </a:lnTo>
                    <a:lnTo>
                      <a:pt x="367" y="179"/>
                    </a:lnTo>
                    <a:lnTo>
                      <a:pt x="369" y="179"/>
                    </a:lnTo>
                    <a:lnTo>
                      <a:pt x="369" y="177"/>
                    </a:lnTo>
                    <a:lnTo>
                      <a:pt x="371" y="177"/>
                    </a:lnTo>
                    <a:lnTo>
                      <a:pt x="371" y="179"/>
                    </a:lnTo>
                    <a:lnTo>
                      <a:pt x="369" y="179"/>
                    </a:lnTo>
                    <a:lnTo>
                      <a:pt x="369" y="181"/>
                    </a:lnTo>
                    <a:lnTo>
                      <a:pt x="371" y="181"/>
                    </a:lnTo>
                    <a:lnTo>
                      <a:pt x="371" y="183"/>
                    </a:lnTo>
                    <a:lnTo>
                      <a:pt x="373" y="183"/>
                    </a:lnTo>
                    <a:lnTo>
                      <a:pt x="373" y="185"/>
                    </a:lnTo>
                    <a:lnTo>
                      <a:pt x="375" y="185"/>
                    </a:lnTo>
                    <a:lnTo>
                      <a:pt x="375" y="186"/>
                    </a:lnTo>
                    <a:lnTo>
                      <a:pt x="373" y="190"/>
                    </a:lnTo>
                    <a:lnTo>
                      <a:pt x="375" y="192"/>
                    </a:lnTo>
                    <a:lnTo>
                      <a:pt x="375" y="194"/>
                    </a:lnTo>
                    <a:lnTo>
                      <a:pt x="378" y="196"/>
                    </a:lnTo>
                    <a:lnTo>
                      <a:pt x="378" y="198"/>
                    </a:lnTo>
                    <a:lnTo>
                      <a:pt x="376" y="198"/>
                    </a:lnTo>
                    <a:lnTo>
                      <a:pt x="375" y="202"/>
                    </a:lnTo>
                    <a:lnTo>
                      <a:pt x="373" y="202"/>
                    </a:lnTo>
                    <a:lnTo>
                      <a:pt x="373" y="204"/>
                    </a:lnTo>
                    <a:lnTo>
                      <a:pt x="371" y="204"/>
                    </a:lnTo>
                    <a:lnTo>
                      <a:pt x="371" y="206"/>
                    </a:lnTo>
                    <a:lnTo>
                      <a:pt x="369" y="206"/>
                    </a:lnTo>
                    <a:lnTo>
                      <a:pt x="369" y="208"/>
                    </a:lnTo>
                    <a:lnTo>
                      <a:pt x="369" y="206"/>
                    </a:lnTo>
                    <a:lnTo>
                      <a:pt x="371" y="208"/>
                    </a:lnTo>
                    <a:lnTo>
                      <a:pt x="369" y="208"/>
                    </a:lnTo>
                    <a:lnTo>
                      <a:pt x="371" y="210"/>
                    </a:lnTo>
                    <a:lnTo>
                      <a:pt x="369" y="210"/>
                    </a:lnTo>
                    <a:lnTo>
                      <a:pt x="371" y="210"/>
                    </a:lnTo>
                    <a:lnTo>
                      <a:pt x="369" y="210"/>
                    </a:lnTo>
                    <a:lnTo>
                      <a:pt x="369" y="211"/>
                    </a:lnTo>
                    <a:lnTo>
                      <a:pt x="367" y="211"/>
                    </a:lnTo>
                    <a:lnTo>
                      <a:pt x="369" y="213"/>
                    </a:lnTo>
                    <a:lnTo>
                      <a:pt x="367" y="213"/>
                    </a:lnTo>
                    <a:lnTo>
                      <a:pt x="367" y="211"/>
                    </a:lnTo>
                    <a:lnTo>
                      <a:pt x="367" y="213"/>
                    </a:lnTo>
                    <a:lnTo>
                      <a:pt x="365" y="213"/>
                    </a:lnTo>
                    <a:lnTo>
                      <a:pt x="363" y="213"/>
                    </a:lnTo>
                    <a:lnTo>
                      <a:pt x="363" y="215"/>
                    </a:lnTo>
                    <a:lnTo>
                      <a:pt x="363" y="217"/>
                    </a:lnTo>
                    <a:lnTo>
                      <a:pt x="361" y="217"/>
                    </a:lnTo>
                    <a:lnTo>
                      <a:pt x="361" y="215"/>
                    </a:lnTo>
                    <a:lnTo>
                      <a:pt x="359" y="217"/>
                    </a:lnTo>
                    <a:lnTo>
                      <a:pt x="361" y="219"/>
                    </a:lnTo>
                    <a:lnTo>
                      <a:pt x="359" y="219"/>
                    </a:lnTo>
                    <a:lnTo>
                      <a:pt x="357" y="219"/>
                    </a:lnTo>
                    <a:lnTo>
                      <a:pt x="355" y="219"/>
                    </a:lnTo>
                    <a:lnTo>
                      <a:pt x="355" y="221"/>
                    </a:lnTo>
                    <a:lnTo>
                      <a:pt x="357" y="221"/>
                    </a:lnTo>
                    <a:lnTo>
                      <a:pt x="355" y="223"/>
                    </a:lnTo>
                    <a:lnTo>
                      <a:pt x="355" y="225"/>
                    </a:lnTo>
                    <a:lnTo>
                      <a:pt x="351" y="227"/>
                    </a:lnTo>
                    <a:lnTo>
                      <a:pt x="350" y="225"/>
                    </a:lnTo>
                    <a:lnTo>
                      <a:pt x="348" y="223"/>
                    </a:lnTo>
                    <a:lnTo>
                      <a:pt x="346" y="223"/>
                    </a:lnTo>
                    <a:lnTo>
                      <a:pt x="344" y="223"/>
                    </a:lnTo>
                    <a:lnTo>
                      <a:pt x="344" y="221"/>
                    </a:lnTo>
                    <a:lnTo>
                      <a:pt x="342" y="221"/>
                    </a:lnTo>
                    <a:lnTo>
                      <a:pt x="340" y="221"/>
                    </a:lnTo>
                    <a:lnTo>
                      <a:pt x="340" y="219"/>
                    </a:lnTo>
                    <a:lnTo>
                      <a:pt x="338" y="221"/>
                    </a:lnTo>
                    <a:lnTo>
                      <a:pt x="340" y="223"/>
                    </a:lnTo>
                    <a:lnTo>
                      <a:pt x="338" y="225"/>
                    </a:lnTo>
                    <a:lnTo>
                      <a:pt x="338" y="227"/>
                    </a:lnTo>
                    <a:lnTo>
                      <a:pt x="338" y="229"/>
                    </a:lnTo>
                    <a:lnTo>
                      <a:pt x="336" y="229"/>
                    </a:lnTo>
                    <a:lnTo>
                      <a:pt x="338" y="229"/>
                    </a:lnTo>
                    <a:lnTo>
                      <a:pt x="338" y="231"/>
                    </a:lnTo>
                    <a:lnTo>
                      <a:pt x="340" y="231"/>
                    </a:lnTo>
                    <a:lnTo>
                      <a:pt x="340" y="233"/>
                    </a:lnTo>
                    <a:lnTo>
                      <a:pt x="342" y="233"/>
                    </a:lnTo>
                    <a:lnTo>
                      <a:pt x="342" y="235"/>
                    </a:lnTo>
                    <a:lnTo>
                      <a:pt x="342" y="236"/>
                    </a:lnTo>
                    <a:lnTo>
                      <a:pt x="342" y="235"/>
                    </a:lnTo>
                    <a:lnTo>
                      <a:pt x="344" y="235"/>
                    </a:lnTo>
                    <a:lnTo>
                      <a:pt x="344" y="236"/>
                    </a:lnTo>
                    <a:lnTo>
                      <a:pt x="346" y="236"/>
                    </a:lnTo>
                    <a:lnTo>
                      <a:pt x="346" y="238"/>
                    </a:lnTo>
                    <a:lnTo>
                      <a:pt x="348" y="238"/>
                    </a:lnTo>
                    <a:lnTo>
                      <a:pt x="350" y="238"/>
                    </a:lnTo>
                    <a:lnTo>
                      <a:pt x="351" y="236"/>
                    </a:lnTo>
                    <a:lnTo>
                      <a:pt x="355" y="238"/>
                    </a:lnTo>
                    <a:lnTo>
                      <a:pt x="353" y="240"/>
                    </a:lnTo>
                    <a:lnTo>
                      <a:pt x="350" y="246"/>
                    </a:lnTo>
                    <a:lnTo>
                      <a:pt x="348" y="248"/>
                    </a:lnTo>
                    <a:lnTo>
                      <a:pt x="346" y="250"/>
                    </a:lnTo>
                    <a:lnTo>
                      <a:pt x="342" y="258"/>
                    </a:lnTo>
                    <a:lnTo>
                      <a:pt x="342" y="260"/>
                    </a:lnTo>
                    <a:lnTo>
                      <a:pt x="348" y="261"/>
                    </a:lnTo>
                    <a:lnTo>
                      <a:pt x="346" y="265"/>
                    </a:lnTo>
                    <a:lnTo>
                      <a:pt x="342" y="269"/>
                    </a:lnTo>
                    <a:lnTo>
                      <a:pt x="332" y="263"/>
                    </a:lnTo>
                    <a:lnTo>
                      <a:pt x="332" y="265"/>
                    </a:lnTo>
                    <a:lnTo>
                      <a:pt x="327" y="261"/>
                    </a:lnTo>
                    <a:lnTo>
                      <a:pt x="323" y="258"/>
                    </a:lnTo>
                    <a:lnTo>
                      <a:pt x="317" y="265"/>
                    </a:lnTo>
                    <a:lnTo>
                      <a:pt x="319" y="265"/>
                    </a:lnTo>
                    <a:lnTo>
                      <a:pt x="317" y="269"/>
                    </a:lnTo>
                    <a:lnTo>
                      <a:pt x="313" y="275"/>
                    </a:lnTo>
                    <a:lnTo>
                      <a:pt x="307" y="271"/>
                    </a:lnTo>
                    <a:lnTo>
                      <a:pt x="305" y="273"/>
                    </a:lnTo>
                    <a:lnTo>
                      <a:pt x="303" y="271"/>
                    </a:lnTo>
                    <a:lnTo>
                      <a:pt x="298" y="279"/>
                    </a:lnTo>
                    <a:lnTo>
                      <a:pt x="280" y="267"/>
                    </a:lnTo>
                    <a:lnTo>
                      <a:pt x="280" y="269"/>
                    </a:lnTo>
                    <a:lnTo>
                      <a:pt x="277" y="265"/>
                    </a:lnTo>
                    <a:lnTo>
                      <a:pt x="273" y="263"/>
                    </a:lnTo>
                    <a:lnTo>
                      <a:pt x="271" y="267"/>
                    </a:lnTo>
                    <a:lnTo>
                      <a:pt x="269" y="267"/>
                    </a:lnTo>
                    <a:lnTo>
                      <a:pt x="267" y="265"/>
                    </a:lnTo>
                    <a:lnTo>
                      <a:pt x="265" y="263"/>
                    </a:lnTo>
                    <a:lnTo>
                      <a:pt x="259" y="260"/>
                    </a:lnTo>
                    <a:lnTo>
                      <a:pt x="254" y="256"/>
                    </a:lnTo>
                    <a:lnTo>
                      <a:pt x="252" y="258"/>
                    </a:lnTo>
                    <a:lnTo>
                      <a:pt x="252" y="256"/>
                    </a:lnTo>
                    <a:lnTo>
                      <a:pt x="252" y="254"/>
                    </a:lnTo>
                    <a:lnTo>
                      <a:pt x="250" y="254"/>
                    </a:lnTo>
                    <a:lnTo>
                      <a:pt x="252" y="254"/>
                    </a:lnTo>
                    <a:lnTo>
                      <a:pt x="250" y="252"/>
                    </a:lnTo>
                    <a:lnTo>
                      <a:pt x="250" y="250"/>
                    </a:lnTo>
                    <a:lnTo>
                      <a:pt x="252" y="248"/>
                    </a:lnTo>
                    <a:lnTo>
                      <a:pt x="250" y="248"/>
                    </a:lnTo>
                    <a:lnTo>
                      <a:pt x="250" y="246"/>
                    </a:lnTo>
                    <a:lnTo>
                      <a:pt x="248" y="246"/>
                    </a:lnTo>
                    <a:lnTo>
                      <a:pt x="246" y="246"/>
                    </a:lnTo>
                    <a:lnTo>
                      <a:pt x="244" y="246"/>
                    </a:lnTo>
                    <a:lnTo>
                      <a:pt x="244" y="244"/>
                    </a:lnTo>
                    <a:lnTo>
                      <a:pt x="242" y="244"/>
                    </a:lnTo>
                    <a:lnTo>
                      <a:pt x="242" y="242"/>
                    </a:lnTo>
                    <a:lnTo>
                      <a:pt x="242" y="240"/>
                    </a:lnTo>
                    <a:lnTo>
                      <a:pt x="240" y="240"/>
                    </a:lnTo>
                    <a:lnTo>
                      <a:pt x="238" y="240"/>
                    </a:lnTo>
                    <a:lnTo>
                      <a:pt x="236" y="240"/>
                    </a:lnTo>
                    <a:lnTo>
                      <a:pt x="236" y="242"/>
                    </a:lnTo>
                    <a:lnTo>
                      <a:pt x="234" y="242"/>
                    </a:lnTo>
                    <a:lnTo>
                      <a:pt x="232" y="242"/>
                    </a:lnTo>
                    <a:lnTo>
                      <a:pt x="232" y="240"/>
                    </a:lnTo>
                    <a:lnTo>
                      <a:pt x="234" y="240"/>
                    </a:lnTo>
                    <a:lnTo>
                      <a:pt x="234" y="238"/>
                    </a:lnTo>
                    <a:lnTo>
                      <a:pt x="234" y="236"/>
                    </a:lnTo>
                    <a:lnTo>
                      <a:pt x="234" y="235"/>
                    </a:lnTo>
                    <a:lnTo>
                      <a:pt x="232" y="235"/>
                    </a:lnTo>
                    <a:lnTo>
                      <a:pt x="232" y="233"/>
                    </a:lnTo>
                    <a:lnTo>
                      <a:pt x="230" y="233"/>
                    </a:lnTo>
                    <a:lnTo>
                      <a:pt x="229" y="235"/>
                    </a:lnTo>
                    <a:lnTo>
                      <a:pt x="229" y="236"/>
                    </a:lnTo>
                    <a:lnTo>
                      <a:pt x="229" y="238"/>
                    </a:lnTo>
                    <a:lnTo>
                      <a:pt x="227" y="236"/>
                    </a:lnTo>
                    <a:lnTo>
                      <a:pt x="227" y="235"/>
                    </a:lnTo>
                    <a:lnTo>
                      <a:pt x="225" y="235"/>
                    </a:lnTo>
                    <a:lnTo>
                      <a:pt x="225" y="233"/>
                    </a:lnTo>
                    <a:lnTo>
                      <a:pt x="225" y="231"/>
                    </a:lnTo>
                    <a:lnTo>
                      <a:pt x="223" y="231"/>
                    </a:lnTo>
                    <a:lnTo>
                      <a:pt x="221" y="231"/>
                    </a:lnTo>
                    <a:lnTo>
                      <a:pt x="221" y="233"/>
                    </a:lnTo>
                    <a:lnTo>
                      <a:pt x="221" y="231"/>
                    </a:lnTo>
                    <a:lnTo>
                      <a:pt x="221" y="233"/>
                    </a:lnTo>
                    <a:lnTo>
                      <a:pt x="219" y="233"/>
                    </a:lnTo>
                    <a:lnTo>
                      <a:pt x="219" y="231"/>
                    </a:lnTo>
                    <a:lnTo>
                      <a:pt x="219" y="233"/>
                    </a:lnTo>
                    <a:lnTo>
                      <a:pt x="217" y="233"/>
                    </a:lnTo>
                    <a:lnTo>
                      <a:pt x="217" y="231"/>
                    </a:lnTo>
                    <a:lnTo>
                      <a:pt x="215" y="231"/>
                    </a:lnTo>
                    <a:lnTo>
                      <a:pt x="217" y="231"/>
                    </a:lnTo>
                    <a:lnTo>
                      <a:pt x="215" y="231"/>
                    </a:lnTo>
                    <a:lnTo>
                      <a:pt x="215" y="233"/>
                    </a:lnTo>
                    <a:lnTo>
                      <a:pt x="213" y="233"/>
                    </a:lnTo>
                    <a:lnTo>
                      <a:pt x="215" y="231"/>
                    </a:lnTo>
                    <a:lnTo>
                      <a:pt x="213" y="231"/>
                    </a:lnTo>
                    <a:lnTo>
                      <a:pt x="211" y="231"/>
                    </a:lnTo>
                    <a:lnTo>
                      <a:pt x="211" y="229"/>
                    </a:lnTo>
                    <a:lnTo>
                      <a:pt x="213" y="227"/>
                    </a:lnTo>
                    <a:lnTo>
                      <a:pt x="211" y="227"/>
                    </a:lnTo>
                    <a:lnTo>
                      <a:pt x="211" y="225"/>
                    </a:lnTo>
                    <a:lnTo>
                      <a:pt x="211" y="223"/>
                    </a:lnTo>
                    <a:lnTo>
                      <a:pt x="213" y="223"/>
                    </a:lnTo>
                    <a:lnTo>
                      <a:pt x="213" y="221"/>
                    </a:lnTo>
                    <a:lnTo>
                      <a:pt x="213" y="219"/>
                    </a:lnTo>
                    <a:lnTo>
                      <a:pt x="211" y="219"/>
                    </a:lnTo>
                    <a:lnTo>
                      <a:pt x="211" y="217"/>
                    </a:lnTo>
                    <a:lnTo>
                      <a:pt x="209" y="217"/>
                    </a:lnTo>
                    <a:lnTo>
                      <a:pt x="207" y="217"/>
                    </a:lnTo>
                    <a:lnTo>
                      <a:pt x="205" y="215"/>
                    </a:lnTo>
                    <a:lnTo>
                      <a:pt x="204" y="217"/>
                    </a:lnTo>
                    <a:lnTo>
                      <a:pt x="202" y="219"/>
                    </a:lnTo>
                    <a:lnTo>
                      <a:pt x="202" y="217"/>
                    </a:lnTo>
                    <a:lnTo>
                      <a:pt x="202" y="215"/>
                    </a:lnTo>
                    <a:lnTo>
                      <a:pt x="202" y="213"/>
                    </a:lnTo>
                    <a:lnTo>
                      <a:pt x="202" y="211"/>
                    </a:lnTo>
                    <a:lnTo>
                      <a:pt x="205" y="208"/>
                    </a:lnTo>
                    <a:lnTo>
                      <a:pt x="204" y="206"/>
                    </a:lnTo>
                    <a:lnTo>
                      <a:pt x="202" y="206"/>
                    </a:lnTo>
                    <a:lnTo>
                      <a:pt x="202" y="204"/>
                    </a:lnTo>
                    <a:lnTo>
                      <a:pt x="200" y="204"/>
                    </a:lnTo>
                    <a:lnTo>
                      <a:pt x="198" y="206"/>
                    </a:lnTo>
                    <a:lnTo>
                      <a:pt x="196" y="210"/>
                    </a:lnTo>
                    <a:lnTo>
                      <a:pt x="194" y="211"/>
                    </a:lnTo>
                    <a:lnTo>
                      <a:pt x="194" y="210"/>
                    </a:lnTo>
                    <a:lnTo>
                      <a:pt x="192" y="210"/>
                    </a:lnTo>
                    <a:lnTo>
                      <a:pt x="192" y="211"/>
                    </a:lnTo>
                    <a:lnTo>
                      <a:pt x="194" y="213"/>
                    </a:lnTo>
                    <a:lnTo>
                      <a:pt x="194" y="215"/>
                    </a:lnTo>
                    <a:lnTo>
                      <a:pt x="194" y="213"/>
                    </a:lnTo>
                    <a:lnTo>
                      <a:pt x="196" y="215"/>
                    </a:lnTo>
                    <a:lnTo>
                      <a:pt x="194" y="219"/>
                    </a:lnTo>
                    <a:lnTo>
                      <a:pt x="192" y="221"/>
                    </a:lnTo>
                    <a:lnTo>
                      <a:pt x="190" y="221"/>
                    </a:lnTo>
                    <a:lnTo>
                      <a:pt x="188" y="223"/>
                    </a:lnTo>
                    <a:lnTo>
                      <a:pt x="188" y="221"/>
                    </a:lnTo>
                    <a:lnTo>
                      <a:pt x="186" y="221"/>
                    </a:lnTo>
                    <a:lnTo>
                      <a:pt x="186" y="223"/>
                    </a:lnTo>
                    <a:lnTo>
                      <a:pt x="184" y="221"/>
                    </a:lnTo>
                    <a:lnTo>
                      <a:pt x="184" y="219"/>
                    </a:lnTo>
                    <a:lnTo>
                      <a:pt x="182" y="217"/>
                    </a:lnTo>
                    <a:lnTo>
                      <a:pt x="181" y="217"/>
                    </a:lnTo>
                    <a:lnTo>
                      <a:pt x="181" y="219"/>
                    </a:lnTo>
                    <a:lnTo>
                      <a:pt x="181" y="217"/>
                    </a:lnTo>
                    <a:lnTo>
                      <a:pt x="179" y="219"/>
                    </a:lnTo>
                    <a:lnTo>
                      <a:pt x="177" y="217"/>
                    </a:lnTo>
                    <a:lnTo>
                      <a:pt x="177" y="219"/>
                    </a:lnTo>
                    <a:lnTo>
                      <a:pt x="175" y="219"/>
                    </a:lnTo>
                    <a:lnTo>
                      <a:pt x="175" y="217"/>
                    </a:lnTo>
                    <a:lnTo>
                      <a:pt x="173" y="219"/>
                    </a:lnTo>
                    <a:lnTo>
                      <a:pt x="171" y="219"/>
                    </a:lnTo>
                    <a:lnTo>
                      <a:pt x="169" y="219"/>
                    </a:lnTo>
                    <a:lnTo>
                      <a:pt x="167" y="221"/>
                    </a:lnTo>
                    <a:lnTo>
                      <a:pt x="167" y="219"/>
                    </a:lnTo>
                    <a:lnTo>
                      <a:pt x="167" y="217"/>
                    </a:lnTo>
                    <a:lnTo>
                      <a:pt x="165" y="217"/>
                    </a:lnTo>
                    <a:lnTo>
                      <a:pt x="163" y="217"/>
                    </a:lnTo>
                    <a:lnTo>
                      <a:pt x="161" y="219"/>
                    </a:lnTo>
                    <a:lnTo>
                      <a:pt x="159" y="221"/>
                    </a:lnTo>
                    <a:lnTo>
                      <a:pt x="161" y="221"/>
                    </a:lnTo>
                    <a:lnTo>
                      <a:pt x="161" y="223"/>
                    </a:lnTo>
                    <a:lnTo>
                      <a:pt x="159" y="225"/>
                    </a:lnTo>
                    <a:lnTo>
                      <a:pt x="159" y="223"/>
                    </a:lnTo>
                    <a:lnTo>
                      <a:pt x="159" y="225"/>
                    </a:lnTo>
                    <a:lnTo>
                      <a:pt x="157" y="227"/>
                    </a:lnTo>
                    <a:lnTo>
                      <a:pt x="157" y="225"/>
                    </a:lnTo>
                    <a:lnTo>
                      <a:pt x="156" y="227"/>
                    </a:lnTo>
                    <a:lnTo>
                      <a:pt x="156" y="229"/>
                    </a:lnTo>
                    <a:lnTo>
                      <a:pt x="156" y="231"/>
                    </a:lnTo>
                    <a:lnTo>
                      <a:pt x="156" y="233"/>
                    </a:lnTo>
                    <a:lnTo>
                      <a:pt x="154" y="231"/>
                    </a:lnTo>
                    <a:lnTo>
                      <a:pt x="154" y="233"/>
                    </a:lnTo>
                    <a:lnTo>
                      <a:pt x="152" y="233"/>
                    </a:lnTo>
                    <a:lnTo>
                      <a:pt x="152" y="235"/>
                    </a:lnTo>
                    <a:lnTo>
                      <a:pt x="150" y="235"/>
                    </a:lnTo>
                    <a:lnTo>
                      <a:pt x="148" y="235"/>
                    </a:lnTo>
                    <a:lnTo>
                      <a:pt x="146" y="235"/>
                    </a:lnTo>
                    <a:lnTo>
                      <a:pt x="146" y="236"/>
                    </a:lnTo>
                    <a:lnTo>
                      <a:pt x="146" y="235"/>
                    </a:lnTo>
                    <a:lnTo>
                      <a:pt x="144" y="235"/>
                    </a:lnTo>
                    <a:lnTo>
                      <a:pt x="144" y="236"/>
                    </a:lnTo>
                    <a:lnTo>
                      <a:pt x="144" y="235"/>
                    </a:lnTo>
                    <a:lnTo>
                      <a:pt x="142" y="235"/>
                    </a:lnTo>
                    <a:lnTo>
                      <a:pt x="142" y="233"/>
                    </a:lnTo>
                    <a:lnTo>
                      <a:pt x="140" y="235"/>
                    </a:lnTo>
                    <a:lnTo>
                      <a:pt x="140" y="233"/>
                    </a:lnTo>
                    <a:lnTo>
                      <a:pt x="138" y="233"/>
                    </a:lnTo>
                    <a:lnTo>
                      <a:pt x="138" y="231"/>
                    </a:lnTo>
                    <a:lnTo>
                      <a:pt x="136" y="231"/>
                    </a:lnTo>
                    <a:lnTo>
                      <a:pt x="136" y="229"/>
                    </a:lnTo>
                    <a:lnTo>
                      <a:pt x="134" y="229"/>
                    </a:lnTo>
                    <a:lnTo>
                      <a:pt x="134" y="231"/>
                    </a:lnTo>
                    <a:lnTo>
                      <a:pt x="134" y="229"/>
                    </a:lnTo>
                    <a:lnTo>
                      <a:pt x="132" y="229"/>
                    </a:lnTo>
                    <a:lnTo>
                      <a:pt x="131" y="229"/>
                    </a:lnTo>
                    <a:lnTo>
                      <a:pt x="131" y="231"/>
                    </a:lnTo>
                    <a:lnTo>
                      <a:pt x="129" y="231"/>
                    </a:lnTo>
                    <a:lnTo>
                      <a:pt x="129" y="229"/>
                    </a:lnTo>
                    <a:lnTo>
                      <a:pt x="129" y="231"/>
                    </a:lnTo>
                    <a:lnTo>
                      <a:pt x="129" y="229"/>
                    </a:lnTo>
                    <a:lnTo>
                      <a:pt x="127" y="229"/>
                    </a:lnTo>
                    <a:lnTo>
                      <a:pt x="127" y="227"/>
                    </a:lnTo>
                    <a:lnTo>
                      <a:pt x="125" y="227"/>
                    </a:lnTo>
                    <a:lnTo>
                      <a:pt x="123" y="225"/>
                    </a:lnTo>
                    <a:lnTo>
                      <a:pt x="121" y="225"/>
                    </a:lnTo>
                    <a:lnTo>
                      <a:pt x="123" y="223"/>
                    </a:lnTo>
                    <a:lnTo>
                      <a:pt x="121" y="221"/>
                    </a:lnTo>
                    <a:lnTo>
                      <a:pt x="121" y="219"/>
                    </a:lnTo>
                    <a:lnTo>
                      <a:pt x="123" y="219"/>
                    </a:lnTo>
                    <a:lnTo>
                      <a:pt x="123" y="217"/>
                    </a:lnTo>
                    <a:lnTo>
                      <a:pt x="121" y="217"/>
                    </a:lnTo>
                    <a:lnTo>
                      <a:pt x="123" y="215"/>
                    </a:lnTo>
                    <a:lnTo>
                      <a:pt x="123" y="213"/>
                    </a:lnTo>
                    <a:lnTo>
                      <a:pt x="123" y="211"/>
                    </a:lnTo>
                    <a:lnTo>
                      <a:pt x="125" y="211"/>
                    </a:lnTo>
                    <a:lnTo>
                      <a:pt x="123" y="211"/>
                    </a:lnTo>
                    <a:lnTo>
                      <a:pt x="123" y="210"/>
                    </a:lnTo>
                    <a:lnTo>
                      <a:pt x="123" y="211"/>
                    </a:lnTo>
                    <a:lnTo>
                      <a:pt x="123" y="210"/>
                    </a:lnTo>
                    <a:lnTo>
                      <a:pt x="123" y="208"/>
                    </a:lnTo>
                    <a:lnTo>
                      <a:pt x="121" y="208"/>
                    </a:lnTo>
                    <a:lnTo>
                      <a:pt x="121" y="206"/>
                    </a:lnTo>
                    <a:lnTo>
                      <a:pt x="121" y="204"/>
                    </a:lnTo>
                    <a:lnTo>
                      <a:pt x="121" y="202"/>
                    </a:lnTo>
                    <a:lnTo>
                      <a:pt x="119" y="202"/>
                    </a:lnTo>
                    <a:lnTo>
                      <a:pt x="119" y="200"/>
                    </a:lnTo>
                    <a:lnTo>
                      <a:pt x="119" y="198"/>
                    </a:lnTo>
                    <a:lnTo>
                      <a:pt x="119" y="196"/>
                    </a:lnTo>
                    <a:lnTo>
                      <a:pt x="119" y="194"/>
                    </a:lnTo>
                    <a:lnTo>
                      <a:pt x="119" y="196"/>
                    </a:lnTo>
                    <a:lnTo>
                      <a:pt x="117" y="196"/>
                    </a:lnTo>
                    <a:lnTo>
                      <a:pt x="115" y="194"/>
                    </a:lnTo>
                    <a:lnTo>
                      <a:pt x="115" y="192"/>
                    </a:lnTo>
                    <a:lnTo>
                      <a:pt x="113" y="192"/>
                    </a:lnTo>
                    <a:lnTo>
                      <a:pt x="113" y="190"/>
                    </a:lnTo>
                    <a:lnTo>
                      <a:pt x="113" y="188"/>
                    </a:lnTo>
                    <a:lnTo>
                      <a:pt x="111" y="188"/>
                    </a:lnTo>
                    <a:lnTo>
                      <a:pt x="109" y="188"/>
                    </a:lnTo>
                    <a:lnTo>
                      <a:pt x="109" y="190"/>
                    </a:lnTo>
                    <a:lnTo>
                      <a:pt x="109" y="188"/>
                    </a:lnTo>
                    <a:lnTo>
                      <a:pt x="109" y="186"/>
                    </a:lnTo>
                    <a:lnTo>
                      <a:pt x="108" y="186"/>
                    </a:lnTo>
                    <a:lnTo>
                      <a:pt x="109" y="186"/>
                    </a:lnTo>
                    <a:lnTo>
                      <a:pt x="108" y="186"/>
                    </a:lnTo>
                    <a:lnTo>
                      <a:pt x="108" y="185"/>
                    </a:lnTo>
                    <a:lnTo>
                      <a:pt x="106" y="185"/>
                    </a:lnTo>
                    <a:lnTo>
                      <a:pt x="104" y="183"/>
                    </a:lnTo>
                    <a:lnTo>
                      <a:pt x="106" y="183"/>
                    </a:lnTo>
                    <a:lnTo>
                      <a:pt x="104" y="183"/>
                    </a:lnTo>
                    <a:lnTo>
                      <a:pt x="102" y="183"/>
                    </a:lnTo>
                    <a:lnTo>
                      <a:pt x="102" y="185"/>
                    </a:lnTo>
                    <a:lnTo>
                      <a:pt x="102" y="186"/>
                    </a:lnTo>
                    <a:lnTo>
                      <a:pt x="102" y="188"/>
                    </a:lnTo>
                    <a:lnTo>
                      <a:pt x="100" y="188"/>
                    </a:lnTo>
                    <a:lnTo>
                      <a:pt x="100" y="190"/>
                    </a:lnTo>
                    <a:lnTo>
                      <a:pt x="100" y="188"/>
                    </a:lnTo>
                    <a:lnTo>
                      <a:pt x="98" y="188"/>
                    </a:lnTo>
                    <a:lnTo>
                      <a:pt x="98" y="190"/>
                    </a:lnTo>
                    <a:lnTo>
                      <a:pt x="98" y="188"/>
                    </a:lnTo>
                    <a:lnTo>
                      <a:pt x="98" y="190"/>
                    </a:lnTo>
                    <a:lnTo>
                      <a:pt x="98" y="188"/>
                    </a:lnTo>
                    <a:lnTo>
                      <a:pt x="98" y="190"/>
                    </a:lnTo>
                    <a:lnTo>
                      <a:pt x="96" y="190"/>
                    </a:lnTo>
                    <a:lnTo>
                      <a:pt x="96" y="194"/>
                    </a:lnTo>
                    <a:lnTo>
                      <a:pt x="94" y="192"/>
                    </a:lnTo>
                    <a:lnTo>
                      <a:pt x="94" y="190"/>
                    </a:lnTo>
                    <a:lnTo>
                      <a:pt x="90" y="190"/>
                    </a:lnTo>
                    <a:lnTo>
                      <a:pt x="90" y="188"/>
                    </a:lnTo>
                    <a:lnTo>
                      <a:pt x="90" y="186"/>
                    </a:lnTo>
                    <a:lnTo>
                      <a:pt x="92" y="188"/>
                    </a:lnTo>
                    <a:lnTo>
                      <a:pt x="92" y="186"/>
                    </a:lnTo>
                    <a:lnTo>
                      <a:pt x="92" y="185"/>
                    </a:lnTo>
                    <a:lnTo>
                      <a:pt x="92" y="186"/>
                    </a:lnTo>
                    <a:lnTo>
                      <a:pt x="90" y="186"/>
                    </a:lnTo>
                    <a:lnTo>
                      <a:pt x="90" y="188"/>
                    </a:lnTo>
                    <a:lnTo>
                      <a:pt x="88" y="190"/>
                    </a:lnTo>
                    <a:lnTo>
                      <a:pt x="88" y="188"/>
                    </a:lnTo>
                    <a:lnTo>
                      <a:pt x="90" y="188"/>
                    </a:lnTo>
                    <a:lnTo>
                      <a:pt x="88" y="188"/>
                    </a:lnTo>
                    <a:lnTo>
                      <a:pt x="88" y="186"/>
                    </a:lnTo>
                    <a:lnTo>
                      <a:pt x="88" y="185"/>
                    </a:lnTo>
                    <a:lnTo>
                      <a:pt x="86" y="185"/>
                    </a:lnTo>
                    <a:lnTo>
                      <a:pt x="86" y="186"/>
                    </a:lnTo>
                    <a:lnTo>
                      <a:pt x="84" y="186"/>
                    </a:lnTo>
                    <a:lnTo>
                      <a:pt x="84" y="188"/>
                    </a:lnTo>
                    <a:lnTo>
                      <a:pt x="84" y="186"/>
                    </a:lnTo>
                    <a:lnTo>
                      <a:pt x="83" y="188"/>
                    </a:lnTo>
                    <a:lnTo>
                      <a:pt x="73" y="179"/>
                    </a:lnTo>
                    <a:lnTo>
                      <a:pt x="71" y="179"/>
                    </a:lnTo>
                    <a:lnTo>
                      <a:pt x="69" y="179"/>
                    </a:lnTo>
                    <a:lnTo>
                      <a:pt x="69" y="181"/>
                    </a:lnTo>
                    <a:lnTo>
                      <a:pt x="71" y="181"/>
                    </a:lnTo>
                    <a:lnTo>
                      <a:pt x="69" y="181"/>
                    </a:lnTo>
                    <a:lnTo>
                      <a:pt x="67" y="181"/>
                    </a:lnTo>
                    <a:lnTo>
                      <a:pt x="65" y="183"/>
                    </a:lnTo>
                    <a:lnTo>
                      <a:pt x="63" y="183"/>
                    </a:lnTo>
                    <a:lnTo>
                      <a:pt x="63" y="181"/>
                    </a:lnTo>
                    <a:lnTo>
                      <a:pt x="61" y="181"/>
                    </a:lnTo>
                    <a:lnTo>
                      <a:pt x="61" y="179"/>
                    </a:lnTo>
                    <a:lnTo>
                      <a:pt x="59" y="179"/>
                    </a:lnTo>
                    <a:lnTo>
                      <a:pt x="58" y="181"/>
                    </a:lnTo>
                    <a:lnTo>
                      <a:pt x="58" y="183"/>
                    </a:lnTo>
                    <a:lnTo>
                      <a:pt x="58" y="185"/>
                    </a:lnTo>
                    <a:lnTo>
                      <a:pt x="58" y="186"/>
                    </a:lnTo>
                    <a:lnTo>
                      <a:pt x="56" y="186"/>
                    </a:lnTo>
                    <a:lnTo>
                      <a:pt x="54" y="186"/>
                    </a:lnTo>
                    <a:lnTo>
                      <a:pt x="52" y="186"/>
                    </a:lnTo>
                    <a:lnTo>
                      <a:pt x="52" y="183"/>
                    </a:lnTo>
                    <a:lnTo>
                      <a:pt x="52" y="181"/>
                    </a:lnTo>
                    <a:lnTo>
                      <a:pt x="52" y="179"/>
                    </a:lnTo>
                    <a:lnTo>
                      <a:pt x="50" y="177"/>
                    </a:lnTo>
                    <a:lnTo>
                      <a:pt x="50" y="175"/>
                    </a:lnTo>
                    <a:lnTo>
                      <a:pt x="52" y="173"/>
                    </a:lnTo>
                    <a:lnTo>
                      <a:pt x="52" y="171"/>
                    </a:lnTo>
                    <a:lnTo>
                      <a:pt x="50" y="171"/>
                    </a:lnTo>
                    <a:lnTo>
                      <a:pt x="50" y="169"/>
                    </a:lnTo>
                    <a:lnTo>
                      <a:pt x="52" y="167"/>
                    </a:lnTo>
                    <a:lnTo>
                      <a:pt x="52" y="165"/>
                    </a:lnTo>
                    <a:lnTo>
                      <a:pt x="52" y="161"/>
                    </a:lnTo>
                    <a:lnTo>
                      <a:pt x="54" y="160"/>
                    </a:lnTo>
                    <a:lnTo>
                      <a:pt x="54" y="158"/>
                    </a:lnTo>
                    <a:lnTo>
                      <a:pt x="52" y="158"/>
                    </a:lnTo>
                    <a:lnTo>
                      <a:pt x="52" y="156"/>
                    </a:lnTo>
                    <a:lnTo>
                      <a:pt x="54" y="156"/>
                    </a:lnTo>
                    <a:lnTo>
                      <a:pt x="52" y="156"/>
                    </a:lnTo>
                    <a:lnTo>
                      <a:pt x="52" y="154"/>
                    </a:lnTo>
                    <a:lnTo>
                      <a:pt x="52" y="156"/>
                    </a:lnTo>
                    <a:lnTo>
                      <a:pt x="50" y="156"/>
                    </a:lnTo>
                    <a:lnTo>
                      <a:pt x="48" y="154"/>
                    </a:lnTo>
                    <a:lnTo>
                      <a:pt x="46" y="154"/>
                    </a:lnTo>
                    <a:lnTo>
                      <a:pt x="48" y="154"/>
                    </a:lnTo>
                    <a:lnTo>
                      <a:pt x="46" y="152"/>
                    </a:lnTo>
                    <a:lnTo>
                      <a:pt x="44" y="154"/>
                    </a:lnTo>
                    <a:lnTo>
                      <a:pt x="42" y="152"/>
                    </a:lnTo>
                    <a:lnTo>
                      <a:pt x="42" y="154"/>
                    </a:lnTo>
                    <a:lnTo>
                      <a:pt x="40" y="154"/>
                    </a:lnTo>
                    <a:lnTo>
                      <a:pt x="42" y="156"/>
                    </a:lnTo>
                    <a:lnTo>
                      <a:pt x="42" y="158"/>
                    </a:lnTo>
                    <a:lnTo>
                      <a:pt x="40" y="158"/>
                    </a:lnTo>
                    <a:lnTo>
                      <a:pt x="38" y="158"/>
                    </a:lnTo>
                    <a:lnTo>
                      <a:pt x="36" y="156"/>
                    </a:lnTo>
                    <a:lnTo>
                      <a:pt x="36" y="158"/>
                    </a:lnTo>
                    <a:lnTo>
                      <a:pt x="36" y="156"/>
                    </a:lnTo>
                    <a:lnTo>
                      <a:pt x="34" y="158"/>
                    </a:lnTo>
                    <a:lnTo>
                      <a:pt x="33" y="158"/>
                    </a:lnTo>
                    <a:lnTo>
                      <a:pt x="33" y="160"/>
                    </a:lnTo>
                    <a:lnTo>
                      <a:pt x="31" y="160"/>
                    </a:lnTo>
                    <a:lnTo>
                      <a:pt x="33" y="161"/>
                    </a:lnTo>
                    <a:lnTo>
                      <a:pt x="31" y="161"/>
                    </a:lnTo>
                    <a:lnTo>
                      <a:pt x="31" y="160"/>
                    </a:lnTo>
                    <a:lnTo>
                      <a:pt x="31" y="161"/>
                    </a:lnTo>
                    <a:lnTo>
                      <a:pt x="29" y="160"/>
                    </a:lnTo>
                    <a:lnTo>
                      <a:pt x="27" y="160"/>
                    </a:lnTo>
                    <a:lnTo>
                      <a:pt x="27" y="161"/>
                    </a:lnTo>
                    <a:lnTo>
                      <a:pt x="27" y="163"/>
                    </a:lnTo>
                    <a:lnTo>
                      <a:pt x="25" y="163"/>
                    </a:lnTo>
                    <a:lnTo>
                      <a:pt x="23" y="163"/>
                    </a:lnTo>
                    <a:lnTo>
                      <a:pt x="25" y="163"/>
                    </a:lnTo>
                    <a:lnTo>
                      <a:pt x="23" y="163"/>
                    </a:lnTo>
                    <a:lnTo>
                      <a:pt x="21" y="161"/>
                    </a:lnTo>
                    <a:lnTo>
                      <a:pt x="21" y="163"/>
                    </a:lnTo>
                    <a:lnTo>
                      <a:pt x="19" y="163"/>
                    </a:lnTo>
                    <a:lnTo>
                      <a:pt x="19" y="161"/>
                    </a:lnTo>
                    <a:lnTo>
                      <a:pt x="19" y="160"/>
                    </a:lnTo>
                    <a:lnTo>
                      <a:pt x="17" y="160"/>
                    </a:lnTo>
                    <a:lnTo>
                      <a:pt x="15" y="160"/>
                    </a:lnTo>
                    <a:lnTo>
                      <a:pt x="15" y="158"/>
                    </a:lnTo>
                    <a:lnTo>
                      <a:pt x="17" y="158"/>
                    </a:lnTo>
                    <a:lnTo>
                      <a:pt x="15" y="158"/>
                    </a:lnTo>
                    <a:lnTo>
                      <a:pt x="17" y="156"/>
                    </a:lnTo>
                    <a:lnTo>
                      <a:pt x="17" y="158"/>
                    </a:lnTo>
                    <a:lnTo>
                      <a:pt x="19" y="156"/>
                    </a:lnTo>
                    <a:lnTo>
                      <a:pt x="21" y="154"/>
                    </a:lnTo>
                    <a:lnTo>
                      <a:pt x="19" y="154"/>
                    </a:lnTo>
                    <a:lnTo>
                      <a:pt x="21" y="154"/>
                    </a:lnTo>
                    <a:lnTo>
                      <a:pt x="19" y="152"/>
                    </a:lnTo>
                    <a:lnTo>
                      <a:pt x="19" y="150"/>
                    </a:lnTo>
                    <a:lnTo>
                      <a:pt x="21" y="150"/>
                    </a:lnTo>
                    <a:lnTo>
                      <a:pt x="21" y="148"/>
                    </a:lnTo>
                    <a:lnTo>
                      <a:pt x="21" y="146"/>
                    </a:lnTo>
                    <a:lnTo>
                      <a:pt x="21" y="144"/>
                    </a:lnTo>
                    <a:lnTo>
                      <a:pt x="21" y="146"/>
                    </a:lnTo>
                    <a:lnTo>
                      <a:pt x="21" y="144"/>
                    </a:lnTo>
                    <a:lnTo>
                      <a:pt x="19" y="144"/>
                    </a:lnTo>
                    <a:lnTo>
                      <a:pt x="19" y="142"/>
                    </a:lnTo>
                    <a:lnTo>
                      <a:pt x="17" y="142"/>
                    </a:lnTo>
                    <a:lnTo>
                      <a:pt x="19" y="142"/>
                    </a:lnTo>
                    <a:lnTo>
                      <a:pt x="19" y="140"/>
                    </a:lnTo>
                    <a:lnTo>
                      <a:pt x="17" y="140"/>
                    </a:lnTo>
                    <a:lnTo>
                      <a:pt x="17" y="138"/>
                    </a:lnTo>
                    <a:lnTo>
                      <a:pt x="15" y="138"/>
                    </a:lnTo>
                    <a:lnTo>
                      <a:pt x="15" y="137"/>
                    </a:lnTo>
                    <a:lnTo>
                      <a:pt x="17" y="135"/>
                    </a:lnTo>
                    <a:lnTo>
                      <a:pt x="17" y="137"/>
                    </a:lnTo>
                    <a:lnTo>
                      <a:pt x="19" y="137"/>
                    </a:lnTo>
                    <a:lnTo>
                      <a:pt x="17" y="137"/>
                    </a:lnTo>
                    <a:lnTo>
                      <a:pt x="17" y="135"/>
                    </a:lnTo>
                    <a:lnTo>
                      <a:pt x="17" y="133"/>
                    </a:lnTo>
                    <a:lnTo>
                      <a:pt x="17" y="131"/>
                    </a:lnTo>
                    <a:lnTo>
                      <a:pt x="15" y="133"/>
                    </a:lnTo>
                    <a:lnTo>
                      <a:pt x="17" y="133"/>
                    </a:lnTo>
                    <a:lnTo>
                      <a:pt x="15" y="135"/>
                    </a:lnTo>
                    <a:lnTo>
                      <a:pt x="13" y="133"/>
                    </a:lnTo>
                    <a:lnTo>
                      <a:pt x="11" y="133"/>
                    </a:lnTo>
                    <a:lnTo>
                      <a:pt x="13" y="131"/>
                    </a:lnTo>
                    <a:lnTo>
                      <a:pt x="11" y="131"/>
                    </a:lnTo>
                    <a:lnTo>
                      <a:pt x="13" y="129"/>
                    </a:lnTo>
                    <a:lnTo>
                      <a:pt x="11" y="129"/>
                    </a:lnTo>
                    <a:lnTo>
                      <a:pt x="11" y="127"/>
                    </a:lnTo>
                    <a:lnTo>
                      <a:pt x="10" y="127"/>
                    </a:lnTo>
                    <a:lnTo>
                      <a:pt x="8" y="127"/>
                    </a:lnTo>
                    <a:lnTo>
                      <a:pt x="8" y="125"/>
                    </a:lnTo>
                    <a:lnTo>
                      <a:pt x="8" y="127"/>
                    </a:lnTo>
                    <a:lnTo>
                      <a:pt x="6" y="127"/>
                    </a:lnTo>
                    <a:lnTo>
                      <a:pt x="4" y="127"/>
                    </a:lnTo>
                    <a:lnTo>
                      <a:pt x="4" y="129"/>
                    </a:lnTo>
                    <a:lnTo>
                      <a:pt x="2" y="129"/>
                    </a:lnTo>
                    <a:lnTo>
                      <a:pt x="4" y="127"/>
                    </a:lnTo>
                    <a:lnTo>
                      <a:pt x="2" y="127"/>
                    </a:lnTo>
                    <a:lnTo>
                      <a:pt x="4" y="127"/>
                    </a:lnTo>
                    <a:lnTo>
                      <a:pt x="2" y="127"/>
                    </a:lnTo>
                    <a:lnTo>
                      <a:pt x="4" y="125"/>
                    </a:lnTo>
                    <a:lnTo>
                      <a:pt x="2" y="125"/>
                    </a:lnTo>
                    <a:lnTo>
                      <a:pt x="4" y="125"/>
                    </a:lnTo>
                    <a:lnTo>
                      <a:pt x="4" y="123"/>
                    </a:lnTo>
                    <a:lnTo>
                      <a:pt x="4" y="125"/>
                    </a:lnTo>
                    <a:lnTo>
                      <a:pt x="4" y="123"/>
                    </a:lnTo>
                    <a:lnTo>
                      <a:pt x="2" y="125"/>
                    </a:lnTo>
                    <a:lnTo>
                      <a:pt x="2" y="123"/>
                    </a:lnTo>
                    <a:lnTo>
                      <a:pt x="2" y="121"/>
                    </a:lnTo>
                    <a:lnTo>
                      <a:pt x="4" y="121"/>
                    </a:lnTo>
                    <a:lnTo>
                      <a:pt x="4" y="119"/>
                    </a:lnTo>
                    <a:lnTo>
                      <a:pt x="6" y="119"/>
                    </a:lnTo>
                    <a:lnTo>
                      <a:pt x="8" y="119"/>
                    </a:lnTo>
                    <a:lnTo>
                      <a:pt x="6" y="119"/>
                    </a:lnTo>
                    <a:lnTo>
                      <a:pt x="6" y="117"/>
                    </a:lnTo>
                    <a:lnTo>
                      <a:pt x="8" y="117"/>
                    </a:lnTo>
                    <a:lnTo>
                      <a:pt x="6" y="117"/>
                    </a:lnTo>
                    <a:lnTo>
                      <a:pt x="6" y="115"/>
                    </a:lnTo>
                    <a:lnTo>
                      <a:pt x="6" y="117"/>
                    </a:lnTo>
                    <a:lnTo>
                      <a:pt x="4" y="117"/>
                    </a:lnTo>
                    <a:lnTo>
                      <a:pt x="2" y="115"/>
                    </a:lnTo>
                    <a:lnTo>
                      <a:pt x="4" y="115"/>
                    </a:lnTo>
                    <a:lnTo>
                      <a:pt x="4" y="113"/>
                    </a:lnTo>
                    <a:lnTo>
                      <a:pt x="2" y="113"/>
                    </a:lnTo>
                    <a:lnTo>
                      <a:pt x="2" y="112"/>
                    </a:lnTo>
                    <a:lnTo>
                      <a:pt x="2" y="110"/>
                    </a:lnTo>
                    <a:lnTo>
                      <a:pt x="0" y="110"/>
                    </a:lnTo>
                    <a:lnTo>
                      <a:pt x="0" y="108"/>
                    </a:lnTo>
                    <a:lnTo>
                      <a:pt x="2" y="108"/>
                    </a:lnTo>
                    <a:lnTo>
                      <a:pt x="4" y="108"/>
                    </a:lnTo>
                    <a:lnTo>
                      <a:pt x="4" y="106"/>
                    </a:lnTo>
                    <a:lnTo>
                      <a:pt x="2" y="104"/>
                    </a:lnTo>
                    <a:lnTo>
                      <a:pt x="0" y="102"/>
                    </a:lnTo>
                    <a:lnTo>
                      <a:pt x="2" y="102"/>
                    </a:lnTo>
                    <a:lnTo>
                      <a:pt x="4" y="100"/>
                    </a:lnTo>
                    <a:lnTo>
                      <a:pt x="6" y="100"/>
                    </a:lnTo>
                    <a:lnTo>
                      <a:pt x="6" y="102"/>
                    </a:lnTo>
                    <a:lnTo>
                      <a:pt x="6" y="100"/>
                    </a:lnTo>
                    <a:lnTo>
                      <a:pt x="8" y="98"/>
                    </a:lnTo>
                    <a:lnTo>
                      <a:pt x="10" y="98"/>
                    </a:lnTo>
                    <a:lnTo>
                      <a:pt x="10" y="96"/>
                    </a:lnTo>
                    <a:lnTo>
                      <a:pt x="10" y="98"/>
                    </a:lnTo>
                    <a:lnTo>
                      <a:pt x="11" y="98"/>
                    </a:lnTo>
                    <a:lnTo>
                      <a:pt x="13" y="98"/>
                    </a:lnTo>
                    <a:lnTo>
                      <a:pt x="15" y="98"/>
                    </a:lnTo>
                    <a:lnTo>
                      <a:pt x="17" y="98"/>
                    </a:lnTo>
                    <a:lnTo>
                      <a:pt x="17" y="100"/>
                    </a:lnTo>
                    <a:lnTo>
                      <a:pt x="19" y="100"/>
                    </a:lnTo>
                    <a:lnTo>
                      <a:pt x="21" y="98"/>
                    </a:lnTo>
                    <a:lnTo>
                      <a:pt x="23" y="100"/>
                    </a:lnTo>
                    <a:lnTo>
                      <a:pt x="25" y="100"/>
                    </a:lnTo>
                    <a:lnTo>
                      <a:pt x="27" y="100"/>
                    </a:lnTo>
                    <a:lnTo>
                      <a:pt x="25" y="100"/>
                    </a:lnTo>
                    <a:lnTo>
                      <a:pt x="25" y="98"/>
                    </a:lnTo>
                    <a:lnTo>
                      <a:pt x="25" y="96"/>
                    </a:lnTo>
                    <a:lnTo>
                      <a:pt x="27" y="96"/>
                    </a:lnTo>
                    <a:lnTo>
                      <a:pt x="29" y="96"/>
                    </a:lnTo>
                    <a:lnTo>
                      <a:pt x="31" y="96"/>
                    </a:lnTo>
                    <a:lnTo>
                      <a:pt x="33" y="96"/>
                    </a:lnTo>
                    <a:lnTo>
                      <a:pt x="31" y="96"/>
                    </a:lnTo>
                    <a:lnTo>
                      <a:pt x="33" y="96"/>
                    </a:lnTo>
                    <a:lnTo>
                      <a:pt x="33" y="94"/>
                    </a:lnTo>
                    <a:lnTo>
                      <a:pt x="31" y="96"/>
                    </a:lnTo>
                    <a:lnTo>
                      <a:pt x="31" y="94"/>
                    </a:lnTo>
                    <a:lnTo>
                      <a:pt x="33" y="94"/>
                    </a:lnTo>
                    <a:lnTo>
                      <a:pt x="33" y="90"/>
                    </a:lnTo>
                    <a:lnTo>
                      <a:pt x="31" y="90"/>
                    </a:lnTo>
                    <a:lnTo>
                      <a:pt x="31" y="88"/>
                    </a:lnTo>
                    <a:lnTo>
                      <a:pt x="33" y="88"/>
                    </a:lnTo>
                    <a:lnTo>
                      <a:pt x="36" y="92"/>
                    </a:lnTo>
                    <a:lnTo>
                      <a:pt x="36" y="90"/>
                    </a:lnTo>
                    <a:lnTo>
                      <a:pt x="36" y="88"/>
                    </a:lnTo>
                    <a:lnTo>
                      <a:pt x="36" y="90"/>
                    </a:lnTo>
                    <a:lnTo>
                      <a:pt x="38" y="90"/>
                    </a:lnTo>
                    <a:lnTo>
                      <a:pt x="38" y="88"/>
                    </a:lnTo>
                    <a:lnTo>
                      <a:pt x="40" y="87"/>
                    </a:lnTo>
                    <a:lnTo>
                      <a:pt x="42" y="85"/>
                    </a:lnTo>
                    <a:lnTo>
                      <a:pt x="44" y="88"/>
                    </a:lnTo>
                    <a:lnTo>
                      <a:pt x="46" y="85"/>
                    </a:lnTo>
                    <a:lnTo>
                      <a:pt x="46" y="83"/>
                    </a:lnTo>
                    <a:lnTo>
                      <a:pt x="48" y="83"/>
                    </a:lnTo>
                    <a:lnTo>
                      <a:pt x="46" y="83"/>
                    </a:lnTo>
                    <a:lnTo>
                      <a:pt x="46" y="81"/>
                    </a:lnTo>
                    <a:lnTo>
                      <a:pt x="44" y="81"/>
                    </a:lnTo>
                    <a:lnTo>
                      <a:pt x="42" y="79"/>
                    </a:lnTo>
                    <a:lnTo>
                      <a:pt x="42" y="77"/>
                    </a:lnTo>
                    <a:lnTo>
                      <a:pt x="48" y="69"/>
                    </a:lnTo>
                    <a:lnTo>
                      <a:pt x="50" y="67"/>
                    </a:lnTo>
                    <a:lnTo>
                      <a:pt x="52" y="67"/>
                    </a:lnTo>
                    <a:lnTo>
                      <a:pt x="52" y="69"/>
                    </a:lnTo>
                    <a:lnTo>
                      <a:pt x="54" y="65"/>
                    </a:lnTo>
                    <a:lnTo>
                      <a:pt x="52" y="63"/>
                    </a:lnTo>
                    <a:lnTo>
                      <a:pt x="50" y="63"/>
                    </a:lnTo>
                    <a:lnTo>
                      <a:pt x="50" y="62"/>
                    </a:lnTo>
                    <a:lnTo>
                      <a:pt x="50" y="60"/>
                    </a:lnTo>
                    <a:lnTo>
                      <a:pt x="48" y="60"/>
                    </a:lnTo>
                    <a:lnTo>
                      <a:pt x="46" y="58"/>
                    </a:lnTo>
                    <a:lnTo>
                      <a:pt x="48" y="58"/>
                    </a:lnTo>
                    <a:lnTo>
                      <a:pt x="48" y="56"/>
                    </a:lnTo>
                    <a:lnTo>
                      <a:pt x="50" y="56"/>
                    </a:lnTo>
                    <a:lnTo>
                      <a:pt x="52" y="56"/>
                    </a:lnTo>
                    <a:lnTo>
                      <a:pt x="52" y="54"/>
                    </a:lnTo>
                    <a:lnTo>
                      <a:pt x="52" y="52"/>
                    </a:lnTo>
                    <a:lnTo>
                      <a:pt x="54" y="50"/>
                    </a:lnTo>
                    <a:lnTo>
                      <a:pt x="56" y="50"/>
                    </a:lnTo>
                    <a:lnTo>
                      <a:pt x="56" y="48"/>
                    </a:lnTo>
                    <a:lnTo>
                      <a:pt x="56" y="46"/>
                    </a:lnTo>
                    <a:lnTo>
                      <a:pt x="58" y="46"/>
                    </a:lnTo>
                    <a:lnTo>
                      <a:pt x="58" y="44"/>
                    </a:lnTo>
                    <a:lnTo>
                      <a:pt x="59" y="44"/>
                    </a:lnTo>
                    <a:lnTo>
                      <a:pt x="61" y="44"/>
                    </a:lnTo>
                    <a:lnTo>
                      <a:pt x="61" y="42"/>
                    </a:lnTo>
                    <a:lnTo>
                      <a:pt x="63" y="42"/>
                    </a:lnTo>
                    <a:lnTo>
                      <a:pt x="63" y="40"/>
                    </a:lnTo>
                    <a:lnTo>
                      <a:pt x="65" y="40"/>
                    </a:lnTo>
                    <a:lnTo>
                      <a:pt x="73" y="29"/>
                    </a:lnTo>
                    <a:lnTo>
                      <a:pt x="73" y="27"/>
                    </a:lnTo>
                    <a:lnTo>
                      <a:pt x="75" y="27"/>
                    </a:lnTo>
                    <a:lnTo>
                      <a:pt x="75" y="25"/>
                    </a:lnTo>
                    <a:lnTo>
                      <a:pt x="75" y="23"/>
                    </a:lnTo>
                    <a:lnTo>
                      <a:pt x="75" y="21"/>
                    </a:lnTo>
                    <a:lnTo>
                      <a:pt x="77" y="21"/>
                    </a:lnTo>
                    <a:lnTo>
                      <a:pt x="77" y="19"/>
                    </a:lnTo>
                    <a:lnTo>
                      <a:pt x="77" y="17"/>
                    </a:lnTo>
                    <a:lnTo>
                      <a:pt x="79" y="17"/>
                    </a:lnTo>
                    <a:lnTo>
                      <a:pt x="79" y="15"/>
                    </a:lnTo>
                    <a:lnTo>
                      <a:pt x="81" y="15"/>
                    </a:lnTo>
                    <a:lnTo>
                      <a:pt x="83" y="15"/>
                    </a:lnTo>
                    <a:lnTo>
                      <a:pt x="84" y="15"/>
                    </a:lnTo>
                    <a:lnTo>
                      <a:pt x="84" y="17"/>
                    </a:lnTo>
                    <a:lnTo>
                      <a:pt x="86" y="17"/>
                    </a:lnTo>
                    <a:lnTo>
                      <a:pt x="88" y="17"/>
                    </a:lnTo>
                    <a:lnTo>
                      <a:pt x="90" y="17"/>
                    </a:lnTo>
                    <a:lnTo>
                      <a:pt x="90" y="15"/>
                    </a:lnTo>
                    <a:lnTo>
                      <a:pt x="92" y="15"/>
                    </a:lnTo>
                    <a:lnTo>
                      <a:pt x="104" y="6"/>
                    </a:lnTo>
                    <a:lnTo>
                      <a:pt x="131" y="4"/>
                    </a:lnTo>
                    <a:lnTo>
                      <a:pt x="132" y="4"/>
                    </a:lnTo>
                    <a:lnTo>
                      <a:pt x="136" y="2"/>
                    </a:lnTo>
                    <a:lnTo>
                      <a:pt x="138" y="0"/>
                    </a:lnTo>
                    <a:lnTo>
                      <a:pt x="140" y="0"/>
                    </a:lnTo>
                    <a:lnTo>
                      <a:pt x="142" y="0"/>
                    </a:lnTo>
                    <a:lnTo>
                      <a:pt x="142" y="2"/>
                    </a:lnTo>
                    <a:lnTo>
                      <a:pt x="146" y="4"/>
                    </a:lnTo>
                    <a:lnTo>
                      <a:pt x="146" y="2"/>
                    </a:lnTo>
                    <a:lnTo>
                      <a:pt x="150" y="2"/>
                    </a:lnTo>
                    <a:lnTo>
                      <a:pt x="152" y="2"/>
                    </a:lnTo>
                    <a:lnTo>
                      <a:pt x="152" y="4"/>
                    </a:lnTo>
                    <a:lnTo>
                      <a:pt x="152" y="6"/>
                    </a:lnTo>
                    <a:lnTo>
                      <a:pt x="154" y="8"/>
                    </a:lnTo>
                    <a:lnTo>
                      <a:pt x="156" y="10"/>
                    </a:lnTo>
                    <a:lnTo>
                      <a:pt x="156" y="12"/>
                    </a:lnTo>
                    <a:lnTo>
                      <a:pt x="154" y="13"/>
                    </a:lnTo>
                    <a:lnTo>
                      <a:pt x="156" y="13"/>
                    </a:lnTo>
                    <a:lnTo>
                      <a:pt x="157" y="13"/>
                    </a:lnTo>
                    <a:lnTo>
                      <a:pt x="157" y="15"/>
                    </a:lnTo>
                    <a:lnTo>
                      <a:pt x="159" y="15"/>
                    </a:lnTo>
                    <a:lnTo>
                      <a:pt x="161" y="15"/>
                    </a:lnTo>
                    <a:lnTo>
                      <a:pt x="165" y="17"/>
                    </a:lnTo>
                    <a:lnTo>
                      <a:pt x="165" y="19"/>
                    </a:lnTo>
                    <a:lnTo>
                      <a:pt x="167" y="1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2" name="Freeform 142"/>
              <p:cNvSpPr>
                <a:spLocks/>
              </p:cNvSpPr>
              <p:nvPr/>
            </p:nvSpPr>
            <p:spPr bwMode="auto">
              <a:xfrm>
                <a:off x="587737" y="2868927"/>
                <a:ext cx="297669" cy="318316"/>
              </a:xfrm>
              <a:custGeom>
                <a:avLst/>
                <a:gdLst>
                  <a:gd name="T0" fmla="*/ 127 w 173"/>
                  <a:gd name="T1" fmla="*/ 50 h 185"/>
                  <a:gd name="T2" fmla="*/ 129 w 173"/>
                  <a:gd name="T3" fmla="*/ 58 h 185"/>
                  <a:gd name="T4" fmla="*/ 125 w 173"/>
                  <a:gd name="T5" fmla="*/ 65 h 185"/>
                  <a:gd name="T6" fmla="*/ 137 w 173"/>
                  <a:gd name="T7" fmla="*/ 71 h 185"/>
                  <a:gd name="T8" fmla="*/ 140 w 173"/>
                  <a:gd name="T9" fmla="*/ 71 h 185"/>
                  <a:gd name="T10" fmla="*/ 144 w 173"/>
                  <a:gd name="T11" fmla="*/ 73 h 185"/>
                  <a:gd name="T12" fmla="*/ 148 w 173"/>
                  <a:gd name="T13" fmla="*/ 83 h 185"/>
                  <a:gd name="T14" fmla="*/ 154 w 173"/>
                  <a:gd name="T15" fmla="*/ 88 h 185"/>
                  <a:gd name="T16" fmla="*/ 158 w 173"/>
                  <a:gd name="T17" fmla="*/ 92 h 185"/>
                  <a:gd name="T18" fmla="*/ 162 w 173"/>
                  <a:gd name="T19" fmla="*/ 87 h 185"/>
                  <a:gd name="T20" fmla="*/ 165 w 173"/>
                  <a:gd name="T21" fmla="*/ 94 h 185"/>
                  <a:gd name="T22" fmla="*/ 167 w 173"/>
                  <a:gd name="T23" fmla="*/ 100 h 185"/>
                  <a:gd name="T24" fmla="*/ 171 w 173"/>
                  <a:gd name="T25" fmla="*/ 112 h 185"/>
                  <a:gd name="T26" fmla="*/ 169 w 173"/>
                  <a:gd name="T27" fmla="*/ 125 h 185"/>
                  <a:gd name="T28" fmla="*/ 164 w 173"/>
                  <a:gd name="T29" fmla="*/ 127 h 185"/>
                  <a:gd name="T30" fmla="*/ 146 w 173"/>
                  <a:gd name="T31" fmla="*/ 125 h 185"/>
                  <a:gd name="T32" fmla="*/ 137 w 173"/>
                  <a:gd name="T33" fmla="*/ 115 h 185"/>
                  <a:gd name="T34" fmla="*/ 123 w 173"/>
                  <a:gd name="T35" fmla="*/ 123 h 185"/>
                  <a:gd name="T36" fmla="*/ 110 w 173"/>
                  <a:gd name="T37" fmla="*/ 125 h 185"/>
                  <a:gd name="T38" fmla="*/ 100 w 173"/>
                  <a:gd name="T39" fmla="*/ 129 h 185"/>
                  <a:gd name="T40" fmla="*/ 96 w 173"/>
                  <a:gd name="T41" fmla="*/ 148 h 185"/>
                  <a:gd name="T42" fmla="*/ 81 w 173"/>
                  <a:gd name="T43" fmla="*/ 169 h 185"/>
                  <a:gd name="T44" fmla="*/ 69 w 173"/>
                  <a:gd name="T45" fmla="*/ 173 h 185"/>
                  <a:gd name="T46" fmla="*/ 54 w 173"/>
                  <a:gd name="T47" fmla="*/ 183 h 185"/>
                  <a:gd name="T48" fmla="*/ 41 w 173"/>
                  <a:gd name="T49" fmla="*/ 183 h 185"/>
                  <a:gd name="T50" fmla="*/ 25 w 173"/>
                  <a:gd name="T51" fmla="*/ 175 h 185"/>
                  <a:gd name="T52" fmla="*/ 12 w 173"/>
                  <a:gd name="T53" fmla="*/ 171 h 185"/>
                  <a:gd name="T54" fmla="*/ 8 w 173"/>
                  <a:gd name="T55" fmla="*/ 156 h 185"/>
                  <a:gd name="T56" fmla="*/ 0 w 173"/>
                  <a:gd name="T57" fmla="*/ 146 h 185"/>
                  <a:gd name="T58" fmla="*/ 4 w 173"/>
                  <a:gd name="T59" fmla="*/ 137 h 185"/>
                  <a:gd name="T60" fmla="*/ 12 w 173"/>
                  <a:gd name="T61" fmla="*/ 131 h 185"/>
                  <a:gd name="T62" fmla="*/ 10 w 173"/>
                  <a:gd name="T63" fmla="*/ 127 h 185"/>
                  <a:gd name="T64" fmla="*/ 16 w 173"/>
                  <a:gd name="T65" fmla="*/ 115 h 185"/>
                  <a:gd name="T66" fmla="*/ 18 w 173"/>
                  <a:gd name="T67" fmla="*/ 106 h 185"/>
                  <a:gd name="T68" fmla="*/ 25 w 173"/>
                  <a:gd name="T69" fmla="*/ 102 h 185"/>
                  <a:gd name="T70" fmla="*/ 25 w 173"/>
                  <a:gd name="T71" fmla="*/ 94 h 185"/>
                  <a:gd name="T72" fmla="*/ 25 w 173"/>
                  <a:gd name="T73" fmla="*/ 88 h 185"/>
                  <a:gd name="T74" fmla="*/ 21 w 173"/>
                  <a:gd name="T75" fmla="*/ 85 h 185"/>
                  <a:gd name="T76" fmla="*/ 25 w 173"/>
                  <a:gd name="T77" fmla="*/ 75 h 185"/>
                  <a:gd name="T78" fmla="*/ 31 w 173"/>
                  <a:gd name="T79" fmla="*/ 73 h 185"/>
                  <a:gd name="T80" fmla="*/ 35 w 173"/>
                  <a:gd name="T81" fmla="*/ 65 h 185"/>
                  <a:gd name="T82" fmla="*/ 27 w 173"/>
                  <a:gd name="T83" fmla="*/ 62 h 185"/>
                  <a:gd name="T84" fmla="*/ 23 w 173"/>
                  <a:gd name="T85" fmla="*/ 54 h 185"/>
                  <a:gd name="T86" fmla="*/ 31 w 173"/>
                  <a:gd name="T87" fmla="*/ 52 h 185"/>
                  <a:gd name="T88" fmla="*/ 31 w 173"/>
                  <a:gd name="T89" fmla="*/ 42 h 185"/>
                  <a:gd name="T90" fmla="*/ 33 w 173"/>
                  <a:gd name="T91" fmla="*/ 37 h 185"/>
                  <a:gd name="T92" fmla="*/ 37 w 173"/>
                  <a:gd name="T93" fmla="*/ 29 h 185"/>
                  <a:gd name="T94" fmla="*/ 39 w 173"/>
                  <a:gd name="T95" fmla="*/ 15 h 185"/>
                  <a:gd name="T96" fmla="*/ 48 w 173"/>
                  <a:gd name="T97" fmla="*/ 19 h 185"/>
                  <a:gd name="T98" fmla="*/ 52 w 173"/>
                  <a:gd name="T99" fmla="*/ 12 h 185"/>
                  <a:gd name="T100" fmla="*/ 54 w 173"/>
                  <a:gd name="T101" fmla="*/ 4 h 185"/>
                  <a:gd name="T102" fmla="*/ 62 w 173"/>
                  <a:gd name="T103" fmla="*/ 2 h 185"/>
                  <a:gd name="T104" fmla="*/ 71 w 173"/>
                  <a:gd name="T105" fmla="*/ 4 h 185"/>
                  <a:gd name="T106" fmla="*/ 77 w 173"/>
                  <a:gd name="T107" fmla="*/ 8 h 185"/>
                  <a:gd name="T108" fmla="*/ 79 w 173"/>
                  <a:gd name="T109" fmla="*/ 14 h 185"/>
                  <a:gd name="T110" fmla="*/ 89 w 173"/>
                  <a:gd name="T111" fmla="*/ 12 h 185"/>
                  <a:gd name="T112" fmla="*/ 92 w 173"/>
                  <a:gd name="T113" fmla="*/ 17 h 185"/>
                  <a:gd name="T114" fmla="*/ 96 w 173"/>
                  <a:gd name="T115" fmla="*/ 31 h 185"/>
                  <a:gd name="T116" fmla="*/ 104 w 173"/>
                  <a:gd name="T117" fmla="*/ 33 h 185"/>
                  <a:gd name="T118" fmla="*/ 114 w 173"/>
                  <a:gd name="T119" fmla="*/ 4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3" h="185">
                    <a:moveTo>
                      <a:pt x="121" y="44"/>
                    </a:moveTo>
                    <a:lnTo>
                      <a:pt x="121" y="46"/>
                    </a:lnTo>
                    <a:lnTo>
                      <a:pt x="123" y="46"/>
                    </a:lnTo>
                    <a:lnTo>
                      <a:pt x="123" y="48"/>
                    </a:lnTo>
                    <a:lnTo>
                      <a:pt x="125" y="48"/>
                    </a:lnTo>
                    <a:lnTo>
                      <a:pt x="125" y="50"/>
                    </a:lnTo>
                    <a:lnTo>
                      <a:pt x="125" y="48"/>
                    </a:lnTo>
                    <a:lnTo>
                      <a:pt x="127" y="50"/>
                    </a:lnTo>
                    <a:lnTo>
                      <a:pt x="127" y="52"/>
                    </a:lnTo>
                    <a:lnTo>
                      <a:pt x="127" y="54"/>
                    </a:lnTo>
                    <a:lnTo>
                      <a:pt x="127" y="52"/>
                    </a:lnTo>
                    <a:lnTo>
                      <a:pt x="129" y="52"/>
                    </a:lnTo>
                    <a:lnTo>
                      <a:pt x="129" y="54"/>
                    </a:lnTo>
                    <a:lnTo>
                      <a:pt x="131" y="56"/>
                    </a:lnTo>
                    <a:lnTo>
                      <a:pt x="131" y="58"/>
                    </a:lnTo>
                    <a:lnTo>
                      <a:pt x="129" y="58"/>
                    </a:lnTo>
                    <a:lnTo>
                      <a:pt x="129" y="60"/>
                    </a:lnTo>
                    <a:lnTo>
                      <a:pt x="129" y="58"/>
                    </a:lnTo>
                    <a:lnTo>
                      <a:pt x="127" y="60"/>
                    </a:lnTo>
                    <a:lnTo>
                      <a:pt x="125" y="62"/>
                    </a:lnTo>
                    <a:lnTo>
                      <a:pt x="123" y="64"/>
                    </a:lnTo>
                    <a:lnTo>
                      <a:pt x="125" y="65"/>
                    </a:lnTo>
                    <a:lnTo>
                      <a:pt x="125" y="64"/>
                    </a:lnTo>
                    <a:lnTo>
                      <a:pt x="125" y="65"/>
                    </a:lnTo>
                    <a:lnTo>
                      <a:pt x="127" y="65"/>
                    </a:lnTo>
                    <a:lnTo>
                      <a:pt x="127" y="67"/>
                    </a:lnTo>
                    <a:lnTo>
                      <a:pt x="129" y="67"/>
                    </a:lnTo>
                    <a:lnTo>
                      <a:pt x="129" y="69"/>
                    </a:lnTo>
                    <a:lnTo>
                      <a:pt x="131" y="69"/>
                    </a:lnTo>
                    <a:lnTo>
                      <a:pt x="133" y="69"/>
                    </a:lnTo>
                    <a:lnTo>
                      <a:pt x="135" y="69"/>
                    </a:lnTo>
                    <a:lnTo>
                      <a:pt x="137" y="71"/>
                    </a:lnTo>
                    <a:lnTo>
                      <a:pt x="137" y="69"/>
                    </a:lnTo>
                    <a:lnTo>
                      <a:pt x="137" y="67"/>
                    </a:lnTo>
                    <a:lnTo>
                      <a:pt x="139" y="67"/>
                    </a:lnTo>
                    <a:lnTo>
                      <a:pt x="139" y="69"/>
                    </a:lnTo>
                    <a:lnTo>
                      <a:pt x="139" y="67"/>
                    </a:lnTo>
                    <a:lnTo>
                      <a:pt x="139" y="69"/>
                    </a:lnTo>
                    <a:lnTo>
                      <a:pt x="140" y="69"/>
                    </a:lnTo>
                    <a:lnTo>
                      <a:pt x="140" y="71"/>
                    </a:lnTo>
                    <a:lnTo>
                      <a:pt x="142" y="73"/>
                    </a:lnTo>
                    <a:lnTo>
                      <a:pt x="142" y="71"/>
                    </a:lnTo>
                    <a:lnTo>
                      <a:pt x="142" y="73"/>
                    </a:lnTo>
                    <a:lnTo>
                      <a:pt x="142" y="71"/>
                    </a:lnTo>
                    <a:lnTo>
                      <a:pt x="144" y="71"/>
                    </a:lnTo>
                    <a:lnTo>
                      <a:pt x="142" y="71"/>
                    </a:lnTo>
                    <a:lnTo>
                      <a:pt x="144" y="71"/>
                    </a:lnTo>
                    <a:lnTo>
                      <a:pt x="144" y="73"/>
                    </a:lnTo>
                    <a:lnTo>
                      <a:pt x="144" y="75"/>
                    </a:lnTo>
                    <a:lnTo>
                      <a:pt x="146" y="75"/>
                    </a:lnTo>
                    <a:lnTo>
                      <a:pt x="146" y="77"/>
                    </a:lnTo>
                    <a:lnTo>
                      <a:pt x="146" y="79"/>
                    </a:lnTo>
                    <a:lnTo>
                      <a:pt x="148" y="79"/>
                    </a:lnTo>
                    <a:lnTo>
                      <a:pt x="148" y="81"/>
                    </a:lnTo>
                    <a:lnTo>
                      <a:pt x="150" y="81"/>
                    </a:lnTo>
                    <a:lnTo>
                      <a:pt x="148" y="83"/>
                    </a:lnTo>
                    <a:lnTo>
                      <a:pt x="150" y="83"/>
                    </a:lnTo>
                    <a:lnTo>
                      <a:pt x="152" y="83"/>
                    </a:lnTo>
                    <a:lnTo>
                      <a:pt x="152" y="85"/>
                    </a:lnTo>
                    <a:lnTo>
                      <a:pt x="150" y="85"/>
                    </a:lnTo>
                    <a:lnTo>
                      <a:pt x="152" y="85"/>
                    </a:lnTo>
                    <a:lnTo>
                      <a:pt x="152" y="87"/>
                    </a:lnTo>
                    <a:lnTo>
                      <a:pt x="152" y="88"/>
                    </a:lnTo>
                    <a:lnTo>
                      <a:pt x="154" y="88"/>
                    </a:lnTo>
                    <a:lnTo>
                      <a:pt x="154" y="90"/>
                    </a:lnTo>
                    <a:lnTo>
                      <a:pt x="156" y="90"/>
                    </a:lnTo>
                    <a:lnTo>
                      <a:pt x="156" y="88"/>
                    </a:lnTo>
                    <a:lnTo>
                      <a:pt x="158" y="90"/>
                    </a:lnTo>
                    <a:lnTo>
                      <a:pt x="156" y="92"/>
                    </a:lnTo>
                    <a:lnTo>
                      <a:pt x="158" y="92"/>
                    </a:lnTo>
                    <a:lnTo>
                      <a:pt x="158" y="94"/>
                    </a:lnTo>
                    <a:lnTo>
                      <a:pt x="158" y="92"/>
                    </a:lnTo>
                    <a:lnTo>
                      <a:pt x="158" y="94"/>
                    </a:lnTo>
                    <a:lnTo>
                      <a:pt x="158" y="92"/>
                    </a:lnTo>
                    <a:lnTo>
                      <a:pt x="160" y="92"/>
                    </a:lnTo>
                    <a:lnTo>
                      <a:pt x="160" y="90"/>
                    </a:lnTo>
                    <a:lnTo>
                      <a:pt x="160" y="88"/>
                    </a:lnTo>
                    <a:lnTo>
                      <a:pt x="160" y="87"/>
                    </a:lnTo>
                    <a:lnTo>
                      <a:pt x="160" y="88"/>
                    </a:lnTo>
                    <a:lnTo>
                      <a:pt x="162" y="87"/>
                    </a:lnTo>
                    <a:lnTo>
                      <a:pt x="162" y="88"/>
                    </a:lnTo>
                    <a:lnTo>
                      <a:pt x="162" y="90"/>
                    </a:lnTo>
                    <a:lnTo>
                      <a:pt x="164" y="90"/>
                    </a:lnTo>
                    <a:lnTo>
                      <a:pt x="164" y="88"/>
                    </a:lnTo>
                    <a:lnTo>
                      <a:pt x="164" y="90"/>
                    </a:lnTo>
                    <a:lnTo>
                      <a:pt x="164" y="92"/>
                    </a:lnTo>
                    <a:lnTo>
                      <a:pt x="165" y="92"/>
                    </a:lnTo>
                    <a:lnTo>
                      <a:pt x="165" y="94"/>
                    </a:lnTo>
                    <a:lnTo>
                      <a:pt x="164" y="94"/>
                    </a:lnTo>
                    <a:lnTo>
                      <a:pt x="164" y="96"/>
                    </a:lnTo>
                    <a:lnTo>
                      <a:pt x="162" y="96"/>
                    </a:lnTo>
                    <a:lnTo>
                      <a:pt x="162" y="98"/>
                    </a:lnTo>
                    <a:lnTo>
                      <a:pt x="164" y="98"/>
                    </a:lnTo>
                    <a:lnTo>
                      <a:pt x="164" y="100"/>
                    </a:lnTo>
                    <a:lnTo>
                      <a:pt x="165" y="100"/>
                    </a:lnTo>
                    <a:lnTo>
                      <a:pt x="167" y="100"/>
                    </a:lnTo>
                    <a:lnTo>
                      <a:pt x="169" y="100"/>
                    </a:lnTo>
                    <a:lnTo>
                      <a:pt x="167" y="102"/>
                    </a:lnTo>
                    <a:lnTo>
                      <a:pt x="169" y="102"/>
                    </a:lnTo>
                    <a:lnTo>
                      <a:pt x="169" y="104"/>
                    </a:lnTo>
                    <a:lnTo>
                      <a:pt x="169" y="106"/>
                    </a:lnTo>
                    <a:lnTo>
                      <a:pt x="167" y="106"/>
                    </a:lnTo>
                    <a:lnTo>
                      <a:pt x="169" y="108"/>
                    </a:lnTo>
                    <a:lnTo>
                      <a:pt x="171" y="112"/>
                    </a:lnTo>
                    <a:lnTo>
                      <a:pt x="171" y="113"/>
                    </a:lnTo>
                    <a:lnTo>
                      <a:pt x="171" y="121"/>
                    </a:lnTo>
                    <a:lnTo>
                      <a:pt x="171" y="119"/>
                    </a:lnTo>
                    <a:lnTo>
                      <a:pt x="173" y="121"/>
                    </a:lnTo>
                    <a:lnTo>
                      <a:pt x="171" y="121"/>
                    </a:lnTo>
                    <a:lnTo>
                      <a:pt x="171" y="123"/>
                    </a:lnTo>
                    <a:lnTo>
                      <a:pt x="169" y="123"/>
                    </a:lnTo>
                    <a:lnTo>
                      <a:pt x="169" y="125"/>
                    </a:lnTo>
                    <a:lnTo>
                      <a:pt x="169" y="129"/>
                    </a:lnTo>
                    <a:lnTo>
                      <a:pt x="171" y="129"/>
                    </a:lnTo>
                    <a:lnTo>
                      <a:pt x="171" y="131"/>
                    </a:lnTo>
                    <a:lnTo>
                      <a:pt x="169" y="131"/>
                    </a:lnTo>
                    <a:lnTo>
                      <a:pt x="167" y="131"/>
                    </a:lnTo>
                    <a:lnTo>
                      <a:pt x="167" y="129"/>
                    </a:lnTo>
                    <a:lnTo>
                      <a:pt x="164" y="129"/>
                    </a:lnTo>
                    <a:lnTo>
                      <a:pt x="164" y="127"/>
                    </a:lnTo>
                    <a:lnTo>
                      <a:pt x="162" y="127"/>
                    </a:lnTo>
                    <a:lnTo>
                      <a:pt x="160" y="127"/>
                    </a:lnTo>
                    <a:lnTo>
                      <a:pt x="156" y="131"/>
                    </a:lnTo>
                    <a:lnTo>
                      <a:pt x="154" y="131"/>
                    </a:lnTo>
                    <a:lnTo>
                      <a:pt x="152" y="129"/>
                    </a:lnTo>
                    <a:lnTo>
                      <a:pt x="150" y="129"/>
                    </a:lnTo>
                    <a:lnTo>
                      <a:pt x="150" y="127"/>
                    </a:lnTo>
                    <a:lnTo>
                      <a:pt x="146" y="125"/>
                    </a:lnTo>
                    <a:lnTo>
                      <a:pt x="142" y="123"/>
                    </a:lnTo>
                    <a:lnTo>
                      <a:pt x="139" y="121"/>
                    </a:lnTo>
                    <a:lnTo>
                      <a:pt x="139" y="119"/>
                    </a:lnTo>
                    <a:lnTo>
                      <a:pt x="139" y="117"/>
                    </a:lnTo>
                    <a:lnTo>
                      <a:pt x="137" y="117"/>
                    </a:lnTo>
                    <a:lnTo>
                      <a:pt x="139" y="117"/>
                    </a:lnTo>
                    <a:lnTo>
                      <a:pt x="137" y="117"/>
                    </a:lnTo>
                    <a:lnTo>
                      <a:pt x="137" y="115"/>
                    </a:lnTo>
                    <a:lnTo>
                      <a:pt x="135" y="115"/>
                    </a:lnTo>
                    <a:lnTo>
                      <a:pt x="133" y="115"/>
                    </a:lnTo>
                    <a:lnTo>
                      <a:pt x="131" y="117"/>
                    </a:lnTo>
                    <a:lnTo>
                      <a:pt x="129" y="117"/>
                    </a:lnTo>
                    <a:lnTo>
                      <a:pt x="129" y="119"/>
                    </a:lnTo>
                    <a:lnTo>
                      <a:pt x="127" y="121"/>
                    </a:lnTo>
                    <a:lnTo>
                      <a:pt x="125" y="123"/>
                    </a:lnTo>
                    <a:lnTo>
                      <a:pt x="123" y="123"/>
                    </a:lnTo>
                    <a:lnTo>
                      <a:pt x="119" y="123"/>
                    </a:lnTo>
                    <a:lnTo>
                      <a:pt x="119" y="121"/>
                    </a:lnTo>
                    <a:lnTo>
                      <a:pt x="115" y="123"/>
                    </a:lnTo>
                    <a:lnTo>
                      <a:pt x="115" y="121"/>
                    </a:lnTo>
                    <a:lnTo>
                      <a:pt x="114" y="121"/>
                    </a:lnTo>
                    <a:lnTo>
                      <a:pt x="112" y="123"/>
                    </a:lnTo>
                    <a:lnTo>
                      <a:pt x="110" y="123"/>
                    </a:lnTo>
                    <a:lnTo>
                      <a:pt x="110" y="125"/>
                    </a:lnTo>
                    <a:lnTo>
                      <a:pt x="108" y="125"/>
                    </a:lnTo>
                    <a:lnTo>
                      <a:pt x="108" y="127"/>
                    </a:lnTo>
                    <a:lnTo>
                      <a:pt x="106" y="127"/>
                    </a:lnTo>
                    <a:lnTo>
                      <a:pt x="104" y="127"/>
                    </a:lnTo>
                    <a:lnTo>
                      <a:pt x="98" y="127"/>
                    </a:lnTo>
                    <a:lnTo>
                      <a:pt x="98" y="125"/>
                    </a:lnTo>
                    <a:lnTo>
                      <a:pt x="98" y="127"/>
                    </a:lnTo>
                    <a:lnTo>
                      <a:pt x="100" y="129"/>
                    </a:lnTo>
                    <a:lnTo>
                      <a:pt x="100" y="133"/>
                    </a:lnTo>
                    <a:lnTo>
                      <a:pt x="100" y="135"/>
                    </a:lnTo>
                    <a:lnTo>
                      <a:pt x="100" y="137"/>
                    </a:lnTo>
                    <a:lnTo>
                      <a:pt x="100" y="140"/>
                    </a:lnTo>
                    <a:lnTo>
                      <a:pt x="102" y="142"/>
                    </a:lnTo>
                    <a:lnTo>
                      <a:pt x="102" y="144"/>
                    </a:lnTo>
                    <a:lnTo>
                      <a:pt x="100" y="144"/>
                    </a:lnTo>
                    <a:lnTo>
                      <a:pt x="96" y="148"/>
                    </a:lnTo>
                    <a:lnTo>
                      <a:pt x="94" y="154"/>
                    </a:lnTo>
                    <a:lnTo>
                      <a:pt x="94" y="158"/>
                    </a:lnTo>
                    <a:lnTo>
                      <a:pt x="87" y="162"/>
                    </a:lnTo>
                    <a:lnTo>
                      <a:pt x="85" y="163"/>
                    </a:lnTo>
                    <a:lnTo>
                      <a:pt x="83" y="163"/>
                    </a:lnTo>
                    <a:lnTo>
                      <a:pt x="79" y="165"/>
                    </a:lnTo>
                    <a:lnTo>
                      <a:pt x="81" y="167"/>
                    </a:lnTo>
                    <a:lnTo>
                      <a:pt x="81" y="169"/>
                    </a:lnTo>
                    <a:lnTo>
                      <a:pt x="79" y="171"/>
                    </a:lnTo>
                    <a:lnTo>
                      <a:pt x="77" y="171"/>
                    </a:lnTo>
                    <a:lnTo>
                      <a:pt x="77" y="173"/>
                    </a:lnTo>
                    <a:lnTo>
                      <a:pt x="75" y="171"/>
                    </a:lnTo>
                    <a:lnTo>
                      <a:pt x="75" y="173"/>
                    </a:lnTo>
                    <a:lnTo>
                      <a:pt x="71" y="173"/>
                    </a:lnTo>
                    <a:lnTo>
                      <a:pt x="71" y="171"/>
                    </a:lnTo>
                    <a:lnTo>
                      <a:pt x="69" y="173"/>
                    </a:lnTo>
                    <a:lnTo>
                      <a:pt x="67" y="173"/>
                    </a:lnTo>
                    <a:lnTo>
                      <a:pt x="66" y="173"/>
                    </a:lnTo>
                    <a:lnTo>
                      <a:pt x="64" y="175"/>
                    </a:lnTo>
                    <a:lnTo>
                      <a:pt x="62" y="177"/>
                    </a:lnTo>
                    <a:lnTo>
                      <a:pt x="60" y="177"/>
                    </a:lnTo>
                    <a:lnTo>
                      <a:pt x="58" y="181"/>
                    </a:lnTo>
                    <a:lnTo>
                      <a:pt x="56" y="183"/>
                    </a:lnTo>
                    <a:lnTo>
                      <a:pt x="54" y="183"/>
                    </a:lnTo>
                    <a:lnTo>
                      <a:pt x="50" y="185"/>
                    </a:lnTo>
                    <a:lnTo>
                      <a:pt x="46" y="183"/>
                    </a:lnTo>
                    <a:lnTo>
                      <a:pt x="44" y="185"/>
                    </a:lnTo>
                    <a:lnTo>
                      <a:pt x="44" y="183"/>
                    </a:lnTo>
                    <a:lnTo>
                      <a:pt x="42" y="183"/>
                    </a:lnTo>
                    <a:lnTo>
                      <a:pt x="41" y="181"/>
                    </a:lnTo>
                    <a:lnTo>
                      <a:pt x="39" y="183"/>
                    </a:lnTo>
                    <a:lnTo>
                      <a:pt x="41" y="183"/>
                    </a:lnTo>
                    <a:lnTo>
                      <a:pt x="39" y="183"/>
                    </a:lnTo>
                    <a:lnTo>
                      <a:pt x="37" y="183"/>
                    </a:lnTo>
                    <a:lnTo>
                      <a:pt x="35" y="185"/>
                    </a:lnTo>
                    <a:lnTo>
                      <a:pt x="33" y="183"/>
                    </a:lnTo>
                    <a:lnTo>
                      <a:pt x="31" y="183"/>
                    </a:lnTo>
                    <a:lnTo>
                      <a:pt x="29" y="181"/>
                    </a:lnTo>
                    <a:lnTo>
                      <a:pt x="27" y="177"/>
                    </a:lnTo>
                    <a:lnTo>
                      <a:pt x="25" y="175"/>
                    </a:lnTo>
                    <a:lnTo>
                      <a:pt x="25" y="173"/>
                    </a:lnTo>
                    <a:lnTo>
                      <a:pt x="23" y="175"/>
                    </a:lnTo>
                    <a:lnTo>
                      <a:pt x="19" y="173"/>
                    </a:lnTo>
                    <a:lnTo>
                      <a:pt x="16" y="171"/>
                    </a:lnTo>
                    <a:lnTo>
                      <a:pt x="16" y="173"/>
                    </a:lnTo>
                    <a:lnTo>
                      <a:pt x="14" y="173"/>
                    </a:lnTo>
                    <a:lnTo>
                      <a:pt x="12" y="173"/>
                    </a:lnTo>
                    <a:lnTo>
                      <a:pt x="12" y="171"/>
                    </a:lnTo>
                    <a:lnTo>
                      <a:pt x="10" y="171"/>
                    </a:lnTo>
                    <a:lnTo>
                      <a:pt x="10" y="167"/>
                    </a:lnTo>
                    <a:lnTo>
                      <a:pt x="8" y="165"/>
                    </a:lnTo>
                    <a:lnTo>
                      <a:pt x="8" y="163"/>
                    </a:lnTo>
                    <a:lnTo>
                      <a:pt x="10" y="160"/>
                    </a:lnTo>
                    <a:lnTo>
                      <a:pt x="10" y="158"/>
                    </a:lnTo>
                    <a:lnTo>
                      <a:pt x="10" y="156"/>
                    </a:lnTo>
                    <a:lnTo>
                      <a:pt x="8" y="156"/>
                    </a:lnTo>
                    <a:lnTo>
                      <a:pt x="8" y="154"/>
                    </a:lnTo>
                    <a:lnTo>
                      <a:pt x="8" y="152"/>
                    </a:lnTo>
                    <a:lnTo>
                      <a:pt x="6" y="152"/>
                    </a:lnTo>
                    <a:lnTo>
                      <a:pt x="4" y="152"/>
                    </a:lnTo>
                    <a:lnTo>
                      <a:pt x="2" y="150"/>
                    </a:lnTo>
                    <a:lnTo>
                      <a:pt x="2" y="148"/>
                    </a:lnTo>
                    <a:lnTo>
                      <a:pt x="0" y="148"/>
                    </a:lnTo>
                    <a:lnTo>
                      <a:pt x="0" y="146"/>
                    </a:lnTo>
                    <a:lnTo>
                      <a:pt x="2" y="146"/>
                    </a:lnTo>
                    <a:lnTo>
                      <a:pt x="2" y="144"/>
                    </a:lnTo>
                    <a:lnTo>
                      <a:pt x="2" y="142"/>
                    </a:lnTo>
                    <a:lnTo>
                      <a:pt x="2" y="140"/>
                    </a:lnTo>
                    <a:lnTo>
                      <a:pt x="4" y="138"/>
                    </a:lnTo>
                    <a:lnTo>
                      <a:pt x="6" y="138"/>
                    </a:lnTo>
                    <a:lnTo>
                      <a:pt x="6" y="137"/>
                    </a:lnTo>
                    <a:lnTo>
                      <a:pt x="4" y="137"/>
                    </a:lnTo>
                    <a:lnTo>
                      <a:pt x="6" y="137"/>
                    </a:lnTo>
                    <a:lnTo>
                      <a:pt x="6" y="135"/>
                    </a:lnTo>
                    <a:lnTo>
                      <a:pt x="8" y="135"/>
                    </a:lnTo>
                    <a:lnTo>
                      <a:pt x="10" y="135"/>
                    </a:lnTo>
                    <a:lnTo>
                      <a:pt x="12" y="133"/>
                    </a:lnTo>
                    <a:lnTo>
                      <a:pt x="10" y="133"/>
                    </a:lnTo>
                    <a:lnTo>
                      <a:pt x="10" y="131"/>
                    </a:lnTo>
                    <a:lnTo>
                      <a:pt x="12" y="131"/>
                    </a:lnTo>
                    <a:lnTo>
                      <a:pt x="10" y="131"/>
                    </a:lnTo>
                    <a:lnTo>
                      <a:pt x="12" y="131"/>
                    </a:lnTo>
                    <a:lnTo>
                      <a:pt x="12" y="129"/>
                    </a:lnTo>
                    <a:lnTo>
                      <a:pt x="14" y="129"/>
                    </a:lnTo>
                    <a:lnTo>
                      <a:pt x="12" y="129"/>
                    </a:lnTo>
                    <a:lnTo>
                      <a:pt x="14" y="129"/>
                    </a:lnTo>
                    <a:lnTo>
                      <a:pt x="12" y="129"/>
                    </a:lnTo>
                    <a:lnTo>
                      <a:pt x="10" y="127"/>
                    </a:lnTo>
                    <a:lnTo>
                      <a:pt x="12" y="127"/>
                    </a:lnTo>
                    <a:lnTo>
                      <a:pt x="10" y="125"/>
                    </a:lnTo>
                    <a:lnTo>
                      <a:pt x="12" y="125"/>
                    </a:lnTo>
                    <a:lnTo>
                      <a:pt x="12" y="123"/>
                    </a:lnTo>
                    <a:lnTo>
                      <a:pt x="12" y="121"/>
                    </a:lnTo>
                    <a:lnTo>
                      <a:pt x="14" y="119"/>
                    </a:lnTo>
                    <a:lnTo>
                      <a:pt x="14" y="117"/>
                    </a:lnTo>
                    <a:lnTo>
                      <a:pt x="16" y="115"/>
                    </a:lnTo>
                    <a:lnTo>
                      <a:pt x="14" y="115"/>
                    </a:lnTo>
                    <a:lnTo>
                      <a:pt x="14" y="113"/>
                    </a:lnTo>
                    <a:lnTo>
                      <a:pt x="14" y="112"/>
                    </a:lnTo>
                    <a:lnTo>
                      <a:pt x="16" y="112"/>
                    </a:lnTo>
                    <a:lnTo>
                      <a:pt x="18" y="112"/>
                    </a:lnTo>
                    <a:lnTo>
                      <a:pt x="18" y="110"/>
                    </a:lnTo>
                    <a:lnTo>
                      <a:pt x="18" y="108"/>
                    </a:lnTo>
                    <a:lnTo>
                      <a:pt x="18" y="106"/>
                    </a:lnTo>
                    <a:lnTo>
                      <a:pt x="18" y="104"/>
                    </a:lnTo>
                    <a:lnTo>
                      <a:pt x="19" y="104"/>
                    </a:lnTo>
                    <a:lnTo>
                      <a:pt x="19" y="102"/>
                    </a:lnTo>
                    <a:lnTo>
                      <a:pt x="21" y="102"/>
                    </a:lnTo>
                    <a:lnTo>
                      <a:pt x="21" y="104"/>
                    </a:lnTo>
                    <a:lnTo>
                      <a:pt x="21" y="102"/>
                    </a:lnTo>
                    <a:lnTo>
                      <a:pt x="23" y="102"/>
                    </a:lnTo>
                    <a:lnTo>
                      <a:pt x="25" y="102"/>
                    </a:lnTo>
                    <a:lnTo>
                      <a:pt x="25" y="100"/>
                    </a:lnTo>
                    <a:lnTo>
                      <a:pt x="23" y="100"/>
                    </a:lnTo>
                    <a:lnTo>
                      <a:pt x="25" y="100"/>
                    </a:lnTo>
                    <a:lnTo>
                      <a:pt x="25" y="98"/>
                    </a:lnTo>
                    <a:lnTo>
                      <a:pt x="25" y="96"/>
                    </a:lnTo>
                    <a:lnTo>
                      <a:pt x="27" y="96"/>
                    </a:lnTo>
                    <a:lnTo>
                      <a:pt x="27" y="94"/>
                    </a:lnTo>
                    <a:lnTo>
                      <a:pt x="25" y="94"/>
                    </a:lnTo>
                    <a:lnTo>
                      <a:pt x="27" y="94"/>
                    </a:lnTo>
                    <a:lnTo>
                      <a:pt x="27" y="96"/>
                    </a:lnTo>
                    <a:lnTo>
                      <a:pt x="29" y="96"/>
                    </a:lnTo>
                    <a:lnTo>
                      <a:pt x="29" y="94"/>
                    </a:lnTo>
                    <a:lnTo>
                      <a:pt x="27" y="94"/>
                    </a:lnTo>
                    <a:lnTo>
                      <a:pt x="27" y="92"/>
                    </a:lnTo>
                    <a:lnTo>
                      <a:pt x="25" y="90"/>
                    </a:lnTo>
                    <a:lnTo>
                      <a:pt x="25" y="88"/>
                    </a:lnTo>
                    <a:lnTo>
                      <a:pt x="27" y="88"/>
                    </a:lnTo>
                    <a:lnTo>
                      <a:pt x="25" y="88"/>
                    </a:lnTo>
                    <a:lnTo>
                      <a:pt x="25" y="87"/>
                    </a:lnTo>
                    <a:lnTo>
                      <a:pt x="23" y="87"/>
                    </a:lnTo>
                    <a:lnTo>
                      <a:pt x="25" y="85"/>
                    </a:lnTo>
                    <a:lnTo>
                      <a:pt x="23" y="85"/>
                    </a:lnTo>
                    <a:lnTo>
                      <a:pt x="23" y="83"/>
                    </a:lnTo>
                    <a:lnTo>
                      <a:pt x="21" y="85"/>
                    </a:lnTo>
                    <a:lnTo>
                      <a:pt x="21" y="83"/>
                    </a:lnTo>
                    <a:lnTo>
                      <a:pt x="23" y="81"/>
                    </a:lnTo>
                    <a:lnTo>
                      <a:pt x="25" y="81"/>
                    </a:lnTo>
                    <a:lnTo>
                      <a:pt x="25" y="79"/>
                    </a:lnTo>
                    <a:lnTo>
                      <a:pt x="23" y="79"/>
                    </a:lnTo>
                    <a:lnTo>
                      <a:pt x="23" y="77"/>
                    </a:lnTo>
                    <a:lnTo>
                      <a:pt x="23" y="75"/>
                    </a:lnTo>
                    <a:lnTo>
                      <a:pt x="25" y="75"/>
                    </a:lnTo>
                    <a:lnTo>
                      <a:pt x="25" y="73"/>
                    </a:lnTo>
                    <a:lnTo>
                      <a:pt x="27" y="73"/>
                    </a:lnTo>
                    <a:lnTo>
                      <a:pt x="27" y="71"/>
                    </a:lnTo>
                    <a:lnTo>
                      <a:pt x="29" y="71"/>
                    </a:lnTo>
                    <a:lnTo>
                      <a:pt x="29" y="73"/>
                    </a:lnTo>
                    <a:lnTo>
                      <a:pt x="31" y="73"/>
                    </a:lnTo>
                    <a:lnTo>
                      <a:pt x="31" y="75"/>
                    </a:lnTo>
                    <a:lnTo>
                      <a:pt x="31" y="73"/>
                    </a:lnTo>
                    <a:lnTo>
                      <a:pt x="33" y="73"/>
                    </a:lnTo>
                    <a:lnTo>
                      <a:pt x="33" y="71"/>
                    </a:lnTo>
                    <a:lnTo>
                      <a:pt x="31" y="71"/>
                    </a:lnTo>
                    <a:lnTo>
                      <a:pt x="33" y="71"/>
                    </a:lnTo>
                    <a:lnTo>
                      <a:pt x="33" y="69"/>
                    </a:lnTo>
                    <a:lnTo>
                      <a:pt x="33" y="67"/>
                    </a:lnTo>
                    <a:lnTo>
                      <a:pt x="35" y="67"/>
                    </a:lnTo>
                    <a:lnTo>
                      <a:pt x="35" y="65"/>
                    </a:lnTo>
                    <a:lnTo>
                      <a:pt x="35" y="64"/>
                    </a:lnTo>
                    <a:lnTo>
                      <a:pt x="35" y="62"/>
                    </a:lnTo>
                    <a:lnTo>
                      <a:pt x="33" y="62"/>
                    </a:lnTo>
                    <a:lnTo>
                      <a:pt x="31" y="62"/>
                    </a:lnTo>
                    <a:lnTo>
                      <a:pt x="31" y="64"/>
                    </a:lnTo>
                    <a:lnTo>
                      <a:pt x="29" y="64"/>
                    </a:lnTo>
                    <a:lnTo>
                      <a:pt x="27" y="64"/>
                    </a:lnTo>
                    <a:lnTo>
                      <a:pt x="27" y="62"/>
                    </a:lnTo>
                    <a:lnTo>
                      <a:pt x="25" y="60"/>
                    </a:lnTo>
                    <a:lnTo>
                      <a:pt x="27" y="60"/>
                    </a:lnTo>
                    <a:lnTo>
                      <a:pt x="25" y="58"/>
                    </a:lnTo>
                    <a:lnTo>
                      <a:pt x="27" y="58"/>
                    </a:lnTo>
                    <a:lnTo>
                      <a:pt x="27" y="56"/>
                    </a:lnTo>
                    <a:lnTo>
                      <a:pt x="25" y="56"/>
                    </a:lnTo>
                    <a:lnTo>
                      <a:pt x="23" y="56"/>
                    </a:lnTo>
                    <a:lnTo>
                      <a:pt x="23" y="54"/>
                    </a:lnTo>
                    <a:lnTo>
                      <a:pt x="25" y="54"/>
                    </a:lnTo>
                    <a:lnTo>
                      <a:pt x="25" y="52"/>
                    </a:lnTo>
                    <a:lnTo>
                      <a:pt x="25" y="54"/>
                    </a:lnTo>
                    <a:lnTo>
                      <a:pt x="25" y="52"/>
                    </a:lnTo>
                    <a:lnTo>
                      <a:pt x="25" y="50"/>
                    </a:lnTo>
                    <a:lnTo>
                      <a:pt x="27" y="50"/>
                    </a:lnTo>
                    <a:lnTo>
                      <a:pt x="29" y="52"/>
                    </a:lnTo>
                    <a:lnTo>
                      <a:pt x="31" y="52"/>
                    </a:lnTo>
                    <a:lnTo>
                      <a:pt x="31" y="50"/>
                    </a:lnTo>
                    <a:lnTo>
                      <a:pt x="31" y="48"/>
                    </a:lnTo>
                    <a:lnTo>
                      <a:pt x="31" y="46"/>
                    </a:lnTo>
                    <a:lnTo>
                      <a:pt x="31" y="44"/>
                    </a:lnTo>
                    <a:lnTo>
                      <a:pt x="33" y="44"/>
                    </a:lnTo>
                    <a:lnTo>
                      <a:pt x="31" y="44"/>
                    </a:lnTo>
                    <a:lnTo>
                      <a:pt x="33" y="42"/>
                    </a:lnTo>
                    <a:lnTo>
                      <a:pt x="31" y="42"/>
                    </a:lnTo>
                    <a:lnTo>
                      <a:pt x="29" y="42"/>
                    </a:lnTo>
                    <a:lnTo>
                      <a:pt x="29" y="40"/>
                    </a:lnTo>
                    <a:lnTo>
                      <a:pt x="31" y="40"/>
                    </a:lnTo>
                    <a:lnTo>
                      <a:pt x="31" y="39"/>
                    </a:lnTo>
                    <a:lnTo>
                      <a:pt x="31" y="37"/>
                    </a:lnTo>
                    <a:lnTo>
                      <a:pt x="33" y="37"/>
                    </a:lnTo>
                    <a:lnTo>
                      <a:pt x="33" y="39"/>
                    </a:lnTo>
                    <a:lnTo>
                      <a:pt x="33" y="37"/>
                    </a:lnTo>
                    <a:lnTo>
                      <a:pt x="35" y="37"/>
                    </a:lnTo>
                    <a:lnTo>
                      <a:pt x="33" y="37"/>
                    </a:lnTo>
                    <a:lnTo>
                      <a:pt x="33" y="35"/>
                    </a:lnTo>
                    <a:lnTo>
                      <a:pt x="33" y="33"/>
                    </a:lnTo>
                    <a:lnTo>
                      <a:pt x="33" y="31"/>
                    </a:lnTo>
                    <a:lnTo>
                      <a:pt x="35" y="31"/>
                    </a:lnTo>
                    <a:lnTo>
                      <a:pt x="35" y="29"/>
                    </a:lnTo>
                    <a:lnTo>
                      <a:pt x="37" y="29"/>
                    </a:lnTo>
                    <a:lnTo>
                      <a:pt x="35" y="29"/>
                    </a:lnTo>
                    <a:lnTo>
                      <a:pt x="37" y="27"/>
                    </a:lnTo>
                    <a:lnTo>
                      <a:pt x="37" y="25"/>
                    </a:lnTo>
                    <a:lnTo>
                      <a:pt x="37" y="23"/>
                    </a:lnTo>
                    <a:lnTo>
                      <a:pt x="37" y="21"/>
                    </a:lnTo>
                    <a:lnTo>
                      <a:pt x="37" y="19"/>
                    </a:lnTo>
                    <a:lnTo>
                      <a:pt x="37" y="17"/>
                    </a:lnTo>
                    <a:lnTo>
                      <a:pt x="39" y="15"/>
                    </a:lnTo>
                    <a:lnTo>
                      <a:pt x="41" y="17"/>
                    </a:lnTo>
                    <a:lnTo>
                      <a:pt x="41" y="15"/>
                    </a:lnTo>
                    <a:lnTo>
                      <a:pt x="42" y="15"/>
                    </a:lnTo>
                    <a:lnTo>
                      <a:pt x="42" y="17"/>
                    </a:lnTo>
                    <a:lnTo>
                      <a:pt x="44" y="15"/>
                    </a:lnTo>
                    <a:lnTo>
                      <a:pt x="44" y="17"/>
                    </a:lnTo>
                    <a:lnTo>
                      <a:pt x="46" y="19"/>
                    </a:lnTo>
                    <a:lnTo>
                      <a:pt x="48" y="19"/>
                    </a:lnTo>
                    <a:lnTo>
                      <a:pt x="50" y="19"/>
                    </a:lnTo>
                    <a:lnTo>
                      <a:pt x="52" y="19"/>
                    </a:lnTo>
                    <a:lnTo>
                      <a:pt x="52" y="17"/>
                    </a:lnTo>
                    <a:lnTo>
                      <a:pt x="50" y="17"/>
                    </a:lnTo>
                    <a:lnTo>
                      <a:pt x="50" y="15"/>
                    </a:lnTo>
                    <a:lnTo>
                      <a:pt x="50" y="14"/>
                    </a:lnTo>
                    <a:lnTo>
                      <a:pt x="52" y="14"/>
                    </a:lnTo>
                    <a:lnTo>
                      <a:pt x="52" y="12"/>
                    </a:lnTo>
                    <a:lnTo>
                      <a:pt x="54" y="12"/>
                    </a:lnTo>
                    <a:lnTo>
                      <a:pt x="54" y="10"/>
                    </a:lnTo>
                    <a:lnTo>
                      <a:pt x="54" y="8"/>
                    </a:lnTo>
                    <a:lnTo>
                      <a:pt x="56" y="8"/>
                    </a:lnTo>
                    <a:lnTo>
                      <a:pt x="56" y="6"/>
                    </a:lnTo>
                    <a:lnTo>
                      <a:pt x="58" y="4"/>
                    </a:lnTo>
                    <a:lnTo>
                      <a:pt x="56" y="4"/>
                    </a:lnTo>
                    <a:lnTo>
                      <a:pt x="54" y="4"/>
                    </a:lnTo>
                    <a:lnTo>
                      <a:pt x="52" y="4"/>
                    </a:lnTo>
                    <a:lnTo>
                      <a:pt x="54" y="4"/>
                    </a:lnTo>
                    <a:lnTo>
                      <a:pt x="54" y="2"/>
                    </a:lnTo>
                    <a:lnTo>
                      <a:pt x="54" y="0"/>
                    </a:lnTo>
                    <a:lnTo>
                      <a:pt x="56" y="0"/>
                    </a:lnTo>
                    <a:lnTo>
                      <a:pt x="58" y="2"/>
                    </a:lnTo>
                    <a:lnTo>
                      <a:pt x="60" y="2"/>
                    </a:lnTo>
                    <a:lnTo>
                      <a:pt x="62" y="2"/>
                    </a:lnTo>
                    <a:lnTo>
                      <a:pt x="64" y="2"/>
                    </a:lnTo>
                    <a:lnTo>
                      <a:pt x="66" y="0"/>
                    </a:lnTo>
                    <a:lnTo>
                      <a:pt x="66" y="2"/>
                    </a:lnTo>
                    <a:lnTo>
                      <a:pt x="66" y="4"/>
                    </a:lnTo>
                    <a:lnTo>
                      <a:pt x="67" y="4"/>
                    </a:lnTo>
                    <a:lnTo>
                      <a:pt x="69" y="2"/>
                    </a:lnTo>
                    <a:lnTo>
                      <a:pt x="71" y="2"/>
                    </a:lnTo>
                    <a:lnTo>
                      <a:pt x="71" y="4"/>
                    </a:lnTo>
                    <a:lnTo>
                      <a:pt x="69" y="4"/>
                    </a:lnTo>
                    <a:lnTo>
                      <a:pt x="69" y="6"/>
                    </a:lnTo>
                    <a:lnTo>
                      <a:pt x="71" y="8"/>
                    </a:lnTo>
                    <a:lnTo>
                      <a:pt x="71" y="6"/>
                    </a:lnTo>
                    <a:lnTo>
                      <a:pt x="73" y="4"/>
                    </a:lnTo>
                    <a:lnTo>
                      <a:pt x="75" y="4"/>
                    </a:lnTo>
                    <a:lnTo>
                      <a:pt x="77" y="6"/>
                    </a:lnTo>
                    <a:lnTo>
                      <a:pt x="77" y="8"/>
                    </a:lnTo>
                    <a:lnTo>
                      <a:pt x="77" y="10"/>
                    </a:lnTo>
                    <a:lnTo>
                      <a:pt x="77" y="12"/>
                    </a:lnTo>
                    <a:lnTo>
                      <a:pt x="77" y="14"/>
                    </a:lnTo>
                    <a:lnTo>
                      <a:pt x="75" y="14"/>
                    </a:lnTo>
                    <a:lnTo>
                      <a:pt x="77" y="14"/>
                    </a:lnTo>
                    <a:lnTo>
                      <a:pt x="77" y="15"/>
                    </a:lnTo>
                    <a:lnTo>
                      <a:pt x="79" y="15"/>
                    </a:lnTo>
                    <a:lnTo>
                      <a:pt x="79" y="14"/>
                    </a:lnTo>
                    <a:lnTo>
                      <a:pt x="81" y="12"/>
                    </a:lnTo>
                    <a:lnTo>
                      <a:pt x="83" y="14"/>
                    </a:lnTo>
                    <a:lnTo>
                      <a:pt x="85" y="12"/>
                    </a:lnTo>
                    <a:lnTo>
                      <a:pt x="83" y="12"/>
                    </a:lnTo>
                    <a:lnTo>
                      <a:pt x="85" y="12"/>
                    </a:lnTo>
                    <a:lnTo>
                      <a:pt x="87" y="14"/>
                    </a:lnTo>
                    <a:lnTo>
                      <a:pt x="87" y="12"/>
                    </a:lnTo>
                    <a:lnTo>
                      <a:pt x="89" y="12"/>
                    </a:lnTo>
                    <a:lnTo>
                      <a:pt x="89" y="14"/>
                    </a:lnTo>
                    <a:lnTo>
                      <a:pt x="91" y="14"/>
                    </a:lnTo>
                    <a:lnTo>
                      <a:pt x="89" y="14"/>
                    </a:lnTo>
                    <a:lnTo>
                      <a:pt x="89" y="15"/>
                    </a:lnTo>
                    <a:lnTo>
                      <a:pt x="91" y="15"/>
                    </a:lnTo>
                    <a:lnTo>
                      <a:pt x="91" y="14"/>
                    </a:lnTo>
                    <a:lnTo>
                      <a:pt x="91" y="15"/>
                    </a:lnTo>
                    <a:lnTo>
                      <a:pt x="92" y="17"/>
                    </a:lnTo>
                    <a:lnTo>
                      <a:pt x="92" y="19"/>
                    </a:lnTo>
                    <a:lnTo>
                      <a:pt x="92" y="21"/>
                    </a:lnTo>
                    <a:lnTo>
                      <a:pt x="91" y="21"/>
                    </a:lnTo>
                    <a:lnTo>
                      <a:pt x="91" y="23"/>
                    </a:lnTo>
                    <a:lnTo>
                      <a:pt x="92" y="25"/>
                    </a:lnTo>
                    <a:lnTo>
                      <a:pt x="92" y="27"/>
                    </a:lnTo>
                    <a:lnTo>
                      <a:pt x="94" y="31"/>
                    </a:lnTo>
                    <a:lnTo>
                      <a:pt x="96" y="31"/>
                    </a:lnTo>
                    <a:lnTo>
                      <a:pt x="98" y="33"/>
                    </a:lnTo>
                    <a:lnTo>
                      <a:pt x="98" y="35"/>
                    </a:lnTo>
                    <a:lnTo>
                      <a:pt x="98" y="33"/>
                    </a:lnTo>
                    <a:lnTo>
                      <a:pt x="100" y="33"/>
                    </a:lnTo>
                    <a:lnTo>
                      <a:pt x="102" y="33"/>
                    </a:lnTo>
                    <a:lnTo>
                      <a:pt x="102" y="31"/>
                    </a:lnTo>
                    <a:lnTo>
                      <a:pt x="102" y="33"/>
                    </a:lnTo>
                    <a:lnTo>
                      <a:pt x="104" y="33"/>
                    </a:lnTo>
                    <a:lnTo>
                      <a:pt x="104" y="35"/>
                    </a:lnTo>
                    <a:lnTo>
                      <a:pt x="106" y="35"/>
                    </a:lnTo>
                    <a:lnTo>
                      <a:pt x="108" y="35"/>
                    </a:lnTo>
                    <a:lnTo>
                      <a:pt x="110" y="35"/>
                    </a:lnTo>
                    <a:lnTo>
                      <a:pt x="110" y="37"/>
                    </a:lnTo>
                    <a:lnTo>
                      <a:pt x="112" y="37"/>
                    </a:lnTo>
                    <a:lnTo>
                      <a:pt x="112" y="39"/>
                    </a:lnTo>
                    <a:lnTo>
                      <a:pt x="114" y="40"/>
                    </a:lnTo>
                    <a:lnTo>
                      <a:pt x="115" y="40"/>
                    </a:lnTo>
                    <a:lnTo>
                      <a:pt x="115" y="42"/>
                    </a:lnTo>
                    <a:lnTo>
                      <a:pt x="117" y="42"/>
                    </a:lnTo>
                    <a:lnTo>
                      <a:pt x="119" y="42"/>
                    </a:lnTo>
                    <a:lnTo>
                      <a:pt x="119" y="44"/>
                    </a:lnTo>
                    <a:lnTo>
                      <a:pt x="121" y="4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3" name="Freeform 143"/>
              <p:cNvSpPr>
                <a:spLocks noEditPoints="1"/>
              </p:cNvSpPr>
              <p:nvPr/>
            </p:nvSpPr>
            <p:spPr bwMode="auto">
              <a:xfrm>
                <a:off x="2905419" y="1380586"/>
                <a:ext cx="426715" cy="667603"/>
              </a:xfrm>
              <a:custGeom>
                <a:avLst/>
                <a:gdLst>
                  <a:gd name="T0" fmla="*/ 19 w 248"/>
                  <a:gd name="T1" fmla="*/ 373 h 388"/>
                  <a:gd name="T2" fmla="*/ 21 w 248"/>
                  <a:gd name="T3" fmla="*/ 379 h 388"/>
                  <a:gd name="T4" fmla="*/ 23 w 248"/>
                  <a:gd name="T5" fmla="*/ 381 h 388"/>
                  <a:gd name="T6" fmla="*/ 21 w 248"/>
                  <a:gd name="T7" fmla="*/ 388 h 388"/>
                  <a:gd name="T8" fmla="*/ 17 w 248"/>
                  <a:gd name="T9" fmla="*/ 386 h 388"/>
                  <a:gd name="T10" fmla="*/ 15 w 248"/>
                  <a:gd name="T11" fmla="*/ 386 h 388"/>
                  <a:gd name="T12" fmla="*/ 13 w 248"/>
                  <a:gd name="T13" fmla="*/ 388 h 388"/>
                  <a:gd name="T14" fmla="*/ 13 w 248"/>
                  <a:gd name="T15" fmla="*/ 384 h 388"/>
                  <a:gd name="T16" fmla="*/ 10 w 248"/>
                  <a:gd name="T17" fmla="*/ 381 h 388"/>
                  <a:gd name="T18" fmla="*/ 6 w 248"/>
                  <a:gd name="T19" fmla="*/ 377 h 388"/>
                  <a:gd name="T20" fmla="*/ 11 w 248"/>
                  <a:gd name="T21" fmla="*/ 379 h 388"/>
                  <a:gd name="T22" fmla="*/ 17 w 248"/>
                  <a:gd name="T23" fmla="*/ 383 h 388"/>
                  <a:gd name="T24" fmla="*/ 19 w 248"/>
                  <a:gd name="T25" fmla="*/ 384 h 388"/>
                  <a:gd name="T26" fmla="*/ 17 w 248"/>
                  <a:gd name="T27" fmla="*/ 384 h 388"/>
                  <a:gd name="T28" fmla="*/ 15 w 248"/>
                  <a:gd name="T29" fmla="*/ 381 h 388"/>
                  <a:gd name="T30" fmla="*/ 13 w 248"/>
                  <a:gd name="T31" fmla="*/ 381 h 388"/>
                  <a:gd name="T32" fmla="*/ 10 w 248"/>
                  <a:gd name="T33" fmla="*/ 377 h 388"/>
                  <a:gd name="T34" fmla="*/ 6 w 248"/>
                  <a:gd name="T35" fmla="*/ 377 h 388"/>
                  <a:gd name="T36" fmla="*/ 2 w 248"/>
                  <a:gd name="T37" fmla="*/ 375 h 388"/>
                  <a:gd name="T38" fmla="*/ 8 w 248"/>
                  <a:gd name="T39" fmla="*/ 373 h 388"/>
                  <a:gd name="T40" fmla="*/ 13 w 248"/>
                  <a:gd name="T41" fmla="*/ 373 h 388"/>
                  <a:gd name="T42" fmla="*/ 17 w 248"/>
                  <a:gd name="T43" fmla="*/ 373 h 388"/>
                  <a:gd name="T44" fmla="*/ 248 w 248"/>
                  <a:gd name="T45" fmla="*/ 88 h 388"/>
                  <a:gd name="T46" fmla="*/ 242 w 248"/>
                  <a:gd name="T47" fmla="*/ 90 h 388"/>
                  <a:gd name="T48" fmla="*/ 234 w 248"/>
                  <a:gd name="T49" fmla="*/ 94 h 388"/>
                  <a:gd name="T50" fmla="*/ 227 w 248"/>
                  <a:gd name="T51" fmla="*/ 94 h 388"/>
                  <a:gd name="T52" fmla="*/ 217 w 248"/>
                  <a:gd name="T53" fmla="*/ 92 h 388"/>
                  <a:gd name="T54" fmla="*/ 219 w 248"/>
                  <a:gd name="T55" fmla="*/ 86 h 388"/>
                  <a:gd name="T56" fmla="*/ 227 w 248"/>
                  <a:gd name="T57" fmla="*/ 81 h 388"/>
                  <a:gd name="T58" fmla="*/ 236 w 248"/>
                  <a:gd name="T59" fmla="*/ 79 h 388"/>
                  <a:gd name="T60" fmla="*/ 179 w 248"/>
                  <a:gd name="T61" fmla="*/ 40 h 388"/>
                  <a:gd name="T62" fmla="*/ 173 w 248"/>
                  <a:gd name="T63" fmla="*/ 46 h 388"/>
                  <a:gd name="T64" fmla="*/ 173 w 248"/>
                  <a:gd name="T65" fmla="*/ 52 h 388"/>
                  <a:gd name="T66" fmla="*/ 169 w 248"/>
                  <a:gd name="T67" fmla="*/ 50 h 388"/>
                  <a:gd name="T68" fmla="*/ 161 w 248"/>
                  <a:gd name="T69" fmla="*/ 42 h 388"/>
                  <a:gd name="T70" fmla="*/ 167 w 248"/>
                  <a:gd name="T71" fmla="*/ 36 h 388"/>
                  <a:gd name="T72" fmla="*/ 104 w 248"/>
                  <a:gd name="T73" fmla="*/ 6 h 388"/>
                  <a:gd name="T74" fmla="*/ 102 w 248"/>
                  <a:gd name="T75" fmla="*/ 11 h 388"/>
                  <a:gd name="T76" fmla="*/ 106 w 248"/>
                  <a:gd name="T77" fmla="*/ 8 h 388"/>
                  <a:gd name="T78" fmla="*/ 106 w 248"/>
                  <a:gd name="T79" fmla="*/ 11 h 388"/>
                  <a:gd name="T80" fmla="*/ 102 w 248"/>
                  <a:gd name="T81" fmla="*/ 13 h 388"/>
                  <a:gd name="T82" fmla="*/ 100 w 248"/>
                  <a:gd name="T83" fmla="*/ 11 h 388"/>
                  <a:gd name="T84" fmla="*/ 100 w 248"/>
                  <a:gd name="T85" fmla="*/ 11 h 388"/>
                  <a:gd name="T86" fmla="*/ 104 w 248"/>
                  <a:gd name="T87" fmla="*/ 15 h 388"/>
                  <a:gd name="T88" fmla="*/ 108 w 248"/>
                  <a:gd name="T89" fmla="*/ 11 h 388"/>
                  <a:gd name="T90" fmla="*/ 108 w 248"/>
                  <a:gd name="T91" fmla="*/ 21 h 388"/>
                  <a:gd name="T92" fmla="*/ 104 w 248"/>
                  <a:gd name="T93" fmla="*/ 21 h 388"/>
                  <a:gd name="T94" fmla="*/ 94 w 248"/>
                  <a:gd name="T95" fmla="*/ 19 h 388"/>
                  <a:gd name="T96" fmla="*/ 84 w 248"/>
                  <a:gd name="T97" fmla="*/ 21 h 388"/>
                  <a:gd name="T98" fmla="*/ 77 w 248"/>
                  <a:gd name="T99" fmla="*/ 17 h 388"/>
                  <a:gd name="T100" fmla="*/ 75 w 248"/>
                  <a:gd name="T101" fmla="*/ 19 h 388"/>
                  <a:gd name="T102" fmla="*/ 75 w 248"/>
                  <a:gd name="T103" fmla="*/ 19 h 388"/>
                  <a:gd name="T104" fmla="*/ 77 w 248"/>
                  <a:gd name="T105" fmla="*/ 10 h 388"/>
                  <a:gd name="T106" fmla="*/ 79 w 248"/>
                  <a:gd name="T107" fmla="*/ 4 h 388"/>
                  <a:gd name="T108" fmla="*/ 79 w 248"/>
                  <a:gd name="T109" fmla="*/ 2 h 388"/>
                  <a:gd name="T110" fmla="*/ 83 w 248"/>
                  <a:gd name="T111" fmla="*/ 2 h 388"/>
                  <a:gd name="T112" fmla="*/ 86 w 248"/>
                  <a:gd name="T113" fmla="*/ 2 h 388"/>
                  <a:gd name="T114" fmla="*/ 81 w 248"/>
                  <a:gd name="T115" fmla="*/ 0 h 388"/>
                  <a:gd name="T116" fmla="*/ 90 w 248"/>
                  <a:gd name="T117" fmla="*/ 0 h 388"/>
                  <a:gd name="T118" fmla="*/ 104 w 248"/>
                  <a:gd name="T119" fmla="*/ 4 h 388"/>
                  <a:gd name="T120" fmla="*/ 104 w 248"/>
                  <a:gd name="T121" fmla="*/ 6 h 388"/>
                  <a:gd name="T122" fmla="*/ 102 w 248"/>
                  <a:gd name="T123" fmla="*/ 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8" h="388">
                    <a:moveTo>
                      <a:pt x="19" y="373"/>
                    </a:moveTo>
                    <a:lnTo>
                      <a:pt x="21" y="373"/>
                    </a:lnTo>
                    <a:lnTo>
                      <a:pt x="21" y="375"/>
                    </a:lnTo>
                    <a:lnTo>
                      <a:pt x="21" y="373"/>
                    </a:lnTo>
                    <a:lnTo>
                      <a:pt x="21" y="375"/>
                    </a:lnTo>
                    <a:lnTo>
                      <a:pt x="19" y="373"/>
                    </a:lnTo>
                    <a:lnTo>
                      <a:pt x="19" y="375"/>
                    </a:lnTo>
                    <a:lnTo>
                      <a:pt x="21" y="375"/>
                    </a:lnTo>
                    <a:lnTo>
                      <a:pt x="21" y="377"/>
                    </a:lnTo>
                    <a:lnTo>
                      <a:pt x="21" y="375"/>
                    </a:lnTo>
                    <a:lnTo>
                      <a:pt x="21" y="377"/>
                    </a:lnTo>
                    <a:lnTo>
                      <a:pt x="21" y="379"/>
                    </a:lnTo>
                    <a:lnTo>
                      <a:pt x="19" y="379"/>
                    </a:lnTo>
                    <a:lnTo>
                      <a:pt x="17" y="379"/>
                    </a:lnTo>
                    <a:lnTo>
                      <a:pt x="19" y="379"/>
                    </a:lnTo>
                    <a:lnTo>
                      <a:pt x="21" y="379"/>
                    </a:lnTo>
                    <a:lnTo>
                      <a:pt x="21" y="381"/>
                    </a:lnTo>
                    <a:lnTo>
                      <a:pt x="23" y="381"/>
                    </a:lnTo>
                    <a:lnTo>
                      <a:pt x="23" y="383"/>
                    </a:lnTo>
                    <a:lnTo>
                      <a:pt x="25" y="383"/>
                    </a:lnTo>
                    <a:lnTo>
                      <a:pt x="23" y="384"/>
                    </a:lnTo>
                    <a:lnTo>
                      <a:pt x="21" y="384"/>
                    </a:lnTo>
                    <a:lnTo>
                      <a:pt x="21" y="386"/>
                    </a:lnTo>
                    <a:lnTo>
                      <a:pt x="21" y="388"/>
                    </a:lnTo>
                    <a:lnTo>
                      <a:pt x="19" y="388"/>
                    </a:lnTo>
                    <a:lnTo>
                      <a:pt x="17" y="386"/>
                    </a:lnTo>
                    <a:lnTo>
                      <a:pt x="17" y="388"/>
                    </a:lnTo>
                    <a:lnTo>
                      <a:pt x="17" y="386"/>
                    </a:lnTo>
                    <a:lnTo>
                      <a:pt x="15" y="386"/>
                    </a:lnTo>
                    <a:lnTo>
                      <a:pt x="17" y="386"/>
                    </a:lnTo>
                    <a:lnTo>
                      <a:pt x="15" y="386"/>
                    </a:lnTo>
                    <a:lnTo>
                      <a:pt x="17" y="386"/>
                    </a:lnTo>
                    <a:lnTo>
                      <a:pt x="17" y="388"/>
                    </a:lnTo>
                    <a:lnTo>
                      <a:pt x="15" y="386"/>
                    </a:lnTo>
                    <a:lnTo>
                      <a:pt x="13" y="386"/>
                    </a:lnTo>
                    <a:lnTo>
                      <a:pt x="15" y="386"/>
                    </a:lnTo>
                    <a:lnTo>
                      <a:pt x="15" y="388"/>
                    </a:lnTo>
                    <a:lnTo>
                      <a:pt x="13" y="386"/>
                    </a:lnTo>
                    <a:lnTo>
                      <a:pt x="15" y="386"/>
                    </a:lnTo>
                    <a:lnTo>
                      <a:pt x="17" y="388"/>
                    </a:lnTo>
                    <a:lnTo>
                      <a:pt x="15" y="388"/>
                    </a:lnTo>
                    <a:lnTo>
                      <a:pt x="13" y="388"/>
                    </a:lnTo>
                    <a:lnTo>
                      <a:pt x="13" y="386"/>
                    </a:lnTo>
                    <a:lnTo>
                      <a:pt x="15" y="386"/>
                    </a:lnTo>
                    <a:lnTo>
                      <a:pt x="13" y="386"/>
                    </a:lnTo>
                    <a:lnTo>
                      <a:pt x="13" y="384"/>
                    </a:lnTo>
                    <a:lnTo>
                      <a:pt x="11" y="384"/>
                    </a:lnTo>
                    <a:lnTo>
                      <a:pt x="13" y="384"/>
                    </a:lnTo>
                    <a:lnTo>
                      <a:pt x="11" y="384"/>
                    </a:lnTo>
                    <a:lnTo>
                      <a:pt x="11" y="383"/>
                    </a:lnTo>
                    <a:lnTo>
                      <a:pt x="11" y="384"/>
                    </a:lnTo>
                    <a:lnTo>
                      <a:pt x="11" y="383"/>
                    </a:lnTo>
                    <a:lnTo>
                      <a:pt x="10" y="383"/>
                    </a:lnTo>
                    <a:lnTo>
                      <a:pt x="10" y="381"/>
                    </a:lnTo>
                    <a:lnTo>
                      <a:pt x="8" y="381"/>
                    </a:lnTo>
                    <a:lnTo>
                      <a:pt x="8" y="379"/>
                    </a:lnTo>
                    <a:lnTo>
                      <a:pt x="6" y="379"/>
                    </a:lnTo>
                    <a:lnTo>
                      <a:pt x="6" y="377"/>
                    </a:lnTo>
                    <a:lnTo>
                      <a:pt x="4" y="377"/>
                    </a:lnTo>
                    <a:lnTo>
                      <a:pt x="6" y="377"/>
                    </a:lnTo>
                    <a:lnTo>
                      <a:pt x="8" y="377"/>
                    </a:lnTo>
                    <a:lnTo>
                      <a:pt x="6" y="377"/>
                    </a:lnTo>
                    <a:lnTo>
                      <a:pt x="8" y="377"/>
                    </a:lnTo>
                    <a:lnTo>
                      <a:pt x="10" y="377"/>
                    </a:lnTo>
                    <a:lnTo>
                      <a:pt x="11" y="377"/>
                    </a:lnTo>
                    <a:lnTo>
                      <a:pt x="11" y="379"/>
                    </a:lnTo>
                    <a:lnTo>
                      <a:pt x="13" y="381"/>
                    </a:lnTo>
                    <a:lnTo>
                      <a:pt x="15" y="381"/>
                    </a:lnTo>
                    <a:lnTo>
                      <a:pt x="17" y="381"/>
                    </a:lnTo>
                    <a:lnTo>
                      <a:pt x="17" y="383"/>
                    </a:lnTo>
                    <a:lnTo>
                      <a:pt x="19" y="383"/>
                    </a:lnTo>
                    <a:lnTo>
                      <a:pt x="17" y="383"/>
                    </a:lnTo>
                    <a:lnTo>
                      <a:pt x="19" y="383"/>
                    </a:lnTo>
                    <a:lnTo>
                      <a:pt x="17" y="383"/>
                    </a:lnTo>
                    <a:lnTo>
                      <a:pt x="17" y="384"/>
                    </a:lnTo>
                    <a:lnTo>
                      <a:pt x="17" y="383"/>
                    </a:lnTo>
                    <a:lnTo>
                      <a:pt x="19" y="383"/>
                    </a:lnTo>
                    <a:lnTo>
                      <a:pt x="19" y="384"/>
                    </a:lnTo>
                    <a:lnTo>
                      <a:pt x="17" y="384"/>
                    </a:lnTo>
                    <a:lnTo>
                      <a:pt x="15" y="383"/>
                    </a:lnTo>
                    <a:lnTo>
                      <a:pt x="15" y="384"/>
                    </a:lnTo>
                    <a:lnTo>
                      <a:pt x="17" y="384"/>
                    </a:lnTo>
                    <a:lnTo>
                      <a:pt x="15" y="384"/>
                    </a:lnTo>
                    <a:lnTo>
                      <a:pt x="17" y="384"/>
                    </a:lnTo>
                    <a:lnTo>
                      <a:pt x="19" y="384"/>
                    </a:lnTo>
                    <a:lnTo>
                      <a:pt x="21" y="384"/>
                    </a:lnTo>
                    <a:lnTo>
                      <a:pt x="19" y="384"/>
                    </a:lnTo>
                    <a:lnTo>
                      <a:pt x="19" y="383"/>
                    </a:lnTo>
                    <a:lnTo>
                      <a:pt x="17" y="381"/>
                    </a:lnTo>
                    <a:lnTo>
                      <a:pt x="15" y="381"/>
                    </a:lnTo>
                    <a:lnTo>
                      <a:pt x="17" y="381"/>
                    </a:lnTo>
                    <a:lnTo>
                      <a:pt x="17" y="379"/>
                    </a:lnTo>
                    <a:lnTo>
                      <a:pt x="19" y="379"/>
                    </a:lnTo>
                    <a:lnTo>
                      <a:pt x="17" y="379"/>
                    </a:lnTo>
                    <a:lnTo>
                      <a:pt x="15" y="381"/>
                    </a:lnTo>
                    <a:lnTo>
                      <a:pt x="13" y="381"/>
                    </a:lnTo>
                    <a:lnTo>
                      <a:pt x="13" y="379"/>
                    </a:lnTo>
                    <a:lnTo>
                      <a:pt x="11" y="379"/>
                    </a:lnTo>
                    <a:lnTo>
                      <a:pt x="11" y="377"/>
                    </a:lnTo>
                    <a:lnTo>
                      <a:pt x="11" y="379"/>
                    </a:lnTo>
                    <a:lnTo>
                      <a:pt x="11" y="377"/>
                    </a:lnTo>
                    <a:lnTo>
                      <a:pt x="10" y="377"/>
                    </a:lnTo>
                    <a:lnTo>
                      <a:pt x="8" y="377"/>
                    </a:lnTo>
                    <a:lnTo>
                      <a:pt x="10" y="377"/>
                    </a:lnTo>
                    <a:lnTo>
                      <a:pt x="8" y="377"/>
                    </a:lnTo>
                    <a:lnTo>
                      <a:pt x="6" y="377"/>
                    </a:lnTo>
                    <a:lnTo>
                      <a:pt x="4" y="377"/>
                    </a:lnTo>
                    <a:lnTo>
                      <a:pt x="6" y="377"/>
                    </a:lnTo>
                    <a:lnTo>
                      <a:pt x="4" y="377"/>
                    </a:lnTo>
                    <a:lnTo>
                      <a:pt x="2" y="377"/>
                    </a:lnTo>
                    <a:lnTo>
                      <a:pt x="0" y="377"/>
                    </a:lnTo>
                    <a:lnTo>
                      <a:pt x="2" y="375"/>
                    </a:lnTo>
                    <a:lnTo>
                      <a:pt x="4" y="375"/>
                    </a:lnTo>
                    <a:lnTo>
                      <a:pt x="2" y="375"/>
                    </a:lnTo>
                    <a:lnTo>
                      <a:pt x="4" y="375"/>
                    </a:lnTo>
                    <a:lnTo>
                      <a:pt x="6" y="375"/>
                    </a:lnTo>
                    <a:lnTo>
                      <a:pt x="6" y="373"/>
                    </a:lnTo>
                    <a:lnTo>
                      <a:pt x="8" y="373"/>
                    </a:lnTo>
                    <a:lnTo>
                      <a:pt x="8" y="375"/>
                    </a:lnTo>
                    <a:lnTo>
                      <a:pt x="8" y="373"/>
                    </a:lnTo>
                    <a:lnTo>
                      <a:pt x="8" y="375"/>
                    </a:lnTo>
                    <a:lnTo>
                      <a:pt x="8" y="373"/>
                    </a:lnTo>
                    <a:lnTo>
                      <a:pt x="10" y="375"/>
                    </a:lnTo>
                    <a:lnTo>
                      <a:pt x="11" y="375"/>
                    </a:lnTo>
                    <a:lnTo>
                      <a:pt x="11" y="373"/>
                    </a:lnTo>
                    <a:lnTo>
                      <a:pt x="13" y="373"/>
                    </a:lnTo>
                    <a:lnTo>
                      <a:pt x="15" y="373"/>
                    </a:lnTo>
                    <a:lnTo>
                      <a:pt x="15" y="371"/>
                    </a:lnTo>
                    <a:lnTo>
                      <a:pt x="15" y="373"/>
                    </a:lnTo>
                    <a:lnTo>
                      <a:pt x="15" y="371"/>
                    </a:lnTo>
                    <a:lnTo>
                      <a:pt x="15" y="373"/>
                    </a:lnTo>
                    <a:lnTo>
                      <a:pt x="17" y="373"/>
                    </a:lnTo>
                    <a:lnTo>
                      <a:pt x="19" y="373"/>
                    </a:lnTo>
                    <a:close/>
                    <a:moveTo>
                      <a:pt x="246" y="83"/>
                    </a:moveTo>
                    <a:lnTo>
                      <a:pt x="248" y="83"/>
                    </a:lnTo>
                    <a:lnTo>
                      <a:pt x="248" y="85"/>
                    </a:lnTo>
                    <a:lnTo>
                      <a:pt x="248" y="86"/>
                    </a:lnTo>
                    <a:lnTo>
                      <a:pt x="248" y="88"/>
                    </a:lnTo>
                    <a:lnTo>
                      <a:pt x="248" y="86"/>
                    </a:lnTo>
                    <a:lnTo>
                      <a:pt x="248" y="88"/>
                    </a:lnTo>
                    <a:lnTo>
                      <a:pt x="246" y="88"/>
                    </a:lnTo>
                    <a:lnTo>
                      <a:pt x="244" y="88"/>
                    </a:lnTo>
                    <a:lnTo>
                      <a:pt x="244" y="90"/>
                    </a:lnTo>
                    <a:lnTo>
                      <a:pt x="242" y="90"/>
                    </a:lnTo>
                    <a:lnTo>
                      <a:pt x="240" y="90"/>
                    </a:lnTo>
                    <a:lnTo>
                      <a:pt x="238" y="90"/>
                    </a:lnTo>
                    <a:lnTo>
                      <a:pt x="238" y="92"/>
                    </a:lnTo>
                    <a:lnTo>
                      <a:pt x="236" y="92"/>
                    </a:lnTo>
                    <a:lnTo>
                      <a:pt x="236" y="94"/>
                    </a:lnTo>
                    <a:lnTo>
                      <a:pt x="234" y="94"/>
                    </a:lnTo>
                    <a:lnTo>
                      <a:pt x="232" y="94"/>
                    </a:lnTo>
                    <a:lnTo>
                      <a:pt x="231" y="94"/>
                    </a:lnTo>
                    <a:lnTo>
                      <a:pt x="231" y="92"/>
                    </a:lnTo>
                    <a:lnTo>
                      <a:pt x="231" y="94"/>
                    </a:lnTo>
                    <a:lnTo>
                      <a:pt x="229" y="94"/>
                    </a:lnTo>
                    <a:lnTo>
                      <a:pt x="227" y="94"/>
                    </a:lnTo>
                    <a:lnTo>
                      <a:pt x="227" y="92"/>
                    </a:lnTo>
                    <a:lnTo>
                      <a:pt x="225" y="92"/>
                    </a:lnTo>
                    <a:lnTo>
                      <a:pt x="223" y="92"/>
                    </a:lnTo>
                    <a:lnTo>
                      <a:pt x="221" y="92"/>
                    </a:lnTo>
                    <a:lnTo>
                      <a:pt x="219" y="92"/>
                    </a:lnTo>
                    <a:lnTo>
                      <a:pt x="217" y="92"/>
                    </a:lnTo>
                    <a:lnTo>
                      <a:pt x="215" y="92"/>
                    </a:lnTo>
                    <a:lnTo>
                      <a:pt x="215" y="90"/>
                    </a:lnTo>
                    <a:lnTo>
                      <a:pt x="213" y="90"/>
                    </a:lnTo>
                    <a:lnTo>
                      <a:pt x="215" y="88"/>
                    </a:lnTo>
                    <a:lnTo>
                      <a:pt x="217" y="86"/>
                    </a:lnTo>
                    <a:lnTo>
                      <a:pt x="219" y="86"/>
                    </a:lnTo>
                    <a:lnTo>
                      <a:pt x="221" y="85"/>
                    </a:lnTo>
                    <a:lnTo>
                      <a:pt x="223" y="85"/>
                    </a:lnTo>
                    <a:lnTo>
                      <a:pt x="225" y="85"/>
                    </a:lnTo>
                    <a:lnTo>
                      <a:pt x="223" y="85"/>
                    </a:lnTo>
                    <a:lnTo>
                      <a:pt x="225" y="83"/>
                    </a:lnTo>
                    <a:lnTo>
                      <a:pt x="227" y="81"/>
                    </a:lnTo>
                    <a:lnTo>
                      <a:pt x="229" y="79"/>
                    </a:lnTo>
                    <a:lnTo>
                      <a:pt x="231" y="79"/>
                    </a:lnTo>
                    <a:lnTo>
                      <a:pt x="232" y="77"/>
                    </a:lnTo>
                    <a:lnTo>
                      <a:pt x="234" y="77"/>
                    </a:lnTo>
                    <a:lnTo>
                      <a:pt x="236" y="77"/>
                    </a:lnTo>
                    <a:lnTo>
                      <a:pt x="236" y="79"/>
                    </a:lnTo>
                    <a:lnTo>
                      <a:pt x="238" y="79"/>
                    </a:lnTo>
                    <a:lnTo>
                      <a:pt x="242" y="81"/>
                    </a:lnTo>
                    <a:lnTo>
                      <a:pt x="244" y="81"/>
                    </a:lnTo>
                    <a:lnTo>
                      <a:pt x="246" y="83"/>
                    </a:lnTo>
                    <a:close/>
                    <a:moveTo>
                      <a:pt x="177" y="40"/>
                    </a:moveTo>
                    <a:lnTo>
                      <a:pt x="179" y="40"/>
                    </a:lnTo>
                    <a:lnTo>
                      <a:pt x="179" y="42"/>
                    </a:lnTo>
                    <a:lnTo>
                      <a:pt x="177" y="40"/>
                    </a:lnTo>
                    <a:lnTo>
                      <a:pt x="175" y="40"/>
                    </a:lnTo>
                    <a:lnTo>
                      <a:pt x="175" y="42"/>
                    </a:lnTo>
                    <a:lnTo>
                      <a:pt x="175" y="44"/>
                    </a:lnTo>
                    <a:lnTo>
                      <a:pt x="173" y="46"/>
                    </a:lnTo>
                    <a:lnTo>
                      <a:pt x="173" y="48"/>
                    </a:lnTo>
                    <a:lnTo>
                      <a:pt x="173" y="50"/>
                    </a:lnTo>
                    <a:lnTo>
                      <a:pt x="171" y="52"/>
                    </a:lnTo>
                    <a:lnTo>
                      <a:pt x="173" y="52"/>
                    </a:lnTo>
                    <a:lnTo>
                      <a:pt x="171" y="52"/>
                    </a:lnTo>
                    <a:lnTo>
                      <a:pt x="173" y="52"/>
                    </a:lnTo>
                    <a:lnTo>
                      <a:pt x="171" y="52"/>
                    </a:lnTo>
                    <a:lnTo>
                      <a:pt x="169" y="50"/>
                    </a:lnTo>
                    <a:lnTo>
                      <a:pt x="171" y="50"/>
                    </a:lnTo>
                    <a:lnTo>
                      <a:pt x="169" y="50"/>
                    </a:lnTo>
                    <a:lnTo>
                      <a:pt x="171" y="50"/>
                    </a:lnTo>
                    <a:lnTo>
                      <a:pt x="169" y="50"/>
                    </a:lnTo>
                    <a:lnTo>
                      <a:pt x="165" y="46"/>
                    </a:lnTo>
                    <a:lnTo>
                      <a:pt x="167" y="46"/>
                    </a:lnTo>
                    <a:lnTo>
                      <a:pt x="165" y="46"/>
                    </a:lnTo>
                    <a:lnTo>
                      <a:pt x="163" y="44"/>
                    </a:lnTo>
                    <a:lnTo>
                      <a:pt x="163" y="42"/>
                    </a:lnTo>
                    <a:lnTo>
                      <a:pt x="161" y="42"/>
                    </a:lnTo>
                    <a:lnTo>
                      <a:pt x="161" y="40"/>
                    </a:lnTo>
                    <a:lnTo>
                      <a:pt x="163" y="40"/>
                    </a:lnTo>
                    <a:lnTo>
                      <a:pt x="163" y="38"/>
                    </a:lnTo>
                    <a:lnTo>
                      <a:pt x="165" y="38"/>
                    </a:lnTo>
                    <a:lnTo>
                      <a:pt x="165" y="36"/>
                    </a:lnTo>
                    <a:lnTo>
                      <a:pt x="167" y="36"/>
                    </a:lnTo>
                    <a:lnTo>
                      <a:pt x="169" y="36"/>
                    </a:lnTo>
                    <a:lnTo>
                      <a:pt x="171" y="36"/>
                    </a:lnTo>
                    <a:lnTo>
                      <a:pt x="171" y="38"/>
                    </a:lnTo>
                    <a:lnTo>
                      <a:pt x="175" y="38"/>
                    </a:lnTo>
                    <a:lnTo>
                      <a:pt x="177" y="40"/>
                    </a:lnTo>
                    <a:close/>
                    <a:moveTo>
                      <a:pt x="104" y="6"/>
                    </a:moveTo>
                    <a:lnTo>
                      <a:pt x="104" y="8"/>
                    </a:lnTo>
                    <a:lnTo>
                      <a:pt x="102" y="8"/>
                    </a:lnTo>
                    <a:lnTo>
                      <a:pt x="104" y="8"/>
                    </a:lnTo>
                    <a:lnTo>
                      <a:pt x="102" y="8"/>
                    </a:lnTo>
                    <a:lnTo>
                      <a:pt x="102" y="10"/>
                    </a:lnTo>
                    <a:lnTo>
                      <a:pt x="102" y="11"/>
                    </a:lnTo>
                    <a:lnTo>
                      <a:pt x="102" y="10"/>
                    </a:lnTo>
                    <a:lnTo>
                      <a:pt x="102" y="8"/>
                    </a:lnTo>
                    <a:lnTo>
                      <a:pt x="104" y="8"/>
                    </a:lnTo>
                    <a:lnTo>
                      <a:pt x="106" y="8"/>
                    </a:lnTo>
                    <a:lnTo>
                      <a:pt x="106" y="6"/>
                    </a:lnTo>
                    <a:lnTo>
                      <a:pt x="106" y="8"/>
                    </a:lnTo>
                    <a:lnTo>
                      <a:pt x="108" y="8"/>
                    </a:lnTo>
                    <a:lnTo>
                      <a:pt x="108" y="10"/>
                    </a:lnTo>
                    <a:lnTo>
                      <a:pt x="106" y="10"/>
                    </a:lnTo>
                    <a:lnTo>
                      <a:pt x="108" y="10"/>
                    </a:lnTo>
                    <a:lnTo>
                      <a:pt x="108" y="11"/>
                    </a:lnTo>
                    <a:lnTo>
                      <a:pt x="106" y="11"/>
                    </a:lnTo>
                    <a:lnTo>
                      <a:pt x="108" y="11"/>
                    </a:lnTo>
                    <a:lnTo>
                      <a:pt x="106" y="11"/>
                    </a:lnTo>
                    <a:lnTo>
                      <a:pt x="104" y="11"/>
                    </a:lnTo>
                    <a:lnTo>
                      <a:pt x="104" y="13"/>
                    </a:lnTo>
                    <a:lnTo>
                      <a:pt x="102" y="11"/>
                    </a:lnTo>
                    <a:lnTo>
                      <a:pt x="102" y="13"/>
                    </a:lnTo>
                    <a:lnTo>
                      <a:pt x="100" y="13"/>
                    </a:lnTo>
                    <a:lnTo>
                      <a:pt x="100" y="11"/>
                    </a:lnTo>
                    <a:lnTo>
                      <a:pt x="100" y="13"/>
                    </a:lnTo>
                    <a:lnTo>
                      <a:pt x="100" y="11"/>
                    </a:lnTo>
                    <a:lnTo>
                      <a:pt x="98" y="11"/>
                    </a:lnTo>
                    <a:lnTo>
                      <a:pt x="100" y="11"/>
                    </a:lnTo>
                    <a:lnTo>
                      <a:pt x="100" y="13"/>
                    </a:lnTo>
                    <a:lnTo>
                      <a:pt x="98" y="13"/>
                    </a:lnTo>
                    <a:lnTo>
                      <a:pt x="98" y="11"/>
                    </a:lnTo>
                    <a:lnTo>
                      <a:pt x="98" y="13"/>
                    </a:lnTo>
                    <a:lnTo>
                      <a:pt x="100" y="13"/>
                    </a:lnTo>
                    <a:lnTo>
                      <a:pt x="100" y="11"/>
                    </a:lnTo>
                    <a:lnTo>
                      <a:pt x="100" y="13"/>
                    </a:lnTo>
                    <a:lnTo>
                      <a:pt x="100" y="11"/>
                    </a:lnTo>
                    <a:lnTo>
                      <a:pt x="100" y="13"/>
                    </a:lnTo>
                    <a:lnTo>
                      <a:pt x="102" y="13"/>
                    </a:lnTo>
                    <a:lnTo>
                      <a:pt x="104" y="13"/>
                    </a:lnTo>
                    <a:lnTo>
                      <a:pt x="104" y="15"/>
                    </a:lnTo>
                    <a:lnTo>
                      <a:pt x="104" y="13"/>
                    </a:lnTo>
                    <a:lnTo>
                      <a:pt x="106" y="13"/>
                    </a:lnTo>
                    <a:lnTo>
                      <a:pt x="108" y="13"/>
                    </a:lnTo>
                    <a:lnTo>
                      <a:pt x="108" y="11"/>
                    </a:lnTo>
                    <a:lnTo>
                      <a:pt x="108" y="13"/>
                    </a:lnTo>
                    <a:lnTo>
                      <a:pt x="108" y="11"/>
                    </a:lnTo>
                    <a:lnTo>
                      <a:pt x="109" y="13"/>
                    </a:lnTo>
                    <a:lnTo>
                      <a:pt x="111" y="15"/>
                    </a:lnTo>
                    <a:lnTo>
                      <a:pt x="111" y="17"/>
                    </a:lnTo>
                    <a:lnTo>
                      <a:pt x="111" y="21"/>
                    </a:lnTo>
                    <a:lnTo>
                      <a:pt x="109" y="21"/>
                    </a:lnTo>
                    <a:lnTo>
                      <a:pt x="108" y="21"/>
                    </a:lnTo>
                    <a:lnTo>
                      <a:pt x="109" y="21"/>
                    </a:lnTo>
                    <a:lnTo>
                      <a:pt x="108" y="21"/>
                    </a:lnTo>
                    <a:lnTo>
                      <a:pt x="108" y="19"/>
                    </a:lnTo>
                    <a:lnTo>
                      <a:pt x="106" y="19"/>
                    </a:lnTo>
                    <a:lnTo>
                      <a:pt x="104" y="19"/>
                    </a:lnTo>
                    <a:lnTo>
                      <a:pt x="104" y="21"/>
                    </a:lnTo>
                    <a:lnTo>
                      <a:pt x="102" y="21"/>
                    </a:lnTo>
                    <a:lnTo>
                      <a:pt x="100" y="21"/>
                    </a:lnTo>
                    <a:lnTo>
                      <a:pt x="98" y="21"/>
                    </a:lnTo>
                    <a:lnTo>
                      <a:pt x="96" y="21"/>
                    </a:lnTo>
                    <a:lnTo>
                      <a:pt x="96" y="19"/>
                    </a:lnTo>
                    <a:lnTo>
                      <a:pt x="94" y="19"/>
                    </a:lnTo>
                    <a:lnTo>
                      <a:pt x="92" y="19"/>
                    </a:lnTo>
                    <a:lnTo>
                      <a:pt x="90" y="19"/>
                    </a:lnTo>
                    <a:lnTo>
                      <a:pt x="90" y="21"/>
                    </a:lnTo>
                    <a:lnTo>
                      <a:pt x="88" y="21"/>
                    </a:lnTo>
                    <a:lnTo>
                      <a:pt x="86" y="21"/>
                    </a:lnTo>
                    <a:lnTo>
                      <a:pt x="84" y="21"/>
                    </a:lnTo>
                    <a:lnTo>
                      <a:pt x="83" y="21"/>
                    </a:lnTo>
                    <a:lnTo>
                      <a:pt x="81" y="21"/>
                    </a:lnTo>
                    <a:lnTo>
                      <a:pt x="79" y="21"/>
                    </a:lnTo>
                    <a:lnTo>
                      <a:pt x="79" y="19"/>
                    </a:lnTo>
                    <a:lnTo>
                      <a:pt x="79" y="17"/>
                    </a:lnTo>
                    <a:lnTo>
                      <a:pt x="77" y="17"/>
                    </a:lnTo>
                    <a:lnTo>
                      <a:pt x="79" y="17"/>
                    </a:lnTo>
                    <a:lnTo>
                      <a:pt x="77" y="17"/>
                    </a:lnTo>
                    <a:lnTo>
                      <a:pt x="75" y="17"/>
                    </a:lnTo>
                    <a:lnTo>
                      <a:pt x="75" y="19"/>
                    </a:lnTo>
                    <a:lnTo>
                      <a:pt x="77" y="19"/>
                    </a:lnTo>
                    <a:lnTo>
                      <a:pt x="75" y="19"/>
                    </a:lnTo>
                    <a:lnTo>
                      <a:pt x="77" y="19"/>
                    </a:lnTo>
                    <a:lnTo>
                      <a:pt x="77" y="21"/>
                    </a:lnTo>
                    <a:lnTo>
                      <a:pt x="75" y="21"/>
                    </a:lnTo>
                    <a:lnTo>
                      <a:pt x="75" y="19"/>
                    </a:lnTo>
                    <a:lnTo>
                      <a:pt x="73" y="19"/>
                    </a:lnTo>
                    <a:lnTo>
                      <a:pt x="75" y="19"/>
                    </a:lnTo>
                    <a:lnTo>
                      <a:pt x="73" y="19"/>
                    </a:lnTo>
                    <a:lnTo>
                      <a:pt x="73" y="17"/>
                    </a:lnTo>
                    <a:lnTo>
                      <a:pt x="73" y="15"/>
                    </a:lnTo>
                    <a:lnTo>
                      <a:pt x="75" y="13"/>
                    </a:lnTo>
                    <a:lnTo>
                      <a:pt x="77" y="11"/>
                    </a:lnTo>
                    <a:lnTo>
                      <a:pt x="77" y="10"/>
                    </a:lnTo>
                    <a:lnTo>
                      <a:pt x="79" y="8"/>
                    </a:lnTo>
                    <a:lnTo>
                      <a:pt x="79" y="4"/>
                    </a:lnTo>
                    <a:lnTo>
                      <a:pt x="79" y="6"/>
                    </a:lnTo>
                    <a:lnTo>
                      <a:pt x="81" y="6"/>
                    </a:lnTo>
                    <a:lnTo>
                      <a:pt x="79" y="6"/>
                    </a:lnTo>
                    <a:lnTo>
                      <a:pt x="79" y="4"/>
                    </a:lnTo>
                    <a:lnTo>
                      <a:pt x="81" y="4"/>
                    </a:lnTo>
                    <a:lnTo>
                      <a:pt x="81" y="2"/>
                    </a:lnTo>
                    <a:lnTo>
                      <a:pt x="81" y="4"/>
                    </a:lnTo>
                    <a:lnTo>
                      <a:pt x="81" y="2"/>
                    </a:lnTo>
                    <a:lnTo>
                      <a:pt x="79" y="4"/>
                    </a:lnTo>
                    <a:lnTo>
                      <a:pt x="79" y="2"/>
                    </a:lnTo>
                    <a:lnTo>
                      <a:pt x="79" y="0"/>
                    </a:lnTo>
                    <a:lnTo>
                      <a:pt x="81" y="0"/>
                    </a:lnTo>
                    <a:lnTo>
                      <a:pt x="81" y="2"/>
                    </a:lnTo>
                    <a:lnTo>
                      <a:pt x="83" y="2"/>
                    </a:lnTo>
                    <a:lnTo>
                      <a:pt x="81" y="2"/>
                    </a:lnTo>
                    <a:lnTo>
                      <a:pt x="83" y="2"/>
                    </a:lnTo>
                    <a:lnTo>
                      <a:pt x="81" y="2"/>
                    </a:lnTo>
                    <a:lnTo>
                      <a:pt x="83" y="2"/>
                    </a:lnTo>
                    <a:lnTo>
                      <a:pt x="83" y="0"/>
                    </a:lnTo>
                    <a:lnTo>
                      <a:pt x="84" y="0"/>
                    </a:lnTo>
                    <a:lnTo>
                      <a:pt x="84" y="2"/>
                    </a:lnTo>
                    <a:lnTo>
                      <a:pt x="86" y="2"/>
                    </a:lnTo>
                    <a:lnTo>
                      <a:pt x="84" y="2"/>
                    </a:lnTo>
                    <a:lnTo>
                      <a:pt x="84" y="0"/>
                    </a:lnTo>
                    <a:lnTo>
                      <a:pt x="83" y="0"/>
                    </a:lnTo>
                    <a:lnTo>
                      <a:pt x="83" y="2"/>
                    </a:lnTo>
                    <a:lnTo>
                      <a:pt x="83" y="0"/>
                    </a:lnTo>
                    <a:lnTo>
                      <a:pt x="81" y="0"/>
                    </a:lnTo>
                    <a:lnTo>
                      <a:pt x="83" y="0"/>
                    </a:lnTo>
                    <a:lnTo>
                      <a:pt x="86" y="0"/>
                    </a:lnTo>
                    <a:lnTo>
                      <a:pt x="88" y="0"/>
                    </a:lnTo>
                    <a:lnTo>
                      <a:pt x="90" y="0"/>
                    </a:lnTo>
                    <a:lnTo>
                      <a:pt x="88" y="0"/>
                    </a:lnTo>
                    <a:lnTo>
                      <a:pt x="90" y="0"/>
                    </a:lnTo>
                    <a:lnTo>
                      <a:pt x="92" y="0"/>
                    </a:lnTo>
                    <a:lnTo>
                      <a:pt x="96" y="0"/>
                    </a:lnTo>
                    <a:lnTo>
                      <a:pt x="98" y="0"/>
                    </a:lnTo>
                    <a:lnTo>
                      <a:pt x="100" y="0"/>
                    </a:lnTo>
                    <a:lnTo>
                      <a:pt x="102" y="2"/>
                    </a:lnTo>
                    <a:lnTo>
                      <a:pt x="104" y="4"/>
                    </a:lnTo>
                    <a:lnTo>
                      <a:pt x="106" y="6"/>
                    </a:lnTo>
                    <a:lnTo>
                      <a:pt x="104" y="6"/>
                    </a:lnTo>
                    <a:lnTo>
                      <a:pt x="104" y="4"/>
                    </a:lnTo>
                    <a:lnTo>
                      <a:pt x="104" y="6"/>
                    </a:lnTo>
                    <a:lnTo>
                      <a:pt x="104" y="4"/>
                    </a:lnTo>
                    <a:lnTo>
                      <a:pt x="104" y="6"/>
                    </a:lnTo>
                    <a:lnTo>
                      <a:pt x="104" y="4"/>
                    </a:lnTo>
                    <a:lnTo>
                      <a:pt x="104" y="6"/>
                    </a:lnTo>
                    <a:lnTo>
                      <a:pt x="104" y="4"/>
                    </a:lnTo>
                    <a:lnTo>
                      <a:pt x="104" y="6"/>
                    </a:lnTo>
                    <a:lnTo>
                      <a:pt x="102" y="4"/>
                    </a:lnTo>
                    <a:lnTo>
                      <a:pt x="102" y="6"/>
                    </a:lnTo>
                    <a:lnTo>
                      <a:pt x="104" y="6"/>
                    </a:lnTo>
                    <a:lnTo>
                      <a:pt x="102" y="6"/>
                    </a:lnTo>
                    <a:lnTo>
                      <a:pt x="104" y="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4" name="Freeform 144"/>
              <p:cNvSpPr>
                <a:spLocks noEditPoints="1"/>
              </p:cNvSpPr>
              <p:nvPr/>
            </p:nvSpPr>
            <p:spPr bwMode="auto">
              <a:xfrm>
                <a:off x="2485586" y="1413278"/>
                <a:ext cx="1061626" cy="1214761"/>
              </a:xfrm>
              <a:custGeom>
                <a:avLst/>
                <a:gdLst>
                  <a:gd name="T0" fmla="*/ 73 w 617"/>
                  <a:gd name="T1" fmla="*/ 446 h 706"/>
                  <a:gd name="T2" fmla="*/ 73 w 617"/>
                  <a:gd name="T3" fmla="*/ 442 h 706"/>
                  <a:gd name="T4" fmla="*/ 73 w 617"/>
                  <a:gd name="T5" fmla="*/ 438 h 706"/>
                  <a:gd name="T6" fmla="*/ 79 w 617"/>
                  <a:gd name="T7" fmla="*/ 438 h 706"/>
                  <a:gd name="T8" fmla="*/ 69 w 617"/>
                  <a:gd name="T9" fmla="*/ 417 h 706"/>
                  <a:gd name="T10" fmla="*/ 77 w 617"/>
                  <a:gd name="T11" fmla="*/ 408 h 706"/>
                  <a:gd name="T12" fmla="*/ 73 w 617"/>
                  <a:gd name="T13" fmla="*/ 396 h 706"/>
                  <a:gd name="T14" fmla="*/ 88 w 617"/>
                  <a:gd name="T15" fmla="*/ 381 h 706"/>
                  <a:gd name="T16" fmla="*/ 85 w 617"/>
                  <a:gd name="T17" fmla="*/ 392 h 706"/>
                  <a:gd name="T18" fmla="*/ 104 w 617"/>
                  <a:gd name="T19" fmla="*/ 364 h 706"/>
                  <a:gd name="T20" fmla="*/ 248 w 617"/>
                  <a:gd name="T21" fmla="*/ 381 h 706"/>
                  <a:gd name="T22" fmla="*/ 225 w 617"/>
                  <a:gd name="T23" fmla="*/ 364 h 706"/>
                  <a:gd name="T24" fmla="*/ 231 w 617"/>
                  <a:gd name="T25" fmla="*/ 358 h 706"/>
                  <a:gd name="T26" fmla="*/ 217 w 617"/>
                  <a:gd name="T27" fmla="*/ 352 h 706"/>
                  <a:gd name="T28" fmla="*/ 179 w 617"/>
                  <a:gd name="T29" fmla="*/ 337 h 706"/>
                  <a:gd name="T30" fmla="*/ 469 w 617"/>
                  <a:gd name="T31" fmla="*/ 365 h 706"/>
                  <a:gd name="T32" fmla="*/ 413 w 617"/>
                  <a:gd name="T33" fmla="*/ 117 h 706"/>
                  <a:gd name="T34" fmla="*/ 442 w 617"/>
                  <a:gd name="T35" fmla="*/ 146 h 706"/>
                  <a:gd name="T36" fmla="*/ 492 w 617"/>
                  <a:gd name="T37" fmla="*/ 152 h 706"/>
                  <a:gd name="T38" fmla="*/ 486 w 617"/>
                  <a:gd name="T39" fmla="*/ 106 h 706"/>
                  <a:gd name="T40" fmla="*/ 530 w 617"/>
                  <a:gd name="T41" fmla="*/ 154 h 706"/>
                  <a:gd name="T42" fmla="*/ 534 w 617"/>
                  <a:gd name="T43" fmla="*/ 260 h 706"/>
                  <a:gd name="T44" fmla="*/ 555 w 617"/>
                  <a:gd name="T45" fmla="*/ 437 h 706"/>
                  <a:gd name="T46" fmla="*/ 596 w 617"/>
                  <a:gd name="T47" fmla="*/ 602 h 706"/>
                  <a:gd name="T48" fmla="*/ 523 w 617"/>
                  <a:gd name="T49" fmla="*/ 681 h 706"/>
                  <a:gd name="T50" fmla="*/ 182 w 617"/>
                  <a:gd name="T51" fmla="*/ 494 h 706"/>
                  <a:gd name="T52" fmla="*/ 88 w 617"/>
                  <a:gd name="T53" fmla="*/ 431 h 706"/>
                  <a:gd name="T54" fmla="*/ 109 w 617"/>
                  <a:gd name="T55" fmla="*/ 383 h 706"/>
                  <a:gd name="T56" fmla="*/ 204 w 617"/>
                  <a:gd name="T57" fmla="*/ 344 h 706"/>
                  <a:gd name="T58" fmla="*/ 269 w 617"/>
                  <a:gd name="T59" fmla="*/ 414 h 706"/>
                  <a:gd name="T60" fmla="*/ 305 w 617"/>
                  <a:gd name="T61" fmla="*/ 481 h 706"/>
                  <a:gd name="T62" fmla="*/ 277 w 617"/>
                  <a:gd name="T63" fmla="*/ 402 h 706"/>
                  <a:gd name="T64" fmla="*/ 328 w 617"/>
                  <a:gd name="T65" fmla="*/ 354 h 706"/>
                  <a:gd name="T66" fmla="*/ 423 w 617"/>
                  <a:gd name="T67" fmla="*/ 287 h 706"/>
                  <a:gd name="T68" fmla="*/ 428 w 617"/>
                  <a:gd name="T69" fmla="*/ 358 h 706"/>
                  <a:gd name="T70" fmla="*/ 413 w 617"/>
                  <a:gd name="T71" fmla="*/ 481 h 706"/>
                  <a:gd name="T72" fmla="*/ 428 w 617"/>
                  <a:gd name="T73" fmla="*/ 444 h 706"/>
                  <a:gd name="T74" fmla="*/ 467 w 617"/>
                  <a:gd name="T75" fmla="*/ 371 h 706"/>
                  <a:gd name="T76" fmla="*/ 505 w 617"/>
                  <a:gd name="T77" fmla="*/ 396 h 706"/>
                  <a:gd name="T78" fmla="*/ 528 w 617"/>
                  <a:gd name="T79" fmla="*/ 471 h 706"/>
                  <a:gd name="T80" fmla="*/ 471 w 617"/>
                  <a:gd name="T81" fmla="*/ 373 h 706"/>
                  <a:gd name="T82" fmla="*/ 425 w 617"/>
                  <a:gd name="T83" fmla="*/ 329 h 706"/>
                  <a:gd name="T84" fmla="*/ 411 w 617"/>
                  <a:gd name="T85" fmla="*/ 244 h 706"/>
                  <a:gd name="T86" fmla="*/ 369 w 617"/>
                  <a:gd name="T87" fmla="*/ 98 h 706"/>
                  <a:gd name="T88" fmla="*/ 219 w 617"/>
                  <a:gd name="T89" fmla="*/ 371 h 706"/>
                  <a:gd name="T90" fmla="*/ 340 w 617"/>
                  <a:gd name="T91" fmla="*/ 81 h 706"/>
                  <a:gd name="T92" fmla="*/ 332 w 617"/>
                  <a:gd name="T93" fmla="*/ 169 h 706"/>
                  <a:gd name="T94" fmla="*/ 332 w 617"/>
                  <a:gd name="T95" fmla="*/ 277 h 706"/>
                  <a:gd name="T96" fmla="*/ 234 w 617"/>
                  <a:gd name="T97" fmla="*/ 352 h 706"/>
                  <a:gd name="T98" fmla="*/ 140 w 617"/>
                  <a:gd name="T99" fmla="*/ 335 h 706"/>
                  <a:gd name="T100" fmla="*/ 81 w 617"/>
                  <a:gd name="T101" fmla="*/ 379 h 706"/>
                  <a:gd name="T102" fmla="*/ 86 w 617"/>
                  <a:gd name="T103" fmla="*/ 390 h 706"/>
                  <a:gd name="T104" fmla="*/ 52 w 617"/>
                  <a:gd name="T105" fmla="*/ 419 h 706"/>
                  <a:gd name="T106" fmla="*/ 69 w 617"/>
                  <a:gd name="T107" fmla="*/ 442 h 706"/>
                  <a:gd name="T108" fmla="*/ 42 w 617"/>
                  <a:gd name="T109" fmla="*/ 337 h 706"/>
                  <a:gd name="T110" fmla="*/ 144 w 617"/>
                  <a:gd name="T111" fmla="*/ 198 h 706"/>
                  <a:gd name="T112" fmla="*/ 206 w 617"/>
                  <a:gd name="T113" fmla="*/ 252 h 706"/>
                  <a:gd name="T114" fmla="*/ 261 w 617"/>
                  <a:gd name="T115" fmla="*/ 223 h 706"/>
                  <a:gd name="T116" fmla="*/ 225 w 617"/>
                  <a:gd name="T117" fmla="*/ 185 h 706"/>
                  <a:gd name="T118" fmla="*/ 240 w 617"/>
                  <a:gd name="T119" fmla="*/ 133 h 706"/>
                  <a:gd name="T120" fmla="*/ 217 w 617"/>
                  <a:gd name="T121" fmla="*/ 92 h 706"/>
                  <a:gd name="T122" fmla="*/ 261 w 617"/>
                  <a:gd name="T123" fmla="*/ 67 h 706"/>
                  <a:gd name="T124" fmla="*/ 200 w 617"/>
                  <a:gd name="T125" fmla="*/ 337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7" h="706">
                    <a:moveTo>
                      <a:pt x="65" y="454"/>
                    </a:moveTo>
                    <a:lnTo>
                      <a:pt x="65" y="452"/>
                    </a:lnTo>
                    <a:lnTo>
                      <a:pt x="67" y="452"/>
                    </a:lnTo>
                    <a:lnTo>
                      <a:pt x="67" y="454"/>
                    </a:lnTo>
                    <a:lnTo>
                      <a:pt x="67" y="452"/>
                    </a:lnTo>
                    <a:lnTo>
                      <a:pt x="67" y="454"/>
                    </a:lnTo>
                    <a:lnTo>
                      <a:pt x="65" y="452"/>
                    </a:lnTo>
                    <a:lnTo>
                      <a:pt x="65" y="454"/>
                    </a:lnTo>
                    <a:lnTo>
                      <a:pt x="67" y="454"/>
                    </a:lnTo>
                    <a:lnTo>
                      <a:pt x="65" y="454"/>
                    </a:lnTo>
                    <a:close/>
                    <a:moveTo>
                      <a:pt x="71" y="450"/>
                    </a:moveTo>
                    <a:lnTo>
                      <a:pt x="71" y="452"/>
                    </a:lnTo>
                    <a:lnTo>
                      <a:pt x="71" y="450"/>
                    </a:lnTo>
                    <a:close/>
                    <a:moveTo>
                      <a:pt x="71" y="450"/>
                    </a:moveTo>
                    <a:lnTo>
                      <a:pt x="71" y="452"/>
                    </a:lnTo>
                    <a:lnTo>
                      <a:pt x="71" y="450"/>
                    </a:lnTo>
                    <a:close/>
                    <a:moveTo>
                      <a:pt x="67" y="450"/>
                    </a:moveTo>
                    <a:lnTo>
                      <a:pt x="65" y="450"/>
                    </a:lnTo>
                    <a:lnTo>
                      <a:pt x="67" y="450"/>
                    </a:lnTo>
                    <a:lnTo>
                      <a:pt x="67" y="452"/>
                    </a:lnTo>
                    <a:lnTo>
                      <a:pt x="67" y="450"/>
                    </a:lnTo>
                    <a:lnTo>
                      <a:pt x="69" y="450"/>
                    </a:lnTo>
                    <a:lnTo>
                      <a:pt x="67" y="450"/>
                    </a:lnTo>
                    <a:lnTo>
                      <a:pt x="67" y="452"/>
                    </a:lnTo>
                    <a:lnTo>
                      <a:pt x="69" y="450"/>
                    </a:lnTo>
                    <a:lnTo>
                      <a:pt x="69" y="452"/>
                    </a:lnTo>
                    <a:lnTo>
                      <a:pt x="67" y="452"/>
                    </a:lnTo>
                    <a:lnTo>
                      <a:pt x="67" y="450"/>
                    </a:lnTo>
                    <a:lnTo>
                      <a:pt x="65" y="450"/>
                    </a:lnTo>
                    <a:lnTo>
                      <a:pt x="67" y="450"/>
                    </a:lnTo>
                    <a:lnTo>
                      <a:pt x="67" y="448"/>
                    </a:lnTo>
                    <a:lnTo>
                      <a:pt x="67" y="450"/>
                    </a:lnTo>
                    <a:close/>
                    <a:moveTo>
                      <a:pt x="81" y="452"/>
                    </a:moveTo>
                    <a:lnTo>
                      <a:pt x="81" y="454"/>
                    </a:lnTo>
                    <a:lnTo>
                      <a:pt x="81" y="452"/>
                    </a:lnTo>
                    <a:close/>
                    <a:moveTo>
                      <a:pt x="77" y="452"/>
                    </a:moveTo>
                    <a:lnTo>
                      <a:pt x="77" y="450"/>
                    </a:lnTo>
                    <a:lnTo>
                      <a:pt x="77" y="452"/>
                    </a:lnTo>
                    <a:close/>
                    <a:moveTo>
                      <a:pt x="71" y="450"/>
                    </a:moveTo>
                    <a:lnTo>
                      <a:pt x="71" y="448"/>
                    </a:lnTo>
                    <a:lnTo>
                      <a:pt x="71" y="450"/>
                    </a:lnTo>
                    <a:close/>
                    <a:moveTo>
                      <a:pt x="75" y="450"/>
                    </a:moveTo>
                    <a:lnTo>
                      <a:pt x="75" y="452"/>
                    </a:lnTo>
                    <a:lnTo>
                      <a:pt x="75" y="450"/>
                    </a:lnTo>
                    <a:lnTo>
                      <a:pt x="75" y="452"/>
                    </a:lnTo>
                    <a:lnTo>
                      <a:pt x="75" y="450"/>
                    </a:lnTo>
                    <a:lnTo>
                      <a:pt x="77" y="450"/>
                    </a:lnTo>
                    <a:lnTo>
                      <a:pt x="75" y="450"/>
                    </a:lnTo>
                    <a:close/>
                    <a:moveTo>
                      <a:pt x="83" y="454"/>
                    </a:moveTo>
                    <a:lnTo>
                      <a:pt x="83" y="452"/>
                    </a:lnTo>
                    <a:lnTo>
                      <a:pt x="83" y="454"/>
                    </a:lnTo>
                    <a:close/>
                    <a:moveTo>
                      <a:pt x="79" y="452"/>
                    </a:moveTo>
                    <a:lnTo>
                      <a:pt x="81" y="452"/>
                    </a:lnTo>
                    <a:lnTo>
                      <a:pt x="79" y="452"/>
                    </a:lnTo>
                    <a:close/>
                    <a:moveTo>
                      <a:pt x="81" y="452"/>
                    </a:moveTo>
                    <a:lnTo>
                      <a:pt x="81" y="454"/>
                    </a:lnTo>
                    <a:lnTo>
                      <a:pt x="81" y="452"/>
                    </a:lnTo>
                    <a:lnTo>
                      <a:pt x="81" y="454"/>
                    </a:lnTo>
                    <a:lnTo>
                      <a:pt x="81" y="452"/>
                    </a:lnTo>
                    <a:lnTo>
                      <a:pt x="81" y="454"/>
                    </a:lnTo>
                    <a:lnTo>
                      <a:pt x="83" y="452"/>
                    </a:lnTo>
                    <a:lnTo>
                      <a:pt x="81" y="454"/>
                    </a:lnTo>
                    <a:lnTo>
                      <a:pt x="81" y="452"/>
                    </a:lnTo>
                    <a:close/>
                    <a:moveTo>
                      <a:pt x="71" y="450"/>
                    </a:moveTo>
                    <a:lnTo>
                      <a:pt x="71" y="448"/>
                    </a:lnTo>
                    <a:lnTo>
                      <a:pt x="71" y="450"/>
                    </a:lnTo>
                    <a:lnTo>
                      <a:pt x="71" y="448"/>
                    </a:lnTo>
                    <a:lnTo>
                      <a:pt x="71" y="450"/>
                    </a:lnTo>
                    <a:close/>
                    <a:moveTo>
                      <a:pt x="77" y="450"/>
                    </a:moveTo>
                    <a:lnTo>
                      <a:pt x="77" y="452"/>
                    </a:lnTo>
                    <a:lnTo>
                      <a:pt x="77" y="450"/>
                    </a:lnTo>
                    <a:lnTo>
                      <a:pt x="75" y="450"/>
                    </a:lnTo>
                    <a:lnTo>
                      <a:pt x="77" y="450"/>
                    </a:lnTo>
                    <a:close/>
                    <a:moveTo>
                      <a:pt x="86" y="454"/>
                    </a:moveTo>
                    <a:lnTo>
                      <a:pt x="86" y="452"/>
                    </a:lnTo>
                    <a:lnTo>
                      <a:pt x="86" y="454"/>
                    </a:lnTo>
                    <a:close/>
                    <a:moveTo>
                      <a:pt x="83" y="454"/>
                    </a:moveTo>
                    <a:lnTo>
                      <a:pt x="83" y="452"/>
                    </a:lnTo>
                    <a:lnTo>
                      <a:pt x="83" y="454"/>
                    </a:lnTo>
                    <a:lnTo>
                      <a:pt x="85" y="454"/>
                    </a:lnTo>
                    <a:lnTo>
                      <a:pt x="83" y="452"/>
                    </a:lnTo>
                    <a:lnTo>
                      <a:pt x="85" y="452"/>
                    </a:lnTo>
                    <a:lnTo>
                      <a:pt x="83" y="452"/>
                    </a:lnTo>
                    <a:lnTo>
                      <a:pt x="85" y="452"/>
                    </a:lnTo>
                    <a:lnTo>
                      <a:pt x="85" y="454"/>
                    </a:lnTo>
                    <a:lnTo>
                      <a:pt x="83" y="454"/>
                    </a:lnTo>
                    <a:close/>
                    <a:moveTo>
                      <a:pt x="67" y="448"/>
                    </a:moveTo>
                    <a:lnTo>
                      <a:pt x="67" y="446"/>
                    </a:lnTo>
                    <a:lnTo>
                      <a:pt x="67" y="448"/>
                    </a:lnTo>
                    <a:close/>
                    <a:moveTo>
                      <a:pt x="79" y="450"/>
                    </a:moveTo>
                    <a:lnTo>
                      <a:pt x="79" y="452"/>
                    </a:lnTo>
                    <a:lnTo>
                      <a:pt x="79" y="450"/>
                    </a:lnTo>
                    <a:lnTo>
                      <a:pt x="77" y="450"/>
                    </a:lnTo>
                    <a:lnTo>
                      <a:pt x="79" y="450"/>
                    </a:lnTo>
                    <a:close/>
                    <a:moveTo>
                      <a:pt x="79" y="450"/>
                    </a:moveTo>
                    <a:lnTo>
                      <a:pt x="81" y="450"/>
                    </a:lnTo>
                    <a:lnTo>
                      <a:pt x="79" y="450"/>
                    </a:lnTo>
                    <a:lnTo>
                      <a:pt x="79" y="452"/>
                    </a:lnTo>
                    <a:lnTo>
                      <a:pt x="79" y="450"/>
                    </a:lnTo>
                    <a:close/>
                    <a:moveTo>
                      <a:pt x="86" y="454"/>
                    </a:moveTo>
                    <a:lnTo>
                      <a:pt x="88" y="454"/>
                    </a:lnTo>
                    <a:lnTo>
                      <a:pt x="86" y="454"/>
                    </a:lnTo>
                    <a:lnTo>
                      <a:pt x="88" y="454"/>
                    </a:lnTo>
                    <a:lnTo>
                      <a:pt x="88" y="452"/>
                    </a:lnTo>
                    <a:lnTo>
                      <a:pt x="88" y="454"/>
                    </a:lnTo>
                    <a:lnTo>
                      <a:pt x="86" y="456"/>
                    </a:lnTo>
                    <a:lnTo>
                      <a:pt x="85" y="454"/>
                    </a:lnTo>
                    <a:lnTo>
                      <a:pt x="83" y="454"/>
                    </a:lnTo>
                    <a:lnTo>
                      <a:pt x="85" y="454"/>
                    </a:lnTo>
                    <a:lnTo>
                      <a:pt x="85" y="452"/>
                    </a:lnTo>
                    <a:lnTo>
                      <a:pt x="85" y="454"/>
                    </a:lnTo>
                    <a:lnTo>
                      <a:pt x="85" y="452"/>
                    </a:lnTo>
                    <a:lnTo>
                      <a:pt x="85" y="454"/>
                    </a:lnTo>
                    <a:lnTo>
                      <a:pt x="85" y="452"/>
                    </a:lnTo>
                    <a:lnTo>
                      <a:pt x="85" y="450"/>
                    </a:lnTo>
                    <a:lnTo>
                      <a:pt x="85" y="452"/>
                    </a:lnTo>
                    <a:lnTo>
                      <a:pt x="86" y="452"/>
                    </a:lnTo>
                    <a:lnTo>
                      <a:pt x="86" y="454"/>
                    </a:lnTo>
                    <a:close/>
                    <a:moveTo>
                      <a:pt x="86" y="454"/>
                    </a:moveTo>
                    <a:lnTo>
                      <a:pt x="85" y="454"/>
                    </a:lnTo>
                    <a:lnTo>
                      <a:pt x="85" y="452"/>
                    </a:lnTo>
                    <a:lnTo>
                      <a:pt x="85" y="454"/>
                    </a:lnTo>
                    <a:lnTo>
                      <a:pt x="86" y="454"/>
                    </a:lnTo>
                    <a:close/>
                    <a:moveTo>
                      <a:pt x="88" y="452"/>
                    </a:moveTo>
                    <a:lnTo>
                      <a:pt x="86" y="452"/>
                    </a:lnTo>
                    <a:lnTo>
                      <a:pt x="88" y="452"/>
                    </a:lnTo>
                    <a:close/>
                    <a:moveTo>
                      <a:pt x="71" y="448"/>
                    </a:moveTo>
                    <a:lnTo>
                      <a:pt x="69" y="448"/>
                    </a:lnTo>
                    <a:lnTo>
                      <a:pt x="69" y="450"/>
                    </a:lnTo>
                    <a:lnTo>
                      <a:pt x="71" y="450"/>
                    </a:lnTo>
                    <a:lnTo>
                      <a:pt x="69" y="450"/>
                    </a:lnTo>
                    <a:lnTo>
                      <a:pt x="69" y="452"/>
                    </a:lnTo>
                    <a:lnTo>
                      <a:pt x="69" y="450"/>
                    </a:lnTo>
                    <a:lnTo>
                      <a:pt x="69" y="448"/>
                    </a:lnTo>
                    <a:lnTo>
                      <a:pt x="67" y="448"/>
                    </a:lnTo>
                    <a:lnTo>
                      <a:pt x="67" y="446"/>
                    </a:lnTo>
                    <a:lnTo>
                      <a:pt x="67" y="448"/>
                    </a:lnTo>
                    <a:lnTo>
                      <a:pt x="69" y="448"/>
                    </a:lnTo>
                    <a:lnTo>
                      <a:pt x="67" y="448"/>
                    </a:lnTo>
                    <a:lnTo>
                      <a:pt x="69" y="448"/>
                    </a:lnTo>
                    <a:lnTo>
                      <a:pt x="69" y="446"/>
                    </a:lnTo>
                    <a:lnTo>
                      <a:pt x="69" y="448"/>
                    </a:lnTo>
                    <a:lnTo>
                      <a:pt x="69" y="446"/>
                    </a:lnTo>
                    <a:lnTo>
                      <a:pt x="69" y="448"/>
                    </a:lnTo>
                    <a:lnTo>
                      <a:pt x="71" y="448"/>
                    </a:lnTo>
                    <a:lnTo>
                      <a:pt x="69" y="448"/>
                    </a:lnTo>
                    <a:lnTo>
                      <a:pt x="71" y="448"/>
                    </a:lnTo>
                    <a:close/>
                    <a:moveTo>
                      <a:pt x="85" y="450"/>
                    </a:moveTo>
                    <a:lnTo>
                      <a:pt x="83" y="450"/>
                    </a:lnTo>
                    <a:lnTo>
                      <a:pt x="81" y="450"/>
                    </a:lnTo>
                    <a:lnTo>
                      <a:pt x="83" y="450"/>
                    </a:lnTo>
                    <a:lnTo>
                      <a:pt x="81" y="450"/>
                    </a:lnTo>
                    <a:lnTo>
                      <a:pt x="83" y="450"/>
                    </a:lnTo>
                    <a:lnTo>
                      <a:pt x="85" y="450"/>
                    </a:lnTo>
                    <a:lnTo>
                      <a:pt x="83" y="450"/>
                    </a:lnTo>
                    <a:lnTo>
                      <a:pt x="83" y="448"/>
                    </a:lnTo>
                    <a:lnTo>
                      <a:pt x="85" y="450"/>
                    </a:lnTo>
                    <a:close/>
                    <a:moveTo>
                      <a:pt x="69" y="444"/>
                    </a:moveTo>
                    <a:lnTo>
                      <a:pt x="69" y="446"/>
                    </a:lnTo>
                    <a:lnTo>
                      <a:pt x="69" y="444"/>
                    </a:lnTo>
                    <a:lnTo>
                      <a:pt x="69" y="446"/>
                    </a:lnTo>
                    <a:lnTo>
                      <a:pt x="71" y="446"/>
                    </a:lnTo>
                    <a:lnTo>
                      <a:pt x="71" y="448"/>
                    </a:lnTo>
                    <a:lnTo>
                      <a:pt x="71" y="446"/>
                    </a:lnTo>
                    <a:lnTo>
                      <a:pt x="71" y="448"/>
                    </a:lnTo>
                    <a:lnTo>
                      <a:pt x="71" y="446"/>
                    </a:lnTo>
                    <a:lnTo>
                      <a:pt x="71" y="448"/>
                    </a:lnTo>
                    <a:lnTo>
                      <a:pt x="71" y="446"/>
                    </a:lnTo>
                    <a:lnTo>
                      <a:pt x="71" y="448"/>
                    </a:lnTo>
                    <a:lnTo>
                      <a:pt x="73" y="448"/>
                    </a:lnTo>
                    <a:lnTo>
                      <a:pt x="71" y="448"/>
                    </a:lnTo>
                    <a:lnTo>
                      <a:pt x="73" y="448"/>
                    </a:lnTo>
                    <a:lnTo>
                      <a:pt x="71" y="446"/>
                    </a:lnTo>
                    <a:lnTo>
                      <a:pt x="71" y="448"/>
                    </a:lnTo>
                    <a:lnTo>
                      <a:pt x="71" y="446"/>
                    </a:lnTo>
                    <a:lnTo>
                      <a:pt x="73" y="446"/>
                    </a:lnTo>
                    <a:lnTo>
                      <a:pt x="71" y="446"/>
                    </a:lnTo>
                    <a:lnTo>
                      <a:pt x="71" y="444"/>
                    </a:lnTo>
                    <a:lnTo>
                      <a:pt x="73" y="446"/>
                    </a:lnTo>
                    <a:lnTo>
                      <a:pt x="73" y="448"/>
                    </a:lnTo>
                    <a:lnTo>
                      <a:pt x="73" y="450"/>
                    </a:lnTo>
                    <a:lnTo>
                      <a:pt x="71" y="450"/>
                    </a:lnTo>
                    <a:lnTo>
                      <a:pt x="71" y="448"/>
                    </a:lnTo>
                    <a:lnTo>
                      <a:pt x="69" y="448"/>
                    </a:lnTo>
                    <a:lnTo>
                      <a:pt x="71" y="448"/>
                    </a:lnTo>
                    <a:lnTo>
                      <a:pt x="71" y="446"/>
                    </a:lnTo>
                    <a:lnTo>
                      <a:pt x="69" y="446"/>
                    </a:lnTo>
                    <a:lnTo>
                      <a:pt x="71" y="446"/>
                    </a:lnTo>
                    <a:lnTo>
                      <a:pt x="69" y="446"/>
                    </a:lnTo>
                    <a:lnTo>
                      <a:pt x="71" y="446"/>
                    </a:lnTo>
                    <a:lnTo>
                      <a:pt x="69" y="446"/>
                    </a:lnTo>
                    <a:lnTo>
                      <a:pt x="69" y="444"/>
                    </a:lnTo>
                    <a:lnTo>
                      <a:pt x="71" y="444"/>
                    </a:lnTo>
                    <a:lnTo>
                      <a:pt x="69" y="444"/>
                    </a:lnTo>
                    <a:close/>
                    <a:moveTo>
                      <a:pt x="86" y="452"/>
                    </a:moveTo>
                    <a:lnTo>
                      <a:pt x="85" y="452"/>
                    </a:lnTo>
                    <a:lnTo>
                      <a:pt x="85" y="450"/>
                    </a:lnTo>
                    <a:lnTo>
                      <a:pt x="85" y="452"/>
                    </a:lnTo>
                    <a:lnTo>
                      <a:pt x="86" y="452"/>
                    </a:lnTo>
                    <a:lnTo>
                      <a:pt x="86" y="450"/>
                    </a:lnTo>
                    <a:lnTo>
                      <a:pt x="86" y="452"/>
                    </a:lnTo>
                    <a:lnTo>
                      <a:pt x="86" y="450"/>
                    </a:lnTo>
                    <a:lnTo>
                      <a:pt x="86" y="452"/>
                    </a:lnTo>
                    <a:lnTo>
                      <a:pt x="86" y="450"/>
                    </a:lnTo>
                    <a:lnTo>
                      <a:pt x="86" y="448"/>
                    </a:lnTo>
                    <a:lnTo>
                      <a:pt x="85" y="448"/>
                    </a:lnTo>
                    <a:lnTo>
                      <a:pt x="86" y="450"/>
                    </a:lnTo>
                    <a:lnTo>
                      <a:pt x="86" y="452"/>
                    </a:lnTo>
                    <a:close/>
                    <a:moveTo>
                      <a:pt x="83" y="448"/>
                    </a:moveTo>
                    <a:lnTo>
                      <a:pt x="85" y="448"/>
                    </a:lnTo>
                    <a:lnTo>
                      <a:pt x="83" y="448"/>
                    </a:lnTo>
                    <a:close/>
                    <a:moveTo>
                      <a:pt x="75" y="446"/>
                    </a:moveTo>
                    <a:lnTo>
                      <a:pt x="75" y="444"/>
                    </a:lnTo>
                    <a:lnTo>
                      <a:pt x="75" y="446"/>
                    </a:lnTo>
                    <a:close/>
                    <a:moveTo>
                      <a:pt x="73" y="446"/>
                    </a:moveTo>
                    <a:lnTo>
                      <a:pt x="73" y="448"/>
                    </a:lnTo>
                    <a:lnTo>
                      <a:pt x="75" y="448"/>
                    </a:lnTo>
                    <a:lnTo>
                      <a:pt x="75" y="446"/>
                    </a:lnTo>
                    <a:lnTo>
                      <a:pt x="75" y="448"/>
                    </a:lnTo>
                    <a:lnTo>
                      <a:pt x="75" y="446"/>
                    </a:lnTo>
                    <a:lnTo>
                      <a:pt x="75" y="444"/>
                    </a:lnTo>
                    <a:lnTo>
                      <a:pt x="75" y="446"/>
                    </a:lnTo>
                    <a:lnTo>
                      <a:pt x="77" y="446"/>
                    </a:lnTo>
                    <a:lnTo>
                      <a:pt x="77" y="448"/>
                    </a:lnTo>
                    <a:lnTo>
                      <a:pt x="77" y="446"/>
                    </a:lnTo>
                    <a:lnTo>
                      <a:pt x="77" y="448"/>
                    </a:lnTo>
                    <a:lnTo>
                      <a:pt x="75" y="448"/>
                    </a:lnTo>
                    <a:lnTo>
                      <a:pt x="75" y="450"/>
                    </a:lnTo>
                    <a:lnTo>
                      <a:pt x="77" y="450"/>
                    </a:lnTo>
                    <a:lnTo>
                      <a:pt x="77" y="448"/>
                    </a:lnTo>
                    <a:lnTo>
                      <a:pt x="77" y="446"/>
                    </a:lnTo>
                    <a:lnTo>
                      <a:pt x="77" y="448"/>
                    </a:lnTo>
                    <a:lnTo>
                      <a:pt x="77" y="450"/>
                    </a:lnTo>
                    <a:lnTo>
                      <a:pt x="77" y="448"/>
                    </a:lnTo>
                    <a:lnTo>
                      <a:pt x="77" y="450"/>
                    </a:lnTo>
                    <a:lnTo>
                      <a:pt x="77" y="448"/>
                    </a:lnTo>
                    <a:lnTo>
                      <a:pt x="77" y="450"/>
                    </a:lnTo>
                    <a:lnTo>
                      <a:pt x="75" y="450"/>
                    </a:lnTo>
                    <a:lnTo>
                      <a:pt x="77" y="450"/>
                    </a:lnTo>
                    <a:lnTo>
                      <a:pt x="75" y="450"/>
                    </a:lnTo>
                    <a:lnTo>
                      <a:pt x="75" y="452"/>
                    </a:lnTo>
                    <a:lnTo>
                      <a:pt x="73" y="450"/>
                    </a:lnTo>
                    <a:lnTo>
                      <a:pt x="73" y="448"/>
                    </a:lnTo>
                    <a:lnTo>
                      <a:pt x="73" y="446"/>
                    </a:lnTo>
                    <a:close/>
                    <a:moveTo>
                      <a:pt x="71" y="444"/>
                    </a:moveTo>
                    <a:lnTo>
                      <a:pt x="71" y="442"/>
                    </a:lnTo>
                    <a:lnTo>
                      <a:pt x="71" y="444"/>
                    </a:lnTo>
                    <a:close/>
                    <a:moveTo>
                      <a:pt x="75" y="444"/>
                    </a:moveTo>
                    <a:lnTo>
                      <a:pt x="73" y="444"/>
                    </a:lnTo>
                    <a:lnTo>
                      <a:pt x="75" y="444"/>
                    </a:lnTo>
                    <a:close/>
                    <a:moveTo>
                      <a:pt x="83" y="446"/>
                    </a:moveTo>
                    <a:lnTo>
                      <a:pt x="83" y="448"/>
                    </a:lnTo>
                    <a:lnTo>
                      <a:pt x="83" y="446"/>
                    </a:lnTo>
                    <a:close/>
                    <a:moveTo>
                      <a:pt x="86" y="446"/>
                    </a:moveTo>
                    <a:lnTo>
                      <a:pt x="88" y="446"/>
                    </a:lnTo>
                    <a:lnTo>
                      <a:pt x="86" y="446"/>
                    </a:lnTo>
                    <a:close/>
                    <a:moveTo>
                      <a:pt x="73" y="442"/>
                    </a:moveTo>
                    <a:lnTo>
                      <a:pt x="75" y="442"/>
                    </a:lnTo>
                    <a:lnTo>
                      <a:pt x="73" y="442"/>
                    </a:lnTo>
                    <a:close/>
                    <a:moveTo>
                      <a:pt x="85" y="444"/>
                    </a:moveTo>
                    <a:lnTo>
                      <a:pt x="85" y="446"/>
                    </a:lnTo>
                    <a:lnTo>
                      <a:pt x="86" y="446"/>
                    </a:lnTo>
                    <a:lnTo>
                      <a:pt x="86" y="448"/>
                    </a:lnTo>
                    <a:lnTo>
                      <a:pt x="85" y="448"/>
                    </a:lnTo>
                    <a:lnTo>
                      <a:pt x="85" y="446"/>
                    </a:lnTo>
                    <a:lnTo>
                      <a:pt x="83" y="446"/>
                    </a:lnTo>
                    <a:lnTo>
                      <a:pt x="85" y="446"/>
                    </a:lnTo>
                    <a:lnTo>
                      <a:pt x="85" y="448"/>
                    </a:lnTo>
                    <a:lnTo>
                      <a:pt x="85" y="446"/>
                    </a:lnTo>
                    <a:lnTo>
                      <a:pt x="85" y="444"/>
                    </a:lnTo>
                    <a:lnTo>
                      <a:pt x="83" y="446"/>
                    </a:lnTo>
                    <a:lnTo>
                      <a:pt x="83" y="444"/>
                    </a:lnTo>
                    <a:lnTo>
                      <a:pt x="83" y="446"/>
                    </a:lnTo>
                    <a:lnTo>
                      <a:pt x="83" y="444"/>
                    </a:lnTo>
                    <a:lnTo>
                      <a:pt x="85" y="444"/>
                    </a:lnTo>
                    <a:lnTo>
                      <a:pt x="85" y="446"/>
                    </a:lnTo>
                    <a:lnTo>
                      <a:pt x="86" y="446"/>
                    </a:lnTo>
                    <a:lnTo>
                      <a:pt x="85" y="446"/>
                    </a:lnTo>
                    <a:lnTo>
                      <a:pt x="85" y="444"/>
                    </a:lnTo>
                    <a:close/>
                    <a:moveTo>
                      <a:pt x="81" y="450"/>
                    </a:moveTo>
                    <a:lnTo>
                      <a:pt x="79" y="448"/>
                    </a:lnTo>
                    <a:lnTo>
                      <a:pt x="77" y="448"/>
                    </a:lnTo>
                    <a:lnTo>
                      <a:pt x="79" y="448"/>
                    </a:lnTo>
                    <a:lnTo>
                      <a:pt x="77" y="448"/>
                    </a:lnTo>
                    <a:lnTo>
                      <a:pt x="79" y="448"/>
                    </a:lnTo>
                    <a:lnTo>
                      <a:pt x="77" y="448"/>
                    </a:lnTo>
                    <a:lnTo>
                      <a:pt x="77" y="446"/>
                    </a:lnTo>
                    <a:lnTo>
                      <a:pt x="75" y="446"/>
                    </a:lnTo>
                    <a:lnTo>
                      <a:pt x="75" y="444"/>
                    </a:lnTo>
                    <a:lnTo>
                      <a:pt x="75" y="442"/>
                    </a:lnTo>
                    <a:lnTo>
                      <a:pt x="77" y="442"/>
                    </a:lnTo>
                    <a:lnTo>
                      <a:pt x="75" y="442"/>
                    </a:lnTo>
                    <a:lnTo>
                      <a:pt x="75" y="444"/>
                    </a:lnTo>
                    <a:lnTo>
                      <a:pt x="77" y="444"/>
                    </a:lnTo>
                    <a:lnTo>
                      <a:pt x="77" y="446"/>
                    </a:lnTo>
                    <a:lnTo>
                      <a:pt x="79" y="446"/>
                    </a:lnTo>
                    <a:lnTo>
                      <a:pt x="79" y="444"/>
                    </a:lnTo>
                    <a:lnTo>
                      <a:pt x="77" y="446"/>
                    </a:lnTo>
                    <a:lnTo>
                      <a:pt x="77" y="444"/>
                    </a:lnTo>
                    <a:lnTo>
                      <a:pt x="77" y="446"/>
                    </a:lnTo>
                    <a:lnTo>
                      <a:pt x="77" y="444"/>
                    </a:lnTo>
                    <a:lnTo>
                      <a:pt x="79" y="444"/>
                    </a:lnTo>
                    <a:lnTo>
                      <a:pt x="79" y="446"/>
                    </a:lnTo>
                    <a:lnTo>
                      <a:pt x="77" y="446"/>
                    </a:lnTo>
                    <a:lnTo>
                      <a:pt x="79" y="446"/>
                    </a:lnTo>
                    <a:lnTo>
                      <a:pt x="79" y="448"/>
                    </a:lnTo>
                    <a:lnTo>
                      <a:pt x="79" y="446"/>
                    </a:lnTo>
                    <a:lnTo>
                      <a:pt x="79" y="448"/>
                    </a:lnTo>
                    <a:lnTo>
                      <a:pt x="81" y="448"/>
                    </a:lnTo>
                    <a:lnTo>
                      <a:pt x="81" y="446"/>
                    </a:lnTo>
                    <a:lnTo>
                      <a:pt x="81" y="448"/>
                    </a:lnTo>
                    <a:lnTo>
                      <a:pt x="83" y="448"/>
                    </a:lnTo>
                    <a:lnTo>
                      <a:pt x="83" y="450"/>
                    </a:lnTo>
                    <a:lnTo>
                      <a:pt x="81" y="448"/>
                    </a:lnTo>
                    <a:lnTo>
                      <a:pt x="81" y="450"/>
                    </a:lnTo>
                    <a:lnTo>
                      <a:pt x="79" y="450"/>
                    </a:lnTo>
                    <a:lnTo>
                      <a:pt x="81" y="450"/>
                    </a:lnTo>
                    <a:lnTo>
                      <a:pt x="79" y="450"/>
                    </a:lnTo>
                    <a:lnTo>
                      <a:pt x="81" y="450"/>
                    </a:lnTo>
                    <a:lnTo>
                      <a:pt x="79" y="450"/>
                    </a:lnTo>
                    <a:lnTo>
                      <a:pt x="79" y="448"/>
                    </a:lnTo>
                    <a:lnTo>
                      <a:pt x="79" y="450"/>
                    </a:lnTo>
                    <a:lnTo>
                      <a:pt x="81" y="450"/>
                    </a:lnTo>
                    <a:lnTo>
                      <a:pt x="81" y="448"/>
                    </a:lnTo>
                    <a:lnTo>
                      <a:pt x="81" y="450"/>
                    </a:lnTo>
                    <a:close/>
                    <a:moveTo>
                      <a:pt x="77" y="446"/>
                    </a:moveTo>
                    <a:lnTo>
                      <a:pt x="75" y="444"/>
                    </a:lnTo>
                    <a:lnTo>
                      <a:pt x="77" y="446"/>
                    </a:lnTo>
                    <a:close/>
                    <a:moveTo>
                      <a:pt x="73" y="442"/>
                    </a:moveTo>
                    <a:lnTo>
                      <a:pt x="75" y="442"/>
                    </a:lnTo>
                    <a:lnTo>
                      <a:pt x="73" y="442"/>
                    </a:lnTo>
                    <a:lnTo>
                      <a:pt x="73" y="440"/>
                    </a:lnTo>
                    <a:lnTo>
                      <a:pt x="75" y="440"/>
                    </a:lnTo>
                    <a:lnTo>
                      <a:pt x="73" y="440"/>
                    </a:lnTo>
                    <a:lnTo>
                      <a:pt x="75" y="442"/>
                    </a:lnTo>
                    <a:lnTo>
                      <a:pt x="75" y="440"/>
                    </a:lnTo>
                    <a:lnTo>
                      <a:pt x="75" y="442"/>
                    </a:lnTo>
                    <a:lnTo>
                      <a:pt x="75" y="440"/>
                    </a:lnTo>
                    <a:lnTo>
                      <a:pt x="75" y="442"/>
                    </a:lnTo>
                    <a:lnTo>
                      <a:pt x="75" y="440"/>
                    </a:lnTo>
                    <a:lnTo>
                      <a:pt x="77" y="440"/>
                    </a:lnTo>
                    <a:lnTo>
                      <a:pt x="75" y="440"/>
                    </a:lnTo>
                    <a:lnTo>
                      <a:pt x="77" y="440"/>
                    </a:lnTo>
                    <a:lnTo>
                      <a:pt x="75" y="438"/>
                    </a:lnTo>
                    <a:lnTo>
                      <a:pt x="77" y="438"/>
                    </a:lnTo>
                    <a:lnTo>
                      <a:pt x="77" y="440"/>
                    </a:lnTo>
                    <a:lnTo>
                      <a:pt x="77" y="442"/>
                    </a:lnTo>
                    <a:lnTo>
                      <a:pt x="75" y="442"/>
                    </a:lnTo>
                    <a:lnTo>
                      <a:pt x="75" y="444"/>
                    </a:lnTo>
                    <a:lnTo>
                      <a:pt x="73" y="444"/>
                    </a:lnTo>
                    <a:lnTo>
                      <a:pt x="75" y="444"/>
                    </a:lnTo>
                    <a:lnTo>
                      <a:pt x="75" y="442"/>
                    </a:lnTo>
                    <a:lnTo>
                      <a:pt x="75" y="444"/>
                    </a:lnTo>
                    <a:lnTo>
                      <a:pt x="73" y="444"/>
                    </a:lnTo>
                    <a:lnTo>
                      <a:pt x="73" y="446"/>
                    </a:lnTo>
                    <a:lnTo>
                      <a:pt x="71" y="444"/>
                    </a:lnTo>
                    <a:lnTo>
                      <a:pt x="73" y="444"/>
                    </a:lnTo>
                    <a:lnTo>
                      <a:pt x="73" y="442"/>
                    </a:lnTo>
                    <a:lnTo>
                      <a:pt x="73" y="444"/>
                    </a:lnTo>
                    <a:lnTo>
                      <a:pt x="73" y="442"/>
                    </a:lnTo>
                    <a:lnTo>
                      <a:pt x="71" y="442"/>
                    </a:lnTo>
                    <a:lnTo>
                      <a:pt x="71" y="440"/>
                    </a:lnTo>
                    <a:lnTo>
                      <a:pt x="71" y="438"/>
                    </a:lnTo>
                    <a:lnTo>
                      <a:pt x="73" y="438"/>
                    </a:lnTo>
                    <a:lnTo>
                      <a:pt x="71" y="438"/>
                    </a:lnTo>
                    <a:lnTo>
                      <a:pt x="71" y="440"/>
                    </a:lnTo>
                    <a:lnTo>
                      <a:pt x="71" y="442"/>
                    </a:lnTo>
                    <a:lnTo>
                      <a:pt x="71" y="440"/>
                    </a:lnTo>
                    <a:lnTo>
                      <a:pt x="71" y="442"/>
                    </a:lnTo>
                    <a:lnTo>
                      <a:pt x="73" y="442"/>
                    </a:lnTo>
                    <a:lnTo>
                      <a:pt x="71" y="442"/>
                    </a:lnTo>
                    <a:lnTo>
                      <a:pt x="73" y="442"/>
                    </a:lnTo>
                    <a:lnTo>
                      <a:pt x="73" y="444"/>
                    </a:lnTo>
                    <a:lnTo>
                      <a:pt x="73" y="442"/>
                    </a:lnTo>
                    <a:lnTo>
                      <a:pt x="73" y="444"/>
                    </a:lnTo>
                    <a:lnTo>
                      <a:pt x="73" y="442"/>
                    </a:lnTo>
                    <a:lnTo>
                      <a:pt x="75" y="442"/>
                    </a:lnTo>
                    <a:lnTo>
                      <a:pt x="73" y="442"/>
                    </a:lnTo>
                    <a:close/>
                    <a:moveTo>
                      <a:pt x="73" y="446"/>
                    </a:moveTo>
                    <a:lnTo>
                      <a:pt x="73" y="444"/>
                    </a:lnTo>
                    <a:lnTo>
                      <a:pt x="73" y="446"/>
                    </a:lnTo>
                    <a:close/>
                    <a:moveTo>
                      <a:pt x="77" y="440"/>
                    </a:moveTo>
                    <a:lnTo>
                      <a:pt x="79" y="440"/>
                    </a:lnTo>
                    <a:lnTo>
                      <a:pt x="77" y="440"/>
                    </a:lnTo>
                    <a:lnTo>
                      <a:pt x="79" y="440"/>
                    </a:lnTo>
                    <a:lnTo>
                      <a:pt x="77" y="440"/>
                    </a:lnTo>
                    <a:lnTo>
                      <a:pt x="77" y="442"/>
                    </a:lnTo>
                    <a:lnTo>
                      <a:pt x="79" y="442"/>
                    </a:lnTo>
                    <a:lnTo>
                      <a:pt x="79" y="444"/>
                    </a:lnTo>
                    <a:lnTo>
                      <a:pt x="79" y="442"/>
                    </a:lnTo>
                    <a:lnTo>
                      <a:pt x="79" y="444"/>
                    </a:lnTo>
                    <a:lnTo>
                      <a:pt x="79" y="442"/>
                    </a:lnTo>
                    <a:lnTo>
                      <a:pt x="77" y="444"/>
                    </a:lnTo>
                    <a:lnTo>
                      <a:pt x="77" y="442"/>
                    </a:lnTo>
                    <a:lnTo>
                      <a:pt x="77" y="440"/>
                    </a:lnTo>
                    <a:lnTo>
                      <a:pt x="77" y="442"/>
                    </a:lnTo>
                    <a:lnTo>
                      <a:pt x="77" y="440"/>
                    </a:lnTo>
                    <a:close/>
                    <a:moveTo>
                      <a:pt x="77" y="440"/>
                    </a:moveTo>
                    <a:lnTo>
                      <a:pt x="77" y="438"/>
                    </a:lnTo>
                    <a:lnTo>
                      <a:pt x="77" y="440"/>
                    </a:lnTo>
                    <a:close/>
                    <a:moveTo>
                      <a:pt x="77" y="440"/>
                    </a:moveTo>
                    <a:lnTo>
                      <a:pt x="77" y="438"/>
                    </a:lnTo>
                    <a:lnTo>
                      <a:pt x="77" y="440"/>
                    </a:lnTo>
                    <a:close/>
                    <a:moveTo>
                      <a:pt x="79" y="440"/>
                    </a:moveTo>
                    <a:lnTo>
                      <a:pt x="79" y="438"/>
                    </a:lnTo>
                    <a:lnTo>
                      <a:pt x="79" y="440"/>
                    </a:lnTo>
                    <a:close/>
                    <a:moveTo>
                      <a:pt x="77" y="440"/>
                    </a:moveTo>
                    <a:lnTo>
                      <a:pt x="77" y="438"/>
                    </a:lnTo>
                    <a:lnTo>
                      <a:pt x="77" y="440"/>
                    </a:lnTo>
                    <a:lnTo>
                      <a:pt x="77" y="438"/>
                    </a:lnTo>
                    <a:lnTo>
                      <a:pt x="77" y="440"/>
                    </a:lnTo>
                    <a:lnTo>
                      <a:pt x="77" y="438"/>
                    </a:lnTo>
                    <a:lnTo>
                      <a:pt x="77" y="440"/>
                    </a:lnTo>
                    <a:close/>
                    <a:moveTo>
                      <a:pt x="79" y="442"/>
                    </a:moveTo>
                    <a:lnTo>
                      <a:pt x="79" y="440"/>
                    </a:lnTo>
                    <a:lnTo>
                      <a:pt x="81" y="440"/>
                    </a:lnTo>
                    <a:lnTo>
                      <a:pt x="81" y="442"/>
                    </a:lnTo>
                    <a:lnTo>
                      <a:pt x="79" y="442"/>
                    </a:lnTo>
                    <a:lnTo>
                      <a:pt x="81" y="442"/>
                    </a:lnTo>
                    <a:lnTo>
                      <a:pt x="79" y="442"/>
                    </a:lnTo>
                    <a:lnTo>
                      <a:pt x="81" y="442"/>
                    </a:lnTo>
                    <a:lnTo>
                      <a:pt x="81" y="440"/>
                    </a:lnTo>
                    <a:lnTo>
                      <a:pt x="81" y="442"/>
                    </a:lnTo>
                    <a:lnTo>
                      <a:pt x="81" y="440"/>
                    </a:lnTo>
                    <a:lnTo>
                      <a:pt x="81" y="442"/>
                    </a:lnTo>
                    <a:lnTo>
                      <a:pt x="81" y="440"/>
                    </a:lnTo>
                    <a:lnTo>
                      <a:pt x="81" y="438"/>
                    </a:lnTo>
                    <a:lnTo>
                      <a:pt x="81" y="440"/>
                    </a:lnTo>
                    <a:lnTo>
                      <a:pt x="81" y="438"/>
                    </a:lnTo>
                    <a:lnTo>
                      <a:pt x="81" y="440"/>
                    </a:lnTo>
                    <a:lnTo>
                      <a:pt x="81" y="442"/>
                    </a:lnTo>
                    <a:lnTo>
                      <a:pt x="79" y="444"/>
                    </a:lnTo>
                    <a:lnTo>
                      <a:pt x="79" y="442"/>
                    </a:lnTo>
                    <a:lnTo>
                      <a:pt x="79" y="440"/>
                    </a:lnTo>
                    <a:lnTo>
                      <a:pt x="79" y="442"/>
                    </a:lnTo>
                    <a:close/>
                    <a:moveTo>
                      <a:pt x="75" y="437"/>
                    </a:moveTo>
                    <a:lnTo>
                      <a:pt x="73" y="437"/>
                    </a:lnTo>
                    <a:lnTo>
                      <a:pt x="75" y="437"/>
                    </a:lnTo>
                    <a:close/>
                    <a:moveTo>
                      <a:pt x="75" y="433"/>
                    </a:moveTo>
                    <a:lnTo>
                      <a:pt x="77" y="433"/>
                    </a:lnTo>
                    <a:lnTo>
                      <a:pt x="75" y="433"/>
                    </a:lnTo>
                    <a:close/>
                    <a:moveTo>
                      <a:pt x="77" y="433"/>
                    </a:moveTo>
                    <a:lnTo>
                      <a:pt x="75" y="433"/>
                    </a:lnTo>
                    <a:lnTo>
                      <a:pt x="77" y="433"/>
                    </a:lnTo>
                    <a:close/>
                    <a:moveTo>
                      <a:pt x="75" y="433"/>
                    </a:moveTo>
                    <a:lnTo>
                      <a:pt x="75" y="431"/>
                    </a:lnTo>
                    <a:lnTo>
                      <a:pt x="77" y="431"/>
                    </a:lnTo>
                    <a:lnTo>
                      <a:pt x="75" y="431"/>
                    </a:lnTo>
                    <a:lnTo>
                      <a:pt x="75" y="433"/>
                    </a:lnTo>
                    <a:lnTo>
                      <a:pt x="75" y="431"/>
                    </a:lnTo>
                    <a:lnTo>
                      <a:pt x="75" y="433"/>
                    </a:lnTo>
                    <a:close/>
                    <a:moveTo>
                      <a:pt x="75" y="433"/>
                    </a:moveTo>
                    <a:lnTo>
                      <a:pt x="75" y="431"/>
                    </a:lnTo>
                    <a:lnTo>
                      <a:pt x="75" y="433"/>
                    </a:lnTo>
                    <a:lnTo>
                      <a:pt x="77" y="431"/>
                    </a:lnTo>
                    <a:lnTo>
                      <a:pt x="75" y="433"/>
                    </a:lnTo>
                    <a:lnTo>
                      <a:pt x="77" y="433"/>
                    </a:lnTo>
                    <a:lnTo>
                      <a:pt x="75" y="433"/>
                    </a:lnTo>
                    <a:close/>
                    <a:moveTo>
                      <a:pt x="71" y="429"/>
                    </a:moveTo>
                    <a:lnTo>
                      <a:pt x="71" y="431"/>
                    </a:lnTo>
                    <a:lnTo>
                      <a:pt x="71" y="429"/>
                    </a:lnTo>
                    <a:lnTo>
                      <a:pt x="69" y="429"/>
                    </a:lnTo>
                    <a:lnTo>
                      <a:pt x="71" y="429"/>
                    </a:lnTo>
                    <a:lnTo>
                      <a:pt x="71" y="431"/>
                    </a:lnTo>
                    <a:lnTo>
                      <a:pt x="71" y="429"/>
                    </a:lnTo>
                    <a:close/>
                    <a:moveTo>
                      <a:pt x="67" y="429"/>
                    </a:moveTo>
                    <a:lnTo>
                      <a:pt x="69" y="429"/>
                    </a:lnTo>
                    <a:lnTo>
                      <a:pt x="67" y="429"/>
                    </a:lnTo>
                    <a:close/>
                    <a:moveTo>
                      <a:pt x="46" y="421"/>
                    </a:moveTo>
                    <a:lnTo>
                      <a:pt x="46" y="419"/>
                    </a:lnTo>
                    <a:lnTo>
                      <a:pt x="46" y="421"/>
                    </a:lnTo>
                    <a:close/>
                    <a:moveTo>
                      <a:pt x="77" y="429"/>
                    </a:moveTo>
                    <a:lnTo>
                      <a:pt x="75" y="429"/>
                    </a:lnTo>
                    <a:lnTo>
                      <a:pt x="77" y="429"/>
                    </a:lnTo>
                    <a:lnTo>
                      <a:pt x="75" y="429"/>
                    </a:lnTo>
                    <a:lnTo>
                      <a:pt x="77" y="429"/>
                    </a:lnTo>
                    <a:close/>
                    <a:moveTo>
                      <a:pt x="77" y="429"/>
                    </a:moveTo>
                    <a:lnTo>
                      <a:pt x="77" y="427"/>
                    </a:lnTo>
                    <a:lnTo>
                      <a:pt x="77" y="429"/>
                    </a:lnTo>
                    <a:close/>
                    <a:moveTo>
                      <a:pt x="75" y="427"/>
                    </a:moveTo>
                    <a:lnTo>
                      <a:pt x="75" y="429"/>
                    </a:lnTo>
                    <a:lnTo>
                      <a:pt x="75" y="427"/>
                    </a:lnTo>
                    <a:close/>
                    <a:moveTo>
                      <a:pt x="71" y="427"/>
                    </a:moveTo>
                    <a:lnTo>
                      <a:pt x="71" y="429"/>
                    </a:lnTo>
                    <a:lnTo>
                      <a:pt x="73" y="429"/>
                    </a:lnTo>
                    <a:lnTo>
                      <a:pt x="73" y="427"/>
                    </a:lnTo>
                    <a:lnTo>
                      <a:pt x="71" y="427"/>
                    </a:lnTo>
                    <a:lnTo>
                      <a:pt x="73" y="427"/>
                    </a:lnTo>
                    <a:lnTo>
                      <a:pt x="71" y="427"/>
                    </a:lnTo>
                    <a:lnTo>
                      <a:pt x="71" y="425"/>
                    </a:lnTo>
                    <a:lnTo>
                      <a:pt x="71" y="427"/>
                    </a:lnTo>
                    <a:lnTo>
                      <a:pt x="71" y="425"/>
                    </a:lnTo>
                    <a:lnTo>
                      <a:pt x="73" y="425"/>
                    </a:lnTo>
                    <a:lnTo>
                      <a:pt x="73" y="427"/>
                    </a:lnTo>
                    <a:lnTo>
                      <a:pt x="71" y="427"/>
                    </a:lnTo>
                    <a:lnTo>
                      <a:pt x="73" y="427"/>
                    </a:lnTo>
                    <a:lnTo>
                      <a:pt x="73" y="429"/>
                    </a:lnTo>
                    <a:lnTo>
                      <a:pt x="71" y="429"/>
                    </a:lnTo>
                    <a:lnTo>
                      <a:pt x="71" y="427"/>
                    </a:lnTo>
                    <a:lnTo>
                      <a:pt x="69" y="427"/>
                    </a:lnTo>
                    <a:lnTo>
                      <a:pt x="69" y="425"/>
                    </a:lnTo>
                    <a:lnTo>
                      <a:pt x="69" y="427"/>
                    </a:lnTo>
                    <a:lnTo>
                      <a:pt x="71" y="427"/>
                    </a:lnTo>
                    <a:lnTo>
                      <a:pt x="69" y="427"/>
                    </a:lnTo>
                    <a:lnTo>
                      <a:pt x="71" y="427"/>
                    </a:lnTo>
                    <a:lnTo>
                      <a:pt x="71" y="429"/>
                    </a:lnTo>
                    <a:lnTo>
                      <a:pt x="71" y="427"/>
                    </a:lnTo>
                    <a:lnTo>
                      <a:pt x="71" y="429"/>
                    </a:lnTo>
                    <a:lnTo>
                      <a:pt x="71" y="427"/>
                    </a:lnTo>
                    <a:close/>
                    <a:moveTo>
                      <a:pt x="75" y="427"/>
                    </a:moveTo>
                    <a:lnTo>
                      <a:pt x="77" y="427"/>
                    </a:lnTo>
                    <a:lnTo>
                      <a:pt x="75" y="427"/>
                    </a:lnTo>
                    <a:lnTo>
                      <a:pt x="77" y="427"/>
                    </a:lnTo>
                    <a:lnTo>
                      <a:pt x="75" y="427"/>
                    </a:lnTo>
                    <a:close/>
                    <a:moveTo>
                      <a:pt x="58" y="421"/>
                    </a:moveTo>
                    <a:lnTo>
                      <a:pt x="58" y="419"/>
                    </a:lnTo>
                    <a:lnTo>
                      <a:pt x="58" y="421"/>
                    </a:lnTo>
                    <a:close/>
                    <a:moveTo>
                      <a:pt x="58" y="421"/>
                    </a:moveTo>
                    <a:lnTo>
                      <a:pt x="60" y="421"/>
                    </a:lnTo>
                    <a:lnTo>
                      <a:pt x="58" y="421"/>
                    </a:lnTo>
                    <a:close/>
                    <a:moveTo>
                      <a:pt x="58" y="421"/>
                    </a:moveTo>
                    <a:lnTo>
                      <a:pt x="58" y="419"/>
                    </a:lnTo>
                    <a:lnTo>
                      <a:pt x="58" y="421"/>
                    </a:lnTo>
                    <a:close/>
                    <a:moveTo>
                      <a:pt x="90" y="429"/>
                    </a:moveTo>
                    <a:lnTo>
                      <a:pt x="88" y="429"/>
                    </a:lnTo>
                    <a:lnTo>
                      <a:pt x="90" y="429"/>
                    </a:lnTo>
                    <a:close/>
                    <a:moveTo>
                      <a:pt x="65" y="421"/>
                    </a:moveTo>
                    <a:lnTo>
                      <a:pt x="67" y="421"/>
                    </a:lnTo>
                    <a:lnTo>
                      <a:pt x="65" y="421"/>
                    </a:lnTo>
                    <a:close/>
                    <a:moveTo>
                      <a:pt x="73" y="421"/>
                    </a:moveTo>
                    <a:lnTo>
                      <a:pt x="73" y="423"/>
                    </a:lnTo>
                    <a:lnTo>
                      <a:pt x="71" y="421"/>
                    </a:lnTo>
                    <a:lnTo>
                      <a:pt x="73" y="421"/>
                    </a:lnTo>
                    <a:close/>
                    <a:moveTo>
                      <a:pt x="75" y="438"/>
                    </a:moveTo>
                    <a:lnTo>
                      <a:pt x="77" y="438"/>
                    </a:lnTo>
                    <a:lnTo>
                      <a:pt x="75" y="438"/>
                    </a:lnTo>
                    <a:lnTo>
                      <a:pt x="73" y="438"/>
                    </a:lnTo>
                    <a:lnTo>
                      <a:pt x="75" y="438"/>
                    </a:lnTo>
                    <a:lnTo>
                      <a:pt x="77" y="438"/>
                    </a:lnTo>
                    <a:lnTo>
                      <a:pt x="75" y="437"/>
                    </a:lnTo>
                    <a:lnTo>
                      <a:pt x="77" y="437"/>
                    </a:lnTo>
                    <a:lnTo>
                      <a:pt x="75" y="437"/>
                    </a:lnTo>
                    <a:lnTo>
                      <a:pt x="73" y="437"/>
                    </a:lnTo>
                    <a:lnTo>
                      <a:pt x="75" y="437"/>
                    </a:lnTo>
                    <a:lnTo>
                      <a:pt x="77" y="437"/>
                    </a:lnTo>
                    <a:lnTo>
                      <a:pt x="75" y="437"/>
                    </a:lnTo>
                    <a:lnTo>
                      <a:pt x="77" y="437"/>
                    </a:lnTo>
                    <a:lnTo>
                      <a:pt x="75" y="437"/>
                    </a:lnTo>
                    <a:lnTo>
                      <a:pt x="73" y="437"/>
                    </a:lnTo>
                    <a:lnTo>
                      <a:pt x="73" y="435"/>
                    </a:lnTo>
                    <a:lnTo>
                      <a:pt x="73" y="433"/>
                    </a:lnTo>
                    <a:lnTo>
                      <a:pt x="73" y="435"/>
                    </a:lnTo>
                    <a:lnTo>
                      <a:pt x="75" y="435"/>
                    </a:lnTo>
                    <a:lnTo>
                      <a:pt x="73" y="435"/>
                    </a:lnTo>
                    <a:lnTo>
                      <a:pt x="75" y="435"/>
                    </a:lnTo>
                    <a:lnTo>
                      <a:pt x="73" y="435"/>
                    </a:lnTo>
                    <a:lnTo>
                      <a:pt x="73" y="437"/>
                    </a:lnTo>
                    <a:lnTo>
                      <a:pt x="75" y="437"/>
                    </a:lnTo>
                    <a:lnTo>
                      <a:pt x="75" y="435"/>
                    </a:lnTo>
                    <a:lnTo>
                      <a:pt x="75" y="437"/>
                    </a:lnTo>
                    <a:lnTo>
                      <a:pt x="77" y="437"/>
                    </a:lnTo>
                    <a:lnTo>
                      <a:pt x="79" y="437"/>
                    </a:lnTo>
                    <a:lnTo>
                      <a:pt x="77" y="437"/>
                    </a:lnTo>
                    <a:lnTo>
                      <a:pt x="77" y="435"/>
                    </a:lnTo>
                    <a:lnTo>
                      <a:pt x="75" y="435"/>
                    </a:lnTo>
                    <a:lnTo>
                      <a:pt x="75" y="433"/>
                    </a:lnTo>
                    <a:lnTo>
                      <a:pt x="75" y="435"/>
                    </a:lnTo>
                    <a:lnTo>
                      <a:pt x="75" y="433"/>
                    </a:lnTo>
                    <a:lnTo>
                      <a:pt x="75" y="435"/>
                    </a:lnTo>
                    <a:lnTo>
                      <a:pt x="75" y="433"/>
                    </a:lnTo>
                    <a:lnTo>
                      <a:pt x="75" y="435"/>
                    </a:lnTo>
                    <a:lnTo>
                      <a:pt x="75" y="433"/>
                    </a:lnTo>
                    <a:lnTo>
                      <a:pt x="77" y="435"/>
                    </a:lnTo>
                    <a:lnTo>
                      <a:pt x="77" y="433"/>
                    </a:lnTo>
                    <a:lnTo>
                      <a:pt x="77" y="435"/>
                    </a:lnTo>
                    <a:lnTo>
                      <a:pt x="77" y="433"/>
                    </a:lnTo>
                    <a:lnTo>
                      <a:pt x="77" y="435"/>
                    </a:lnTo>
                    <a:lnTo>
                      <a:pt x="79" y="435"/>
                    </a:lnTo>
                    <a:lnTo>
                      <a:pt x="77" y="433"/>
                    </a:lnTo>
                    <a:lnTo>
                      <a:pt x="79" y="433"/>
                    </a:lnTo>
                    <a:lnTo>
                      <a:pt x="79" y="431"/>
                    </a:lnTo>
                    <a:lnTo>
                      <a:pt x="77" y="431"/>
                    </a:lnTo>
                    <a:lnTo>
                      <a:pt x="79" y="431"/>
                    </a:lnTo>
                    <a:lnTo>
                      <a:pt x="77" y="431"/>
                    </a:lnTo>
                    <a:lnTo>
                      <a:pt x="79" y="431"/>
                    </a:lnTo>
                    <a:lnTo>
                      <a:pt x="77" y="431"/>
                    </a:lnTo>
                    <a:lnTo>
                      <a:pt x="79" y="431"/>
                    </a:lnTo>
                    <a:lnTo>
                      <a:pt x="77" y="431"/>
                    </a:lnTo>
                    <a:lnTo>
                      <a:pt x="77" y="429"/>
                    </a:lnTo>
                    <a:lnTo>
                      <a:pt x="77" y="431"/>
                    </a:lnTo>
                    <a:lnTo>
                      <a:pt x="77" y="429"/>
                    </a:lnTo>
                    <a:lnTo>
                      <a:pt x="77" y="431"/>
                    </a:lnTo>
                    <a:lnTo>
                      <a:pt x="79" y="431"/>
                    </a:lnTo>
                    <a:lnTo>
                      <a:pt x="77" y="431"/>
                    </a:lnTo>
                    <a:lnTo>
                      <a:pt x="77" y="429"/>
                    </a:lnTo>
                    <a:lnTo>
                      <a:pt x="77" y="431"/>
                    </a:lnTo>
                    <a:lnTo>
                      <a:pt x="79" y="429"/>
                    </a:lnTo>
                    <a:lnTo>
                      <a:pt x="77" y="429"/>
                    </a:lnTo>
                    <a:lnTo>
                      <a:pt x="79" y="429"/>
                    </a:lnTo>
                    <a:lnTo>
                      <a:pt x="79" y="427"/>
                    </a:lnTo>
                    <a:lnTo>
                      <a:pt x="79" y="425"/>
                    </a:lnTo>
                    <a:lnTo>
                      <a:pt x="79" y="427"/>
                    </a:lnTo>
                    <a:lnTo>
                      <a:pt x="79" y="425"/>
                    </a:lnTo>
                    <a:lnTo>
                      <a:pt x="77" y="425"/>
                    </a:lnTo>
                    <a:lnTo>
                      <a:pt x="79" y="425"/>
                    </a:lnTo>
                    <a:lnTo>
                      <a:pt x="77" y="425"/>
                    </a:lnTo>
                    <a:lnTo>
                      <a:pt x="79" y="425"/>
                    </a:lnTo>
                    <a:lnTo>
                      <a:pt x="77" y="425"/>
                    </a:lnTo>
                    <a:lnTo>
                      <a:pt x="77" y="423"/>
                    </a:lnTo>
                    <a:lnTo>
                      <a:pt x="77" y="425"/>
                    </a:lnTo>
                    <a:lnTo>
                      <a:pt x="79" y="425"/>
                    </a:lnTo>
                    <a:lnTo>
                      <a:pt x="79" y="423"/>
                    </a:lnTo>
                    <a:lnTo>
                      <a:pt x="77" y="423"/>
                    </a:lnTo>
                    <a:lnTo>
                      <a:pt x="79" y="423"/>
                    </a:lnTo>
                    <a:lnTo>
                      <a:pt x="77" y="423"/>
                    </a:lnTo>
                    <a:lnTo>
                      <a:pt x="79" y="423"/>
                    </a:lnTo>
                    <a:lnTo>
                      <a:pt x="79" y="425"/>
                    </a:lnTo>
                    <a:lnTo>
                      <a:pt x="79" y="427"/>
                    </a:lnTo>
                    <a:lnTo>
                      <a:pt x="79" y="429"/>
                    </a:lnTo>
                    <a:lnTo>
                      <a:pt x="81" y="429"/>
                    </a:lnTo>
                    <a:lnTo>
                      <a:pt x="79" y="429"/>
                    </a:lnTo>
                    <a:lnTo>
                      <a:pt x="81" y="429"/>
                    </a:lnTo>
                    <a:lnTo>
                      <a:pt x="79" y="429"/>
                    </a:lnTo>
                    <a:lnTo>
                      <a:pt x="81" y="429"/>
                    </a:lnTo>
                    <a:lnTo>
                      <a:pt x="79" y="429"/>
                    </a:lnTo>
                    <a:lnTo>
                      <a:pt x="81" y="431"/>
                    </a:lnTo>
                    <a:lnTo>
                      <a:pt x="81" y="429"/>
                    </a:lnTo>
                    <a:lnTo>
                      <a:pt x="79" y="429"/>
                    </a:lnTo>
                    <a:lnTo>
                      <a:pt x="81" y="429"/>
                    </a:lnTo>
                    <a:lnTo>
                      <a:pt x="81" y="427"/>
                    </a:lnTo>
                    <a:lnTo>
                      <a:pt x="79" y="429"/>
                    </a:lnTo>
                    <a:lnTo>
                      <a:pt x="79" y="427"/>
                    </a:lnTo>
                    <a:lnTo>
                      <a:pt x="81" y="427"/>
                    </a:lnTo>
                    <a:lnTo>
                      <a:pt x="81" y="425"/>
                    </a:lnTo>
                    <a:lnTo>
                      <a:pt x="81" y="427"/>
                    </a:lnTo>
                    <a:lnTo>
                      <a:pt x="81" y="425"/>
                    </a:lnTo>
                    <a:lnTo>
                      <a:pt x="81" y="427"/>
                    </a:lnTo>
                    <a:lnTo>
                      <a:pt x="81" y="425"/>
                    </a:lnTo>
                    <a:lnTo>
                      <a:pt x="81" y="427"/>
                    </a:lnTo>
                    <a:lnTo>
                      <a:pt x="81" y="425"/>
                    </a:lnTo>
                    <a:lnTo>
                      <a:pt x="79" y="425"/>
                    </a:lnTo>
                    <a:lnTo>
                      <a:pt x="79" y="423"/>
                    </a:lnTo>
                    <a:lnTo>
                      <a:pt x="79" y="425"/>
                    </a:lnTo>
                    <a:lnTo>
                      <a:pt x="79" y="423"/>
                    </a:lnTo>
                    <a:lnTo>
                      <a:pt x="81" y="425"/>
                    </a:lnTo>
                    <a:lnTo>
                      <a:pt x="83" y="425"/>
                    </a:lnTo>
                    <a:lnTo>
                      <a:pt x="81" y="425"/>
                    </a:lnTo>
                    <a:lnTo>
                      <a:pt x="81" y="427"/>
                    </a:lnTo>
                    <a:lnTo>
                      <a:pt x="81" y="425"/>
                    </a:lnTo>
                    <a:lnTo>
                      <a:pt x="83" y="425"/>
                    </a:lnTo>
                    <a:lnTo>
                      <a:pt x="83" y="427"/>
                    </a:lnTo>
                    <a:lnTo>
                      <a:pt x="83" y="429"/>
                    </a:lnTo>
                    <a:lnTo>
                      <a:pt x="83" y="427"/>
                    </a:lnTo>
                    <a:lnTo>
                      <a:pt x="83" y="429"/>
                    </a:lnTo>
                    <a:lnTo>
                      <a:pt x="83" y="427"/>
                    </a:lnTo>
                    <a:lnTo>
                      <a:pt x="83" y="429"/>
                    </a:lnTo>
                    <a:lnTo>
                      <a:pt x="85" y="429"/>
                    </a:lnTo>
                    <a:lnTo>
                      <a:pt x="83" y="429"/>
                    </a:lnTo>
                    <a:lnTo>
                      <a:pt x="85" y="429"/>
                    </a:lnTo>
                    <a:lnTo>
                      <a:pt x="85" y="427"/>
                    </a:lnTo>
                    <a:lnTo>
                      <a:pt x="83" y="427"/>
                    </a:lnTo>
                    <a:lnTo>
                      <a:pt x="85" y="427"/>
                    </a:lnTo>
                    <a:lnTo>
                      <a:pt x="83" y="427"/>
                    </a:lnTo>
                    <a:lnTo>
                      <a:pt x="83" y="425"/>
                    </a:lnTo>
                    <a:lnTo>
                      <a:pt x="85" y="427"/>
                    </a:lnTo>
                    <a:lnTo>
                      <a:pt x="85" y="425"/>
                    </a:lnTo>
                    <a:lnTo>
                      <a:pt x="83" y="425"/>
                    </a:lnTo>
                    <a:lnTo>
                      <a:pt x="85" y="425"/>
                    </a:lnTo>
                    <a:lnTo>
                      <a:pt x="85" y="427"/>
                    </a:lnTo>
                    <a:lnTo>
                      <a:pt x="86" y="427"/>
                    </a:lnTo>
                    <a:lnTo>
                      <a:pt x="85" y="427"/>
                    </a:lnTo>
                    <a:lnTo>
                      <a:pt x="85" y="425"/>
                    </a:lnTo>
                    <a:lnTo>
                      <a:pt x="86" y="427"/>
                    </a:lnTo>
                    <a:lnTo>
                      <a:pt x="85" y="427"/>
                    </a:lnTo>
                    <a:lnTo>
                      <a:pt x="85" y="425"/>
                    </a:lnTo>
                    <a:lnTo>
                      <a:pt x="85" y="427"/>
                    </a:lnTo>
                    <a:lnTo>
                      <a:pt x="86" y="427"/>
                    </a:lnTo>
                    <a:lnTo>
                      <a:pt x="85" y="425"/>
                    </a:lnTo>
                    <a:lnTo>
                      <a:pt x="86" y="427"/>
                    </a:lnTo>
                    <a:lnTo>
                      <a:pt x="86" y="425"/>
                    </a:lnTo>
                    <a:lnTo>
                      <a:pt x="86" y="427"/>
                    </a:lnTo>
                    <a:lnTo>
                      <a:pt x="86" y="425"/>
                    </a:lnTo>
                    <a:lnTo>
                      <a:pt x="86" y="427"/>
                    </a:lnTo>
                    <a:lnTo>
                      <a:pt x="86" y="425"/>
                    </a:lnTo>
                    <a:lnTo>
                      <a:pt x="85" y="425"/>
                    </a:lnTo>
                    <a:lnTo>
                      <a:pt x="86" y="425"/>
                    </a:lnTo>
                    <a:lnTo>
                      <a:pt x="86" y="427"/>
                    </a:lnTo>
                    <a:lnTo>
                      <a:pt x="86" y="429"/>
                    </a:lnTo>
                    <a:lnTo>
                      <a:pt x="86" y="427"/>
                    </a:lnTo>
                    <a:lnTo>
                      <a:pt x="86" y="425"/>
                    </a:lnTo>
                    <a:lnTo>
                      <a:pt x="86" y="427"/>
                    </a:lnTo>
                    <a:lnTo>
                      <a:pt x="88" y="427"/>
                    </a:lnTo>
                    <a:lnTo>
                      <a:pt x="86" y="429"/>
                    </a:lnTo>
                    <a:lnTo>
                      <a:pt x="88" y="427"/>
                    </a:lnTo>
                    <a:lnTo>
                      <a:pt x="86" y="427"/>
                    </a:lnTo>
                    <a:lnTo>
                      <a:pt x="86" y="425"/>
                    </a:lnTo>
                    <a:lnTo>
                      <a:pt x="88" y="427"/>
                    </a:lnTo>
                    <a:lnTo>
                      <a:pt x="86" y="429"/>
                    </a:lnTo>
                    <a:lnTo>
                      <a:pt x="85" y="431"/>
                    </a:lnTo>
                    <a:lnTo>
                      <a:pt x="83" y="431"/>
                    </a:lnTo>
                    <a:lnTo>
                      <a:pt x="81" y="431"/>
                    </a:lnTo>
                    <a:lnTo>
                      <a:pt x="81" y="433"/>
                    </a:lnTo>
                    <a:lnTo>
                      <a:pt x="81" y="431"/>
                    </a:lnTo>
                    <a:lnTo>
                      <a:pt x="81" y="433"/>
                    </a:lnTo>
                    <a:lnTo>
                      <a:pt x="81" y="435"/>
                    </a:lnTo>
                    <a:lnTo>
                      <a:pt x="81" y="437"/>
                    </a:lnTo>
                    <a:lnTo>
                      <a:pt x="81" y="438"/>
                    </a:lnTo>
                    <a:lnTo>
                      <a:pt x="81" y="437"/>
                    </a:lnTo>
                    <a:lnTo>
                      <a:pt x="81" y="435"/>
                    </a:lnTo>
                    <a:lnTo>
                      <a:pt x="81" y="437"/>
                    </a:lnTo>
                    <a:lnTo>
                      <a:pt x="81" y="438"/>
                    </a:lnTo>
                    <a:lnTo>
                      <a:pt x="79" y="438"/>
                    </a:lnTo>
                    <a:lnTo>
                      <a:pt x="81" y="438"/>
                    </a:lnTo>
                    <a:lnTo>
                      <a:pt x="79" y="438"/>
                    </a:lnTo>
                    <a:lnTo>
                      <a:pt x="79" y="440"/>
                    </a:lnTo>
                    <a:lnTo>
                      <a:pt x="79" y="438"/>
                    </a:lnTo>
                    <a:lnTo>
                      <a:pt x="79" y="437"/>
                    </a:lnTo>
                    <a:lnTo>
                      <a:pt x="79" y="438"/>
                    </a:lnTo>
                    <a:lnTo>
                      <a:pt x="79" y="437"/>
                    </a:lnTo>
                    <a:lnTo>
                      <a:pt x="79" y="438"/>
                    </a:lnTo>
                    <a:lnTo>
                      <a:pt x="79" y="437"/>
                    </a:lnTo>
                    <a:lnTo>
                      <a:pt x="77" y="438"/>
                    </a:lnTo>
                    <a:lnTo>
                      <a:pt x="79" y="438"/>
                    </a:lnTo>
                    <a:lnTo>
                      <a:pt x="79" y="440"/>
                    </a:lnTo>
                    <a:lnTo>
                      <a:pt x="79" y="438"/>
                    </a:lnTo>
                    <a:lnTo>
                      <a:pt x="79" y="440"/>
                    </a:lnTo>
                    <a:lnTo>
                      <a:pt x="79" y="438"/>
                    </a:lnTo>
                    <a:lnTo>
                      <a:pt x="77" y="438"/>
                    </a:lnTo>
                    <a:lnTo>
                      <a:pt x="77" y="437"/>
                    </a:lnTo>
                    <a:lnTo>
                      <a:pt x="79" y="437"/>
                    </a:lnTo>
                    <a:lnTo>
                      <a:pt x="77" y="437"/>
                    </a:lnTo>
                    <a:lnTo>
                      <a:pt x="79" y="437"/>
                    </a:lnTo>
                    <a:lnTo>
                      <a:pt x="77" y="437"/>
                    </a:lnTo>
                    <a:lnTo>
                      <a:pt x="77" y="438"/>
                    </a:lnTo>
                    <a:lnTo>
                      <a:pt x="77" y="437"/>
                    </a:lnTo>
                    <a:lnTo>
                      <a:pt x="77" y="438"/>
                    </a:lnTo>
                    <a:lnTo>
                      <a:pt x="75" y="438"/>
                    </a:lnTo>
                    <a:close/>
                    <a:moveTo>
                      <a:pt x="71" y="419"/>
                    </a:moveTo>
                    <a:lnTo>
                      <a:pt x="71" y="421"/>
                    </a:lnTo>
                    <a:lnTo>
                      <a:pt x="69" y="421"/>
                    </a:lnTo>
                    <a:lnTo>
                      <a:pt x="69" y="423"/>
                    </a:lnTo>
                    <a:lnTo>
                      <a:pt x="71" y="423"/>
                    </a:lnTo>
                    <a:lnTo>
                      <a:pt x="71" y="421"/>
                    </a:lnTo>
                    <a:lnTo>
                      <a:pt x="71" y="423"/>
                    </a:lnTo>
                    <a:lnTo>
                      <a:pt x="71" y="421"/>
                    </a:lnTo>
                    <a:lnTo>
                      <a:pt x="71" y="423"/>
                    </a:lnTo>
                    <a:lnTo>
                      <a:pt x="69" y="423"/>
                    </a:lnTo>
                    <a:lnTo>
                      <a:pt x="71" y="423"/>
                    </a:lnTo>
                    <a:lnTo>
                      <a:pt x="69" y="423"/>
                    </a:lnTo>
                    <a:lnTo>
                      <a:pt x="71" y="423"/>
                    </a:lnTo>
                    <a:lnTo>
                      <a:pt x="71" y="425"/>
                    </a:lnTo>
                    <a:lnTo>
                      <a:pt x="73" y="425"/>
                    </a:lnTo>
                    <a:lnTo>
                      <a:pt x="71" y="425"/>
                    </a:lnTo>
                    <a:lnTo>
                      <a:pt x="73" y="425"/>
                    </a:lnTo>
                    <a:lnTo>
                      <a:pt x="75" y="425"/>
                    </a:lnTo>
                    <a:lnTo>
                      <a:pt x="73" y="425"/>
                    </a:lnTo>
                    <a:lnTo>
                      <a:pt x="73" y="423"/>
                    </a:lnTo>
                    <a:lnTo>
                      <a:pt x="73" y="425"/>
                    </a:lnTo>
                    <a:lnTo>
                      <a:pt x="75" y="425"/>
                    </a:lnTo>
                    <a:lnTo>
                      <a:pt x="73" y="425"/>
                    </a:lnTo>
                    <a:lnTo>
                      <a:pt x="75" y="425"/>
                    </a:lnTo>
                    <a:lnTo>
                      <a:pt x="73" y="423"/>
                    </a:lnTo>
                    <a:lnTo>
                      <a:pt x="75" y="425"/>
                    </a:lnTo>
                    <a:lnTo>
                      <a:pt x="77" y="425"/>
                    </a:lnTo>
                    <a:lnTo>
                      <a:pt x="75" y="427"/>
                    </a:lnTo>
                    <a:lnTo>
                      <a:pt x="75" y="429"/>
                    </a:lnTo>
                    <a:lnTo>
                      <a:pt x="75" y="427"/>
                    </a:lnTo>
                    <a:lnTo>
                      <a:pt x="73" y="427"/>
                    </a:lnTo>
                    <a:lnTo>
                      <a:pt x="73" y="425"/>
                    </a:lnTo>
                    <a:lnTo>
                      <a:pt x="71" y="425"/>
                    </a:lnTo>
                    <a:lnTo>
                      <a:pt x="69" y="425"/>
                    </a:lnTo>
                    <a:lnTo>
                      <a:pt x="69" y="423"/>
                    </a:lnTo>
                    <a:lnTo>
                      <a:pt x="69" y="421"/>
                    </a:lnTo>
                    <a:lnTo>
                      <a:pt x="71" y="421"/>
                    </a:lnTo>
                    <a:lnTo>
                      <a:pt x="71" y="419"/>
                    </a:lnTo>
                    <a:close/>
                    <a:moveTo>
                      <a:pt x="71" y="421"/>
                    </a:moveTo>
                    <a:lnTo>
                      <a:pt x="71" y="419"/>
                    </a:lnTo>
                    <a:lnTo>
                      <a:pt x="71" y="421"/>
                    </a:lnTo>
                    <a:close/>
                    <a:moveTo>
                      <a:pt x="81" y="421"/>
                    </a:moveTo>
                    <a:lnTo>
                      <a:pt x="81" y="423"/>
                    </a:lnTo>
                    <a:lnTo>
                      <a:pt x="83" y="423"/>
                    </a:lnTo>
                    <a:lnTo>
                      <a:pt x="81" y="423"/>
                    </a:lnTo>
                    <a:lnTo>
                      <a:pt x="79" y="423"/>
                    </a:lnTo>
                    <a:lnTo>
                      <a:pt x="79" y="421"/>
                    </a:lnTo>
                    <a:lnTo>
                      <a:pt x="81" y="423"/>
                    </a:lnTo>
                    <a:lnTo>
                      <a:pt x="79" y="421"/>
                    </a:lnTo>
                    <a:lnTo>
                      <a:pt x="81" y="423"/>
                    </a:lnTo>
                    <a:lnTo>
                      <a:pt x="81" y="421"/>
                    </a:lnTo>
                    <a:lnTo>
                      <a:pt x="79" y="421"/>
                    </a:lnTo>
                    <a:lnTo>
                      <a:pt x="81" y="421"/>
                    </a:lnTo>
                    <a:lnTo>
                      <a:pt x="79" y="421"/>
                    </a:lnTo>
                    <a:lnTo>
                      <a:pt x="81" y="421"/>
                    </a:lnTo>
                    <a:close/>
                    <a:moveTo>
                      <a:pt x="65" y="417"/>
                    </a:moveTo>
                    <a:lnTo>
                      <a:pt x="65" y="415"/>
                    </a:lnTo>
                    <a:lnTo>
                      <a:pt x="65" y="417"/>
                    </a:lnTo>
                    <a:close/>
                    <a:moveTo>
                      <a:pt x="88" y="423"/>
                    </a:moveTo>
                    <a:lnTo>
                      <a:pt x="90" y="423"/>
                    </a:lnTo>
                    <a:lnTo>
                      <a:pt x="88" y="423"/>
                    </a:lnTo>
                    <a:close/>
                    <a:moveTo>
                      <a:pt x="75" y="419"/>
                    </a:moveTo>
                    <a:lnTo>
                      <a:pt x="77" y="419"/>
                    </a:lnTo>
                    <a:lnTo>
                      <a:pt x="77" y="417"/>
                    </a:lnTo>
                    <a:lnTo>
                      <a:pt x="75" y="419"/>
                    </a:lnTo>
                    <a:close/>
                    <a:moveTo>
                      <a:pt x="86" y="423"/>
                    </a:moveTo>
                    <a:lnTo>
                      <a:pt x="88" y="423"/>
                    </a:lnTo>
                    <a:lnTo>
                      <a:pt x="88" y="425"/>
                    </a:lnTo>
                    <a:lnTo>
                      <a:pt x="88" y="423"/>
                    </a:lnTo>
                    <a:lnTo>
                      <a:pt x="88" y="425"/>
                    </a:lnTo>
                    <a:lnTo>
                      <a:pt x="88" y="427"/>
                    </a:lnTo>
                    <a:lnTo>
                      <a:pt x="88" y="425"/>
                    </a:lnTo>
                    <a:lnTo>
                      <a:pt x="86" y="425"/>
                    </a:lnTo>
                    <a:lnTo>
                      <a:pt x="85" y="425"/>
                    </a:lnTo>
                    <a:lnTo>
                      <a:pt x="83" y="423"/>
                    </a:lnTo>
                    <a:lnTo>
                      <a:pt x="83" y="421"/>
                    </a:lnTo>
                    <a:lnTo>
                      <a:pt x="81" y="421"/>
                    </a:lnTo>
                    <a:lnTo>
                      <a:pt x="83" y="421"/>
                    </a:lnTo>
                    <a:lnTo>
                      <a:pt x="81" y="421"/>
                    </a:lnTo>
                    <a:lnTo>
                      <a:pt x="83" y="421"/>
                    </a:lnTo>
                    <a:lnTo>
                      <a:pt x="83" y="423"/>
                    </a:lnTo>
                    <a:lnTo>
                      <a:pt x="83" y="421"/>
                    </a:lnTo>
                    <a:lnTo>
                      <a:pt x="83" y="423"/>
                    </a:lnTo>
                    <a:lnTo>
                      <a:pt x="85" y="421"/>
                    </a:lnTo>
                    <a:lnTo>
                      <a:pt x="83" y="421"/>
                    </a:lnTo>
                    <a:lnTo>
                      <a:pt x="85" y="421"/>
                    </a:lnTo>
                    <a:lnTo>
                      <a:pt x="83" y="421"/>
                    </a:lnTo>
                    <a:lnTo>
                      <a:pt x="85" y="421"/>
                    </a:lnTo>
                    <a:lnTo>
                      <a:pt x="85" y="423"/>
                    </a:lnTo>
                    <a:lnTo>
                      <a:pt x="83" y="423"/>
                    </a:lnTo>
                    <a:lnTo>
                      <a:pt x="85" y="423"/>
                    </a:lnTo>
                    <a:lnTo>
                      <a:pt x="83" y="423"/>
                    </a:lnTo>
                    <a:lnTo>
                      <a:pt x="85" y="423"/>
                    </a:lnTo>
                    <a:lnTo>
                      <a:pt x="85" y="421"/>
                    </a:lnTo>
                    <a:lnTo>
                      <a:pt x="83" y="421"/>
                    </a:lnTo>
                    <a:lnTo>
                      <a:pt x="85" y="421"/>
                    </a:lnTo>
                    <a:lnTo>
                      <a:pt x="83" y="421"/>
                    </a:lnTo>
                    <a:lnTo>
                      <a:pt x="83" y="419"/>
                    </a:lnTo>
                    <a:lnTo>
                      <a:pt x="81" y="421"/>
                    </a:lnTo>
                    <a:lnTo>
                      <a:pt x="83" y="421"/>
                    </a:lnTo>
                    <a:lnTo>
                      <a:pt x="81" y="421"/>
                    </a:lnTo>
                    <a:lnTo>
                      <a:pt x="83" y="419"/>
                    </a:lnTo>
                    <a:lnTo>
                      <a:pt x="85" y="421"/>
                    </a:lnTo>
                    <a:lnTo>
                      <a:pt x="85" y="419"/>
                    </a:lnTo>
                    <a:lnTo>
                      <a:pt x="85" y="421"/>
                    </a:lnTo>
                    <a:lnTo>
                      <a:pt x="86" y="423"/>
                    </a:lnTo>
                    <a:close/>
                    <a:moveTo>
                      <a:pt x="85" y="423"/>
                    </a:moveTo>
                    <a:lnTo>
                      <a:pt x="85" y="421"/>
                    </a:lnTo>
                    <a:lnTo>
                      <a:pt x="85" y="423"/>
                    </a:lnTo>
                    <a:lnTo>
                      <a:pt x="85" y="421"/>
                    </a:lnTo>
                    <a:lnTo>
                      <a:pt x="85" y="423"/>
                    </a:lnTo>
                    <a:lnTo>
                      <a:pt x="86" y="423"/>
                    </a:lnTo>
                    <a:lnTo>
                      <a:pt x="85" y="423"/>
                    </a:lnTo>
                    <a:close/>
                    <a:moveTo>
                      <a:pt x="67" y="412"/>
                    </a:moveTo>
                    <a:lnTo>
                      <a:pt x="69" y="412"/>
                    </a:lnTo>
                    <a:lnTo>
                      <a:pt x="69" y="414"/>
                    </a:lnTo>
                    <a:lnTo>
                      <a:pt x="69" y="412"/>
                    </a:lnTo>
                    <a:lnTo>
                      <a:pt x="69" y="414"/>
                    </a:lnTo>
                    <a:lnTo>
                      <a:pt x="67" y="414"/>
                    </a:lnTo>
                    <a:lnTo>
                      <a:pt x="67" y="415"/>
                    </a:lnTo>
                    <a:lnTo>
                      <a:pt x="67" y="414"/>
                    </a:lnTo>
                    <a:lnTo>
                      <a:pt x="67" y="415"/>
                    </a:lnTo>
                    <a:lnTo>
                      <a:pt x="67" y="414"/>
                    </a:lnTo>
                    <a:lnTo>
                      <a:pt x="67" y="415"/>
                    </a:lnTo>
                    <a:lnTo>
                      <a:pt x="67" y="417"/>
                    </a:lnTo>
                    <a:lnTo>
                      <a:pt x="69" y="417"/>
                    </a:lnTo>
                    <a:lnTo>
                      <a:pt x="67" y="415"/>
                    </a:lnTo>
                    <a:lnTo>
                      <a:pt x="69" y="417"/>
                    </a:lnTo>
                    <a:lnTo>
                      <a:pt x="69" y="415"/>
                    </a:lnTo>
                    <a:lnTo>
                      <a:pt x="67" y="415"/>
                    </a:lnTo>
                    <a:lnTo>
                      <a:pt x="69" y="415"/>
                    </a:lnTo>
                    <a:lnTo>
                      <a:pt x="69" y="417"/>
                    </a:lnTo>
                    <a:lnTo>
                      <a:pt x="69" y="419"/>
                    </a:lnTo>
                    <a:lnTo>
                      <a:pt x="69" y="417"/>
                    </a:lnTo>
                    <a:lnTo>
                      <a:pt x="69" y="419"/>
                    </a:lnTo>
                    <a:lnTo>
                      <a:pt x="71" y="419"/>
                    </a:lnTo>
                    <a:lnTo>
                      <a:pt x="71" y="417"/>
                    </a:lnTo>
                    <a:lnTo>
                      <a:pt x="71" y="419"/>
                    </a:lnTo>
                    <a:lnTo>
                      <a:pt x="71" y="417"/>
                    </a:lnTo>
                    <a:lnTo>
                      <a:pt x="71" y="419"/>
                    </a:lnTo>
                    <a:lnTo>
                      <a:pt x="71" y="417"/>
                    </a:lnTo>
                    <a:lnTo>
                      <a:pt x="71" y="419"/>
                    </a:lnTo>
                    <a:lnTo>
                      <a:pt x="69" y="417"/>
                    </a:lnTo>
                    <a:lnTo>
                      <a:pt x="71" y="419"/>
                    </a:lnTo>
                    <a:lnTo>
                      <a:pt x="71" y="417"/>
                    </a:lnTo>
                    <a:lnTo>
                      <a:pt x="69" y="417"/>
                    </a:lnTo>
                    <a:lnTo>
                      <a:pt x="69" y="419"/>
                    </a:lnTo>
                    <a:lnTo>
                      <a:pt x="69" y="417"/>
                    </a:lnTo>
                    <a:lnTo>
                      <a:pt x="69" y="419"/>
                    </a:lnTo>
                    <a:lnTo>
                      <a:pt x="69" y="417"/>
                    </a:lnTo>
                    <a:lnTo>
                      <a:pt x="69" y="415"/>
                    </a:lnTo>
                    <a:lnTo>
                      <a:pt x="69" y="417"/>
                    </a:lnTo>
                    <a:lnTo>
                      <a:pt x="69" y="415"/>
                    </a:lnTo>
                    <a:lnTo>
                      <a:pt x="69" y="414"/>
                    </a:lnTo>
                    <a:lnTo>
                      <a:pt x="69" y="415"/>
                    </a:lnTo>
                    <a:lnTo>
                      <a:pt x="69" y="414"/>
                    </a:lnTo>
                    <a:lnTo>
                      <a:pt x="69" y="415"/>
                    </a:lnTo>
                    <a:lnTo>
                      <a:pt x="69" y="417"/>
                    </a:lnTo>
                    <a:lnTo>
                      <a:pt x="71" y="417"/>
                    </a:lnTo>
                    <a:lnTo>
                      <a:pt x="71" y="419"/>
                    </a:lnTo>
                    <a:lnTo>
                      <a:pt x="69" y="419"/>
                    </a:lnTo>
                    <a:lnTo>
                      <a:pt x="69" y="421"/>
                    </a:lnTo>
                    <a:lnTo>
                      <a:pt x="69" y="419"/>
                    </a:lnTo>
                    <a:lnTo>
                      <a:pt x="67" y="419"/>
                    </a:lnTo>
                    <a:lnTo>
                      <a:pt x="69" y="419"/>
                    </a:lnTo>
                    <a:lnTo>
                      <a:pt x="67" y="419"/>
                    </a:lnTo>
                    <a:lnTo>
                      <a:pt x="67" y="417"/>
                    </a:lnTo>
                    <a:lnTo>
                      <a:pt x="65" y="417"/>
                    </a:lnTo>
                    <a:lnTo>
                      <a:pt x="65" y="415"/>
                    </a:lnTo>
                    <a:lnTo>
                      <a:pt x="65" y="414"/>
                    </a:lnTo>
                    <a:lnTo>
                      <a:pt x="65" y="412"/>
                    </a:lnTo>
                    <a:lnTo>
                      <a:pt x="67" y="412"/>
                    </a:lnTo>
                    <a:lnTo>
                      <a:pt x="65" y="412"/>
                    </a:lnTo>
                    <a:lnTo>
                      <a:pt x="67" y="412"/>
                    </a:lnTo>
                    <a:lnTo>
                      <a:pt x="67" y="414"/>
                    </a:lnTo>
                    <a:lnTo>
                      <a:pt x="67" y="412"/>
                    </a:lnTo>
                    <a:lnTo>
                      <a:pt x="67" y="414"/>
                    </a:lnTo>
                    <a:lnTo>
                      <a:pt x="67" y="412"/>
                    </a:lnTo>
                    <a:lnTo>
                      <a:pt x="67" y="410"/>
                    </a:lnTo>
                    <a:lnTo>
                      <a:pt x="67" y="412"/>
                    </a:lnTo>
                    <a:lnTo>
                      <a:pt x="69" y="412"/>
                    </a:lnTo>
                    <a:lnTo>
                      <a:pt x="67" y="412"/>
                    </a:lnTo>
                    <a:close/>
                    <a:moveTo>
                      <a:pt x="69" y="408"/>
                    </a:moveTo>
                    <a:lnTo>
                      <a:pt x="67" y="408"/>
                    </a:lnTo>
                    <a:lnTo>
                      <a:pt x="69" y="408"/>
                    </a:lnTo>
                    <a:close/>
                    <a:moveTo>
                      <a:pt x="67" y="408"/>
                    </a:moveTo>
                    <a:lnTo>
                      <a:pt x="65" y="408"/>
                    </a:lnTo>
                    <a:lnTo>
                      <a:pt x="67" y="408"/>
                    </a:lnTo>
                    <a:lnTo>
                      <a:pt x="65" y="408"/>
                    </a:lnTo>
                    <a:lnTo>
                      <a:pt x="67" y="410"/>
                    </a:lnTo>
                    <a:lnTo>
                      <a:pt x="67" y="408"/>
                    </a:lnTo>
                    <a:lnTo>
                      <a:pt x="67" y="410"/>
                    </a:lnTo>
                    <a:lnTo>
                      <a:pt x="67" y="408"/>
                    </a:lnTo>
                    <a:lnTo>
                      <a:pt x="67" y="410"/>
                    </a:lnTo>
                    <a:lnTo>
                      <a:pt x="67" y="408"/>
                    </a:lnTo>
                    <a:lnTo>
                      <a:pt x="69" y="408"/>
                    </a:lnTo>
                    <a:lnTo>
                      <a:pt x="67" y="408"/>
                    </a:lnTo>
                    <a:lnTo>
                      <a:pt x="67" y="410"/>
                    </a:lnTo>
                    <a:lnTo>
                      <a:pt x="67" y="412"/>
                    </a:lnTo>
                    <a:lnTo>
                      <a:pt x="67" y="410"/>
                    </a:lnTo>
                    <a:lnTo>
                      <a:pt x="67" y="412"/>
                    </a:lnTo>
                    <a:lnTo>
                      <a:pt x="65" y="412"/>
                    </a:lnTo>
                    <a:lnTo>
                      <a:pt x="65" y="410"/>
                    </a:lnTo>
                    <a:lnTo>
                      <a:pt x="67" y="410"/>
                    </a:lnTo>
                    <a:lnTo>
                      <a:pt x="65" y="410"/>
                    </a:lnTo>
                    <a:lnTo>
                      <a:pt x="65" y="408"/>
                    </a:lnTo>
                    <a:lnTo>
                      <a:pt x="67" y="408"/>
                    </a:lnTo>
                    <a:lnTo>
                      <a:pt x="65" y="408"/>
                    </a:lnTo>
                    <a:lnTo>
                      <a:pt x="67" y="408"/>
                    </a:lnTo>
                    <a:close/>
                    <a:moveTo>
                      <a:pt x="67" y="408"/>
                    </a:moveTo>
                    <a:lnTo>
                      <a:pt x="67" y="406"/>
                    </a:lnTo>
                    <a:lnTo>
                      <a:pt x="67" y="408"/>
                    </a:lnTo>
                    <a:close/>
                    <a:moveTo>
                      <a:pt x="67" y="408"/>
                    </a:moveTo>
                    <a:lnTo>
                      <a:pt x="69" y="408"/>
                    </a:lnTo>
                    <a:lnTo>
                      <a:pt x="67" y="408"/>
                    </a:lnTo>
                    <a:close/>
                    <a:moveTo>
                      <a:pt x="69" y="408"/>
                    </a:moveTo>
                    <a:lnTo>
                      <a:pt x="67" y="408"/>
                    </a:lnTo>
                    <a:lnTo>
                      <a:pt x="67" y="406"/>
                    </a:lnTo>
                    <a:lnTo>
                      <a:pt x="69" y="406"/>
                    </a:lnTo>
                    <a:lnTo>
                      <a:pt x="67" y="406"/>
                    </a:lnTo>
                    <a:lnTo>
                      <a:pt x="67" y="408"/>
                    </a:lnTo>
                    <a:lnTo>
                      <a:pt x="69" y="408"/>
                    </a:lnTo>
                    <a:lnTo>
                      <a:pt x="67" y="408"/>
                    </a:lnTo>
                    <a:lnTo>
                      <a:pt x="69" y="408"/>
                    </a:lnTo>
                    <a:lnTo>
                      <a:pt x="67" y="408"/>
                    </a:lnTo>
                    <a:lnTo>
                      <a:pt x="69" y="408"/>
                    </a:lnTo>
                    <a:lnTo>
                      <a:pt x="69" y="410"/>
                    </a:lnTo>
                    <a:lnTo>
                      <a:pt x="69" y="408"/>
                    </a:lnTo>
                    <a:lnTo>
                      <a:pt x="69" y="406"/>
                    </a:lnTo>
                    <a:lnTo>
                      <a:pt x="71" y="406"/>
                    </a:lnTo>
                    <a:lnTo>
                      <a:pt x="69" y="406"/>
                    </a:lnTo>
                    <a:lnTo>
                      <a:pt x="69" y="408"/>
                    </a:lnTo>
                    <a:lnTo>
                      <a:pt x="71" y="408"/>
                    </a:lnTo>
                    <a:lnTo>
                      <a:pt x="69" y="408"/>
                    </a:lnTo>
                    <a:lnTo>
                      <a:pt x="69" y="410"/>
                    </a:lnTo>
                    <a:lnTo>
                      <a:pt x="69" y="412"/>
                    </a:lnTo>
                    <a:lnTo>
                      <a:pt x="67" y="412"/>
                    </a:lnTo>
                    <a:lnTo>
                      <a:pt x="67" y="410"/>
                    </a:lnTo>
                    <a:lnTo>
                      <a:pt x="67" y="408"/>
                    </a:lnTo>
                    <a:lnTo>
                      <a:pt x="69" y="408"/>
                    </a:lnTo>
                    <a:close/>
                    <a:moveTo>
                      <a:pt x="90" y="404"/>
                    </a:moveTo>
                    <a:lnTo>
                      <a:pt x="90" y="406"/>
                    </a:lnTo>
                    <a:lnTo>
                      <a:pt x="88" y="406"/>
                    </a:lnTo>
                    <a:lnTo>
                      <a:pt x="88" y="404"/>
                    </a:lnTo>
                    <a:lnTo>
                      <a:pt x="88" y="406"/>
                    </a:lnTo>
                    <a:lnTo>
                      <a:pt x="88" y="404"/>
                    </a:lnTo>
                    <a:lnTo>
                      <a:pt x="90" y="404"/>
                    </a:lnTo>
                    <a:close/>
                    <a:moveTo>
                      <a:pt x="88" y="404"/>
                    </a:moveTo>
                    <a:lnTo>
                      <a:pt x="88" y="406"/>
                    </a:lnTo>
                    <a:lnTo>
                      <a:pt x="90" y="404"/>
                    </a:lnTo>
                    <a:lnTo>
                      <a:pt x="88" y="404"/>
                    </a:lnTo>
                    <a:close/>
                    <a:moveTo>
                      <a:pt x="92" y="404"/>
                    </a:moveTo>
                    <a:lnTo>
                      <a:pt x="90" y="404"/>
                    </a:lnTo>
                    <a:lnTo>
                      <a:pt x="92" y="404"/>
                    </a:lnTo>
                    <a:lnTo>
                      <a:pt x="90" y="404"/>
                    </a:lnTo>
                    <a:lnTo>
                      <a:pt x="92" y="404"/>
                    </a:lnTo>
                    <a:close/>
                    <a:moveTo>
                      <a:pt x="73" y="390"/>
                    </a:moveTo>
                    <a:lnTo>
                      <a:pt x="73" y="389"/>
                    </a:lnTo>
                    <a:lnTo>
                      <a:pt x="73" y="390"/>
                    </a:lnTo>
                    <a:lnTo>
                      <a:pt x="73" y="389"/>
                    </a:lnTo>
                    <a:lnTo>
                      <a:pt x="73" y="390"/>
                    </a:lnTo>
                    <a:lnTo>
                      <a:pt x="73" y="389"/>
                    </a:lnTo>
                    <a:lnTo>
                      <a:pt x="73" y="390"/>
                    </a:lnTo>
                    <a:lnTo>
                      <a:pt x="73" y="389"/>
                    </a:lnTo>
                    <a:lnTo>
                      <a:pt x="73" y="390"/>
                    </a:lnTo>
                    <a:close/>
                    <a:moveTo>
                      <a:pt x="71" y="389"/>
                    </a:moveTo>
                    <a:lnTo>
                      <a:pt x="73" y="387"/>
                    </a:lnTo>
                    <a:lnTo>
                      <a:pt x="71" y="389"/>
                    </a:lnTo>
                    <a:lnTo>
                      <a:pt x="73" y="389"/>
                    </a:lnTo>
                    <a:lnTo>
                      <a:pt x="71" y="389"/>
                    </a:lnTo>
                    <a:close/>
                    <a:moveTo>
                      <a:pt x="83" y="390"/>
                    </a:moveTo>
                    <a:lnTo>
                      <a:pt x="81" y="390"/>
                    </a:lnTo>
                    <a:lnTo>
                      <a:pt x="81" y="392"/>
                    </a:lnTo>
                    <a:lnTo>
                      <a:pt x="79" y="392"/>
                    </a:lnTo>
                    <a:lnTo>
                      <a:pt x="79" y="394"/>
                    </a:lnTo>
                    <a:lnTo>
                      <a:pt x="81" y="394"/>
                    </a:lnTo>
                    <a:lnTo>
                      <a:pt x="79" y="394"/>
                    </a:lnTo>
                    <a:lnTo>
                      <a:pt x="81" y="394"/>
                    </a:lnTo>
                    <a:lnTo>
                      <a:pt x="81" y="392"/>
                    </a:lnTo>
                    <a:lnTo>
                      <a:pt x="83" y="392"/>
                    </a:lnTo>
                    <a:lnTo>
                      <a:pt x="83" y="390"/>
                    </a:lnTo>
                    <a:lnTo>
                      <a:pt x="85" y="390"/>
                    </a:lnTo>
                    <a:lnTo>
                      <a:pt x="83" y="390"/>
                    </a:lnTo>
                    <a:lnTo>
                      <a:pt x="85" y="390"/>
                    </a:lnTo>
                    <a:lnTo>
                      <a:pt x="85" y="392"/>
                    </a:lnTo>
                    <a:lnTo>
                      <a:pt x="83" y="390"/>
                    </a:lnTo>
                    <a:lnTo>
                      <a:pt x="83" y="392"/>
                    </a:lnTo>
                    <a:lnTo>
                      <a:pt x="81" y="392"/>
                    </a:lnTo>
                    <a:lnTo>
                      <a:pt x="81" y="394"/>
                    </a:lnTo>
                    <a:lnTo>
                      <a:pt x="81" y="396"/>
                    </a:lnTo>
                    <a:lnTo>
                      <a:pt x="79" y="396"/>
                    </a:lnTo>
                    <a:lnTo>
                      <a:pt x="79" y="398"/>
                    </a:lnTo>
                    <a:lnTo>
                      <a:pt x="77" y="398"/>
                    </a:lnTo>
                    <a:lnTo>
                      <a:pt x="77" y="400"/>
                    </a:lnTo>
                    <a:lnTo>
                      <a:pt x="77" y="402"/>
                    </a:lnTo>
                    <a:lnTo>
                      <a:pt x="75" y="402"/>
                    </a:lnTo>
                    <a:lnTo>
                      <a:pt x="75" y="404"/>
                    </a:lnTo>
                    <a:lnTo>
                      <a:pt x="77" y="404"/>
                    </a:lnTo>
                    <a:lnTo>
                      <a:pt x="75" y="404"/>
                    </a:lnTo>
                    <a:lnTo>
                      <a:pt x="75" y="402"/>
                    </a:lnTo>
                    <a:lnTo>
                      <a:pt x="77" y="402"/>
                    </a:lnTo>
                    <a:lnTo>
                      <a:pt x="77" y="400"/>
                    </a:lnTo>
                    <a:lnTo>
                      <a:pt x="79" y="398"/>
                    </a:lnTo>
                    <a:lnTo>
                      <a:pt x="79" y="396"/>
                    </a:lnTo>
                    <a:lnTo>
                      <a:pt x="81" y="396"/>
                    </a:lnTo>
                    <a:lnTo>
                      <a:pt x="81" y="398"/>
                    </a:lnTo>
                    <a:lnTo>
                      <a:pt x="81" y="396"/>
                    </a:lnTo>
                    <a:lnTo>
                      <a:pt x="81" y="398"/>
                    </a:lnTo>
                    <a:lnTo>
                      <a:pt x="81" y="396"/>
                    </a:lnTo>
                    <a:lnTo>
                      <a:pt x="81" y="398"/>
                    </a:lnTo>
                    <a:lnTo>
                      <a:pt x="81" y="396"/>
                    </a:lnTo>
                    <a:lnTo>
                      <a:pt x="83" y="396"/>
                    </a:lnTo>
                    <a:lnTo>
                      <a:pt x="81" y="396"/>
                    </a:lnTo>
                    <a:lnTo>
                      <a:pt x="81" y="398"/>
                    </a:lnTo>
                    <a:lnTo>
                      <a:pt x="83" y="398"/>
                    </a:lnTo>
                    <a:lnTo>
                      <a:pt x="83" y="400"/>
                    </a:lnTo>
                    <a:lnTo>
                      <a:pt x="81" y="402"/>
                    </a:lnTo>
                    <a:lnTo>
                      <a:pt x="81" y="400"/>
                    </a:lnTo>
                    <a:lnTo>
                      <a:pt x="81" y="402"/>
                    </a:lnTo>
                    <a:lnTo>
                      <a:pt x="79" y="402"/>
                    </a:lnTo>
                    <a:lnTo>
                      <a:pt x="81" y="404"/>
                    </a:lnTo>
                    <a:lnTo>
                      <a:pt x="79" y="404"/>
                    </a:lnTo>
                    <a:lnTo>
                      <a:pt x="77" y="404"/>
                    </a:lnTo>
                    <a:lnTo>
                      <a:pt x="77" y="406"/>
                    </a:lnTo>
                    <a:lnTo>
                      <a:pt x="77" y="404"/>
                    </a:lnTo>
                    <a:lnTo>
                      <a:pt x="77" y="406"/>
                    </a:lnTo>
                    <a:lnTo>
                      <a:pt x="75" y="406"/>
                    </a:lnTo>
                    <a:lnTo>
                      <a:pt x="75" y="408"/>
                    </a:lnTo>
                    <a:lnTo>
                      <a:pt x="77" y="408"/>
                    </a:lnTo>
                    <a:lnTo>
                      <a:pt x="75" y="408"/>
                    </a:lnTo>
                    <a:lnTo>
                      <a:pt x="77" y="408"/>
                    </a:lnTo>
                    <a:lnTo>
                      <a:pt x="75" y="408"/>
                    </a:lnTo>
                    <a:lnTo>
                      <a:pt x="77" y="408"/>
                    </a:lnTo>
                    <a:lnTo>
                      <a:pt x="75" y="408"/>
                    </a:lnTo>
                    <a:lnTo>
                      <a:pt x="77" y="408"/>
                    </a:lnTo>
                    <a:lnTo>
                      <a:pt x="77" y="406"/>
                    </a:lnTo>
                    <a:lnTo>
                      <a:pt x="77" y="408"/>
                    </a:lnTo>
                    <a:lnTo>
                      <a:pt x="77" y="406"/>
                    </a:lnTo>
                    <a:lnTo>
                      <a:pt x="77" y="408"/>
                    </a:lnTo>
                    <a:lnTo>
                      <a:pt x="77" y="410"/>
                    </a:lnTo>
                    <a:lnTo>
                      <a:pt x="75" y="410"/>
                    </a:lnTo>
                    <a:lnTo>
                      <a:pt x="77" y="410"/>
                    </a:lnTo>
                    <a:lnTo>
                      <a:pt x="77" y="412"/>
                    </a:lnTo>
                    <a:lnTo>
                      <a:pt x="75" y="412"/>
                    </a:lnTo>
                    <a:lnTo>
                      <a:pt x="75" y="414"/>
                    </a:lnTo>
                    <a:lnTo>
                      <a:pt x="75" y="412"/>
                    </a:lnTo>
                    <a:lnTo>
                      <a:pt x="73" y="412"/>
                    </a:lnTo>
                    <a:lnTo>
                      <a:pt x="73" y="414"/>
                    </a:lnTo>
                    <a:lnTo>
                      <a:pt x="75" y="414"/>
                    </a:lnTo>
                    <a:lnTo>
                      <a:pt x="73" y="414"/>
                    </a:lnTo>
                    <a:lnTo>
                      <a:pt x="75" y="415"/>
                    </a:lnTo>
                    <a:lnTo>
                      <a:pt x="75" y="414"/>
                    </a:lnTo>
                    <a:lnTo>
                      <a:pt x="73" y="415"/>
                    </a:lnTo>
                    <a:lnTo>
                      <a:pt x="75" y="415"/>
                    </a:lnTo>
                    <a:lnTo>
                      <a:pt x="73" y="415"/>
                    </a:lnTo>
                    <a:lnTo>
                      <a:pt x="75" y="415"/>
                    </a:lnTo>
                    <a:lnTo>
                      <a:pt x="73" y="415"/>
                    </a:lnTo>
                    <a:lnTo>
                      <a:pt x="73" y="417"/>
                    </a:lnTo>
                    <a:lnTo>
                      <a:pt x="75" y="417"/>
                    </a:lnTo>
                    <a:lnTo>
                      <a:pt x="73" y="417"/>
                    </a:lnTo>
                    <a:lnTo>
                      <a:pt x="75" y="417"/>
                    </a:lnTo>
                    <a:lnTo>
                      <a:pt x="73" y="417"/>
                    </a:lnTo>
                    <a:lnTo>
                      <a:pt x="75" y="417"/>
                    </a:lnTo>
                    <a:lnTo>
                      <a:pt x="75" y="415"/>
                    </a:lnTo>
                    <a:lnTo>
                      <a:pt x="75" y="414"/>
                    </a:lnTo>
                    <a:lnTo>
                      <a:pt x="75" y="415"/>
                    </a:lnTo>
                    <a:lnTo>
                      <a:pt x="75" y="414"/>
                    </a:lnTo>
                    <a:lnTo>
                      <a:pt x="75" y="412"/>
                    </a:lnTo>
                    <a:lnTo>
                      <a:pt x="77" y="412"/>
                    </a:lnTo>
                    <a:lnTo>
                      <a:pt x="75" y="412"/>
                    </a:lnTo>
                    <a:lnTo>
                      <a:pt x="75" y="414"/>
                    </a:lnTo>
                    <a:lnTo>
                      <a:pt x="77" y="414"/>
                    </a:lnTo>
                    <a:lnTo>
                      <a:pt x="77" y="412"/>
                    </a:lnTo>
                    <a:lnTo>
                      <a:pt x="77" y="414"/>
                    </a:lnTo>
                    <a:lnTo>
                      <a:pt x="77" y="412"/>
                    </a:lnTo>
                    <a:lnTo>
                      <a:pt x="77" y="414"/>
                    </a:lnTo>
                    <a:lnTo>
                      <a:pt x="75" y="414"/>
                    </a:lnTo>
                    <a:lnTo>
                      <a:pt x="75" y="415"/>
                    </a:lnTo>
                    <a:lnTo>
                      <a:pt x="77" y="415"/>
                    </a:lnTo>
                    <a:lnTo>
                      <a:pt x="75" y="415"/>
                    </a:lnTo>
                    <a:lnTo>
                      <a:pt x="75" y="417"/>
                    </a:lnTo>
                    <a:lnTo>
                      <a:pt x="77" y="417"/>
                    </a:lnTo>
                    <a:lnTo>
                      <a:pt x="77" y="415"/>
                    </a:lnTo>
                    <a:lnTo>
                      <a:pt x="77" y="414"/>
                    </a:lnTo>
                    <a:lnTo>
                      <a:pt x="77" y="415"/>
                    </a:lnTo>
                    <a:lnTo>
                      <a:pt x="77" y="414"/>
                    </a:lnTo>
                    <a:lnTo>
                      <a:pt x="77" y="415"/>
                    </a:lnTo>
                    <a:lnTo>
                      <a:pt x="77" y="417"/>
                    </a:lnTo>
                    <a:lnTo>
                      <a:pt x="77" y="415"/>
                    </a:lnTo>
                    <a:lnTo>
                      <a:pt x="77" y="417"/>
                    </a:lnTo>
                    <a:lnTo>
                      <a:pt x="77" y="415"/>
                    </a:lnTo>
                    <a:lnTo>
                      <a:pt x="77" y="417"/>
                    </a:lnTo>
                    <a:lnTo>
                      <a:pt x="75" y="417"/>
                    </a:lnTo>
                    <a:lnTo>
                      <a:pt x="75" y="419"/>
                    </a:lnTo>
                    <a:lnTo>
                      <a:pt x="75" y="417"/>
                    </a:lnTo>
                    <a:lnTo>
                      <a:pt x="75" y="419"/>
                    </a:lnTo>
                    <a:lnTo>
                      <a:pt x="77" y="421"/>
                    </a:lnTo>
                    <a:lnTo>
                      <a:pt x="77" y="423"/>
                    </a:lnTo>
                    <a:lnTo>
                      <a:pt x="79" y="423"/>
                    </a:lnTo>
                    <a:lnTo>
                      <a:pt x="77" y="423"/>
                    </a:lnTo>
                    <a:lnTo>
                      <a:pt x="79" y="423"/>
                    </a:lnTo>
                    <a:lnTo>
                      <a:pt x="79" y="425"/>
                    </a:lnTo>
                    <a:lnTo>
                      <a:pt x="77" y="423"/>
                    </a:lnTo>
                    <a:lnTo>
                      <a:pt x="77" y="425"/>
                    </a:lnTo>
                    <a:lnTo>
                      <a:pt x="77" y="423"/>
                    </a:lnTo>
                    <a:lnTo>
                      <a:pt x="75" y="423"/>
                    </a:lnTo>
                    <a:lnTo>
                      <a:pt x="77" y="423"/>
                    </a:lnTo>
                    <a:lnTo>
                      <a:pt x="75" y="423"/>
                    </a:lnTo>
                    <a:lnTo>
                      <a:pt x="77" y="423"/>
                    </a:lnTo>
                    <a:lnTo>
                      <a:pt x="77" y="425"/>
                    </a:lnTo>
                    <a:lnTo>
                      <a:pt x="77" y="427"/>
                    </a:lnTo>
                    <a:lnTo>
                      <a:pt x="77" y="425"/>
                    </a:lnTo>
                    <a:lnTo>
                      <a:pt x="77" y="427"/>
                    </a:lnTo>
                    <a:lnTo>
                      <a:pt x="79" y="429"/>
                    </a:lnTo>
                    <a:lnTo>
                      <a:pt x="77" y="427"/>
                    </a:lnTo>
                    <a:lnTo>
                      <a:pt x="77" y="429"/>
                    </a:lnTo>
                    <a:lnTo>
                      <a:pt x="77" y="427"/>
                    </a:lnTo>
                    <a:lnTo>
                      <a:pt x="77" y="429"/>
                    </a:lnTo>
                    <a:lnTo>
                      <a:pt x="75" y="429"/>
                    </a:lnTo>
                    <a:lnTo>
                      <a:pt x="77" y="429"/>
                    </a:lnTo>
                    <a:lnTo>
                      <a:pt x="75" y="429"/>
                    </a:lnTo>
                    <a:lnTo>
                      <a:pt x="75" y="431"/>
                    </a:lnTo>
                    <a:lnTo>
                      <a:pt x="73" y="429"/>
                    </a:lnTo>
                    <a:lnTo>
                      <a:pt x="75" y="429"/>
                    </a:lnTo>
                    <a:lnTo>
                      <a:pt x="75" y="431"/>
                    </a:lnTo>
                    <a:lnTo>
                      <a:pt x="75" y="429"/>
                    </a:lnTo>
                    <a:lnTo>
                      <a:pt x="75" y="431"/>
                    </a:lnTo>
                    <a:lnTo>
                      <a:pt x="75" y="429"/>
                    </a:lnTo>
                    <a:lnTo>
                      <a:pt x="77" y="429"/>
                    </a:lnTo>
                    <a:lnTo>
                      <a:pt x="77" y="427"/>
                    </a:lnTo>
                    <a:lnTo>
                      <a:pt x="77" y="425"/>
                    </a:lnTo>
                    <a:lnTo>
                      <a:pt x="77" y="427"/>
                    </a:lnTo>
                    <a:lnTo>
                      <a:pt x="77" y="425"/>
                    </a:lnTo>
                    <a:lnTo>
                      <a:pt x="77" y="427"/>
                    </a:lnTo>
                    <a:lnTo>
                      <a:pt x="77" y="425"/>
                    </a:lnTo>
                    <a:lnTo>
                      <a:pt x="77" y="427"/>
                    </a:lnTo>
                    <a:lnTo>
                      <a:pt x="77" y="425"/>
                    </a:lnTo>
                    <a:lnTo>
                      <a:pt x="75" y="425"/>
                    </a:lnTo>
                    <a:lnTo>
                      <a:pt x="77" y="425"/>
                    </a:lnTo>
                    <a:lnTo>
                      <a:pt x="75" y="425"/>
                    </a:lnTo>
                    <a:lnTo>
                      <a:pt x="77" y="425"/>
                    </a:lnTo>
                    <a:lnTo>
                      <a:pt x="75" y="425"/>
                    </a:lnTo>
                    <a:lnTo>
                      <a:pt x="75" y="423"/>
                    </a:lnTo>
                    <a:lnTo>
                      <a:pt x="73" y="423"/>
                    </a:lnTo>
                    <a:lnTo>
                      <a:pt x="73" y="421"/>
                    </a:lnTo>
                    <a:lnTo>
                      <a:pt x="73" y="419"/>
                    </a:lnTo>
                    <a:lnTo>
                      <a:pt x="75" y="419"/>
                    </a:lnTo>
                    <a:lnTo>
                      <a:pt x="73" y="419"/>
                    </a:lnTo>
                    <a:lnTo>
                      <a:pt x="75" y="419"/>
                    </a:lnTo>
                    <a:lnTo>
                      <a:pt x="73" y="419"/>
                    </a:lnTo>
                    <a:lnTo>
                      <a:pt x="75" y="419"/>
                    </a:lnTo>
                    <a:lnTo>
                      <a:pt x="73" y="419"/>
                    </a:lnTo>
                    <a:lnTo>
                      <a:pt x="73" y="421"/>
                    </a:lnTo>
                    <a:lnTo>
                      <a:pt x="73" y="419"/>
                    </a:lnTo>
                    <a:lnTo>
                      <a:pt x="73" y="421"/>
                    </a:lnTo>
                    <a:lnTo>
                      <a:pt x="73" y="419"/>
                    </a:lnTo>
                    <a:lnTo>
                      <a:pt x="73" y="421"/>
                    </a:lnTo>
                    <a:lnTo>
                      <a:pt x="73" y="419"/>
                    </a:lnTo>
                    <a:lnTo>
                      <a:pt x="71" y="419"/>
                    </a:lnTo>
                    <a:lnTo>
                      <a:pt x="73" y="419"/>
                    </a:lnTo>
                    <a:lnTo>
                      <a:pt x="71" y="419"/>
                    </a:lnTo>
                    <a:lnTo>
                      <a:pt x="71" y="417"/>
                    </a:lnTo>
                    <a:lnTo>
                      <a:pt x="69" y="417"/>
                    </a:lnTo>
                    <a:lnTo>
                      <a:pt x="69" y="415"/>
                    </a:lnTo>
                    <a:lnTo>
                      <a:pt x="69" y="414"/>
                    </a:lnTo>
                    <a:lnTo>
                      <a:pt x="69" y="415"/>
                    </a:lnTo>
                    <a:lnTo>
                      <a:pt x="69" y="417"/>
                    </a:lnTo>
                    <a:lnTo>
                      <a:pt x="69" y="415"/>
                    </a:lnTo>
                    <a:lnTo>
                      <a:pt x="71" y="415"/>
                    </a:lnTo>
                    <a:lnTo>
                      <a:pt x="69" y="415"/>
                    </a:lnTo>
                    <a:lnTo>
                      <a:pt x="71" y="415"/>
                    </a:lnTo>
                    <a:lnTo>
                      <a:pt x="69" y="415"/>
                    </a:lnTo>
                    <a:lnTo>
                      <a:pt x="69" y="414"/>
                    </a:lnTo>
                    <a:lnTo>
                      <a:pt x="69" y="412"/>
                    </a:lnTo>
                    <a:lnTo>
                      <a:pt x="69" y="410"/>
                    </a:lnTo>
                    <a:lnTo>
                      <a:pt x="71" y="410"/>
                    </a:lnTo>
                    <a:lnTo>
                      <a:pt x="69" y="410"/>
                    </a:lnTo>
                    <a:lnTo>
                      <a:pt x="69" y="408"/>
                    </a:lnTo>
                    <a:lnTo>
                      <a:pt x="71" y="408"/>
                    </a:lnTo>
                    <a:lnTo>
                      <a:pt x="71" y="406"/>
                    </a:lnTo>
                    <a:lnTo>
                      <a:pt x="69" y="404"/>
                    </a:lnTo>
                    <a:lnTo>
                      <a:pt x="69" y="402"/>
                    </a:lnTo>
                    <a:lnTo>
                      <a:pt x="71" y="402"/>
                    </a:lnTo>
                    <a:lnTo>
                      <a:pt x="71" y="400"/>
                    </a:lnTo>
                    <a:lnTo>
                      <a:pt x="73" y="400"/>
                    </a:lnTo>
                    <a:lnTo>
                      <a:pt x="71" y="400"/>
                    </a:lnTo>
                    <a:lnTo>
                      <a:pt x="71" y="398"/>
                    </a:lnTo>
                    <a:lnTo>
                      <a:pt x="69" y="398"/>
                    </a:lnTo>
                    <a:lnTo>
                      <a:pt x="71" y="398"/>
                    </a:lnTo>
                    <a:lnTo>
                      <a:pt x="71" y="396"/>
                    </a:lnTo>
                    <a:lnTo>
                      <a:pt x="71" y="394"/>
                    </a:lnTo>
                    <a:lnTo>
                      <a:pt x="73" y="392"/>
                    </a:lnTo>
                    <a:lnTo>
                      <a:pt x="71" y="392"/>
                    </a:lnTo>
                    <a:lnTo>
                      <a:pt x="71" y="390"/>
                    </a:lnTo>
                    <a:lnTo>
                      <a:pt x="71" y="389"/>
                    </a:lnTo>
                    <a:lnTo>
                      <a:pt x="71" y="390"/>
                    </a:lnTo>
                    <a:lnTo>
                      <a:pt x="73" y="390"/>
                    </a:lnTo>
                    <a:lnTo>
                      <a:pt x="73" y="392"/>
                    </a:lnTo>
                    <a:lnTo>
                      <a:pt x="73" y="390"/>
                    </a:lnTo>
                    <a:lnTo>
                      <a:pt x="73" y="392"/>
                    </a:lnTo>
                    <a:lnTo>
                      <a:pt x="73" y="390"/>
                    </a:lnTo>
                    <a:lnTo>
                      <a:pt x="75" y="390"/>
                    </a:lnTo>
                    <a:lnTo>
                      <a:pt x="73" y="390"/>
                    </a:lnTo>
                    <a:lnTo>
                      <a:pt x="73" y="392"/>
                    </a:lnTo>
                    <a:lnTo>
                      <a:pt x="73" y="394"/>
                    </a:lnTo>
                    <a:lnTo>
                      <a:pt x="71" y="394"/>
                    </a:lnTo>
                    <a:lnTo>
                      <a:pt x="73" y="394"/>
                    </a:lnTo>
                    <a:lnTo>
                      <a:pt x="71" y="394"/>
                    </a:lnTo>
                    <a:lnTo>
                      <a:pt x="73" y="394"/>
                    </a:lnTo>
                    <a:lnTo>
                      <a:pt x="75" y="394"/>
                    </a:lnTo>
                    <a:lnTo>
                      <a:pt x="73" y="394"/>
                    </a:lnTo>
                    <a:lnTo>
                      <a:pt x="73" y="396"/>
                    </a:lnTo>
                    <a:lnTo>
                      <a:pt x="73" y="398"/>
                    </a:lnTo>
                    <a:lnTo>
                      <a:pt x="73" y="400"/>
                    </a:lnTo>
                    <a:lnTo>
                      <a:pt x="73" y="398"/>
                    </a:lnTo>
                    <a:lnTo>
                      <a:pt x="73" y="396"/>
                    </a:lnTo>
                    <a:lnTo>
                      <a:pt x="75" y="396"/>
                    </a:lnTo>
                    <a:lnTo>
                      <a:pt x="77" y="396"/>
                    </a:lnTo>
                    <a:lnTo>
                      <a:pt x="77" y="394"/>
                    </a:lnTo>
                    <a:lnTo>
                      <a:pt x="77" y="396"/>
                    </a:lnTo>
                    <a:lnTo>
                      <a:pt x="77" y="394"/>
                    </a:lnTo>
                    <a:lnTo>
                      <a:pt x="77" y="396"/>
                    </a:lnTo>
                    <a:lnTo>
                      <a:pt x="75" y="396"/>
                    </a:lnTo>
                    <a:lnTo>
                      <a:pt x="75" y="398"/>
                    </a:lnTo>
                    <a:lnTo>
                      <a:pt x="75" y="396"/>
                    </a:lnTo>
                    <a:lnTo>
                      <a:pt x="75" y="398"/>
                    </a:lnTo>
                    <a:lnTo>
                      <a:pt x="75" y="396"/>
                    </a:lnTo>
                    <a:lnTo>
                      <a:pt x="75" y="398"/>
                    </a:lnTo>
                    <a:lnTo>
                      <a:pt x="75" y="396"/>
                    </a:lnTo>
                    <a:lnTo>
                      <a:pt x="75" y="398"/>
                    </a:lnTo>
                    <a:lnTo>
                      <a:pt x="75" y="396"/>
                    </a:lnTo>
                    <a:lnTo>
                      <a:pt x="75" y="398"/>
                    </a:lnTo>
                    <a:lnTo>
                      <a:pt x="77" y="398"/>
                    </a:lnTo>
                    <a:lnTo>
                      <a:pt x="77" y="396"/>
                    </a:lnTo>
                    <a:lnTo>
                      <a:pt x="77" y="398"/>
                    </a:lnTo>
                    <a:lnTo>
                      <a:pt x="77" y="396"/>
                    </a:lnTo>
                    <a:lnTo>
                      <a:pt x="79" y="396"/>
                    </a:lnTo>
                    <a:lnTo>
                      <a:pt x="77" y="396"/>
                    </a:lnTo>
                    <a:lnTo>
                      <a:pt x="79" y="396"/>
                    </a:lnTo>
                    <a:lnTo>
                      <a:pt x="77" y="396"/>
                    </a:lnTo>
                    <a:lnTo>
                      <a:pt x="77" y="394"/>
                    </a:lnTo>
                    <a:lnTo>
                      <a:pt x="79" y="394"/>
                    </a:lnTo>
                    <a:lnTo>
                      <a:pt x="77" y="394"/>
                    </a:lnTo>
                    <a:lnTo>
                      <a:pt x="79" y="396"/>
                    </a:lnTo>
                    <a:lnTo>
                      <a:pt x="77" y="396"/>
                    </a:lnTo>
                    <a:lnTo>
                      <a:pt x="79" y="396"/>
                    </a:lnTo>
                    <a:lnTo>
                      <a:pt x="79" y="394"/>
                    </a:lnTo>
                    <a:lnTo>
                      <a:pt x="79" y="396"/>
                    </a:lnTo>
                    <a:lnTo>
                      <a:pt x="79" y="394"/>
                    </a:lnTo>
                    <a:lnTo>
                      <a:pt x="77" y="394"/>
                    </a:lnTo>
                    <a:lnTo>
                      <a:pt x="79" y="394"/>
                    </a:lnTo>
                    <a:lnTo>
                      <a:pt x="79" y="392"/>
                    </a:lnTo>
                    <a:lnTo>
                      <a:pt x="81" y="392"/>
                    </a:lnTo>
                    <a:lnTo>
                      <a:pt x="81" y="390"/>
                    </a:lnTo>
                    <a:lnTo>
                      <a:pt x="83" y="390"/>
                    </a:lnTo>
                    <a:close/>
                    <a:moveTo>
                      <a:pt x="79" y="394"/>
                    </a:moveTo>
                    <a:lnTo>
                      <a:pt x="79" y="396"/>
                    </a:lnTo>
                    <a:lnTo>
                      <a:pt x="79" y="394"/>
                    </a:lnTo>
                    <a:close/>
                    <a:moveTo>
                      <a:pt x="79" y="396"/>
                    </a:moveTo>
                    <a:lnTo>
                      <a:pt x="79" y="398"/>
                    </a:lnTo>
                    <a:lnTo>
                      <a:pt x="79" y="396"/>
                    </a:lnTo>
                    <a:close/>
                    <a:moveTo>
                      <a:pt x="77" y="400"/>
                    </a:moveTo>
                    <a:lnTo>
                      <a:pt x="77" y="402"/>
                    </a:lnTo>
                    <a:lnTo>
                      <a:pt x="75" y="402"/>
                    </a:lnTo>
                    <a:lnTo>
                      <a:pt x="77" y="402"/>
                    </a:lnTo>
                    <a:lnTo>
                      <a:pt x="77" y="400"/>
                    </a:lnTo>
                    <a:close/>
                    <a:moveTo>
                      <a:pt x="75" y="404"/>
                    </a:moveTo>
                    <a:lnTo>
                      <a:pt x="73" y="404"/>
                    </a:lnTo>
                    <a:lnTo>
                      <a:pt x="73" y="406"/>
                    </a:lnTo>
                    <a:lnTo>
                      <a:pt x="75" y="406"/>
                    </a:lnTo>
                    <a:lnTo>
                      <a:pt x="73" y="406"/>
                    </a:lnTo>
                    <a:lnTo>
                      <a:pt x="73" y="404"/>
                    </a:lnTo>
                    <a:lnTo>
                      <a:pt x="75" y="404"/>
                    </a:lnTo>
                    <a:close/>
                    <a:moveTo>
                      <a:pt x="73" y="406"/>
                    </a:moveTo>
                    <a:lnTo>
                      <a:pt x="73" y="408"/>
                    </a:lnTo>
                    <a:lnTo>
                      <a:pt x="73" y="406"/>
                    </a:lnTo>
                    <a:lnTo>
                      <a:pt x="73" y="408"/>
                    </a:lnTo>
                    <a:lnTo>
                      <a:pt x="73" y="406"/>
                    </a:lnTo>
                    <a:lnTo>
                      <a:pt x="73" y="408"/>
                    </a:lnTo>
                    <a:lnTo>
                      <a:pt x="73" y="410"/>
                    </a:lnTo>
                    <a:lnTo>
                      <a:pt x="71" y="410"/>
                    </a:lnTo>
                    <a:lnTo>
                      <a:pt x="73" y="410"/>
                    </a:lnTo>
                    <a:lnTo>
                      <a:pt x="73" y="408"/>
                    </a:lnTo>
                    <a:lnTo>
                      <a:pt x="73" y="406"/>
                    </a:lnTo>
                    <a:lnTo>
                      <a:pt x="73" y="408"/>
                    </a:lnTo>
                    <a:lnTo>
                      <a:pt x="73" y="410"/>
                    </a:lnTo>
                    <a:lnTo>
                      <a:pt x="73" y="412"/>
                    </a:lnTo>
                    <a:lnTo>
                      <a:pt x="75" y="412"/>
                    </a:lnTo>
                    <a:lnTo>
                      <a:pt x="73" y="412"/>
                    </a:lnTo>
                    <a:lnTo>
                      <a:pt x="75" y="412"/>
                    </a:lnTo>
                    <a:lnTo>
                      <a:pt x="73" y="412"/>
                    </a:lnTo>
                    <a:lnTo>
                      <a:pt x="73" y="410"/>
                    </a:lnTo>
                    <a:lnTo>
                      <a:pt x="75" y="410"/>
                    </a:lnTo>
                    <a:lnTo>
                      <a:pt x="75" y="408"/>
                    </a:lnTo>
                    <a:lnTo>
                      <a:pt x="73" y="408"/>
                    </a:lnTo>
                    <a:lnTo>
                      <a:pt x="75" y="408"/>
                    </a:lnTo>
                    <a:lnTo>
                      <a:pt x="73" y="408"/>
                    </a:lnTo>
                    <a:lnTo>
                      <a:pt x="75" y="408"/>
                    </a:lnTo>
                    <a:lnTo>
                      <a:pt x="73" y="408"/>
                    </a:lnTo>
                    <a:lnTo>
                      <a:pt x="75" y="408"/>
                    </a:lnTo>
                    <a:lnTo>
                      <a:pt x="73" y="408"/>
                    </a:lnTo>
                    <a:lnTo>
                      <a:pt x="73" y="406"/>
                    </a:lnTo>
                    <a:lnTo>
                      <a:pt x="73" y="408"/>
                    </a:lnTo>
                    <a:lnTo>
                      <a:pt x="75" y="408"/>
                    </a:lnTo>
                    <a:lnTo>
                      <a:pt x="75" y="406"/>
                    </a:lnTo>
                    <a:lnTo>
                      <a:pt x="73" y="406"/>
                    </a:lnTo>
                    <a:lnTo>
                      <a:pt x="75" y="406"/>
                    </a:lnTo>
                    <a:lnTo>
                      <a:pt x="73" y="406"/>
                    </a:lnTo>
                    <a:close/>
                    <a:moveTo>
                      <a:pt x="75" y="410"/>
                    </a:moveTo>
                    <a:lnTo>
                      <a:pt x="75" y="408"/>
                    </a:lnTo>
                    <a:lnTo>
                      <a:pt x="75" y="410"/>
                    </a:lnTo>
                    <a:close/>
                    <a:moveTo>
                      <a:pt x="75" y="410"/>
                    </a:moveTo>
                    <a:lnTo>
                      <a:pt x="75" y="412"/>
                    </a:lnTo>
                    <a:lnTo>
                      <a:pt x="75" y="410"/>
                    </a:lnTo>
                    <a:lnTo>
                      <a:pt x="75" y="412"/>
                    </a:lnTo>
                    <a:lnTo>
                      <a:pt x="75" y="410"/>
                    </a:lnTo>
                    <a:close/>
                    <a:moveTo>
                      <a:pt x="75" y="412"/>
                    </a:moveTo>
                    <a:lnTo>
                      <a:pt x="73" y="412"/>
                    </a:lnTo>
                    <a:lnTo>
                      <a:pt x="75" y="412"/>
                    </a:lnTo>
                    <a:close/>
                    <a:moveTo>
                      <a:pt x="73" y="415"/>
                    </a:moveTo>
                    <a:lnTo>
                      <a:pt x="73" y="414"/>
                    </a:lnTo>
                    <a:lnTo>
                      <a:pt x="73" y="415"/>
                    </a:lnTo>
                    <a:close/>
                    <a:moveTo>
                      <a:pt x="73" y="415"/>
                    </a:moveTo>
                    <a:lnTo>
                      <a:pt x="73" y="417"/>
                    </a:lnTo>
                    <a:lnTo>
                      <a:pt x="73" y="419"/>
                    </a:lnTo>
                    <a:lnTo>
                      <a:pt x="73" y="417"/>
                    </a:lnTo>
                    <a:lnTo>
                      <a:pt x="73" y="419"/>
                    </a:lnTo>
                    <a:lnTo>
                      <a:pt x="73" y="417"/>
                    </a:lnTo>
                    <a:lnTo>
                      <a:pt x="73" y="419"/>
                    </a:lnTo>
                    <a:lnTo>
                      <a:pt x="75" y="419"/>
                    </a:lnTo>
                    <a:lnTo>
                      <a:pt x="73" y="419"/>
                    </a:lnTo>
                    <a:lnTo>
                      <a:pt x="73" y="417"/>
                    </a:lnTo>
                    <a:lnTo>
                      <a:pt x="75" y="417"/>
                    </a:lnTo>
                    <a:lnTo>
                      <a:pt x="73" y="417"/>
                    </a:lnTo>
                    <a:lnTo>
                      <a:pt x="73" y="415"/>
                    </a:lnTo>
                    <a:close/>
                    <a:moveTo>
                      <a:pt x="75" y="417"/>
                    </a:moveTo>
                    <a:lnTo>
                      <a:pt x="75" y="419"/>
                    </a:lnTo>
                    <a:lnTo>
                      <a:pt x="75" y="417"/>
                    </a:lnTo>
                    <a:lnTo>
                      <a:pt x="75" y="419"/>
                    </a:lnTo>
                    <a:lnTo>
                      <a:pt x="73" y="419"/>
                    </a:lnTo>
                    <a:lnTo>
                      <a:pt x="75" y="419"/>
                    </a:lnTo>
                    <a:lnTo>
                      <a:pt x="75" y="417"/>
                    </a:lnTo>
                    <a:close/>
                    <a:moveTo>
                      <a:pt x="77" y="404"/>
                    </a:moveTo>
                    <a:lnTo>
                      <a:pt x="75" y="404"/>
                    </a:lnTo>
                    <a:lnTo>
                      <a:pt x="77" y="404"/>
                    </a:lnTo>
                    <a:close/>
                    <a:moveTo>
                      <a:pt x="83" y="390"/>
                    </a:moveTo>
                    <a:lnTo>
                      <a:pt x="85" y="390"/>
                    </a:lnTo>
                    <a:lnTo>
                      <a:pt x="83" y="390"/>
                    </a:lnTo>
                    <a:close/>
                    <a:moveTo>
                      <a:pt x="85" y="389"/>
                    </a:moveTo>
                    <a:lnTo>
                      <a:pt x="85" y="390"/>
                    </a:lnTo>
                    <a:lnTo>
                      <a:pt x="85" y="389"/>
                    </a:lnTo>
                    <a:close/>
                    <a:moveTo>
                      <a:pt x="83" y="389"/>
                    </a:moveTo>
                    <a:lnTo>
                      <a:pt x="83" y="390"/>
                    </a:lnTo>
                    <a:lnTo>
                      <a:pt x="83" y="389"/>
                    </a:lnTo>
                    <a:close/>
                    <a:moveTo>
                      <a:pt x="85" y="389"/>
                    </a:moveTo>
                    <a:lnTo>
                      <a:pt x="83" y="390"/>
                    </a:lnTo>
                    <a:lnTo>
                      <a:pt x="83" y="389"/>
                    </a:lnTo>
                    <a:lnTo>
                      <a:pt x="83" y="390"/>
                    </a:lnTo>
                    <a:lnTo>
                      <a:pt x="83" y="389"/>
                    </a:lnTo>
                    <a:lnTo>
                      <a:pt x="85" y="389"/>
                    </a:lnTo>
                    <a:close/>
                    <a:moveTo>
                      <a:pt x="92" y="390"/>
                    </a:moveTo>
                    <a:lnTo>
                      <a:pt x="90" y="390"/>
                    </a:lnTo>
                    <a:lnTo>
                      <a:pt x="92" y="390"/>
                    </a:lnTo>
                    <a:close/>
                    <a:moveTo>
                      <a:pt x="88" y="383"/>
                    </a:moveTo>
                    <a:lnTo>
                      <a:pt x="88" y="381"/>
                    </a:lnTo>
                    <a:lnTo>
                      <a:pt x="88" y="383"/>
                    </a:lnTo>
                    <a:close/>
                    <a:moveTo>
                      <a:pt x="92" y="379"/>
                    </a:moveTo>
                    <a:lnTo>
                      <a:pt x="92" y="381"/>
                    </a:lnTo>
                    <a:lnTo>
                      <a:pt x="92" y="379"/>
                    </a:lnTo>
                    <a:close/>
                    <a:moveTo>
                      <a:pt x="85" y="377"/>
                    </a:moveTo>
                    <a:lnTo>
                      <a:pt x="86" y="377"/>
                    </a:lnTo>
                    <a:lnTo>
                      <a:pt x="85" y="377"/>
                    </a:lnTo>
                    <a:lnTo>
                      <a:pt x="86" y="377"/>
                    </a:lnTo>
                    <a:lnTo>
                      <a:pt x="85" y="377"/>
                    </a:lnTo>
                    <a:close/>
                    <a:moveTo>
                      <a:pt x="92" y="381"/>
                    </a:moveTo>
                    <a:lnTo>
                      <a:pt x="94" y="379"/>
                    </a:lnTo>
                    <a:lnTo>
                      <a:pt x="92" y="381"/>
                    </a:lnTo>
                    <a:close/>
                    <a:moveTo>
                      <a:pt x="86" y="377"/>
                    </a:moveTo>
                    <a:lnTo>
                      <a:pt x="85" y="377"/>
                    </a:lnTo>
                    <a:lnTo>
                      <a:pt x="86" y="377"/>
                    </a:lnTo>
                    <a:close/>
                    <a:moveTo>
                      <a:pt x="94" y="381"/>
                    </a:moveTo>
                    <a:lnTo>
                      <a:pt x="94" y="383"/>
                    </a:lnTo>
                    <a:lnTo>
                      <a:pt x="94" y="385"/>
                    </a:lnTo>
                    <a:lnTo>
                      <a:pt x="92" y="385"/>
                    </a:lnTo>
                    <a:lnTo>
                      <a:pt x="92" y="383"/>
                    </a:lnTo>
                    <a:lnTo>
                      <a:pt x="92" y="385"/>
                    </a:lnTo>
                    <a:lnTo>
                      <a:pt x="92" y="383"/>
                    </a:lnTo>
                    <a:lnTo>
                      <a:pt x="90" y="383"/>
                    </a:lnTo>
                    <a:lnTo>
                      <a:pt x="92" y="385"/>
                    </a:lnTo>
                    <a:lnTo>
                      <a:pt x="90" y="385"/>
                    </a:lnTo>
                    <a:lnTo>
                      <a:pt x="90" y="383"/>
                    </a:lnTo>
                    <a:lnTo>
                      <a:pt x="90" y="385"/>
                    </a:lnTo>
                    <a:lnTo>
                      <a:pt x="90" y="383"/>
                    </a:lnTo>
                    <a:lnTo>
                      <a:pt x="88" y="383"/>
                    </a:lnTo>
                    <a:lnTo>
                      <a:pt x="88" y="381"/>
                    </a:lnTo>
                    <a:lnTo>
                      <a:pt x="90" y="381"/>
                    </a:lnTo>
                    <a:lnTo>
                      <a:pt x="92" y="381"/>
                    </a:lnTo>
                    <a:lnTo>
                      <a:pt x="90" y="381"/>
                    </a:lnTo>
                    <a:lnTo>
                      <a:pt x="90" y="383"/>
                    </a:lnTo>
                    <a:lnTo>
                      <a:pt x="92" y="383"/>
                    </a:lnTo>
                    <a:lnTo>
                      <a:pt x="90" y="383"/>
                    </a:lnTo>
                    <a:lnTo>
                      <a:pt x="92" y="383"/>
                    </a:lnTo>
                    <a:lnTo>
                      <a:pt x="92" y="381"/>
                    </a:lnTo>
                    <a:lnTo>
                      <a:pt x="94" y="381"/>
                    </a:lnTo>
                    <a:lnTo>
                      <a:pt x="92" y="381"/>
                    </a:lnTo>
                    <a:lnTo>
                      <a:pt x="94" y="381"/>
                    </a:lnTo>
                    <a:lnTo>
                      <a:pt x="94" y="379"/>
                    </a:lnTo>
                    <a:lnTo>
                      <a:pt x="94" y="381"/>
                    </a:lnTo>
                    <a:lnTo>
                      <a:pt x="94" y="379"/>
                    </a:lnTo>
                    <a:lnTo>
                      <a:pt x="94" y="381"/>
                    </a:lnTo>
                    <a:lnTo>
                      <a:pt x="94" y="379"/>
                    </a:lnTo>
                    <a:lnTo>
                      <a:pt x="94" y="381"/>
                    </a:lnTo>
                    <a:lnTo>
                      <a:pt x="94" y="379"/>
                    </a:lnTo>
                    <a:lnTo>
                      <a:pt x="94" y="381"/>
                    </a:lnTo>
                    <a:lnTo>
                      <a:pt x="94" y="379"/>
                    </a:lnTo>
                    <a:lnTo>
                      <a:pt x="94" y="381"/>
                    </a:lnTo>
                    <a:lnTo>
                      <a:pt x="94" y="379"/>
                    </a:lnTo>
                    <a:lnTo>
                      <a:pt x="96" y="379"/>
                    </a:lnTo>
                    <a:lnTo>
                      <a:pt x="96" y="381"/>
                    </a:lnTo>
                    <a:lnTo>
                      <a:pt x="94" y="381"/>
                    </a:lnTo>
                    <a:close/>
                    <a:moveTo>
                      <a:pt x="90" y="383"/>
                    </a:moveTo>
                    <a:lnTo>
                      <a:pt x="92" y="383"/>
                    </a:lnTo>
                    <a:lnTo>
                      <a:pt x="90" y="383"/>
                    </a:lnTo>
                    <a:close/>
                    <a:moveTo>
                      <a:pt x="96" y="379"/>
                    </a:moveTo>
                    <a:lnTo>
                      <a:pt x="98" y="379"/>
                    </a:lnTo>
                    <a:lnTo>
                      <a:pt x="96" y="379"/>
                    </a:lnTo>
                    <a:close/>
                    <a:moveTo>
                      <a:pt x="94" y="377"/>
                    </a:moveTo>
                    <a:lnTo>
                      <a:pt x="94" y="379"/>
                    </a:lnTo>
                    <a:lnTo>
                      <a:pt x="94" y="377"/>
                    </a:lnTo>
                    <a:lnTo>
                      <a:pt x="94" y="379"/>
                    </a:lnTo>
                    <a:lnTo>
                      <a:pt x="94" y="377"/>
                    </a:lnTo>
                    <a:lnTo>
                      <a:pt x="96" y="377"/>
                    </a:lnTo>
                    <a:lnTo>
                      <a:pt x="94" y="377"/>
                    </a:lnTo>
                    <a:lnTo>
                      <a:pt x="94" y="379"/>
                    </a:lnTo>
                    <a:lnTo>
                      <a:pt x="94" y="377"/>
                    </a:lnTo>
                    <a:lnTo>
                      <a:pt x="94" y="379"/>
                    </a:lnTo>
                    <a:lnTo>
                      <a:pt x="94" y="377"/>
                    </a:lnTo>
                    <a:close/>
                    <a:moveTo>
                      <a:pt x="94" y="377"/>
                    </a:moveTo>
                    <a:lnTo>
                      <a:pt x="94" y="375"/>
                    </a:lnTo>
                    <a:lnTo>
                      <a:pt x="94" y="377"/>
                    </a:lnTo>
                    <a:close/>
                    <a:moveTo>
                      <a:pt x="100" y="377"/>
                    </a:moveTo>
                    <a:lnTo>
                      <a:pt x="98" y="379"/>
                    </a:lnTo>
                    <a:lnTo>
                      <a:pt x="98" y="377"/>
                    </a:lnTo>
                    <a:lnTo>
                      <a:pt x="100" y="377"/>
                    </a:lnTo>
                    <a:close/>
                    <a:moveTo>
                      <a:pt x="96" y="375"/>
                    </a:moveTo>
                    <a:lnTo>
                      <a:pt x="94" y="377"/>
                    </a:lnTo>
                    <a:lnTo>
                      <a:pt x="94" y="375"/>
                    </a:lnTo>
                    <a:lnTo>
                      <a:pt x="94" y="377"/>
                    </a:lnTo>
                    <a:lnTo>
                      <a:pt x="94" y="375"/>
                    </a:lnTo>
                    <a:lnTo>
                      <a:pt x="96" y="375"/>
                    </a:lnTo>
                    <a:lnTo>
                      <a:pt x="94" y="375"/>
                    </a:lnTo>
                    <a:lnTo>
                      <a:pt x="96" y="375"/>
                    </a:lnTo>
                    <a:close/>
                    <a:moveTo>
                      <a:pt x="98" y="375"/>
                    </a:moveTo>
                    <a:lnTo>
                      <a:pt x="96" y="375"/>
                    </a:lnTo>
                    <a:lnTo>
                      <a:pt x="96" y="373"/>
                    </a:lnTo>
                    <a:lnTo>
                      <a:pt x="96" y="375"/>
                    </a:lnTo>
                    <a:lnTo>
                      <a:pt x="98" y="375"/>
                    </a:lnTo>
                    <a:close/>
                    <a:moveTo>
                      <a:pt x="88" y="371"/>
                    </a:moveTo>
                    <a:lnTo>
                      <a:pt x="90" y="371"/>
                    </a:lnTo>
                    <a:lnTo>
                      <a:pt x="88" y="371"/>
                    </a:lnTo>
                    <a:close/>
                    <a:moveTo>
                      <a:pt x="108" y="377"/>
                    </a:moveTo>
                    <a:lnTo>
                      <a:pt x="106" y="377"/>
                    </a:lnTo>
                    <a:lnTo>
                      <a:pt x="106" y="379"/>
                    </a:lnTo>
                    <a:lnTo>
                      <a:pt x="106" y="381"/>
                    </a:lnTo>
                    <a:lnTo>
                      <a:pt x="106" y="379"/>
                    </a:lnTo>
                    <a:lnTo>
                      <a:pt x="106" y="381"/>
                    </a:lnTo>
                    <a:lnTo>
                      <a:pt x="104" y="381"/>
                    </a:lnTo>
                    <a:lnTo>
                      <a:pt x="104" y="383"/>
                    </a:lnTo>
                    <a:lnTo>
                      <a:pt x="102" y="383"/>
                    </a:lnTo>
                    <a:lnTo>
                      <a:pt x="102" y="385"/>
                    </a:lnTo>
                    <a:lnTo>
                      <a:pt x="100" y="385"/>
                    </a:lnTo>
                    <a:lnTo>
                      <a:pt x="100" y="387"/>
                    </a:lnTo>
                    <a:lnTo>
                      <a:pt x="100" y="389"/>
                    </a:lnTo>
                    <a:lnTo>
                      <a:pt x="100" y="390"/>
                    </a:lnTo>
                    <a:lnTo>
                      <a:pt x="98" y="390"/>
                    </a:lnTo>
                    <a:lnTo>
                      <a:pt x="96" y="392"/>
                    </a:lnTo>
                    <a:lnTo>
                      <a:pt x="96" y="394"/>
                    </a:lnTo>
                    <a:lnTo>
                      <a:pt x="96" y="396"/>
                    </a:lnTo>
                    <a:lnTo>
                      <a:pt x="94" y="398"/>
                    </a:lnTo>
                    <a:lnTo>
                      <a:pt x="94" y="400"/>
                    </a:lnTo>
                    <a:lnTo>
                      <a:pt x="92" y="400"/>
                    </a:lnTo>
                    <a:lnTo>
                      <a:pt x="92" y="402"/>
                    </a:lnTo>
                    <a:lnTo>
                      <a:pt x="90" y="402"/>
                    </a:lnTo>
                    <a:lnTo>
                      <a:pt x="88" y="404"/>
                    </a:lnTo>
                    <a:lnTo>
                      <a:pt x="86" y="404"/>
                    </a:lnTo>
                    <a:lnTo>
                      <a:pt x="86" y="406"/>
                    </a:lnTo>
                    <a:lnTo>
                      <a:pt x="85" y="406"/>
                    </a:lnTo>
                    <a:lnTo>
                      <a:pt x="85" y="408"/>
                    </a:lnTo>
                    <a:lnTo>
                      <a:pt x="83" y="410"/>
                    </a:lnTo>
                    <a:lnTo>
                      <a:pt x="81" y="412"/>
                    </a:lnTo>
                    <a:lnTo>
                      <a:pt x="81" y="414"/>
                    </a:lnTo>
                    <a:lnTo>
                      <a:pt x="81" y="415"/>
                    </a:lnTo>
                    <a:lnTo>
                      <a:pt x="79" y="415"/>
                    </a:lnTo>
                    <a:lnTo>
                      <a:pt x="79" y="417"/>
                    </a:lnTo>
                    <a:lnTo>
                      <a:pt x="77" y="417"/>
                    </a:lnTo>
                    <a:lnTo>
                      <a:pt x="77" y="415"/>
                    </a:lnTo>
                    <a:lnTo>
                      <a:pt x="79" y="415"/>
                    </a:lnTo>
                    <a:lnTo>
                      <a:pt x="77" y="415"/>
                    </a:lnTo>
                    <a:lnTo>
                      <a:pt x="77" y="414"/>
                    </a:lnTo>
                    <a:lnTo>
                      <a:pt x="77" y="412"/>
                    </a:lnTo>
                    <a:lnTo>
                      <a:pt x="77" y="410"/>
                    </a:lnTo>
                    <a:lnTo>
                      <a:pt x="77" y="408"/>
                    </a:lnTo>
                    <a:lnTo>
                      <a:pt x="77" y="406"/>
                    </a:lnTo>
                    <a:lnTo>
                      <a:pt x="79" y="406"/>
                    </a:lnTo>
                    <a:lnTo>
                      <a:pt x="79" y="404"/>
                    </a:lnTo>
                    <a:lnTo>
                      <a:pt x="79" y="406"/>
                    </a:lnTo>
                    <a:lnTo>
                      <a:pt x="79" y="404"/>
                    </a:lnTo>
                    <a:lnTo>
                      <a:pt x="81" y="404"/>
                    </a:lnTo>
                    <a:lnTo>
                      <a:pt x="79" y="402"/>
                    </a:lnTo>
                    <a:lnTo>
                      <a:pt x="81" y="402"/>
                    </a:lnTo>
                    <a:lnTo>
                      <a:pt x="81" y="404"/>
                    </a:lnTo>
                    <a:lnTo>
                      <a:pt x="81" y="402"/>
                    </a:lnTo>
                    <a:lnTo>
                      <a:pt x="83" y="402"/>
                    </a:lnTo>
                    <a:lnTo>
                      <a:pt x="81" y="402"/>
                    </a:lnTo>
                    <a:lnTo>
                      <a:pt x="83" y="402"/>
                    </a:lnTo>
                    <a:lnTo>
                      <a:pt x="81" y="402"/>
                    </a:lnTo>
                    <a:lnTo>
                      <a:pt x="83" y="402"/>
                    </a:lnTo>
                    <a:lnTo>
                      <a:pt x="81" y="402"/>
                    </a:lnTo>
                    <a:lnTo>
                      <a:pt x="81" y="404"/>
                    </a:lnTo>
                    <a:lnTo>
                      <a:pt x="83" y="404"/>
                    </a:lnTo>
                    <a:lnTo>
                      <a:pt x="81" y="404"/>
                    </a:lnTo>
                    <a:lnTo>
                      <a:pt x="81" y="402"/>
                    </a:lnTo>
                    <a:lnTo>
                      <a:pt x="81" y="404"/>
                    </a:lnTo>
                    <a:lnTo>
                      <a:pt x="81" y="406"/>
                    </a:lnTo>
                    <a:lnTo>
                      <a:pt x="81" y="404"/>
                    </a:lnTo>
                    <a:lnTo>
                      <a:pt x="81" y="406"/>
                    </a:lnTo>
                    <a:lnTo>
                      <a:pt x="81" y="404"/>
                    </a:lnTo>
                    <a:lnTo>
                      <a:pt x="83" y="404"/>
                    </a:lnTo>
                    <a:lnTo>
                      <a:pt x="81" y="404"/>
                    </a:lnTo>
                    <a:lnTo>
                      <a:pt x="83" y="404"/>
                    </a:lnTo>
                    <a:lnTo>
                      <a:pt x="83" y="406"/>
                    </a:lnTo>
                    <a:lnTo>
                      <a:pt x="83" y="404"/>
                    </a:lnTo>
                    <a:lnTo>
                      <a:pt x="83" y="406"/>
                    </a:lnTo>
                    <a:lnTo>
                      <a:pt x="83" y="408"/>
                    </a:lnTo>
                    <a:lnTo>
                      <a:pt x="83" y="406"/>
                    </a:lnTo>
                    <a:lnTo>
                      <a:pt x="83" y="408"/>
                    </a:lnTo>
                    <a:lnTo>
                      <a:pt x="85" y="408"/>
                    </a:lnTo>
                    <a:lnTo>
                      <a:pt x="85" y="406"/>
                    </a:lnTo>
                    <a:lnTo>
                      <a:pt x="85" y="404"/>
                    </a:lnTo>
                    <a:lnTo>
                      <a:pt x="85" y="402"/>
                    </a:lnTo>
                    <a:lnTo>
                      <a:pt x="83" y="402"/>
                    </a:lnTo>
                    <a:lnTo>
                      <a:pt x="85" y="402"/>
                    </a:lnTo>
                    <a:lnTo>
                      <a:pt x="83" y="402"/>
                    </a:lnTo>
                    <a:lnTo>
                      <a:pt x="83" y="404"/>
                    </a:lnTo>
                    <a:lnTo>
                      <a:pt x="83" y="402"/>
                    </a:lnTo>
                    <a:lnTo>
                      <a:pt x="83" y="404"/>
                    </a:lnTo>
                    <a:lnTo>
                      <a:pt x="83" y="402"/>
                    </a:lnTo>
                    <a:lnTo>
                      <a:pt x="83" y="400"/>
                    </a:lnTo>
                    <a:lnTo>
                      <a:pt x="83" y="398"/>
                    </a:lnTo>
                    <a:lnTo>
                      <a:pt x="81" y="398"/>
                    </a:lnTo>
                    <a:lnTo>
                      <a:pt x="81" y="396"/>
                    </a:lnTo>
                    <a:lnTo>
                      <a:pt x="83" y="396"/>
                    </a:lnTo>
                    <a:lnTo>
                      <a:pt x="81" y="396"/>
                    </a:lnTo>
                    <a:lnTo>
                      <a:pt x="81" y="394"/>
                    </a:lnTo>
                    <a:lnTo>
                      <a:pt x="83" y="394"/>
                    </a:lnTo>
                    <a:lnTo>
                      <a:pt x="83" y="392"/>
                    </a:lnTo>
                    <a:lnTo>
                      <a:pt x="83" y="390"/>
                    </a:lnTo>
                    <a:lnTo>
                      <a:pt x="83" y="392"/>
                    </a:lnTo>
                    <a:lnTo>
                      <a:pt x="85" y="392"/>
                    </a:lnTo>
                    <a:lnTo>
                      <a:pt x="85" y="390"/>
                    </a:lnTo>
                    <a:lnTo>
                      <a:pt x="85" y="389"/>
                    </a:lnTo>
                    <a:lnTo>
                      <a:pt x="86" y="389"/>
                    </a:lnTo>
                    <a:lnTo>
                      <a:pt x="86" y="390"/>
                    </a:lnTo>
                    <a:lnTo>
                      <a:pt x="85" y="390"/>
                    </a:lnTo>
                    <a:lnTo>
                      <a:pt x="85" y="392"/>
                    </a:lnTo>
                    <a:lnTo>
                      <a:pt x="85" y="394"/>
                    </a:lnTo>
                    <a:lnTo>
                      <a:pt x="86" y="394"/>
                    </a:lnTo>
                    <a:lnTo>
                      <a:pt x="85" y="394"/>
                    </a:lnTo>
                    <a:lnTo>
                      <a:pt x="86" y="394"/>
                    </a:lnTo>
                    <a:lnTo>
                      <a:pt x="85" y="394"/>
                    </a:lnTo>
                    <a:lnTo>
                      <a:pt x="86" y="394"/>
                    </a:lnTo>
                    <a:lnTo>
                      <a:pt x="85" y="394"/>
                    </a:lnTo>
                    <a:lnTo>
                      <a:pt x="86" y="392"/>
                    </a:lnTo>
                    <a:lnTo>
                      <a:pt x="85" y="392"/>
                    </a:lnTo>
                    <a:lnTo>
                      <a:pt x="86" y="392"/>
                    </a:lnTo>
                    <a:lnTo>
                      <a:pt x="85" y="392"/>
                    </a:lnTo>
                    <a:lnTo>
                      <a:pt x="86" y="392"/>
                    </a:lnTo>
                    <a:lnTo>
                      <a:pt x="86" y="394"/>
                    </a:lnTo>
                    <a:lnTo>
                      <a:pt x="86" y="392"/>
                    </a:lnTo>
                    <a:lnTo>
                      <a:pt x="86" y="394"/>
                    </a:lnTo>
                    <a:lnTo>
                      <a:pt x="86" y="392"/>
                    </a:lnTo>
                    <a:lnTo>
                      <a:pt x="88" y="392"/>
                    </a:lnTo>
                    <a:lnTo>
                      <a:pt x="88" y="394"/>
                    </a:lnTo>
                    <a:lnTo>
                      <a:pt x="86" y="394"/>
                    </a:lnTo>
                    <a:lnTo>
                      <a:pt x="88" y="394"/>
                    </a:lnTo>
                    <a:lnTo>
                      <a:pt x="88" y="392"/>
                    </a:lnTo>
                    <a:lnTo>
                      <a:pt x="88" y="390"/>
                    </a:lnTo>
                    <a:lnTo>
                      <a:pt x="88" y="389"/>
                    </a:lnTo>
                    <a:lnTo>
                      <a:pt x="88" y="390"/>
                    </a:lnTo>
                    <a:lnTo>
                      <a:pt x="90" y="390"/>
                    </a:lnTo>
                    <a:lnTo>
                      <a:pt x="88" y="390"/>
                    </a:lnTo>
                    <a:lnTo>
                      <a:pt x="88" y="389"/>
                    </a:lnTo>
                    <a:lnTo>
                      <a:pt x="88" y="387"/>
                    </a:lnTo>
                    <a:lnTo>
                      <a:pt x="88" y="385"/>
                    </a:lnTo>
                    <a:lnTo>
                      <a:pt x="90" y="385"/>
                    </a:lnTo>
                    <a:lnTo>
                      <a:pt x="92" y="385"/>
                    </a:lnTo>
                    <a:lnTo>
                      <a:pt x="90" y="385"/>
                    </a:lnTo>
                    <a:lnTo>
                      <a:pt x="90" y="383"/>
                    </a:lnTo>
                    <a:lnTo>
                      <a:pt x="90" y="385"/>
                    </a:lnTo>
                    <a:lnTo>
                      <a:pt x="92" y="385"/>
                    </a:lnTo>
                    <a:lnTo>
                      <a:pt x="94" y="387"/>
                    </a:lnTo>
                    <a:lnTo>
                      <a:pt x="92" y="387"/>
                    </a:lnTo>
                    <a:lnTo>
                      <a:pt x="94" y="387"/>
                    </a:lnTo>
                    <a:lnTo>
                      <a:pt x="94" y="389"/>
                    </a:lnTo>
                    <a:lnTo>
                      <a:pt x="92" y="389"/>
                    </a:lnTo>
                    <a:lnTo>
                      <a:pt x="90" y="389"/>
                    </a:lnTo>
                    <a:lnTo>
                      <a:pt x="90" y="387"/>
                    </a:lnTo>
                    <a:lnTo>
                      <a:pt x="90" y="389"/>
                    </a:lnTo>
                    <a:lnTo>
                      <a:pt x="90" y="387"/>
                    </a:lnTo>
                    <a:lnTo>
                      <a:pt x="88" y="387"/>
                    </a:lnTo>
                    <a:lnTo>
                      <a:pt x="88" y="385"/>
                    </a:lnTo>
                    <a:lnTo>
                      <a:pt x="88" y="387"/>
                    </a:lnTo>
                    <a:lnTo>
                      <a:pt x="88" y="385"/>
                    </a:lnTo>
                    <a:lnTo>
                      <a:pt x="88" y="387"/>
                    </a:lnTo>
                    <a:lnTo>
                      <a:pt x="90" y="387"/>
                    </a:lnTo>
                    <a:lnTo>
                      <a:pt x="90" y="389"/>
                    </a:lnTo>
                    <a:lnTo>
                      <a:pt x="90" y="387"/>
                    </a:lnTo>
                    <a:lnTo>
                      <a:pt x="90" y="389"/>
                    </a:lnTo>
                    <a:lnTo>
                      <a:pt x="90" y="390"/>
                    </a:lnTo>
                    <a:lnTo>
                      <a:pt x="90" y="389"/>
                    </a:lnTo>
                    <a:lnTo>
                      <a:pt x="90" y="390"/>
                    </a:lnTo>
                    <a:lnTo>
                      <a:pt x="92" y="390"/>
                    </a:lnTo>
                    <a:lnTo>
                      <a:pt x="90" y="390"/>
                    </a:lnTo>
                    <a:lnTo>
                      <a:pt x="92" y="390"/>
                    </a:lnTo>
                    <a:lnTo>
                      <a:pt x="94" y="390"/>
                    </a:lnTo>
                    <a:lnTo>
                      <a:pt x="96" y="387"/>
                    </a:lnTo>
                    <a:lnTo>
                      <a:pt x="98" y="387"/>
                    </a:lnTo>
                    <a:lnTo>
                      <a:pt x="100" y="385"/>
                    </a:lnTo>
                    <a:lnTo>
                      <a:pt x="100" y="383"/>
                    </a:lnTo>
                    <a:lnTo>
                      <a:pt x="102" y="383"/>
                    </a:lnTo>
                    <a:lnTo>
                      <a:pt x="102" y="381"/>
                    </a:lnTo>
                    <a:lnTo>
                      <a:pt x="104" y="379"/>
                    </a:lnTo>
                    <a:lnTo>
                      <a:pt x="106" y="379"/>
                    </a:lnTo>
                    <a:lnTo>
                      <a:pt x="108" y="377"/>
                    </a:lnTo>
                    <a:close/>
                    <a:moveTo>
                      <a:pt x="100" y="389"/>
                    </a:moveTo>
                    <a:lnTo>
                      <a:pt x="98" y="389"/>
                    </a:lnTo>
                    <a:lnTo>
                      <a:pt x="100" y="389"/>
                    </a:lnTo>
                    <a:close/>
                    <a:moveTo>
                      <a:pt x="98" y="375"/>
                    </a:moveTo>
                    <a:lnTo>
                      <a:pt x="98" y="373"/>
                    </a:lnTo>
                    <a:lnTo>
                      <a:pt x="98" y="375"/>
                    </a:lnTo>
                    <a:close/>
                    <a:moveTo>
                      <a:pt x="111" y="371"/>
                    </a:moveTo>
                    <a:lnTo>
                      <a:pt x="109" y="371"/>
                    </a:lnTo>
                    <a:lnTo>
                      <a:pt x="111" y="371"/>
                    </a:lnTo>
                    <a:lnTo>
                      <a:pt x="109" y="371"/>
                    </a:lnTo>
                    <a:lnTo>
                      <a:pt x="111" y="371"/>
                    </a:lnTo>
                    <a:close/>
                    <a:moveTo>
                      <a:pt x="106" y="369"/>
                    </a:moveTo>
                    <a:lnTo>
                      <a:pt x="104" y="369"/>
                    </a:lnTo>
                    <a:lnTo>
                      <a:pt x="106" y="369"/>
                    </a:lnTo>
                    <a:close/>
                    <a:moveTo>
                      <a:pt x="106" y="369"/>
                    </a:moveTo>
                    <a:lnTo>
                      <a:pt x="106" y="367"/>
                    </a:lnTo>
                    <a:lnTo>
                      <a:pt x="106" y="369"/>
                    </a:lnTo>
                    <a:close/>
                    <a:moveTo>
                      <a:pt x="106" y="369"/>
                    </a:moveTo>
                    <a:lnTo>
                      <a:pt x="106" y="367"/>
                    </a:lnTo>
                    <a:lnTo>
                      <a:pt x="106" y="369"/>
                    </a:lnTo>
                    <a:close/>
                    <a:moveTo>
                      <a:pt x="106" y="365"/>
                    </a:moveTo>
                    <a:lnTo>
                      <a:pt x="108" y="365"/>
                    </a:lnTo>
                    <a:lnTo>
                      <a:pt x="106" y="365"/>
                    </a:lnTo>
                    <a:close/>
                    <a:moveTo>
                      <a:pt x="106" y="365"/>
                    </a:moveTo>
                    <a:lnTo>
                      <a:pt x="104" y="365"/>
                    </a:lnTo>
                    <a:lnTo>
                      <a:pt x="106" y="365"/>
                    </a:lnTo>
                    <a:lnTo>
                      <a:pt x="104" y="365"/>
                    </a:lnTo>
                    <a:lnTo>
                      <a:pt x="104" y="367"/>
                    </a:lnTo>
                    <a:lnTo>
                      <a:pt x="102" y="367"/>
                    </a:lnTo>
                    <a:lnTo>
                      <a:pt x="104" y="367"/>
                    </a:lnTo>
                    <a:lnTo>
                      <a:pt x="102" y="367"/>
                    </a:lnTo>
                    <a:lnTo>
                      <a:pt x="102" y="369"/>
                    </a:lnTo>
                    <a:lnTo>
                      <a:pt x="104" y="367"/>
                    </a:lnTo>
                    <a:lnTo>
                      <a:pt x="102" y="369"/>
                    </a:lnTo>
                    <a:lnTo>
                      <a:pt x="104" y="369"/>
                    </a:lnTo>
                    <a:lnTo>
                      <a:pt x="104" y="367"/>
                    </a:lnTo>
                    <a:lnTo>
                      <a:pt x="104" y="369"/>
                    </a:lnTo>
                    <a:lnTo>
                      <a:pt x="102" y="369"/>
                    </a:lnTo>
                    <a:lnTo>
                      <a:pt x="104" y="369"/>
                    </a:lnTo>
                    <a:lnTo>
                      <a:pt x="104" y="367"/>
                    </a:lnTo>
                    <a:lnTo>
                      <a:pt x="106" y="367"/>
                    </a:lnTo>
                    <a:lnTo>
                      <a:pt x="104" y="367"/>
                    </a:lnTo>
                    <a:lnTo>
                      <a:pt x="106" y="367"/>
                    </a:lnTo>
                    <a:lnTo>
                      <a:pt x="104" y="367"/>
                    </a:lnTo>
                    <a:lnTo>
                      <a:pt x="106" y="367"/>
                    </a:lnTo>
                    <a:lnTo>
                      <a:pt x="104" y="367"/>
                    </a:lnTo>
                    <a:lnTo>
                      <a:pt x="106" y="367"/>
                    </a:lnTo>
                    <a:lnTo>
                      <a:pt x="106" y="369"/>
                    </a:lnTo>
                    <a:lnTo>
                      <a:pt x="104" y="369"/>
                    </a:lnTo>
                    <a:lnTo>
                      <a:pt x="106" y="369"/>
                    </a:lnTo>
                    <a:lnTo>
                      <a:pt x="104" y="369"/>
                    </a:lnTo>
                    <a:lnTo>
                      <a:pt x="104" y="371"/>
                    </a:lnTo>
                    <a:lnTo>
                      <a:pt x="104" y="373"/>
                    </a:lnTo>
                    <a:lnTo>
                      <a:pt x="104" y="375"/>
                    </a:lnTo>
                    <a:lnTo>
                      <a:pt x="102" y="375"/>
                    </a:lnTo>
                    <a:lnTo>
                      <a:pt x="102" y="377"/>
                    </a:lnTo>
                    <a:lnTo>
                      <a:pt x="104" y="377"/>
                    </a:lnTo>
                    <a:lnTo>
                      <a:pt x="102" y="377"/>
                    </a:lnTo>
                    <a:lnTo>
                      <a:pt x="102" y="379"/>
                    </a:lnTo>
                    <a:lnTo>
                      <a:pt x="102" y="377"/>
                    </a:lnTo>
                    <a:lnTo>
                      <a:pt x="104" y="377"/>
                    </a:lnTo>
                    <a:lnTo>
                      <a:pt x="102" y="377"/>
                    </a:lnTo>
                    <a:lnTo>
                      <a:pt x="102" y="375"/>
                    </a:lnTo>
                    <a:lnTo>
                      <a:pt x="104" y="375"/>
                    </a:lnTo>
                    <a:lnTo>
                      <a:pt x="102" y="375"/>
                    </a:lnTo>
                    <a:lnTo>
                      <a:pt x="104" y="375"/>
                    </a:lnTo>
                    <a:lnTo>
                      <a:pt x="104" y="373"/>
                    </a:lnTo>
                    <a:lnTo>
                      <a:pt x="102" y="373"/>
                    </a:lnTo>
                    <a:lnTo>
                      <a:pt x="102" y="371"/>
                    </a:lnTo>
                    <a:lnTo>
                      <a:pt x="104" y="371"/>
                    </a:lnTo>
                    <a:lnTo>
                      <a:pt x="104" y="369"/>
                    </a:lnTo>
                    <a:lnTo>
                      <a:pt x="102" y="369"/>
                    </a:lnTo>
                    <a:lnTo>
                      <a:pt x="102" y="371"/>
                    </a:lnTo>
                    <a:lnTo>
                      <a:pt x="102" y="369"/>
                    </a:lnTo>
                    <a:lnTo>
                      <a:pt x="104" y="369"/>
                    </a:lnTo>
                    <a:lnTo>
                      <a:pt x="102" y="369"/>
                    </a:lnTo>
                    <a:lnTo>
                      <a:pt x="100" y="369"/>
                    </a:lnTo>
                    <a:lnTo>
                      <a:pt x="100" y="371"/>
                    </a:lnTo>
                    <a:lnTo>
                      <a:pt x="102" y="371"/>
                    </a:lnTo>
                    <a:lnTo>
                      <a:pt x="100" y="371"/>
                    </a:lnTo>
                    <a:lnTo>
                      <a:pt x="102" y="371"/>
                    </a:lnTo>
                    <a:lnTo>
                      <a:pt x="100" y="371"/>
                    </a:lnTo>
                    <a:lnTo>
                      <a:pt x="98" y="371"/>
                    </a:lnTo>
                    <a:lnTo>
                      <a:pt x="98" y="373"/>
                    </a:lnTo>
                    <a:lnTo>
                      <a:pt x="100" y="373"/>
                    </a:lnTo>
                    <a:lnTo>
                      <a:pt x="98" y="373"/>
                    </a:lnTo>
                    <a:lnTo>
                      <a:pt x="100" y="373"/>
                    </a:lnTo>
                    <a:lnTo>
                      <a:pt x="100" y="375"/>
                    </a:lnTo>
                    <a:lnTo>
                      <a:pt x="98" y="375"/>
                    </a:lnTo>
                    <a:lnTo>
                      <a:pt x="100" y="373"/>
                    </a:lnTo>
                    <a:lnTo>
                      <a:pt x="100" y="375"/>
                    </a:lnTo>
                    <a:lnTo>
                      <a:pt x="100" y="373"/>
                    </a:lnTo>
                    <a:lnTo>
                      <a:pt x="100" y="375"/>
                    </a:lnTo>
                    <a:lnTo>
                      <a:pt x="100" y="373"/>
                    </a:lnTo>
                    <a:lnTo>
                      <a:pt x="98" y="375"/>
                    </a:lnTo>
                    <a:lnTo>
                      <a:pt x="98" y="373"/>
                    </a:lnTo>
                    <a:lnTo>
                      <a:pt x="100" y="373"/>
                    </a:lnTo>
                    <a:lnTo>
                      <a:pt x="98" y="373"/>
                    </a:lnTo>
                    <a:lnTo>
                      <a:pt x="100" y="373"/>
                    </a:lnTo>
                    <a:lnTo>
                      <a:pt x="98" y="373"/>
                    </a:lnTo>
                    <a:lnTo>
                      <a:pt x="100" y="373"/>
                    </a:lnTo>
                    <a:lnTo>
                      <a:pt x="98" y="373"/>
                    </a:lnTo>
                    <a:lnTo>
                      <a:pt x="98" y="375"/>
                    </a:lnTo>
                    <a:lnTo>
                      <a:pt x="98" y="373"/>
                    </a:lnTo>
                    <a:lnTo>
                      <a:pt x="98" y="375"/>
                    </a:lnTo>
                    <a:lnTo>
                      <a:pt x="98" y="373"/>
                    </a:lnTo>
                    <a:lnTo>
                      <a:pt x="96" y="373"/>
                    </a:lnTo>
                    <a:lnTo>
                      <a:pt x="98" y="373"/>
                    </a:lnTo>
                    <a:lnTo>
                      <a:pt x="100" y="371"/>
                    </a:lnTo>
                    <a:lnTo>
                      <a:pt x="100" y="369"/>
                    </a:lnTo>
                    <a:lnTo>
                      <a:pt x="102" y="369"/>
                    </a:lnTo>
                    <a:lnTo>
                      <a:pt x="102" y="367"/>
                    </a:lnTo>
                    <a:lnTo>
                      <a:pt x="102" y="365"/>
                    </a:lnTo>
                    <a:lnTo>
                      <a:pt x="102" y="367"/>
                    </a:lnTo>
                    <a:lnTo>
                      <a:pt x="102" y="365"/>
                    </a:lnTo>
                    <a:lnTo>
                      <a:pt x="104" y="365"/>
                    </a:lnTo>
                    <a:lnTo>
                      <a:pt x="102" y="365"/>
                    </a:lnTo>
                    <a:lnTo>
                      <a:pt x="104" y="365"/>
                    </a:lnTo>
                    <a:lnTo>
                      <a:pt x="104" y="364"/>
                    </a:lnTo>
                    <a:lnTo>
                      <a:pt x="104" y="365"/>
                    </a:lnTo>
                    <a:lnTo>
                      <a:pt x="104" y="364"/>
                    </a:lnTo>
                    <a:lnTo>
                      <a:pt x="104" y="365"/>
                    </a:lnTo>
                    <a:lnTo>
                      <a:pt x="104" y="364"/>
                    </a:lnTo>
                    <a:lnTo>
                      <a:pt x="106" y="364"/>
                    </a:lnTo>
                    <a:lnTo>
                      <a:pt x="108" y="364"/>
                    </a:lnTo>
                    <a:lnTo>
                      <a:pt x="106" y="364"/>
                    </a:lnTo>
                    <a:lnTo>
                      <a:pt x="108" y="364"/>
                    </a:lnTo>
                    <a:lnTo>
                      <a:pt x="108" y="362"/>
                    </a:lnTo>
                    <a:lnTo>
                      <a:pt x="108" y="364"/>
                    </a:lnTo>
                    <a:lnTo>
                      <a:pt x="109" y="364"/>
                    </a:lnTo>
                    <a:lnTo>
                      <a:pt x="109" y="362"/>
                    </a:lnTo>
                    <a:lnTo>
                      <a:pt x="109" y="364"/>
                    </a:lnTo>
                    <a:lnTo>
                      <a:pt x="108" y="364"/>
                    </a:lnTo>
                    <a:lnTo>
                      <a:pt x="106" y="364"/>
                    </a:lnTo>
                    <a:lnTo>
                      <a:pt x="106" y="365"/>
                    </a:lnTo>
                    <a:lnTo>
                      <a:pt x="108" y="365"/>
                    </a:lnTo>
                    <a:lnTo>
                      <a:pt x="106" y="365"/>
                    </a:lnTo>
                    <a:close/>
                    <a:moveTo>
                      <a:pt x="111" y="364"/>
                    </a:moveTo>
                    <a:lnTo>
                      <a:pt x="111" y="362"/>
                    </a:lnTo>
                    <a:lnTo>
                      <a:pt x="113" y="362"/>
                    </a:lnTo>
                    <a:lnTo>
                      <a:pt x="111" y="362"/>
                    </a:lnTo>
                    <a:lnTo>
                      <a:pt x="113" y="362"/>
                    </a:lnTo>
                    <a:lnTo>
                      <a:pt x="111" y="362"/>
                    </a:lnTo>
                    <a:lnTo>
                      <a:pt x="113" y="362"/>
                    </a:lnTo>
                    <a:lnTo>
                      <a:pt x="111" y="362"/>
                    </a:lnTo>
                    <a:lnTo>
                      <a:pt x="111" y="360"/>
                    </a:lnTo>
                    <a:lnTo>
                      <a:pt x="113" y="360"/>
                    </a:lnTo>
                    <a:lnTo>
                      <a:pt x="113" y="362"/>
                    </a:lnTo>
                    <a:lnTo>
                      <a:pt x="111" y="364"/>
                    </a:lnTo>
                    <a:lnTo>
                      <a:pt x="111" y="365"/>
                    </a:lnTo>
                    <a:lnTo>
                      <a:pt x="111" y="367"/>
                    </a:lnTo>
                    <a:lnTo>
                      <a:pt x="111" y="365"/>
                    </a:lnTo>
                    <a:lnTo>
                      <a:pt x="111" y="367"/>
                    </a:lnTo>
                    <a:lnTo>
                      <a:pt x="111" y="369"/>
                    </a:lnTo>
                    <a:lnTo>
                      <a:pt x="109" y="369"/>
                    </a:lnTo>
                    <a:lnTo>
                      <a:pt x="109" y="371"/>
                    </a:lnTo>
                    <a:lnTo>
                      <a:pt x="109" y="373"/>
                    </a:lnTo>
                    <a:lnTo>
                      <a:pt x="109" y="375"/>
                    </a:lnTo>
                    <a:lnTo>
                      <a:pt x="108" y="375"/>
                    </a:lnTo>
                    <a:lnTo>
                      <a:pt x="108" y="377"/>
                    </a:lnTo>
                    <a:lnTo>
                      <a:pt x="108" y="375"/>
                    </a:lnTo>
                    <a:lnTo>
                      <a:pt x="109" y="375"/>
                    </a:lnTo>
                    <a:lnTo>
                      <a:pt x="108" y="377"/>
                    </a:lnTo>
                    <a:lnTo>
                      <a:pt x="108" y="375"/>
                    </a:lnTo>
                    <a:lnTo>
                      <a:pt x="109" y="373"/>
                    </a:lnTo>
                    <a:lnTo>
                      <a:pt x="109" y="371"/>
                    </a:lnTo>
                    <a:lnTo>
                      <a:pt x="111" y="369"/>
                    </a:lnTo>
                    <a:lnTo>
                      <a:pt x="111" y="367"/>
                    </a:lnTo>
                    <a:lnTo>
                      <a:pt x="111" y="365"/>
                    </a:lnTo>
                    <a:lnTo>
                      <a:pt x="109" y="365"/>
                    </a:lnTo>
                    <a:lnTo>
                      <a:pt x="111" y="365"/>
                    </a:lnTo>
                    <a:lnTo>
                      <a:pt x="109" y="365"/>
                    </a:lnTo>
                    <a:lnTo>
                      <a:pt x="109" y="364"/>
                    </a:lnTo>
                    <a:lnTo>
                      <a:pt x="111" y="364"/>
                    </a:lnTo>
                    <a:lnTo>
                      <a:pt x="109" y="364"/>
                    </a:lnTo>
                    <a:lnTo>
                      <a:pt x="109" y="362"/>
                    </a:lnTo>
                    <a:lnTo>
                      <a:pt x="109" y="360"/>
                    </a:lnTo>
                    <a:lnTo>
                      <a:pt x="111" y="360"/>
                    </a:lnTo>
                    <a:lnTo>
                      <a:pt x="109" y="360"/>
                    </a:lnTo>
                    <a:lnTo>
                      <a:pt x="109" y="362"/>
                    </a:lnTo>
                    <a:lnTo>
                      <a:pt x="111" y="360"/>
                    </a:lnTo>
                    <a:lnTo>
                      <a:pt x="111" y="362"/>
                    </a:lnTo>
                    <a:lnTo>
                      <a:pt x="109" y="362"/>
                    </a:lnTo>
                    <a:lnTo>
                      <a:pt x="111" y="362"/>
                    </a:lnTo>
                    <a:lnTo>
                      <a:pt x="111" y="364"/>
                    </a:lnTo>
                    <a:close/>
                    <a:moveTo>
                      <a:pt x="277" y="392"/>
                    </a:moveTo>
                    <a:lnTo>
                      <a:pt x="277" y="394"/>
                    </a:lnTo>
                    <a:lnTo>
                      <a:pt x="277" y="392"/>
                    </a:lnTo>
                    <a:lnTo>
                      <a:pt x="275" y="392"/>
                    </a:lnTo>
                    <a:lnTo>
                      <a:pt x="277" y="392"/>
                    </a:lnTo>
                    <a:close/>
                    <a:moveTo>
                      <a:pt x="131" y="352"/>
                    </a:moveTo>
                    <a:lnTo>
                      <a:pt x="129" y="352"/>
                    </a:lnTo>
                    <a:lnTo>
                      <a:pt x="127" y="352"/>
                    </a:lnTo>
                    <a:lnTo>
                      <a:pt x="129" y="352"/>
                    </a:lnTo>
                    <a:lnTo>
                      <a:pt x="129" y="354"/>
                    </a:lnTo>
                    <a:lnTo>
                      <a:pt x="129" y="352"/>
                    </a:lnTo>
                    <a:lnTo>
                      <a:pt x="131" y="354"/>
                    </a:lnTo>
                    <a:lnTo>
                      <a:pt x="129" y="352"/>
                    </a:lnTo>
                    <a:lnTo>
                      <a:pt x="131" y="352"/>
                    </a:lnTo>
                    <a:lnTo>
                      <a:pt x="131" y="354"/>
                    </a:lnTo>
                    <a:lnTo>
                      <a:pt x="131" y="352"/>
                    </a:lnTo>
                    <a:lnTo>
                      <a:pt x="131" y="350"/>
                    </a:lnTo>
                    <a:lnTo>
                      <a:pt x="131" y="348"/>
                    </a:lnTo>
                    <a:lnTo>
                      <a:pt x="131" y="350"/>
                    </a:lnTo>
                    <a:lnTo>
                      <a:pt x="133" y="352"/>
                    </a:lnTo>
                    <a:lnTo>
                      <a:pt x="133" y="354"/>
                    </a:lnTo>
                    <a:lnTo>
                      <a:pt x="133" y="356"/>
                    </a:lnTo>
                    <a:lnTo>
                      <a:pt x="131" y="358"/>
                    </a:lnTo>
                    <a:lnTo>
                      <a:pt x="131" y="360"/>
                    </a:lnTo>
                    <a:lnTo>
                      <a:pt x="129" y="360"/>
                    </a:lnTo>
                    <a:lnTo>
                      <a:pt x="129" y="362"/>
                    </a:lnTo>
                    <a:lnTo>
                      <a:pt x="129" y="364"/>
                    </a:lnTo>
                    <a:lnTo>
                      <a:pt x="127" y="364"/>
                    </a:lnTo>
                    <a:lnTo>
                      <a:pt x="125" y="364"/>
                    </a:lnTo>
                    <a:lnTo>
                      <a:pt x="125" y="362"/>
                    </a:lnTo>
                    <a:lnTo>
                      <a:pt x="123" y="362"/>
                    </a:lnTo>
                    <a:lnTo>
                      <a:pt x="121" y="362"/>
                    </a:lnTo>
                    <a:lnTo>
                      <a:pt x="119" y="362"/>
                    </a:lnTo>
                    <a:lnTo>
                      <a:pt x="119" y="364"/>
                    </a:lnTo>
                    <a:lnTo>
                      <a:pt x="119" y="362"/>
                    </a:lnTo>
                    <a:lnTo>
                      <a:pt x="117" y="362"/>
                    </a:lnTo>
                    <a:lnTo>
                      <a:pt x="119" y="362"/>
                    </a:lnTo>
                    <a:lnTo>
                      <a:pt x="117" y="362"/>
                    </a:lnTo>
                    <a:lnTo>
                      <a:pt x="117" y="360"/>
                    </a:lnTo>
                    <a:lnTo>
                      <a:pt x="119" y="360"/>
                    </a:lnTo>
                    <a:lnTo>
                      <a:pt x="119" y="358"/>
                    </a:lnTo>
                    <a:lnTo>
                      <a:pt x="119" y="360"/>
                    </a:lnTo>
                    <a:lnTo>
                      <a:pt x="117" y="360"/>
                    </a:lnTo>
                    <a:lnTo>
                      <a:pt x="117" y="362"/>
                    </a:lnTo>
                    <a:lnTo>
                      <a:pt x="119" y="362"/>
                    </a:lnTo>
                    <a:lnTo>
                      <a:pt x="117" y="362"/>
                    </a:lnTo>
                    <a:lnTo>
                      <a:pt x="119" y="362"/>
                    </a:lnTo>
                    <a:lnTo>
                      <a:pt x="119" y="364"/>
                    </a:lnTo>
                    <a:lnTo>
                      <a:pt x="117" y="364"/>
                    </a:lnTo>
                    <a:lnTo>
                      <a:pt x="115" y="364"/>
                    </a:lnTo>
                    <a:lnTo>
                      <a:pt x="115" y="365"/>
                    </a:lnTo>
                    <a:lnTo>
                      <a:pt x="113" y="365"/>
                    </a:lnTo>
                    <a:lnTo>
                      <a:pt x="115" y="365"/>
                    </a:lnTo>
                    <a:lnTo>
                      <a:pt x="115" y="364"/>
                    </a:lnTo>
                    <a:lnTo>
                      <a:pt x="115" y="365"/>
                    </a:lnTo>
                    <a:lnTo>
                      <a:pt x="113" y="365"/>
                    </a:lnTo>
                    <a:lnTo>
                      <a:pt x="113" y="364"/>
                    </a:lnTo>
                    <a:lnTo>
                      <a:pt x="113" y="362"/>
                    </a:lnTo>
                    <a:lnTo>
                      <a:pt x="115" y="360"/>
                    </a:lnTo>
                    <a:lnTo>
                      <a:pt x="117" y="360"/>
                    </a:lnTo>
                    <a:lnTo>
                      <a:pt x="115" y="360"/>
                    </a:lnTo>
                    <a:lnTo>
                      <a:pt x="113" y="360"/>
                    </a:lnTo>
                    <a:lnTo>
                      <a:pt x="111" y="360"/>
                    </a:lnTo>
                    <a:lnTo>
                      <a:pt x="111" y="358"/>
                    </a:lnTo>
                    <a:lnTo>
                      <a:pt x="113" y="358"/>
                    </a:lnTo>
                    <a:lnTo>
                      <a:pt x="115" y="356"/>
                    </a:lnTo>
                    <a:lnTo>
                      <a:pt x="117" y="354"/>
                    </a:lnTo>
                    <a:lnTo>
                      <a:pt x="119" y="354"/>
                    </a:lnTo>
                    <a:lnTo>
                      <a:pt x="117" y="354"/>
                    </a:lnTo>
                    <a:lnTo>
                      <a:pt x="117" y="356"/>
                    </a:lnTo>
                    <a:lnTo>
                      <a:pt x="115" y="356"/>
                    </a:lnTo>
                    <a:lnTo>
                      <a:pt x="117" y="356"/>
                    </a:lnTo>
                    <a:lnTo>
                      <a:pt x="117" y="358"/>
                    </a:lnTo>
                    <a:lnTo>
                      <a:pt x="117" y="356"/>
                    </a:lnTo>
                    <a:lnTo>
                      <a:pt x="119" y="354"/>
                    </a:lnTo>
                    <a:lnTo>
                      <a:pt x="121" y="354"/>
                    </a:lnTo>
                    <a:lnTo>
                      <a:pt x="123" y="354"/>
                    </a:lnTo>
                    <a:lnTo>
                      <a:pt x="123" y="352"/>
                    </a:lnTo>
                    <a:lnTo>
                      <a:pt x="125" y="352"/>
                    </a:lnTo>
                    <a:lnTo>
                      <a:pt x="125" y="354"/>
                    </a:lnTo>
                    <a:lnTo>
                      <a:pt x="125" y="352"/>
                    </a:lnTo>
                    <a:lnTo>
                      <a:pt x="127" y="352"/>
                    </a:lnTo>
                    <a:lnTo>
                      <a:pt x="129" y="352"/>
                    </a:lnTo>
                    <a:lnTo>
                      <a:pt x="129" y="350"/>
                    </a:lnTo>
                    <a:lnTo>
                      <a:pt x="129" y="348"/>
                    </a:lnTo>
                    <a:lnTo>
                      <a:pt x="131" y="348"/>
                    </a:lnTo>
                    <a:lnTo>
                      <a:pt x="131" y="350"/>
                    </a:lnTo>
                    <a:lnTo>
                      <a:pt x="131" y="352"/>
                    </a:lnTo>
                    <a:close/>
                    <a:moveTo>
                      <a:pt x="234" y="377"/>
                    </a:moveTo>
                    <a:lnTo>
                      <a:pt x="232" y="377"/>
                    </a:lnTo>
                    <a:lnTo>
                      <a:pt x="234" y="377"/>
                    </a:lnTo>
                    <a:lnTo>
                      <a:pt x="232" y="377"/>
                    </a:lnTo>
                    <a:lnTo>
                      <a:pt x="234" y="377"/>
                    </a:lnTo>
                    <a:close/>
                    <a:moveTo>
                      <a:pt x="231" y="375"/>
                    </a:moveTo>
                    <a:lnTo>
                      <a:pt x="231" y="377"/>
                    </a:lnTo>
                    <a:lnTo>
                      <a:pt x="231" y="375"/>
                    </a:lnTo>
                    <a:lnTo>
                      <a:pt x="231" y="377"/>
                    </a:lnTo>
                    <a:lnTo>
                      <a:pt x="231" y="375"/>
                    </a:lnTo>
                    <a:close/>
                    <a:moveTo>
                      <a:pt x="223" y="373"/>
                    </a:moveTo>
                    <a:lnTo>
                      <a:pt x="225" y="373"/>
                    </a:lnTo>
                    <a:lnTo>
                      <a:pt x="225" y="375"/>
                    </a:lnTo>
                    <a:lnTo>
                      <a:pt x="223" y="375"/>
                    </a:lnTo>
                    <a:lnTo>
                      <a:pt x="225" y="375"/>
                    </a:lnTo>
                    <a:lnTo>
                      <a:pt x="223" y="375"/>
                    </a:lnTo>
                    <a:lnTo>
                      <a:pt x="223" y="373"/>
                    </a:lnTo>
                    <a:close/>
                    <a:moveTo>
                      <a:pt x="246" y="381"/>
                    </a:moveTo>
                    <a:lnTo>
                      <a:pt x="244" y="381"/>
                    </a:lnTo>
                    <a:lnTo>
                      <a:pt x="246" y="381"/>
                    </a:lnTo>
                    <a:lnTo>
                      <a:pt x="244" y="381"/>
                    </a:lnTo>
                    <a:lnTo>
                      <a:pt x="246" y="381"/>
                    </a:lnTo>
                    <a:lnTo>
                      <a:pt x="246" y="379"/>
                    </a:lnTo>
                    <a:lnTo>
                      <a:pt x="246" y="381"/>
                    </a:lnTo>
                    <a:lnTo>
                      <a:pt x="248" y="381"/>
                    </a:lnTo>
                    <a:lnTo>
                      <a:pt x="248" y="383"/>
                    </a:lnTo>
                    <a:lnTo>
                      <a:pt x="250" y="383"/>
                    </a:lnTo>
                    <a:lnTo>
                      <a:pt x="248" y="383"/>
                    </a:lnTo>
                    <a:lnTo>
                      <a:pt x="250" y="383"/>
                    </a:lnTo>
                    <a:lnTo>
                      <a:pt x="248" y="383"/>
                    </a:lnTo>
                    <a:lnTo>
                      <a:pt x="248" y="381"/>
                    </a:lnTo>
                    <a:lnTo>
                      <a:pt x="246" y="381"/>
                    </a:lnTo>
                    <a:close/>
                    <a:moveTo>
                      <a:pt x="134" y="354"/>
                    </a:moveTo>
                    <a:lnTo>
                      <a:pt x="133" y="354"/>
                    </a:lnTo>
                    <a:lnTo>
                      <a:pt x="134" y="354"/>
                    </a:lnTo>
                    <a:lnTo>
                      <a:pt x="134" y="356"/>
                    </a:lnTo>
                    <a:lnTo>
                      <a:pt x="136" y="356"/>
                    </a:lnTo>
                    <a:lnTo>
                      <a:pt x="136" y="358"/>
                    </a:lnTo>
                    <a:lnTo>
                      <a:pt x="134" y="358"/>
                    </a:lnTo>
                    <a:lnTo>
                      <a:pt x="133" y="356"/>
                    </a:lnTo>
                    <a:lnTo>
                      <a:pt x="133" y="354"/>
                    </a:lnTo>
                    <a:lnTo>
                      <a:pt x="133" y="352"/>
                    </a:lnTo>
                    <a:lnTo>
                      <a:pt x="133" y="350"/>
                    </a:lnTo>
                    <a:lnTo>
                      <a:pt x="131" y="348"/>
                    </a:lnTo>
                    <a:lnTo>
                      <a:pt x="133" y="348"/>
                    </a:lnTo>
                    <a:lnTo>
                      <a:pt x="133" y="346"/>
                    </a:lnTo>
                    <a:lnTo>
                      <a:pt x="133" y="348"/>
                    </a:lnTo>
                    <a:lnTo>
                      <a:pt x="134" y="348"/>
                    </a:lnTo>
                    <a:lnTo>
                      <a:pt x="134" y="346"/>
                    </a:lnTo>
                    <a:lnTo>
                      <a:pt x="134" y="348"/>
                    </a:lnTo>
                    <a:lnTo>
                      <a:pt x="136" y="348"/>
                    </a:lnTo>
                    <a:lnTo>
                      <a:pt x="134" y="350"/>
                    </a:lnTo>
                    <a:lnTo>
                      <a:pt x="136" y="350"/>
                    </a:lnTo>
                    <a:lnTo>
                      <a:pt x="136" y="352"/>
                    </a:lnTo>
                    <a:lnTo>
                      <a:pt x="134" y="354"/>
                    </a:lnTo>
                    <a:close/>
                    <a:moveTo>
                      <a:pt x="250" y="379"/>
                    </a:moveTo>
                    <a:lnTo>
                      <a:pt x="252" y="379"/>
                    </a:lnTo>
                    <a:lnTo>
                      <a:pt x="250" y="379"/>
                    </a:lnTo>
                    <a:lnTo>
                      <a:pt x="252" y="379"/>
                    </a:lnTo>
                    <a:lnTo>
                      <a:pt x="250" y="379"/>
                    </a:lnTo>
                    <a:lnTo>
                      <a:pt x="250" y="381"/>
                    </a:lnTo>
                    <a:lnTo>
                      <a:pt x="250" y="379"/>
                    </a:lnTo>
                    <a:lnTo>
                      <a:pt x="252" y="379"/>
                    </a:lnTo>
                    <a:lnTo>
                      <a:pt x="250" y="379"/>
                    </a:lnTo>
                    <a:lnTo>
                      <a:pt x="252" y="379"/>
                    </a:lnTo>
                    <a:lnTo>
                      <a:pt x="250" y="379"/>
                    </a:lnTo>
                    <a:lnTo>
                      <a:pt x="252" y="379"/>
                    </a:lnTo>
                    <a:lnTo>
                      <a:pt x="250" y="379"/>
                    </a:lnTo>
                    <a:lnTo>
                      <a:pt x="252" y="379"/>
                    </a:lnTo>
                    <a:lnTo>
                      <a:pt x="250" y="379"/>
                    </a:lnTo>
                    <a:lnTo>
                      <a:pt x="252" y="379"/>
                    </a:lnTo>
                    <a:lnTo>
                      <a:pt x="250" y="379"/>
                    </a:lnTo>
                    <a:close/>
                    <a:moveTo>
                      <a:pt x="221" y="369"/>
                    </a:moveTo>
                    <a:lnTo>
                      <a:pt x="223" y="369"/>
                    </a:lnTo>
                    <a:lnTo>
                      <a:pt x="221" y="369"/>
                    </a:lnTo>
                    <a:close/>
                    <a:moveTo>
                      <a:pt x="217" y="365"/>
                    </a:moveTo>
                    <a:lnTo>
                      <a:pt x="217" y="367"/>
                    </a:lnTo>
                    <a:lnTo>
                      <a:pt x="217" y="365"/>
                    </a:lnTo>
                    <a:lnTo>
                      <a:pt x="219" y="365"/>
                    </a:lnTo>
                    <a:lnTo>
                      <a:pt x="219" y="367"/>
                    </a:lnTo>
                    <a:lnTo>
                      <a:pt x="217" y="367"/>
                    </a:lnTo>
                    <a:lnTo>
                      <a:pt x="217" y="365"/>
                    </a:lnTo>
                    <a:lnTo>
                      <a:pt x="217" y="367"/>
                    </a:lnTo>
                    <a:lnTo>
                      <a:pt x="217" y="365"/>
                    </a:lnTo>
                    <a:close/>
                    <a:moveTo>
                      <a:pt x="227" y="365"/>
                    </a:moveTo>
                    <a:lnTo>
                      <a:pt x="229" y="365"/>
                    </a:lnTo>
                    <a:lnTo>
                      <a:pt x="227" y="365"/>
                    </a:lnTo>
                    <a:close/>
                    <a:moveTo>
                      <a:pt x="227" y="367"/>
                    </a:moveTo>
                    <a:lnTo>
                      <a:pt x="227" y="369"/>
                    </a:lnTo>
                    <a:lnTo>
                      <a:pt x="227" y="367"/>
                    </a:lnTo>
                    <a:lnTo>
                      <a:pt x="227" y="369"/>
                    </a:lnTo>
                    <a:lnTo>
                      <a:pt x="227" y="367"/>
                    </a:lnTo>
                    <a:lnTo>
                      <a:pt x="225" y="367"/>
                    </a:lnTo>
                    <a:lnTo>
                      <a:pt x="223" y="367"/>
                    </a:lnTo>
                    <a:lnTo>
                      <a:pt x="223" y="365"/>
                    </a:lnTo>
                    <a:lnTo>
                      <a:pt x="223" y="364"/>
                    </a:lnTo>
                    <a:lnTo>
                      <a:pt x="225" y="364"/>
                    </a:lnTo>
                    <a:lnTo>
                      <a:pt x="225" y="365"/>
                    </a:lnTo>
                    <a:lnTo>
                      <a:pt x="227" y="365"/>
                    </a:lnTo>
                    <a:lnTo>
                      <a:pt x="227" y="367"/>
                    </a:lnTo>
                    <a:lnTo>
                      <a:pt x="227" y="365"/>
                    </a:lnTo>
                    <a:lnTo>
                      <a:pt x="227" y="367"/>
                    </a:lnTo>
                    <a:lnTo>
                      <a:pt x="229" y="367"/>
                    </a:lnTo>
                    <a:lnTo>
                      <a:pt x="227" y="367"/>
                    </a:lnTo>
                    <a:lnTo>
                      <a:pt x="227" y="365"/>
                    </a:lnTo>
                    <a:lnTo>
                      <a:pt x="227" y="367"/>
                    </a:lnTo>
                    <a:lnTo>
                      <a:pt x="227" y="365"/>
                    </a:lnTo>
                    <a:lnTo>
                      <a:pt x="227" y="367"/>
                    </a:lnTo>
                    <a:close/>
                    <a:moveTo>
                      <a:pt x="248" y="371"/>
                    </a:moveTo>
                    <a:lnTo>
                      <a:pt x="246" y="371"/>
                    </a:lnTo>
                    <a:lnTo>
                      <a:pt x="244" y="371"/>
                    </a:lnTo>
                    <a:lnTo>
                      <a:pt x="242" y="371"/>
                    </a:lnTo>
                    <a:lnTo>
                      <a:pt x="244" y="371"/>
                    </a:lnTo>
                    <a:lnTo>
                      <a:pt x="242" y="371"/>
                    </a:lnTo>
                    <a:lnTo>
                      <a:pt x="240" y="371"/>
                    </a:lnTo>
                    <a:lnTo>
                      <a:pt x="242" y="371"/>
                    </a:lnTo>
                    <a:lnTo>
                      <a:pt x="240" y="371"/>
                    </a:lnTo>
                    <a:lnTo>
                      <a:pt x="238" y="371"/>
                    </a:lnTo>
                    <a:lnTo>
                      <a:pt x="238" y="369"/>
                    </a:lnTo>
                    <a:lnTo>
                      <a:pt x="238" y="371"/>
                    </a:lnTo>
                    <a:lnTo>
                      <a:pt x="238" y="369"/>
                    </a:lnTo>
                    <a:lnTo>
                      <a:pt x="240" y="369"/>
                    </a:lnTo>
                    <a:lnTo>
                      <a:pt x="242" y="369"/>
                    </a:lnTo>
                    <a:lnTo>
                      <a:pt x="244" y="371"/>
                    </a:lnTo>
                    <a:lnTo>
                      <a:pt x="244" y="369"/>
                    </a:lnTo>
                    <a:lnTo>
                      <a:pt x="246" y="369"/>
                    </a:lnTo>
                    <a:lnTo>
                      <a:pt x="248" y="369"/>
                    </a:lnTo>
                    <a:lnTo>
                      <a:pt x="248" y="371"/>
                    </a:lnTo>
                    <a:close/>
                    <a:moveTo>
                      <a:pt x="227" y="364"/>
                    </a:moveTo>
                    <a:lnTo>
                      <a:pt x="229" y="364"/>
                    </a:lnTo>
                    <a:lnTo>
                      <a:pt x="227" y="364"/>
                    </a:lnTo>
                    <a:close/>
                    <a:moveTo>
                      <a:pt x="229" y="364"/>
                    </a:moveTo>
                    <a:lnTo>
                      <a:pt x="229" y="365"/>
                    </a:lnTo>
                    <a:lnTo>
                      <a:pt x="229" y="364"/>
                    </a:lnTo>
                    <a:lnTo>
                      <a:pt x="229" y="365"/>
                    </a:lnTo>
                    <a:lnTo>
                      <a:pt x="229" y="364"/>
                    </a:lnTo>
                    <a:lnTo>
                      <a:pt x="229" y="365"/>
                    </a:lnTo>
                    <a:lnTo>
                      <a:pt x="227" y="365"/>
                    </a:lnTo>
                    <a:lnTo>
                      <a:pt x="227" y="364"/>
                    </a:lnTo>
                    <a:lnTo>
                      <a:pt x="227" y="365"/>
                    </a:lnTo>
                    <a:lnTo>
                      <a:pt x="227" y="364"/>
                    </a:lnTo>
                    <a:lnTo>
                      <a:pt x="227" y="365"/>
                    </a:lnTo>
                    <a:lnTo>
                      <a:pt x="229" y="365"/>
                    </a:lnTo>
                    <a:lnTo>
                      <a:pt x="227" y="365"/>
                    </a:lnTo>
                    <a:lnTo>
                      <a:pt x="227" y="364"/>
                    </a:lnTo>
                    <a:lnTo>
                      <a:pt x="227" y="365"/>
                    </a:lnTo>
                    <a:lnTo>
                      <a:pt x="227" y="364"/>
                    </a:lnTo>
                    <a:lnTo>
                      <a:pt x="227" y="365"/>
                    </a:lnTo>
                    <a:lnTo>
                      <a:pt x="225" y="365"/>
                    </a:lnTo>
                    <a:lnTo>
                      <a:pt x="225" y="364"/>
                    </a:lnTo>
                    <a:lnTo>
                      <a:pt x="225" y="362"/>
                    </a:lnTo>
                    <a:lnTo>
                      <a:pt x="225" y="364"/>
                    </a:lnTo>
                    <a:lnTo>
                      <a:pt x="227" y="364"/>
                    </a:lnTo>
                    <a:lnTo>
                      <a:pt x="229" y="364"/>
                    </a:lnTo>
                    <a:close/>
                    <a:moveTo>
                      <a:pt x="223" y="367"/>
                    </a:moveTo>
                    <a:lnTo>
                      <a:pt x="221" y="367"/>
                    </a:lnTo>
                    <a:lnTo>
                      <a:pt x="223" y="367"/>
                    </a:lnTo>
                    <a:lnTo>
                      <a:pt x="221" y="367"/>
                    </a:lnTo>
                    <a:lnTo>
                      <a:pt x="223" y="367"/>
                    </a:lnTo>
                    <a:lnTo>
                      <a:pt x="223" y="369"/>
                    </a:lnTo>
                    <a:lnTo>
                      <a:pt x="221" y="367"/>
                    </a:lnTo>
                    <a:lnTo>
                      <a:pt x="219" y="367"/>
                    </a:lnTo>
                    <a:lnTo>
                      <a:pt x="221" y="367"/>
                    </a:lnTo>
                    <a:lnTo>
                      <a:pt x="219" y="367"/>
                    </a:lnTo>
                    <a:lnTo>
                      <a:pt x="221" y="367"/>
                    </a:lnTo>
                    <a:lnTo>
                      <a:pt x="221" y="369"/>
                    </a:lnTo>
                    <a:lnTo>
                      <a:pt x="219" y="367"/>
                    </a:lnTo>
                    <a:lnTo>
                      <a:pt x="219" y="365"/>
                    </a:lnTo>
                    <a:lnTo>
                      <a:pt x="219" y="367"/>
                    </a:lnTo>
                    <a:lnTo>
                      <a:pt x="219" y="365"/>
                    </a:lnTo>
                    <a:lnTo>
                      <a:pt x="217" y="365"/>
                    </a:lnTo>
                    <a:lnTo>
                      <a:pt x="215" y="365"/>
                    </a:lnTo>
                    <a:lnTo>
                      <a:pt x="217" y="365"/>
                    </a:lnTo>
                    <a:lnTo>
                      <a:pt x="215" y="365"/>
                    </a:lnTo>
                    <a:lnTo>
                      <a:pt x="215" y="364"/>
                    </a:lnTo>
                    <a:lnTo>
                      <a:pt x="215" y="365"/>
                    </a:lnTo>
                    <a:lnTo>
                      <a:pt x="217" y="365"/>
                    </a:lnTo>
                    <a:lnTo>
                      <a:pt x="217" y="364"/>
                    </a:lnTo>
                    <a:lnTo>
                      <a:pt x="215" y="364"/>
                    </a:lnTo>
                    <a:lnTo>
                      <a:pt x="217" y="364"/>
                    </a:lnTo>
                    <a:lnTo>
                      <a:pt x="215" y="364"/>
                    </a:lnTo>
                    <a:lnTo>
                      <a:pt x="217" y="364"/>
                    </a:lnTo>
                    <a:lnTo>
                      <a:pt x="215" y="362"/>
                    </a:lnTo>
                    <a:lnTo>
                      <a:pt x="217" y="360"/>
                    </a:lnTo>
                    <a:lnTo>
                      <a:pt x="217" y="362"/>
                    </a:lnTo>
                    <a:lnTo>
                      <a:pt x="217" y="360"/>
                    </a:lnTo>
                    <a:lnTo>
                      <a:pt x="219" y="360"/>
                    </a:lnTo>
                    <a:lnTo>
                      <a:pt x="219" y="362"/>
                    </a:lnTo>
                    <a:lnTo>
                      <a:pt x="221" y="364"/>
                    </a:lnTo>
                    <a:lnTo>
                      <a:pt x="223" y="364"/>
                    </a:lnTo>
                    <a:lnTo>
                      <a:pt x="223" y="365"/>
                    </a:lnTo>
                    <a:lnTo>
                      <a:pt x="223" y="367"/>
                    </a:lnTo>
                    <a:close/>
                    <a:moveTo>
                      <a:pt x="207" y="358"/>
                    </a:moveTo>
                    <a:lnTo>
                      <a:pt x="209" y="358"/>
                    </a:lnTo>
                    <a:lnTo>
                      <a:pt x="207" y="358"/>
                    </a:lnTo>
                    <a:close/>
                    <a:moveTo>
                      <a:pt x="227" y="362"/>
                    </a:moveTo>
                    <a:lnTo>
                      <a:pt x="227" y="364"/>
                    </a:lnTo>
                    <a:lnTo>
                      <a:pt x="227" y="362"/>
                    </a:lnTo>
                    <a:lnTo>
                      <a:pt x="227" y="364"/>
                    </a:lnTo>
                    <a:lnTo>
                      <a:pt x="227" y="362"/>
                    </a:lnTo>
                    <a:lnTo>
                      <a:pt x="227" y="364"/>
                    </a:lnTo>
                    <a:lnTo>
                      <a:pt x="229" y="364"/>
                    </a:lnTo>
                    <a:lnTo>
                      <a:pt x="227" y="364"/>
                    </a:lnTo>
                    <a:lnTo>
                      <a:pt x="225" y="364"/>
                    </a:lnTo>
                    <a:lnTo>
                      <a:pt x="225" y="362"/>
                    </a:lnTo>
                    <a:lnTo>
                      <a:pt x="227" y="362"/>
                    </a:lnTo>
                    <a:close/>
                    <a:moveTo>
                      <a:pt x="215" y="364"/>
                    </a:moveTo>
                    <a:lnTo>
                      <a:pt x="215" y="362"/>
                    </a:lnTo>
                    <a:lnTo>
                      <a:pt x="213" y="362"/>
                    </a:lnTo>
                    <a:lnTo>
                      <a:pt x="215" y="362"/>
                    </a:lnTo>
                    <a:lnTo>
                      <a:pt x="215" y="364"/>
                    </a:lnTo>
                    <a:lnTo>
                      <a:pt x="215" y="362"/>
                    </a:lnTo>
                    <a:lnTo>
                      <a:pt x="213" y="360"/>
                    </a:lnTo>
                    <a:lnTo>
                      <a:pt x="213" y="358"/>
                    </a:lnTo>
                    <a:lnTo>
                      <a:pt x="215" y="358"/>
                    </a:lnTo>
                    <a:lnTo>
                      <a:pt x="215" y="360"/>
                    </a:lnTo>
                    <a:lnTo>
                      <a:pt x="215" y="362"/>
                    </a:lnTo>
                    <a:lnTo>
                      <a:pt x="215" y="364"/>
                    </a:lnTo>
                    <a:close/>
                    <a:moveTo>
                      <a:pt x="254" y="369"/>
                    </a:moveTo>
                    <a:lnTo>
                      <a:pt x="254" y="367"/>
                    </a:lnTo>
                    <a:lnTo>
                      <a:pt x="252" y="367"/>
                    </a:lnTo>
                    <a:lnTo>
                      <a:pt x="254" y="367"/>
                    </a:lnTo>
                    <a:lnTo>
                      <a:pt x="254" y="369"/>
                    </a:lnTo>
                    <a:close/>
                    <a:moveTo>
                      <a:pt x="207" y="356"/>
                    </a:moveTo>
                    <a:lnTo>
                      <a:pt x="209" y="356"/>
                    </a:lnTo>
                    <a:lnTo>
                      <a:pt x="209" y="358"/>
                    </a:lnTo>
                    <a:lnTo>
                      <a:pt x="207" y="358"/>
                    </a:lnTo>
                    <a:lnTo>
                      <a:pt x="207" y="356"/>
                    </a:lnTo>
                    <a:close/>
                    <a:moveTo>
                      <a:pt x="227" y="362"/>
                    </a:moveTo>
                    <a:lnTo>
                      <a:pt x="227" y="360"/>
                    </a:lnTo>
                    <a:lnTo>
                      <a:pt x="227" y="362"/>
                    </a:lnTo>
                    <a:lnTo>
                      <a:pt x="227" y="360"/>
                    </a:lnTo>
                    <a:lnTo>
                      <a:pt x="227" y="358"/>
                    </a:lnTo>
                    <a:lnTo>
                      <a:pt x="229" y="358"/>
                    </a:lnTo>
                    <a:lnTo>
                      <a:pt x="229" y="360"/>
                    </a:lnTo>
                    <a:lnTo>
                      <a:pt x="229" y="362"/>
                    </a:lnTo>
                    <a:lnTo>
                      <a:pt x="227" y="362"/>
                    </a:lnTo>
                    <a:close/>
                    <a:moveTo>
                      <a:pt x="240" y="360"/>
                    </a:moveTo>
                    <a:lnTo>
                      <a:pt x="242" y="360"/>
                    </a:lnTo>
                    <a:lnTo>
                      <a:pt x="242" y="362"/>
                    </a:lnTo>
                    <a:lnTo>
                      <a:pt x="244" y="362"/>
                    </a:lnTo>
                    <a:lnTo>
                      <a:pt x="242" y="362"/>
                    </a:lnTo>
                    <a:lnTo>
                      <a:pt x="244" y="362"/>
                    </a:lnTo>
                    <a:lnTo>
                      <a:pt x="244" y="364"/>
                    </a:lnTo>
                    <a:lnTo>
                      <a:pt x="246" y="364"/>
                    </a:lnTo>
                    <a:lnTo>
                      <a:pt x="246" y="365"/>
                    </a:lnTo>
                    <a:lnTo>
                      <a:pt x="248" y="365"/>
                    </a:lnTo>
                    <a:lnTo>
                      <a:pt x="246" y="365"/>
                    </a:lnTo>
                    <a:lnTo>
                      <a:pt x="248" y="365"/>
                    </a:lnTo>
                    <a:lnTo>
                      <a:pt x="248" y="367"/>
                    </a:lnTo>
                    <a:lnTo>
                      <a:pt x="250" y="367"/>
                    </a:lnTo>
                    <a:lnTo>
                      <a:pt x="250" y="369"/>
                    </a:lnTo>
                    <a:lnTo>
                      <a:pt x="250" y="367"/>
                    </a:lnTo>
                    <a:lnTo>
                      <a:pt x="248" y="367"/>
                    </a:lnTo>
                    <a:lnTo>
                      <a:pt x="250" y="367"/>
                    </a:lnTo>
                    <a:lnTo>
                      <a:pt x="248" y="369"/>
                    </a:lnTo>
                    <a:lnTo>
                      <a:pt x="250" y="369"/>
                    </a:lnTo>
                    <a:lnTo>
                      <a:pt x="248" y="369"/>
                    </a:lnTo>
                    <a:lnTo>
                      <a:pt x="248" y="367"/>
                    </a:lnTo>
                    <a:lnTo>
                      <a:pt x="246" y="367"/>
                    </a:lnTo>
                    <a:lnTo>
                      <a:pt x="248" y="367"/>
                    </a:lnTo>
                    <a:lnTo>
                      <a:pt x="248" y="369"/>
                    </a:lnTo>
                    <a:lnTo>
                      <a:pt x="250" y="369"/>
                    </a:lnTo>
                    <a:lnTo>
                      <a:pt x="248" y="371"/>
                    </a:lnTo>
                    <a:lnTo>
                      <a:pt x="248" y="369"/>
                    </a:lnTo>
                    <a:lnTo>
                      <a:pt x="246" y="369"/>
                    </a:lnTo>
                    <a:lnTo>
                      <a:pt x="244" y="369"/>
                    </a:lnTo>
                    <a:lnTo>
                      <a:pt x="242" y="369"/>
                    </a:lnTo>
                    <a:lnTo>
                      <a:pt x="242" y="367"/>
                    </a:lnTo>
                    <a:lnTo>
                      <a:pt x="240" y="367"/>
                    </a:lnTo>
                    <a:lnTo>
                      <a:pt x="242" y="369"/>
                    </a:lnTo>
                    <a:lnTo>
                      <a:pt x="244" y="369"/>
                    </a:lnTo>
                    <a:lnTo>
                      <a:pt x="246" y="369"/>
                    </a:lnTo>
                    <a:lnTo>
                      <a:pt x="248" y="369"/>
                    </a:lnTo>
                    <a:lnTo>
                      <a:pt x="246" y="369"/>
                    </a:lnTo>
                    <a:lnTo>
                      <a:pt x="244" y="369"/>
                    </a:lnTo>
                    <a:lnTo>
                      <a:pt x="242" y="369"/>
                    </a:lnTo>
                    <a:lnTo>
                      <a:pt x="240" y="369"/>
                    </a:lnTo>
                    <a:lnTo>
                      <a:pt x="242" y="369"/>
                    </a:lnTo>
                    <a:lnTo>
                      <a:pt x="240" y="369"/>
                    </a:lnTo>
                    <a:lnTo>
                      <a:pt x="238" y="369"/>
                    </a:lnTo>
                    <a:lnTo>
                      <a:pt x="236" y="369"/>
                    </a:lnTo>
                    <a:lnTo>
                      <a:pt x="236" y="367"/>
                    </a:lnTo>
                    <a:lnTo>
                      <a:pt x="234" y="367"/>
                    </a:lnTo>
                    <a:lnTo>
                      <a:pt x="234" y="365"/>
                    </a:lnTo>
                    <a:lnTo>
                      <a:pt x="234" y="367"/>
                    </a:lnTo>
                    <a:lnTo>
                      <a:pt x="234" y="365"/>
                    </a:lnTo>
                    <a:lnTo>
                      <a:pt x="232" y="365"/>
                    </a:lnTo>
                    <a:lnTo>
                      <a:pt x="234" y="365"/>
                    </a:lnTo>
                    <a:lnTo>
                      <a:pt x="232" y="365"/>
                    </a:lnTo>
                    <a:lnTo>
                      <a:pt x="234" y="365"/>
                    </a:lnTo>
                    <a:lnTo>
                      <a:pt x="232" y="365"/>
                    </a:lnTo>
                    <a:lnTo>
                      <a:pt x="234" y="365"/>
                    </a:lnTo>
                    <a:lnTo>
                      <a:pt x="234" y="367"/>
                    </a:lnTo>
                    <a:lnTo>
                      <a:pt x="234" y="365"/>
                    </a:lnTo>
                    <a:lnTo>
                      <a:pt x="234" y="367"/>
                    </a:lnTo>
                    <a:lnTo>
                      <a:pt x="232" y="367"/>
                    </a:lnTo>
                    <a:lnTo>
                      <a:pt x="234" y="367"/>
                    </a:lnTo>
                    <a:lnTo>
                      <a:pt x="232" y="367"/>
                    </a:lnTo>
                    <a:lnTo>
                      <a:pt x="232" y="365"/>
                    </a:lnTo>
                    <a:lnTo>
                      <a:pt x="232" y="364"/>
                    </a:lnTo>
                    <a:lnTo>
                      <a:pt x="232" y="365"/>
                    </a:lnTo>
                    <a:lnTo>
                      <a:pt x="232" y="364"/>
                    </a:lnTo>
                    <a:lnTo>
                      <a:pt x="232" y="362"/>
                    </a:lnTo>
                    <a:lnTo>
                      <a:pt x="232" y="364"/>
                    </a:lnTo>
                    <a:lnTo>
                      <a:pt x="232" y="362"/>
                    </a:lnTo>
                    <a:lnTo>
                      <a:pt x="232" y="360"/>
                    </a:lnTo>
                    <a:lnTo>
                      <a:pt x="234" y="360"/>
                    </a:lnTo>
                    <a:lnTo>
                      <a:pt x="236" y="360"/>
                    </a:lnTo>
                    <a:lnTo>
                      <a:pt x="236" y="362"/>
                    </a:lnTo>
                    <a:lnTo>
                      <a:pt x="234" y="362"/>
                    </a:lnTo>
                    <a:lnTo>
                      <a:pt x="236" y="362"/>
                    </a:lnTo>
                    <a:lnTo>
                      <a:pt x="236" y="364"/>
                    </a:lnTo>
                    <a:lnTo>
                      <a:pt x="236" y="362"/>
                    </a:lnTo>
                    <a:lnTo>
                      <a:pt x="236" y="360"/>
                    </a:lnTo>
                    <a:lnTo>
                      <a:pt x="238" y="360"/>
                    </a:lnTo>
                    <a:lnTo>
                      <a:pt x="240" y="360"/>
                    </a:lnTo>
                    <a:close/>
                    <a:moveTo>
                      <a:pt x="156" y="339"/>
                    </a:moveTo>
                    <a:lnTo>
                      <a:pt x="154" y="339"/>
                    </a:lnTo>
                    <a:lnTo>
                      <a:pt x="152" y="340"/>
                    </a:lnTo>
                    <a:lnTo>
                      <a:pt x="154" y="340"/>
                    </a:lnTo>
                    <a:lnTo>
                      <a:pt x="152" y="340"/>
                    </a:lnTo>
                    <a:lnTo>
                      <a:pt x="154" y="340"/>
                    </a:lnTo>
                    <a:lnTo>
                      <a:pt x="154" y="342"/>
                    </a:lnTo>
                    <a:lnTo>
                      <a:pt x="154" y="340"/>
                    </a:lnTo>
                    <a:lnTo>
                      <a:pt x="156" y="340"/>
                    </a:lnTo>
                    <a:lnTo>
                      <a:pt x="154" y="340"/>
                    </a:lnTo>
                    <a:lnTo>
                      <a:pt x="156" y="340"/>
                    </a:lnTo>
                    <a:lnTo>
                      <a:pt x="156" y="339"/>
                    </a:lnTo>
                    <a:lnTo>
                      <a:pt x="156" y="340"/>
                    </a:lnTo>
                    <a:lnTo>
                      <a:pt x="158" y="339"/>
                    </a:lnTo>
                    <a:lnTo>
                      <a:pt x="158" y="340"/>
                    </a:lnTo>
                    <a:lnTo>
                      <a:pt x="156" y="342"/>
                    </a:lnTo>
                    <a:lnTo>
                      <a:pt x="154" y="342"/>
                    </a:lnTo>
                    <a:lnTo>
                      <a:pt x="152" y="340"/>
                    </a:lnTo>
                    <a:lnTo>
                      <a:pt x="150" y="340"/>
                    </a:lnTo>
                    <a:lnTo>
                      <a:pt x="148" y="340"/>
                    </a:lnTo>
                    <a:lnTo>
                      <a:pt x="148" y="339"/>
                    </a:lnTo>
                    <a:lnTo>
                      <a:pt x="146" y="339"/>
                    </a:lnTo>
                    <a:lnTo>
                      <a:pt x="146" y="337"/>
                    </a:lnTo>
                    <a:lnTo>
                      <a:pt x="144" y="335"/>
                    </a:lnTo>
                    <a:lnTo>
                      <a:pt x="142" y="333"/>
                    </a:lnTo>
                    <a:lnTo>
                      <a:pt x="140" y="333"/>
                    </a:lnTo>
                    <a:lnTo>
                      <a:pt x="138" y="333"/>
                    </a:lnTo>
                    <a:lnTo>
                      <a:pt x="138" y="331"/>
                    </a:lnTo>
                    <a:lnTo>
                      <a:pt x="140" y="331"/>
                    </a:lnTo>
                    <a:lnTo>
                      <a:pt x="142" y="331"/>
                    </a:lnTo>
                    <a:lnTo>
                      <a:pt x="142" y="333"/>
                    </a:lnTo>
                    <a:lnTo>
                      <a:pt x="144" y="333"/>
                    </a:lnTo>
                    <a:lnTo>
                      <a:pt x="146" y="335"/>
                    </a:lnTo>
                    <a:lnTo>
                      <a:pt x="148" y="335"/>
                    </a:lnTo>
                    <a:lnTo>
                      <a:pt x="150" y="337"/>
                    </a:lnTo>
                    <a:lnTo>
                      <a:pt x="152" y="337"/>
                    </a:lnTo>
                    <a:lnTo>
                      <a:pt x="152" y="335"/>
                    </a:lnTo>
                    <a:lnTo>
                      <a:pt x="152" y="337"/>
                    </a:lnTo>
                    <a:lnTo>
                      <a:pt x="154" y="337"/>
                    </a:lnTo>
                    <a:lnTo>
                      <a:pt x="156" y="337"/>
                    </a:lnTo>
                    <a:lnTo>
                      <a:pt x="156" y="339"/>
                    </a:lnTo>
                    <a:lnTo>
                      <a:pt x="158" y="339"/>
                    </a:lnTo>
                    <a:lnTo>
                      <a:pt x="156" y="339"/>
                    </a:lnTo>
                    <a:lnTo>
                      <a:pt x="158" y="339"/>
                    </a:lnTo>
                    <a:lnTo>
                      <a:pt x="156" y="339"/>
                    </a:lnTo>
                    <a:lnTo>
                      <a:pt x="156" y="340"/>
                    </a:lnTo>
                    <a:lnTo>
                      <a:pt x="156" y="339"/>
                    </a:lnTo>
                    <a:close/>
                    <a:moveTo>
                      <a:pt x="188" y="346"/>
                    </a:moveTo>
                    <a:lnTo>
                      <a:pt x="186" y="346"/>
                    </a:lnTo>
                    <a:lnTo>
                      <a:pt x="186" y="344"/>
                    </a:lnTo>
                    <a:lnTo>
                      <a:pt x="186" y="346"/>
                    </a:lnTo>
                    <a:lnTo>
                      <a:pt x="186" y="344"/>
                    </a:lnTo>
                    <a:lnTo>
                      <a:pt x="186" y="346"/>
                    </a:lnTo>
                    <a:lnTo>
                      <a:pt x="186" y="344"/>
                    </a:lnTo>
                    <a:lnTo>
                      <a:pt x="186" y="346"/>
                    </a:lnTo>
                    <a:lnTo>
                      <a:pt x="188" y="344"/>
                    </a:lnTo>
                    <a:lnTo>
                      <a:pt x="188" y="346"/>
                    </a:lnTo>
                    <a:close/>
                    <a:moveTo>
                      <a:pt x="229" y="360"/>
                    </a:moveTo>
                    <a:lnTo>
                      <a:pt x="229" y="358"/>
                    </a:lnTo>
                    <a:lnTo>
                      <a:pt x="227" y="358"/>
                    </a:lnTo>
                    <a:lnTo>
                      <a:pt x="227" y="356"/>
                    </a:lnTo>
                    <a:lnTo>
                      <a:pt x="227" y="354"/>
                    </a:lnTo>
                    <a:lnTo>
                      <a:pt x="227" y="356"/>
                    </a:lnTo>
                    <a:lnTo>
                      <a:pt x="229" y="356"/>
                    </a:lnTo>
                    <a:lnTo>
                      <a:pt x="229" y="358"/>
                    </a:lnTo>
                    <a:lnTo>
                      <a:pt x="231" y="358"/>
                    </a:lnTo>
                    <a:lnTo>
                      <a:pt x="231" y="360"/>
                    </a:lnTo>
                    <a:lnTo>
                      <a:pt x="231" y="358"/>
                    </a:lnTo>
                    <a:lnTo>
                      <a:pt x="231" y="360"/>
                    </a:lnTo>
                    <a:lnTo>
                      <a:pt x="231" y="358"/>
                    </a:lnTo>
                    <a:lnTo>
                      <a:pt x="231" y="360"/>
                    </a:lnTo>
                    <a:lnTo>
                      <a:pt x="229" y="360"/>
                    </a:lnTo>
                    <a:close/>
                    <a:moveTo>
                      <a:pt x="209" y="356"/>
                    </a:moveTo>
                    <a:lnTo>
                      <a:pt x="209" y="354"/>
                    </a:lnTo>
                    <a:lnTo>
                      <a:pt x="209" y="356"/>
                    </a:lnTo>
                    <a:lnTo>
                      <a:pt x="207" y="356"/>
                    </a:lnTo>
                    <a:lnTo>
                      <a:pt x="207" y="354"/>
                    </a:lnTo>
                    <a:lnTo>
                      <a:pt x="207" y="352"/>
                    </a:lnTo>
                    <a:lnTo>
                      <a:pt x="207" y="350"/>
                    </a:lnTo>
                    <a:lnTo>
                      <a:pt x="209" y="350"/>
                    </a:lnTo>
                    <a:lnTo>
                      <a:pt x="209" y="352"/>
                    </a:lnTo>
                    <a:lnTo>
                      <a:pt x="209" y="354"/>
                    </a:lnTo>
                    <a:lnTo>
                      <a:pt x="211" y="354"/>
                    </a:lnTo>
                    <a:lnTo>
                      <a:pt x="211" y="356"/>
                    </a:lnTo>
                    <a:lnTo>
                      <a:pt x="209" y="356"/>
                    </a:lnTo>
                    <a:close/>
                    <a:moveTo>
                      <a:pt x="186" y="344"/>
                    </a:moveTo>
                    <a:lnTo>
                      <a:pt x="184" y="344"/>
                    </a:lnTo>
                    <a:lnTo>
                      <a:pt x="186" y="344"/>
                    </a:lnTo>
                    <a:lnTo>
                      <a:pt x="184" y="344"/>
                    </a:lnTo>
                    <a:lnTo>
                      <a:pt x="186" y="344"/>
                    </a:lnTo>
                    <a:close/>
                    <a:moveTo>
                      <a:pt x="186" y="344"/>
                    </a:moveTo>
                    <a:lnTo>
                      <a:pt x="184" y="344"/>
                    </a:lnTo>
                    <a:lnTo>
                      <a:pt x="186" y="342"/>
                    </a:lnTo>
                    <a:lnTo>
                      <a:pt x="186" y="344"/>
                    </a:lnTo>
                    <a:close/>
                    <a:moveTo>
                      <a:pt x="211" y="354"/>
                    </a:moveTo>
                    <a:lnTo>
                      <a:pt x="211" y="356"/>
                    </a:lnTo>
                    <a:lnTo>
                      <a:pt x="211" y="354"/>
                    </a:lnTo>
                    <a:lnTo>
                      <a:pt x="211" y="356"/>
                    </a:lnTo>
                    <a:lnTo>
                      <a:pt x="211" y="354"/>
                    </a:lnTo>
                    <a:lnTo>
                      <a:pt x="209" y="354"/>
                    </a:lnTo>
                    <a:lnTo>
                      <a:pt x="209" y="352"/>
                    </a:lnTo>
                    <a:lnTo>
                      <a:pt x="209" y="354"/>
                    </a:lnTo>
                    <a:lnTo>
                      <a:pt x="211" y="354"/>
                    </a:lnTo>
                    <a:lnTo>
                      <a:pt x="209" y="354"/>
                    </a:lnTo>
                    <a:lnTo>
                      <a:pt x="209" y="352"/>
                    </a:lnTo>
                    <a:lnTo>
                      <a:pt x="209" y="350"/>
                    </a:lnTo>
                    <a:lnTo>
                      <a:pt x="211" y="350"/>
                    </a:lnTo>
                    <a:lnTo>
                      <a:pt x="211" y="352"/>
                    </a:lnTo>
                    <a:lnTo>
                      <a:pt x="211" y="354"/>
                    </a:lnTo>
                    <a:close/>
                    <a:moveTo>
                      <a:pt x="252" y="365"/>
                    </a:moveTo>
                    <a:lnTo>
                      <a:pt x="252" y="367"/>
                    </a:lnTo>
                    <a:lnTo>
                      <a:pt x="252" y="369"/>
                    </a:lnTo>
                    <a:lnTo>
                      <a:pt x="254" y="369"/>
                    </a:lnTo>
                    <a:lnTo>
                      <a:pt x="252" y="369"/>
                    </a:lnTo>
                    <a:lnTo>
                      <a:pt x="252" y="367"/>
                    </a:lnTo>
                    <a:lnTo>
                      <a:pt x="250" y="367"/>
                    </a:lnTo>
                    <a:lnTo>
                      <a:pt x="248" y="365"/>
                    </a:lnTo>
                    <a:lnTo>
                      <a:pt x="246" y="364"/>
                    </a:lnTo>
                    <a:lnTo>
                      <a:pt x="246" y="365"/>
                    </a:lnTo>
                    <a:lnTo>
                      <a:pt x="246" y="364"/>
                    </a:lnTo>
                    <a:lnTo>
                      <a:pt x="244" y="362"/>
                    </a:lnTo>
                    <a:lnTo>
                      <a:pt x="242" y="360"/>
                    </a:lnTo>
                    <a:lnTo>
                      <a:pt x="242" y="358"/>
                    </a:lnTo>
                    <a:lnTo>
                      <a:pt x="244" y="358"/>
                    </a:lnTo>
                    <a:lnTo>
                      <a:pt x="244" y="360"/>
                    </a:lnTo>
                    <a:lnTo>
                      <a:pt x="246" y="360"/>
                    </a:lnTo>
                    <a:lnTo>
                      <a:pt x="246" y="362"/>
                    </a:lnTo>
                    <a:lnTo>
                      <a:pt x="248" y="362"/>
                    </a:lnTo>
                    <a:lnTo>
                      <a:pt x="250" y="364"/>
                    </a:lnTo>
                    <a:lnTo>
                      <a:pt x="252" y="364"/>
                    </a:lnTo>
                    <a:lnTo>
                      <a:pt x="252" y="365"/>
                    </a:lnTo>
                    <a:lnTo>
                      <a:pt x="252" y="367"/>
                    </a:lnTo>
                    <a:lnTo>
                      <a:pt x="252" y="365"/>
                    </a:lnTo>
                    <a:close/>
                    <a:moveTo>
                      <a:pt x="207" y="348"/>
                    </a:moveTo>
                    <a:lnTo>
                      <a:pt x="207" y="350"/>
                    </a:lnTo>
                    <a:lnTo>
                      <a:pt x="207" y="348"/>
                    </a:lnTo>
                    <a:close/>
                    <a:moveTo>
                      <a:pt x="238" y="358"/>
                    </a:moveTo>
                    <a:lnTo>
                      <a:pt x="236" y="358"/>
                    </a:lnTo>
                    <a:lnTo>
                      <a:pt x="238" y="358"/>
                    </a:lnTo>
                    <a:lnTo>
                      <a:pt x="240" y="358"/>
                    </a:lnTo>
                    <a:lnTo>
                      <a:pt x="238" y="358"/>
                    </a:lnTo>
                    <a:lnTo>
                      <a:pt x="240" y="358"/>
                    </a:lnTo>
                    <a:lnTo>
                      <a:pt x="240" y="360"/>
                    </a:lnTo>
                    <a:lnTo>
                      <a:pt x="240" y="358"/>
                    </a:lnTo>
                    <a:lnTo>
                      <a:pt x="240" y="360"/>
                    </a:lnTo>
                    <a:lnTo>
                      <a:pt x="238" y="360"/>
                    </a:lnTo>
                    <a:lnTo>
                      <a:pt x="236" y="360"/>
                    </a:lnTo>
                    <a:lnTo>
                      <a:pt x="234" y="358"/>
                    </a:lnTo>
                    <a:lnTo>
                      <a:pt x="232" y="358"/>
                    </a:lnTo>
                    <a:lnTo>
                      <a:pt x="234" y="358"/>
                    </a:lnTo>
                    <a:lnTo>
                      <a:pt x="232" y="358"/>
                    </a:lnTo>
                    <a:lnTo>
                      <a:pt x="231" y="356"/>
                    </a:lnTo>
                    <a:lnTo>
                      <a:pt x="231" y="354"/>
                    </a:lnTo>
                    <a:lnTo>
                      <a:pt x="232" y="354"/>
                    </a:lnTo>
                    <a:lnTo>
                      <a:pt x="232" y="356"/>
                    </a:lnTo>
                    <a:lnTo>
                      <a:pt x="234" y="356"/>
                    </a:lnTo>
                    <a:lnTo>
                      <a:pt x="234" y="354"/>
                    </a:lnTo>
                    <a:lnTo>
                      <a:pt x="234" y="356"/>
                    </a:lnTo>
                    <a:lnTo>
                      <a:pt x="236" y="356"/>
                    </a:lnTo>
                    <a:lnTo>
                      <a:pt x="238" y="356"/>
                    </a:lnTo>
                    <a:lnTo>
                      <a:pt x="240" y="356"/>
                    </a:lnTo>
                    <a:lnTo>
                      <a:pt x="240" y="358"/>
                    </a:lnTo>
                    <a:lnTo>
                      <a:pt x="238" y="358"/>
                    </a:lnTo>
                    <a:lnTo>
                      <a:pt x="238" y="356"/>
                    </a:lnTo>
                    <a:lnTo>
                      <a:pt x="238" y="358"/>
                    </a:lnTo>
                    <a:close/>
                    <a:moveTo>
                      <a:pt x="211" y="350"/>
                    </a:moveTo>
                    <a:lnTo>
                      <a:pt x="211" y="348"/>
                    </a:lnTo>
                    <a:lnTo>
                      <a:pt x="213" y="348"/>
                    </a:lnTo>
                    <a:lnTo>
                      <a:pt x="213" y="350"/>
                    </a:lnTo>
                    <a:lnTo>
                      <a:pt x="213" y="352"/>
                    </a:lnTo>
                    <a:lnTo>
                      <a:pt x="211" y="350"/>
                    </a:lnTo>
                    <a:close/>
                    <a:moveTo>
                      <a:pt x="227" y="360"/>
                    </a:moveTo>
                    <a:lnTo>
                      <a:pt x="227" y="358"/>
                    </a:lnTo>
                    <a:lnTo>
                      <a:pt x="227" y="360"/>
                    </a:lnTo>
                    <a:lnTo>
                      <a:pt x="225" y="360"/>
                    </a:lnTo>
                    <a:lnTo>
                      <a:pt x="225" y="358"/>
                    </a:lnTo>
                    <a:lnTo>
                      <a:pt x="223" y="358"/>
                    </a:lnTo>
                    <a:lnTo>
                      <a:pt x="223" y="356"/>
                    </a:lnTo>
                    <a:lnTo>
                      <a:pt x="223" y="354"/>
                    </a:lnTo>
                    <a:lnTo>
                      <a:pt x="223" y="356"/>
                    </a:lnTo>
                    <a:lnTo>
                      <a:pt x="223" y="358"/>
                    </a:lnTo>
                    <a:lnTo>
                      <a:pt x="225" y="358"/>
                    </a:lnTo>
                    <a:lnTo>
                      <a:pt x="225" y="360"/>
                    </a:lnTo>
                    <a:lnTo>
                      <a:pt x="225" y="358"/>
                    </a:lnTo>
                    <a:lnTo>
                      <a:pt x="225" y="360"/>
                    </a:lnTo>
                    <a:lnTo>
                      <a:pt x="227" y="360"/>
                    </a:lnTo>
                    <a:lnTo>
                      <a:pt x="225" y="360"/>
                    </a:lnTo>
                    <a:lnTo>
                      <a:pt x="225" y="362"/>
                    </a:lnTo>
                    <a:lnTo>
                      <a:pt x="227" y="362"/>
                    </a:lnTo>
                    <a:lnTo>
                      <a:pt x="225" y="362"/>
                    </a:lnTo>
                    <a:lnTo>
                      <a:pt x="225" y="360"/>
                    </a:lnTo>
                    <a:lnTo>
                      <a:pt x="223" y="360"/>
                    </a:lnTo>
                    <a:lnTo>
                      <a:pt x="223" y="358"/>
                    </a:lnTo>
                    <a:lnTo>
                      <a:pt x="221" y="358"/>
                    </a:lnTo>
                    <a:lnTo>
                      <a:pt x="219" y="358"/>
                    </a:lnTo>
                    <a:lnTo>
                      <a:pt x="219" y="356"/>
                    </a:lnTo>
                    <a:lnTo>
                      <a:pt x="219" y="354"/>
                    </a:lnTo>
                    <a:lnTo>
                      <a:pt x="217" y="354"/>
                    </a:lnTo>
                    <a:lnTo>
                      <a:pt x="217" y="352"/>
                    </a:lnTo>
                    <a:lnTo>
                      <a:pt x="215" y="352"/>
                    </a:lnTo>
                    <a:lnTo>
                      <a:pt x="215" y="350"/>
                    </a:lnTo>
                    <a:lnTo>
                      <a:pt x="217" y="348"/>
                    </a:lnTo>
                    <a:lnTo>
                      <a:pt x="217" y="350"/>
                    </a:lnTo>
                    <a:lnTo>
                      <a:pt x="219" y="350"/>
                    </a:lnTo>
                    <a:lnTo>
                      <a:pt x="221" y="350"/>
                    </a:lnTo>
                    <a:lnTo>
                      <a:pt x="221" y="352"/>
                    </a:lnTo>
                    <a:lnTo>
                      <a:pt x="221" y="350"/>
                    </a:lnTo>
                    <a:lnTo>
                      <a:pt x="223" y="352"/>
                    </a:lnTo>
                    <a:lnTo>
                      <a:pt x="223" y="354"/>
                    </a:lnTo>
                    <a:lnTo>
                      <a:pt x="225" y="354"/>
                    </a:lnTo>
                    <a:lnTo>
                      <a:pt x="225" y="356"/>
                    </a:lnTo>
                    <a:lnTo>
                      <a:pt x="227" y="356"/>
                    </a:lnTo>
                    <a:lnTo>
                      <a:pt x="227" y="358"/>
                    </a:lnTo>
                    <a:lnTo>
                      <a:pt x="227" y="360"/>
                    </a:lnTo>
                    <a:close/>
                    <a:moveTo>
                      <a:pt x="223" y="356"/>
                    </a:moveTo>
                    <a:lnTo>
                      <a:pt x="223" y="354"/>
                    </a:lnTo>
                    <a:lnTo>
                      <a:pt x="221" y="354"/>
                    </a:lnTo>
                    <a:lnTo>
                      <a:pt x="221" y="356"/>
                    </a:lnTo>
                    <a:lnTo>
                      <a:pt x="223" y="356"/>
                    </a:lnTo>
                    <a:close/>
                    <a:moveTo>
                      <a:pt x="225" y="362"/>
                    </a:moveTo>
                    <a:lnTo>
                      <a:pt x="225" y="364"/>
                    </a:lnTo>
                    <a:lnTo>
                      <a:pt x="223" y="364"/>
                    </a:lnTo>
                    <a:lnTo>
                      <a:pt x="225" y="364"/>
                    </a:lnTo>
                    <a:lnTo>
                      <a:pt x="223" y="364"/>
                    </a:lnTo>
                    <a:lnTo>
                      <a:pt x="221" y="364"/>
                    </a:lnTo>
                    <a:lnTo>
                      <a:pt x="221" y="362"/>
                    </a:lnTo>
                    <a:lnTo>
                      <a:pt x="219" y="362"/>
                    </a:lnTo>
                    <a:lnTo>
                      <a:pt x="219" y="360"/>
                    </a:lnTo>
                    <a:lnTo>
                      <a:pt x="217" y="360"/>
                    </a:lnTo>
                    <a:lnTo>
                      <a:pt x="215" y="360"/>
                    </a:lnTo>
                    <a:lnTo>
                      <a:pt x="215" y="358"/>
                    </a:lnTo>
                    <a:lnTo>
                      <a:pt x="215" y="356"/>
                    </a:lnTo>
                    <a:lnTo>
                      <a:pt x="213" y="356"/>
                    </a:lnTo>
                    <a:lnTo>
                      <a:pt x="215" y="354"/>
                    </a:lnTo>
                    <a:lnTo>
                      <a:pt x="213" y="354"/>
                    </a:lnTo>
                    <a:lnTo>
                      <a:pt x="215" y="354"/>
                    </a:lnTo>
                    <a:lnTo>
                      <a:pt x="215" y="352"/>
                    </a:lnTo>
                    <a:lnTo>
                      <a:pt x="213" y="350"/>
                    </a:lnTo>
                    <a:lnTo>
                      <a:pt x="213" y="348"/>
                    </a:lnTo>
                    <a:lnTo>
                      <a:pt x="215" y="348"/>
                    </a:lnTo>
                    <a:lnTo>
                      <a:pt x="215" y="346"/>
                    </a:lnTo>
                    <a:lnTo>
                      <a:pt x="215" y="348"/>
                    </a:lnTo>
                    <a:lnTo>
                      <a:pt x="215" y="350"/>
                    </a:lnTo>
                    <a:lnTo>
                      <a:pt x="215" y="352"/>
                    </a:lnTo>
                    <a:lnTo>
                      <a:pt x="217" y="352"/>
                    </a:lnTo>
                    <a:lnTo>
                      <a:pt x="217" y="354"/>
                    </a:lnTo>
                    <a:lnTo>
                      <a:pt x="219" y="354"/>
                    </a:lnTo>
                    <a:lnTo>
                      <a:pt x="219" y="356"/>
                    </a:lnTo>
                    <a:lnTo>
                      <a:pt x="219" y="358"/>
                    </a:lnTo>
                    <a:lnTo>
                      <a:pt x="221" y="358"/>
                    </a:lnTo>
                    <a:lnTo>
                      <a:pt x="223" y="358"/>
                    </a:lnTo>
                    <a:lnTo>
                      <a:pt x="223" y="360"/>
                    </a:lnTo>
                    <a:lnTo>
                      <a:pt x="225" y="362"/>
                    </a:lnTo>
                    <a:close/>
                    <a:moveTo>
                      <a:pt x="217" y="348"/>
                    </a:moveTo>
                    <a:lnTo>
                      <a:pt x="219" y="348"/>
                    </a:lnTo>
                    <a:lnTo>
                      <a:pt x="217" y="348"/>
                    </a:lnTo>
                    <a:lnTo>
                      <a:pt x="217" y="346"/>
                    </a:lnTo>
                    <a:lnTo>
                      <a:pt x="217" y="348"/>
                    </a:lnTo>
                    <a:lnTo>
                      <a:pt x="219" y="348"/>
                    </a:lnTo>
                    <a:lnTo>
                      <a:pt x="221" y="348"/>
                    </a:lnTo>
                    <a:lnTo>
                      <a:pt x="219" y="348"/>
                    </a:lnTo>
                    <a:lnTo>
                      <a:pt x="219" y="350"/>
                    </a:lnTo>
                    <a:lnTo>
                      <a:pt x="217" y="348"/>
                    </a:lnTo>
                    <a:close/>
                    <a:moveTo>
                      <a:pt x="215" y="346"/>
                    </a:moveTo>
                    <a:lnTo>
                      <a:pt x="215" y="348"/>
                    </a:lnTo>
                    <a:lnTo>
                      <a:pt x="213" y="348"/>
                    </a:lnTo>
                    <a:lnTo>
                      <a:pt x="211" y="348"/>
                    </a:lnTo>
                    <a:lnTo>
                      <a:pt x="211" y="346"/>
                    </a:lnTo>
                    <a:lnTo>
                      <a:pt x="209" y="346"/>
                    </a:lnTo>
                    <a:lnTo>
                      <a:pt x="211" y="346"/>
                    </a:lnTo>
                    <a:lnTo>
                      <a:pt x="209" y="346"/>
                    </a:lnTo>
                    <a:lnTo>
                      <a:pt x="211" y="344"/>
                    </a:lnTo>
                    <a:lnTo>
                      <a:pt x="211" y="346"/>
                    </a:lnTo>
                    <a:lnTo>
                      <a:pt x="213" y="346"/>
                    </a:lnTo>
                    <a:lnTo>
                      <a:pt x="213" y="344"/>
                    </a:lnTo>
                    <a:lnTo>
                      <a:pt x="215" y="346"/>
                    </a:lnTo>
                    <a:close/>
                    <a:moveTo>
                      <a:pt x="192" y="342"/>
                    </a:moveTo>
                    <a:lnTo>
                      <a:pt x="190" y="342"/>
                    </a:lnTo>
                    <a:lnTo>
                      <a:pt x="188" y="342"/>
                    </a:lnTo>
                    <a:lnTo>
                      <a:pt x="188" y="340"/>
                    </a:lnTo>
                    <a:lnTo>
                      <a:pt x="188" y="342"/>
                    </a:lnTo>
                    <a:lnTo>
                      <a:pt x="188" y="340"/>
                    </a:lnTo>
                    <a:lnTo>
                      <a:pt x="186" y="340"/>
                    </a:lnTo>
                    <a:lnTo>
                      <a:pt x="186" y="342"/>
                    </a:lnTo>
                    <a:lnTo>
                      <a:pt x="188" y="342"/>
                    </a:lnTo>
                    <a:lnTo>
                      <a:pt x="186" y="342"/>
                    </a:lnTo>
                    <a:lnTo>
                      <a:pt x="188" y="342"/>
                    </a:lnTo>
                    <a:lnTo>
                      <a:pt x="188" y="344"/>
                    </a:lnTo>
                    <a:lnTo>
                      <a:pt x="186" y="344"/>
                    </a:lnTo>
                    <a:lnTo>
                      <a:pt x="188" y="344"/>
                    </a:lnTo>
                    <a:lnTo>
                      <a:pt x="186" y="344"/>
                    </a:lnTo>
                    <a:lnTo>
                      <a:pt x="186" y="342"/>
                    </a:lnTo>
                    <a:lnTo>
                      <a:pt x="184" y="342"/>
                    </a:lnTo>
                    <a:lnTo>
                      <a:pt x="186" y="342"/>
                    </a:lnTo>
                    <a:lnTo>
                      <a:pt x="184" y="342"/>
                    </a:lnTo>
                    <a:lnTo>
                      <a:pt x="184" y="340"/>
                    </a:lnTo>
                    <a:lnTo>
                      <a:pt x="184" y="342"/>
                    </a:lnTo>
                    <a:lnTo>
                      <a:pt x="184" y="340"/>
                    </a:lnTo>
                    <a:lnTo>
                      <a:pt x="184" y="342"/>
                    </a:lnTo>
                    <a:lnTo>
                      <a:pt x="182" y="342"/>
                    </a:lnTo>
                    <a:lnTo>
                      <a:pt x="182" y="340"/>
                    </a:lnTo>
                    <a:lnTo>
                      <a:pt x="184" y="340"/>
                    </a:lnTo>
                    <a:lnTo>
                      <a:pt x="182" y="340"/>
                    </a:lnTo>
                    <a:lnTo>
                      <a:pt x="181" y="340"/>
                    </a:lnTo>
                    <a:lnTo>
                      <a:pt x="179" y="340"/>
                    </a:lnTo>
                    <a:lnTo>
                      <a:pt x="179" y="342"/>
                    </a:lnTo>
                    <a:lnTo>
                      <a:pt x="179" y="340"/>
                    </a:lnTo>
                    <a:lnTo>
                      <a:pt x="179" y="342"/>
                    </a:lnTo>
                    <a:lnTo>
                      <a:pt x="181" y="342"/>
                    </a:lnTo>
                    <a:lnTo>
                      <a:pt x="179" y="342"/>
                    </a:lnTo>
                    <a:lnTo>
                      <a:pt x="181" y="342"/>
                    </a:lnTo>
                    <a:lnTo>
                      <a:pt x="182" y="342"/>
                    </a:lnTo>
                    <a:lnTo>
                      <a:pt x="182" y="344"/>
                    </a:lnTo>
                    <a:lnTo>
                      <a:pt x="182" y="342"/>
                    </a:lnTo>
                    <a:lnTo>
                      <a:pt x="184" y="342"/>
                    </a:lnTo>
                    <a:lnTo>
                      <a:pt x="184" y="344"/>
                    </a:lnTo>
                    <a:lnTo>
                      <a:pt x="184" y="342"/>
                    </a:lnTo>
                    <a:lnTo>
                      <a:pt x="184" y="344"/>
                    </a:lnTo>
                    <a:lnTo>
                      <a:pt x="182" y="344"/>
                    </a:lnTo>
                    <a:lnTo>
                      <a:pt x="184" y="344"/>
                    </a:lnTo>
                    <a:lnTo>
                      <a:pt x="182" y="344"/>
                    </a:lnTo>
                    <a:lnTo>
                      <a:pt x="182" y="346"/>
                    </a:lnTo>
                    <a:lnTo>
                      <a:pt x="182" y="344"/>
                    </a:lnTo>
                    <a:lnTo>
                      <a:pt x="182" y="346"/>
                    </a:lnTo>
                    <a:lnTo>
                      <a:pt x="184" y="346"/>
                    </a:lnTo>
                    <a:lnTo>
                      <a:pt x="186" y="346"/>
                    </a:lnTo>
                    <a:lnTo>
                      <a:pt x="188" y="346"/>
                    </a:lnTo>
                    <a:lnTo>
                      <a:pt x="186" y="346"/>
                    </a:lnTo>
                    <a:lnTo>
                      <a:pt x="188" y="346"/>
                    </a:lnTo>
                    <a:lnTo>
                      <a:pt x="186" y="346"/>
                    </a:lnTo>
                    <a:lnTo>
                      <a:pt x="184" y="346"/>
                    </a:lnTo>
                    <a:lnTo>
                      <a:pt x="184" y="348"/>
                    </a:lnTo>
                    <a:lnTo>
                      <a:pt x="184" y="346"/>
                    </a:lnTo>
                    <a:lnTo>
                      <a:pt x="184" y="348"/>
                    </a:lnTo>
                    <a:lnTo>
                      <a:pt x="184" y="346"/>
                    </a:lnTo>
                    <a:lnTo>
                      <a:pt x="184" y="348"/>
                    </a:lnTo>
                    <a:lnTo>
                      <a:pt x="184" y="346"/>
                    </a:lnTo>
                    <a:lnTo>
                      <a:pt x="182" y="346"/>
                    </a:lnTo>
                    <a:lnTo>
                      <a:pt x="181" y="346"/>
                    </a:lnTo>
                    <a:lnTo>
                      <a:pt x="179" y="346"/>
                    </a:lnTo>
                    <a:lnTo>
                      <a:pt x="177" y="346"/>
                    </a:lnTo>
                    <a:lnTo>
                      <a:pt x="177" y="344"/>
                    </a:lnTo>
                    <a:lnTo>
                      <a:pt x="175" y="344"/>
                    </a:lnTo>
                    <a:lnTo>
                      <a:pt x="177" y="344"/>
                    </a:lnTo>
                    <a:lnTo>
                      <a:pt x="175" y="344"/>
                    </a:lnTo>
                    <a:lnTo>
                      <a:pt x="177" y="344"/>
                    </a:lnTo>
                    <a:lnTo>
                      <a:pt x="175" y="344"/>
                    </a:lnTo>
                    <a:lnTo>
                      <a:pt x="177" y="344"/>
                    </a:lnTo>
                    <a:lnTo>
                      <a:pt x="177" y="346"/>
                    </a:lnTo>
                    <a:lnTo>
                      <a:pt x="179" y="346"/>
                    </a:lnTo>
                    <a:lnTo>
                      <a:pt x="181" y="346"/>
                    </a:lnTo>
                    <a:lnTo>
                      <a:pt x="182" y="346"/>
                    </a:lnTo>
                    <a:lnTo>
                      <a:pt x="184" y="348"/>
                    </a:lnTo>
                    <a:lnTo>
                      <a:pt x="184" y="346"/>
                    </a:lnTo>
                    <a:lnTo>
                      <a:pt x="184" y="348"/>
                    </a:lnTo>
                    <a:lnTo>
                      <a:pt x="182" y="348"/>
                    </a:lnTo>
                    <a:lnTo>
                      <a:pt x="181" y="348"/>
                    </a:lnTo>
                    <a:lnTo>
                      <a:pt x="181" y="350"/>
                    </a:lnTo>
                    <a:lnTo>
                      <a:pt x="181" y="348"/>
                    </a:lnTo>
                    <a:lnTo>
                      <a:pt x="181" y="350"/>
                    </a:lnTo>
                    <a:lnTo>
                      <a:pt x="179" y="350"/>
                    </a:lnTo>
                    <a:lnTo>
                      <a:pt x="181" y="350"/>
                    </a:lnTo>
                    <a:lnTo>
                      <a:pt x="181" y="348"/>
                    </a:lnTo>
                    <a:lnTo>
                      <a:pt x="181" y="350"/>
                    </a:lnTo>
                    <a:lnTo>
                      <a:pt x="181" y="348"/>
                    </a:lnTo>
                    <a:lnTo>
                      <a:pt x="182" y="348"/>
                    </a:lnTo>
                    <a:lnTo>
                      <a:pt x="182" y="350"/>
                    </a:lnTo>
                    <a:lnTo>
                      <a:pt x="182" y="348"/>
                    </a:lnTo>
                    <a:lnTo>
                      <a:pt x="184" y="348"/>
                    </a:lnTo>
                    <a:lnTo>
                      <a:pt x="186" y="348"/>
                    </a:lnTo>
                    <a:lnTo>
                      <a:pt x="186" y="346"/>
                    </a:lnTo>
                    <a:lnTo>
                      <a:pt x="186" y="348"/>
                    </a:lnTo>
                    <a:lnTo>
                      <a:pt x="186" y="346"/>
                    </a:lnTo>
                    <a:lnTo>
                      <a:pt x="186" y="348"/>
                    </a:lnTo>
                    <a:lnTo>
                      <a:pt x="186" y="346"/>
                    </a:lnTo>
                    <a:lnTo>
                      <a:pt x="186" y="348"/>
                    </a:lnTo>
                    <a:lnTo>
                      <a:pt x="186" y="346"/>
                    </a:lnTo>
                    <a:lnTo>
                      <a:pt x="188" y="346"/>
                    </a:lnTo>
                    <a:lnTo>
                      <a:pt x="190" y="346"/>
                    </a:lnTo>
                    <a:lnTo>
                      <a:pt x="190" y="344"/>
                    </a:lnTo>
                    <a:lnTo>
                      <a:pt x="190" y="346"/>
                    </a:lnTo>
                    <a:lnTo>
                      <a:pt x="190" y="344"/>
                    </a:lnTo>
                    <a:lnTo>
                      <a:pt x="190" y="346"/>
                    </a:lnTo>
                    <a:lnTo>
                      <a:pt x="190" y="344"/>
                    </a:lnTo>
                    <a:lnTo>
                      <a:pt x="192" y="344"/>
                    </a:lnTo>
                    <a:lnTo>
                      <a:pt x="194" y="344"/>
                    </a:lnTo>
                    <a:lnTo>
                      <a:pt x="192" y="344"/>
                    </a:lnTo>
                    <a:lnTo>
                      <a:pt x="192" y="346"/>
                    </a:lnTo>
                    <a:lnTo>
                      <a:pt x="190" y="346"/>
                    </a:lnTo>
                    <a:lnTo>
                      <a:pt x="188" y="348"/>
                    </a:lnTo>
                    <a:lnTo>
                      <a:pt x="188" y="350"/>
                    </a:lnTo>
                    <a:lnTo>
                      <a:pt x="186" y="350"/>
                    </a:lnTo>
                    <a:lnTo>
                      <a:pt x="184" y="350"/>
                    </a:lnTo>
                    <a:lnTo>
                      <a:pt x="184" y="352"/>
                    </a:lnTo>
                    <a:lnTo>
                      <a:pt x="182" y="352"/>
                    </a:lnTo>
                    <a:lnTo>
                      <a:pt x="181" y="352"/>
                    </a:lnTo>
                    <a:lnTo>
                      <a:pt x="179" y="352"/>
                    </a:lnTo>
                    <a:lnTo>
                      <a:pt x="177" y="352"/>
                    </a:lnTo>
                    <a:lnTo>
                      <a:pt x="173" y="352"/>
                    </a:lnTo>
                    <a:lnTo>
                      <a:pt x="173" y="350"/>
                    </a:lnTo>
                    <a:lnTo>
                      <a:pt x="173" y="348"/>
                    </a:lnTo>
                    <a:lnTo>
                      <a:pt x="171" y="348"/>
                    </a:lnTo>
                    <a:lnTo>
                      <a:pt x="171" y="346"/>
                    </a:lnTo>
                    <a:lnTo>
                      <a:pt x="169" y="346"/>
                    </a:lnTo>
                    <a:lnTo>
                      <a:pt x="167" y="344"/>
                    </a:lnTo>
                    <a:lnTo>
                      <a:pt x="165" y="344"/>
                    </a:lnTo>
                    <a:lnTo>
                      <a:pt x="165" y="342"/>
                    </a:lnTo>
                    <a:lnTo>
                      <a:pt x="165" y="340"/>
                    </a:lnTo>
                    <a:lnTo>
                      <a:pt x="163" y="340"/>
                    </a:lnTo>
                    <a:lnTo>
                      <a:pt x="163" y="339"/>
                    </a:lnTo>
                    <a:lnTo>
                      <a:pt x="165" y="339"/>
                    </a:lnTo>
                    <a:lnTo>
                      <a:pt x="163" y="339"/>
                    </a:lnTo>
                    <a:lnTo>
                      <a:pt x="165" y="339"/>
                    </a:lnTo>
                    <a:lnTo>
                      <a:pt x="165" y="337"/>
                    </a:lnTo>
                    <a:lnTo>
                      <a:pt x="167" y="337"/>
                    </a:lnTo>
                    <a:lnTo>
                      <a:pt x="167" y="335"/>
                    </a:lnTo>
                    <a:lnTo>
                      <a:pt x="169" y="335"/>
                    </a:lnTo>
                    <a:lnTo>
                      <a:pt x="171" y="335"/>
                    </a:lnTo>
                    <a:lnTo>
                      <a:pt x="173" y="337"/>
                    </a:lnTo>
                    <a:lnTo>
                      <a:pt x="175" y="337"/>
                    </a:lnTo>
                    <a:lnTo>
                      <a:pt x="173" y="337"/>
                    </a:lnTo>
                    <a:lnTo>
                      <a:pt x="175" y="337"/>
                    </a:lnTo>
                    <a:lnTo>
                      <a:pt x="177" y="339"/>
                    </a:lnTo>
                    <a:lnTo>
                      <a:pt x="179" y="337"/>
                    </a:lnTo>
                    <a:lnTo>
                      <a:pt x="181" y="337"/>
                    </a:lnTo>
                    <a:lnTo>
                      <a:pt x="182" y="337"/>
                    </a:lnTo>
                    <a:lnTo>
                      <a:pt x="184" y="337"/>
                    </a:lnTo>
                    <a:lnTo>
                      <a:pt x="182" y="337"/>
                    </a:lnTo>
                    <a:lnTo>
                      <a:pt x="184" y="339"/>
                    </a:lnTo>
                    <a:lnTo>
                      <a:pt x="186" y="339"/>
                    </a:lnTo>
                    <a:lnTo>
                      <a:pt x="188" y="340"/>
                    </a:lnTo>
                    <a:lnTo>
                      <a:pt x="190" y="340"/>
                    </a:lnTo>
                    <a:lnTo>
                      <a:pt x="192" y="340"/>
                    </a:lnTo>
                    <a:lnTo>
                      <a:pt x="192" y="342"/>
                    </a:lnTo>
                    <a:close/>
                    <a:moveTo>
                      <a:pt x="167" y="337"/>
                    </a:moveTo>
                    <a:lnTo>
                      <a:pt x="165" y="337"/>
                    </a:lnTo>
                    <a:lnTo>
                      <a:pt x="167" y="337"/>
                    </a:lnTo>
                    <a:close/>
                    <a:moveTo>
                      <a:pt x="177" y="342"/>
                    </a:moveTo>
                    <a:lnTo>
                      <a:pt x="177" y="340"/>
                    </a:lnTo>
                    <a:lnTo>
                      <a:pt x="177" y="342"/>
                    </a:lnTo>
                    <a:close/>
                    <a:moveTo>
                      <a:pt x="177" y="342"/>
                    </a:moveTo>
                    <a:lnTo>
                      <a:pt x="179" y="342"/>
                    </a:lnTo>
                    <a:lnTo>
                      <a:pt x="177" y="342"/>
                    </a:lnTo>
                    <a:close/>
                    <a:moveTo>
                      <a:pt x="182" y="344"/>
                    </a:moveTo>
                    <a:lnTo>
                      <a:pt x="181" y="344"/>
                    </a:lnTo>
                    <a:lnTo>
                      <a:pt x="182" y="344"/>
                    </a:lnTo>
                    <a:close/>
                    <a:moveTo>
                      <a:pt x="181" y="344"/>
                    </a:moveTo>
                    <a:lnTo>
                      <a:pt x="181" y="346"/>
                    </a:lnTo>
                    <a:lnTo>
                      <a:pt x="182" y="346"/>
                    </a:lnTo>
                    <a:lnTo>
                      <a:pt x="181" y="346"/>
                    </a:lnTo>
                    <a:lnTo>
                      <a:pt x="181" y="344"/>
                    </a:lnTo>
                    <a:close/>
                    <a:moveTo>
                      <a:pt x="223" y="348"/>
                    </a:moveTo>
                    <a:lnTo>
                      <a:pt x="225" y="348"/>
                    </a:lnTo>
                    <a:lnTo>
                      <a:pt x="223" y="348"/>
                    </a:lnTo>
                    <a:lnTo>
                      <a:pt x="221" y="348"/>
                    </a:lnTo>
                    <a:lnTo>
                      <a:pt x="223" y="348"/>
                    </a:lnTo>
                    <a:lnTo>
                      <a:pt x="221" y="348"/>
                    </a:lnTo>
                    <a:lnTo>
                      <a:pt x="221" y="346"/>
                    </a:lnTo>
                    <a:lnTo>
                      <a:pt x="223" y="346"/>
                    </a:lnTo>
                    <a:lnTo>
                      <a:pt x="225" y="348"/>
                    </a:lnTo>
                    <a:lnTo>
                      <a:pt x="223" y="348"/>
                    </a:lnTo>
                    <a:close/>
                    <a:moveTo>
                      <a:pt x="225" y="348"/>
                    </a:moveTo>
                    <a:lnTo>
                      <a:pt x="225" y="346"/>
                    </a:lnTo>
                    <a:lnTo>
                      <a:pt x="227" y="346"/>
                    </a:lnTo>
                    <a:lnTo>
                      <a:pt x="227" y="348"/>
                    </a:lnTo>
                    <a:lnTo>
                      <a:pt x="225" y="348"/>
                    </a:lnTo>
                    <a:close/>
                    <a:moveTo>
                      <a:pt x="425" y="398"/>
                    </a:moveTo>
                    <a:lnTo>
                      <a:pt x="423" y="398"/>
                    </a:lnTo>
                    <a:lnTo>
                      <a:pt x="423" y="400"/>
                    </a:lnTo>
                    <a:lnTo>
                      <a:pt x="423" y="398"/>
                    </a:lnTo>
                    <a:lnTo>
                      <a:pt x="423" y="396"/>
                    </a:lnTo>
                    <a:lnTo>
                      <a:pt x="423" y="394"/>
                    </a:lnTo>
                    <a:lnTo>
                      <a:pt x="423" y="392"/>
                    </a:lnTo>
                    <a:lnTo>
                      <a:pt x="421" y="392"/>
                    </a:lnTo>
                    <a:lnTo>
                      <a:pt x="423" y="392"/>
                    </a:lnTo>
                    <a:lnTo>
                      <a:pt x="423" y="390"/>
                    </a:lnTo>
                    <a:lnTo>
                      <a:pt x="425" y="389"/>
                    </a:lnTo>
                    <a:lnTo>
                      <a:pt x="425" y="390"/>
                    </a:lnTo>
                    <a:lnTo>
                      <a:pt x="423" y="390"/>
                    </a:lnTo>
                    <a:lnTo>
                      <a:pt x="425" y="390"/>
                    </a:lnTo>
                    <a:lnTo>
                      <a:pt x="425" y="392"/>
                    </a:lnTo>
                    <a:lnTo>
                      <a:pt x="426" y="392"/>
                    </a:lnTo>
                    <a:lnTo>
                      <a:pt x="425" y="392"/>
                    </a:lnTo>
                    <a:lnTo>
                      <a:pt x="426" y="394"/>
                    </a:lnTo>
                    <a:lnTo>
                      <a:pt x="425" y="394"/>
                    </a:lnTo>
                    <a:lnTo>
                      <a:pt x="425" y="396"/>
                    </a:lnTo>
                    <a:lnTo>
                      <a:pt x="425" y="398"/>
                    </a:lnTo>
                    <a:lnTo>
                      <a:pt x="425" y="396"/>
                    </a:lnTo>
                    <a:lnTo>
                      <a:pt x="425" y="398"/>
                    </a:lnTo>
                    <a:close/>
                    <a:moveTo>
                      <a:pt x="200" y="340"/>
                    </a:moveTo>
                    <a:lnTo>
                      <a:pt x="202" y="340"/>
                    </a:lnTo>
                    <a:lnTo>
                      <a:pt x="202" y="339"/>
                    </a:lnTo>
                    <a:lnTo>
                      <a:pt x="204" y="339"/>
                    </a:lnTo>
                    <a:lnTo>
                      <a:pt x="206" y="339"/>
                    </a:lnTo>
                    <a:lnTo>
                      <a:pt x="207" y="339"/>
                    </a:lnTo>
                    <a:lnTo>
                      <a:pt x="206" y="339"/>
                    </a:lnTo>
                    <a:lnTo>
                      <a:pt x="207" y="339"/>
                    </a:lnTo>
                    <a:lnTo>
                      <a:pt x="206" y="339"/>
                    </a:lnTo>
                    <a:lnTo>
                      <a:pt x="206" y="340"/>
                    </a:lnTo>
                    <a:lnTo>
                      <a:pt x="204" y="340"/>
                    </a:lnTo>
                    <a:lnTo>
                      <a:pt x="206" y="340"/>
                    </a:lnTo>
                    <a:lnTo>
                      <a:pt x="206" y="342"/>
                    </a:lnTo>
                    <a:lnTo>
                      <a:pt x="204" y="342"/>
                    </a:lnTo>
                    <a:lnTo>
                      <a:pt x="202" y="342"/>
                    </a:lnTo>
                    <a:lnTo>
                      <a:pt x="200" y="342"/>
                    </a:lnTo>
                    <a:lnTo>
                      <a:pt x="200" y="340"/>
                    </a:lnTo>
                    <a:lnTo>
                      <a:pt x="198" y="340"/>
                    </a:lnTo>
                    <a:lnTo>
                      <a:pt x="200" y="340"/>
                    </a:lnTo>
                    <a:close/>
                    <a:moveTo>
                      <a:pt x="207" y="337"/>
                    </a:moveTo>
                    <a:lnTo>
                      <a:pt x="207" y="339"/>
                    </a:lnTo>
                    <a:lnTo>
                      <a:pt x="207" y="337"/>
                    </a:lnTo>
                    <a:close/>
                    <a:moveTo>
                      <a:pt x="265" y="350"/>
                    </a:moveTo>
                    <a:lnTo>
                      <a:pt x="263" y="350"/>
                    </a:lnTo>
                    <a:lnTo>
                      <a:pt x="263" y="352"/>
                    </a:lnTo>
                    <a:lnTo>
                      <a:pt x="263" y="350"/>
                    </a:lnTo>
                    <a:lnTo>
                      <a:pt x="265" y="350"/>
                    </a:lnTo>
                    <a:lnTo>
                      <a:pt x="265" y="352"/>
                    </a:lnTo>
                    <a:lnTo>
                      <a:pt x="263" y="352"/>
                    </a:lnTo>
                    <a:lnTo>
                      <a:pt x="261" y="352"/>
                    </a:lnTo>
                    <a:lnTo>
                      <a:pt x="259" y="352"/>
                    </a:lnTo>
                    <a:lnTo>
                      <a:pt x="261" y="352"/>
                    </a:lnTo>
                    <a:lnTo>
                      <a:pt x="263" y="350"/>
                    </a:lnTo>
                    <a:lnTo>
                      <a:pt x="265" y="350"/>
                    </a:lnTo>
                    <a:lnTo>
                      <a:pt x="263" y="350"/>
                    </a:lnTo>
                    <a:lnTo>
                      <a:pt x="265" y="350"/>
                    </a:lnTo>
                    <a:close/>
                    <a:moveTo>
                      <a:pt x="482" y="379"/>
                    </a:moveTo>
                    <a:lnTo>
                      <a:pt x="482" y="377"/>
                    </a:lnTo>
                    <a:lnTo>
                      <a:pt x="482" y="379"/>
                    </a:lnTo>
                    <a:lnTo>
                      <a:pt x="484" y="379"/>
                    </a:lnTo>
                    <a:lnTo>
                      <a:pt x="484" y="377"/>
                    </a:lnTo>
                    <a:lnTo>
                      <a:pt x="484" y="379"/>
                    </a:lnTo>
                    <a:lnTo>
                      <a:pt x="484" y="377"/>
                    </a:lnTo>
                    <a:lnTo>
                      <a:pt x="482" y="377"/>
                    </a:lnTo>
                    <a:lnTo>
                      <a:pt x="480" y="377"/>
                    </a:lnTo>
                    <a:lnTo>
                      <a:pt x="482" y="377"/>
                    </a:lnTo>
                    <a:lnTo>
                      <a:pt x="484" y="377"/>
                    </a:lnTo>
                    <a:lnTo>
                      <a:pt x="484" y="375"/>
                    </a:lnTo>
                    <a:lnTo>
                      <a:pt x="484" y="377"/>
                    </a:lnTo>
                    <a:lnTo>
                      <a:pt x="484" y="375"/>
                    </a:lnTo>
                    <a:lnTo>
                      <a:pt x="484" y="377"/>
                    </a:lnTo>
                    <a:lnTo>
                      <a:pt x="484" y="375"/>
                    </a:lnTo>
                    <a:lnTo>
                      <a:pt x="484" y="377"/>
                    </a:lnTo>
                    <a:lnTo>
                      <a:pt x="484" y="375"/>
                    </a:lnTo>
                    <a:lnTo>
                      <a:pt x="486" y="375"/>
                    </a:lnTo>
                    <a:lnTo>
                      <a:pt x="484" y="375"/>
                    </a:lnTo>
                    <a:lnTo>
                      <a:pt x="486" y="375"/>
                    </a:lnTo>
                    <a:lnTo>
                      <a:pt x="486" y="377"/>
                    </a:lnTo>
                    <a:lnTo>
                      <a:pt x="486" y="375"/>
                    </a:lnTo>
                    <a:lnTo>
                      <a:pt x="486" y="377"/>
                    </a:lnTo>
                    <a:lnTo>
                      <a:pt x="486" y="379"/>
                    </a:lnTo>
                    <a:lnTo>
                      <a:pt x="488" y="379"/>
                    </a:lnTo>
                    <a:lnTo>
                      <a:pt x="486" y="379"/>
                    </a:lnTo>
                    <a:lnTo>
                      <a:pt x="486" y="377"/>
                    </a:lnTo>
                    <a:lnTo>
                      <a:pt x="488" y="377"/>
                    </a:lnTo>
                    <a:lnTo>
                      <a:pt x="490" y="377"/>
                    </a:lnTo>
                    <a:lnTo>
                      <a:pt x="490" y="379"/>
                    </a:lnTo>
                    <a:lnTo>
                      <a:pt x="492" y="381"/>
                    </a:lnTo>
                    <a:lnTo>
                      <a:pt x="494" y="381"/>
                    </a:lnTo>
                    <a:lnTo>
                      <a:pt x="492" y="381"/>
                    </a:lnTo>
                    <a:lnTo>
                      <a:pt x="492" y="383"/>
                    </a:lnTo>
                    <a:lnTo>
                      <a:pt x="494" y="383"/>
                    </a:lnTo>
                    <a:lnTo>
                      <a:pt x="494" y="385"/>
                    </a:lnTo>
                    <a:lnTo>
                      <a:pt x="494" y="383"/>
                    </a:lnTo>
                    <a:lnTo>
                      <a:pt x="494" y="385"/>
                    </a:lnTo>
                    <a:lnTo>
                      <a:pt x="494" y="387"/>
                    </a:lnTo>
                    <a:lnTo>
                      <a:pt x="496" y="387"/>
                    </a:lnTo>
                    <a:lnTo>
                      <a:pt x="494" y="389"/>
                    </a:lnTo>
                    <a:lnTo>
                      <a:pt x="494" y="387"/>
                    </a:lnTo>
                    <a:lnTo>
                      <a:pt x="494" y="385"/>
                    </a:lnTo>
                    <a:lnTo>
                      <a:pt x="492" y="385"/>
                    </a:lnTo>
                    <a:lnTo>
                      <a:pt x="490" y="385"/>
                    </a:lnTo>
                    <a:lnTo>
                      <a:pt x="488" y="383"/>
                    </a:lnTo>
                    <a:lnTo>
                      <a:pt x="488" y="381"/>
                    </a:lnTo>
                    <a:lnTo>
                      <a:pt x="486" y="383"/>
                    </a:lnTo>
                    <a:lnTo>
                      <a:pt x="484" y="383"/>
                    </a:lnTo>
                    <a:lnTo>
                      <a:pt x="482" y="383"/>
                    </a:lnTo>
                    <a:lnTo>
                      <a:pt x="484" y="383"/>
                    </a:lnTo>
                    <a:lnTo>
                      <a:pt x="482" y="383"/>
                    </a:lnTo>
                    <a:lnTo>
                      <a:pt x="484" y="383"/>
                    </a:lnTo>
                    <a:lnTo>
                      <a:pt x="482" y="383"/>
                    </a:lnTo>
                    <a:lnTo>
                      <a:pt x="482" y="381"/>
                    </a:lnTo>
                    <a:lnTo>
                      <a:pt x="482" y="379"/>
                    </a:lnTo>
                    <a:lnTo>
                      <a:pt x="482" y="381"/>
                    </a:lnTo>
                    <a:lnTo>
                      <a:pt x="482" y="379"/>
                    </a:lnTo>
                    <a:lnTo>
                      <a:pt x="482" y="381"/>
                    </a:lnTo>
                    <a:lnTo>
                      <a:pt x="482" y="383"/>
                    </a:lnTo>
                    <a:lnTo>
                      <a:pt x="482" y="381"/>
                    </a:lnTo>
                    <a:lnTo>
                      <a:pt x="484" y="381"/>
                    </a:lnTo>
                    <a:lnTo>
                      <a:pt x="482" y="381"/>
                    </a:lnTo>
                    <a:lnTo>
                      <a:pt x="482" y="379"/>
                    </a:lnTo>
                    <a:lnTo>
                      <a:pt x="482" y="381"/>
                    </a:lnTo>
                    <a:lnTo>
                      <a:pt x="482" y="379"/>
                    </a:lnTo>
                    <a:lnTo>
                      <a:pt x="482" y="381"/>
                    </a:lnTo>
                    <a:lnTo>
                      <a:pt x="482" y="379"/>
                    </a:lnTo>
                    <a:lnTo>
                      <a:pt x="482" y="381"/>
                    </a:lnTo>
                    <a:lnTo>
                      <a:pt x="482" y="379"/>
                    </a:lnTo>
                    <a:lnTo>
                      <a:pt x="480" y="379"/>
                    </a:lnTo>
                    <a:lnTo>
                      <a:pt x="482" y="379"/>
                    </a:lnTo>
                    <a:lnTo>
                      <a:pt x="480" y="381"/>
                    </a:lnTo>
                    <a:lnTo>
                      <a:pt x="480" y="379"/>
                    </a:lnTo>
                    <a:lnTo>
                      <a:pt x="482" y="379"/>
                    </a:lnTo>
                    <a:close/>
                    <a:moveTo>
                      <a:pt x="469" y="364"/>
                    </a:moveTo>
                    <a:lnTo>
                      <a:pt x="469" y="365"/>
                    </a:lnTo>
                    <a:lnTo>
                      <a:pt x="469" y="364"/>
                    </a:lnTo>
                    <a:lnTo>
                      <a:pt x="467" y="364"/>
                    </a:lnTo>
                    <a:lnTo>
                      <a:pt x="467" y="362"/>
                    </a:lnTo>
                    <a:lnTo>
                      <a:pt x="465" y="362"/>
                    </a:lnTo>
                    <a:lnTo>
                      <a:pt x="467" y="362"/>
                    </a:lnTo>
                    <a:lnTo>
                      <a:pt x="465" y="362"/>
                    </a:lnTo>
                    <a:lnTo>
                      <a:pt x="467" y="362"/>
                    </a:lnTo>
                    <a:lnTo>
                      <a:pt x="467" y="360"/>
                    </a:lnTo>
                    <a:lnTo>
                      <a:pt x="467" y="362"/>
                    </a:lnTo>
                    <a:lnTo>
                      <a:pt x="467" y="360"/>
                    </a:lnTo>
                    <a:lnTo>
                      <a:pt x="467" y="362"/>
                    </a:lnTo>
                    <a:lnTo>
                      <a:pt x="467" y="364"/>
                    </a:lnTo>
                    <a:lnTo>
                      <a:pt x="469" y="364"/>
                    </a:lnTo>
                    <a:lnTo>
                      <a:pt x="471" y="364"/>
                    </a:lnTo>
                    <a:lnTo>
                      <a:pt x="471" y="365"/>
                    </a:lnTo>
                    <a:lnTo>
                      <a:pt x="471" y="367"/>
                    </a:lnTo>
                    <a:lnTo>
                      <a:pt x="471" y="369"/>
                    </a:lnTo>
                    <a:lnTo>
                      <a:pt x="471" y="371"/>
                    </a:lnTo>
                    <a:lnTo>
                      <a:pt x="473" y="371"/>
                    </a:lnTo>
                    <a:lnTo>
                      <a:pt x="473" y="369"/>
                    </a:lnTo>
                    <a:lnTo>
                      <a:pt x="473" y="371"/>
                    </a:lnTo>
                    <a:lnTo>
                      <a:pt x="473" y="373"/>
                    </a:lnTo>
                    <a:lnTo>
                      <a:pt x="471" y="373"/>
                    </a:lnTo>
                    <a:lnTo>
                      <a:pt x="471" y="375"/>
                    </a:lnTo>
                    <a:lnTo>
                      <a:pt x="471" y="373"/>
                    </a:lnTo>
                    <a:lnTo>
                      <a:pt x="469" y="373"/>
                    </a:lnTo>
                    <a:lnTo>
                      <a:pt x="469" y="371"/>
                    </a:lnTo>
                    <a:lnTo>
                      <a:pt x="469" y="373"/>
                    </a:lnTo>
                    <a:lnTo>
                      <a:pt x="469" y="371"/>
                    </a:lnTo>
                    <a:lnTo>
                      <a:pt x="467" y="371"/>
                    </a:lnTo>
                    <a:lnTo>
                      <a:pt x="467" y="369"/>
                    </a:lnTo>
                    <a:lnTo>
                      <a:pt x="469" y="369"/>
                    </a:lnTo>
                    <a:lnTo>
                      <a:pt x="469" y="367"/>
                    </a:lnTo>
                    <a:lnTo>
                      <a:pt x="471" y="367"/>
                    </a:lnTo>
                    <a:lnTo>
                      <a:pt x="469" y="367"/>
                    </a:lnTo>
                    <a:lnTo>
                      <a:pt x="471" y="365"/>
                    </a:lnTo>
                    <a:lnTo>
                      <a:pt x="469" y="365"/>
                    </a:lnTo>
                    <a:lnTo>
                      <a:pt x="469" y="367"/>
                    </a:lnTo>
                    <a:lnTo>
                      <a:pt x="469" y="369"/>
                    </a:lnTo>
                    <a:lnTo>
                      <a:pt x="469" y="367"/>
                    </a:lnTo>
                    <a:lnTo>
                      <a:pt x="467" y="367"/>
                    </a:lnTo>
                    <a:lnTo>
                      <a:pt x="465" y="367"/>
                    </a:lnTo>
                    <a:lnTo>
                      <a:pt x="465" y="365"/>
                    </a:lnTo>
                    <a:lnTo>
                      <a:pt x="463" y="365"/>
                    </a:lnTo>
                    <a:lnTo>
                      <a:pt x="461" y="365"/>
                    </a:lnTo>
                    <a:lnTo>
                      <a:pt x="461" y="364"/>
                    </a:lnTo>
                    <a:lnTo>
                      <a:pt x="461" y="362"/>
                    </a:lnTo>
                    <a:lnTo>
                      <a:pt x="461" y="360"/>
                    </a:lnTo>
                    <a:lnTo>
                      <a:pt x="463" y="360"/>
                    </a:lnTo>
                    <a:lnTo>
                      <a:pt x="463" y="358"/>
                    </a:lnTo>
                    <a:lnTo>
                      <a:pt x="465" y="358"/>
                    </a:lnTo>
                    <a:lnTo>
                      <a:pt x="467" y="358"/>
                    </a:lnTo>
                    <a:lnTo>
                      <a:pt x="465" y="360"/>
                    </a:lnTo>
                    <a:lnTo>
                      <a:pt x="465" y="362"/>
                    </a:lnTo>
                    <a:lnTo>
                      <a:pt x="465" y="364"/>
                    </a:lnTo>
                    <a:lnTo>
                      <a:pt x="467" y="364"/>
                    </a:lnTo>
                    <a:lnTo>
                      <a:pt x="469" y="364"/>
                    </a:lnTo>
                    <a:lnTo>
                      <a:pt x="469" y="365"/>
                    </a:lnTo>
                    <a:lnTo>
                      <a:pt x="471" y="365"/>
                    </a:lnTo>
                    <a:lnTo>
                      <a:pt x="469" y="365"/>
                    </a:lnTo>
                    <a:lnTo>
                      <a:pt x="469" y="364"/>
                    </a:lnTo>
                    <a:close/>
                    <a:moveTo>
                      <a:pt x="434" y="346"/>
                    </a:moveTo>
                    <a:lnTo>
                      <a:pt x="432" y="346"/>
                    </a:lnTo>
                    <a:lnTo>
                      <a:pt x="434" y="346"/>
                    </a:lnTo>
                    <a:close/>
                    <a:moveTo>
                      <a:pt x="242" y="219"/>
                    </a:moveTo>
                    <a:lnTo>
                      <a:pt x="242" y="221"/>
                    </a:lnTo>
                    <a:lnTo>
                      <a:pt x="244" y="219"/>
                    </a:lnTo>
                    <a:lnTo>
                      <a:pt x="244" y="221"/>
                    </a:lnTo>
                    <a:lnTo>
                      <a:pt x="242" y="221"/>
                    </a:lnTo>
                    <a:lnTo>
                      <a:pt x="244" y="221"/>
                    </a:lnTo>
                    <a:lnTo>
                      <a:pt x="242" y="221"/>
                    </a:lnTo>
                    <a:lnTo>
                      <a:pt x="240" y="219"/>
                    </a:lnTo>
                    <a:lnTo>
                      <a:pt x="242" y="219"/>
                    </a:lnTo>
                    <a:close/>
                    <a:moveTo>
                      <a:pt x="425" y="250"/>
                    </a:moveTo>
                    <a:lnTo>
                      <a:pt x="426" y="250"/>
                    </a:lnTo>
                    <a:lnTo>
                      <a:pt x="426" y="252"/>
                    </a:lnTo>
                    <a:lnTo>
                      <a:pt x="425" y="252"/>
                    </a:lnTo>
                    <a:lnTo>
                      <a:pt x="425" y="254"/>
                    </a:lnTo>
                    <a:lnTo>
                      <a:pt x="423" y="252"/>
                    </a:lnTo>
                    <a:lnTo>
                      <a:pt x="423" y="250"/>
                    </a:lnTo>
                    <a:lnTo>
                      <a:pt x="423" y="248"/>
                    </a:lnTo>
                    <a:lnTo>
                      <a:pt x="425" y="248"/>
                    </a:lnTo>
                    <a:lnTo>
                      <a:pt x="425" y="250"/>
                    </a:lnTo>
                    <a:close/>
                    <a:moveTo>
                      <a:pt x="227" y="125"/>
                    </a:moveTo>
                    <a:lnTo>
                      <a:pt x="225" y="127"/>
                    </a:lnTo>
                    <a:lnTo>
                      <a:pt x="227" y="127"/>
                    </a:lnTo>
                    <a:lnTo>
                      <a:pt x="227" y="129"/>
                    </a:lnTo>
                    <a:lnTo>
                      <a:pt x="227" y="131"/>
                    </a:lnTo>
                    <a:lnTo>
                      <a:pt x="229" y="131"/>
                    </a:lnTo>
                    <a:lnTo>
                      <a:pt x="231" y="131"/>
                    </a:lnTo>
                    <a:lnTo>
                      <a:pt x="232" y="131"/>
                    </a:lnTo>
                    <a:lnTo>
                      <a:pt x="232" y="133"/>
                    </a:lnTo>
                    <a:lnTo>
                      <a:pt x="232" y="135"/>
                    </a:lnTo>
                    <a:lnTo>
                      <a:pt x="231" y="135"/>
                    </a:lnTo>
                    <a:lnTo>
                      <a:pt x="231" y="133"/>
                    </a:lnTo>
                    <a:lnTo>
                      <a:pt x="229" y="133"/>
                    </a:lnTo>
                    <a:lnTo>
                      <a:pt x="229" y="135"/>
                    </a:lnTo>
                    <a:lnTo>
                      <a:pt x="229" y="133"/>
                    </a:lnTo>
                    <a:lnTo>
                      <a:pt x="227" y="133"/>
                    </a:lnTo>
                    <a:lnTo>
                      <a:pt x="225" y="133"/>
                    </a:lnTo>
                    <a:lnTo>
                      <a:pt x="225" y="131"/>
                    </a:lnTo>
                    <a:lnTo>
                      <a:pt x="223" y="131"/>
                    </a:lnTo>
                    <a:lnTo>
                      <a:pt x="223" y="129"/>
                    </a:lnTo>
                    <a:lnTo>
                      <a:pt x="223" y="127"/>
                    </a:lnTo>
                    <a:lnTo>
                      <a:pt x="221" y="127"/>
                    </a:lnTo>
                    <a:lnTo>
                      <a:pt x="221" y="125"/>
                    </a:lnTo>
                    <a:lnTo>
                      <a:pt x="223" y="125"/>
                    </a:lnTo>
                    <a:lnTo>
                      <a:pt x="225" y="125"/>
                    </a:lnTo>
                    <a:lnTo>
                      <a:pt x="227" y="125"/>
                    </a:lnTo>
                    <a:close/>
                    <a:moveTo>
                      <a:pt x="423" y="81"/>
                    </a:moveTo>
                    <a:lnTo>
                      <a:pt x="421" y="81"/>
                    </a:lnTo>
                    <a:lnTo>
                      <a:pt x="423" y="81"/>
                    </a:lnTo>
                    <a:lnTo>
                      <a:pt x="421" y="81"/>
                    </a:lnTo>
                    <a:lnTo>
                      <a:pt x="419" y="81"/>
                    </a:lnTo>
                    <a:lnTo>
                      <a:pt x="421" y="81"/>
                    </a:lnTo>
                    <a:lnTo>
                      <a:pt x="423" y="81"/>
                    </a:lnTo>
                    <a:lnTo>
                      <a:pt x="423" y="83"/>
                    </a:lnTo>
                    <a:lnTo>
                      <a:pt x="421" y="83"/>
                    </a:lnTo>
                    <a:lnTo>
                      <a:pt x="421" y="85"/>
                    </a:lnTo>
                    <a:lnTo>
                      <a:pt x="421" y="83"/>
                    </a:lnTo>
                    <a:lnTo>
                      <a:pt x="419" y="83"/>
                    </a:lnTo>
                    <a:lnTo>
                      <a:pt x="421" y="83"/>
                    </a:lnTo>
                    <a:lnTo>
                      <a:pt x="419" y="83"/>
                    </a:lnTo>
                    <a:lnTo>
                      <a:pt x="421" y="83"/>
                    </a:lnTo>
                    <a:lnTo>
                      <a:pt x="419" y="83"/>
                    </a:lnTo>
                    <a:lnTo>
                      <a:pt x="419" y="85"/>
                    </a:lnTo>
                    <a:lnTo>
                      <a:pt x="419" y="87"/>
                    </a:lnTo>
                    <a:lnTo>
                      <a:pt x="419" y="85"/>
                    </a:lnTo>
                    <a:lnTo>
                      <a:pt x="419" y="87"/>
                    </a:lnTo>
                    <a:lnTo>
                      <a:pt x="417" y="87"/>
                    </a:lnTo>
                    <a:lnTo>
                      <a:pt x="417" y="85"/>
                    </a:lnTo>
                    <a:lnTo>
                      <a:pt x="417" y="87"/>
                    </a:lnTo>
                    <a:lnTo>
                      <a:pt x="419" y="87"/>
                    </a:lnTo>
                    <a:lnTo>
                      <a:pt x="417" y="89"/>
                    </a:lnTo>
                    <a:lnTo>
                      <a:pt x="417" y="91"/>
                    </a:lnTo>
                    <a:lnTo>
                      <a:pt x="417" y="92"/>
                    </a:lnTo>
                    <a:lnTo>
                      <a:pt x="417" y="94"/>
                    </a:lnTo>
                    <a:lnTo>
                      <a:pt x="417" y="96"/>
                    </a:lnTo>
                    <a:lnTo>
                      <a:pt x="419" y="96"/>
                    </a:lnTo>
                    <a:lnTo>
                      <a:pt x="419" y="98"/>
                    </a:lnTo>
                    <a:lnTo>
                      <a:pt x="421" y="100"/>
                    </a:lnTo>
                    <a:lnTo>
                      <a:pt x="419" y="100"/>
                    </a:lnTo>
                    <a:lnTo>
                      <a:pt x="419" y="98"/>
                    </a:lnTo>
                    <a:lnTo>
                      <a:pt x="417" y="98"/>
                    </a:lnTo>
                    <a:lnTo>
                      <a:pt x="415" y="98"/>
                    </a:lnTo>
                    <a:lnTo>
                      <a:pt x="417" y="98"/>
                    </a:lnTo>
                    <a:lnTo>
                      <a:pt x="415" y="98"/>
                    </a:lnTo>
                    <a:lnTo>
                      <a:pt x="417" y="98"/>
                    </a:lnTo>
                    <a:lnTo>
                      <a:pt x="419" y="98"/>
                    </a:lnTo>
                    <a:lnTo>
                      <a:pt x="417" y="98"/>
                    </a:lnTo>
                    <a:lnTo>
                      <a:pt x="419" y="98"/>
                    </a:lnTo>
                    <a:lnTo>
                      <a:pt x="417" y="98"/>
                    </a:lnTo>
                    <a:lnTo>
                      <a:pt x="419" y="100"/>
                    </a:lnTo>
                    <a:lnTo>
                      <a:pt x="421" y="100"/>
                    </a:lnTo>
                    <a:lnTo>
                      <a:pt x="421" y="102"/>
                    </a:lnTo>
                    <a:lnTo>
                      <a:pt x="419" y="102"/>
                    </a:lnTo>
                    <a:lnTo>
                      <a:pt x="419" y="104"/>
                    </a:lnTo>
                    <a:lnTo>
                      <a:pt x="421" y="106"/>
                    </a:lnTo>
                    <a:lnTo>
                      <a:pt x="421" y="108"/>
                    </a:lnTo>
                    <a:lnTo>
                      <a:pt x="419" y="108"/>
                    </a:lnTo>
                    <a:lnTo>
                      <a:pt x="419" y="106"/>
                    </a:lnTo>
                    <a:lnTo>
                      <a:pt x="419" y="108"/>
                    </a:lnTo>
                    <a:lnTo>
                      <a:pt x="419" y="106"/>
                    </a:lnTo>
                    <a:lnTo>
                      <a:pt x="417" y="106"/>
                    </a:lnTo>
                    <a:lnTo>
                      <a:pt x="417" y="108"/>
                    </a:lnTo>
                    <a:lnTo>
                      <a:pt x="417" y="106"/>
                    </a:lnTo>
                    <a:lnTo>
                      <a:pt x="419" y="106"/>
                    </a:lnTo>
                    <a:lnTo>
                      <a:pt x="419" y="108"/>
                    </a:lnTo>
                    <a:lnTo>
                      <a:pt x="421" y="108"/>
                    </a:lnTo>
                    <a:lnTo>
                      <a:pt x="419" y="108"/>
                    </a:lnTo>
                    <a:lnTo>
                      <a:pt x="417" y="108"/>
                    </a:lnTo>
                    <a:lnTo>
                      <a:pt x="417" y="110"/>
                    </a:lnTo>
                    <a:lnTo>
                      <a:pt x="417" y="112"/>
                    </a:lnTo>
                    <a:lnTo>
                      <a:pt x="415" y="112"/>
                    </a:lnTo>
                    <a:lnTo>
                      <a:pt x="415" y="110"/>
                    </a:lnTo>
                    <a:lnTo>
                      <a:pt x="413" y="112"/>
                    </a:lnTo>
                    <a:lnTo>
                      <a:pt x="413" y="114"/>
                    </a:lnTo>
                    <a:lnTo>
                      <a:pt x="413" y="116"/>
                    </a:lnTo>
                    <a:lnTo>
                      <a:pt x="413" y="117"/>
                    </a:lnTo>
                    <a:lnTo>
                      <a:pt x="415" y="117"/>
                    </a:lnTo>
                    <a:lnTo>
                      <a:pt x="415" y="119"/>
                    </a:lnTo>
                    <a:lnTo>
                      <a:pt x="415" y="117"/>
                    </a:lnTo>
                    <a:lnTo>
                      <a:pt x="415" y="119"/>
                    </a:lnTo>
                    <a:lnTo>
                      <a:pt x="417" y="119"/>
                    </a:lnTo>
                    <a:lnTo>
                      <a:pt x="417" y="121"/>
                    </a:lnTo>
                    <a:lnTo>
                      <a:pt x="419" y="121"/>
                    </a:lnTo>
                    <a:lnTo>
                      <a:pt x="417" y="121"/>
                    </a:lnTo>
                    <a:lnTo>
                      <a:pt x="417" y="123"/>
                    </a:lnTo>
                    <a:lnTo>
                      <a:pt x="417" y="121"/>
                    </a:lnTo>
                    <a:lnTo>
                      <a:pt x="419" y="121"/>
                    </a:lnTo>
                    <a:lnTo>
                      <a:pt x="421" y="123"/>
                    </a:lnTo>
                    <a:lnTo>
                      <a:pt x="421" y="125"/>
                    </a:lnTo>
                    <a:lnTo>
                      <a:pt x="421" y="127"/>
                    </a:lnTo>
                    <a:lnTo>
                      <a:pt x="421" y="125"/>
                    </a:lnTo>
                    <a:lnTo>
                      <a:pt x="419" y="125"/>
                    </a:lnTo>
                    <a:lnTo>
                      <a:pt x="419" y="127"/>
                    </a:lnTo>
                    <a:lnTo>
                      <a:pt x="417" y="127"/>
                    </a:lnTo>
                    <a:lnTo>
                      <a:pt x="419" y="127"/>
                    </a:lnTo>
                    <a:lnTo>
                      <a:pt x="419" y="129"/>
                    </a:lnTo>
                    <a:lnTo>
                      <a:pt x="417" y="129"/>
                    </a:lnTo>
                    <a:lnTo>
                      <a:pt x="415" y="129"/>
                    </a:lnTo>
                    <a:lnTo>
                      <a:pt x="415" y="131"/>
                    </a:lnTo>
                    <a:lnTo>
                      <a:pt x="417" y="131"/>
                    </a:lnTo>
                    <a:lnTo>
                      <a:pt x="415" y="131"/>
                    </a:lnTo>
                    <a:lnTo>
                      <a:pt x="415" y="129"/>
                    </a:lnTo>
                    <a:lnTo>
                      <a:pt x="417" y="129"/>
                    </a:lnTo>
                    <a:lnTo>
                      <a:pt x="419" y="129"/>
                    </a:lnTo>
                    <a:lnTo>
                      <a:pt x="419" y="127"/>
                    </a:lnTo>
                    <a:lnTo>
                      <a:pt x="417" y="127"/>
                    </a:lnTo>
                    <a:lnTo>
                      <a:pt x="419" y="127"/>
                    </a:lnTo>
                    <a:lnTo>
                      <a:pt x="419" y="125"/>
                    </a:lnTo>
                    <a:lnTo>
                      <a:pt x="421" y="127"/>
                    </a:lnTo>
                    <a:lnTo>
                      <a:pt x="421" y="125"/>
                    </a:lnTo>
                    <a:lnTo>
                      <a:pt x="421" y="123"/>
                    </a:lnTo>
                    <a:lnTo>
                      <a:pt x="423" y="123"/>
                    </a:lnTo>
                    <a:lnTo>
                      <a:pt x="423" y="125"/>
                    </a:lnTo>
                    <a:lnTo>
                      <a:pt x="421" y="125"/>
                    </a:lnTo>
                    <a:lnTo>
                      <a:pt x="423" y="125"/>
                    </a:lnTo>
                    <a:lnTo>
                      <a:pt x="421" y="125"/>
                    </a:lnTo>
                    <a:lnTo>
                      <a:pt x="423" y="127"/>
                    </a:lnTo>
                    <a:lnTo>
                      <a:pt x="421" y="127"/>
                    </a:lnTo>
                    <a:lnTo>
                      <a:pt x="423" y="127"/>
                    </a:lnTo>
                    <a:lnTo>
                      <a:pt x="421" y="127"/>
                    </a:lnTo>
                    <a:lnTo>
                      <a:pt x="421" y="129"/>
                    </a:lnTo>
                    <a:lnTo>
                      <a:pt x="421" y="131"/>
                    </a:lnTo>
                    <a:lnTo>
                      <a:pt x="421" y="133"/>
                    </a:lnTo>
                    <a:lnTo>
                      <a:pt x="421" y="135"/>
                    </a:lnTo>
                    <a:lnTo>
                      <a:pt x="421" y="137"/>
                    </a:lnTo>
                    <a:lnTo>
                      <a:pt x="419" y="137"/>
                    </a:lnTo>
                    <a:lnTo>
                      <a:pt x="421" y="137"/>
                    </a:lnTo>
                    <a:lnTo>
                      <a:pt x="421" y="135"/>
                    </a:lnTo>
                    <a:lnTo>
                      <a:pt x="421" y="133"/>
                    </a:lnTo>
                    <a:lnTo>
                      <a:pt x="423" y="133"/>
                    </a:lnTo>
                    <a:lnTo>
                      <a:pt x="423" y="135"/>
                    </a:lnTo>
                    <a:lnTo>
                      <a:pt x="425" y="135"/>
                    </a:lnTo>
                    <a:lnTo>
                      <a:pt x="425" y="133"/>
                    </a:lnTo>
                    <a:lnTo>
                      <a:pt x="425" y="135"/>
                    </a:lnTo>
                    <a:lnTo>
                      <a:pt x="426" y="135"/>
                    </a:lnTo>
                    <a:lnTo>
                      <a:pt x="425" y="135"/>
                    </a:lnTo>
                    <a:lnTo>
                      <a:pt x="425" y="133"/>
                    </a:lnTo>
                    <a:lnTo>
                      <a:pt x="425" y="135"/>
                    </a:lnTo>
                    <a:lnTo>
                      <a:pt x="423" y="135"/>
                    </a:lnTo>
                    <a:lnTo>
                      <a:pt x="425" y="135"/>
                    </a:lnTo>
                    <a:lnTo>
                      <a:pt x="423" y="135"/>
                    </a:lnTo>
                    <a:lnTo>
                      <a:pt x="423" y="133"/>
                    </a:lnTo>
                    <a:lnTo>
                      <a:pt x="421" y="133"/>
                    </a:lnTo>
                    <a:lnTo>
                      <a:pt x="421" y="131"/>
                    </a:lnTo>
                    <a:lnTo>
                      <a:pt x="421" y="129"/>
                    </a:lnTo>
                    <a:lnTo>
                      <a:pt x="421" y="131"/>
                    </a:lnTo>
                    <a:lnTo>
                      <a:pt x="421" y="129"/>
                    </a:lnTo>
                    <a:lnTo>
                      <a:pt x="421" y="127"/>
                    </a:lnTo>
                    <a:lnTo>
                      <a:pt x="423" y="127"/>
                    </a:lnTo>
                    <a:lnTo>
                      <a:pt x="421" y="127"/>
                    </a:lnTo>
                    <a:lnTo>
                      <a:pt x="423" y="127"/>
                    </a:lnTo>
                    <a:lnTo>
                      <a:pt x="421" y="125"/>
                    </a:lnTo>
                    <a:lnTo>
                      <a:pt x="423" y="125"/>
                    </a:lnTo>
                    <a:lnTo>
                      <a:pt x="421" y="125"/>
                    </a:lnTo>
                    <a:lnTo>
                      <a:pt x="423" y="125"/>
                    </a:lnTo>
                    <a:lnTo>
                      <a:pt x="425" y="125"/>
                    </a:lnTo>
                    <a:lnTo>
                      <a:pt x="426" y="127"/>
                    </a:lnTo>
                    <a:lnTo>
                      <a:pt x="428" y="127"/>
                    </a:lnTo>
                    <a:lnTo>
                      <a:pt x="428" y="129"/>
                    </a:lnTo>
                    <a:lnTo>
                      <a:pt x="428" y="127"/>
                    </a:lnTo>
                    <a:lnTo>
                      <a:pt x="428" y="129"/>
                    </a:lnTo>
                    <a:lnTo>
                      <a:pt x="430" y="129"/>
                    </a:lnTo>
                    <a:lnTo>
                      <a:pt x="430" y="131"/>
                    </a:lnTo>
                    <a:lnTo>
                      <a:pt x="430" y="129"/>
                    </a:lnTo>
                    <a:lnTo>
                      <a:pt x="428" y="129"/>
                    </a:lnTo>
                    <a:lnTo>
                      <a:pt x="428" y="131"/>
                    </a:lnTo>
                    <a:lnTo>
                      <a:pt x="430" y="131"/>
                    </a:lnTo>
                    <a:lnTo>
                      <a:pt x="428" y="131"/>
                    </a:lnTo>
                    <a:lnTo>
                      <a:pt x="426" y="131"/>
                    </a:lnTo>
                    <a:lnTo>
                      <a:pt x="428" y="131"/>
                    </a:lnTo>
                    <a:lnTo>
                      <a:pt x="430" y="131"/>
                    </a:lnTo>
                    <a:lnTo>
                      <a:pt x="428" y="131"/>
                    </a:lnTo>
                    <a:lnTo>
                      <a:pt x="428" y="129"/>
                    </a:lnTo>
                    <a:lnTo>
                      <a:pt x="430" y="131"/>
                    </a:lnTo>
                    <a:lnTo>
                      <a:pt x="430" y="129"/>
                    </a:lnTo>
                    <a:lnTo>
                      <a:pt x="430" y="127"/>
                    </a:lnTo>
                    <a:lnTo>
                      <a:pt x="428" y="127"/>
                    </a:lnTo>
                    <a:lnTo>
                      <a:pt x="430" y="127"/>
                    </a:lnTo>
                    <a:lnTo>
                      <a:pt x="432" y="127"/>
                    </a:lnTo>
                    <a:lnTo>
                      <a:pt x="432" y="129"/>
                    </a:lnTo>
                    <a:lnTo>
                      <a:pt x="434" y="129"/>
                    </a:lnTo>
                    <a:lnTo>
                      <a:pt x="436" y="129"/>
                    </a:lnTo>
                    <a:lnTo>
                      <a:pt x="438" y="129"/>
                    </a:lnTo>
                    <a:lnTo>
                      <a:pt x="440" y="131"/>
                    </a:lnTo>
                    <a:lnTo>
                      <a:pt x="442" y="131"/>
                    </a:lnTo>
                    <a:lnTo>
                      <a:pt x="444" y="131"/>
                    </a:lnTo>
                    <a:lnTo>
                      <a:pt x="442" y="131"/>
                    </a:lnTo>
                    <a:lnTo>
                      <a:pt x="444" y="131"/>
                    </a:lnTo>
                    <a:lnTo>
                      <a:pt x="446" y="131"/>
                    </a:lnTo>
                    <a:lnTo>
                      <a:pt x="448" y="133"/>
                    </a:lnTo>
                    <a:lnTo>
                      <a:pt x="448" y="135"/>
                    </a:lnTo>
                    <a:lnTo>
                      <a:pt x="446" y="135"/>
                    </a:lnTo>
                    <a:lnTo>
                      <a:pt x="446" y="137"/>
                    </a:lnTo>
                    <a:lnTo>
                      <a:pt x="446" y="139"/>
                    </a:lnTo>
                    <a:lnTo>
                      <a:pt x="444" y="139"/>
                    </a:lnTo>
                    <a:lnTo>
                      <a:pt x="444" y="141"/>
                    </a:lnTo>
                    <a:lnTo>
                      <a:pt x="442" y="141"/>
                    </a:lnTo>
                    <a:lnTo>
                      <a:pt x="442" y="139"/>
                    </a:lnTo>
                    <a:lnTo>
                      <a:pt x="440" y="139"/>
                    </a:lnTo>
                    <a:lnTo>
                      <a:pt x="440" y="141"/>
                    </a:lnTo>
                    <a:lnTo>
                      <a:pt x="442" y="141"/>
                    </a:lnTo>
                    <a:lnTo>
                      <a:pt x="440" y="141"/>
                    </a:lnTo>
                    <a:lnTo>
                      <a:pt x="440" y="139"/>
                    </a:lnTo>
                    <a:lnTo>
                      <a:pt x="442" y="139"/>
                    </a:lnTo>
                    <a:lnTo>
                      <a:pt x="442" y="141"/>
                    </a:lnTo>
                    <a:lnTo>
                      <a:pt x="444" y="141"/>
                    </a:lnTo>
                    <a:lnTo>
                      <a:pt x="444" y="139"/>
                    </a:lnTo>
                    <a:lnTo>
                      <a:pt x="446" y="139"/>
                    </a:lnTo>
                    <a:lnTo>
                      <a:pt x="446" y="137"/>
                    </a:lnTo>
                    <a:lnTo>
                      <a:pt x="446" y="139"/>
                    </a:lnTo>
                    <a:lnTo>
                      <a:pt x="446" y="141"/>
                    </a:lnTo>
                    <a:lnTo>
                      <a:pt x="448" y="141"/>
                    </a:lnTo>
                    <a:lnTo>
                      <a:pt x="446" y="142"/>
                    </a:lnTo>
                    <a:lnTo>
                      <a:pt x="448" y="142"/>
                    </a:lnTo>
                    <a:lnTo>
                      <a:pt x="446" y="142"/>
                    </a:lnTo>
                    <a:lnTo>
                      <a:pt x="448" y="142"/>
                    </a:lnTo>
                    <a:lnTo>
                      <a:pt x="446" y="142"/>
                    </a:lnTo>
                    <a:lnTo>
                      <a:pt x="446" y="144"/>
                    </a:lnTo>
                    <a:lnTo>
                      <a:pt x="446" y="146"/>
                    </a:lnTo>
                    <a:lnTo>
                      <a:pt x="444" y="146"/>
                    </a:lnTo>
                    <a:lnTo>
                      <a:pt x="442" y="146"/>
                    </a:lnTo>
                    <a:lnTo>
                      <a:pt x="442" y="148"/>
                    </a:lnTo>
                    <a:lnTo>
                      <a:pt x="440" y="148"/>
                    </a:lnTo>
                    <a:lnTo>
                      <a:pt x="442" y="148"/>
                    </a:lnTo>
                    <a:lnTo>
                      <a:pt x="442" y="150"/>
                    </a:lnTo>
                    <a:lnTo>
                      <a:pt x="442" y="152"/>
                    </a:lnTo>
                    <a:lnTo>
                      <a:pt x="440" y="152"/>
                    </a:lnTo>
                    <a:lnTo>
                      <a:pt x="440" y="154"/>
                    </a:lnTo>
                    <a:lnTo>
                      <a:pt x="442" y="154"/>
                    </a:lnTo>
                    <a:lnTo>
                      <a:pt x="442" y="152"/>
                    </a:lnTo>
                    <a:lnTo>
                      <a:pt x="442" y="154"/>
                    </a:lnTo>
                    <a:lnTo>
                      <a:pt x="444" y="154"/>
                    </a:lnTo>
                    <a:lnTo>
                      <a:pt x="442" y="154"/>
                    </a:lnTo>
                    <a:lnTo>
                      <a:pt x="442" y="156"/>
                    </a:lnTo>
                    <a:lnTo>
                      <a:pt x="444" y="156"/>
                    </a:lnTo>
                    <a:lnTo>
                      <a:pt x="444" y="154"/>
                    </a:lnTo>
                    <a:lnTo>
                      <a:pt x="444" y="156"/>
                    </a:lnTo>
                    <a:lnTo>
                      <a:pt x="444" y="154"/>
                    </a:lnTo>
                    <a:lnTo>
                      <a:pt x="444" y="156"/>
                    </a:lnTo>
                    <a:lnTo>
                      <a:pt x="444" y="154"/>
                    </a:lnTo>
                    <a:lnTo>
                      <a:pt x="444" y="156"/>
                    </a:lnTo>
                    <a:lnTo>
                      <a:pt x="442" y="156"/>
                    </a:lnTo>
                    <a:lnTo>
                      <a:pt x="442" y="154"/>
                    </a:lnTo>
                    <a:lnTo>
                      <a:pt x="444" y="154"/>
                    </a:lnTo>
                    <a:lnTo>
                      <a:pt x="442" y="154"/>
                    </a:lnTo>
                    <a:lnTo>
                      <a:pt x="442" y="152"/>
                    </a:lnTo>
                    <a:lnTo>
                      <a:pt x="442" y="154"/>
                    </a:lnTo>
                    <a:lnTo>
                      <a:pt x="440" y="154"/>
                    </a:lnTo>
                    <a:lnTo>
                      <a:pt x="440" y="152"/>
                    </a:lnTo>
                    <a:lnTo>
                      <a:pt x="442" y="152"/>
                    </a:lnTo>
                    <a:lnTo>
                      <a:pt x="442" y="150"/>
                    </a:lnTo>
                    <a:lnTo>
                      <a:pt x="442" y="148"/>
                    </a:lnTo>
                    <a:lnTo>
                      <a:pt x="440" y="148"/>
                    </a:lnTo>
                    <a:lnTo>
                      <a:pt x="442" y="148"/>
                    </a:lnTo>
                    <a:lnTo>
                      <a:pt x="442" y="146"/>
                    </a:lnTo>
                    <a:lnTo>
                      <a:pt x="444" y="146"/>
                    </a:lnTo>
                    <a:lnTo>
                      <a:pt x="446" y="146"/>
                    </a:lnTo>
                    <a:lnTo>
                      <a:pt x="448" y="146"/>
                    </a:lnTo>
                    <a:lnTo>
                      <a:pt x="448" y="148"/>
                    </a:lnTo>
                    <a:lnTo>
                      <a:pt x="448" y="150"/>
                    </a:lnTo>
                    <a:lnTo>
                      <a:pt x="446" y="150"/>
                    </a:lnTo>
                    <a:lnTo>
                      <a:pt x="444" y="150"/>
                    </a:lnTo>
                    <a:lnTo>
                      <a:pt x="444" y="152"/>
                    </a:lnTo>
                    <a:lnTo>
                      <a:pt x="446" y="152"/>
                    </a:lnTo>
                    <a:lnTo>
                      <a:pt x="448" y="152"/>
                    </a:lnTo>
                    <a:lnTo>
                      <a:pt x="448" y="154"/>
                    </a:lnTo>
                    <a:lnTo>
                      <a:pt x="448" y="152"/>
                    </a:lnTo>
                    <a:lnTo>
                      <a:pt x="446" y="154"/>
                    </a:lnTo>
                    <a:lnTo>
                      <a:pt x="448" y="154"/>
                    </a:lnTo>
                    <a:lnTo>
                      <a:pt x="448" y="156"/>
                    </a:lnTo>
                    <a:lnTo>
                      <a:pt x="446" y="156"/>
                    </a:lnTo>
                    <a:lnTo>
                      <a:pt x="444" y="156"/>
                    </a:lnTo>
                    <a:lnTo>
                      <a:pt x="446" y="156"/>
                    </a:lnTo>
                    <a:lnTo>
                      <a:pt x="444" y="158"/>
                    </a:lnTo>
                    <a:lnTo>
                      <a:pt x="446" y="158"/>
                    </a:lnTo>
                    <a:lnTo>
                      <a:pt x="446" y="156"/>
                    </a:lnTo>
                    <a:lnTo>
                      <a:pt x="448" y="156"/>
                    </a:lnTo>
                    <a:lnTo>
                      <a:pt x="448" y="158"/>
                    </a:lnTo>
                    <a:lnTo>
                      <a:pt x="446" y="158"/>
                    </a:lnTo>
                    <a:lnTo>
                      <a:pt x="446" y="160"/>
                    </a:lnTo>
                    <a:lnTo>
                      <a:pt x="448" y="160"/>
                    </a:lnTo>
                    <a:lnTo>
                      <a:pt x="446" y="160"/>
                    </a:lnTo>
                    <a:lnTo>
                      <a:pt x="446" y="162"/>
                    </a:lnTo>
                    <a:lnTo>
                      <a:pt x="444" y="162"/>
                    </a:lnTo>
                    <a:lnTo>
                      <a:pt x="444" y="164"/>
                    </a:lnTo>
                    <a:lnTo>
                      <a:pt x="444" y="162"/>
                    </a:lnTo>
                    <a:lnTo>
                      <a:pt x="444" y="164"/>
                    </a:lnTo>
                    <a:lnTo>
                      <a:pt x="442" y="164"/>
                    </a:lnTo>
                    <a:lnTo>
                      <a:pt x="442" y="162"/>
                    </a:lnTo>
                    <a:lnTo>
                      <a:pt x="440" y="164"/>
                    </a:lnTo>
                    <a:lnTo>
                      <a:pt x="440" y="162"/>
                    </a:lnTo>
                    <a:lnTo>
                      <a:pt x="440" y="164"/>
                    </a:lnTo>
                    <a:lnTo>
                      <a:pt x="438" y="164"/>
                    </a:lnTo>
                    <a:lnTo>
                      <a:pt x="436" y="164"/>
                    </a:lnTo>
                    <a:lnTo>
                      <a:pt x="436" y="162"/>
                    </a:lnTo>
                    <a:lnTo>
                      <a:pt x="434" y="162"/>
                    </a:lnTo>
                    <a:lnTo>
                      <a:pt x="434" y="164"/>
                    </a:lnTo>
                    <a:lnTo>
                      <a:pt x="434" y="162"/>
                    </a:lnTo>
                    <a:lnTo>
                      <a:pt x="436" y="162"/>
                    </a:lnTo>
                    <a:lnTo>
                      <a:pt x="436" y="164"/>
                    </a:lnTo>
                    <a:lnTo>
                      <a:pt x="438" y="164"/>
                    </a:lnTo>
                    <a:lnTo>
                      <a:pt x="440" y="164"/>
                    </a:lnTo>
                    <a:lnTo>
                      <a:pt x="440" y="162"/>
                    </a:lnTo>
                    <a:lnTo>
                      <a:pt x="440" y="164"/>
                    </a:lnTo>
                    <a:lnTo>
                      <a:pt x="442" y="162"/>
                    </a:lnTo>
                    <a:lnTo>
                      <a:pt x="442" y="164"/>
                    </a:lnTo>
                    <a:lnTo>
                      <a:pt x="444" y="164"/>
                    </a:lnTo>
                    <a:lnTo>
                      <a:pt x="444" y="162"/>
                    </a:lnTo>
                    <a:lnTo>
                      <a:pt x="444" y="164"/>
                    </a:lnTo>
                    <a:lnTo>
                      <a:pt x="444" y="162"/>
                    </a:lnTo>
                    <a:lnTo>
                      <a:pt x="446" y="162"/>
                    </a:lnTo>
                    <a:lnTo>
                      <a:pt x="446" y="160"/>
                    </a:lnTo>
                    <a:lnTo>
                      <a:pt x="448" y="160"/>
                    </a:lnTo>
                    <a:lnTo>
                      <a:pt x="446" y="160"/>
                    </a:lnTo>
                    <a:lnTo>
                      <a:pt x="446" y="158"/>
                    </a:lnTo>
                    <a:lnTo>
                      <a:pt x="448" y="158"/>
                    </a:lnTo>
                    <a:lnTo>
                      <a:pt x="446" y="158"/>
                    </a:lnTo>
                    <a:lnTo>
                      <a:pt x="448" y="158"/>
                    </a:lnTo>
                    <a:lnTo>
                      <a:pt x="448" y="156"/>
                    </a:lnTo>
                    <a:lnTo>
                      <a:pt x="446" y="156"/>
                    </a:lnTo>
                    <a:lnTo>
                      <a:pt x="446" y="158"/>
                    </a:lnTo>
                    <a:lnTo>
                      <a:pt x="444" y="158"/>
                    </a:lnTo>
                    <a:lnTo>
                      <a:pt x="446" y="158"/>
                    </a:lnTo>
                    <a:lnTo>
                      <a:pt x="444" y="158"/>
                    </a:lnTo>
                    <a:lnTo>
                      <a:pt x="444" y="156"/>
                    </a:lnTo>
                    <a:lnTo>
                      <a:pt x="446" y="156"/>
                    </a:lnTo>
                    <a:lnTo>
                      <a:pt x="448" y="156"/>
                    </a:lnTo>
                    <a:lnTo>
                      <a:pt x="448" y="154"/>
                    </a:lnTo>
                    <a:lnTo>
                      <a:pt x="446" y="154"/>
                    </a:lnTo>
                    <a:lnTo>
                      <a:pt x="448" y="154"/>
                    </a:lnTo>
                    <a:lnTo>
                      <a:pt x="448" y="152"/>
                    </a:lnTo>
                    <a:lnTo>
                      <a:pt x="446" y="150"/>
                    </a:lnTo>
                    <a:lnTo>
                      <a:pt x="446" y="152"/>
                    </a:lnTo>
                    <a:lnTo>
                      <a:pt x="444" y="152"/>
                    </a:lnTo>
                    <a:lnTo>
                      <a:pt x="444" y="150"/>
                    </a:lnTo>
                    <a:lnTo>
                      <a:pt x="446" y="150"/>
                    </a:lnTo>
                    <a:lnTo>
                      <a:pt x="448" y="150"/>
                    </a:lnTo>
                    <a:lnTo>
                      <a:pt x="448" y="148"/>
                    </a:lnTo>
                    <a:lnTo>
                      <a:pt x="448" y="146"/>
                    </a:lnTo>
                    <a:lnTo>
                      <a:pt x="446" y="146"/>
                    </a:lnTo>
                    <a:lnTo>
                      <a:pt x="446" y="144"/>
                    </a:lnTo>
                    <a:lnTo>
                      <a:pt x="448" y="142"/>
                    </a:lnTo>
                    <a:lnTo>
                      <a:pt x="446" y="142"/>
                    </a:lnTo>
                    <a:lnTo>
                      <a:pt x="448" y="142"/>
                    </a:lnTo>
                    <a:lnTo>
                      <a:pt x="448" y="141"/>
                    </a:lnTo>
                    <a:lnTo>
                      <a:pt x="446" y="141"/>
                    </a:lnTo>
                    <a:lnTo>
                      <a:pt x="446" y="139"/>
                    </a:lnTo>
                    <a:lnTo>
                      <a:pt x="448" y="139"/>
                    </a:lnTo>
                    <a:lnTo>
                      <a:pt x="448" y="137"/>
                    </a:lnTo>
                    <a:lnTo>
                      <a:pt x="450" y="135"/>
                    </a:lnTo>
                    <a:lnTo>
                      <a:pt x="448" y="137"/>
                    </a:lnTo>
                    <a:lnTo>
                      <a:pt x="448" y="135"/>
                    </a:lnTo>
                    <a:lnTo>
                      <a:pt x="448" y="133"/>
                    </a:lnTo>
                    <a:lnTo>
                      <a:pt x="450" y="133"/>
                    </a:lnTo>
                    <a:lnTo>
                      <a:pt x="451" y="133"/>
                    </a:lnTo>
                    <a:lnTo>
                      <a:pt x="451" y="135"/>
                    </a:lnTo>
                    <a:lnTo>
                      <a:pt x="451" y="133"/>
                    </a:lnTo>
                    <a:lnTo>
                      <a:pt x="453" y="135"/>
                    </a:lnTo>
                    <a:lnTo>
                      <a:pt x="451" y="133"/>
                    </a:lnTo>
                    <a:lnTo>
                      <a:pt x="453" y="135"/>
                    </a:lnTo>
                    <a:lnTo>
                      <a:pt x="455" y="135"/>
                    </a:lnTo>
                    <a:lnTo>
                      <a:pt x="457" y="135"/>
                    </a:lnTo>
                    <a:lnTo>
                      <a:pt x="459" y="135"/>
                    </a:lnTo>
                    <a:lnTo>
                      <a:pt x="459" y="137"/>
                    </a:lnTo>
                    <a:lnTo>
                      <a:pt x="461" y="135"/>
                    </a:lnTo>
                    <a:lnTo>
                      <a:pt x="459" y="137"/>
                    </a:lnTo>
                    <a:lnTo>
                      <a:pt x="461" y="137"/>
                    </a:lnTo>
                    <a:lnTo>
                      <a:pt x="463" y="137"/>
                    </a:lnTo>
                    <a:lnTo>
                      <a:pt x="465" y="137"/>
                    </a:lnTo>
                    <a:lnTo>
                      <a:pt x="465" y="139"/>
                    </a:lnTo>
                    <a:lnTo>
                      <a:pt x="467" y="139"/>
                    </a:lnTo>
                    <a:lnTo>
                      <a:pt x="469" y="141"/>
                    </a:lnTo>
                    <a:lnTo>
                      <a:pt x="469" y="142"/>
                    </a:lnTo>
                    <a:lnTo>
                      <a:pt x="469" y="144"/>
                    </a:lnTo>
                    <a:lnTo>
                      <a:pt x="469" y="146"/>
                    </a:lnTo>
                    <a:lnTo>
                      <a:pt x="469" y="148"/>
                    </a:lnTo>
                    <a:lnTo>
                      <a:pt x="471" y="148"/>
                    </a:lnTo>
                    <a:lnTo>
                      <a:pt x="471" y="150"/>
                    </a:lnTo>
                    <a:lnTo>
                      <a:pt x="473" y="150"/>
                    </a:lnTo>
                    <a:lnTo>
                      <a:pt x="475" y="150"/>
                    </a:lnTo>
                    <a:lnTo>
                      <a:pt x="473" y="150"/>
                    </a:lnTo>
                    <a:lnTo>
                      <a:pt x="473" y="152"/>
                    </a:lnTo>
                    <a:lnTo>
                      <a:pt x="471" y="152"/>
                    </a:lnTo>
                    <a:lnTo>
                      <a:pt x="473" y="152"/>
                    </a:lnTo>
                    <a:lnTo>
                      <a:pt x="471" y="152"/>
                    </a:lnTo>
                    <a:lnTo>
                      <a:pt x="473" y="152"/>
                    </a:lnTo>
                    <a:lnTo>
                      <a:pt x="471" y="152"/>
                    </a:lnTo>
                    <a:lnTo>
                      <a:pt x="473" y="152"/>
                    </a:lnTo>
                    <a:lnTo>
                      <a:pt x="475" y="150"/>
                    </a:lnTo>
                    <a:lnTo>
                      <a:pt x="475" y="152"/>
                    </a:lnTo>
                    <a:lnTo>
                      <a:pt x="476" y="152"/>
                    </a:lnTo>
                    <a:lnTo>
                      <a:pt x="478" y="152"/>
                    </a:lnTo>
                    <a:lnTo>
                      <a:pt x="478" y="154"/>
                    </a:lnTo>
                    <a:lnTo>
                      <a:pt x="476" y="154"/>
                    </a:lnTo>
                    <a:lnTo>
                      <a:pt x="478" y="154"/>
                    </a:lnTo>
                    <a:lnTo>
                      <a:pt x="478" y="156"/>
                    </a:lnTo>
                    <a:lnTo>
                      <a:pt x="476" y="156"/>
                    </a:lnTo>
                    <a:lnTo>
                      <a:pt x="478" y="156"/>
                    </a:lnTo>
                    <a:lnTo>
                      <a:pt x="478" y="154"/>
                    </a:lnTo>
                    <a:lnTo>
                      <a:pt x="476" y="154"/>
                    </a:lnTo>
                    <a:lnTo>
                      <a:pt x="478" y="154"/>
                    </a:lnTo>
                    <a:lnTo>
                      <a:pt x="480" y="154"/>
                    </a:lnTo>
                    <a:lnTo>
                      <a:pt x="480" y="156"/>
                    </a:lnTo>
                    <a:lnTo>
                      <a:pt x="480" y="154"/>
                    </a:lnTo>
                    <a:lnTo>
                      <a:pt x="482" y="154"/>
                    </a:lnTo>
                    <a:lnTo>
                      <a:pt x="484" y="154"/>
                    </a:lnTo>
                    <a:lnTo>
                      <a:pt x="486" y="154"/>
                    </a:lnTo>
                    <a:lnTo>
                      <a:pt x="488" y="154"/>
                    </a:lnTo>
                    <a:lnTo>
                      <a:pt x="490" y="154"/>
                    </a:lnTo>
                    <a:lnTo>
                      <a:pt x="490" y="156"/>
                    </a:lnTo>
                    <a:lnTo>
                      <a:pt x="490" y="154"/>
                    </a:lnTo>
                    <a:lnTo>
                      <a:pt x="492" y="154"/>
                    </a:lnTo>
                    <a:lnTo>
                      <a:pt x="490" y="154"/>
                    </a:lnTo>
                    <a:lnTo>
                      <a:pt x="490" y="156"/>
                    </a:lnTo>
                    <a:lnTo>
                      <a:pt x="492" y="158"/>
                    </a:lnTo>
                    <a:lnTo>
                      <a:pt x="492" y="156"/>
                    </a:lnTo>
                    <a:lnTo>
                      <a:pt x="490" y="156"/>
                    </a:lnTo>
                    <a:lnTo>
                      <a:pt x="492" y="156"/>
                    </a:lnTo>
                    <a:lnTo>
                      <a:pt x="492" y="154"/>
                    </a:lnTo>
                    <a:lnTo>
                      <a:pt x="492" y="156"/>
                    </a:lnTo>
                    <a:lnTo>
                      <a:pt x="494" y="156"/>
                    </a:lnTo>
                    <a:lnTo>
                      <a:pt x="496" y="156"/>
                    </a:lnTo>
                    <a:lnTo>
                      <a:pt x="498" y="156"/>
                    </a:lnTo>
                    <a:lnTo>
                      <a:pt x="496" y="156"/>
                    </a:lnTo>
                    <a:lnTo>
                      <a:pt x="494" y="156"/>
                    </a:lnTo>
                    <a:lnTo>
                      <a:pt x="496" y="156"/>
                    </a:lnTo>
                    <a:lnTo>
                      <a:pt x="494" y="156"/>
                    </a:lnTo>
                    <a:lnTo>
                      <a:pt x="492" y="156"/>
                    </a:lnTo>
                    <a:lnTo>
                      <a:pt x="492" y="154"/>
                    </a:lnTo>
                    <a:lnTo>
                      <a:pt x="492" y="156"/>
                    </a:lnTo>
                    <a:lnTo>
                      <a:pt x="494" y="156"/>
                    </a:lnTo>
                    <a:lnTo>
                      <a:pt x="494" y="154"/>
                    </a:lnTo>
                    <a:lnTo>
                      <a:pt x="492" y="154"/>
                    </a:lnTo>
                    <a:lnTo>
                      <a:pt x="492" y="152"/>
                    </a:lnTo>
                    <a:lnTo>
                      <a:pt x="492" y="154"/>
                    </a:lnTo>
                    <a:lnTo>
                      <a:pt x="494" y="154"/>
                    </a:lnTo>
                    <a:lnTo>
                      <a:pt x="496" y="152"/>
                    </a:lnTo>
                    <a:lnTo>
                      <a:pt x="494" y="152"/>
                    </a:lnTo>
                    <a:lnTo>
                      <a:pt x="496" y="152"/>
                    </a:lnTo>
                    <a:lnTo>
                      <a:pt x="496" y="150"/>
                    </a:lnTo>
                    <a:lnTo>
                      <a:pt x="494" y="150"/>
                    </a:lnTo>
                    <a:lnTo>
                      <a:pt x="494" y="152"/>
                    </a:lnTo>
                    <a:lnTo>
                      <a:pt x="494" y="150"/>
                    </a:lnTo>
                    <a:lnTo>
                      <a:pt x="494" y="152"/>
                    </a:lnTo>
                    <a:lnTo>
                      <a:pt x="492" y="152"/>
                    </a:lnTo>
                    <a:lnTo>
                      <a:pt x="490" y="152"/>
                    </a:lnTo>
                    <a:lnTo>
                      <a:pt x="490" y="150"/>
                    </a:lnTo>
                    <a:lnTo>
                      <a:pt x="488" y="150"/>
                    </a:lnTo>
                    <a:lnTo>
                      <a:pt x="488" y="152"/>
                    </a:lnTo>
                    <a:lnTo>
                      <a:pt x="490" y="152"/>
                    </a:lnTo>
                    <a:lnTo>
                      <a:pt x="488" y="154"/>
                    </a:lnTo>
                    <a:lnTo>
                      <a:pt x="488" y="152"/>
                    </a:lnTo>
                    <a:lnTo>
                      <a:pt x="488" y="154"/>
                    </a:lnTo>
                    <a:lnTo>
                      <a:pt x="486" y="154"/>
                    </a:lnTo>
                    <a:lnTo>
                      <a:pt x="484" y="152"/>
                    </a:lnTo>
                    <a:lnTo>
                      <a:pt x="482" y="152"/>
                    </a:lnTo>
                    <a:lnTo>
                      <a:pt x="480" y="154"/>
                    </a:lnTo>
                    <a:lnTo>
                      <a:pt x="478" y="154"/>
                    </a:lnTo>
                    <a:lnTo>
                      <a:pt x="480" y="154"/>
                    </a:lnTo>
                    <a:lnTo>
                      <a:pt x="480" y="152"/>
                    </a:lnTo>
                    <a:lnTo>
                      <a:pt x="480" y="150"/>
                    </a:lnTo>
                    <a:lnTo>
                      <a:pt x="482" y="148"/>
                    </a:lnTo>
                    <a:lnTo>
                      <a:pt x="480" y="148"/>
                    </a:lnTo>
                    <a:lnTo>
                      <a:pt x="482" y="148"/>
                    </a:lnTo>
                    <a:lnTo>
                      <a:pt x="484" y="146"/>
                    </a:lnTo>
                    <a:lnTo>
                      <a:pt x="482" y="146"/>
                    </a:lnTo>
                    <a:lnTo>
                      <a:pt x="482" y="144"/>
                    </a:lnTo>
                    <a:lnTo>
                      <a:pt x="482" y="142"/>
                    </a:lnTo>
                    <a:lnTo>
                      <a:pt x="480" y="142"/>
                    </a:lnTo>
                    <a:lnTo>
                      <a:pt x="478" y="144"/>
                    </a:lnTo>
                    <a:lnTo>
                      <a:pt x="480" y="144"/>
                    </a:lnTo>
                    <a:lnTo>
                      <a:pt x="480" y="146"/>
                    </a:lnTo>
                    <a:lnTo>
                      <a:pt x="482" y="146"/>
                    </a:lnTo>
                    <a:lnTo>
                      <a:pt x="480" y="146"/>
                    </a:lnTo>
                    <a:lnTo>
                      <a:pt x="478" y="146"/>
                    </a:lnTo>
                    <a:lnTo>
                      <a:pt x="478" y="144"/>
                    </a:lnTo>
                    <a:lnTo>
                      <a:pt x="476" y="144"/>
                    </a:lnTo>
                    <a:lnTo>
                      <a:pt x="476" y="142"/>
                    </a:lnTo>
                    <a:lnTo>
                      <a:pt x="478" y="144"/>
                    </a:lnTo>
                    <a:lnTo>
                      <a:pt x="476" y="142"/>
                    </a:lnTo>
                    <a:lnTo>
                      <a:pt x="478" y="142"/>
                    </a:lnTo>
                    <a:lnTo>
                      <a:pt x="478" y="141"/>
                    </a:lnTo>
                    <a:lnTo>
                      <a:pt x="478" y="139"/>
                    </a:lnTo>
                    <a:lnTo>
                      <a:pt x="478" y="137"/>
                    </a:lnTo>
                    <a:lnTo>
                      <a:pt x="480" y="137"/>
                    </a:lnTo>
                    <a:lnTo>
                      <a:pt x="480" y="135"/>
                    </a:lnTo>
                    <a:lnTo>
                      <a:pt x="478" y="135"/>
                    </a:lnTo>
                    <a:lnTo>
                      <a:pt x="478" y="133"/>
                    </a:lnTo>
                    <a:lnTo>
                      <a:pt x="476" y="133"/>
                    </a:lnTo>
                    <a:lnTo>
                      <a:pt x="478" y="133"/>
                    </a:lnTo>
                    <a:lnTo>
                      <a:pt x="478" y="135"/>
                    </a:lnTo>
                    <a:lnTo>
                      <a:pt x="476" y="133"/>
                    </a:lnTo>
                    <a:lnTo>
                      <a:pt x="475" y="133"/>
                    </a:lnTo>
                    <a:lnTo>
                      <a:pt x="473" y="133"/>
                    </a:lnTo>
                    <a:lnTo>
                      <a:pt x="471" y="133"/>
                    </a:lnTo>
                    <a:lnTo>
                      <a:pt x="471" y="131"/>
                    </a:lnTo>
                    <a:lnTo>
                      <a:pt x="473" y="129"/>
                    </a:lnTo>
                    <a:lnTo>
                      <a:pt x="473" y="127"/>
                    </a:lnTo>
                    <a:lnTo>
                      <a:pt x="475" y="129"/>
                    </a:lnTo>
                    <a:lnTo>
                      <a:pt x="475" y="127"/>
                    </a:lnTo>
                    <a:lnTo>
                      <a:pt x="473" y="127"/>
                    </a:lnTo>
                    <a:lnTo>
                      <a:pt x="471" y="127"/>
                    </a:lnTo>
                    <a:lnTo>
                      <a:pt x="471" y="129"/>
                    </a:lnTo>
                    <a:lnTo>
                      <a:pt x="469" y="129"/>
                    </a:lnTo>
                    <a:lnTo>
                      <a:pt x="467" y="129"/>
                    </a:lnTo>
                    <a:lnTo>
                      <a:pt x="467" y="131"/>
                    </a:lnTo>
                    <a:lnTo>
                      <a:pt x="465" y="131"/>
                    </a:lnTo>
                    <a:lnTo>
                      <a:pt x="463" y="129"/>
                    </a:lnTo>
                    <a:lnTo>
                      <a:pt x="463" y="127"/>
                    </a:lnTo>
                    <a:lnTo>
                      <a:pt x="461" y="127"/>
                    </a:lnTo>
                    <a:lnTo>
                      <a:pt x="459" y="127"/>
                    </a:lnTo>
                    <a:lnTo>
                      <a:pt x="461" y="127"/>
                    </a:lnTo>
                    <a:lnTo>
                      <a:pt x="461" y="129"/>
                    </a:lnTo>
                    <a:lnTo>
                      <a:pt x="463" y="129"/>
                    </a:lnTo>
                    <a:lnTo>
                      <a:pt x="461" y="129"/>
                    </a:lnTo>
                    <a:lnTo>
                      <a:pt x="461" y="127"/>
                    </a:lnTo>
                    <a:lnTo>
                      <a:pt x="459" y="127"/>
                    </a:lnTo>
                    <a:lnTo>
                      <a:pt x="457" y="127"/>
                    </a:lnTo>
                    <a:lnTo>
                      <a:pt x="457" y="125"/>
                    </a:lnTo>
                    <a:lnTo>
                      <a:pt x="455" y="125"/>
                    </a:lnTo>
                    <a:lnTo>
                      <a:pt x="455" y="123"/>
                    </a:lnTo>
                    <a:lnTo>
                      <a:pt x="455" y="121"/>
                    </a:lnTo>
                    <a:lnTo>
                      <a:pt x="453" y="121"/>
                    </a:lnTo>
                    <a:lnTo>
                      <a:pt x="453" y="119"/>
                    </a:lnTo>
                    <a:lnTo>
                      <a:pt x="455" y="119"/>
                    </a:lnTo>
                    <a:lnTo>
                      <a:pt x="455" y="117"/>
                    </a:lnTo>
                    <a:lnTo>
                      <a:pt x="455" y="119"/>
                    </a:lnTo>
                    <a:lnTo>
                      <a:pt x="453" y="119"/>
                    </a:lnTo>
                    <a:lnTo>
                      <a:pt x="451" y="119"/>
                    </a:lnTo>
                    <a:lnTo>
                      <a:pt x="450" y="119"/>
                    </a:lnTo>
                    <a:lnTo>
                      <a:pt x="448" y="117"/>
                    </a:lnTo>
                    <a:lnTo>
                      <a:pt x="446" y="116"/>
                    </a:lnTo>
                    <a:lnTo>
                      <a:pt x="444" y="116"/>
                    </a:lnTo>
                    <a:lnTo>
                      <a:pt x="444" y="114"/>
                    </a:lnTo>
                    <a:lnTo>
                      <a:pt x="444" y="112"/>
                    </a:lnTo>
                    <a:lnTo>
                      <a:pt x="442" y="112"/>
                    </a:lnTo>
                    <a:lnTo>
                      <a:pt x="442" y="110"/>
                    </a:lnTo>
                    <a:lnTo>
                      <a:pt x="440" y="110"/>
                    </a:lnTo>
                    <a:lnTo>
                      <a:pt x="438" y="108"/>
                    </a:lnTo>
                    <a:lnTo>
                      <a:pt x="438" y="106"/>
                    </a:lnTo>
                    <a:lnTo>
                      <a:pt x="438" y="104"/>
                    </a:lnTo>
                    <a:lnTo>
                      <a:pt x="438" y="102"/>
                    </a:lnTo>
                    <a:lnTo>
                      <a:pt x="438" y="100"/>
                    </a:lnTo>
                    <a:lnTo>
                      <a:pt x="436" y="100"/>
                    </a:lnTo>
                    <a:lnTo>
                      <a:pt x="436" y="98"/>
                    </a:lnTo>
                    <a:lnTo>
                      <a:pt x="436" y="96"/>
                    </a:lnTo>
                    <a:lnTo>
                      <a:pt x="436" y="94"/>
                    </a:lnTo>
                    <a:lnTo>
                      <a:pt x="436" y="92"/>
                    </a:lnTo>
                    <a:lnTo>
                      <a:pt x="436" y="91"/>
                    </a:lnTo>
                    <a:lnTo>
                      <a:pt x="434" y="91"/>
                    </a:lnTo>
                    <a:lnTo>
                      <a:pt x="434" y="89"/>
                    </a:lnTo>
                    <a:lnTo>
                      <a:pt x="436" y="89"/>
                    </a:lnTo>
                    <a:lnTo>
                      <a:pt x="438" y="89"/>
                    </a:lnTo>
                    <a:lnTo>
                      <a:pt x="440" y="89"/>
                    </a:lnTo>
                    <a:lnTo>
                      <a:pt x="440" y="87"/>
                    </a:lnTo>
                    <a:lnTo>
                      <a:pt x="440" y="89"/>
                    </a:lnTo>
                    <a:lnTo>
                      <a:pt x="438" y="89"/>
                    </a:lnTo>
                    <a:lnTo>
                      <a:pt x="440" y="87"/>
                    </a:lnTo>
                    <a:lnTo>
                      <a:pt x="442" y="87"/>
                    </a:lnTo>
                    <a:lnTo>
                      <a:pt x="444" y="85"/>
                    </a:lnTo>
                    <a:lnTo>
                      <a:pt x="444" y="87"/>
                    </a:lnTo>
                    <a:lnTo>
                      <a:pt x="444" y="89"/>
                    </a:lnTo>
                    <a:lnTo>
                      <a:pt x="444" y="87"/>
                    </a:lnTo>
                    <a:lnTo>
                      <a:pt x="444" y="89"/>
                    </a:lnTo>
                    <a:lnTo>
                      <a:pt x="446" y="89"/>
                    </a:lnTo>
                    <a:lnTo>
                      <a:pt x="444" y="89"/>
                    </a:lnTo>
                    <a:lnTo>
                      <a:pt x="446" y="89"/>
                    </a:lnTo>
                    <a:lnTo>
                      <a:pt x="446" y="91"/>
                    </a:lnTo>
                    <a:lnTo>
                      <a:pt x="446" y="92"/>
                    </a:lnTo>
                    <a:lnTo>
                      <a:pt x="448" y="92"/>
                    </a:lnTo>
                    <a:lnTo>
                      <a:pt x="446" y="92"/>
                    </a:lnTo>
                    <a:lnTo>
                      <a:pt x="446" y="91"/>
                    </a:lnTo>
                    <a:lnTo>
                      <a:pt x="446" y="89"/>
                    </a:lnTo>
                    <a:lnTo>
                      <a:pt x="444" y="87"/>
                    </a:lnTo>
                    <a:lnTo>
                      <a:pt x="444" y="85"/>
                    </a:lnTo>
                    <a:lnTo>
                      <a:pt x="450" y="85"/>
                    </a:lnTo>
                    <a:lnTo>
                      <a:pt x="451" y="85"/>
                    </a:lnTo>
                    <a:lnTo>
                      <a:pt x="453" y="85"/>
                    </a:lnTo>
                    <a:lnTo>
                      <a:pt x="455" y="85"/>
                    </a:lnTo>
                    <a:lnTo>
                      <a:pt x="457" y="85"/>
                    </a:lnTo>
                    <a:lnTo>
                      <a:pt x="457" y="87"/>
                    </a:lnTo>
                    <a:lnTo>
                      <a:pt x="459" y="89"/>
                    </a:lnTo>
                    <a:lnTo>
                      <a:pt x="461" y="89"/>
                    </a:lnTo>
                    <a:lnTo>
                      <a:pt x="461" y="91"/>
                    </a:lnTo>
                    <a:lnTo>
                      <a:pt x="463" y="92"/>
                    </a:lnTo>
                    <a:lnTo>
                      <a:pt x="465" y="94"/>
                    </a:lnTo>
                    <a:lnTo>
                      <a:pt x="465" y="96"/>
                    </a:lnTo>
                    <a:lnTo>
                      <a:pt x="467" y="96"/>
                    </a:lnTo>
                    <a:lnTo>
                      <a:pt x="467" y="98"/>
                    </a:lnTo>
                    <a:lnTo>
                      <a:pt x="469" y="98"/>
                    </a:lnTo>
                    <a:lnTo>
                      <a:pt x="469" y="100"/>
                    </a:lnTo>
                    <a:lnTo>
                      <a:pt x="471" y="100"/>
                    </a:lnTo>
                    <a:lnTo>
                      <a:pt x="473" y="100"/>
                    </a:lnTo>
                    <a:lnTo>
                      <a:pt x="473" y="102"/>
                    </a:lnTo>
                    <a:lnTo>
                      <a:pt x="475" y="102"/>
                    </a:lnTo>
                    <a:lnTo>
                      <a:pt x="475" y="100"/>
                    </a:lnTo>
                    <a:lnTo>
                      <a:pt x="476" y="100"/>
                    </a:lnTo>
                    <a:lnTo>
                      <a:pt x="478" y="100"/>
                    </a:lnTo>
                    <a:lnTo>
                      <a:pt x="478" y="102"/>
                    </a:lnTo>
                    <a:lnTo>
                      <a:pt x="478" y="100"/>
                    </a:lnTo>
                    <a:lnTo>
                      <a:pt x="480" y="100"/>
                    </a:lnTo>
                    <a:lnTo>
                      <a:pt x="482" y="100"/>
                    </a:lnTo>
                    <a:lnTo>
                      <a:pt x="480" y="100"/>
                    </a:lnTo>
                    <a:lnTo>
                      <a:pt x="482" y="100"/>
                    </a:lnTo>
                    <a:lnTo>
                      <a:pt x="480" y="100"/>
                    </a:lnTo>
                    <a:lnTo>
                      <a:pt x="482" y="100"/>
                    </a:lnTo>
                    <a:lnTo>
                      <a:pt x="482" y="102"/>
                    </a:lnTo>
                    <a:lnTo>
                      <a:pt x="482" y="100"/>
                    </a:lnTo>
                    <a:lnTo>
                      <a:pt x="482" y="102"/>
                    </a:lnTo>
                    <a:lnTo>
                      <a:pt x="484" y="102"/>
                    </a:lnTo>
                    <a:lnTo>
                      <a:pt x="484" y="104"/>
                    </a:lnTo>
                    <a:lnTo>
                      <a:pt x="486" y="104"/>
                    </a:lnTo>
                    <a:lnTo>
                      <a:pt x="486" y="106"/>
                    </a:lnTo>
                    <a:lnTo>
                      <a:pt x="486" y="104"/>
                    </a:lnTo>
                    <a:lnTo>
                      <a:pt x="484" y="104"/>
                    </a:lnTo>
                    <a:lnTo>
                      <a:pt x="484" y="102"/>
                    </a:lnTo>
                    <a:lnTo>
                      <a:pt x="482" y="102"/>
                    </a:lnTo>
                    <a:lnTo>
                      <a:pt x="484" y="102"/>
                    </a:lnTo>
                    <a:lnTo>
                      <a:pt x="482" y="100"/>
                    </a:lnTo>
                    <a:lnTo>
                      <a:pt x="480" y="100"/>
                    </a:lnTo>
                    <a:lnTo>
                      <a:pt x="482" y="98"/>
                    </a:lnTo>
                    <a:lnTo>
                      <a:pt x="484" y="98"/>
                    </a:lnTo>
                    <a:lnTo>
                      <a:pt x="484" y="96"/>
                    </a:lnTo>
                    <a:lnTo>
                      <a:pt x="486" y="96"/>
                    </a:lnTo>
                    <a:lnTo>
                      <a:pt x="484" y="96"/>
                    </a:lnTo>
                    <a:lnTo>
                      <a:pt x="486" y="96"/>
                    </a:lnTo>
                    <a:lnTo>
                      <a:pt x="486" y="94"/>
                    </a:lnTo>
                    <a:lnTo>
                      <a:pt x="484" y="92"/>
                    </a:lnTo>
                    <a:lnTo>
                      <a:pt x="484" y="91"/>
                    </a:lnTo>
                    <a:lnTo>
                      <a:pt x="482" y="89"/>
                    </a:lnTo>
                    <a:lnTo>
                      <a:pt x="482" y="87"/>
                    </a:lnTo>
                    <a:lnTo>
                      <a:pt x="480" y="87"/>
                    </a:lnTo>
                    <a:lnTo>
                      <a:pt x="478" y="87"/>
                    </a:lnTo>
                    <a:lnTo>
                      <a:pt x="476" y="87"/>
                    </a:lnTo>
                    <a:lnTo>
                      <a:pt x="476" y="85"/>
                    </a:lnTo>
                    <a:lnTo>
                      <a:pt x="475" y="87"/>
                    </a:lnTo>
                    <a:lnTo>
                      <a:pt x="473" y="87"/>
                    </a:lnTo>
                    <a:lnTo>
                      <a:pt x="471" y="87"/>
                    </a:lnTo>
                    <a:lnTo>
                      <a:pt x="469" y="87"/>
                    </a:lnTo>
                    <a:lnTo>
                      <a:pt x="469" y="85"/>
                    </a:lnTo>
                    <a:lnTo>
                      <a:pt x="467" y="85"/>
                    </a:lnTo>
                    <a:lnTo>
                      <a:pt x="469" y="85"/>
                    </a:lnTo>
                    <a:lnTo>
                      <a:pt x="469" y="83"/>
                    </a:lnTo>
                    <a:lnTo>
                      <a:pt x="471" y="81"/>
                    </a:lnTo>
                    <a:lnTo>
                      <a:pt x="471" y="79"/>
                    </a:lnTo>
                    <a:lnTo>
                      <a:pt x="473" y="79"/>
                    </a:lnTo>
                    <a:lnTo>
                      <a:pt x="473" y="81"/>
                    </a:lnTo>
                    <a:lnTo>
                      <a:pt x="475" y="81"/>
                    </a:lnTo>
                    <a:lnTo>
                      <a:pt x="476" y="81"/>
                    </a:lnTo>
                    <a:lnTo>
                      <a:pt x="476" y="79"/>
                    </a:lnTo>
                    <a:lnTo>
                      <a:pt x="476" y="81"/>
                    </a:lnTo>
                    <a:lnTo>
                      <a:pt x="476" y="79"/>
                    </a:lnTo>
                    <a:lnTo>
                      <a:pt x="476" y="81"/>
                    </a:lnTo>
                    <a:lnTo>
                      <a:pt x="476" y="79"/>
                    </a:lnTo>
                    <a:lnTo>
                      <a:pt x="478" y="77"/>
                    </a:lnTo>
                    <a:lnTo>
                      <a:pt x="480" y="77"/>
                    </a:lnTo>
                    <a:lnTo>
                      <a:pt x="480" y="75"/>
                    </a:lnTo>
                    <a:lnTo>
                      <a:pt x="482" y="75"/>
                    </a:lnTo>
                    <a:lnTo>
                      <a:pt x="482" y="73"/>
                    </a:lnTo>
                    <a:lnTo>
                      <a:pt x="484" y="73"/>
                    </a:lnTo>
                    <a:lnTo>
                      <a:pt x="486" y="73"/>
                    </a:lnTo>
                    <a:lnTo>
                      <a:pt x="488" y="73"/>
                    </a:lnTo>
                    <a:lnTo>
                      <a:pt x="488" y="75"/>
                    </a:lnTo>
                    <a:lnTo>
                      <a:pt x="488" y="73"/>
                    </a:lnTo>
                    <a:lnTo>
                      <a:pt x="488" y="75"/>
                    </a:lnTo>
                    <a:lnTo>
                      <a:pt x="488" y="73"/>
                    </a:lnTo>
                    <a:lnTo>
                      <a:pt x="490" y="73"/>
                    </a:lnTo>
                    <a:lnTo>
                      <a:pt x="490" y="75"/>
                    </a:lnTo>
                    <a:lnTo>
                      <a:pt x="492" y="77"/>
                    </a:lnTo>
                    <a:lnTo>
                      <a:pt x="494" y="77"/>
                    </a:lnTo>
                    <a:lnTo>
                      <a:pt x="494" y="79"/>
                    </a:lnTo>
                    <a:lnTo>
                      <a:pt x="496" y="79"/>
                    </a:lnTo>
                    <a:lnTo>
                      <a:pt x="496" y="81"/>
                    </a:lnTo>
                    <a:lnTo>
                      <a:pt x="498" y="81"/>
                    </a:lnTo>
                    <a:lnTo>
                      <a:pt x="496" y="81"/>
                    </a:lnTo>
                    <a:lnTo>
                      <a:pt x="496" y="83"/>
                    </a:lnTo>
                    <a:lnTo>
                      <a:pt x="498" y="83"/>
                    </a:lnTo>
                    <a:lnTo>
                      <a:pt x="496" y="83"/>
                    </a:lnTo>
                    <a:lnTo>
                      <a:pt x="494" y="83"/>
                    </a:lnTo>
                    <a:lnTo>
                      <a:pt x="496" y="83"/>
                    </a:lnTo>
                    <a:lnTo>
                      <a:pt x="496" y="85"/>
                    </a:lnTo>
                    <a:lnTo>
                      <a:pt x="498" y="85"/>
                    </a:lnTo>
                    <a:lnTo>
                      <a:pt x="498" y="87"/>
                    </a:lnTo>
                    <a:lnTo>
                      <a:pt x="498" y="85"/>
                    </a:lnTo>
                    <a:lnTo>
                      <a:pt x="499" y="85"/>
                    </a:lnTo>
                    <a:lnTo>
                      <a:pt x="499" y="87"/>
                    </a:lnTo>
                    <a:lnTo>
                      <a:pt x="498" y="87"/>
                    </a:lnTo>
                    <a:lnTo>
                      <a:pt x="499" y="87"/>
                    </a:lnTo>
                    <a:lnTo>
                      <a:pt x="499" y="89"/>
                    </a:lnTo>
                    <a:lnTo>
                      <a:pt x="501" y="89"/>
                    </a:lnTo>
                    <a:lnTo>
                      <a:pt x="503" y="89"/>
                    </a:lnTo>
                    <a:lnTo>
                      <a:pt x="503" y="91"/>
                    </a:lnTo>
                    <a:lnTo>
                      <a:pt x="505" y="91"/>
                    </a:lnTo>
                    <a:lnTo>
                      <a:pt x="503" y="91"/>
                    </a:lnTo>
                    <a:lnTo>
                      <a:pt x="505" y="91"/>
                    </a:lnTo>
                    <a:lnTo>
                      <a:pt x="505" y="92"/>
                    </a:lnTo>
                    <a:lnTo>
                      <a:pt x="507" y="92"/>
                    </a:lnTo>
                    <a:lnTo>
                      <a:pt x="509" y="92"/>
                    </a:lnTo>
                    <a:lnTo>
                      <a:pt x="509" y="94"/>
                    </a:lnTo>
                    <a:lnTo>
                      <a:pt x="511" y="94"/>
                    </a:lnTo>
                    <a:lnTo>
                      <a:pt x="511" y="96"/>
                    </a:lnTo>
                    <a:lnTo>
                      <a:pt x="513" y="96"/>
                    </a:lnTo>
                    <a:lnTo>
                      <a:pt x="513" y="94"/>
                    </a:lnTo>
                    <a:lnTo>
                      <a:pt x="513" y="96"/>
                    </a:lnTo>
                    <a:lnTo>
                      <a:pt x="513" y="94"/>
                    </a:lnTo>
                    <a:lnTo>
                      <a:pt x="515" y="94"/>
                    </a:lnTo>
                    <a:lnTo>
                      <a:pt x="515" y="96"/>
                    </a:lnTo>
                    <a:lnTo>
                      <a:pt x="517" y="96"/>
                    </a:lnTo>
                    <a:lnTo>
                      <a:pt x="517" y="94"/>
                    </a:lnTo>
                    <a:lnTo>
                      <a:pt x="519" y="94"/>
                    </a:lnTo>
                    <a:lnTo>
                      <a:pt x="519" y="96"/>
                    </a:lnTo>
                    <a:lnTo>
                      <a:pt x="521" y="96"/>
                    </a:lnTo>
                    <a:lnTo>
                      <a:pt x="521" y="98"/>
                    </a:lnTo>
                    <a:lnTo>
                      <a:pt x="521" y="96"/>
                    </a:lnTo>
                    <a:lnTo>
                      <a:pt x="521" y="98"/>
                    </a:lnTo>
                    <a:lnTo>
                      <a:pt x="523" y="98"/>
                    </a:lnTo>
                    <a:lnTo>
                      <a:pt x="523" y="100"/>
                    </a:lnTo>
                    <a:lnTo>
                      <a:pt x="524" y="100"/>
                    </a:lnTo>
                    <a:lnTo>
                      <a:pt x="526" y="100"/>
                    </a:lnTo>
                    <a:lnTo>
                      <a:pt x="526" y="102"/>
                    </a:lnTo>
                    <a:lnTo>
                      <a:pt x="526" y="100"/>
                    </a:lnTo>
                    <a:lnTo>
                      <a:pt x="526" y="102"/>
                    </a:lnTo>
                    <a:lnTo>
                      <a:pt x="528" y="102"/>
                    </a:lnTo>
                    <a:lnTo>
                      <a:pt x="528" y="104"/>
                    </a:lnTo>
                    <a:lnTo>
                      <a:pt x="530" y="104"/>
                    </a:lnTo>
                    <a:lnTo>
                      <a:pt x="530" y="106"/>
                    </a:lnTo>
                    <a:lnTo>
                      <a:pt x="532" y="106"/>
                    </a:lnTo>
                    <a:lnTo>
                      <a:pt x="532" y="108"/>
                    </a:lnTo>
                    <a:lnTo>
                      <a:pt x="530" y="108"/>
                    </a:lnTo>
                    <a:lnTo>
                      <a:pt x="528" y="108"/>
                    </a:lnTo>
                    <a:lnTo>
                      <a:pt x="530" y="108"/>
                    </a:lnTo>
                    <a:lnTo>
                      <a:pt x="528" y="108"/>
                    </a:lnTo>
                    <a:lnTo>
                      <a:pt x="526" y="108"/>
                    </a:lnTo>
                    <a:lnTo>
                      <a:pt x="524" y="108"/>
                    </a:lnTo>
                    <a:lnTo>
                      <a:pt x="526" y="110"/>
                    </a:lnTo>
                    <a:lnTo>
                      <a:pt x="524" y="110"/>
                    </a:lnTo>
                    <a:lnTo>
                      <a:pt x="524" y="108"/>
                    </a:lnTo>
                    <a:lnTo>
                      <a:pt x="524" y="110"/>
                    </a:lnTo>
                    <a:lnTo>
                      <a:pt x="526" y="110"/>
                    </a:lnTo>
                    <a:lnTo>
                      <a:pt x="524" y="110"/>
                    </a:lnTo>
                    <a:lnTo>
                      <a:pt x="526" y="110"/>
                    </a:lnTo>
                    <a:lnTo>
                      <a:pt x="526" y="112"/>
                    </a:lnTo>
                    <a:lnTo>
                      <a:pt x="524" y="112"/>
                    </a:lnTo>
                    <a:lnTo>
                      <a:pt x="526" y="112"/>
                    </a:lnTo>
                    <a:lnTo>
                      <a:pt x="524" y="112"/>
                    </a:lnTo>
                    <a:lnTo>
                      <a:pt x="526" y="112"/>
                    </a:lnTo>
                    <a:lnTo>
                      <a:pt x="526" y="114"/>
                    </a:lnTo>
                    <a:lnTo>
                      <a:pt x="524" y="114"/>
                    </a:lnTo>
                    <a:lnTo>
                      <a:pt x="526" y="114"/>
                    </a:lnTo>
                    <a:lnTo>
                      <a:pt x="524" y="114"/>
                    </a:lnTo>
                    <a:lnTo>
                      <a:pt x="524" y="116"/>
                    </a:lnTo>
                    <a:lnTo>
                      <a:pt x="526" y="116"/>
                    </a:lnTo>
                    <a:lnTo>
                      <a:pt x="524" y="116"/>
                    </a:lnTo>
                    <a:lnTo>
                      <a:pt x="526" y="116"/>
                    </a:lnTo>
                    <a:lnTo>
                      <a:pt x="524" y="116"/>
                    </a:lnTo>
                    <a:lnTo>
                      <a:pt x="524" y="117"/>
                    </a:lnTo>
                    <a:lnTo>
                      <a:pt x="526" y="117"/>
                    </a:lnTo>
                    <a:lnTo>
                      <a:pt x="524" y="117"/>
                    </a:lnTo>
                    <a:lnTo>
                      <a:pt x="524" y="119"/>
                    </a:lnTo>
                    <a:lnTo>
                      <a:pt x="524" y="117"/>
                    </a:lnTo>
                    <a:lnTo>
                      <a:pt x="523" y="119"/>
                    </a:lnTo>
                    <a:lnTo>
                      <a:pt x="523" y="117"/>
                    </a:lnTo>
                    <a:lnTo>
                      <a:pt x="523" y="119"/>
                    </a:lnTo>
                    <a:lnTo>
                      <a:pt x="521" y="119"/>
                    </a:lnTo>
                    <a:lnTo>
                      <a:pt x="521" y="121"/>
                    </a:lnTo>
                    <a:lnTo>
                      <a:pt x="519" y="121"/>
                    </a:lnTo>
                    <a:lnTo>
                      <a:pt x="517" y="121"/>
                    </a:lnTo>
                    <a:lnTo>
                      <a:pt x="515" y="121"/>
                    </a:lnTo>
                    <a:lnTo>
                      <a:pt x="515" y="119"/>
                    </a:lnTo>
                    <a:lnTo>
                      <a:pt x="513" y="119"/>
                    </a:lnTo>
                    <a:lnTo>
                      <a:pt x="511" y="119"/>
                    </a:lnTo>
                    <a:lnTo>
                      <a:pt x="509" y="119"/>
                    </a:lnTo>
                    <a:lnTo>
                      <a:pt x="509" y="117"/>
                    </a:lnTo>
                    <a:lnTo>
                      <a:pt x="507" y="117"/>
                    </a:lnTo>
                    <a:lnTo>
                      <a:pt x="507" y="119"/>
                    </a:lnTo>
                    <a:lnTo>
                      <a:pt x="505" y="119"/>
                    </a:lnTo>
                    <a:lnTo>
                      <a:pt x="507" y="121"/>
                    </a:lnTo>
                    <a:lnTo>
                      <a:pt x="507" y="123"/>
                    </a:lnTo>
                    <a:lnTo>
                      <a:pt x="505" y="125"/>
                    </a:lnTo>
                    <a:lnTo>
                      <a:pt x="503" y="127"/>
                    </a:lnTo>
                    <a:lnTo>
                      <a:pt x="501" y="129"/>
                    </a:lnTo>
                    <a:lnTo>
                      <a:pt x="499" y="129"/>
                    </a:lnTo>
                    <a:lnTo>
                      <a:pt x="499" y="131"/>
                    </a:lnTo>
                    <a:lnTo>
                      <a:pt x="501" y="133"/>
                    </a:lnTo>
                    <a:lnTo>
                      <a:pt x="501" y="135"/>
                    </a:lnTo>
                    <a:lnTo>
                      <a:pt x="503" y="135"/>
                    </a:lnTo>
                    <a:lnTo>
                      <a:pt x="507" y="137"/>
                    </a:lnTo>
                    <a:lnTo>
                      <a:pt x="517" y="146"/>
                    </a:lnTo>
                    <a:lnTo>
                      <a:pt x="517" y="148"/>
                    </a:lnTo>
                    <a:lnTo>
                      <a:pt x="523" y="150"/>
                    </a:lnTo>
                    <a:lnTo>
                      <a:pt x="526" y="152"/>
                    </a:lnTo>
                    <a:lnTo>
                      <a:pt x="530" y="154"/>
                    </a:lnTo>
                    <a:lnTo>
                      <a:pt x="530" y="162"/>
                    </a:lnTo>
                    <a:lnTo>
                      <a:pt x="530" y="166"/>
                    </a:lnTo>
                    <a:lnTo>
                      <a:pt x="530" y="167"/>
                    </a:lnTo>
                    <a:lnTo>
                      <a:pt x="530" y="169"/>
                    </a:lnTo>
                    <a:lnTo>
                      <a:pt x="530" y="167"/>
                    </a:lnTo>
                    <a:lnTo>
                      <a:pt x="530" y="169"/>
                    </a:lnTo>
                    <a:lnTo>
                      <a:pt x="530" y="171"/>
                    </a:lnTo>
                    <a:lnTo>
                      <a:pt x="528" y="171"/>
                    </a:lnTo>
                    <a:lnTo>
                      <a:pt x="530" y="171"/>
                    </a:lnTo>
                    <a:lnTo>
                      <a:pt x="528" y="171"/>
                    </a:lnTo>
                    <a:lnTo>
                      <a:pt x="528" y="173"/>
                    </a:lnTo>
                    <a:lnTo>
                      <a:pt x="528" y="175"/>
                    </a:lnTo>
                    <a:lnTo>
                      <a:pt x="530" y="175"/>
                    </a:lnTo>
                    <a:lnTo>
                      <a:pt x="530" y="177"/>
                    </a:lnTo>
                    <a:lnTo>
                      <a:pt x="532" y="177"/>
                    </a:lnTo>
                    <a:lnTo>
                      <a:pt x="530" y="177"/>
                    </a:lnTo>
                    <a:lnTo>
                      <a:pt x="532" y="177"/>
                    </a:lnTo>
                    <a:lnTo>
                      <a:pt x="532" y="179"/>
                    </a:lnTo>
                    <a:lnTo>
                      <a:pt x="530" y="179"/>
                    </a:lnTo>
                    <a:lnTo>
                      <a:pt x="530" y="181"/>
                    </a:lnTo>
                    <a:lnTo>
                      <a:pt x="528" y="181"/>
                    </a:lnTo>
                    <a:lnTo>
                      <a:pt x="530" y="181"/>
                    </a:lnTo>
                    <a:lnTo>
                      <a:pt x="530" y="183"/>
                    </a:lnTo>
                    <a:lnTo>
                      <a:pt x="528" y="183"/>
                    </a:lnTo>
                    <a:lnTo>
                      <a:pt x="530" y="183"/>
                    </a:lnTo>
                    <a:lnTo>
                      <a:pt x="528" y="183"/>
                    </a:lnTo>
                    <a:lnTo>
                      <a:pt x="530" y="183"/>
                    </a:lnTo>
                    <a:lnTo>
                      <a:pt x="528" y="183"/>
                    </a:lnTo>
                    <a:lnTo>
                      <a:pt x="528" y="185"/>
                    </a:lnTo>
                    <a:lnTo>
                      <a:pt x="526" y="185"/>
                    </a:lnTo>
                    <a:lnTo>
                      <a:pt x="526" y="187"/>
                    </a:lnTo>
                    <a:lnTo>
                      <a:pt x="528" y="187"/>
                    </a:lnTo>
                    <a:lnTo>
                      <a:pt x="528" y="189"/>
                    </a:lnTo>
                    <a:lnTo>
                      <a:pt x="530" y="189"/>
                    </a:lnTo>
                    <a:lnTo>
                      <a:pt x="530" y="190"/>
                    </a:lnTo>
                    <a:lnTo>
                      <a:pt x="530" y="189"/>
                    </a:lnTo>
                    <a:lnTo>
                      <a:pt x="532" y="189"/>
                    </a:lnTo>
                    <a:lnTo>
                      <a:pt x="532" y="190"/>
                    </a:lnTo>
                    <a:lnTo>
                      <a:pt x="530" y="190"/>
                    </a:lnTo>
                    <a:lnTo>
                      <a:pt x="528" y="190"/>
                    </a:lnTo>
                    <a:lnTo>
                      <a:pt x="530" y="190"/>
                    </a:lnTo>
                    <a:lnTo>
                      <a:pt x="530" y="192"/>
                    </a:lnTo>
                    <a:lnTo>
                      <a:pt x="528" y="192"/>
                    </a:lnTo>
                    <a:lnTo>
                      <a:pt x="528" y="190"/>
                    </a:lnTo>
                    <a:lnTo>
                      <a:pt x="526" y="190"/>
                    </a:lnTo>
                    <a:lnTo>
                      <a:pt x="526" y="189"/>
                    </a:lnTo>
                    <a:lnTo>
                      <a:pt x="526" y="187"/>
                    </a:lnTo>
                    <a:lnTo>
                      <a:pt x="524" y="187"/>
                    </a:lnTo>
                    <a:lnTo>
                      <a:pt x="523" y="187"/>
                    </a:lnTo>
                    <a:lnTo>
                      <a:pt x="521" y="187"/>
                    </a:lnTo>
                    <a:lnTo>
                      <a:pt x="519" y="189"/>
                    </a:lnTo>
                    <a:lnTo>
                      <a:pt x="517" y="187"/>
                    </a:lnTo>
                    <a:lnTo>
                      <a:pt x="517" y="189"/>
                    </a:lnTo>
                    <a:lnTo>
                      <a:pt x="515" y="190"/>
                    </a:lnTo>
                    <a:lnTo>
                      <a:pt x="515" y="189"/>
                    </a:lnTo>
                    <a:lnTo>
                      <a:pt x="513" y="189"/>
                    </a:lnTo>
                    <a:lnTo>
                      <a:pt x="513" y="190"/>
                    </a:lnTo>
                    <a:lnTo>
                      <a:pt x="515" y="190"/>
                    </a:lnTo>
                    <a:lnTo>
                      <a:pt x="513" y="192"/>
                    </a:lnTo>
                    <a:lnTo>
                      <a:pt x="511" y="192"/>
                    </a:lnTo>
                    <a:lnTo>
                      <a:pt x="509" y="192"/>
                    </a:lnTo>
                    <a:lnTo>
                      <a:pt x="509" y="194"/>
                    </a:lnTo>
                    <a:lnTo>
                      <a:pt x="507" y="194"/>
                    </a:lnTo>
                    <a:lnTo>
                      <a:pt x="505" y="194"/>
                    </a:lnTo>
                    <a:lnTo>
                      <a:pt x="503" y="194"/>
                    </a:lnTo>
                    <a:lnTo>
                      <a:pt x="503" y="196"/>
                    </a:lnTo>
                    <a:lnTo>
                      <a:pt x="505" y="196"/>
                    </a:lnTo>
                    <a:lnTo>
                      <a:pt x="503" y="196"/>
                    </a:lnTo>
                    <a:lnTo>
                      <a:pt x="501" y="196"/>
                    </a:lnTo>
                    <a:lnTo>
                      <a:pt x="501" y="198"/>
                    </a:lnTo>
                    <a:lnTo>
                      <a:pt x="501" y="200"/>
                    </a:lnTo>
                    <a:lnTo>
                      <a:pt x="499" y="200"/>
                    </a:lnTo>
                    <a:lnTo>
                      <a:pt x="498" y="202"/>
                    </a:lnTo>
                    <a:lnTo>
                      <a:pt x="496" y="202"/>
                    </a:lnTo>
                    <a:lnTo>
                      <a:pt x="494" y="202"/>
                    </a:lnTo>
                    <a:lnTo>
                      <a:pt x="496" y="200"/>
                    </a:lnTo>
                    <a:lnTo>
                      <a:pt x="494" y="200"/>
                    </a:lnTo>
                    <a:lnTo>
                      <a:pt x="494" y="202"/>
                    </a:lnTo>
                    <a:lnTo>
                      <a:pt x="492" y="204"/>
                    </a:lnTo>
                    <a:lnTo>
                      <a:pt x="494" y="204"/>
                    </a:lnTo>
                    <a:lnTo>
                      <a:pt x="494" y="206"/>
                    </a:lnTo>
                    <a:lnTo>
                      <a:pt x="492" y="206"/>
                    </a:lnTo>
                    <a:lnTo>
                      <a:pt x="492" y="204"/>
                    </a:lnTo>
                    <a:lnTo>
                      <a:pt x="492" y="206"/>
                    </a:lnTo>
                    <a:lnTo>
                      <a:pt x="490" y="204"/>
                    </a:lnTo>
                    <a:lnTo>
                      <a:pt x="490" y="206"/>
                    </a:lnTo>
                    <a:lnTo>
                      <a:pt x="490" y="208"/>
                    </a:lnTo>
                    <a:lnTo>
                      <a:pt x="488" y="206"/>
                    </a:lnTo>
                    <a:lnTo>
                      <a:pt x="488" y="208"/>
                    </a:lnTo>
                    <a:lnTo>
                      <a:pt x="486" y="208"/>
                    </a:lnTo>
                    <a:lnTo>
                      <a:pt x="488" y="208"/>
                    </a:lnTo>
                    <a:lnTo>
                      <a:pt x="488" y="210"/>
                    </a:lnTo>
                    <a:lnTo>
                      <a:pt x="486" y="210"/>
                    </a:lnTo>
                    <a:lnTo>
                      <a:pt x="488" y="210"/>
                    </a:lnTo>
                    <a:lnTo>
                      <a:pt x="486" y="212"/>
                    </a:lnTo>
                    <a:lnTo>
                      <a:pt x="484" y="212"/>
                    </a:lnTo>
                    <a:lnTo>
                      <a:pt x="484" y="214"/>
                    </a:lnTo>
                    <a:lnTo>
                      <a:pt x="482" y="214"/>
                    </a:lnTo>
                    <a:lnTo>
                      <a:pt x="480" y="214"/>
                    </a:lnTo>
                    <a:lnTo>
                      <a:pt x="480" y="215"/>
                    </a:lnTo>
                    <a:lnTo>
                      <a:pt x="482" y="215"/>
                    </a:lnTo>
                    <a:lnTo>
                      <a:pt x="484" y="217"/>
                    </a:lnTo>
                    <a:lnTo>
                      <a:pt x="482" y="217"/>
                    </a:lnTo>
                    <a:lnTo>
                      <a:pt x="482" y="219"/>
                    </a:lnTo>
                    <a:lnTo>
                      <a:pt x="484" y="219"/>
                    </a:lnTo>
                    <a:lnTo>
                      <a:pt x="484" y="221"/>
                    </a:lnTo>
                    <a:lnTo>
                      <a:pt x="486" y="221"/>
                    </a:lnTo>
                    <a:lnTo>
                      <a:pt x="486" y="223"/>
                    </a:lnTo>
                    <a:lnTo>
                      <a:pt x="484" y="223"/>
                    </a:lnTo>
                    <a:lnTo>
                      <a:pt x="482" y="223"/>
                    </a:lnTo>
                    <a:lnTo>
                      <a:pt x="482" y="225"/>
                    </a:lnTo>
                    <a:lnTo>
                      <a:pt x="484" y="225"/>
                    </a:lnTo>
                    <a:lnTo>
                      <a:pt x="486" y="225"/>
                    </a:lnTo>
                    <a:lnTo>
                      <a:pt x="486" y="227"/>
                    </a:lnTo>
                    <a:lnTo>
                      <a:pt x="488" y="227"/>
                    </a:lnTo>
                    <a:lnTo>
                      <a:pt x="488" y="229"/>
                    </a:lnTo>
                    <a:lnTo>
                      <a:pt x="490" y="229"/>
                    </a:lnTo>
                    <a:lnTo>
                      <a:pt x="490" y="227"/>
                    </a:lnTo>
                    <a:lnTo>
                      <a:pt x="490" y="229"/>
                    </a:lnTo>
                    <a:lnTo>
                      <a:pt x="492" y="229"/>
                    </a:lnTo>
                    <a:lnTo>
                      <a:pt x="492" y="231"/>
                    </a:lnTo>
                    <a:lnTo>
                      <a:pt x="492" y="229"/>
                    </a:lnTo>
                    <a:lnTo>
                      <a:pt x="492" y="231"/>
                    </a:lnTo>
                    <a:lnTo>
                      <a:pt x="492" y="233"/>
                    </a:lnTo>
                    <a:lnTo>
                      <a:pt x="494" y="233"/>
                    </a:lnTo>
                    <a:lnTo>
                      <a:pt x="494" y="235"/>
                    </a:lnTo>
                    <a:lnTo>
                      <a:pt x="494" y="237"/>
                    </a:lnTo>
                    <a:lnTo>
                      <a:pt x="494" y="239"/>
                    </a:lnTo>
                    <a:lnTo>
                      <a:pt x="494" y="240"/>
                    </a:lnTo>
                    <a:lnTo>
                      <a:pt x="496" y="242"/>
                    </a:lnTo>
                    <a:lnTo>
                      <a:pt x="494" y="242"/>
                    </a:lnTo>
                    <a:lnTo>
                      <a:pt x="496" y="242"/>
                    </a:lnTo>
                    <a:lnTo>
                      <a:pt x="496" y="244"/>
                    </a:lnTo>
                    <a:lnTo>
                      <a:pt x="496" y="242"/>
                    </a:lnTo>
                    <a:lnTo>
                      <a:pt x="498" y="242"/>
                    </a:lnTo>
                    <a:lnTo>
                      <a:pt x="498" y="244"/>
                    </a:lnTo>
                    <a:lnTo>
                      <a:pt x="496" y="244"/>
                    </a:lnTo>
                    <a:lnTo>
                      <a:pt x="498" y="244"/>
                    </a:lnTo>
                    <a:lnTo>
                      <a:pt x="498" y="246"/>
                    </a:lnTo>
                    <a:lnTo>
                      <a:pt x="499" y="246"/>
                    </a:lnTo>
                    <a:lnTo>
                      <a:pt x="498" y="246"/>
                    </a:lnTo>
                    <a:lnTo>
                      <a:pt x="498" y="248"/>
                    </a:lnTo>
                    <a:lnTo>
                      <a:pt x="499" y="248"/>
                    </a:lnTo>
                    <a:lnTo>
                      <a:pt x="501" y="248"/>
                    </a:lnTo>
                    <a:lnTo>
                      <a:pt x="503" y="248"/>
                    </a:lnTo>
                    <a:lnTo>
                      <a:pt x="505" y="248"/>
                    </a:lnTo>
                    <a:lnTo>
                      <a:pt x="507" y="248"/>
                    </a:lnTo>
                    <a:lnTo>
                      <a:pt x="507" y="250"/>
                    </a:lnTo>
                    <a:lnTo>
                      <a:pt x="509" y="250"/>
                    </a:lnTo>
                    <a:lnTo>
                      <a:pt x="509" y="252"/>
                    </a:lnTo>
                    <a:lnTo>
                      <a:pt x="511" y="252"/>
                    </a:lnTo>
                    <a:lnTo>
                      <a:pt x="511" y="250"/>
                    </a:lnTo>
                    <a:lnTo>
                      <a:pt x="511" y="252"/>
                    </a:lnTo>
                    <a:lnTo>
                      <a:pt x="511" y="250"/>
                    </a:lnTo>
                    <a:lnTo>
                      <a:pt x="511" y="252"/>
                    </a:lnTo>
                    <a:lnTo>
                      <a:pt x="513" y="252"/>
                    </a:lnTo>
                    <a:lnTo>
                      <a:pt x="515" y="252"/>
                    </a:lnTo>
                    <a:lnTo>
                      <a:pt x="517" y="252"/>
                    </a:lnTo>
                    <a:lnTo>
                      <a:pt x="517" y="254"/>
                    </a:lnTo>
                    <a:lnTo>
                      <a:pt x="517" y="252"/>
                    </a:lnTo>
                    <a:lnTo>
                      <a:pt x="519" y="252"/>
                    </a:lnTo>
                    <a:lnTo>
                      <a:pt x="519" y="254"/>
                    </a:lnTo>
                    <a:lnTo>
                      <a:pt x="521" y="254"/>
                    </a:lnTo>
                    <a:lnTo>
                      <a:pt x="519" y="254"/>
                    </a:lnTo>
                    <a:lnTo>
                      <a:pt x="519" y="256"/>
                    </a:lnTo>
                    <a:lnTo>
                      <a:pt x="521" y="256"/>
                    </a:lnTo>
                    <a:lnTo>
                      <a:pt x="521" y="258"/>
                    </a:lnTo>
                    <a:lnTo>
                      <a:pt x="523" y="258"/>
                    </a:lnTo>
                    <a:lnTo>
                      <a:pt x="521" y="258"/>
                    </a:lnTo>
                    <a:lnTo>
                      <a:pt x="523" y="258"/>
                    </a:lnTo>
                    <a:lnTo>
                      <a:pt x="523" y="260"/>
                    </a:lnTo>
                    <a:lnTo>
                      <a:pt x="524" y="260"/>
                    </a:lnTo>
                    <a:lnTo>
                      <a:pt x="526" y="260"/>
                    </a:lnTo>
                    <a:lnTo>
                      <a:pt x="528" y="260"/>
                    </a:lnTo>
                    <a:lnTo>
                      <a:pt x="530" y="260"/>
                    </a:lnTo>
                    <a:lnTo>
                      <a:pt x="530" y="258"/>
                    </a:lnTo>
                    <a:lnTo>
                      <a:pt x="532" y="258"/>
                    </a:lnTo>
                    <a:lnTo>
                      <a:pt x="534" y="258"/>
                    </a:lnTo>
                    <a:lnTo>
                      <a:pt x="534" y="260"/>
                    </a:lnTo>
                    <a:lnTo>
                      <a:pt x="536" y="260"/>
                    </a:lnTo>
                    <a:lnTo>
                      <a:pt x="538" y="260"/>
                    </a:lnTo>
                    <a:lnTo>
                      <a:pt x="538" y="258"/>
                    </a:lnTo>
                    <a:lnTo>
                      <a:pt x="540" y="258"/>
                    </a:lnTo>
                    <a:lnTo>
                      <a:pt x="542" y="256"/>
                    </a:lnTo>
                    <a:lnTo>
                      <a:pt x="540" y="256"/>
                    </a:lnTo>
                    <a:lnTo>
                      <a:pt x="540" y="254"/>
                    </a:lnTo>
                    <a:lnTo>
                      <a:pt x="542" y="250"/>
                    </a:lnTo>
                    <a:lnTo>
                      <a:pt x="544" y="248"/>
                    </a:lnTo>
                    <a:lnTo>
                      <a:pt x="544" y="250"/>
                    </a:lnTo>
                    <a:lnTo>
                      <a:pt x="546" y="250"/>
                    </a:lnTo>
                    <a:lnTo>
                      <a:pt x="548" y="252"/>
                    </a:lnTo>
                    <a:lnTo>
                      <a:pt x="548" y="254"/>
                    </a:lnTo>
                    <a:lnTo>
                      <a:pt x="548" y="256"/>
                    </a:lnTo>
                    <a:lnTo>
                      <a:pt x="546" y="258"/>
                    </a:lnTo>
                    <a:lnTo>
                      <a:pt x="546" y="260"/>
                    </a:lnTo>
                    <a:lnTo>
                      <a:pt x="544" y="262"/>
                    </a:lnTo>
                    <a:lnTo>
                      <a:pt x="544" y="264"/>
                    </a:lnTo>
                    <a:lnTo>
                      <a:pt x="546" y="264"/>
                    </a:lnTo>
                    <a:lnTo>
                      <a:pt x="548" y="264"/>
                    </a:lnTo>
                    <a:lnTo>
                      <a:pt x="549" y="265"/>
                    </a:lnTo>
                    <a:lnTo>
                      <a:pt x="551" y="265"/>
                    </a:lnTo>
                    <a:lnTo>
                      <a:pt x="551" y="267"/>
                    </a:lnTo>
                    <a:lnTo>
                      <a:pt x="553" y="267"/>
                    </a:lnTo>
                    <a:lnTo>
                      <a:pt x="555" y="267"/>
                    </a:lnTo>
                    <a:lnTo>
                      <a:pt x="557" y="267"/>
                    </a:lnTo>
                    <a:lnTo>
                      <a:pt x="559" y="267"/>
                    </a:lnTo>
                    <a:lnTo>
                      <a:pt x="559" y="269"/>
                    </a:lnTo>
                    <a:lnTo>
                      <a:pt x="559" y="271"/>
                    </a:lnTo>
                    <a:lnTo>
                      <a:pt x="559" y="273"/>
                    </a:lnTo>
                    <a:lnTo>
                      <a:pt x="557" y="273"/>
                    </a:lnTo>
                    <a:lnTo>
                      <a:pt x="555" y="273"/>
                    </a:lnTo>
                    <a:lnTo>
                      <a:pt x="555" y="275"/>
                    </a:lnTo>
                    <a:lnTo>
                      <a:pt x="557" y="275"/>
                    </a:lnTo>
                    <a:lnTo>
                      <a:pt x="557" y="277"/>
                    </a:lnTo>
                    <a:lnTo>
                      <a:pt x="557" y="279"/>
                    </a:lnTo>
                    <a:lnTo>
                      <a:pt x="559" y="279"/>
                    </a:lnTo>
                    <a:lnTo>
                      <a:pt x="559" y="281"/>
                    </a:lnTo>
                    <a:lnTo>
                      <a:pt x="559" y="283"/>
                    </a:lnTo>
                    <a:lnTo>
                      <a:pt x="559" y="285"/>
                    </a:lnTo>
                    <a:lnTo>
                      <a:pt x="559" y="289"/>
                    </a:lnTo>
                    <a:lnTo>
                      <a:pt x="561" y="290"/>
                    </a:lnTo>
                    <a:lnTo>
                      <a:pt x="563" y="290"/>
                    </a:lnTo>
                    <a:lnTo>
                      <a:pt x="565" y="292"/>
                    </a:lnTo>
                    <a:lnTo>
                      <a:pt x="565" y="294"/>
                    </a:lnTo>
                    <a:lnTo>
                      <a:pt x="565" y="296"/>
                    </a:lnTo>
                    <a:lnTo>
                      <a:pt x="565" y="298"/>
                    </a:lnTo>
                    <a:lnTo>
                      <a:pt x="563" y="300"/>
                    </a:lnTo>
                    <a:lnTo>
                      <a:pt x="559" y="300"/>
                    </a:lnTo>
                    <a:lnTo>
                      <a:pt x="559" y="302"/>
                    </a:lnTo>
                    <a:lnTo>
                      <a:pt x="559" y="304"/>
                    </a:lnTo>
                    <a:lnTo>
                      <a:pt x="559" y="306"/>
                    </a:lnTo>
                    <a:lnTo>
                      <a:pt x="559" y="308"/>
                    </a:lnTo>
                    <a:lnTo>
                      <a:pt x="559" y="312"/>
                    </a:lnTo>
                    <a:lnTo>
                      <a:pt x="559" y="314"/>
                    </a:lnTo>
                    <a:lnTo>
                      <a:pt x="559" y="317"/>
                    </a:lnTo>
                    <a:lnTo>
                      <a:pt x="559" y="319"/>
                    </a:lnTo>
                    <a:lnTo>
                      <a:pt x="557" y="321"/>
                    </a:lnTo>
                    <a:lnTo>
                      <a:pt x="555" y="321"/>
                    </a:lnTo>
                    <a:lnTo>
                      <a:pt x="553" y="323"/>
                    </a:lnTo>
                    <a:lnTo>
                      <a:pt x="553" y="325"/>
                    </a:lnTo>
                    <a:lnTo>
                      <a:pt x="553" y="327"/>
                    </a:lnTo>
                    <a:lnTo>
                      <a:pt x="551" y="327"/>
                    </a:lnTo>
                    <a:lnTo>
                      <a:pt x="549" y="329"/>
                    </a:lnTo>
                    <a:lnTo>
                      <a:pt x="548" y="329"/>
                    </a:lnTo>
                    <a:lnTo>
                      <a:pt x="548" y="331"/>
                    </a:lnTo>
                    <a:lnTo>
                      <a:pt x="549" y="333"/>
                    </a:lnTo>
                    <a:lnTo>
                      <a:pt x="548" y="333"/>
                    </a:lnTo>
                    <a:lnTo>
                      <a:pt x="548" y="337"/>
                    </a:lnTo>
                    <a:lnTo>
                      <a:pt x="548" y="339"/>
                    </a:lnTo>
                    <a:lnTo>
                      <a:pt x="548" y="340"/>
                    </a:lnTo>
                    <a:lnTo>
                      <a:pt x="546" y="340"/>
                    </a:lnTo>
                    <a:lnTo>
                      <a:pt x="544" y="340"/>
                    </a:lnTo>
                    <a:lnTo>
                      <a:pt x="544" y="339"/>
                    </a:lnTo>
                    <a:lnTo>
                      <a:pt x="542" y="339"/>
                    </a:lnTo>
                    <a:lnTo>
                      <a:pt x="540" y="339"/>
                    </a:lnTo>
                    <a:lnTo>
                      <a:pt x="538" y="337"/>
                    </a:lnTo>
                    <a:lnTo>
                      <a:pt x="536" y="339"/>
                    </a:lnTo>
                    <a:lnTo>
                      <a:pt x="534" y="339"/>
                    </a:lnTo>
                    <a:lnTo>
                      <a:pt x="532" y="339"/>
                    </a:lnTo>
                    <a:lnTo>
                      <a:pt x="532" y="337"/>
                    </a:lnTo>
                    <a:lnTo>
                      <a:pt x="532" y="339"/>
                    </a:lnTo>
                    <a:lnTo>
                      <a:pt x="530" y="340"/>
                    </a:lnTo>
                    <a:lnTo>
                      <a:pt x="532" y="340"/>
                    </a:lnTo>
                    <a:lnTo>
                      <a:pt x="532" y="342"/>
                    </a:lnTo>
                    <a:lnTo>
                      <a:pt x="532" y="344"/>
                    </a:lnTo>
                    <a:lnTo>
                      <a:pt x="534" y="344"/>
                    </a:lnTo>
                    <a:lnTo>
                      <a:pt x="534" y="346"/>
                    </a:lnTo>
                    <a:lnTo>
                      <a:pt x="534" y="348"/>
                    </a:lnTo>
                    <a:lnTo>
                      <a:pt x="536" y="348"/>
                    </a:lnTo>
                    <a:lnTo>
                      <a:pt x="536" y="350"/>
                    </a:lnTo>
                    <a:lnTo>
                      <a:pt x="538" y="350"/>
                    </a:lnTo>
                    <a:lnTo>
                      <a:pt x="538" y="352"/>
                    </a:lnTo>
                    <a:lnTo>
                      <a:pt x="538" y="350"/>
                    </a:lnTo>
                    <a:lnTo>
                      <a:pt x="538" y="352"/>
                    </a:lnTo>
                    <a:lnTo>
                      <a:pt x="540" y="352"/>
                    </a:lnTo>
                    <a:lnTo>
                      <a:pt x="538" y="352"/>
                    </a:lnTo>
                    <a:lnTo>
                      <a:pt x="538" y="354"/>
                    </a:lnTo>
                    <a:lnTo>
                      <a:pt x="540" y="354"/>
                    </a:lnTo>
                    <a:lnTo>
                      <a:pt x="538" y="354"/>
                    </a:lnTo>
                    <a:lnTo>
                      <a:pt x="538" y="356"/>
                    </a:lnTo>
                    <a:lnTo>
                      <a:pt x="538" y="354"/>
                    </a:lnTo>
                    <a:lnTo>
                      <a:pt x="538" y="356"/>
                    </a:lnTo>
                    <a:lnTo>
                      <a:pt x="536" y="356"/>
                    </a:lnTo>
                    <a:lnTo>
                      <a:pt x="538" y="356"/>
                    </a:lnTo>
                    <a:lnTo>
                      <a:pt x="538" y="358"/>
                    </a:lnTo>
                    <a:lnTo>
                      <a:pt x="538" y="360"/>
                    </a:lnTo>
                    <a:lnTo>
                      <a:pt x="540" y="360"/>
                    </a:lnTo>
                    <a:lnTo>
                      <a:pt x="540" y="362"/>
                    </a:lnTo>
                    <a:lnTo>
                      <a:pt x="540" y="360"/>
                    </a:lnTo>
                    <a:lnTo>
                      <a:pt x="540" y="362"/>
                    </a:lnTo>
                    <a:lnTo>
                      <a:pt x="542" y="362"/>
                    </a:lnTo>
                    <a:lnTo>
                      <a:pt x="542" y="364"/>
                    </a:lnTo>
                    <a:lnTo>
                      <a:pt x="544" y="364"/>
                    </a:lnTo>
                    <a:lnTo>
                      <a:pt x="546" y="364"/>
                    </a:lnTo>
                    <a:lnTo>
                      <a:pt x="544" y="364"/>
                    </a:lnTo>
                    <a:lnTo>
                      <a:pt x="544" y="365"/>
                    </a:lnTo>
                    <a:lnTo>
                      <a:pt x="546" y="365"/>
                    </a:lnTo>
                    <a:lnTo>
                      <a:pt x="544" y="365"/>
                    </a:lnTo>
                    <a:lnTo>
                      <a:pt x="546" y="365"/>
                    </a:lnTo>
                    <a:lnTo>
                      <a:pt x="544" y="365"/>
                    </a:lnTo>
                    <a:lnTo>
                      <a:pt x="544" y="367"/>
                    </a:lnTo>
                    <a:lnTo>
                      <a:pt x="544" y="369"/>
                    </a:lnTo>
                    <a:lnTo>
                      <a:pt x="544" y="367"/>
                    </a:lnTo>
                    <a:lnTo>
                      <a:pt x="544" y="369"/>
                    </a:lnTo>
                    <a:lnTo>
                      <a:pt x="542" y="369"/>
                    </a:lnTo>
                    <a:lnTo>
                      <a:pt x="540" y="369"/>
                    </a:lnTo>
                    <a:lnTo>
                      <a:pt x="542" y="369"/>
                    </a:lnTo>
                    <a:lnTo>
                      <a:pt x="542" y="371"/>
                    </a:lnTo>
                    <a:lnTo>
                      <a:pt x="540" y="371"/>
                    </a:lnTo>
                    <a:lnTo>
                      <a:pt x="540" y="373"/>
                    </a:lnTo>
                    <a:lnTo>
                      <a:pt x="542" y="373"/>
                    </a:lnTo>
                    <a:lnTo>
                      <a:pt x="540" y="373"/>
                    </a:lnTo>
                    <a:lnTo>
                      <a:pt x="542" y="373"/>
                    </a:lnTo>
                    <a:lnTo>
                      <a:pt x="542" y="375"/>
                    </a:lnTo>
                    <a:lnTo>
                      <a:pt x="540" y="375"/>
                    </a:lnTo>
                    <a:lnTo>
                      <a:pt x="542" y="375"/>
                    </a:lnTo>
                    <a:lnTo>
                      <a:pt x="540" y="375"/>
                    </a:lnTo>
                    <a:lnTo>
                      <a:pt x="542" y="375"/>
                    </a:lnTo>
                    <a:lnTo>
                      <a:pt x="542" y="377"/>
                    </a:lnTo>
                    <a:lnTo>
                      <a:pt x="542" y="375"/>
                    </a:lnTo>
                    <a:lnTo>
                      <a:pt x="542" y="377"/>
                    </a:lnTo>
                    <a:lnTo>
                      <a:pt x="540" y="377"/>
                    </a:lnTo>
                    <a:lnTo>
                      <a:pt x="540" y="379"/>
                    </a:lnTo>
                    <a:lnTo>
                      <a:pt x="538" y="377"/>
                    </a:lnTo>
                    <a:lnTo>
                      <a:pt x="538" y="379"/>
                    </a:lnTo>
                    <a:lnTo>
                      <a:pt x="540" y="379"/>
                    </a:lnTo>
                    <a:lnTo>
                      <a:pt x="538" y="379"/>
                    </a:lnTo>
                    <a:lnTo>
                      <a:pt x="538" y="381"/>
                    </a:lnTo>
                    <a:lnTo>
                      <a:pt x="536" y="381"/>
                    </a:lnTo>
                    <a:lnTo>
                      <a:pt x="536" y="383"/>
                    </a:lnTo>
                    <a:lnTo>
                      <a:pt x="538" y="383"/>
                    </a:lnTo>
                    <a:lnTo>
                      <a:pt x="538" y="385"/>
                    </a:lnTo>
                    <a:lnTo>
                      <a:pt x="542" y="390"/>
                    </a:lnTo>
                    <a:lnTo>
                      <a:pt x="546" y="392"/>
                    </a:lnTo>
                    <a:lnTo>
                      <a:pt x="555" y="406"/>
                    </a:lnTo>
                    <a:lnTo>
                      <a:pt x="557" y="406"/>
                    </a:lnTo>
                    <a:lnTo>
                      <a:pt x="555" y="408"/>
                    </a:lnTo>
                    <a:lnTo>
                      <a:pt x="557" y="408"/>
                    </a:lnTo>
                    <a:lnTo>
                      <a:pt x="559" y="410"/>
                    </a:lnTo>
                    <a:lnTo>
                      <a:pt x="559" y="412"/>
                    </a:lnTo>
                    <a:lnTo>
                      <a:pt x="559" y="414"/>
                    </a:lnTo>
                    <a:lnTo>
                      <a:pt x="561" y="415"/>
                    </a:lnTo>
                    <a:lnTo>
                      <a:pt x="559" y="415"/>
                    </a:lnTo>
                    <a:lnTo>
                      <a:pt x="559" y="417"/>
                    </a:lnTo>
                    <a:lnTo>
                      <a:pt x="561" y="417"/>
                    </a:lnTo>
                    <a:lnTo>
                      <a:pt x="561" y="419"/>
                    </a:lnTo>
                    <a:lnTo>
                      <a:pt x="561" y="421"/>
                    </a:lnTo>
                    <a:lnTo>
                      <a:pt x="559" y="421"/>
                    </a:lnTo>
                    <a:lnTo>
                      <a:pt x="559" y="423"/>
                    </a:lnTo>
                    <a:lnTo>
                      <a:pt x="557" y="423"/>
                    </a:lnTo>
                    <a:lnTo>
                      <a:pt x="555" y="423"/>
                    </a:lnTo>
                    <a:lnTo>
                      <a:pt x="555" y="425"/>
                    </a:lnTo>
                    <a:lnTo>
                      <a:pt x="555" y="427"/>
                    </a:lnTo>
                    <a:lnTo>
                      <a:pt x="555" y="429"/>
                    </a:lnTo>
                    <a:lnTo>
                      <a:pt x="553" y="431"/>
                    </a:lnTo>
                    <a:lnTo>
                      <a:pt x="553" y="433"/>
                    </a:lnTo>
                    <a:lnTo>
                      <a:pt x="555" y="435"/>
                    </a:lnTo>
                    <a:lnTo>
                      <a:pt x="555" y="437"/>
                    </a:lnTo>
                    <a:lnTo>
                      <a:pt x="557" y="437"/>
                    </a:lnTo>
                    <a:lnTo>
                      <a:pt x="557" y="438"/>
                    </a:lnTo>
                    <a:lnTo>
                      <a:pt x="559" y="438"/>
                    </a:lnTo>
                    <a:lnTo>
                      <a:pt x="559" y="440"/>
                    </a:lnTo>
                    <a:lnTo>
                      <a:pt x="559" y="442"/>
                    </a:lnTo>
                    <a:lnTo>
                      <a:pt x="561" y="442"/>
                    </a:lnTo>
                    <a:lnTo>
                      <a:pt x="561" y="444"/>
                    </a:lnTo>
                    <a:lnTo>
                      <a:pt x="561" y="446"/>
                    </a:lnTo>
                    <a:lnTo>
                      <a:pt x="563" y="448"/>
                    </a:lnTo>
                    <a:lnTo>
                      <a:pt x="563" y="450"/>
                    </a:lnTo>
                    <a:lnTo>
                      <a:pt x="563" y="452"/>
                    </a:lnTo>
                    <a:lnTo>
                      <a:pt x="561" y="452"/>
                    </a:lnTo>
                    <a:lnTo>
                      <a:pt x="561" y="454"/>
                    </a:lnTo>
                    <a:lnTo>
                      <a:pt x="559" y="454"/>
                    </a:lnTo>
                    <a:lnTo>
                      <a:pt x="559" y="456"/>
                    </a:lnTo>
                    <a:lnTo>
                      <a:pt x="557" y="456"/>
                    </a:lnTo>
                    <a:lnTo>
                      <a:pt x="557" y="458"/>
                    </a:lnTo>
                    <a:lnTo>
                      <a:pt x="555" y="458"/>
                    </a:lnTo>
                    <a:lnTo>
                      <a:pt x="555" y="460"/>
                    </a:lnTo>
                    <a:lnTo>
                      <a:pt x="555" y="458"/>
                    </a:lnTo>
                    <a:lnTo>
                      <a:pt x="557" y="458"/>
                    </a:lnTo>
                    <a:lnTo>
                      <a:pt x="557" y="460"/>
                    </a:lnTo>
                    <a:lnTo>
                      <a:pt x="557" y="462"/>
                    </a:lnTo>
                    <a:lnTo>
                      <a:pt x="555" y="462"/>
                    </a:lnTo>
                    <a:lnTo>
                      <a:pt x="557" y="462"/>
                    </a:lnTo>
                    <a:lnTo>
                      <a:pt x="557" y="463"/>
                    </a:lnTo>
                    <a:lnTo>
                      <a:pt x="559" y="463"/>
                    </a:lnTo>
                    <a:lnTo>
                      <a:pt x="559" y="465"/>
                    </a:lnTo>
                    <a:lnTo>
                      <a:pt x="561" y="465"/>
                    </a:lnTo>
                    <a:lnTo>
                      <a:pt x="561" y="467"/>
                    </a:lnTo>
                    <a:lnTo>
                      <a:pt x="561" y="469"/>
                    </a:lnTo>
                    <a:lnTo>
                      <a:pt x="561" y="471"/>
                    </a:lnTo>
                    <a:lnTo>
                      <a:pt x="559" y="473"/>
                    </a:lnTo>
                    <a:lnTo>
                      <a:pt x="561" y="477"/>
                    </a:lnTo>
                    <a:lnTo>
                      <a:pt x="563" y="477"/>
                    </a:lnTo>
                    <a:lnTo>
                      <a:pt x="563" y="475"/>
                    </a:lnTo>
                    <a:lnTo>
                      <a:pt x="565" y="475"/>
                    </a:lnTo>
                    <a:lnTo>
                      <a:pt x="569" y="475"/>
                    </a:lnTo>
                    <a:lnTo>
                      <a:pt x="572" y="475"/>
                    </a:lnTo>
                    <a:lnTo>
                      <a:pt x="574" y="479"/>
                    </a:lnTo>
                    <a:lnTo>
                      <a:pt x="574" y="481"/>
                    </a:lnTo>
                    <a:lnTo>
                      <a:pt x="576" y="481"/>
                    </a:lnTo>
                    <a:lnTo>
                      <a:pt x="576" y="483"/>
                    </a:lnTo>
                    <a:lnTo>
                      <a:pt x="578" y="483"/>
                    </a:lnTo>
                    <a:lnTo>
                      <a:pt x="578" y="485"/>
                    </a:lnTo>
                    <a:lnTo>
                      <a:pt x="580" y="483"/>
                    </a:lnTo>
                    <a:lnTo>
                      <a:pt x="580" y="485"/>
                    </a:lnTo>
                    <a:lnTo>
                      <a:pt x="580" y="487"/>
                    </a:lnTo>
                    <a:lnTo>
                      <a:pt x="578" y="487"/>
                    </a:lnTo>
                    <a:lnTo>
                      <a:pt x="578" y="488"/>
                    </a:lnTo>
                    <a:lnTo>
                      <a:pt x="576" y="488"/>
                    </a:lnTo>
                    <a:lnTo>
                      <a:pt x="576" y="490"/>
                    </a:lnTo>
                    <a:lnTo>
                      <a:pt x="578" y="490"/>
                    </a:lnTo>
                    <a:lnTo>
                      <a:pt x="580" y="492"/>
                    </a:lnTo>
                    <a:lnTo>
                      <a:pt x="582" y="492"/>
                    </a:lnTo>
                    <a:lnTo>
                      <a:pt x="582" y="494"/>
                    </a:lnTo>
                    <a:lnTo>
                      <a:pt x="582" y="496"/>
                    </a:lnTo>
                    <a:lnTo>
                      <a:pt x="584" y="496"/>
                    </a:lnTo>
                    <a:lnTo>
                      <a:pt x="584" y="498"/>
                    </a:lnTo>
                    <a:lnTo>
                      <a:pt x="584" y="500"/>
                    </a:lnTo>
                    <a:lnTo>
                      <a:pt x="582" y="502"/>
                    </a:lnTo>
                    <a:lnTo>
                      <a:pt x="584" y="502"/>
                    </a:lnTo>
                    <a:lnTo>
                      <a:pt x="584" y="504"/>
                    </a:lnTo>
                    <a:lnTo>
                      <a:pt x="584" y="506"/>
                    </a:lnTo>
                    <a:lnTo>
                      <a:pt x="584" y="508"/>
                    </a:lnTo>
                    <a:lnTo>
                      <a:pt x="584" y="510"/>
                    </a:lnTo>
                    <a:lnTo>
                      <a:pt x="584" y="512"/>
                    </a:lnTo>
                    <a:lnTo>
                      <a:pt x="582" y="512"/>
                    </a:lnTo>
                    <a:lnTo>
                      <a:pt x="582" y="513"/>
                    </a:lnTo>
                    <a:lnTo>
                      <a:pt x="580" y="513"/>
                    </a:lnTo>
                    <a:lnTo>
                      <a:pt x="578" y="515"/>
                    </a:lnTo>
                    <a:lnTo>
                      <a:pt x="576" y="519"/>
                    </a:lnTo>
                    <a:lnTo>
                      <a:pt x="576" y="521"/>
                    </a:lnTo>
                    <a:lnTo>
                      <a:pt x="576" y="523"/>
                    </a:lnTo>
                    <a:lnTo>
                      <a:pt x="576" y="521"/>
                    </a:lnTo>
                    <a:lnTo>
                      <a:pt x="578" y="521"/>
                    </a:lnTo>
                    <a:lnTo>
                      <a:pt x="576" y="523"/>
                    </a:lnTo>
                    <a:lnTo>
                      <a:pt x="578" y="523"/>
                    </a:lnTo>
                    <a:lnTo>
                      <a:pt x="578" y="525"/>
                    </a:lnTo>
                    <a:lnTo>
                      <a:pt x="576" y="525"/>
                    </a:lnTo>
                    <a:lnTo>
                      <a:pt x="578" y="525"/>
                    </a:lnTo>
                    <a:lnTo>
                      <a:pt x="578" y="527"/>
                    </a:lnTo>
                    <a:lnTo>
                      <a:pt x="576" y="527"/>
                    </a:lnTo>
                    <a:lnTo>
                      <a:pt x="576" y="529"/>
                    </a:lnTo>
                    <a:lnTo>
                      <a:pt x="574" y="529"/>
                    </a:lnTo>
                    <a:lnTo>
                      <a:pt x="574" y="531"/>
                    </a:lnTo>
                    <a:lnTo>
                      <a:pt x="574" y="529"/>
                    </a:lnTo>
                    <a:lnTo>
                      <a:pt x="574" y="531"/>
                    </a:lnTo>
                    <a:lnTo>
                      <a:pt x="576" y="533"/>
                    </a:lnTo>
                    <a:lnTo>
                      <a:pt x="574" y="533"/>
                    </a:lnTo>
                    <a:lnTo>
                      <a:pt x="576" y="533"/>
                    </a:lnTo>
                    <a:lnTo>
                      <a:pt x="578" y="533"/>
                    </a:lnTo>
                    <a:lnTo>
                      <a:pt x="578" y="531"/>
                    </a:lnTo>
                    <a:lnTo>
                      <a:pt x="578" y="533"/>
                    </a:lnTo>
                    <a:lnTo>
                      <a:pt x="580" y="533"/>
                    </a:lnTo>
                    <a:lnTo>
                      <a:pt x="582" y="533"/>
                    </a:lnTo>
                    <a:lnTo>
                      <a:pt x="584" y="533"/>
                    </a:lnTo>
                    <a:lnTo>
                      <a:pt x="586" y="533"/>
                    </a:lnTo>
                    <a:lnTo>
                      <a:pt x="588" y="533"/>
                    </a:lnTo>
                    <a:lnTo>
                      <a:pt x="588" y="531"/>
                    </a:lnTo>
                    <a:lnTo>
                      <a:pt x="588" y="533"/>
                    </a:lnTo>
                    <a:lnTo>
                      <a:pt x="590" y="531"/>
                    </a:lnTo>
                    <a:lnTo>
                      <a:pt x="590" y="533"/>
                    </a:lnTo>
                    <a:lnTo>
                      <a:pt x="590" y="531"/>
                    </a:lnTo>
                    <a:lnTo>
                      <a:pt x="590" y="533"/>
                    </a:lnTo>
                    <a:lnTo>
                      <a:pt x="592" y="533"/>
                    </a:lnTo>
                    <a:lnTo>
                      <a:pt x="592" y="531"/>
                    </a:lnTo>
                    <a:lnTo>
                      <a:pt x="592" y="533"/>
                    </a:lnTo>
                    <a:lnTo>
                      <a:pt x="594" y="533"/>
                    </a:lnTo>
                    <a:lnTo>
                      <a:pt x="594" y="535"/>
                    </a:lnTo>
                    <a:lnTo>
                      <a:pt x="594" y="537"/>
                    </a:lnTo>
                    <a:lnTo>
                      <a:pt x="592" y="537"/>
                    </a:lnTo>
                    <a:lnTo>
                      <a:pt x="592" y="538"/>
                    </a:lnTo>
                    <a:lnTo>
                      <a:pt x="594" y="538"/>
                    </a:lnTo>
                    <a:lnTo>
                      <a:pt x="592" y="538"/>
                    </a:lnTo>
                    <a:lnTo>
                      <a:pt x="594" y="538"/>
                    </a:lnTo>
                    <a:lnTo>
                      <a:pt x="594" y="540"/>
                    </a:lnTo>
                    <a:lnTo>
                      <a:pt x="596" y="540"/>
                    </a:lnTo>
                    <a:lnTo>
                      <a:pt x="596" y="542"/>
                    </a:lnTo>
                    <a:lnTo>
                      <a:pt x="596" y="544"/>
                    </a:lnTo>
                    <a:lnTo>
                      <a:pt x="597" y="544"/>
                    </a:lnTo>
                    <a:lnTo>
                      <a:pt x="597" y="542"/>
                    </a:lnTo>
                    <a:lnTo>
                      <a:pt x="597" y="544"/>
                    </a:lnTo>
                    <a:lnTo>
                      <a:pt x="597" y="542"/>
                    </a:lnTo>
                    <a:lnTo>
                      <a:pt x="599" y="542"/>
                    </a:lnTo>
                    <a:lnTo>
                      <a:pt x="601" y="542"/>
                    </a:lnTo>
                    <a:lnTo>
                      <a:pt x="599" y="542"/>
                    </a:lnTo>
                    <a:lnTo>
                      <a:pt x="601" y="542"/>
                    </a:lnTo>
                    <a:lnTo>
                      <a:pt x="603" y="542"/>
                    </a:lnTo>
                    <a:lnTo>
                      <a:pt x="603" y="540"/>
                    </a:lnTo>
                    <a:lnTo>
                      <a:pt x="605" y="540"/>
                    </a:lnTo>
                    <a:lnTo>
                      <a:pt x="607" y="540"/>
                    </a:lnTo>
                    <a:lnTo>
                      <a:pt x="607" y="538"/>
                    </a:lnTo>
                    <a:lnTo>
                      <a:pt x="609" y="540"/>
                    </a:lnTo>
                    <a:lnTo>
                      <a:pt x="611" y="540"/>
                    </a:lnTo>
                    <a:lnTo>
                      <a:pt x="613" y="542"/>
                    </a:lnTo>
                    <a:lnTo>
                      <a:pt x="615" y="544"/>
                    </a:lnTo>
                    <a:lnTo>
                      <a:pt x="615" y="548"/>
                    </a:lnTo>
                    <a:lnTo>
                      <a:pt x="615" y="550"/>
                    </a:lnTo>
                    <a:lnTo>
                      <a:pt x="615" y="552"/>
                    </a:lnTo>
                    <a:lnTo>
                      <a:pt x="617" y="556"/>
                    </a:lnTo>
                    <a:lnTo>
                      <a:pt x="617" y="558"/>
                    </a:lnTo>
                    <a:lnTo>
                      <a:pt x="613" y="562"/>
                    </a:lnTo>
                    <a:lnTo>
                      <a:pt x="613" y="563"/>
                    </a:lnTo>
                    <a:lnTo>
                      <a:pt x="613" y="565"/>
                    </a:lnTo>
                    <a:lnTo>
                      <a:pt x="615" y="565"/>
                    </a:lnTo>
                    <a:lnTo>
                      <a:pt x="615" y="567"/>
                    </a:lnTo>
                    <a:lnTo>
                      <a:pt x="615" y="569"/>
                    </a:lnTo>
                    <a:lnTo>
                      <a:pt x="615" y="571"/>
                    </a:lnTo>
                    <a:lnTo>
                      <a:pt x="615" y="573"/>
                    </a:lnTo>
                    <a:lnTo>
                      <a:pt x="617" y="575"/>
                    </a:lnTo>
                    <a:lnTo>
                      <a:pt x="617" y="577"/>
                    </a:lnTo>
                    <a:lnTo>
                      <a:pt x="617" y="581"/>
                    </a:lnTo>
                    <a:lnTo>
                      <a:pt x="615" y="581"/>
                    </a:lnTo>
                    <a:lnTo>
                      <a:pt x="615" y="583"/>
                    </a:lnTo>
                    <a:lnTo>
                      <a:pt x="615" y="585"/>
                    </a:lnTo>
                    <a:lnTo>
                      <a:pt x="615" y="587"/>
                    </a:lnTo>
                    <a:lnTo>
                      <a:pt x="613" y="587"/>
                    </a:lnTo>
                    <a:lnTo>
                      <a:pt x="615" y="587"/>
                    </a:lnTo>
                    <a:lnTo>
                      <a:pt x="615" y="588"/>
                    </a:lnTo>
                    <a:lnTo>
                      <a:pt x="615" y="590"/>
                    </a:lnTo>
                    <a:lnTo>
                      <a:pt x="615" y="592"/>
                    </a:lnTo>
                    <a:lnTo>
                      <a:pt x="613" y="592"/>
                    </a:lnTo>
                    <a:lnTo>
                      <a:pt x="609" y="594"/>
                    </a:lnTo>
                    <a:lnTo>
                      <a:pt x="607" y="594"/>
                    </a:lnTo>
                    <a:lnTo>
                      <a:pt x="605" y="594"/>
                    </a:lnTo>
                    <a:lnTo>
                      <a:pt x="605" y="596"/>
                    </a:lnTo>
                    <a:lnTo>
                      <a:pt x="603" y="596"/>
                    </a:lnTo>
                    <a:lnTo>
                      <a:pt x="603" y="598"/>
                    </a:lnTo>
                    <a:lnTo>
                      <a:pt x="601" y="598"/>
                    </a:lnTo>
                    <a:lnTo>
                      <a:pt x="599" y="598"/>
                    </a:lnTo>
                    <a:lnTo>
                      <a:pt x="599" y="600"/>
                    </a:lnTo>
                    <a:lnTo>
                      <a:pt x="601" y="600"/>
                    </a:lnTo>
                    <a:lnTo>
                      <a:pt x="599" y="600"/>
                    </a:lnTo>
                    <a:lnTo>
                      <a:pt x="599" y="602"/>
                    </a:lnTo>
                    <a:lnTo>
                      <a:pt x="597" y="602"/>
                    </a:lnTo>
                    <a:lnTo>
                      <a:pt x="596" y="602"/>
                    </a:lnTo>
                    <a:lnTo>
                      <a:pt x="597" y="602"/>
                    </a:lnTo>
                    <a:lnTo>
                      <a:pt x="596" y="602"/>
                    </a:lnTo>
                    <a:lnTo>
                      <a:pt x="597" y="604"/>
                    </a:lnTo>
                    <a:lnTo>
                      <a:pt x="596" y="604"/>
                    </a:lnTo>
                    <a:lnTo>
                      <a:pt x="596" y="606"/>
                    </a:lnTo>
                    <a:lnTo>
                      <a:pt x="596" y="608"/>
                    </a:lnTo>
                    <a:lnTo>
                      <a:pt x="597" y="608"/>
                    </a:lnTo>
                    <a:lnTo>
                      <a:pt x="596" y="608"/>
                    </a:lnTo>
                    <a:lnTo>
                      <a:pt x="596" y="610"/>
                    </a:lnTo>
                    <a:lnTo>
                      <a:pt x="594" y="610"/>
                    </a:lnTo>
                    <a:lnTo>
                      <a:pt x="596" y="610"/>
                    </a:lnTo>
                    <a:lnTo>
                      <a:pt x="594" y="610"/>
                    </a:lnTo>
                    <a:lnTo>
                      <a:pt x="594" y="612"/>
                    </a:lnTo>
                    <a:lnTo>
                      <a:pt x="596" y="612"/>
                    </a:lnTo>
                    <a:lnTo>
                      <a:pt x="594" y="612"/>
                    </a:lnTo>
                    <a:lnTo>
                      <a:pt x="596" y="612"/>
                    </a:lnTo>
                    <a:lnTo>
                      <a:pt x="594" y="612"/>
                    </a:lnTo>
                    <a:lnTo>
                      <a:pt x="594" y="613"/>
                    </a:lnTo>
                    <a:lnTo>
                      <a:pt x="594" y="615"/>
                    </a:lnTo>
                    <a:lnTo>
                      <a:pt x="592" y="615"/>
                    </a:lnTo>
                    <a:lnTo>
                      <a:pt x="592" y="617"/>
                    </a:lnTo>
                    <a:lnTo>
                      <a:pt x="590" y="617"/>
                    </a:lnTo>
                    <a:lnTo>
                      <a:pt x="592" y="617"/>
                    </a:lnTo>
                    <a:lnTo>
                      <a:pt x="590" y="617"/>
                    </a:lnTo>
                    <a:lnTo>
                      <a:pt x="590" y="619"/>
                    </a:lnTo>
                    <a:lnTo>
                      <a:pt x="588" y="619"/>
                    </a:lnTo>
                    <a:lnTo>
                      <a:pt x="590" y="619"/>
                    </a:lnTo>
                    <a:lnTo>
                      <a:pt x="588" y="621"/>
                    </a:lnTo>
                    <a:lnTo>
                      <a:pt x="588" y="619"/>
                    </a:lnTo>
                    <a:lnTo>
                      <a:pt x="586" y="619"/>
                    </a:lnTo>
                    <a:lnTo>
                      <a:pt x="588" y="619"/>
                    </a:lnTo>
                    <a:lnTo>
                      <a:pt x="586" y="619"/>
                    </a:lnTo>
                    <a:lnTo>
                      <a:pt x="586" y="617"/>
                    </a:lnTo>
                    <a:lnTo>
                      <a:pt x="586" y="619"/>
                    </a:lnTo>
                    <a:lnTo>
                      <a:pt x="586" y="617"/>
                    </a:lnTo>
                    <a:lnTo>
                      <a:pt x="586" y="619"/>
                    </a:lnTo>
                    <a:lnTo>
                      <a:pt x="588" y="619"/>
                    </a:lnTo>
                    <a:lnTo>
                      <a:pt x="586" y="619"/>
                    </a:lnTo>
                    <a:lnTo>
                      <a:pt x="586" y="621"/>
                    </a:lnTo>
                    <a:lnTo>
                      <a:pt x="588" y="621"/>
                    </a:lnTo>
                    <a:lnTo>
                      <a:pt x="586" y="621"/>
                    </a:lnTo>
                    <a:lnTo>
                      <a:pt x="586" y="623"/>
                    </a:lnTo>
                    <a:lnTo>
                      <a:pt x="588" y="623"/>
                    </a:lnTo>
                    <a:lnTo>
                      <a:pt x="588" y="621"/>
                    </a:lnTo>
                    <a:lnTo>
                      <a:pt x="588" y="623"/>
                    </a:lnTo>
                    <a:lnTo>
                      <a:pt x="590" y="623"/>
                    </a:lnTo>
                    <a:lnTo>
                      <a:pt x="590" y="625"/>
                    </a:lnTo>
                    <a:lnTo>
                      <a:pt x="592" y="625"/>
                    </a:lnTo>
                    <a:lnTo>
                      <a:pt x="592" y="623"/>
                    </a:lnTo>
                    <a:lnTo>
                      <a:pt x="594" y="623"/>
                    </a:lnTo>
                    <a:lnTo>
                      <a:pt x="592" y="623"/>
                    </a:lnTo>
                    <a:lnTo>
                      <a:pt x="594" y="625"/>
                    </a:lnTo>
                    <a:lnTo>
                      <a:pt x="594" y="627"/>
                    </a:lnTo>
                    <a:lnTo>
                      <a:pt x="596" y="627"/>
                    </a:lnTo>
                    <a:lnTo>
                      <a:pt x="594" y="627"/>
                    </a:lnTo>
                    <a:lnTo>
                      <a:pt x="596" y="627"/>
                    </a:lnTo>
                    <a:lnTo>
                      <a:pt x="594" y="627"/>
                    </a:lnTo>
                    <a:lnTo>
                      <a:pt x="594" y="629"/>
                    </a:lnTo>
                    <a:lnTo>
                      <a:pt x="596" y="629"/>
                    </a:lnTo>
                    <a:lnTo>
                      <a:pt x="596" y="631"/>
                    </a:lnTo>
                    <a:lnTo>
                      <a:pt x="594" y="631"/>
                    </a:lnTo>
                    <a:lnTo>
                      <a:pt x="596" y="631"/>
                    </a:lnTo>
                    <a:lnTo>
                      <a:pt x="594" y="631"/>
                    </a:lnTo>
                    <a:lnTo>
                      <a:pt x="596" y="631"/>
                    </a:lnTo>
                    <a:lnTo>
                      <a:pt x="594" y="631"/>
                    </a:lnTo>
                    <a:lnTo>
                      <a:pt x="594" y="633"/>
                    </a:lnTo>
                    <a:lnTo>
                      <a:pt x="594" y="631"/>
                    </a:lnTo>
                    <a:lnTo>
                      <a:pt x="594" y="633"/>
                    </a:lnTo>
                    <a:lnTo>
                      <a:pt x="596" y="633"/>
                    </a:lnTo>
                    <a:lnTo>
                      <a:pt x="594" y="633"/>
                    </a:lnTo>
                    <a:lnTo>
                      <a:pt x="596" y="633"/>
                    </a:lnTo>
                    <a:lnTo>
                      <a:pt x="596" y="635"/>
                    </a:lnTo>
                    <a:lnTo>
                      <a:pt x="597" y="635"/>
                    </a:lnTo>
                    <a:lnTo>
                      <a:pt x="597" y="633"/>
                    </a:lnTo>
                    <a:lnTo>
                      <a:pt x="597" y="635"/>
                    </a:lnTo>
                    <a:lnTo>
                      <a:pt x="597" y="633"/>
                    </a:lnTo>
                    <a:lnTo>
                      <a:pt x="599" y="633"/>
                    </a:lnTo>
                    <a:lnTo>
                      <a:pt x="601" y="633"/>
                    </a:lnTo>
                    <a:lnTo>
                      <a:pt x="601" y="635"/>
                    </a:lnTo>
                    <a:lnTo>
                      <a:pt x="603" y="635"/>
                    </a:lnTo>
                    <a:lnTo>
                      <a:pt x="601" y="635"/>
                    </a:lnTo>
                    <a:lnTo>
                      <a:pt x="603" y="635"/>
                    </a:lnTo>
                    <a:lnTo>
                      <a:pt x="603" y="637"/>
                    </a:lnTo>
                    <a:lnTo>
                      <a:pt x="601" y="637"/>
                    </a:lnTo>
                    <a:lnTo>
                      <a:pt x="601" y="638"/>
                    </a:lnTo>
                    <a:lnTo>
                      <a:pt x="599" y="638"/>
                    </a:lnTo>
                    <a:lnTo>
                      <a:pt x="601" y="638"/>
                    </a:lnTo>
                    <a:lnTo>
                      <a:pt x="599" y="638"/>
                    </a:lnTo>
                    <a:lnTo>
                      <a:pt x="599" y="640"/>
                    </a:lnTo>
                    <a:lnTo>
                      <a:pt x="597" y="640"/>
                    </a:lnTo>
                    <a:lnTo>
                      <a:pt x="599" y="640"/>
                    </a:lnTo>
                    <a:lnTo>
                      <a:pt x="599" y="642"/>
                    </a:lnTo>
                    <a:lnTo>
                      <a:pt x="599" y="640"/>
                    </a:lnTo>
                    <a:lnTo>
                      <a:pt x="597" y="642"/>
                    </a:lnTo>
                    <a:lnTo>
                      <a:pt x="597" y="644"/>
                    </a:lnTo>
                    <a:lnTo>
                      <a:pt x="597" y="646"/>
                    </a:lnTo>
                    <a:lnTo>
                      <a:pt x="596" y="646"/>
                    </a:lnTo>
                    <a:lnTo>
                      <a:pt x="597" y="646"/>
                    </a:lnTo>
                    <a:lnTo>
                      <a:pt x="596" y="646"/>
                    </a:lnTo>
                    <a:lnTo>
                      <a:pt x="596" y="648"/>
                    </a:lnTo>
                    <a:lnTo>
                      <a:pt x="596" y="650"/>
                    </a:lnTo>
                    <a:lnTo>
                      <a:pt x="596" y="648"/>
                    </a:lnTo>
                    <a:lnTo>
                      <a:pt x="596" y="650"/>
                    </a:lnTo>
                    <a:lnTo>
                      <a:pt x="597" y="650"/>
                    </a:lnTo>
                    <a:lnTo>
                      <a:pt x="596" y="650"/>
                    </a:lnTo>
                    <a:lnTo>
                      <a:pt x="597" y="650"/>
                    </a:lnTo>
                    <a:lnTo>
                      <a:pt x="596" y="650"/>
                    </a:lnTo>
                    <a:lnTo>
                      <a:pt x="597" y="650"/>
                    </a:lnTo>
                    <a:lnTo>
                      <a:pt x="596" y="650"/>
                    </a:lnTo>
                    <a:lnTo>
                      <a:pt x="597" y="652"/>
                    </a:lnTo>
                    <a:lnTo>
                      <a:pt x="597" y="654"/>
                    </a:lnTo>
                    <a:lnTo>
                      <a:pt x="597" y="656"/>
                    </a:lnTo>
                    <a:lnTo>
                      <a:pt x="599" y="656"/>
                    </a:lnTo>
                    <a:lnTo>
                      <a:pt x="597" y="656"/>
                    </a:lnTo>
                    <a:lnTo>
                      <a:pt x="599" y="656"/>
                    </a:lnTo>
                    <a:lnTo>
                      <a:pt x="597" y="656"/>
                    </a:lnTo>
                    <a:lnTo>
                      <a:pt x="597" y="658"/>
                    </a:lnTo>
                    <a:lnTo>
                      <a:pt x="596" y="658"/>
                    </a:lnTo>
                    <a:lnTo>
                      <a:pt x="596" y="660"/>
                    </a:lnTo>
                    <a:lnTo>
                      <a:pt x="596" y="662"/>
                    </a:lnTo>
                    <a:lnTo>
                      <a:pt x="596" y="663"/>
                    </a:lnTo>
                    <a:lnTo>
                      <a:pt x="594" y="663"/>
                    </a:lnTo>
                    <a:lnTo>
                      <a:pt x="594" y="665"/>
                    </a:lnTo>
                    <a:lnTo>
                      <a:pt x="592" y="665"/>
                    </a:lnTo>
                    <a:lnTo>
                      <a:pt x="590" y="665"/>
                    </a:lnTo>
                    <a:lnTo>
                      <a:pt x="588" y="667"/>
                    </a:lnTo>
                    <a:lnTo>
                      <a:pt x="588" y="669"/>
                    </a:lnTo>
                    <a:lnTo>
                      <a:pt x="586" y="669"/>
                    </a:lnTo>
                    <a:lnTo>
                      <a:pt x="586" y="671"/>
                    </a:lnTo>
                    <a:lnTo>
                      <a:pt x="584" y="671"/>
                    </a:lnTo>
                    <a:lnTo>
                      <a:pt x="584" y="673"/>
                    </a:lnTo>
                    <a:lnTo>
                      <a:pt x="584" y="675"/>
                    </a:lnTo>
                    <a:lnTo>
                      <a:pt x="582" y="675"/>
                    </a:lnTo>
                    <a:lnTo>
                      <a:pt x="582" y="677"/>
                    </a:lnTo>
                    <a:lnTo>
                      <a:pt x="580" y="677"/>
                    </a:lnTo>
                    <a:lnTo>
                      <a:pt x="580" y="679"/>
                    </a:lnTo>
                    <a:lnTo>
                      <a:pt x="582" y="679"/>
                    </a:lnTo>
                    <a:lnTo>
                      <a:pt x="582" y="681"/>
                    </a:lnTo>
                    <a:lnTo>
                      <a:pt x="580" y="681"/>
                    </a:lnTo>
                    <a:lnTo>
                      <a:pt x="582" y="681"/>
                    </a:lnTo>
                    <a:lnTo>
                      <a:pt x="580" y="681"/>
                    </a:lnTo>
                    <a:lnTo>
                      <a:pt x="578" y="681"/>
                    </a:lnTo>
                    <a:lnTo>
                      <a:pt x="578" y="683"/>
                    </a:lnTo>
                    <a:lnTo>
                      <a:pt x="576" y="683"/>
                    </a:lnTo>
                    <a:lnTo>
                      <a:pt x="576" y="685"/>
                    </a:lnTo>
                    <a:lnTo>
                      <a:pt x="574" y="685"/>
                    </a:lnTo>
                    <a:lnTo>
                      <a:pt x="576" y="685"/>
                    </a:lnTo>
                    <a:lnTo>
                      <a:pt x="576" y="686"/>
                    </a:lnTo>
                    <a:lnTo>
                      <a:pt x="574" y="686"/>
                    </a:lnTo>
                    <a:lnTo>
                      <a:pt x="576" y="686"/>
                    </a:lnTo>
                    <a:lnTo>
                      <a:pt x="576" y="688"/>
                    </a:lnTo>
                    <a:lnTo>
                      <a:pt x="574" y="688"/>
                    </a:lnTo>
                    <a:lnTo>
                      <a:pt x="574" y="690"/>
                    </a:lnTo>
                    <a:lnTo>
                      <a:pt x="572" y="692"/>
                    </a:lnTo>
                    <a:lnTo>
                      <a:pt x="571" y="694"/>
                    </a:lnTo>
                    <a:lnTo>
                      <a:pt x="569" y="694"/>
                    </a:lnTo>
                    <a:lnTo>
                      <a:pt x="569" y="696"/>
                    </a:lnTo>
                    <a:lnTo>
                      <a:pt x="567" y="698"/>
                    </a:lnTo>
                    <a:lnTo>
                      <a:pt x="563" y="702"/>
                    </a:lnTo>
                    <a:lnTo>
                      <a:pt x="563" y="704"/>
                    </a:lnTo>
                    <a:lnTo>
                      <a:pt x="561" y="706"/>
                    </a:lnTo>
                    <a:lnTo>
                      <a:pt x="559" y="706"/>
                    </a:lnTo>
                    <a:lnTo>
                      <a:pt x="559" y="704"/>
                    </a:lnTo>
                    <a:lnTo>
                      <a:pt x="557" y="702"/>
                    </a:lnTo>
                    <a:lnTo>
                      <a:pt x="557" y="700"/>
                    </a:lnTo>
                    <a:lnTo>
                      <a:pt x="557" y="698"/>
                    </a:lnTo>
                    <a:lnTo>
                      <a:pt x="557" y="696"/>
                    </a:lnTo>
                    <a:lnTo>
                      <a:pt x="555" y="694"/>
                    </a:lnTo>
                    <a:lnTo>
                      <a:pt x="551" y="694"/>
                    </a:lnTo>
                    <a:lnTo>
                      <a:pt x="549" y="692"/>
                    </a:lnTo>
                    <a:lnTo>
                      <a:pt x="549" y="690"/>
                    </a:lnTo>
                    <a:lnTo>
                      <a:pt x="549" y="688"/>
                    </a:lnTo>
                    <a:lnTo>
                      <a:pt x="548" y="686"/>
                    </a:lnTo>
                    <a:lnTo>
                      <a:pt x="548" y="685"/>
                    </a:lnTo>
                    <a:lnTo>
                      <a:pt x="544" y="681"/>
                    </a:lnTo>
                    <a:lnTo>
                      <a:pt x="540" y="685"/>
                    </a:lnTo>
                    <a:lnTo>
                      <a:pt x="538" y="685"/>
                    </a:lnTo>
                    <a:lnTo>
                      <a:pt x="536" y="683"/>
                    </a:lnTo>
                    <a:lnTo>
                      <a:pt x="530" y="686"/>
                    </a:lnTo>
                    <a:lnTo>
                      <a:pt x="528" y="686"/>
                    </a:lnTo>
                    <a:lnTo>
                      <a:pt x="523" y="681"/>
                    </a:lnTo>
                    <a:lnTo>
                      <a:pt x="523" y="679"/>
                    </a:lnTo>
                    <a:lnTo>
                      <a:pt x="523" y="677"/>
                    </a:lnTo>
                    <a:lnTo>
                      <a:pt x="523" y="675"/>
                    </a:lnTo>
                    <a:lnTo>
                      <a:pt x="515" y="671"/>
                    </a:lnTo>
                    <a:lnTo>
                      <a:pt x="517" y="665"/>
                    </a:lnTo>
                    <a:lnTo>
                      <a:pt x="511" y="663"/>
                    </a:lnTo>
                    <a:lnTo>
                      <a:pt x="509" y="663"/>
                    </a:lnTo>
                    <a:lnTo>
                      <a:pt x="507" y="663"/>
                    </a:lnTo>
                    <a:lnTo>
                      <a:pt x="503" y="662"/>
                    </a:lnTo>
                    <a:lnTo>
                      <a:pt x="499" y="660"/>
                    </a:lnTo>
                    <a:lnTo>
                      <a:pt x="498" y="662"/>
                    </a:lnTo>
                    <a:lnTo>
                      <a:pt x="494" y="662"/>
                    </a:lnTo>
                    <a:lnTo>
                      <a:pt x="492" y="665"/>
                    </a:lnTo>
                    <a:lnTo>
                      <a:pt x="490" y="665"/>
                    </a:lnTo>
                    <a:lnTo>
                      <a:pt x="486" y="663"/>
                    </a:lnTo>
                    <a:lnTo>
                      <a:pt x="484" y="662"/>
                    </a:lnTo>
                    <a:lnTo>
                      <a:pt x="484" y="660"/>
                    </a:lnTo>
                    <a:lnTo>
                      <a:pt x="482" y="658"/>
                    </a:lnTo>
                    <a:lnTo>
                      <a:pt x="480" y="656"/>
                    </a:lnTo>
                    <a:lnTo>
                      <a:pt x="478" y="656"/>
                    </a:lnTo>
                    <a:lnTo>
                      <a:pt x="476" y="654"/>
                    </a:lnTo>
                    <a:lnTo>
                      <a:pt x="476" y="652"/>
                    </a:lnTo>
                    <a:lnTo>
                      <a:pt x="476" y="650"/>
                    </a:lnTo>
                    <a:lnTo>
                      <a:pt x="476" y="648"/>
                    </a:lnTo>
                    <a:lnTo>
                      <a:pt x="475" y="648"/>
                    </a:lnTo>
                    <a:lnTo>
                      <a:pt x="475" y="646"/>
                    </a:lnTo>
                    <a:lnTo>
                      <a:pt x="473" y="644"/>
                    </a:lnTo>
                    <a:lnTo>
                      <a:pt x="473" y="642"/>
                    </a:lnTo>
                    <a:lnTo>
                      <a:pt x="471" y="638"/>
                    </a:lnTo>
                    <a:lnTo>
                      <a:pt x="473" y="633"/>
                    </a:lnTo>
                    <a:lnTo>
                      <a:pt x="469" y="633"/>
                    </a:lnTo>
                    <a:lnTo>
                      <a:pt x="463" y="633"/>
                    </a:lnTo>
                    <a:lnTo>
                      <a:pt x="459" y="635"/>
                    </a:lnTo>
                    <a:lnTo>
                      <a:pt x="459" y="637"/>
                    </a:lnTo>
                    <a:lnTo>
                      <a:pt x="459" y="638"/>
                    </a:lnTo>
                    <a:lnTo>
                      <a:pt x="457" y="640"/>
                    </a:lnTo>
                    <a:lnTo>
                      <a:pt x="455" y="640"/>
                    </a:lnTo>
                    <a:lnTo>
                      <a:pt x="453" y="642"/>
                    </a:lnTo>
                    <a:lnTo>
                      <a:pt x="451" y="644"/>
                    </a:lnTo>
                    <a:lnTo>
                      <a:pt x="450" y="644"/>
                    </a:lnTo>
                    <a:lnTo>
                      <a:pt x="450" y="646"/>
                    </a:lnTo>
                    <a:lnTo>
                      <a:pt x="446" y="648"/>
                    </a:lnTo>
                    <a:lnTo>
                      <a:pt x="444" y="648"/>
                    </a:lnTo>
                    <a:lnTo>
                      <a:pt x="444" y="650"/>
                    </a:lnTo>
                    <a:lnTo>
                      <a:pt x="442" y="650"/>
                    </a:lnTo>
                    <a:lnTo>
                      <a:pt x="440" y="650"/>
                    </a:lnTo>
                    <a:lnTo>
                      <a:pt x="438" y="650"/>
                    </a:lnTo>
                    <a:lnTo>
                      <a:pt x="436" y="652"/>
                    </a:lnTo>
                    <a:lnTo>
                      <a:pt x="436" y="654"/>
                    </a:lnTo>
                    <a:lnTo>
                      <a:pt x="436" y="656"/>
                    </a:lnTo>
                    <a:lnTo>
                      <a:pt x="434" y="662"/>
                    </a:lnTo>
                    <a:lnTo>
                      <a:pt x="434" y="663"/>
                    </a:lnTo>
                    <a:lnTo>
                      <a:pt x="432" y="663"/>
                    </a:lnTo>
                    <a:lnTo>
                      <a:pt x="426" y="662"/>
                    </a:lnTo>
                    <a:lnTo>
                      <a:pt x="423" y="662"/>
                    </a:lnTo>
                    <a:lnTo>
                      <a:pt x="417" y="660"/>
                    </a:lnTo>
                    <a:lnTo>
                      <a:pt x="411" y="660"/>
                    </a:lnTo>
                    <a:lnTo>
                      <a:pt x="405" y="658"/>
                    </a:lnTo>
                    <a:lnTo>
                      <a:pt x="403" y="658"/>
                    </a:lnTo>
                    <a:lnTo>
                      <a:pt x="401" y="658"/>
                    </a:lnTo>
                    <a:lnTo>
                      <a:pt x="398" y="660"/>
                    </a:lnTo>
                    <a:lnTo>
                      <a:pt x="396" y="660"/>
                    </a:lnTo>
                    <a:lnTo>
                      <a:pt x="394" y="660"/>
                    </a:lnTo>
                    <a:lnTo>
                      <a:pt x="392" y="660"/>
                    </a:lnTo>
                    <a:lnTo>
                      <a:pt x="388" y="662"/>
                    </a:lnTo>
                    <a:lnTo>
                      <a:pt x="386" y="662"/>
                    </a:lnTo>
                    <a:lnTo>
                      <a:pt x="384" y="662"/>
                    </a:lnTo>
                    <a:lnTo>
                      <a:pt x="384" y="663"/>
                    </a:lnTo>
                    <a:lnTo>
                      <a:pt x="382" y="663"/>
                    </a:lnTo>
                    <a:lnTo>
                      <a:pt x="380" y="660"/>
                    </a:lnTo>
                    <a:lnTo>
                      <a:pt x="378" y="656"/>
                    </a:lnTo>
                    <a:lnTo>
                      <a:pt x="375" y="652"/>
                    </a:lnTo>
                    <a:lnTo>
                      <a:pt x="373" y="652"/>
                    </a:lnTo>
                    <a:lnTo>
                      <a:pt x="371" y="648"/>
                    </a:lnTo>
                    <a:lnTo>
                      <a:pt x="369" y="648"/>
                    </a:lnTo>
                    <a:lnTo>
                      <a:pt x="367" y="646"/>
                    </a:lnTo>
                    <a:lnTo>
                      <a:pt x="363" y="642"/>
                    </a:lnTo>
                    <a:lnTo>
                      <a:pt x="361" y="640"/>
                    </a:lnTo>
                    <a:lnTo>
                      <a:pt x="361" y="638"/>
                    </a:lnTo>
                    <a:lnTo>
                      <a:pt x="361" y="637"/>
                    </a:lnTo>
                    <a:lnTo>
                      <a:pt x="359" y="637"/>
                    </a:lnTo>
                    <a:lnTo>
                      <a:pt x="359" y="631"/>
                    </a:lnTo>
                    <a:lnTo>
                      <a:pt x="359" y="627"/>
                    </a:lnTo>
                    <a:lnTo>
                      <a:pt x="355" y="625"/>
                    </a:lnTo>
                    <a:lnTo>
                      <a:pt x="353" y="623"/>
                    </a:lnTo>
                    <a:lnTo>
                      <a:pt x="350" y="621"/>
                    </a:lnTo>
                    <a:lnTo>
                      <a:pt x="350" y="619"/>
                    </a:lnTo>
                    <a:lnTo>
                      <a:pt x="342" y="623"/>
                    </a:lnTo>
                    <a:lnTo>
                      <a:pt x="340" y="623"/>
                    </a:lnTo>
                    <a:lnTo>
                      <a:pt x="340" y="621"/>
                    </a:lnTo>
                    <a:lnTo>
                      <a:pt x="338" y="619"/>
                    </a:lnTo>
                    <a:lnTo>
                      <a:pt x="336" y="617"/>
                    </a:lnTo>
                    <a:lnTo>
                      <a:pt x="334" y="615"/>
                    </a:lnTo>
                    <a:lnTo>
                      <a:pt x="332" y="615"/>
                    </a:lnTo>
                    <a:lnTo>
                      <a:pt x="330" y="613"/>
                    </a:lnTo>
                    <a:lnTo>
                      <a:pt x="330" y="612"/>
                    </a:lnTo>
                    <a:lnTo>
                      <a:pt x="327" y="610"/>
                    </a:lnTo>
                    <a:lnTo>
                      <a:pt x="325" y="610"/>
                    </a:lnTo>
                    <a:lnTo>
                      <a:pt x="323" y="612"/>
                    </a:lnTo>
                    <a:lnTo>
                      <a:pt x="321" y="612"/>
                    </a:lnTo>
                    <a:lnTo>
                      <a:pt x="319" y="610"/>
                    </a:lnTo>
                    <a:lnTo>
                      <a:pt x="317" y="610"/>
                    </a:lnTo>
                    <a:lnTo>
                      <a:pt x="315" y="610"/>
                    </a:lnTo>
                    <a:lnTo>
                      <a:pt x="313" y="610"/>
                    </a:lnTo>
                    <a:lnTo>
                      <a:pt x="311" y="610"/>
                    </a:lnTo>
                    <a:lnTo>
                      <a:pt x="309" y="610"/>
                    </a:lnTo>
                    <a:lnTo>
                      <a:pt x="307" y="610"/>
                    </a:lnTo>
                    <a:lnTo>
                      <a:pt x="305" y="610"/>
                    </a:lnTo>
                    <a:lnTo>
                      <a:pt x="304" y="612"/>
                    </a:lnTo>
                    <a:lnTo>
                      <a:pt x="302" y="612"/>
                    </a:lnTo>
                    <a:lnTo>
                      <a:pt x="296" y="610"/>
                    </a:lnTo>
                    <a:lnTo>
                      <a:pt x="292" y="608"/>
                    </a:lnTo>
                    <a:lnTo>
                      <a:pt x="290" y="606"/>
                    </a:lnTo>
                    <a:lnTo>
                      <a:pt x="288" y="604"/>
                    </a:lnTo>
                    <a:lnTo>
                      <a:pt x="288" y="602"/>
                    </a:lnTo>
                    <a:lnTo>
                      <a:pt x="284" y="598"/>
                    </a:lnTo>
                    <a:lnTo>
                      <a:pt x="282" y="598"/>
                    </a:lnTo>
                    <a:lnTo>
                      <a:pt x="279" y="596"/>
                    </a:lnTo>
                    <a:lnTo>
                      <a:pt x="273" y="594"/>
                    </a:lnTo>
                    <a:lnTo>
                      <a:pt x="267" y="594"/>
                    </a:lnTo>
                    <a:lnTo>
                      <a:pt x="265" y="592"/>
                    </a:lnTo>
                    <a:lnTo>
                      <a:pt x="261" y="588"/>
                    </a:lnTo>
                    <a:lnTo>
                      <a:pt x="261" y="583"/>
                    </a:lnTo>
                    <a:lnTo>
                      <a:pt x="257" y="579"/>
                    </a:lnTo>
                    <a:lnTo>
                      <a:pt x="257" y="577"/>
                    </a:lnTo>
                    <a:lnTo>
                      <a:pt x="257" y="575"/>
                    </a:lnTo>
                    <a:lnTo>
                      <a:pt x="252" y="575"/>
                    </a:lnTo>
                    <a:lnTo>
                      <a:pt x="250" y="579"/>
                    </a:lnTo>
                    <a:lnTo>
                      <a:pt x="246" y="581"/>
                    </a:lnTo>
                    <a:lnTo>
                      <a:pt x="244" y="581"/>
                    </a:lnTo>
                    <a:lnTo>
                      <a:pt x="242" y="581"/>
                    </a:lnTo>
                    <a:lnTo>
                      <a:pt x="240" y="581"/>
                    </a:lnTo>
                    <a:lnTo>
                      <a:pt x="238" y="579"/>
                    </a:lnTo>
                    <a:lnTo>
                      <a:pt x="236" y="579"/>
                    </a:lnTo>
                    <a:lnTo>
                      <a:pt x="234" y="579"/>
                    </a:lnTo>
                    <a:lnTo>
                      <a:pt x="231" y="577"/>
                    </a:lnTo>
                    <a:lnTo>
                      <a:pt x="227" y="581"/>
                    </a:lnTo>
                    <a:lnTo>
                      <a:pt x="225" y="579"/>
                    </a:lnTo>
                    <a:lnTo>
                      <a:pt x="223" y="579"/>
                    </a:lnTo>
                    <a:lnTo>
                      <a:pt x="213" y="581"/>
                    </a:lnTo>
                    <a:lnTo>
                      <a:pt x="217" y="563"/>
                    </a:lnTo>
                    <a:lnTo>
                      <a:pt x="219" y="556"/>
                    </a:lnTo>
                    <a:lnTo>
                      <a:pt x="219" y="554"/>
                    </a:lnTo>
                    <a:lnTo>
                      <a:pt x="217" y="552"/>
                    </a:lnTo>
                    <a:lnTo>
                      <a:pt x="217" y="550"/>
                    </a:lnTo>
                    <a:lnTo>
                      <a:pt x="217" y="548"/>
                    </a:lnTo>
                    <a:lnTo>
                      <a:pt x="215" y="548"/>
                    </a:lnTo>
                    <a:lnTo>
                      <a:pt x="213" y="546"/>
                    </a:lnTo>
                    <a:lnTo>
                      <a:pt x="211" y="546"/>
                    </a:lnTo>
                    <a:lnTo>
                      <a:pt x="209" y="546"/>
                    </a:lnTo>
                    <a:lnTo>
                      <a:pt x="204" y="544"/>
                    </a:lnTo>
                    <a:lnTo>
                      <a:pt x="202" y="538"/>
                    </a:lnTo>
                    <a:lnTo>
                      <a:pt x="202" y="537"/>
                    </a:lnTo>
                    <a:lnTo>
                      <a:pt x="202" y="535"/>
                    </a:lnTo>
                    <a:lnTo>
                      <a:pt x="200" y="531"/>
                    </a:lnTo>
                    <a:lnTo>
                      <a:pt x="202" y="527"/>
                    </a:lnTo>
                    <a:lnTo>
                      <a:pt x="200" y="527"/>
                    </a:lnTo>
                    <a:lnTo>
                      <a:pt x="200" y="525"/>
                    </a:lnTo>
                    <a:lnTo>
                      <a:pt x="198" y="525"/>
                    </a:lnTo>
                    <a:lnTo>
                      <a:pt x="198" y="523"/>
                    </a:lnTo>
                    <a:lnTo>
                      <a:pt x="198" y="521"/>
                    </a:lnTo>
                    <a:lnTo>
                      <a:pt x="202" y="519"/>
                    </a:lnTo>
                    <a:lnTo>
                      <a:pt x="204" y="519"/>
                    </a:lnTo>
                    <a:lnTo>
                      <a:pt x="206" y="517"/>
                    </a:lnTo>
                    <a:lnTo>
                      <a:pt x="207" y="512"/>
                    </a:lnTo>
                    <a:lnTo>
                      <a:pt x="206" y="510"/>
                    </a:lnTo>
                    <a:lnTo>
                      <a:pt x="204" y="508"/>
                    </a:lnTo>
                    <a:lnTo>
                      <a:pt x="200" y="508"/>
                    </a:lnTo>
                    <a:lnTo>
                      <a:pt x="200" y="506"/>
                    </a:lnTo>
                    <a:lnTo>
                      <a:pt x="198" y="502"/>
                    </a:lnTo>
                    <a:lnTo>
                      <a:pt x="196" y="500"/>
                    </a:lnTo>
                    <a:lnTo>
                      <a:pt x="194" y="498"/>
                    </a:lnTo>
                    <a:lnTo>
                      <a:pt x="192" y="500"/>
                    </a:lnTo>
                    <a:lnTo>
                      <a:pt x="190" y="500"/>
                    </a:lnTo>
                    <a:lnTo>
                      <a:pt x="186" y="498"/>
                    </a:lnTo>
                    <a:lnTo>
                      <a:pt x="184" y="498"/>
                    </a:lnTo>
                    <a:lnTo>
                      <a:pt x="184" y="496"/>
                    </a:lnTo>
                    <a:lnTo>
                      <a:pt x="184" y="494"/>
                    </a:lnTo>
                    <a:lnTo>
                      <a:pt x="182" y="494"/>
                    </a:lnTo>
                    <a:lnTo>
                      <a:pt x="182" y="492"/>
                    </a:lnTo>
                    <a:lnTo>
                      <a:pt x="181" y="492"/>
                    </a:lnTo>
                    <a:lnTo>
                      <a:pt x="179" y="492"/>
                    </a:lnTo>
                    <a:lnTo>
                      <a:pt x="173" y="490"/>
                    </a:lnTo>
                    <a:lnTo>
                      <a:pt x="173" y="487"/>
                    </a:lnTo>
                    <a:lnTo>
                      <a:pt x="173" y="485"/>
                    </a:lnTo>
                    <a:lnTo>
                      <a:pt x="171" y="485"/>
                    </a:lnTo>
                    <a:lnTo>
                      <a:pt x="169" y="485"/>
                    </a:lnTo>
                    <a:lnTo>
                      <a:pt x="167" y="485"/>
                    </a:lnTo>
                    <a:lnTo>
                      <a:pt x="163" y="485"/>
                    </a:lnTo>
                    <a:lnTo>
                      <a:pt x="161" y="485"/>
                    </a:lnTo>
                    <a:lnTo>
                      <a:pt x="161" y="488"/>
                    </a:lnTo>
                    <a:lnTo>
                      <a:pt x="161" y="490"/>
                    </a:lnTo>
                    <a:lnTo>
                      <a:pt x="163" y="490"/>
                    </a:lnTo>
                    <a:lnTo>
                      <a:pt x="163" y="492"/>
                    </a:lnTo>
                    <a:lnTo>
                      <a:pt x="161" y="494"/>
                    </a:lnTo>
                    <a:lnTo>
                      <a:pt x="159" y="494"/>
                    </a:lnTo>
                    <a:lnTo>
                      <a:pt x="159" y="496"/>
                    </a:lnTo>
                    <a:lnTo>
                      <a:pt x="159" y="498"/>
                    </a:lnTo>
                    <a:lnTo>
                      <a:pt x="158" y="498"/>
                    </a:lnTo>
                    <a:lnTo>
                      <a:pt x="156" y="498"/>
                    </a:lnTo>
                    <a:lnTo>
                      <a:pt x="156" y="496"/>
                    </a:lnTo>
                    <a:lnTo>
                      <a:pt x="154" y="494"/>
                    </a:lnTo>
                    <a:lnTo>
                      <a:pt x="152" y="492"/>
                    </a:lnTo>
                    <a:lnTo>
                      <a:pt x="150" y="490"/>
                    </a:lnTo>
                    <a:lnTo>
                      <a:pt x="148" y="490"/>
                    </a:lnTo>
                    <a:lnTo>
                      <a:pt x="146" y="490"/>
                    </a:lnTo>
                    <a:lnTo>
                      <a:pt x="138" y="494"/>
                    </a:lnTo>
                    <a:lnTo>
                      <a:pt x="138" y="496"/>
                    </a:lnTo>
                    <a:lnTo>
                      <a:pt x="136" y="496"/>
                    </a:lnTo>
                    <a:lnTo>
                      <a:pt x="133" y="498"/>
                    </a:lnTo>
                    <a:lnTo>
                      <a:pt x="131" y="498"/>
                    </a:lnTo>
                    <a:lnTo>
                      <a:pt x="129" y="500"/>
                    </a:lnTo>
                    <a:lnTo>
                      <a:pt x="127" y="500"/>
                    </a:lnTo>
                    <a:lnTo>
                      <a:pt x="127" y="502"/>
                    </a:lnTo>
                    <a:lnTo>
                      <a:pt x="125" y="502"/>
                    </a:lnTo>
                    <a:lnTo>
                      <a:pt x="125" y="500"/>
                    </a:lnTo>
                    <a:lnTo>
                      <a:pt x="125" y="498"/>
                    </a:lnTo>
                    <a:lnTo>
                      <a:pt x="123" y="498"/>
                    </a:lnTo>
                    <a:lnTo>
                      <a:pt x="121" y="498"/>
                    </a:lnTo>
                    <a:lnTo>
                      <a:pt x="121" y="496"/>
                    </a:lnTo>
                    <a:lnTo>
                      <a:pt x="119" y="496"/>
                    </a:lnTo>
                    <a:lnTo>
                      <a:pt x="117" y="496"/>
                    </a:lnTo>
                    <a:lnTo>
                      <a:pt x="117" y="494"/>
                    </a:lnTo>
                    <a:lnTo>
                      <a:pt x="115" y="494"/>
                    </a:lnTo>
                    <a:lnTo>
                      <a:pt x="113" y="494"/>
                    </a:lnTo>
                    <a:lnTo>
                      <a:pt x="111" y="494"/>
                    </a:lnTo>
                    <a:lnTo>
                      <a:pt x="113" y="494"/>
                    </a:lnTo>
                    <a:lnTo>
                      <a:pt x="113" y="492"/>
                    </a:lnTo>
                    <a:lnTo>
                      <a:pt x="111" y="490"/>
                    </a:lnTo>
                    <a:lnTo>
                      <a:pt x="111" y="488"/>
                    </a:lnTo>
                    <a:lnTo>
                      <a:pt x="109" y="488"/>
                    </a:lnTo>
                    <a:lnTo>
                      <a:pt x="109" y="487"/>
                    </a:lnTo>
                    <a:lnTo>
                      <a:pt x="108" y="487"/>
                    </a:lnTo>
                    <a:lnTo>
                      <a:pt x="106" y="485"/>
                    </a:lnTo>
                    <a:lnTo>
                      <a:pt x="104" y="485"/>
                    </a:lnTo>
                    <a:lnTo>
                      <a:pt x="104" y="483"/>
                    </a:lnTo>
                    <a:lnTo>
                      <a:pt x="104" y="481"/>
                    </a:lnTo>
                    <a:lnTo>
                      <a:pt x="106" y="479"/>
                    </a:lnTo>
                    <a:lnTo>
                      <a:pt x="106" y="477"/>
                    </a:lnTo>
                    <a:lnTo>
                      <a:pt x="106" y="475"/>
                    </a:lnTo>
                    <a:lnTo>
                      <a:pt x="108" y="475"/>
                    </a:lnTo>
                    <a:lnTo>
                      <a:pt x="108" y="473"/>
                    </a:lnTo>
                    <a:lnTo>
                      <a:pt x="109" y="471"/>
                    </a:lnTo>
                    <a:lnTo>
                      <a:pt x="111" y="471"/>
                    </a:lnTo>
                    <a:lnTo>
                      <a:pt x="111" y="469"/>
                    </a:lnTo>
                    <a:lnTo>
                      <a:pt x="111" y="467"/>
                    </a:lnTo>
                    <a:lnTo>
                      <a:pt x="111" y="465"/>
                    </a:lnTo>
                    <a:lnTo>
                      <a:pt x="109" y="465"/>
                    </a:lnTo>
                    <a:lnTo>
                      <a:pt x="109" y="463"/>
                    </a:lnTo>
                    <a:lnTo>
                      <a:pt x="108" y="462"/>
                    </a:lnTo>
                    <a:lnTo>
                      <a:pt x="106" y="462"/>
                    </a:lnTo>
                    <a:lnTo>
                      <a:pt x="102" y="462"/>
                    </a:lnTo>
                    <a:lnTo>
                      <a:pt x="100" y="462"/>
                    </a:lnTo>
                    <a:lnTo>
                      <a:pt x="98" y="460"/>
                    </a:lnTo>
                    <a:lnTo>
                      <a:pt x="94" y="456"/>
                    </a:lnTo>
                    <a:lnTo>
                      <a:pt x="88" y="454"/>
                    </a:lnTo>
                    <a:lnTo>
                      <a:pt x="88" y="452"/>
                    </a:lnTo>
                    <a:lnTo>
                      <a:pt x="86" y="452"/>
                    </a:lnTo>
                    <a:lnTo>
                      <a:pt x="86" y="450"/>
                    </a:lnTo>
                    <a:lnTo>
                      <a:pt x="86" y="452"/>
                    </a:lnTo>
                    <a:lnTo>
                      <a:pt x="88" y="452"/>
                    </a:lnTo>
                    <a:lnTo>
                      <a:pt x="88" y="450"/>
                    </a:lnTo>
                    <a:lnTo>
                      <a:pt x="88" y="452"/>
                    </a:lnTo>
                    <a:lnTo>
                      <a:pt x="88" y="450"/>
                    </a:lnTo>
                    <a:lnTo>
                      <a:pt x="86" y="450"/>
                    </a:lnTo>
                    <a:lnTo>
                      <a:pt x="86" y="448"/>
                    </a:lnTo>
                    <a:lnTo>
                      <a:pt x="86" y="446"/>
                    </a:lnTo>
                    <a:lnTo>
                      <a:pt x="88" y="446"/>
                    </a:lnTo>
                    <a:lnTo>
                      <a:pt x="86" y="446"/>
                    </a:lnTo>
                    <a:lnTo>
                      <a:pt x="88" y="446"/>
                    </a:lnTo>
                    <a:lnTo>
                      <a:pt x="86" y="446"/>
                    </a:lnTo>
                    <a:lnTo>
                      <a:pt x="88" y="446"/>
                    </a:lnTo>
                    <a:lnTo>
                      <a:pt x="88" y="448"/>
                    </a:lnTo>
                    <a:lnTo>
                      <a:pt x="86" y="448"/>
                    </a:lnTo>
                    <a:lnTo>
                      <a:pt x="86" y="446"/>
                    </a:lnTo>
                    <a:lnTo>
                      <a:pt x="86" y="448"/>
                    </a:lnTo>
                    <a:lnTo>
                      <a:pt x="88" y="448"/>
                    </a:lnTo>
                    <a:lnTo>
                      <a:pt x="88" y="446"/>
                    </a:lnTo>
                    <a:lnTo>
                      <a:pt x="90" y="446"/>
                    </a:lnTo>
                    <a:lnTo>
                      <a:pt x="90" y="444"/>
                    </a:lnTo>
                    <a:lnTo>
                      <a:pt x="92" y="444"/>
                    </a:lnTo>
                    <a:lnTo>
                      <a:pt x="92" y="446"/>
                    </a:lnTo>
                    <a:lnTo>
                      <a:pt x="92" y="444"/>
                    </a:lnTo>
                    <a:lnTo>
                      <a:pt x="94" y="444"/>
                    </a:lnTo>
                    <a:lnTo>
                      <a:pt x="94" y="446"/>
                    </a:lnTo>
                    <a:lnTo>
                      <a:pt x="94" y="448"/>
                    </a:lnTo>
                    <a:lnTo>
                      <a:pt x="94" y="446"/>
                    </a:lnTo>
                    <a:lnTo>
                      <a:pt x="96" y="446"/>
                    </a:lnTo>
                    <a:lnTo>
                      <a:pt x="98" y="446"/>
                    </a:lnTo>
                    <a:lnTo>
                      <a:pt x="100" y="446"/>
                    </a:lnTo>
                    <a:lnTo>
                      <a:pt x="98" y="446"/>
                    </a:lnTo>
                    <a:lnTo>
                      <a:pt x="100" y="446"/>
                    </a:lnTo>
                    <a:lnTo>
                      <a:pt x="98" y="446"/>
                    </a:lnTo>
                    <a:lnTo>
                      <a:pt x="98" y="444"/>
                    </a:lnTo>
                    <a:lnTo>
                      <a:pt x="96" y="444"/>
                    </a:lnTo>
                    <a:lnTo>
                      <a:pt x="98" y="444"/>
                    </a:lnTo>
                    <a:lnTo>
                      <a:pt x="96" y="444"/>
                    </a:lnTo>
                    <a:lnTo>
                      <a:pt x="94" y="444"/>
                    </a:lnTo>
                    <a:lnTo>
                      <a:pt x="94" y="442"/>
                    </a:lnTo>
                    <a:lnTo>
                      <a:pt x="92" y="442"/>
                    </a:lnTo>
                    <a:lnTo>
                      <a:pt x="92" y="440"/>
                    </a:lnTo>
                    <a:lnTo>
                      <a:pt x="92" y="442"/>
                    </a:lnTo>
                    <a:lnTo>
                      <a:pt x="90" y="442"/>
                    </a:lnTo>
                    <a:lnTo>
                      <a:pt x="92" y="442"/>
                    </a:lnTo>
                    <a:lnTo>
                      <a:pt x="90" y="444"/>
                    </a:lnTo>
                    <a:lnTo>
                      <a:pt x="90" y="442"/>
                    </a:lnTo>
                    <a:lnTo>
                      <a:pt x="90" y="444"/>
                    </a:lnTo>
                    <a:lnTo>
                      <a:pt x="90" y="442"/>
                    </a:lnTo>
                    <a:lnTo>
                      <a:pt x="90" y="444"/>
                    </a:lnTo>
                    <a:lnTo>
                      <a:pt x="90" y="442"/>
                    </a:lnTo>
                    <a:lnTo>
                      <a:pt x="90" y="444"/>
                    </a:lnTo>
                    <a:lnTo>
                      <a:pt x="88" y="444"/>
                    </a:lnTo>
                    <a:lnTo>
                      <a:pt x="90" y="442"/>
                    </a:lnTo>
                    <a:lnTo>
                      <a:pt x="88" y="442"/>
                    </a:lnTo>
                    <a:lnTo>
                      <a:pt x="88" y="444"/>
                    </a:lnTo>
                    <a:lnTo>
                      <a:pt x="88" y="442"/>
                    </a:lnTo>
                    <a:lnTo>
                      <a:pt x="88" y="444"/>
                    </a:lnTo>
                    <a:lnTo>
                      <a:pt x="86" y="444"/>
                    </a:lnTo>
                    <a:lnTo>
                      <a:pt x="85" y="444"/>
                    </a:lnTo>
                    <a:lnTo>
                      <a:pt x="83" y="444"/>
                    </a:lnTo>
                    <a:lnTo>
                      <a:pt x="83" y="446"/>
                    </a:lnTo>
                    <a:lnTo>
                      <a:pt x="83" y="444"/>
                    </a:lnTo>
                    <a:lnTo>
                      <a:pt x="83" y="446"/>
                    </a:lnTo>
                    <a:lnTo>
                      <a:pt x="81" y="446"/>
                    </a:lnTo>
                    <a:lnTo>
                      <a:pt x="81" y="444"/>
                    </a:lnTo>
                    <a:lnTo>
                      <a:pt x="81" y="442"/>
                    </a:lnTo>
                    <a:lnTo>
                      <a:pt x="81" y="440"/>
                    </a:lnTo>
                    <a:lnTo>
                      <a:pt x="81" y="438"/>
                    </a:lnTo>
                    <a:lnTo>
                      <a:pt x="83" y="438"/>
                    </a:lnTo>
                    <a:lnTo>
                      <a:pt x="83" y="437"/>
                    </a:lnTo>
                    <a:lnTo>
                      <a:pt x="83" y="435"/>
                    </a:lnTo>
                    <a:lnTo>
                      <a:pt x="83" y="433"/>
                    </a:lnTo>
                    <a:lnTo>
                      <a:pt x="83" y="435"/>
                    </a:lnTo>
                    <a:lnTo>
                      <a:pt x="83" y="433"/>
                    </a:lnTo>
                    <a:lnTo>
                      <a:pt x="85" y="431"/>
                    </a:lnTo>
                    <a:lnTo>
                      <a:pt x="85" y="433"/>
                    </a:lnTo>
                    <a:lnTo>
                      <a:pt x="85" y="431"/>
                    </a:lnTo>
                    <a:lnTo>
                      <a:pt x="86" y="431"/>
                    </a:lnTo>
                    <a:lnTo>
                      <a:pt x="85" y="431"/>
                    </a:lnTo>
                    <a:lnTo>
                      <a:pt x="86" y="431"/>
                    </a:lnTo>
                    <a:lnTo>
                      <a:pt x="88" y="431"/>
                    </a:lnTo>
                    <a:lnTo>
                      <a:pt x="86" y="429"/>
                    </a:lnTo>
                    <a:lnTo>
                      <a:pt x="88" y="429"/>
                    </a:lnTo>
                    <a:lnTo>
                      <a:pt x="88" y="427"/>
                    </a:lnTo>
                    <a:lnTo>
                      <a:pt x="88" y="429"/>
                    </a:lnTo>
                    <a:lnTo>
                      <a:pt x="88" y="427"/>
                    </a:lnTo>
                    <a:lnTo>
                      <a:pt x="88" y="429"/>
                    </a:lnTo>
                    <a:lnTo>
                      <a:pt x="90" y="429"/>
                    </a:lnTo>
                    <a:lnTo>
                      <a:pt x="88" y="429"/>
                    </a:lnTo>
                    <a:lnTo>
                      <a:pt x="88" y="431"/>
                    </a:lnTo>
                    <a:lnTo>
                      <a:pt x="90" y="431"/>
                    </a:lnTo>
                    <a:lnTo>
                      <a:pt x="90" y="429"/>
                    </a:lnTo>
                    <a:lnTo>
                      <a:pt x="90" y="431"/>
                    </a:lnTo>
                    <a:lnTo>
                      <a:pt x="88" y="431"/>
                    </a:lnTo>
                    <a:lnTo>
                      <a:pt x="90" y="431"/>
                    </a:lnTo>
                    <a:lnTo>
                      <a:pt x="88" y="431"/>
                    </a:lnTo>
                    <a:lnTo>
                      <a:pt x="88" y="429"/>
                    </a:lnTo>
                    <a:lnTo>
                      <a:pt x="88" y="431"/>
                    </a:lnTo>
                    <a:lnTo>
                      <a:pt x="88" y="429"/>
                    </a:lnTo>
                    <a:lnTo>
                      <a:pt x="88" y="431"/>
                    </a:lnTo>
                    <a:lnTo>
                      <a:pt x="90" y="431"/>
                    </a:lnTo>
                    <a:lnTo>
                      <a:pt x="90" y="433"/>
                    </a:lnTo>
                    <a:lnTo>
                      <a:pt x="88" y="433"/>
                    </a:lnTo>
                    <a:lnTo>
                      <a:pt x="90" y="433"/>
                    </a:lnTo>
                    <a:lnTo>
                      <a:pt x="92" y="433"/>
                    </a:lnTo>
                    <a:lnTo>
                      <a:pt x="92" y="435"/>
                    </a:lnTo>
                    <a:lnTo>
                      <a:pt x="94" y="435"/>
                    </a:lnTo>
                    <a:lnTo>
                      <a:pt x="92" y="435"/>
                    </a:lnTo>
                    <a:lnTo>
                      <a:pt x="94" y="435"/>
                    </a:lnTo>
                    <a:lnTo>
                      <a:pt x="92" y="433"/>
                    </a:lnTo>
                    <a:lnTo>
                      <a:pt x="94" y="433"/>
                    </a:lnTo>
                    <a:lnTo>
                      <a:pt x="92" y="433"/>
                    </a:lnTo>
                    <a:lnTo>
                      <a:pt x="94" y="433"/>
                    </a:lnTo>
                    <a:lnTo>
                      <a:pt x="96" y="433"/>
                    </a:lnTo>
                    <a:lnTo>
                      <a:pt x="94" y="433"/>
                    </a:lnTo>
                    <a:lnTo>
                      <a:pt x="94" y="431"/>
                    </a:lnTo>
                    <a:lnTo>
                      <a:pt x="94" y="433"/>
                    </a:lnTo>
                    <a:lnTo>
                      <a:pt x="92" y="431"/>
                    </a:lnTo>
                    <a:lnTo>
                      <a:pt x="90" y="431"/>
                    </a:lnTo>
                    <a:lnTo>
                      <a:pt x="92" y="431"/>
                    </a:lnTo>
                    <a:lnTo>
                      <a:pt x="92" y="429"/>
                    </a:lnTo>
                    <a:lnTo>
                      <a:pt x="94" y="431"/>
                    </a:lnTo>
                    <a:lnTo>
                      <a:pt x="96" y="431"/>
                    </a:lnTo>
                    <a:lnTo>
                      <a:pt x="96" y="429"/>
                    </a:lnTo>
                    <a:lnTo>
                      <a:pt x="98" y="429"/>
                    </a:lnTo>
                    <a:lnTo>
                      <a:pt x="98" y="427"/>
                    </a:lnTo>
                    <a:lnTo>
                      <a:pt x="96" y="427"/>
                    </a:lnTo>
                    <a:lnTo>
                      <a:pt x="96" y="429"/>
                    </a:lnTo>
                    <a:lnTo>
                      <a:pt x="96" y="427"/>
                    </a:lnTo>
                    <a:lnTo>
                      <a:pt x="96" y="425"/>
                    </a:lnTo>
                    <a:lnTo>
                      <a:pt x="96" y="427"/>
                    </a:lnTo>
                    <a:lnTo>
                      <a:pt x="96" y="425"/>
                    </a:lnTo>
                    <a:lnTo>
                      <a:pt x="96" y="427"/>
                    </a:lnTo>
                    <a:lnTo>
                      <a:pt x="96" y="425"/>
                    </a:lnTo>
                    <a:lnTo>
                      <a:pt x="96" y="427"/>
                    </a:lnTo>
                    <a:lnTo>
                      <a:pt x="96" y="425"/>
                    </a:lnTo>
                    <a:lnTo>
                      <a:pt x="96" y="427"/>
                    </a:lnTo>
                    <a:lnTo>
                      <a:pt x="94" y="427"/>
                    </a:lnTo>
                    <a:lnTo>
                      <a:pt x="94" y="425"/>
                    </a:lnTo>
                    <a:lnTo>
                      <a:pt x="96" y="425"/>
                    </a:lnTo>
                    <a:lnTo>
                      <a:pt x="94" y="425"/>
                    </a:lnTo>
                    <a:lnTo>
                      <a:pt x="92" y="425"/>
                    </a:lnTo>
                    <a:lnTo>
                      <a:pt x="92" y="427"/>
                    </a:lnTo>
                    <a:lnTo>
                      <a:pt x="90" y="427"/>
                    </a:lnTo>
                    <a:lnTo>
                      <a:pt x="90" y="425"/>
                    </a:lnTo>
                    <a:lnTo>
                      <a:pt x="90" y="423"/>
                    </a:lnTo>
                    <a:lnTo>
                      <a:pt x="88" y="421"/>
                    </a:lnTo>
                    <a:lnTo>
                      <a:pt x="90" y="421"/>
                    </a:lnTo>
                    <a:lnTo>
                      <a:pt x="88" y="421"/>
                    </a:lnTo>
                    <a:lnTo>
                      <a:pt x="90" y="423"/>
                    </a:lnTo>
                    <a:lnTo>
                      <a:pt x="88" y="423"/>
                    </a:lnTo>
                    <a:lnTo>
                      <a:pt x="88" y="421"/>
                    </a:lnTo>
                    <a:lnTo>
                      <a:pt x="88" y="423"/>
                    </a:lnTo>
                    <a:lnTo>
                      <a:pt x="88" y="421"/>
                    </a:lnTo>
                    <a:lnTo>
                      <a:pt x="88" y="423"/>
                    </a:lnTo>
                    <a:lnTo>
                      <a:pt x="86" y="423"/>
                    </a:lnTo>
                    <a:lnTo>
                      <a:pt x="86" y="421"/>
                    </a:lnTo>
                    <a:lnTo>
                      <a:pt x="85" y="421"/>
                    </a:lnTo>
                    <a:lnTo>
                      <a:pt x="85" y="419"/>
                    </a:lnTo>
                    <a:lnTo>
                      <a:pt x="83" y="419"/>
                    </a:lnTo>
                    <a:lnTo>
                      <a:pt x="81" y="421"/>
                    </a:lnTo>
                    <a:lnTo>
                      <a:pt x="79" y="421"/>
                    </a:lnTo>
                    <a:lnTo>
                      <a:pt x="79" y="419"/>
                    </a:lnTo>
                    <a:lnTo>
                      <a:pt x="79" y="417"/>
                    </a:lnTo>
                    <a:lnTo>
                      <a:pt x="81" y="417"/>
                    </a:lnTo>
                    <a:lnTo>
                      <a:pt x="79" y="417"/>
                    </a:lnTo>
                    <a:lnTo>
                      <a:pt x="79" y="419"/>
                    </a:lnTo>
                    <a:lnTo>
                      <a:pt x="81" y="417"/>
                    </a:lnTo>
                    <a:lnTo>
                      <a:pt x="81" y="415"/>
                    </a:lnTo>
                    <a:lnTo>
                      <a:pt x="83" y="414"/>
                    </a:lnTo>
                    <a:lnTo>
                      <a:pt x="83" y="415"/>
                    </a:lnTo>
                    <a:lnTo>
                      <a:pt x="83" y="414"/>
                    </a:lnTo>
                    <a:lnTo>
                      <a:pt x="81" y="414"/>
                    </a:lnTo>
                    <a:lnTo>
                      <a:pt x="81" y="415"/>
                    </a:lnTo>
                    <a:lnTo>
                      <a:pt x="81" y="414"/>
                    </a:lnTo>
                    <a:lnTo>
                      <a:pt x="83" y="414"/>
                    </a:lnTo>
                    <a:lnTo>
                      <a:pt x="83" y="412"/>
                    </a:lnTo>
                    <a:lnTo>
                      <a:pt x="85" y="410"/>
                    </a:lnTo>
                    <a:lnTo>
                      <a:pt x="85" y="412"/>
                    </a:lnTo>
                    <a:lnTo>
                      <a:pt x="85" y="410"/>
                    </a:lnTo>
                    <a:lnTo>
                      <a:pt x="85" y="412"/>
                    </a:lnTo>
                    <a:lnTo>
                      <a:pt x="86" y="410"/>
                    </a:lnTo>
                    <a:lnTo>
                      <a:pt x="86" y="412"/>
                    </a:lnTo>
                    <a:lnTo>
                      <a:pt x="88" y="412"/>
                    </a:lnTo>
                    <a:lnTo>
                      <a:pt x="86" y="412"/>
                    </a:lnTo>
                    <a:lnTo>
                      <a:pt x="88" y="412"/>
                    </a:lnTo>
                    <a:lnTo>
                      <a:pt x="88" y="414"/>
                    </a:lnTo>
                    <a:lnTo>
                      <a:pt x="88" y="412"/>
                    </a:lnTo>
                    <a:lnTo>
                      <a:pt x="88" y="410"/>
                    </a:lnTo>
                    <a:lnTo>
                      <a:pt x="88" y="412"/>
                    </a:lnTo>
                    <a:lnTo>
                      <a:pt x="88" y="410"/>
                    </a:lnTo>
                    <a:lnTo>
                      <a:pt x="86" y="410"/>
                    </a:lnTo>
                    <a:lnTo>
                      <a:pt x="85" y="410"/>
                    </a:lnTo>
                    <a:lnTo>
                      <a:pt x="86" y="410"/>
                    </a:lnTo>
                    <a:lnTo>
                      <a:pt x="85" y="410"/>
                    </a:lnTo>
                    <a:lnTo>
                      <a:pt x="86" y="408"/>
                    </a:lnTo>
                    <a:lnTo>
                      <a:pt x="86" y="406"/>
                    </a:lnTo>
                    <a:lnTo>
                      <a:pt x="88" y="406"/>
                    </a:lnTo>
                    <a:lnTo>
                      <a:pt x="90" y="406"/>
                    </a:lnTo>
                    <a:lnTo>
                      <a:pt x="90" y="404"/>
                    </a:lnTo>
                    <a:lnTo>
                      <a:pt x="92" y="404"/>
                    </a:lnTo>
                    <a:lnTo>
                      <a:pt x="94" y="402"/>
                    </a:lnTo>
                    <a:lnTo>
                      <a:pt x="94" y="400"/>
                    </a:lnTo>
                    <a:lnTo>
                      <a:pt x="96" y="398"/>
                    </a:lnTo>
                    <a:lnTo>
                      <a:pt x="98" y="398"/>
                    </a:lnTo>
                    <a:lnTo>
                      <a:pt x="98" y="400"/>
                    </a:lnTo>
                    <a:lnTo>
                      <a:pt x="98" y="398"/>
                    </a:lnTo>
                    <a:lnTo>
                      <a:pt x="98" y="400"/>
                    </a:lnTo>
                    <a:lnTo>
                      <a:pt x="98" y="402"/>
                    </a:lnTo>
                    <a:lnTo>
                      <a:pt x="98" y="400"/>
                    </a:lnTo>
                    <a:lnTo>
                      <a:pt x="98" y="398"/>
                    </a:lnTo>
                    <a:lnTo>
                      <a:pt x="98" y="396"/>
                    </a:lnTo>
                    <a:lnTo>
                      <a:pt x="98" y="398"/>
                    </a:lnTo>
                    <a:lnTo>
                      <a:pt x="96" y="396"/>
                    </a:lnTo>
                    <a:lnTo>
                      <a:pt x="98" y="396"/>
                    </a:lnTo>
                    <a:lnTo>
                      <a:pt x="98" y="394"/>
                    </a:lnTo>
                    <a:lnTo>
                      <a:pt x="98" y="392"/>
                    </a:lnTo>
                    <a:lnTo>
                      <a:pt x="100" y="390"/>
                    </a:lnTo>
                    <a:lnTo>
                      <a:pt x="100" y="389"/>
                    </a:lnTo>
                    <a:lnTo>
                      <a:pt x="102" y="389"/>
                    </a:lnTo>
                    <a:lnTo>
                      <a:pt x="102" y="390"/>
                    </a:lnTo>
                    <a:lnTo>
                      <a:pt x="104" y="390"/>
                    </a:lnTo>
                    <a:lnTo>
                      <a:pt x="102" y="390"/>
                    </a:lnTo>
                    <a:lnTo>
                      <a:pt x="104" y="390"/>
                    </a:lnTo>
                    <a:lnTo>
                      <a:pt x="102" y="390"/>
                    </a:lnTo>
                    <a:lnTo>
                      <a:pt x="102" y="389"/>
                    </a:lnTo>
                    <a:lnTo>
                      <a:pt x="104" y="389"/>
                    </a:lnTo>
                    <a:lnTo>
                      <a:pt x="102" y="389"/>
                    </a:lnTo>
                    <a:lnTo>
                      <a:pt x="102" y="390"/>
                    </a:lnTo>
                    <a:lnTo>
                      <a:pt x="102" y="389"/>
                    </a:lnTo>
                    <a:lnTo>
                      <a:pt x="102" y="387"/>
                    </a:lnTo>
                    <a:lnTo>
                      <a:pt x="102" y="385"/>
                    </a:lnTo>
                    <a:lnTo>
                      <a:pt x="104" y="385"/>
                    </a:lnTo>
                    <a:lnTo>
                      <a:pt x="104" y="383"/>
                    </a:lnTo>
                    <a:lnTo>
                      <a:pt x="106" y="381"/>
                    </a:lnTo>
                    <a:lnTo>
                      <a:pt x="106" y="383"/>
                    </a:lnTo>
                    <a:lnTo>
                      <a:pt x="108" y="383"/>
                    </a:lnTo>
                    <a:lnTo>
                      <a:pt x="108" y="385"/>
                    </a:lnTo>
                    <a:lnTo>
                      <a:pt x="108" y="383"/>
                    </a:lnTo>
                    <a:lnTo>
                      <a:pt x="109" y="383"/>
                    </a:lnTo>
                    <a:lnTo>
                      <a:pt x="109" y="385"/>
                    </a:lnTo>
                    <a:lnTo>
                      <a:pt x="111" y="385"/>
                    </a:lnTo>
                    <a:lnTo>
                      <a:pt x="109" y="385"/>
                    </a:lnTo>
                    <a:lnTo>
                      <a:pt x="109" y="383"/>
                    </a:lnTo>
                    <a:lnTo>
                      <a:pt x="111" y="383"/>
                    </a:lnTo>
                    <a:lnTo>
                      <a:pt x="111" y="385"/>
                    </a:lnTo>
                    <a:lnTo>
                      <a:pt x="109" y="385"/>
                    </a:lnTo>
                    <a:lnTo>
                      <a:pt x="111" y="385"/>
                    </a:lnTo>
                    <a:lnTo>
                      <a:pt x="109" y="385"/>
                    </a:lnTo>
                    <a:lnTo>
                      <a:pt x="111" y="385"/>
                    </a:lnTo>
                    <a:lnTo>
                      <a:pt x="113" y="385"/>
                    </a:lnTo>
                    <a:lnTo>
                      <a:pt x="115" y="385"/>
                    </a:lnTo>
                    <a:lnTo>
                      <a:pt x="115" y="387"/>
                    </a:lnTo>
                    <a:lnTo>
                      <a:pt x="117" y="387"/>
                    </a:lnTo>
                    <a:lnTo>
                      <a:pt x="119" y="387"/>
                    </a:lnTo>
                    <a:lnTo>
                      <a:pt x="119" y="385"/>
                    </a:lnTo>
                    <a:lnTo>
                      <a:pt x="119" y="387"/>
                    </a:lnTo>
                    <a:lnTo>
                      <a:pt x="119" y="385"/>
                    </a:lnTo>
                    <a:lnTo>
                      <a:pt x="117" y="385"/>
                    </a:lnTo>
                    <a:lnTo>
                      <a:pt x="119" y="385"/>
                    </a:lnTo>
                    <a:lnTo>
                      <a:pt x="117" y="385"/>
                    </a:lnTo>
                    <a:lnTo>
                      <a:pt x="117" y="387"/>
                    </a:lnTo>
                    <a:lnTo>
                      <a:pt x="115" y="387"/>
                    </a:lnTo>
                    <a:lnTo>
                      <a:pt x="117" y="385"/>
                    </a:lnTo>
                    <a:lnTo>
                      <a:pt x="115" y="385"/>
                    </a:lnTo>
                    <a:lnTo>
                      <a:pt x="115" y="383"/>
                    </a:lnTo>
                    <a:lnTo>
                      <a:pt x="113" y="383"/>
                    </a:lnTo>
                    <a:lnTo>
                      <a:pt x="115" y="383"/>
                    </a:lnTo>
                    <a:lnTo>
                      <a:pt x="113" y="383"/>
                    </a:lnTo>
                    <a:lnTo>
                      <a:pt x="111" y="383"/>
                    </a:lnTo>
                    <a:lnTo>
                      <a:pt x="111" y="381"/>
                    </a:lnTo>
                    <a:lnTo>
                      <a:pt x="111" y="383"/>
                    </a:lnTo>
                    <a:lnTo>
                      <a:pt x="111" y="381"/>
                    </a:lnTo>
                    <a:lnTo>
                      <a:pt x="111" y="383"/>
                    </a:lnTo>
                    <a:lnTo>
                      <a:pt x="111" y="381"/>
                    </a:lnTo>
                    <a:lnTo>
                      <a:pt x="111" y="383"/>
                    </a:lnTo>
                    <a:lnTo>
                      <a:pt x="109" y="383"/>
                    </a:lnTo>
                    <a:lnTo>
                      <a:pt x="109" y="381"/>
                    </a:lnTo>
                    <a:lnTo>
                      <a:pt x="108" y="381"/>
                    </a:lnTo>
                    <a:lnTo>
                      <a:pt x="108" y="379"/>
                    </a:lnTo>
                    <a:lnTo>
                      <a:pt x="109" y="377"/>
                    </a:lnTo>
                    <a:lnTo>
                      <a:pt x="109" y="375"/>
                    </a:lnTo>
                    <a:lnTo>
                      <a:pt x="109" y="373"/>
                    </a:lnTo>
                    <a:lnTo>
                      <a:pt x="111" y="375"/>
                    </a:lnTo>
                    <a:lnTo>
                      <a:pt x="111" y="373"/>
                    </a:lnTo>
                    <a:lnTo>
                      <a:pt x="111" y="371"/>
                    </a:lnTo>
                    <a:lnTo>
                      <a:pt x="111" y="369"/>
                    </a:lnTo>
                    <a:lnTo>
                      <a:pt x="113" y="369"/>
                    </a:lnTo>
                    <a:lnTo>
                      <a:pt x="113" y="367"/>
                    </a:lnTo>
                    <a:lnTo>
                      <a:pt x="113" y="369"/>
                    </a:lnTo>
                    <a:lnTo>
                      <a:pt x="115" y="369"/>
                    </a:lnTo>
                    <a:lnTo>
                      <a:pt x="115" y="371"/>
                    </a:lnTo>
                    <a:lnTo>
                      <a:pt x="115" y="369"/>
                    </a:lnTo>
                    <a:lnTo>
                      <a:pt x="115" y="371"/>
                    </a:lnTo>
                    <a:lnTo>
                      <a:pt x="117" y="371"/>
                    </a:lnTo>
                    <a:lnTo>
                      <a:pt x="119" y="373"/>
                    </a:lnTo>
                    <a:lnTo>
                      <a:pt x="119" y="371"/>
                    </a:lnTo>
                    <a:lnTo>
                      <a:pt x="117" y="371"/>
                    </a:lnTo>
                    <a:lnTo>
                      <a:pt x="117" y="369"/>
                    </a:lnTo>
                    <a:lnTo>
                      <a:pt x="117" y="371"/>
                    </a:lnTo>
                    <a:lnTo>
                      <a:pt x="117" y="369"/>
                    </a:lnTo>
                    <a:lnTo>
                      <a:pt x="117" y="371"/>
                    </a:lnTo>
                    <a:lnTo>
                      <a:pt x="117" y="369"/>
                    </a:lnTo>
                    <a:lnTo>
                      <a:pt x="115" y="369"/>
                    </a:lnTo>
                    <a:lnTo>
                      <a:pt x="115" y="367"/>
                    </a:lnTo>
                    <a:lnTo>
                      <a:pt x="115" y="365"/>
                    </a:lnTo>
                    <a:lnTo>
                      <a:pt x="117" y="365"/>
                    </a:lnTo>
                    <a:lnTo>
                      <a:pt x="117" y="364"/>
                    </a:lnTo>
                    <a:lnTo>
                      <a:pt x="119" y="364"/>
                    </a:lnTo>
                    <a:lnTo>
                      <a:pt x="119" y="365"/>
                    </a:lnTo>
                    <a:lnTo>
                      <a:pt x="119" y="364"/>
                    </a:lnTo>
                    <a:lnTo>
                      <a:pt x="117" y="364"/>
                    </a:lnTo>
                    <a:lnTo>
                      <a:pt x="119" y="364"/>
                    </a:lnTo>
                    <a:lnTo>
                      <a:pt x="121" y="364"/>
                    </a:lnTo>
                    <a:lnTo>
                      <a:pt x="121" y="365"/>
                    </a:lnTo>
                    <a:lnTo>
                      <a:pt x="123" y="365"/>
                    </a:lnTo>
                    <a:lnTo>
                      <a:pt x="125" y="365"/>
                    </a:lnTo>
                    <a:lnTo>
                      <a:pt x="127" y="364"/>
                    </a:lnTo>
                    <a:lnTo>
                      <a:pt x="129" y="364"/>
                    </a:lnTo>
                    <a:lnTo>
                      <a:pt x="129" y="365"/>
                    </a:lnTo>
                    <a:lnTo>
                      <a:pt x="129" y="364"/>
                    </a:lnTo>
                    <a:lnTo>
                      <a:pt x="129" y="362"/>
                    </a:lnTo>
                    <a:lnTo>
                      <a:pt x="129" y="360"/>
                    </a:lnTo>
                    <a:lnTo>
                      <a:pt x="131" y="360"/>
                    </a:lnTo>
                    <a:lnTo>
                      <a:pt x="133" y="360"/>
                    </a:lnTo>
                    <a:lnTo>
                      <a:pt x="133" y="358"/>
                    </a:lnTo>
                    <a:lnTo>
                      <a:pt x="134" y="358"/>
                    </a:lnTo>
                    <a:lnTo>
                      <a:pt x="134" y="360"/>
                    </a:lnTo>
                    <a:lnTo>
                      <a:pt x="133" y="360"/>
                    </a:lnTo>
                    <a:lnTo>
                      <a:pt x="134" y="360"/>
                    </a:lnTo>
                    <a:lnTo>
                      <a:pt x="134" y="358"/>
                    </a:lnTo>
                    <a:lnTo>
                      <a:pt x="136" y="358"/>
                    </a:lnTo>
                    <a:lnTo>
                      <a:pt x="136" y="356"/>
                    </a:lnTo>
                    <a:lnTo>
                      <a:pt x="134" y="356"/>
                    </a:lnTo>
                    <a:lnTo>
                      <a:pt x="134" y="354"/>
                    </a:lnTo>
                    <a:lnTo>
                      <a:pt x="136" y="352"/>
                    </a:lnTo>
                    <a:lnTo>
                      <a:pt x="136" y="354"/>
                    </a:lnTo>
                    <a:lnTo>
                      <a:pt x="136" y="352"/>
                    </a:lnTo>
                    <a:lnTo>
                      <a:pt x="136" y="354"/>
                    </a:lnTo>
                    <a:lnTo>
                      <a:pt x="136" y="352"/>
                    </a:lnTo>
                    <a:lnTo>
                      <a:pt x="136" y="350"/>
                    </a:lnTo>
                    <a:lnTo>
                      <a:pt x="136" y="348"/>
                    </a:lnTo>
                    <a:lnTo>
                      <a:pt x="136" y="346"/>
                    </a:lnTo>
                    <a:lnTo>
                      <a:pt x="136" y="348"/>
                    </a:lnTo>
                    <a:lnTo>
                      <a:pt x="136" y="350"/>
                    </a:lnTo>
                    <a:lnTo>
                      <a:pt x="136" y="348"/>
                    </a:lnTo>
                    <a:lnTo>
                      <a:pt x="134" y="348"/>
                    </a:lnTo>
                    <a:lnTo>
                      <a:pt x="134" y="346"/>
                    </a:lnTo>
                    <a:lnTo>
                      <a:pt x="134" y="348"/>
                    </a:lnTo>
                    <a:lnTo>
                      <a:pt x="133" y="346"/>
                    </a:lnTo>
                    <a:lnTo>
                      <a:pt x="134" y="344"/>
                    </a:lnTo>
                    <a:lnTo>
                      <a:pt x="134" y="342"/>
                    </a:lnTo>
                    <a:lnTo>
                      <a:pt x="136" y="342"/>
                    </a:lnTo>
                    <a:lnTo>
                      <a:pt x="136" y="344"/>
                    </a:lnTo>
                    <a:lnTo>
                      <a:pt x="136" y="346"/>
                    </a:lnTo>
                    <a:lnTo>
                      <a:pt x="136" y="344"/>
                    </a:lnTo>
                    <a:lnTo>
                      <a:pt x="136" y="342"/>
                    </a:lnTo>
                    <a:lnTo>
                      <a:pt x="136" y="344"/>
                    </a:lnTo>
                    <a:lnTo>
                      <a:pt x="136" y="342"/>
                    </a:lnTo>
                    <a:lnTo>
                      <a:pt x="138" y="340"/>
                    </a:lnTo>
                    <a:lnTo>
                      <a:pt x="138" y="342"/>
                    </a:lnTo>
                    <a:lnTo>
                      <a:pt x="138" y="340"/>
                    </a:lnTo>
                    <a:lnTo>
                      <a:pt x="138" y="342"/>
                    </a:lnTo>
                    <a:lnTo>
                      <a:pt x="138" y="344"/>
                    </a:lnTo>
                    <a:lnTo>
                      <a:pt x="140" y="346"/>
                    </a:lnTo>
                    <a:lnTo>
                      <a:pt x="140" y="348"/>
                    </a:lnTo>
                    <a:lnTo>
                      <a:pt x="142" y="348"/>
                    </a:lnTo>
                    <a:lnTo>
                      <a:pt x="142" y="350"/>
                    </a:lnTo>
                    <a:lnTo>
                      <a:pt x="142" y="352"/>
                    </a:lnTo>
                    <a:lnTo>
                      <a:pt x="140" y="352"/>
                    </a:lnTo>
                    <a:lnTo>
                      <a:pt x="142" y="352"/>
                    </a:lnTo>
                    <a:lnTo>
                      <a:pt x="142" y="354"/>
                    </a:lnTo>
                    <a:lnTo>
                      <a:pt x="142" y="352"/>
                    </a:lnTo>
                    <a:lnTo>
                      <a:pt x="142" y="354"/>
                    </a:lnTo>
                    <a:lnTo>
                      <a:pt x="142" y="352"/>
                    </a:lnTo>
                    <a:lnTo>
                      <a:pt x="144" y="352"/>
                    </a:lnTo>
                    <a:lnTo>
                      <a:pt x="144" y="354"/>
                    </a:lnTo>
                    <a:lnTo>
                      <a:pt x="146" y="354"/>
                    </a:lnTo>
                    <a:lnTo>
                      <a:pt x="144" y="354"/>
                    </a:lnTo>
                    <a:lnTo>
                      <a:pt x="146" y="354"/>
                    </a:lnTo>
                    <a:lnTo>
                      <a:pt x="144" y="354"/>
                    </a:lnTo>
                    <a:lnTo>
                      <a:pt x="144" y="352"/>
                    </a:lnTo>
                    <a:lnTo>
                      <a:pt x="146" y="352"/>
                    </a:lnTo>
                    <a:lnTo>
                      <a:pt x="144" y="352"/>
                    </a:lnTo>
                    <a:lnTo>
                      <a:pt x="144" y="350"/>
                    </a:lnTo>
                    <a:lnTo>
                      <a:pt x="142" y="350"/>
                    </a:lnTo>
                    <a:lnTo>
                      <a:pt x="142" y="348"/>
                    </a:lnTo>
                    <a:lnTo>
                      <a:pt x="140" y="348"/>
                    </a:lnTo>
                    <a:lnTo>
                      <a:pt x="140" y="346"/>
                    </a:lnTo>
                    <a:lnTo>
                      <a:pt x="138" y="346"/>
                    </a:lnTo>
                    <a:lnTo>
                      <a:pt x="138" y="344"/>
                    </a:lnTo>
                    <a:lnTo>
                      <a:pt x="140" y="344"/>
                    </a:lnTo>
                    <a:lnTo>
                      <a:pt x="138" y="344"/>
                    </a:lnTo>
                    <a:lnTo>
                      <a:pt x="140" y="342"/>
                    </a:lnTo>
                    <a:lnTo>
                      <a:pt x="138" y="342"/>
                    </a:lnTo>
                    <a:lnTo>
                      <a:pt x="140" y="342"/>
                    </a:lnTo>
                    <a:lnTo>
                      <a:pt x="138" y="342"/>
                    </a:lnTo>
                    <a:lnTo>
                      <a:pt x="140" y="342"/>
                    </a:lnTo>
                    <a:lnTo>
                      <a:pt x="138" y="342"/>
                    </a:lnTo>
                    <a:lnTo>
                      <a:pt x="138" y="340"/>
                    </a:lnTo>
                    <a:lnTo>
                      <a:pt x="138" y="339"/>
                    </a:lnTo>
                    <a:lnTo>
                      <a:pt x="138" y="337"/>
                    </a:lnTo>
                    <a:lnTo>
                      <a:pt x="138" y="335"/>
                    </a:lnTo>
                    <a:lnTo>
                      <a:pt x="140" y="335"/>
                    </a:lnTo>
                    <a:lnTo>
                      <a:pt x="142" y="337"/>
                    </a:lnTo>
                    <a:lnTo>
                      <a:pt x="144" y="337"/>
                    </a:lnTo>
                    <a:lnTo>
                      <a:pt x="144" y="339"/>
                    </a:lnTo>
                    <a:lnTo>
                      <a:pt x="146" y="339"/>
                    </a:lnTo>
                    <a:lnTo>
                      <a:pt x="148" y="340"/>
                    </a:lnTo>
                    <a:lnTo>
                      <a:pt x="148" y="342"/>
                    </a:lnTo>
                    <a:lnTo>
                      <a:pt x="150" y="342"/>
                    </a:lnTo>
                    <a:lnTo>
                      <a:pt x="150" y="344"/>
                    </a:lnTo>
                    <a:lnTo>
                      <a:pt x="152" y="344"/>
                    </a:lnTo>
                    <a:lnTo>
                      <a:pt x="154" y="344"/>
                    </a:lnTo>
                    <a:lnTo>
                      <a:pt x="156" y="342"/>
                    </a:lnTo>
                    <a:lnTo>
                      <a:pt x="158" y="342"/>
                    </a:lnTo>
                    <a:lnTo>
                      <a:pt x="158" y="340"/>
                    </a:lnTo>
                    <a:lnTo>
                      <a:pt x="159" y="340"/>
                    </a:lnTo>
                    <a:lnTo>
                      <a:pt x="161" y="340"/>
                    </a:lnTo>
                    <a:lnTo>
                      <a:pt x="161" y="342"/>
                    </a:lnTo>
                    <a:lnTo>
                      <a:pt x="163" y="344"/>
                    </a:lnTo>
                    <a:lnTo>
                      <a:pt x="165" y="344"/>
                    </a:lnTo>
                    <a:lnTo>
                      <a:pt x="165" y="346"/>
                    </a:lnTo>
                    <a:lnTo>
                      <a:pt x="165" y="344"/>
                    </a:lnTo>
                    <a:lnTo>
                      <a:pt x="165" y="346"/>
                    </a:lnTo>
                    <a:lnTo>
                      <a:pt x="167" y="346"/>
                    </a:lnTo>
                    <a:lnTo>
                      <a:pt x="169" y="346"/>
                    </a:lnTo>
                    <a:lnTo>
                      <a:pt x="169" y="348"/>
                    </a:lnTo>
                    <a:lnTo>
                      <a:pt x="171" y="350"/>
                    </a:lnTo>
                    <a:lnTo>
                      <a:pt x="171" y="352"/>
                    </a:lnTo>
                    <a:lnTo>
                      <a:pt x="173" y="352"/>
                    </a:lnTo>
                    <a:lnTo>
                      <a:pt x="175" y="354"/>
                    </a:lnTo>
                    <a:lnTo>
                      <a:pt x="177" y="354"/>
                    </a:lnTo>
                    <a:lnTo>
                      <a:pt x="175" y="354"/>
                    </a:lnTo>
                    <a:lnTo>
                      <a:pt x="177" y="354"/>
                    </a:lnTo>
                    <a:lnTo>
                      <a:pt x="179" y="354"/>
                    </a:lnTo>
                    <a:lnTo>
                      <a:pt x="181" y="354"/>
                    </a:lnTo>
                    <a:lnTo>
                      <a:pt x="181" y="352"/>
                    </a:lnTo>
                    <a:lnTo>
                      <a:pt x="182" y="352"/>
                    </a:lnTo>
                    <a:lnTo>
                      <a:pt x="184" y="352"/>
                    </a:lnTo>
                    <a:lnTo>
                      <a:pt x="186" y="352"/>
                    </a:lnTo>
                    <a:lnTo>
                      <a:pt x="186" y="350"/>
                    </a:lnTo>
                    <a:lnTo>
                      <a:pt x="188" y="350"/>
                    </a:lnTo>
                    <a:lnTo>
                      <a:pt x="188" y="348"/>
                    </a:lnTo>
                    <a:lnTo>
                      <a:pt x="190" y="348"/>
                    </a:lnTo>
                    <a:lnTo>
                      <a:pt x="192" y="348"/>
                    </a:lnTo>
                    <a:lnTo>
                      <a:pt x="192" y="346"/>
                    </a:lnTo>
                    <a:lnTo>
                      <a:pt x="194" y="346"/>
                    </a:lnTo>
                    <a:lnTo>
                      <a:pt x="194" y="344"/>
                    </a:lnTo>
                    <a:lnTo>
                      <a:pt x="196" y="344"/>
                    </a:lnTo>
                    <a:lnTo>
                      <a:pt x="196" y="342"/>
                    </a:lnTo>
                    <a:lnTo>
                      <a:pt x="198" y="342"/>
                    </a:lnTo>
                    <a:lnTo>
                      <a:pt x="200" y="342"/>
                    </a:lnTo>
                    <a:lnTo>
                      <a:pt x="200" y="344"/>
                    </a:lnTo>
                    <a:lnTo>
                      <a:pt x="202" y="344"/>
                    </a:lnTo>
                    <a:lnTo>
                      <a:pt x="204" y="344"/>
                    </a:lnTo>
                    <a:lnTo>
                      <a:pt x="206" y="344"/>
                    </a:lnTo>
                    <a:lnTo>
                      <a:pt x="206" y="346"/>
                    </a:lnTo>
                    <a:lnTo>
                      <a:pt x="206" y="348"/>
                    </a:lnTo>
                    <a:lnTo>
                      <a:pt x="204" y="350"/>
                    </a:lnTo>
                    <a:lnTo>
                      <a:pt x="204" y="352"/>
                    </a:lnTo>
                    <a:lnTo>
                      <a:pt x="204" y="354"/>
                    </a:lnTo>
                    <a:lnTo>
                      <a:pt x="204" y="356"/>
                    </a:lnTo>
                    <a:lnTo>
                      <a:pt x="206" y="356"/>
                    </a:lnTo>
                    <a:lnTo>
                      <a:pt x="206" y="358"/>
                    </a:lnTo>
                    <a:lnTo>
                      <a:pt x="206" y="356"/>
                    </a:lnTo>
                    <a:lnTo>
                      <a:pt x="206" y="358"/>
                    </a:lnTo>
                    <a:lnTo>
                      <a:pt x="206" y="360"/>
                    </a:lnTo>
                    <a:lnTo>
                      <a:pt x="207" y="360"/>
                    </a:lnTo>
                    <a:lnTo>
                      <a:pt x="207" y="362"/>
                    </a:lnTo>
                    <a:lnTo>
                      <a:pt x="207" y="364"/>
                    </a:lnTo>
                    <a:lnTo>
                      <a:pt x="209" y="364"/>
                    </a:lnTo>
                    <a:lnTo>
                      <a:pt x="211" y="364"/>
                    </a:lnTo>
                    <a:lnTo>
                      <a:pt x="211" y="365"/>
                    </a:lnTo>
                    <a:lnTo>
                      <a:pt x="213" y="365"/>
                    </a:lnTo>
                    <a:lnTo>
                      <a:pt x="215" y="365"/>
                    </a:lnTo>
                    <a:lnTo>
                      <a:pt x="215" y="367"/>
                    </a:lnTo>
                    <a:lnTo>
                      <a:pt x="217" y="367"/>
                    </a:lnTo>
                    <a:lnTo>
                      <a:pt x="219" y="367"/>
                    </a:lnTo>
                    <a:lnTo>
                      <a:pt x="219" y="369"/>
                    </a:lnTo>
                    <a:lnTo>
                      <a:pt x="221" y="369"/>
                    </a:lnTo>
                    <a:lnTo>
                      <a:pt x="223" y="371"/>
                    </a:lnTo>
                    <a:lnTo>
                      <a:pt x="223" y="369"/>
                    </a:lnTo>
                    <a:lnTo>
                      <a:pt x="225" y="369"/>
                    </a:lnTo>
                    <a:lnTo>
                      <a:pt x="227" y="369"/>
                    </a:lnTo>
                    <a:lnTo>
                      <a:pt x="227" y="371"/>
                    </a:lnTo>
                    <a:lnTo>
                      <a:pt x="227" y="369"/>
                    </a:lnTo>
                    <a:lnTo>
                      <a:pt x="227" y="371"/>
                    </a:lnTo>
                    <a:lnTo>
                      <a:pt x="225" y="371"/>
                    </a:lnTo>
                    <a:lnTo>
                      <a:pt x="225" y="373"/>
                    </a:lnTo>
                    <a:lnTo>
                      <a:pt x="227" y="373"/>
                    </a:lnTo>
                    <a:lnTo>
                      <a:pt x="225" y="373"/>
                    </a:lnTo>
                    <a:lnTo>
                      <a:pt x="227" y="373"/>
                    </a:lnTo>
                    <a:lnTo>
                      <a:pt x="227" y="375"/>
                    </a:lnTo>
                    <a:lnTo>
                      <a:pt x="225" y="373"/>
                    </a:lnTo>
                    <a:lnTo>
                      <a:pt x="223" y="373"/>
                    </a:lnTo>
                    <a:lnTo>
                      <a:pt x="225" y="373"/>
                    </a:lnTo>
                    <a:lnTo>
                      <a:pt x="223" y="373"/>
                    </a:lnTo>
                    <a:lnTo>
                      <a:pt x="225" y="373"/>
                    </a:lnTo>
                    <a:lnTo>
                      <a:pt x="223" y="373"/>
                    </a:lnTo>
                    <a:lnTo>
                      <a:pt x="221" y="373"/>
                    </a:lnTo>
                    <a:lnTo>
                      <a:pt x="223" y="373"/>
                    </a:lnTo>
                    <a:lnTo>
                      <a:pt x="221" y="373"/>
                    </a:lnTo>
                    <a:lnTo>
                      <a:pt x="223" y="373"/>
                    </a:lnTo>
                    <a:lnTo>
                      <a:pt x="221" y="373"/>
                    </a:lnTo>
                    <a:lnTo>
                      <a:pt x="221" y="371"/>
                    </a:lnTo>
                    <a:lnTo>
                      <a:pt x="221" y="373"/>
                    </a:lnTo>
                    <a:lnTo>
                      <a:pt x="221" y="371"/>
                    </a:lnTo>
                    <a:lnTo>
                      <a:pt x="221" y="373"/>
                    </a:lnTo>
                    <a:lnTo>
                      <a:pt x="219" y="371"/>
                    </a:lnTo>
                    <a:lnTo>
                      <a:pt x="219" y="373"/>
                    </a:lnTo>
                    <a:lnTo>
                      <a:pt x="221" y="373"/>
                    </a:lnTo>
                    <a:lnTo>
                      <a:pt x="223" y="373"/>
                    </a:lnTo>
                    <a:lnTo>
                      <a:pt x="221" y="373"/>
                    </a:lnTo>
                    <a:lnTo>
                      <a:pt x="223" y="373"/>
                    </a:lnTo>
                    <a:lnTo>
                      <a:pt x="223" y="375"/>
                    </a:lnTo>
                    <a:lnTo>
                      <a:pt x="225" y="375"/>
                    </a:lnTo>
                    <a:lnTo>
                      <a:pt x="223" y="375"/>
                    </a:lnTo>
                    <a:lnTo>
                      <a:pt x="225" y="375"/>
                    </a:lnTo>
                    <a:lnTo>
                      <a:pt x="225" y="377"/>
                    </a:lnTo>
                    <a:lnTo>
                      <a:pt x="227" y="377"/>
                    </a:lnTo>
                    <a:lnTo>
                      <a:pt x="229" y="377"/>
                    </a:lnTo>
                    <a:lnTo>
                      <a:pt x="229" y="379"/>
                    </a:lnTo>
                    <a:lnTo>
                      <a:pt x="229" y="377"/>
                    </a:lnTo>
                    <a:lnTo>
                      <a:pt x="229" y="379"/>
                    </a:lnTo>
                    <a:lnTo>
                      <a:pt x="231" y="379"/>
                    </a:lnTo>
                    <a:lnTo>
                      <a:pt x="232" y="379"/>
                    </a:lnTo>
                    <a:lnTo>
                      <a:pt x="231" y="379"/>
                    </a:lnTo>
                    <a:lnTo>
                      <a:pt x="232" y="379"/>
                    </a:lnTo>
                    <a:lnTo>
                      <a:pt x="232" y="381"/>
                    </a:lnTo>
                    <a:lnTo>
                      <a:pt x="232" y="379"/>
                    </a:lnTo>
                    <a:lnTo>
                      <a:pt x="234" y="381"/>
                    </a:lnTo>
                    <a:lnTo>
                      <a:pt x="232" y="381"/>
                    </a:lnTo>
                    <a:lnTo>
                      <a:pt x="234" y="381"/>
                    </a:lnTo>
                    <a:lnTo>
                      <a:pt x="236" y="381"/>
                    </a:lnTo>
                    <a:lnTo>
                      <a:pt x="238" y="381"/>
                    </a:lnTo>
                    <a:lnTo>
                      <a:pt x="240" y="381"/>
                    </a:lnTo>
                    <a:lnTo>
                      <a:pt x="242" y="381"/>
                    </a:lnTo>
                    <a:lnTo>
                      <a:pt x="244" y="381"/>
                    </a:lnTo>
                    <a:lnTo>
                      <a:pt x="246" y="381"/>
                    </a:lnTo>
                    <a:lnTo>
                      <a:pt x="244" y="381"/>
                    </a:lnTo>
                    <a:lnTo>
                      <a:pt x="246" y="381"/>
                    </a:lnTo>
                    <a:lnTo>
                      <a:pt x="248" y="381"/>
                    </a:lnTo>
                    <a:lnTo>
                      <a:pt x="248" y="383"/>
                    </a:lnTo>
                    <a:lnTo>
                      <a:pt x="250" y="383"/>
                    </a:lnTo>
                    <a:lnTo>
                      <a:pt x="252" y="383"/>
                    </a:lnTo>
                    <a:lnTo>
                      <a:pt x="250" y="383"/>
                    </a:lnTo>
                    <a:lnTo>
                      <a:pt x="252" y="383"/>
                    </a:lnTo>
                    <a:lnTo>
                      <a:pt x="252" y="385"/>
                    </a:lnTo>
                    <a:lnTo>
                      <a:pt x="255" y="385"/>
                    </a:lnTo>
                    <a:lnTo>
                      <a:pt x="257" y="387"/>
                    </a:lnTo>
                    <a:lnTo>
                      <a:pt x="259" y="387"/>
                    </a:lnTo>
                    <a:lnTo>
                      <a:pt x="259" y="389"/>
                    </a:lnTo>
                    <a:lnTo>
                      <a:pt x="259" y="387"/>
                    </a:lnTo>
                    <a:lnTo>
                      <a:pt x="261" y="389"/>
                    </a:lnTo>
                    <a:lnTo>
                      <a:pt x="263" y="389"/>
                    </a:lnTo>
                    <a:lnTo>
                      <a:pt x="263" y="390"/>
                    </a:lnTo>
                    <a:lnTo>
                      <a:pt x="263" y="392"/>
                    </a:lnTo>
                    <a:lnTo>
                      <a:pt x="263" y="390"/>
                    </a:lnTo>
                    <a:lnTo>
                      <a:pt x="263" y="392"/>
                    </a:lnTo>
                    <a:lnTo>
                      <a:pt x="263" y="394"/>
                    </a:lnTo>
                    <a:lnTo>
                      <a:pt x="261" y="394"/>
                    </a:lnTo>
                    <a:lnTo>
                      <a:pt x="263" y="394"/>
                    </a:lnTo>
                    <a:lnTo>
                      <a:pt x="263" y="392"/>
                    </a:lnTo>
                    <a:lnTo>
                      <a:pt x="263" y="394"/>
                    </a:lnTo>
                    <a:lnTo>
                      <a:pt x="265" y="392"/>
                    </a:lnTo>
                    <a:lnTo>
                      <a:pt x="265" y="394"/>
                    </a:lnTo>
                    <a:lnTo>
                      <a:pt x="265" y="392"/>
                    </a:lnTo>
                    <a:lnTo>
                      <a:pt x="263" y="392"/>
                    </a:lnTo>
                    <a:lnTo>
                      <a:pt x="265" y="392"/>
                    </a:lnTo>
                    <a:lnTo>
                      <a:pt x="265" y="394"/>
                    </a:lnTo>
                    <a:lnTo>
                      <a:pt x="265" y="392"/>
                    </a:lnTo>
                    <a:lnTo>
                      <a:pt x="263" y="394"/>
                    </a:lnTo>
                    <a:lnTo>
                      <a:pt x="265" y="394"/>
                    </a:lnTo>
                    <a:lnTo>
                      <a:pt x="267" y="396"/>
                    </a:lnTo>
                    <a:lnTo>
                      <a:pt x="265" y="394"/>
                    </a:lnTo>
                    <a:lnTo>
                      <a:pt x="263" y="394"/>
                    </a:lnTo>
                    <a:lnTo>
                      <a:pt x="265" y="394"/>
                    </a:lnTo>
                    <a:lnTo>
                      <a:pt x="267" y="394"/>
                    </a:lnTo>
                    <a:lnTo>
                      <a:pt x="269" y="394"/>
                    </a:lnTo>
                    <a:lnTo>
                      <a:pt x="267" y="394"/>
                    </a:lnTo>
                    <a:lnTo>
                      <a:pt x="269" y="394"/>
                    </a:lnTo>
                    <a:lnTo>
                      <a:pt x="269" y="392"/>
                    </a:lnTo>
                    <a:lnTo>
                      <a:pt x="269" y="394"/>
                    </a:lnTo>
                    <a:lnTo>
                      <a:pt x="269" y="396"/>
                    </a:lnTo>
                    <a:lnTo>
                      <a:pt x="269" y="398"/>
                    </a:lnTo>
                    <a:lnTo>
                      <a:pt x="267" y="398"/>
                    </a:lnTo>
                    <a:lnTo>
                      <a:pt x="267" y="400"/>
                    </a:lnTo>
                    <a:lnTo>
                      <a:pt x="265" y="400"/>
                    </a:lnTo>
                    <a:lnTo>
                      <a:pt x="263" y="400"/>
                    </a:lnTo>
                    <a:lnTo>
                      <a:pt x="263" y="402"/>
                    </a:lnTo>
                    <a:lnTo>
                      <a:pt x="263" y="404"/>
                    </a:lnTo>
                    <a:lnTo>
                      <a:pt x="263" y="406"/>
                    </a:lnTo>
                    <a:lnTo>
                      <a:pt x="261" y="406"/>
                    </a:lnTo>
                    <a:lnTo>
                      <a:pt x="263" y="406"/>
                    </a:lnTo>
                    <a:lnTo>
                      <a:pt x="263" y="404"/>
                    </a:lnTo>
                    <a:lnTo>
                      <a:pt x="263" y="402"/>
                    </a:lnTo>
                    <a:lnTo>
                      <a:pt x="265" y="402"/>
                    </a:lnTo>
                    <a:lnTo>
                      <a:pt x="263" y="402"/>
                    </a:lnTo>
                    <a:lnTo>
                      <a:pt x="263" y="400"/>
                    </a:lnTo>
                    <a:lnTo>
                      <a:pt x="265" y="400"/>
                    </a:lnTo>
                    <a:lnTo>
                      <a:pt x="265" y="402"/>
                    </a:lnTo>
                    <a:lnTo>
                      <a:pt x="265" y="404"/>
                    </a:lnTo>
                    <a:lnTo>
                      <a:pt x="265" y="402"/>
                    </a:lnTo>
                    <a:lnTo>
                      <a:pt x="265" y="400"/>
                    </a:lnTo>
                    <a:lnTo>
                      <a:pt x="267" y="400"/>
                    </a:lnTo>
                    <a:lnTo>
                      <a:pt x="269" y="400"/>
                    </a:lnTo>
                    <a:lnTo>
                      <a:pt x="269" y="398"/>
                    </a:lnTo>
                    <a:lnTo>
                      <a:pt x="269" y="400"/>
                    </a:lnTo>
                    <a:lnTo>
                      <a:pt x="267" y="402"/>
                    </a:lnTo>
                    <a:lnTo>
                      <a:pt x="267" y="404"/>
                    </a:lnTo>
                    <a:lnTo>
                      <a:pt x="267" y="406"/>
                    </a:lnTo>
                    <a:lnTo>
                      <a:pt x="267" y="408"/>
                    </a:lnTo>
                    <a:lnTo>
                      <a:pt x="265" y="408"/>
                    </a:lnTo>
                    <a:lnTo>
                      <a:pt x="265" y="410"/>
                    </a:lnTo>
                    <a:lnTo>
                      <a:pt x="265" y="408"/>
                    </a:lnTo>
                    <a:lnTo>
                      <a:pt x="265" y="410"/>
                    </a:lnTo>
                    <a:lnTo>
                      <a:pt x="267" y="412"/>
                    </a:lnTo>
                    <a:lnTo>
                      <a:pt x="265" y="412"/>
                    </a:lnTo>
                    <a:lnTo>
                      <a:pt x="265" y="414"/>
                    </a:lnTo>
                    <a:lnTo>
                      <a:pt x="265" y="415"/>
                    </a:lnTo>
                    <a:lnTo>
                      <a:pt x="265" y="417"/>
                    </a:lnTo>
                    <a:lnTo>
                      <a:pt x="267" y="417"/>
                    </a:lnTo>
                    <a:lnTo>
                      <a:pt x="265" y="417"/>
                    </a:lnTo>
                    <a:lnTo>
                      <a:pt x="265" y="415"/>
                    </a:lnTo>
                    <a:lnTo>
                      <a:pt x="267" y="415"/>
                    </a:lnTo>
                    <a:lnTo>
                      <a:pt x="265" y="415"/>
                    </a:lnTo>
                    <a:lnTo>
                      <a:pt x="265" y="414"/>
                    </a:lnTo>
                    <a:lnTo>
                      <a:pt x="267" y="414"/>
                    </a:lnTo>
                    <a:lnTo>
                      <a:pt x="265" y="414"/>
                    </a:lnTo>
                    <a:lnTo>
                      <a:pt x="267" y="414"/>
                    </a:lnTo>
                    <a:lnTo>
                      <a:pt x="269" y="414"/>
                    </a:lnTo>
                    <a:lnTo>
                      <a:pt x="269" y="415"/>
                    </a:lnTo>
                    <a:lnTo>
                      <a:pt x="267" y="414"/>
                    </a:lnTo>
                    <a:lnTo>
                      <a:pt x="269" y="414"/>
                    </a:lnTo>
                    <a:lnTo>
                      <a:pt x="269" y="415"/>
                    </a:lnTo>
                    <a:lnTo>
                      <a:pt x="269" y="417"/>
                    </a:lnTo>
                    <a:lnTo>
                      <a:pt x="271" y="417"/>
                    </a:lnTo>
                    <a:lnTo>
                      <a:pt x="271" y="419"/>
                    </a:lnTo>
                    <a:lnTo>
                      <a:pt x="271" y="417"/>
                    </a:lnTo>
                    <a:lnTo>
                      <a:pt x="271" y="419"/>
                    </a:lnTo>
                    <a:lnTo>
                      <a:pt x="271" y="417"/>
                    </a:lnTo>
                    <a:lnTo>
                      <a:pt x="273" y="419"/>
                    </a:lnTo>
                    <a:lnTo>
                      <a:pt x="271" y="419"/>
                    </a:lnTo>
                    <a:lnTo>
                      <a:pt x="273" y="419"/>
                    </a:lnTo>
                    <a:lnTo>
                      <a:pt x="273" y="421"/>
                    </a:lnTo>
                    <a:lnTo>
                      <a:pt x="275" y="423"/>
                    </a:lnTo>
                    <a:lnTo>
                      <a:pt x="275" y="425"/>
                    </a:lnTo>
                    <a:lnTo>
                      <a:pt x="275" y="427"/>
                    </a:lnTo>
                    <a:lnTo>
                      <a:pt x="275" y="429"/>
                    </a:lnTo>
                    <a:lnTo>
                      <a:pt x="273" y="429"/>
                    </a:lnTo>
                    <a:lnTo>
                      <a:pt x="275" y="429"/>
                    </a:lnTo>
                    <a:lnTo>
                      <a:pt x="275" y="431"/>
                    </a:lnTo>
                    <a:lnTo>
                      <a:pt x="275" y="429"/>
                    </a:lnTo>
                    <a:lnTo>
                      <a:pt x="275" y="431"/>
                    </a:lnTo>
                    <a:lnTo>
                      <a:pt x="275" y="433"/>
                    </a:lnTo>
                    <a:lnTo>
                      <a:pt x="275" y="435"/>
                    </a:lnTo>
                    <a:lnTo>
                      <a:pt x="275" y="437"/>
                    </a:lnTo>
                    <a:lnTo>
                      <a:pt x="277" y="437"/>
                    </a:lnTo>
                    <a:lnTo>
                      <a:pt x="277" y="438"/>
                    </a:lnTo>
                    <a:lnTo>
                      <a:pt x="277" y="440"/>
                    </a:lnTo>
                    <a:lnTo>
                      <a:pt x="277" y="442"/>
                    </a:lnTo>
                    <a:lnTo>
                      <a:pt x="279" y="442"/>
                    </a:lnTo>
                    <a:lnTo>
                      <a:pt x="279" y="444"/>
                    </a:lnTo>
                    <a:lnTo>
                      <a:pt x="279" y="446"/>
                    </a:lnTo>
                    <a:lnTo>
                      <a:pt x="279" y="448"/>
                    </a:lnTo>
                    <a:lnTo>
                      <a:pt x="279" y="450"/>
                    </a:lnTo>
                    <a:lnTo>
                      <a:pt x="280" y="450"/>
                    </a:lnTo>
                    <a:lnTo>
                      <a:pt x="280" y="452"/>
                    </a:lnTo>
                    <a:lnTo>
                      <a:pt x="282" y="452"/>
                    </a:lnTo>
                    <a:lnTo>
                      <a:pt x="282" y="454"/>
                    </a:lnTo>
                    <a:lnTo>
                      <a:pt x="284" y="454"/>
                    </a:lnTo>
                    <a:lnTo>
                      <a:pt x="284" y="456"/>
                    </a:lnTo>
                    <a:lnTo>
                      <a:pt x="286" y="456"/>
                    </a:lnTo>
                    <a:lnTo>
                      <a:pt x="286" y="458"/>
                    </a:lnTo>
                    <a:lnTo>
                      <a:pt x="286" y="456"/>
                    </a:lnTo>
                    <a:lnTo>
                      <a:pt x="286" y="458"/>
                    </a:lnTo>
                    <a:lnTo>
                      <a:pt x="288" y="460"/>
                    </a:lnTo>
                    <a:lnTo>
                      <a:pt x="288" y="462"/>
                    </a:lnTo>
                    <a:lnTo>
                      <a:pt x="288" y="463"/>
                    </a:lnTo>
                    <a:lnTo>
                      <a:pt x="288" y="465"/>
                    </a:lnTo>
                    <a:lnTo>
                      <a:pt x="288" y="467"/>
                    </a:lnTo>
                    <a:lnTo>
                      <a:pt x="288" y="465"/>
                    </a:lnTo>
                    <a:lnTo>
                      <a:pt x="288" y="463"/>
                    </a:lnTo>
                    <a:lnTo>
                      <a:pt x="288" y="462"/>
                    </a:lnTo>
                    <a:lnTo>
                      <a:pt x="288" y="463"/>
                    </a:lnTo>
                    <a:lnTo>
                      <a:pt x="290" y="463"/>
                    </a:lnTo>
                    <a:lnTo>
                      <a:pt x="290" y="465"/>
                    </a:lnTo>
                    <a:lnTo>
                      <a:pt x="292" y="465"/>
                    </a:lnTo>
                    <a:lnTo>
                      <a:pt x="290" y="465"/>
                    </a:lnTo>
                    <a:lnTo>
                      <a:pt x="292" y="465"/>
                    </a:lnTo>
                    <a:lnTo>
                      <a:pt x="290" y="465"/>
                    </a:lnTo>
                    <a:lnTo>
                      <a:pt x="290" y="463"/>
                    </a:lnTo>
                    <a:lnTo>
                      <a:pt x="288" y="463"/>
                    </a:lnTo>
                    <a:lnTo>
                      <a:pt x="290" y="463"/>
                    </a:lnTo>
                    <a:lnTo>
                      <a:pt x="290" y="465"/>
                    </a:lnTo>
                    <a:lnTo>
                      <a:pt x="290" y="463"/>
                    </a:lnTo>
                    <a:lnTo>
                      <a:pt x="290" y="465"/>
                    </a:lnTo>
                    <a:lnTo>
                      <a:pt x="292" y="465"/>
                    </a:lnTo>
                    <a:lnTo>
                      <a:pt x="292" y="467"/>
                    </a:lnTo>
                    <a:lnTo>
                      <a:pt x="294" y="467"/>
                    </a:lnTo>
                    <a:lnTo>
                      <a:pt x="296" y="467"/>
                    </a:lnTo>
                    <a:lnTo>
                      <a:pt x="296" y="469"/>
                    </a:lnTo>
                    <a:lnTo>
                      <a:pt x="298" y="469"/>
                    </a:lnTo>
                    <a:lnTo>
                      <a:pt x="300" y="471"/>
                    </a:lnTo>
                    <a:lnTo>
                      <a:pt x="302" y="471"/>
                    </a:lnTo>
                    <a:lnTo>
                      <a:pt x="302" y="473"/>
                    </a:lnTo>
                    <a:lnTo>
                      <a:pt x="304" y="473"/>
                    </a:lnTo>
                    <a:lnTo>
                      <a:pt x="304" y="475"/>
                    </a:lnTo>
                    <a:lnTo>
                      <a:pt x="304" y="477"/>
                    </a:lnTo>
                    <a:lnTo>
                      <a:pt x="304" y="479"/>
                    </a:lnTo>
                    <a:lnTo>
                      <a:pt x="304" y="481"/>
                    </a:lnTo>
                    <a:lnTo>
                      <a:pt x="304" y="483"/>
                    </a:lnTo>
                    <a:lnTo>
                      <a:pt x="304" y="485"/>
                    </a:lnTo>
                    <a:lnTo>
                      <a:pt x="302" y="485"/>
                    </a:lnTo>
                    <a:lnTo>
                      <a:pt x="302" y="487"/>
                    </a:lnTo>
                    <a:lnTo>
                      <a:pt x="302" y="485"/>
                    </a:lnTo>
                    <a:lnTo>
                      <a:pt x="302" y="487"/>
                    </a:lnTo>
                    <a:lnTo>
                      <a:pt x="302" y="485"/>
                    </a:lnTo>
                    <a:lnTo>
                      <a:pt x="302" y="487"/>
                    </a:lnTo>
                    <a:lnTo>
                      <a:pt x="300" y="487"/>
                    </a:lnTo>
                    <a:lnTo>
                      <a:pt x="300" y="488"/>
                    </a:lnTo>
                    <a:lnTo>
                      <a:pt x="298" y="488"/>
                    </a:lnTo>
                    <a:lnTo>
                      <a:pt x="296" y="488"/>
                    </a:lnTo>
                    <a:lnTo>
                      <a:pt x="296" y="490"/>
                    </a:lnTo>
                    <a:lnTo>
                      <a:pt x="294" y="492"/>
                    </a:lnTo>
                    <a:lnTo>
                      <a:pt x="296" y="492"/>
                    </a:lnTo>
                    <a:lnTo>
                      <a:pt x="294" y="492"/>
                    </a:lnTo>
                    <a:lnTo>
                      <a:pt x="294" y="494"/>
                    </a:lnTo>
                    <a:lnTo>
                      <a:pt x="292" y="494"/>
                    </a:lnTo>
                    <a:lnTo>
                      <a:pt x="292" y="496"/>
                    </a:lnTo>
                    <a:lnTo>
                      <a:pt x="290" y="496"/>
                    </a:lnTo>
                    <a:lnTo>
                      <a:pt x="292" y="496"/>
                    </a:lnTo>
                    <a:lnTo>
                      <a:pt x="290" y="496"/>
                    </a:lnTo>
                    <a:lnTo>
                      <a:pt x="290" y="498"/>
                    </a:lnTo>
                    <a:lnTo>
                      <a:pt x="288" y="498"/>
                    </a:lnTo>
                    <a:lnTo>
                      <a:pt x="288" y="500"/>
                    </a:lnTo>
                    <a:lnTo>
                      <a:pt x="288" y="498"/>
                    </a:lnTo>
                    <a:lnTo>
                      <a:pt x="288" y="500"/>
                    </a:lnTo>
                    <a:lnTo>
                      <a:pt x="286" y="500"/>
                    </a:lnTo>
                    <a:lnTo>
                      <a:pt x="286" y="502"/>
                    </a:lnTo>
                    <a:lnTo>
                      <a:pt x="284" y="504"/>
                    </a:lnTo>
                    <a:lnTo>
                      <a:pt x="284" y="506"/>
                    </a:lnTo>
                    <a:lnTo>
                      <a:pt x="284" y="508"/>
                    </a:lnTo>
                    <a:lnTo>
                      <a:pt x="284" y="510"/>
                    </a:lnTo>
                    <a:lnTo>
                      <a:pt x="282" y="510"/>
                    </a:lnTo>
                    <a:lnTo>
                      <a:pt x="280" y="512"/>
                    </a:lnTo>
                    <a:lnTo>
                      <a:pt x="280" y="513"/>
                    </a:lnTo>
                    <a:lnTo>
                      <a:pt x="280" y="515"/>
                    </a:lnTo>
                    <a:lnTo>
                      <a:pt x="279" y="515"/>
                    </a:lnTo>
                    <a:lnTo>
                      <a:pt x="280" y="515"/>
                    </a:lnTo>
                    <a:lnTo>
                      <a:pt x="279" y="515"/>
                    </a:lnTo>
                    <a:lnTo>
                      <a:pt x="280" y="515"/>
                    </a:lnTo>
                    <a:lnTo>
                      <a:pt x="280" y="513"/>
                    </a:lnTo>
                    <a:lnTo>
                      <a:pt x="282" y="512"/>
                    </a:lnTo>
                    <a:lnTo>
                      <a:pt x="282" y="510"/>
                    </a:lnTo>
                    <a:lnTo>
                      <a:pt x="284" y="510"/>
                    </a:lnTo>
                    <a:lnTo>
                      <a:pt x="282" y="510"/>
                    </a:lnTo>
                    <a:lnTo>
                      <a:pt x="284" y="510"/>
                    </a:lnTo>
                    <a:lnTo>
                      <a:pt x="284" y="508"/>
                    </a:lnTo>
                    <a:lnTo>
                      <a:pt x="284" y="506"/>
                    </a:lnTo>
                    <a:lnTo>
                      <a:pt x="284" y="504"/>
                    </a:lnTo>
                    <a:lnTo>
                      <a:pt x="286" y="504"/>
                    </a:lnTo>
                    <a:lnTo>
                      <a:pt x="286" y="502"/>
                    </a:lnTo>
                    <a:lnTo>
                      <a:pt x="286" y="500"/>
                    </a:lnTo>
                    <a:lnTo>
                      <a:pt x="288" y="500"/>
                    </a:lnTo>
                    <a:lnTo>
                      <a:pt x="286" y="500"/>
                    </a:lnTo>
                    <a:lnTo>
                      <a:pt x="288" y="500"/>
                    </a:lnTo>
                    <a:lnTo>
                      <a:pt x="288" y="498"/>
                    </a:lnTo>
                    <a:lnTo>
                      <a:pt x="290" y="498"/>
                    </a:lnTo>
                    <a:lnTo>
                      <a:pt x="288" y="498"/>
                    </a:lnTo>
                    <a:lnTo>
                      <a:pt x="290" y="498"/>
                    </a:lnTo>
                    <a:lnTo>
                      <a:pt x="288" y="498"/>
                    </a:lnTo>
                    <a:lnTo>
                      <a:pt x="290" y="498"/>
                    </a:lnTo>
                    <a:lnTo>
                      <a:pt x="288" y="498"/>
                    </a:lnTo>
                    <a:lnTo>
                      <a:pt x="290" y="498"/>
                    </a:lnTo>
                    <a:lnTo>
                      <a:pt x="290" y="496"/>
                    </a:lnTo>
                    <a:lnTo>
                      <a:pt x="292" y="496"/>
                    </a:lnTo>
                    <a:lnTo>
                      <a:pt x="292" y="494"/>
                    </a:lnTo>
                    <a:lnTo>
                      <a:pt x="292" y="496"/>
                    </a:lnTo>
                    <a:lnTo>
                      <a:pt x="292" y="494"/>
                    </a:lnTo>
                    <a:lnTo>
                      <a:pt x="294" y="496"/>
                    </a:lnTo>
                    <a:lnTo>
                      <a:pt x="294" y="494"/>
                    </a:lnTo>
                    <a:lnTo>
                      <a:pt x="294" y="492"/>
                    </a:lnTo>
                    <a:lnTo>
                      <a:pt x="296" y="490"/>
                    </a:lnTo>
                    <a:lnTo>
                      <a:pt x="298" y="488"/>
                    </a:lnTo>
                    <a:lnTo>
                      <a:pt x="296" y="490"/>
                    </a:lnTo>
                    <a:lnTo>
                      <a:pt x="296" y="488"/>
                    </a:lnTo>
                    <a:lnTo>
                      <a:pt x="296" y="490"/>
                    </a:lnTo>
                    <a:lnTo>
                      <a:pt x="298" y="488"/>
                    </a:lnTo>
                    <a:lnTo>
                      <a:pt x="296" y="488"/>
                    </a:lnTo>
                    <a:lnTo>
                      <a:pt x="298" y="488"/>
                    </a:lnTo>
                    <a:lnTo>
                      <a:pt x="298" y="490"/>
                    </a:lnTo>
                    <a:lnTo>
                      <a:pt x="298" y="488"/>
                    </a:lnTo>
                    <a:lnTo>
                      <a:pt x="300" y="488"/>
                    </a:lnTo>
                    <a:lnTo>
                      <a:pt x="300" y="487"/>
                    </a:lnTo>
                    <a:lnTo>
                      <a:pt x="300" y="488"/>
                    </a:lnTo>
                    <a:lnTo>
                      <a:pt x="300" y="487"/>
                    </a:lnTo>
                    <a:lnTo>
                      <a:pt x="302" y="487"/>
                    </a:lnTo>
                    <a:lnTo>
                      <a:pt x="304" y="485"/>
                    </a:lnTo>
                    <a:lnTo>
                      <a:pt x="304" y="487"/>
                    </a:lnTo>
                    <a:lnTo>
                      <a:pt x="302" y="487"/>
                    </a:lnTo>
                    <a:lnTo>
                      <a:pt x="304" y="487"/>
                    </a:lnTo>
                    <a:lnTo>
                      <a:pt x="304" y="485"/>
                    </a:lnTo>
                    <a:lnTo>
                      <a:pt x="304" y="483"/>
                    </a:lnTo>
                    <a:lnTo>
                      <a:pt x="304" y="481"/>
                    </a:lnTo>
                    <a:lnTo>
                      <a:pt x="305" y="481"/>
                    </a:lnTo>
                    <a:lnTo>
                      <a:pt x="304" y="483"/>
                    </a:lnTo>
                    <a:lnTo>
                      <a:pt x="305" y="483"/>
                    </a:lnTo>
                    <a:lnTo>
                      <a:pt x="305" y="485"/>
                    </a:lnTo>
                    <a:lnTo>
                      <a:pt x="307" y="485"/>
                    </a:lnTo>
                    <a:lnTo>
                      <a:pt x="305" y="485"/>
                    </a:lnTo>
                    <a:lnTo>
                      <a:pt x="305" y="483"/>
                    </a:lnTo>
                    <a:lnTo>
                      <a:pt x="305" y="481"/>
                    </a:lnTo>
                    <a:lnTo>
                      <a:pt x="304" y="481"/>
                    </a:lnTo>
                    <a:lnTo>
                      <a:pt x="304" y="479"/>
                    </a:lnTo>
                    <a:lnTo>
                      <a:pt x="304" y="477"/>
                    </a:lnTo>
                    <a:lnTo>
                      <a:pt x="304" y="475"/>
                    </a:lnTo>
                    <a:lnTo>
                      <a:pt x="305" y="475"/>
                    </a:lnTo>
                    <a:lnTo>
                      <a:pt x="304" y="475"/>
                    </a:lnTo>
                    <a:lnTo>
                      <a:pt x="304" y="473"/>
                    </a:lnTo>
                    <a:lnTo>
                      <a:pt x="302" y="471"/>
                    </a:lnTo>
                    <a:lnTo>
                      <a:pt x="300" y="471"/>
                    </a:lnTo>
                    <a:lnTo>
                      <a:pt x="300" y="469"/>
                    </a:lnTo>
                    <a:lnTo>
                      <a:pt x="298" y="469"/>
                    </a:lnTo>
                    <a:lnTo>
                      <a:pt x="298" y="467"/>
                    </a:lnTo>
                    <a:lnTo>
                      <a:pt x="296" y="467"/>
                    </a:lnTo>
                    <a:lnTo>
                      <a:pt x="294" y="467"/>
                    </a:lnTo>
                    <a:lnTo>
                      <a:pt x="294" y="465"/>
                    </a:lnTo>
                    <a:lnTo>
                      <a:pt x="292" y="465"/>
                    </a:lnTo>
                    <a:lnTo>
                      <a:pt x="290" y="465"/>
                    </a:lnTo>
                    <a:lnTo>
                      <a:pt x="290" y="463"/>
                    </a:lnTo>
                    <a:lnTo>
                      <a:pt x="288" y="463"/>
                    </a:lnTo>
                    <a:lnTo>
                      <a:pt x="290" y="463"/>
                    </a:lnTo>
                    <a:lnTo>
                      <a:pt x="288" y="463"/>
                    </a:lnTo>
                    <a:lnTo>
                      <a:pt x="290" y="462"/>
                    </a:lnTo>
                    <a:lnTo>
                      <a:pt x="288" y="462"/>
                    </a:lnTo>
                    <a:lnTo>
                      <a:pt x="288" y="460"/>
                    </a:lnTo>
                    <a:lnTo>
                      <a:pt x="288" y="458"/>
                    </a:lnTo>
                    <a:lnTo>
                      <a:pt x="286" y="458"/>
                    </a:lnTo>
                    <a:lnTo>
                      <a:pt x="286" y="456"/>
                    </a:lnTo>
                    <a:lnTo>
                      <a:pt x="284" y="454"/>
                    </a:lnTo>
                    <a:lnTo>
                      <a:pt x="282" y="452"/>
                    </a:lnTo>
                    <a:lnTo>
                      <a:pt x="280" y="450"/>
                    </a:lnTo>
                    <a:lnTo>
                      <a:pt x="280" y="448"/>
                    </a:lnTo>
                    <a:lnTo>
                      <a:pt x="279" y="448"/>
                    </a:lnTo>
                    <a:lnTo>
                      <a:pt x="279" y="446"/>
                    </a:lnTo>
                    <a:lnTo>
                      <a:pt x="280" y="446"/>
                    </a:lnTo>
                    <a:lnTo>
                      <a:pt x="280" y="448"/>
                    </a:lnTo>
                    <a:lnTo>
                      <a:pt x="280" y="446"/>
                    </a:lnTo>
                    <a:lnTo>
                      <a:pt x="279" y="446"/>
                    </a:lnTo>
                    <a:lnTo>
                      <a:pt x="279" y="444"/>
                    </a:lnTo>
                    <a:lnTo>
                      <a:pt x="279" y="442"/>
                    </a:lnTo>
                    <a:lnTo>
                      <a:pt x="279" y="440"/>
                    </a:lnTo>
                    <a:lnTo>
                      <a:pt x="277" y="440"/>
                    </a:lnTo>
                    <a:lnTo>
                      <a:pt x="277" y="438"/>
                    </a:lnTo>
                    <a:lnTo>
                      <a:pt x="279" y="438"/>
                    </a:lnTo>
                    <a:lnTo>
                      <a:pt x="277" y="438"/>
                    </a:lnTo>
                    <a:lnTo>
                      <a:pt x="277" y="437"/>
                    </a:lnTo>
                    <a:lnTo>
                      <a:pt x="277" y="438"/>
                    </a:lnTo>
                    <a:lnTo>
                      <a:pt x="277" y="437"/>
                    </a:lnTo>
                    <a:lnTo>
                      <a:pt x="277" y="435"/>
                    </a:lnTo>
                    <a:lnTo>
                      <a:pt x="277" y="437"/>
                    </a:lnTo>
                    <a:lnTo>
                      <a:pt x="277" y="435"/>
                    </a:lnTo>
                    <a:lnTo>
                      <a:pt x="277" y="433"/>
                    </a:lnTo>
                    <a:lnTo>
                      <a:pt x="277" y="435"/>
                    </a:lnTo>
                    <a:lnTo>
                      <a:pt x="277" y="433"/>
                    </a:lnTo>
                    <a:lnTo>
                      <a:pt x="275" y="433"/>
                    </a:lnTo>
                    <a:lnTo>
                      <a:pt x="277" y="433"/>
                    </a:lnTo>
                    <a:lnTo>
                      <a:pt x="277" y="431"/>
                    </a:lnTo>
                    <a:lnTo>
                      <a:pt x="275" y="431"/>
                    </a:lnTo>
                    <a:lnTo>
                      <a:pt x="275" y="429"/>
                    </a:lnTo>
                    <a:lnTo>
                      <a:pt x="275" y="427"/>
                    </a:lnTo>
                    <a:lnTo>
                      <a:pt x="275" y="425"/>
                    </a:lnTo>
                    <a:lnTo>
                      <a:pt x="275" y="423"/>
                    </a:lnTo>
                    <a:lnTo>
                      <a:pt x="277" y="423"/>
                    </a:lnTo>
                    <a:lnTo>
                      <a:pt x="275" y="423"/>
                    </a:lnTo>
                    <a:lnTo>
                      <a:pt x="277" y="423"/>
                    </a:lnTo>
                    <a:lnTo>
                      <a:pt x="275" y="421"/>
                    </a:lnTo>
                    <a:lnTo>
                      <a:pt x="277" y="421"/>
                    </a:lnTo>
                    <a:lnTo>
                      <a:pt x="275" y="421"/>
                    </a:lnTo>
                    <a:lnTo>
                      <a:pt x="275" y="423"/>
                    </a:lnTo>
                    <a:lnTo>
                      <a:pt x="277" y="423"/>
                    </a:lnTo>
                    <a:lnTo>
                      <a:pt x="275" y="423"/>
                    </a:lnTo>
                    <a:lnTo>
                      <a:pt x="275" y="425"/>
                    </a:lnTo>
                    <a:lnTo>
                      <a:pt x="275" y="423"/>
                    </a:lnTo>
                    <a:lnTo>
                      <a:pt x="275" y="421"/>
                    </a:lnTo>
                    <a:lnTo>
                      <a:pt x="273" y="421"/>
                    </a:lnTo>
                    <a:lnTo>
                      <a:pt x="273" y="419"/>
                    </a:lnTo>
                    <a:lnTo>
                      <a:pt x="271" y="417"/>
                    </a:lnTo>
                    <a:lnTo>
                      <a:pt x="269" y="417"/>
                    </a:lnTo>
                    <a:lnTo>
                      <a:pt x="269" y="415"/>
                    </a:lnTo>
                    <a:lnTo>
                      <a:pt x="269" y="414"/>
                    </a:lnTo>
                    <a:lnTo>
                      <a:pt x="267" y="414"/>
                    </a:lnTo>
                    <a:lnTo>
                      <a:pt x="267" y="412"/>
                    </a:lnTo>
                    <a:lnTo>
                      <a:pt x="267" y="414"/>
                    </a:lnTo>
                    <a:lnTo>
                      <a:pt x="265" y="414"/>
                    </a:lnTo>
                    <a:lnTo>
                      <a:pt x="267" y="412"/>
                    </a:lnTo>
                    <a:lnTo>
                      <a:pt x="265" y="414"/>
                    </a:lnTo>
                    <a:lnTo>
                      <a:pt x="265" y="412"/>
                    </a:lnTo>
                    <a:lnTo>
                      <a:pt x="267" y="412"/>
                    </a:lnTo>
                    <a:lnTo>
                      <a:pt x="267" y="410"/>
                    </a:lnTo>
                    <a:lnTo>
                      <a:pt x="265" y="410"/>
                    </a:lnTo>
                    <a:lnTo>
                      <a:pt x="265" y="408"/>
                    </a:lnTo>
                    <a:lnTo>
                      <a:pt x="265" y="410"/>
                    </a:lnTo>
                    <a:lnTo>
                      <a:pt x="265" y="408"/>
                    </a:lnTo>
                    <a:lnTo>
                      <a:pt x="267" y="408"/>
                    </a:lnTo>
                    <a:lnTo>
                      <a:pt x="267" y="406"/>
                    </a:lnTo>
                    <a:lnTo>
                      <a:pt x="267" y="404"/>
                    </a:lnTo>
                    <a:lnTo>
                      <a:pt x="269" y="404"/>
                    </a:lnTo>
                    <a:lnTo>
                      <a:pt x="269" y="402"/>
                    </a:lnTo>
                    <a:lnTo>
                      <a:pt x="269" y="400"/>
                    </a:lnTo>
                    <a:lnTo>
                      <a:pt x="269" y="402"/>
                    </a:lnTo>
                    <a:lnTo>
                      <a:pt x="269" y="400"/>
                    </a:lnTo>
                    <a:lnTo>
                      <a:pt x="269" y="398"/>
                    </a:lnTo>
                    <a:lnTo>
                      <a:pt x="269" y="400"/>
                    </a:lnTo>
                    <a:lnTo>
                      <a:pt x="269" y="398"/>
                    </a:lnTo>
                    <a:lnTo>
                      <a:pt x="269" y="396"/>
                    </a:lnTo>
                    <a:lnTo>
                      <a:pt x="269" y="394"/>
                    </a:lnTo>
                    <a:lnTo>
                      <a:pt x="271" y="394"/>
                    </a:lnTo>
                    <a:lnTo>
                      <a:pt x="271" y="396"/>
                    </a:lnTo>
                    <a:lnTo>
                      <a:pt x="271" y="394"/>
                    </a:lnTo>
                    <a:lnTo>
                      <a:pt x="271" y="396"/>
                    </a:lnTo>
                    <a:lnTo>
                      <a:pt x="271" y="398"/>
                    </a:lnTo>
                    <a:lnTo>
                      <a:pt x="271" y="400"/>
                    </a:lnTo>
                    <a:lnTo>
                      <a:pt x="271" y="402"/>
                    </a:lnTo>
                    <a:lnTo>
                      <a:pt x="271" y="404"/>
                    </a:lnTo>
                    <a:lnTo>
                      <a:pt x="269" y="404"/>
                    </a:lnTo>
                    <a:lnTo>
                      <a:pt x="269" y="406"/>
                    </a:lnTo>
                    <a:lnTo>
                      <a:pt x="271" y="408"/>
                    </a:lnTo>
                    <a:lnTo>
                      <a:pt x="269" y="408"/>
                    </a:lnTo>
                    <a:lnTo>
                      <a:pt x="271" y="408"/>
                    </a:lnTo>
                    <a:lnTo>
                      <a:pt x="269" y="408"/>
                    </a:lnTo>
                    <a:lnTo>
                      <a:pt x="271" y="408"/>
                    </a:lnTo>
                    <a:lnTo>
                      <a:pt x="269" y="406"/>
                    </a:lnTo>
                    <a:lnTo>
                      <a:pt x="269" y="404"/>
                    </a:lnTo>
                    <a:lnTo>
                      <a:pt x="271" y="404"/>
                    </a:lnTo>
                    <a:lnTo>
                      <a:pt x="269" y="404"/>
                    </a:lnTo>
                    <a:lnTo>
                      <a:pt x="271" y="404"/>
                    </a:lnTo>
                    <a:lnTo>
                      <a:pt x="271" y="402"/>
                    </a:lnTo>
                    <a:lnTo>
                      <a:pt x="271" y="404"/>
                    </a:lnTo>
                    <a:lnTo>
                      <a:pt x="271" y="402"/>
                    </a:lnTo>
                    <a:lnTo>
                      <a:pt x="271" y="400"/>
                    </a:lnTo>
                    <a:lnTo>
                      <a:pt x="271" y="398"/>
                    </a:lnTo>
                    <a:lnTo>
                      <a:pt x="271" y="400"/>
                    </a:lnTo>
                    <a:lnTo>
                      <a:pt x="271" y="398"/>
                    </a:lnTo>
                    <a:lnTo>
                      <a:pt x="273" y="398"/>
                    </a:lnTo>
                    <a:lnTo>
                      <a:pt x="273" y="400"/>
                    </a:lnTo>
                    <a:lnTo>
                      <a:pt x="271" y="400"/>
                    </a:lnTo>
                    <a:lnTo>
                      <a:pt x="273" y="400"/>
                    </a:lnTo>
                    <a:lnTo>
                      <a:pt x="273" y="402"/>
                    </a:lnTo>
                    <a:lnTo>
                      <a:pt x="273" y="404"/>
                    </a:lnTo>
                    <a:lnTo>
                      <a:pt x="271" y="404"/>
                    </a:lnTo>
                    <a:lnTo>
                      <a:pt x="273" y="404"/>
                    </a:lnTo>
                    <a:lnTo>
                      <a:pt x="271" y="406"/>
                    </a:lnTo>
                    <a:lnTo>
                      <a:pt x="273" y="406"/>
                    </a:lnTo>
                    <a:lnTo>
                      <a:pt x="271" y="406"/>
                    </a:lnTo>
                    <a:lnTo>
                      <a:pt x="273" y="406"/>
                    </a:lnTo>
                    <a:lnTo>
                      <a:pt x="273" y="404"/>
                    </a:lnTo>
                    <a:lnTo>
                      <a:pt x="271" y="404"/>
                    </a:lnTo>
                    <a:lnTo>
                      <a:pt x="273" y="404"/>
                    </a:lnTo>
                    <a:lnTo>
                      <a:pt x="273" y="406"/>
                    </a:lnTo>
                    <a:lnTo>
                      <a:pt x="273" y="404"/>
                    </a:lnTo>
                    <a:lnTo>
                      <a:pt x="273" y="406"/>
                    </a:lnTo>
                    <a:lnTo>
                      <a:pt x="273" y="408"/>
                    </a:lnTo>
                    <a:lnTo>
                      <a:pt x="273" y="406"/>
                    </a:lnTo>
                    <a:lnTo>
                      <a:pt x="273" y="408"/>
                    </a:lnTo>
                    <a:lnTo>
                      <a:pt x="273" y="406"/>
                    </a:lnTo>
                    <a:lnTo>
                      <a:pt x="273" y="404"/>
                    </a:lnTo>
                    <a:lnTo>
                      <a:pt x="273" y="406"/>
                    </a:lnTo>
                    <a:lnTo>
                      <a:pt x="273" y="404"/>
                    </a:lnTo>
                    <a:lnTo>
                      <a:pt x="273" y="402"/>
                    </a:lnTo>
                    <a:lnTo>
                      <a:pt x="273" y="400"/>
                    </a:lnTo>
                    <a:lnTo>
                      <a:pt x="273" y="398"/>
                    </a:lnTo>
                    <a:lnTo>
                      <a:pt x="271" y="398"/>
                    </a:lnTo>
                    <a:lnTo>
                      <a:pt x="273" y="396"/>
                    </a:lnTo>
                    <a:lnTo>
                      <a:pt x="271" y="394"/>
                    </a:lnTo>
                    <a:lnTo>
                      <a:pt x="273" y="394"/>
                    </a:lnTo>
                    <a:lnTo>
                      <a:pt x="275" y="396"/>
                    </a:lnTo>
                    <a:lnTo>
                      <a:pt x="275" y="394"/>
                    </a:lnTo>
                    <a:lnTo>
                      <a:pt x="273" y="394"/>
                    </a:lnTo>
                    <a:lnTo>
                      <a:pt x="275" y="394"/>
                    </a:lnTo>
                    <a:lnTo>
                      <a:pt x="275" y="396"/>
                    </a:lnTo>
                    <a:lnTo>
                      <a:pt x="275" y="394"/>
                    </a:lnTo>
                    <a:lnTo>
                      <a:pt x="275" y="396"/>
                    </a:lnTo>
                    <a:lnTo>
                      <a:pt x="275" y="398"/>
                    </a:lnTo>
                    <a:lnTo>
                      <a:pt x="275" y="396"/>
                    </a:lnTo>
                    <a:lnTo>
                      <a:pt x="275" y="398"/>
                    </a:lnTo>
                    <a:lnTo>
                      <a:pt x="275" y="400"/>
                    </a:lnTo>
                    <a:lnTo>
                      <a:pt x="275" y="402"/>
                    </a:lnTo>
                    <a:lnTo>
                      <a:pt x="275" y="404"/>
                    </a:lnTo>
                    <a:lnTo>
                      <a:pt x="275" y="402"/>
                    </a:lnTo>
                    <a:lnTo>
                      <a:pt x="277" y="402"/>
                    </a:lnTo>
                    <a:lnTo>
                      <a:pt x="275" y="402"/>
                    </a:lnTo>
                    <a:lnTo>
                      <a:pt x="277" y="402"/>
                    </a:lnTo>
                    <a:lnTo>
                      <a:pt x="277" y="404"/>
                    </a:lnTo>
                    <a:lnTo>
                      <a:pt x="277" y="402"/>
                    </a:lnTo>
                    <a:lnTo>
                      <a:pt x="275" y="402"/>
                    </a:lnTo>
                    <a:lnTo>
                      <a:pt x="277" y="402"/>
                    </a:lnTo>
                    <a:lnTo>
                      <a:pt x="277" y="400"/>
                    </a:lnTo>
                    <a:lnTo>
                      <a:pt x="275" y="400"/>
                    </a:lnTo>
                    <a:lnTo>
                      <a:pt x="275" y="398"/>
                    </a:lnTo>
                    <a:lnTo>
                      <a:pt x="275" y="400"/>
                    </a:lnTo>
                    <a:lnTo>
                      <a:pt x="277" y="400"/>
                    </a:lnTo>
                    <a:lnTo>
                      <a:pt x="279" y="400"/>
                    </a:lnTo>
                    <a:lnTo>
                      <a:pt x="279" y="402"/>
                    </a:lnTo>
                    <a:lnTo>
                      <a:pt x="277" y="402"/>
                    </a:lnTo>
                    <a:lnTo>
                      <a:pt x="279" y="402"/>
                    </a:lnTo>
                    <a:lnTo>
                      <a:pt x="279" y="400"/>
                    </a:lnTo>
                    <a:lnTo>
                      <a:pt x="277" y="400"/>
                    </a:lnTo>
                    <a:lnTo>
                      <a:pt x="275" y="400"/>
                    </a:lnTo>
                    <a:lnTo>
                      <a:pt x="275" y="398"/>
                    </a:lnTo>
                    <a:lnTo>
                      <a:pt x="275" y="396"/>
                    </a:lnTo>
                    <a:lnTo>
                      <a:pt x="275" y="394"/>
                    </a:lnTo>
                    <a:lnTo>
                      <a:pt x="277" y="394"/>
                    </a:lnTo>
                    <a:lnTo>
                      <a:pt x="277" y="392"/>
                    </a:lnTo>
                    <a:lnTo>
                      <a:pt x="277" y="394"/>
                    </a:lnTo>
                    <a:lnTo>
                      <a:pt x="277" y="392"/>
                    </a:lnTo>
                    <a:lnTo>
                      <a:pt x="279" y="392"/>
                    </a:lnTo>
                    <a:lnTo>
                      <a:pt x="277" y="392"/>
                    </a:lnTo>
                    <a:lnTo>
                      <a:pt x="279" y="392"/>
                    </a:lnTo>
                    <a:lnTo>
                      <a:pt x="277" y="392"/>
                    </a:lnTo>
                    <a:lnTo>
                      <a:pt x="277" y="390"/>
                    </a:lnTo>
                    <a:lnTo>
                      <a:pt x="277" y="392"/>
                    </a:lnTo>
                    <a:lnTo>
                      <a:pt x="277" y="390"/>
                    </a:lnTo>
                    <a:lnTo>
                      <a:pt x="277" y="392"/>
                    </a:lnTo>
                    <a:lnTo>
                      <a:pt x="277" y="390"/>
                    </a:lnTo>
                    <a:lnTo>
                      <a:pt x="279" y="390"/>
                    </a:lnTo>
                    <a:lnTo>
                      <a:pt x="280" y="390"/>
                    </a:lnTo>
                    <a:lnTo>
                      <a:pt x="280" y="392"/>
                    </a:lnTo>
                    <a:lnTo>
                      <a:pt x="280" y="390"/>
                    </a:lnTo>
                    <a:lnTo>
                      <a:pt x="280" y="389"/>
                    </a:lnTo>
                    <a:lnTo>
                      <a:pt x="282" y="389"/>
                    </a:lnTo>
                    <a:lnTo>
                      <a:pt x="282" y="387"/>
                    </a:lnTo>
                    <a:lnTo>
                      <a:pt x="280" y="385"/>
                    </a:lnTo>
                    <a:lnTo>
                      <a:pt x="280" y="383"/>
                    </a:lnTo>
                    <a:lnTo>
                      <a:pt x="282" y="383"/>
                    </a:lnTo>
                    <a:lnTo>
                      <a:pt x="282" y="381"/>
                    </a:lnTo>
                    <a:lnTo>
                      <a:pt x="280" y="381"/>
                    </a:lnTo>
                    <a:lnTo>
                      <a:pt x="280" y="383"/>
                    </a:lnTo>
                    <a:lnTo>
                      <a:pt x="280" y="381"/>
                    </a:lnTo>
                    <a:lnTo>
                      <a:pt x="282" y="381"/>
                    </a:lnTo>
                    <a:lnTo>
                      <a:pt x="282" y="379"/>
                    </a:lnTo>
                    <a:lnTo>
                      <a:pt x="282" y="381"/>
                    </a:lnTo>
                    <a:lnTo>
                      <a:pt x="282" y="379"/>
                    </a:lnTo>
                    <a:lnTo>
                      <a:pt x="282" y="381"/>
                    </a:lnTo>
                    <a:lnTo>
                      <a:pt x="284" y="379"/>
                    </a:lnTo>
                    <a:lnTo>
                      <a:pt x="284" y="377"/>
                    </a:lnTo>
                    <a:lnTo>
                      <a:pt x="286" y="377"/>
                    </a:lnTo>
                    <a:lnTo>
                      <a:pt x="288" y="377"/>
                    </a:lnTo>
                    <a:lnTo>
                      <a:pt x="290" y="377"/>
                    </a:lnTo>
                    <a:lnTo>
                      <a:pt x="288" y="377"/>
                    </a:lnTo>
                    <a:lnTo>
                      <a:pt x="288" y="375"/>
                    </a:lnTo>
                    <a:lnTo>
                      <a:pt x="290" y="377"/>
                    </a:lnTo>
                    <a:lnTo>
                      <a:pt x="290" y="375"/>
                    </a:lnTo>
                    <a:lnTo>
                      <a:pt x="292" y="375"/>
                    </a:lnTo>
                    <a:lnTo>
                      <a:pt x="294" y="375"/>
                    </a:lnTo>
                    <a:lnTo>
                      <a:pt x="294" y="377"/>
                    </a:lnTo>
                    <a:lnTo>
                      <a:pt x="296" y="377"/>
                    </a:lnTo>
                    <a:lnTo>
                      <a:pt x="298" y="377"/>
                    </a:lnTo>
                    <a:lnTo>
                      <a:pt x="298" y="375"/>
                    </a:lnTo>
                    <a:lnTo>
                      <a:pt x="298" y="377"/>
                    </a:lnTo>
                    <a:lnTo>
                      <a:pt x="300" y="377"/>
                    </a:lnTo>
                    <a:lnTo>
                      <a:pt x="298" y="377"/>
                    </a:lnTo>
                    <a:lnTo>
                      <a:pt x="298" y="379"/>
                    </a:lnTo>
                    <a:lnTo>
                      <a:pt x="300" y="379"/>
                    </a:lnTo>
                    <a:lnTo>
                      <a:pt x="302" y="379"/>
                    </a:lnTo>
                    <a:lnTo>
                      <a:pt x="300" y="379"/>
                    </a:lnTo>
                    <a:lnTo>
                      <a:pt x="298" y="379"/>
                    </a:lnTo>
                    <a:lnTo>
                      <a:pt x="298" y="377"/>
                    </a:lnTo>
                    <a:lnTo>
                      <a:pt x="300" y="377"/>
                    </a:lnTo>
                    <a:lnTo>
                      <a:pt x="300" y="379"/>
                    </a:lnTo>
                    <a:lnTo>
                      <a:pt x="300" y="377"/>
                    </a:lnTo>
                    <a:lnTo>
                      <a:pt x="302" y="379"/>
                    </a:lnTo>
                    <a:lnTo>
                      <a:pt x="300" y="379"/>
                    </a:lnTo>
                    <a:lnTo>
                      <a:pt x="302" y="379"/>
                    </a:lnTo>
                    <a:lnTo>
                      <a:pt x="300" y="379"/>
                    </a:lnTo>
                    <a:lnTo>
                      <a:pt x="302" y="379"/>
                    </a:lnTo>
                    <a:lnTo>
                      <a:pt x="300" y="377"/>
                    </a:lnTo>
                    <a:lnTo>
                      <a:pt x="300" y="379"/>
                    </a:lnTo>
                    <a:lnTo>
                      <a:pt x="300" y="377"/>
                    </a:lnTo>
                    <a:lnTo>
                      <a:pt x="300" y="379"/>
                    </a:lnTo>
                    <a:lnTo>
                      <a:pt x="300" y="377"/>
                    </a:lnTo>
                    <a:lnTo>
                      <a:pt x="302" y="377"/>
                    </a:lnTo>
                    <a:lnTo>
                      <a:pt x="302" y="379"/>
                    </a:lnTo>
                    <a:lnTo>
                      <a:pt x="302" y="377"/>
                    </a:lnTo>
                    <a:lnTo>
                      <a:pt x="304" y="377"/>
                    </a:lnTo>
                    <a:lnTo>
                      <a:pt x="304" y="379"/>
                    </a:lnTo>
                    <a:lnTo>
                      <a:pt x="304" y="377"/>
                    </a:lnTo>
                    <a:lnTo>
                      <a:pt x="304" y="379"/>
                    </a:lnTo>
                    <a:lnTo>
                      <a:pt x="305" y="379"/>
                    </a:lnTo>
                    <a:lnTo>
                      <a:pt x="305" y="377"/>
                    </a:lnTo>
                    <a:lnTo>
                      <a:pt x="307" y="377"/>
                    </a:lnTo>
                    <a:lnTo>
                      <a:pt x="305" y="377"/>
                    </a:lnTo>
                    <a:lnTo>
                      <a:pt x="305" y="379"/>
                    </a:lnTo>
                    <a:lnTo>
                      <a:pt x="304" y="379"/>
                    </a:lnTo>
                    <a:lnTo>
                      <a:pt x="304" y="377"/>
                    </a:lnTo>
                    <a:lnTo>
                      <a:pt x="304" y="379"/>
                    </a:lnTo>
                    <a:lnTo>
                      <a:pt x="304" y="377"/>
                    </a:lnTo>
                    <a:lnTo>
                      <a:pt x="302" y="377"/>
                    </a:lnTo>
                    <a:lnTo>
                      <a:pt x="300" y="377"/>
                    </a:lnTo>
                    <a:lnTo>
                      <a:pt x="298" y="377"/>
                    </a:lnTo>
                    <a:lnTo>
                      <a:pt x="300" y="377"/>
                    </a:lnTo>
                    <a:lnTo>
                      <a:pt x="300" y="375"/>
                    </a:lnTo>
                    <a:lnTo>
                      <a:pt x="300" y="377"/>
                    </a:lnTo>
                    <a:lnTo>
                      <a:pt x="300" y="375"/>
                    </a:lnTo>
                    <a:lnTo>
                      <a:pt x="300" y="377"/>
                    </a:lnTo>
                    <a:lnTo>
                      <a:pt x="300" y="375"/>
                    </a:lnTo>
                    <a:lnTo>
                      <a:pt x="302" y="375"/>
                    </a:lnTo>
                    <a:lnTo>
                      <a:pt x="302" y="377"/>
                    </a:lnTo>
                    <a:lnTo>
                      <a:pt x="302" y="375"/>
                    </a:lnTo>
                    <a:lnTo>
                      <a:pt x="302" y="377"/>
                    </a:lnTo>
                    <a:lnTo>
                      <a:pt x="302" y="375"/>
                    </a:lnTo>
                    <a:lnTo>
                      <a:pt x="302" y="377"/>
                    </a:lnTo>
                    <a:lnTo>
                      <a:pt x="302" y="375"/>
                    </a:lnTo>
                    <a:lnTo>
                      <a:pt x="304" y="375"/>
                    </a:lnTo>
                    <a:lnTo>
                      <a:pt x="302" y="375"/>
                    </a:lnTo>
                    <a:lnTo>
                      <a:pt x="302" y="377"/>
                    </a:lnTo>
                    <a:lnTo>
                      <a:pt x="302" y="375"/>
                    </a:lnTo>
                    <a:lnTo>
                      <a:pt x="304" y="375"/>
                    </a:lnTo>
                    <a:lnTo>
                      <a:pt x="302" y="375"/>
                    </a:lnTo>
                    <a:lnTo>
                      <a:pt x="304" y="375"/>
                    </a:lnTo>
                    <a:lnTo>
                      <a:pt x="302" y="375"/>
                    </a:lnTo>
                    <a:lnTo>
                      <a:pt x="300" y="375"/>
                    </a:lnTo>
                    <a:lnTo>
                      <a:pt x="302" y="375"/>
                    </a:lnTo>
                    <a:lnTo>
                      <a:pt x="302" y="373"/>
                    </a:lnTo>
                    <a:lnTo>
                      <a:pt x="304" y="373"/>
                    </a:lnTo>
                    <a:lnTo>
                      <a:pt x="305" y="373"/>
                    </a:lnTo>
                    <a:lnTo>
                      <a:pt x="305" y="375"/>
                    </a:lnTo>
                    <a:lnTo>
                      <a:pt x="305" y="373"/>
                    </a:lnTo>
                    <a:lnTo>
                      <a:pt x="305" y="375"/>
                    </a:lnTo>
                    <a:lnTo>
                      <a:pt x="307" y="375"/>
                    </a:lnTo>
                    <a:lnTo>
                      <a:pt x="307" y="373"/>
                    </a:lnTo>
                    <a:lnTo>
                      <a:pt x="305" y="373"/>
                    </a:lnTo>
                    <a:lnTo>
                      <a:pt x="307" y="373"/>
                    </a:lnTo>
                    <a:lnTo>
                      <a:pt x="305" y="373"/>
                    </a:lnTo>
                    <a:lnTo>
                      <a:pt x="304" y="373"/>
                    </a:lnTo>
                    <a:lnTo>
                      <a:pt x="302" y="373"/>
                    </a:lnTo>
                    <a:lnTo>
                      <a:pt x="302" y="375"/>
                    </a:lnTo>
                    <a:lnTo>
                      <a:pt x="300" y="375"/>
                    </a:lnTo>
                    <a:lnTo>
                      <a:pt x="300" y="377"/>
                    </a:lnTo>
                    <a:lnTo>
                      <a:pt x="298" y="375"/>
                    </a:lnTo>
                    <a:lnTo>
                      <a:pt x="300" y="375"/>
                    </a:lnTo>
                    <a:lnTo>
                      <a:pt x="298" y="375"/>
                    </a:lnTo>
                    <a:lnTo>
                      <a:pt x="300" y="375"/>
                    </a:lnTo>
                    <a:lnTo>
                      <a:pt x="300" y="373"/>
                    </a:lnTo>
                    <a:lnTo>
                      <a:pt x="302" y="371"/>
                    </a:lnTo>
                    <a:lnTo>
                      <a:pt x="304" y="371"/>
                    </a:lnTo>
                    <a:lnTo>
                      <a:pt x="305" y="371"/>
                    </a:lnTo>
                    <a:lnTo>
                      <a:pt x="307" y="369"/>
                    </a:lnTo>
                    <a:lnTo>
                      <a:pt x="309" y="369"/>
                    </a:lnTo>
                    <a:lnTo>
                      <a:pt x="311" y="369"/>
                    </a:lnTo>
                    <a:lnTo>
                      <a:pt x="313" y="369"/>
                    </a:lnTo>
                    <a:lnTo>
                      <a:pt x="315" y="369"/>
                    </a:lnTo>
                    <a:lnTo>
                      <a:pt x="315" y="367"/>
                    </a:lnTo>
                    <a:lnTo>
                      <a:pt x="317" y="367"/>
                    </a:lnTo>
                    <a:lnTo>
                      <a:pt x="317" y="365"/>
                    </a:lnTo>
                    <a:lnTo>
                      <a:pt x="319" y="365"/>
                    </a:lnTo>
                    <a:lnTo>
                      <a:pt x="319" y="364"/>
                    </a:lnTo>
                    <a:lnTo>
                      <a:pt x="321" y="364"/>
                    </a:lnTo>
                    <a:lnTo>
                      <a:pt x="319" y="364"/>
                    </a:lnTo>
                    <a:lnTo>
                      <a:pt x="319" y="362"/>
                    </a:lnTo>
                    <a:lnTo>
                      <a:pt x="321" y="362"/>
                    </a:lnTo>
                    <a:lnTo>
                      <a:pt x="323" y="362"/>
                    </a:lnTo>
                    <a:lnTo>
                      <a:pt x="325" y="362"/>
                    </a:lnTo>
                    <a:lnTo>
                      <a:pt x="327" y="360"/>
                    </a:lnTo>
                    <a:lnTo>
                      <a:pt x="327" y="358"/>
                    </a:lnTo>
                    <a:lnTo>
                      <a:pt x="327" y="356"/>
                    </a:lnTo>
                    <a:lnTo>
                      <a:pt x="328" y="358"/>
                    </a:lnTo>
                    <a:lnTo>
                      <a:pt x="327" y="356"/>
                    </a:lnTo>
                    <a:lnTo>
                      <a:pt x="328" y="356"/>
                    </a:lnTo>
                    <a:lnTo>
                      <a:pt x="328" y="354"/>
                    </a:lnTo>
                    <a:lnTo>
                      <a:pt x="328" y="352"/>
                    </a:lnTo>
                    <a:lnTo>
                      <a:pt x="330" y="352"/>
                    </a:lnTo>
                    <a:lnTo>
                      <a:pt x="330" y="350"/>
                    </a:lnTo>
                    <a:lnTo>
                      <a:pt x="330" y="352"/>
                    </a:lnTo>
                    <a:lnTo>
                      <a:pt x="330" y="350"/>
                    </a:lnTo>
                    <a:lnTo>
                      <a:pt x="330" y="348"/>
                    </a:lnTo>
                    <a:lnTo>
                      <a:pt x="330" y="346"/>
                    </a:lnTo>
                    <a:lnTo>
                      <a:pt x="332" y="346"/>
                    </a:lnTo>
                    <a:lnTo>
                      <a:pt x="330" y="346"/>
                    </a:lnTo>
                    <a:lnTo>
                      <a:pt x="330" y="344"/>
                    </a:lnTo>
                    <a:lnTo>
                      <a:pt x="332" y="342"/>
                    </a:lnTo>
                    <a:lnTo>
                      <a:pt x="334" y="340"/>
                    </a:lnTo>
                    <a:lnTo>
                      <a:pt x="334" y="339"/>
                    </a:lnTo>
                    <a:lnTo>
                      <a:pt x="336" y="339"/>
                    </a:lnTo>
                    <a:lnTo>
                      <a:pt x="336" y="337"/>
                    </a:lnTo>
                    <a:lnTo>
                      <a:pt x="338" y="337"/>
                    </a:lnTo>
                    <a:lnTo>
                      <a:pt x="338" y="335"/>
                    </a:lnTo>
                    <a:lnTo>
                      <a:pt x="340" y="335"/>
                    </a:lnTo>
                    <a:lnTo>
                      <a:pt x="346" y="331"/>
                    </a:lnTo>
                    <a:lnTo>
                      <a:pt x="348" y="329"/>
                    </a:lnTo>
                    <a:lnTo>
                      <a:pt x="352" y="327"/>
                    </a:lnTo>
                    <a:lnTo>
                      <a:pt x="353" y="327"/>
                    </a:lnTo>
                    <a:lnTo>
                      <a:pt x="355" y="325"/>
                    </a:lnTo>
                    <a:lnTo>
                      <a:pt x="357" y="323"/>
                    </a:lnTo>
                    <a:lnTo>
                      <a:pt x="357" y="321"/>
                    </a:lnTo>
                    <a:lnTo>
                      <a:pt x="359" y="321"/>
                    </a:lnTo>
                    <a:lnTo>
                      <a:pt x="357" y="321"/>
                    </a:lnTo>
                    <a:lnTo>
                      <a:pt x="359" y="319"/>
                    </a:lnTo>
                    <a:lnTo>
                      <a:pt x="359" y="317"/>
                    </a:lnTo>
                    <a:lnTo>
                      <a:pt x="359" y="315"/>
                    </a:lnTo>
                    <a:lnTo>
                      <a:pt x="361" y="314"/>
                    </a:lnTo>
                    <a:lnTo>
                      <a:pt x="361" y="312"/>
                    </a:lnTo>
                    <a:lnTo>
                      <a:pt x="361" y="310"/>
                    </a:lnTo>
                    <a:lnTo>
                      <a:pt x="361" y="308"/>
                    </a:lnTo>
                    <a:lnTo>
                      <a:pt x="363" y="308"/>
                    </a:lnTo>
                    <a:lnTo>
                      <a:pt x="363" y="306"/>
                    </a:lnTo>
                    <a:lnTo>
                      <a:pt x="363" y="304"/>
                    </a:lnTo>
                    <a:lnTo>
                      <a:pt x="361" y="302"/>
                    </a:lnTo>
                    <a:lnTo>
                      <a:pt x="361" y="300"/>
                    </a:lnTo>
                    <a:lnTo>
                      <a:pt x="361" y="298"/>
                    </a:lnTo>
                    <a:lnTo>
                      <a:pt x="361" y="292"/>
                    </a:lnTo>
                    <a:lnTo>
                      <a:pt x="361" y="290"/>
                    </a:lnTo>
                    <a:lnTo>
                      <a:pt x="359" y="290"/>
                    </a:lnTo>
                    <a:lnTo>
                      <a:pt x="359" y="289"/>
                    </a:lnTo>
                    <a:lnTo>
                      <a:pt x="359" y="287"/>
                    </a:lnTo>
                    <a:lnTo>
                      <a:pt x="357" y="287"/>
                    </a:lnTo>
                    <a:lnTo>
                      <a:pt x="357" y="285"/>
                    </a:lnTo>
                    <a:lnTo>
                      <a:pt x="359" y="285"/>
                    </a:lnTo>
                    <a:lnTo>
                      <a:pt x="357" y="285"/>
                    </a:lnTo>
                    <a:lnTo>
                      <a:pt x="357" y="287"/>
                    </a:lnTo>
                    <a:lnTo>
                      <a:pt x="357" y="285"/>
                    </a:lnTo>
                    <a:lnTo>
                      <a:pt x="355" y="283"/>
                    </a:lnTo>
                    <a:lnTo>
                      <a:pt x="355" y="281"/>
                    </a:lnTo>
                    <a:lnTo>
                      <a:pt x="359" y="275"/>
                    </a:lnTo>
                    <a:lnTo>
                      <a:pt x="361" y="273"/>
                    </a:lnTo>
                    <a:lnTo>
                      <a:pt x="361" y="271"/>
                    </a:lnTo>
                    <a:lnTo>
                      <a:pt x="361" y="269"/>
                    </a:lnTo>
                    <a:lnTo>
                      <a:pt x="361" y="267"/>
                    </a:lnTo>
                    <a:lnTo>
                      <a:pt x="361" y="265"/>
                    </a:lnTo>
                    <a:lnTo>
                      <a:pt x="361" y="264"/>
                    </a:lnTo>
                    <a:lnTo>
                      <a:pt x="363" y="264"/>
                    </a:lnTo>
                    <a:lnTo>
                      <a:pt x="363" y="262"/>
                    </a:lnTo>
                    <a:lnTo>
                      <a:pt x="365" y="262"/>
                    </a:lnTo>
                    <a:lnTo>
                      <a:pt x="365" y="260"/>
                    </a:lnTo>
                    <a:lnTo>
                      <a:pt x="367" y="260"/>
                    </a:lnTo>
                    <a:lnTo>
                      <a:pt x="369" y="260"/>
                    </a:lnTo>
                    <a:lnTo>
                      <a:pt x="371" y="260"/>
                    </a:lnTo>
                    <a:lnTo>
                      <a:pt x="371" y="258"/>
                    </a:lnTo>
                    <a:lnTo>
                      <a:pt x="373" y="258"/>
                    </a:lnTo>
                    <a:lnTo>
                      <a:pt x="375" y="258"/>
                    </a:lnTo>
                    <a:lnTo>
                      <a:pt x="377" y="258"/>
                    </a:lnTo>
                    <a:lnTo>
                      <a:pt x="378" y="258"/>
                    </a:lnTo>
                    <a:lnTo>
                      <a:pt x="380" y="258"/>
                    </a:lnTo>
                    <a:lnTo>
                      <a:pt x="384" y="256"/>
                    </a:lnTo>
                    <a:lnTo>
                      <a:pt x="386" y="256"/>
                    </a:lnTo>
                    <a:lnTo>
                      <a:pt x="388" y="256"/>
                    </a:lnTo>
                    <a:lnTo>
                      <a:pt x="390" y="256"/>
                    </a:lnTo>
                    <a:lnTo>
                      <a:pt x="392" y="256"/>
                    </a:lnTo>
                    <a:lnTo>
                      <a:pt x="394" y="256"/>
                    </a:lnTo>
                    <a:lnTo>
                      <a:pt x="396" y="256"/>
                    </a:lnTo>
                    <a:lnTo>
                      <a:pt x="394" y="256"/>
                    </a:lnTo>
                    <a:lnTo>
                      <a:pt x="396" y="256"/>
                    </a:lnTo>
                    <a:lnTo>
                      <a:pt x="398" y="256"/>
                    </a:lnTo>
                    <a:lnTo>
                      <a:pt x="396" y="256"/>
                    </a:lnTo>
                    <a:lnTo>
                      <a:pt x="396" y="258"/>
                    </a:lnTo>
                    <a:lnTo>
                      <a:pt x="398" y="258"/>
                    </a:lnTo>
                    <a:lnTo>
                      <a:pt x="400" y="258"/>
                    </a:lnTo>
                    <a:lnTo>
                      <a:pt x="398" y="258"/>
                    </a:lnTo>
                    <a:lnTo>
                      <a:pt x="400" y="258"/>
                    </a:lnTo>
                    <a:lnTo>
                      <a:pt x="400" y="260"/>
                    </a:lnTo>
                    <a:lnTo>
                      <a:pt x="400" y="258"/>
                    </a:lnTo>
                    <a:lnTo>
                      <a:pt x="398" y="258"/>
                    </a:lnTo>
                    <a:lnTo>
                      <a:pt x="400" y="258"/>
                    </a:lnTo>
                    <a:lnTo>
                      <a:pt x="398" y="258"/>
                    </a:lnTo>
                    <a:lnTo>
                      <a:pt x="398" y="256"/>
                    </a:lnTo>
                    <a:lnTo>
                      <a:pt x="398" y="258"/>
                    </a:lnTo>
                    <a:lnTo>
                      <a:pt x="396" y="258"/>
                    </a:lnTo>
                    <a:lnTo>
                      <a:pt x="396" y="256"/>
                    </a:lnTo>
                    <a:lnTo>
                      <a:pt x="398" y="256"/>
                    </a:lnTo>
                    <a:lnTo>
                      <a:pt x="396" y="256"/>
                    </a:lnTo>
                    <a:lnTo>
                      <a:pt x="398" y="256"/>
                    </a:lnTo>
                    <a:lnTo>
                      <a:pt x="400" y="256"/>
                    </a:lnTo>
                    <a:lnTo>
                      <a:pt x="401" y="256"/>
                    </a:lnTo>
                    <a:lnTo>
                      <a:pt x="403" y="256"/>
                    </a:lnTo>
                    <a:lnTo>
                      <a:pt x="405" y="254"/>
                    </a:lnTo>
                    <a:lnTo>
                      <a:pt x="407" y="254"/>
                    </a:lnTo>
                    <a:lnTo>
                      <a:pt x="409" y="254"/>
                    </a:lnTo>
                    <a:lnTo>
                      <a:pt x="411" y="254"/>
                    </a:lnTo>
                    <a:lnTo>
                      <a:pt x="411" y="256"/>
                    </a:lnTo>
                    <a:lnTo>
                      <a:pt x="413" y="256"/>
                    </a:lnTo>
                    <a:lnTo>
                      <a:pt x="415" y="256"/>
                    </a:lnTo>
                    <a:lnTo>
                      <a:pt x="417" y="256"/>
                    </a:lnTo>
                    <a:lnTo>
                      <a:pt x="417" y="258"/>
                    </a:lnTo>
                    <a:lnTo>
                      <a:pt x="417" y="260"/>
                    </a:lnTo>
                    <a:lnTo>
                      <a:pt x="417" y="262"/>
                    </a:lnTo>
                    <a:lnTo>
                      <a:pt x="417" y="264"/>
                    </a:lnTo>
                    <a:lnTo>
                      <a:pt x="419" y="264"/>
                    </a:lnTo>
                    <a:lnTo>
                      <a:pt x="417" y="265"/>
                    </a:lnTo>
                    <a:lnTo>
                      <a:pt x="415" y="267"/>
                    </a:lnTo>
                    <a:lnTo>
                      <a:pt x="415" y="269"/>
                    </a:lnTo>
                    <a:lnTo>
                      <a:pt x="417" y="271"/>
                    </a:lnTo>
                    <a:lnTo>
                      <a:pt x="417" y="273"/>
                    </a:lnTo>
                    <a:lnTo>
                      <a:pt x="419" y="273"/>
                    </a:lnTo>
                    <a:lnTo>
                      <a:pt x="419" y="275"/>
                    </a:lnTo>
                    <a:lnTo>
                      <a:pt x="421" y="275"/>
                    </a:lnTo>
                    <a:lnTo>
                      <a:pt x="421" y="277"/>
                    </a:lnTo>
                    <a:lnTo>
                      <a:pt x="423" y="277"/>
                    </a:lnTo>
                    <a:lnTo>
                      <a:pt x="421" y="277"/>
                    </a:lnTo>
                    <a:lnTo>
                      <a:pt x="423" y="277"/>
                    </a:lnTo>
                    <a:lnTo>
                      <a:pt x="423" y="279"/>
                    </a:lnTo>
                    <a:lnTo>
                      <a:pt x="423" y="281"/>
                    </a:lnTo>
                    <a:lnTo>
                      <a:pt x="423" y="279"/>
                    </a:lnTo>
                    <a:lnTo>
                      <a:pt x="423" y="277"/>
                    </a:lnTo>
                    <a:lnTo>
                      <a:pt x="423" y="279"/>
                    </a:lnTo>
                    <a:lnTo>
                      <a:pt x="421" y="279"/>
                    </a:lnTo>
                    <a:lnTo>
                      <a:pt x="421" y="277"/>
                    </a:lnTo>
                    <a:lnTo>
                      <a:pt x="423" y="277"/>
                    </a:lnTo>
                    <a:lnTo>
                      <a:pt x="421" y="277"/>
                    </a:lnTo>
                    <a:lnTo>
                      <a:pt x="421" y="279"/>
                    </a:lnTo>
                    <a:lnTo>
                      <a:pt x="421" y="281"/>
                    </a:lnTo>
                    <a:lnTo>
                      <a:pt x="423" y="281"/>
                    </a:lnTo>
                    <a:lnTo>
                      <a:pt x="425" y="281"/>
                    </a:lnTo>
                    <a:lnTo>
                      <a:pt x="423" y="281"/>
                    </a:lnTo>
                    <a:lnTo>
                      <a:pt x="423" y="283"/>
                    </a:lnTo>
                    <a:lnTo>
                      <a:pt x="425" y="283"/>
                    </a:lnTo>
                    <a:lnTo>
                      <a:pt x="423" y="283"/>
                    </a:lnTo>
                    <a:lnTo>
                      <a:pt x="425" y="283"/>
                    </a:lnTo>
                    <a:lnTo>
                      <a:pt x="426" y="283"/>
                    </a:lnTo>
                    <a:lnTo>
                      <a:pt x="425" y="283"/>
                    </a:lnTo>
                    <a:lnTo>
                      <a:pt x="425" y="281"/>
                    </a:lnTo>
                    <a:lnTo>
                      <a:pt x="425" y="283"/>
                    </a:lnTo>
                    <a:lnTo>
                      <a:pt x="425" y="281"/>
                    </a:lnTo>
                    <a:lnTo>
                      <a:pt x="425" y="283"/>
                    </a:lnTo>
                    <a:lnTo>
                      <a:pt x="426" y="283"/>
                    </a:lnTo>
                    <a:lnTo>
                      <a:pt x="426" y="285"/>
                    </a:lnTo>
                    <a:lnTo>
                      <a:pt x="428" y="285"/>
                    </a:lnTo>
                    <a:lnTo>
                      <a:pt x="428" y="287"/>
                    </a:lnTo>
                    <a:lnTo>
                      <a:pt x="426" y="287"/>
                    </a:lnTo>
                    <a:lnTo>
                      <a:pt x="425" y="287"/>
                    </a:lnTo>
                    <a:lnTo>
                      <a:pt x="425" y="285"/>
                    </a:lnTo>
                    <a:lnTo>
                      <a:pt x="425" y="287"/>
                    </a:lnTo>
                    <a:lnTo>
                      <a:pt x="423" y="287"/>
                    </a:lnTo>
                    <a:lnTo>
                      <a:pt x="423" y="289"/>
                    </a:lnTo>
                    <a:lnTo>
                      <a:pt x="421" y="289"/>
                    </a:lnTo>
                    <a:lnTo>
                      <a:pt x="423" y="289"/>
                    </a:lnTo>
                    <a:lnTo>
                      <a:pt x="421" y="289"/>
                    </a:lnTo>
                    <a:lnTo>
                      <a:pt x="419" y="289"/>
                    </a:lnTo>
                    <a:lnTo>
                      <a:pt x="421" y="289"/>
                    </a:lnTo>
                    <a:lnTo>
                      <a:pt x="421" y="287"/>
                    </a:lnTo>
                    <a:lnTo>
                      <a:pt x="419" y="287"/>
                    </a:lnTo>
                    <a:lnTo>
                      <a:pt x="417" y="287"/>
                    </a:lnTo>
                    <a:lnTo>
                      <a:pt x="419" y="287"/>
                    </a:lnTo>
                    <a:lnTo>
                      <a:pt x="421" y="289"/>
                    </a:lnTo>
                    <a:lnTo>
                      <a:pt x="419" y="289"/>
                    </a:lnTo>
                    <a:lnTo>
                      <a:pt x="421" y="289"/>
                    </a:lnTo>
                    <a:lnTo>
                      <a:pt x="423" y="289"/>
                    </a:lnTo>
                    <a:lnTo>
                      <a:pt x="421" y="289"/>
                    </a:lnTo>
                    <a:lnTo>
                      <a:pt x="423" y="289"/>
                    </a:lnTo>
                    <a:lnTo>
                      <a:pt x="423" y="287"/>
                    </a:lnTo>
                    <a:lnTo>
                      <a:pt x="425" y="287"/>
                    </a:lnTo>
                    <a:lnTo>
                      <a:pt x="425" y="285"/>
                    </a:lnTo>
                    <a:lnTo>
                      <a:pt x="425" y="287"/>
                    </a:lnTo>
                    <a:lnTo>
                      <a:pt x="426" y="287"/>
                    </a:lnTo>
                    <a:lnTo>
                      <a:pt x="428" y="287"/>
                    </a:lnTo>
                    <a:lnTo>
                      <a:pt x="428" y="289"/>
                    </a:lnTo>
                    <a:lnTo>
                      <a:pt x="426" y="289"/>
                    </a:lnTo>
                    <a:lnTo>
                      <a:pt x="426" y="290"/>
                    </a:lnTo>
                    <a:lnTo>
                      <a:pt x="426" y="289"/>
                    </a:lnTo>
                    <a:lnTo>
                      <a:pt x="426" y="290"/>
                    </a:lnTo>
                    <a:lnTo>
                      <a:pt x="426" y="292"/>
                    </a:lnTo>
                    <a:lnTo>
                      <a:pt x="426" y="294"/>
                    </a:lnTo>
                    <a:lnTo>
                      <a:pt x="426" y="292"/>
                    </a:lnTo>
                    <a:lnTo>
                      <a:pt x="426" y="294"/>
                    </a:lnTo>
                    <a:lnTo>
                      <a:pt x="426" y="296"/>
                    </a:lnTo>
                    <a:lnTo>
                      <a:pt x="425" y="296"/>
                    </a:lnTo>
                    <a:lnTo>
                      <a:pt x="426" y="296"/>
                    </a:lnTo>
                    <a:lnTo>
                      <a:pt x="425" y="296"/>
                    </a:lnTo>
                    <a:lnTo>
                      <a:pt x="425" y="298"/>
                    </a:lnTo>
                    <a:lnTo>
                      <a:pt x="423" y="298"/>
                    </a:lnTo>
                    <a:lnTo>
                      <a:pt x="423" y="300"/>
                    </a:lnTo>
                    <a:lnTo>
                      <a:pt x="423" y="302"/>
                    </a:lnTo>
                    <a:lnTo>
                      <a:pt x="425" y="302"/>
                    </a:lnTo>
                    <a:lnTo>
                      <a:pt x="426" y="302"/>
                    </a:lnTo>
                    <a:lnTo>
                      <a:pt x="426" y="304"/>
                    </a:lnTo>
                    <a:lnTo>
                      <a:pt x="426" y="306"/>
                    </a:lnTo>
                    <a:lnTo>
                      <a:pt x="425" y="306"/>
                    </a:lnTo>
                    <a:lnTo>
                      <a:pt x="425" y="308"/>
                    </a:lnTo>
                    <a:lnTo>
                      <a:pt x="425" y="310"/>
                    </a:lnTo>
                    <a:lnTo>
                      <a:pt x="423" y="310"/>
                    </a:lnTo>
                    <a:lnTo>
                      <a:pt x="423" y="312"/>
                    </a:lnTo>
                    <a:lnTo>
                      <a:pt x="421" y="312"/>
                    </a:lnTo>
                    <a:lnTo>
                      <a:pt x="423" y="312"/>
                    </a:lnTo>
                    <a:lnTo>
                      <a:pt x="423" y="314"/>
                    </a:lnTo>
                    <a:lnTo>
                      <a:pt x="421" y="315"/>
                    </a:lnTo>
                    <a:lnTo>
                      <a:pt x="421" y="317"/>
                    </a:lnTo>
                    <a:lnTo>
                      <a:pt x="421" y="319"/>
                    </a:lnTo>
                    <a:lnTo>
                      <a:pt x="421" y="321"/>
                    </a:lnTo>
                    <a:lnTo>
                      <a:pt x="423" y="323"/>
                    </a:lnTo>
                    <a:lnTo>
                      <a:pt x="421" y="323"/>
                    </a:lnTo>
                    <a:lnTo>
                      <a:pt x="421" y="321"/>
                    </a:lnTo>
                    <a:lnTo>
                      <a:pt x="423" y="323"/>
                    </a:lnTo>
                    <a:lnTo>
                      <a:pt x="421" y="323"/>
                    </a:lnTo>
                    <a:lnTo>
                      <a:pt x="423" y="323"/>
                    </a:lnTo>
                    <a:lnTo>
                      <a:pt x="421" y="325"/>
                    </a:lnTo>
                    <a:lnTo>
                      <a:pt x="421" y="327"/>
                    </a:lnTo>
                    <a:lnTo>
                      <a:pt x="419" y="327"/>
                    </a:lnTo>
                    <a:lnTo>
                      <a:pt x="417" y="327"/>
                    </a:lnTo>
                    <a:lnTo>
                      <a:pt x="417" y="325"/>
                    </a:lnTo>
                    <a:lnTo>
                      <a:pt x="417" y="327"/>
                    </a:lnTo>
                    <a:lnTo>
                      <a:pt x="415" y="327"/>
                    </a:lnTo>
                    <a:lnTo>
                      <a:pt x="415" y="329"/>
                    </a:lnTo>
                    <a:lnTo>
                      <a:pt x="417" y="331"/>
                    </a:lnTo>
                    <a:lnTo>
                      <a:pt x="417" y="333"/>
                    </a:lnTo>
                    <a:lnTo>
                      <a:pt x="419" y="333"/>
                    </a:lnTo>
                    <a:lnTo>
                      <a:pt x="421" y="335"/>
                    </a:lnTo>
                    <a:lnTo>
                      <a:pt x="421" y="337"/>
                    </a:lnTo>
                    <a:lnTo>
                      <a:pt x="423" y="337"/>
                    </a:lnTo>
                    <a:lnTo>
                      <a:pt x="425" y="339"/>
                    </a:lnTo>
                    <a:lnTo>
                      <a:pt x="426" y="339"/>
                    </a:lnTo>
                    <a:lnTo>
                      <a:pt x="426" y="340"/>
                    </a:lnTo>
                    <a:lnTo>
                      <a:pt x="426" y="342"/>
                    </a:lnTo>
                    <a:lnTo>
                      <a:pt x="426" y="340"/>
                    </a:lnTo>
                    <a:lnTo>
                      <a:pt x="428" y="340"/>
                    </a:lnTo>
                    <a:lnTo>
                      <a:pt x="428" y="342"/>
                    </a:lnTo>
                    <a:lnTo>
                      <a:pt x="428" y="340"/>
                    </a:lnTo>
                    <a:lnTo>
                      <a:pt x="428" y="342"/>
                    </a:lnTo>
                    <a:lnTo>
                      <a:pt x="428" y="344"/>
                    </a:lnTo>
                    <a:lnTo>
                      <a:pt x="428" y="346"/>
                    </a:lnTo>
                    <a:lnTo>
                      <a:pt x="426" y="346"/>
                    </a:lnTo>
                    <a:lnTo>
                      <a:pt x="428" y="346"/>
                    </a:lnTo>
                    <a:lnTo>
                      <a:pt x="428" y="348"/>
                    </a:lnTo>
                    <a:lnTo>
                      <a:pt x="426" y="348"/>
                    </a:lnTo>
                    <a:lnTo>
                      <a:pt x="428" y="348"/>
                    </a:lnTo>
                    <a:lnTo>
                      <a:pt x="426" y="348"/>
                    </a:lnTo>
                    <a:lnTo>
                      <a:pt x="426" y="350"/>
                    </a:lnTo>
                    <a:lnTo>
                      <a:pt x="426" y="352"/>
                    </a:lnTo>
                    <a:lnTo>
                      <a:pt x="425" y="354"/>
                    </a:lnTo>
                    <a:lnTo>
                      <a:pt x="425" y="352"/>
                    </a:lnTo>
                    <a:lnTo>
                      <a:pt x="425" y="354"/>
                    </a:lnTo>
                    <a:lnTo>
                      <a:pt x="423" y="354"/>
                    </a:lnTo>
                    <a:lnTo>
                      <a:pt x="423" y="352"/>
                    </a:lnTo>
                    <a:lnTo>
                      <a:pt x="421" y="352"/>
                    </a:lnTo>
                    <a:lnTo>
                      <a:pt x="421" y="350"/>
                    </a:lnTo>
                    <a:lnTo>
                      <a:pt x="421" y="352"/>
                    </a:lnTo>
                    <a:lnTo>
                      <a:pt x="423" y="352"/>
                    </a:lnTo>
                    <a:lnTo>
                      <a:pt x="423" y="354"/>
                    </a:lnTo>
                    <a:lnTo>
                      <a:pt x="425" y="354"/>
                    </a:lnTo>
                    <a:lnTo>
                      <a:pt x="425" y="352"/>
                    </a:lnTo>
                    <a:lnTo>
                      <a:pt x="425" y="354"/>
                    </a:lnTo>
                    <a:lnTo>
                      <a:pt x="425" y="352"/>
                    </a:lnTo>
                    <a:lnTo>
                      <a:pt x="425" y="354"/>
                    </a:lnTo>
                    <a:lnTo>
                      <a:pt x="425" y="356"/>
                    </a:lnTo>
                    <a:lnTo>
                      <a:pt x="423" y="356"/>
                    </a:lnTo>
                    <a:lnTo>
                      <a:pt x="425" y="356"/>
                    </a:lnTo>
                    <a:lnTo>
                      <a:pt x="423" y="356"/>
                    </a:lnTo>
                    <a:lnTo>
                      <a:pt x="425" y="356"/>
                    </a:lnTo>
                    <a:lnTo>
                      <a:pt x="423" y="356"/>
                    </a:lnTo>
                    <a:lnTo>
                      <a:pt x="423" y="358"/>
                    </a:lnTo>
                    <a:lnTo>
                      <a:pt x="421" y="358"/>
                    </a:lnTo>
                    <a:lnTo>
                      <a:pt x="421" y="360"/>
                    </a:lnTo>
                    <a:lnTo>
                      <a:pt x="423" y="360"/>
                    </a:lnTo>
                    <a:lnTo>
                      <a:pt x="421" y="360"/>
                    </a:lnTo>
                    <a:lnTo>
                      <a:pt x="421" y="362"/>
                    </a:lnTo>
                    <a:lnTo>
                      <a:pt x="419" y="362"/>
                    </a:lnTo>
                    <a:lnTo>
                      <a:pt x="421" y="362"/>
                    </a:lnTo>
                    <a:lnTo>
                      <a:pt x="421" y="364"/>
                    </a:lnTo>
                    <a:lnTo>
                      <a:pt x="419" y="364"/>
                    </a:lnTo>
                    <a:lnTo>
                      <a:pt x="419" y="362"/>
                    </a:lnTo>
                    <a:lnTo>
                      <a:pt x="419" y="364"/>
                    </a:lnTo>
                    <a:lnTo>
                      <a:pt x="419" y="365"/>
                    </a:lnTo>
                    <a:lnTo>
                      <a:pt x="421" y="365"/>
                    </a:lnTo>
                    <a:lnTo>
                      <a:pt x="423" y="365"/>
                    </a:lnTo>
                    <a:lnTo>
                      <a:pt x="421" y="365"/>
                    </a:lnTo>
                    <a:lnTo>
                      <a:pt x="423" y="365"/>
                    </a:lnTo>
                    <a:lnTo>
                      <a:pt x="423" y="367"/>
                    </a:lnTo>
                    <a:lnTo>
                      <a:pt x="423" y="365"/>
                    </a:lnTo>
                    <a:lnTo>
                      <a:pt x="423" y="367"/>
                    </a:lnTo>
                    <a:lnTo>
                      <a:pt x="423" y="365"/>
                    </a:lnTo>
                    <a:lnTo>
                      <a:pt x="421" y="365"/>
                    </a:lnTo>
                    <a:lnTo>
                      <a:pt x="421" y="364"/>
                    </a:lnTo>
                    <a:lnTo>
                      <a:pt x="421" y="362"/>
                    </a:lnTo>
                    <a:lnTo>
                      <a:pt x="421" y="364"/>
                    </a:lnTo>
                    <a:lnTo>
                      <a:pt x="421" y="362"/>
                    </a:lnTo>
                    <a:lnTo>
                      <a:pt x="423" y="360"/>
                    </a:lnTo>
                    <a:lnTo>
                      <a:pt x="421" y="362"/>
                    </a:lnTo>
                    <a:lnTo>
                      <a:pt x="423" y="362"/>
                    </a:lnTo>
                    <a:lnTo>
                      <a:pt x="423" y="360"/>
                    </a:lnTo>
                    <a:lnTo>
                      <a:pt x="423" y="362"/>
                    </a:lnTo>
                    <a:lnTo>
                      <a:pt x="423" y="364"/>
                    </a:lnTo>
                    <a:lnTo>
                      <a:pt x="421" y="364"/>
                    </a:lnTo>
                    <a:lnTo>
                      <a:pt x="423" y="364"/>
                    </a:lnTo>
                    <a:lnTo>
                      <a:pt x="425" y="364"/>
                    </a:lnTo>
                    <a:lnTo>
                      <a:pt x="426" y="364"/>
                    </a:lnTo>
                    <a:lnTo>
                      <a:pt x="425" y="364"/>
                    </a:lnTo>
                    <a:lnTo>
                      <a:pt x="426" y="365"/>
                    </a:lnTo>
                    <a:lnTo>
                      <a:pt x="426" y="367"/>
                    </a:lnTo>
                    <a:lnTo>
                      <a:pt x="428" y="367"/>
                    </a:lnTo>
                    <a:lnTo>
                      <a:pt x="426" y="367"/>
                    </a:lnTo>
                    <a:lnTo>
                      <a:pt x="426" y="369"/>
                    </a:lnTo>
                    <a:lnTo>
                      <a:pt x="425" y="369"/>
                    </a:lnTo>
                    <a:lnTo>
                      <a:pt x="426" y="369"/>
                    </a:lnTo>
                    <a:lnTo>
                      <a:pt x="428" y="369"/>
                    </a:lnTo>
                    <a:lnTo>
                      <a:pt x="428" y="371"/>
                    </a:lnTo>
                    <a:lnTo>
                      <a:pt x="428" y="369"/>
                    </a:lnTo>
                    <a:lnTo>
                      <a:pt x="428" y="371"/>
                    </a:lnTo>
                    <a:lnTo>
                      <a:pt x="428" y="369"/>
                    </a:lnTo>
                    <a:lnTo>
                      <a:pt x="426" y="369"/>
                    </a:lnTo>
                    <a:lnTo>
                      <a:pt x="426" y="367"/>
                    </a:lnTo>
                    <a:lnTo>
                      <a:pt x="428" y="367"/>
                    </a:lnTo>
                    <a:lnTo>
                      <a:pt x="426" y="365"/>
                    </a:lnTo>
                    <a:lnTo>
                      <a:pt x="428" y="367"/>
                    </a:lnTo>
                    <a:lnTo>
                      <a:pt x="428" y="365"/>
                    </a:lnTo>
                    <a:lnTo>
                      <a:pt x="426" y="365"/>
                    </a:lnTo>
                    <a:lnTo>
                      <a:pt x="425" y="364"/>
                    </a:lnTo>
                    <a:lnTo>
                      <a:pt x="426" y="364"/>
                    </a:lnTo>
                    <a:lnTo>
                      <a:pt x="428" y="364"/>
                    </a:lnTo>
                    <a:lnTo>
                      <a:pt x="426" y="364"/>
                    </a:lnTo>
                    <a:lnTo>
                      <a:pt x="425" y="364"/>
                    </a:lnTo>
                    <a:lnTo>
                      <a:pt x="423" y="364"/>
                    </a:lnTo>
                    <a:lnTo>
                      <a:pt x="423" y="362"/>
                    </a:lnTo>
                    <a:lnTo>
                      <a:pt x="423" y="360"/>
                    </a:lnTo>
                    <a:lnTo>
                      <a:pt x="423" y="358"/>
                    </a:lnTo>
                    <a:lnTo>
                      <a:pt x="423" y="360"/>
                    </a:lnTo>
                    <a:lnTo>
                      <a:pt x="425" y="360"/>
                    </a:lnTo>
                    <a:lnTo>
                      <a:pt x="425" y="358"/>
                    </a:lnTo>
                    <a:lnTo>
                      <a:pt x="426" y="358"/>
                    </a:lnTo>
                    <a:lnTo>
                      <a:pt x="425" y="356"/>
                    </a:lnTo>
                    <a:lnTo>
                      <a:pt x="425" y="358"/>
                    </a:lnTo>
                    <a:lnTo>
                      <a:pt x="425" y="356"/>
                    </a:lnTo>
                    <a:lnTo>
                      <a:pt x="425" y="354"/>
                    </a:lnTo>
                    <a:lnTo>
                      <a:pt x="426" y="354"/>
                    </a:lnTo>
                    <a:lnTo>
                      <a:pt x="426" y="356"/>
                    </a:lnTo>
                    <a:lnTo>
                      <a:pt x="425" y="356"/>
                    </a:lnTo>
                    <a:lnTo>
                      <a:pt x="426" y="356"/>
                    </a:lnTo>
                    <a:lnTo>
                      <a:pt x="426" y="358"/>
                    </a:lnTo>
                    <a:lnTo>
                      <a:pt x="426" y="356"/>
                    </a:lnTo>
                    <a:lnTo>
                      <a:pt x="426" y="358"/>
                    </a:lnTo>
                    <a:lnTo>
                      <a:pt x="428" y="358"/>
                    </a:lnTo>
                    <a:lnTo>
                      <a:pt x="426" y="358"/>
                    </a:lnTo>
                    <a:lnTo>
                      <a:pt x="426" y="356"/>
                    </a:lnTo>
                    <a:lnTo>
                      <a:pt x="426" y="354"/>
                    </a:lnTo>
                    <a:lnTo>
                      <a:pt x="426" y="356"/>
                    </a:lnTo>
                    <a:lnTo>
                      <a:pt x="426" y="354"/>
                    </a:lnTo>
                    <a:lnTo>
                      <a:pt x="426" y="352"/>
                    </a:lnTo>
                    <a:lnTo>
                      <a:pt x="428" y="352"/>
                    </a:lnTo>
                    <a:lnTo>
                      <a:pt x="428" y="354"/>
                    </a:lnTo>
                    <a:lnTo>
                      <a:pt x="430" y="354"/>
                    </a:lnTo>
                    <a:lnTo>
                      <a:pt x="430" y="356"/>
                    </a:lnTo>
                    <a:lnTo>
                      <a:pt x="430" y="358"/>
                    </a:lnTo>
                    <a:lnTo>
                      <a:pt x="430" y="360"/>
                    </a:lnTo>
                    <a:lnTo>
                      <a:pt x="428" y="360"/>
                    </a:lnTo>
                    <a:lnTo>
                      <a:pt x="428" y="362"/>
                    </a:lnTo>
                    <a:lnTo>
                      <a:pt x="430" y="362"/>
                    </a:lnTo>
                    <a:lnTo>
                      <a:pt x="428" y="364"/>
                    </a:lnTo>
                    <a:lnTo>
                      <a:pt x="428" y="362"/>
                    </a:lnTo>
                    <a:lnTo>
                      <a:pt x="428" y="364"/>
                    </a:lnTo>
                    <a:lnTo>
                      <a:pt x="428" y="362"/>
                    </a:lnTo>
                    <a:lnTo>
                      <a:pt x="426" y="362"/>
                    </a:lnTo>
                    <a:lnTo>
                      <a:pt x="426" y="360"/>
                    </a:lnTo>
                    <a:lnTo>
                      <a:pt x="426" y="358"/>
                    </a:lnTo>
                    <a:lnTo>
                      <a:pt x="425" y="358"/>
                    </a:lnTo>
                    <a:lnTo>
                      <a:pt x="426" y="358"/>
                    </a:lnTo>
                    <a:lnTo>
                      <a:pt x="426" y="360"/>
                    </a:lnTo>
                    <a:lnTo>
                      <a:pt x="426" y="362"/>
                    </a:lnTo>
                    <a:lnTo>
                      <a:pt x="428" y="362"/>
                    </a:lnTo>
                    <a:lnTo>
                      <a:pt x="428" y="364"/>
                    </a:lnTo>
                    <a:lnTo>
                      <a:pt x="428" y="362"/>
                    </a:lnTo>
                    <a:lnTo>
                      <a:pt x="428" y="364"/>
                    </a:lnTo>
                    <a:lnTo>
                      <a:pt x="428" y="365"/>
                    </a:lnTo>
                    <a:lnTo>
                      <a:pt x="428" y="364"/>
                    </a:lnTo>
                    <a:lnTo>
                      <a:pt x="430" y="364"/>
                    </a:lnTo>
                    <a:lnTo>
                      <a:pt x="428" y="364"/>
                    </a:lnTo>
                    <a:lnTo>
                      <a:pt x="430" y="364"/>
                    </a:lnTo>
                    <a:lnTo>
                      <a:pt x="430" y="365"/>
                    </a:lnTo>
                    <a:lnTo>
                      <a:pt x="430" y="367"/>
                    </a:lnTo>
                    <a:lnTo>
                      <a:pt x="432" y="367"/>
                    </a:lnTo>
                    <a:lnTo>
                      <a:pt x="432" y="369"/>
                    </a:lnTo>
                    <a:lnTo>
                      <a:pt x="432" y="371"/>
                    </a:lnTo>
                    <a:lnTo>
                      <a:pt x="430" y="371"/>
                    </a:lnTo>
                    <a:lnTo>
                      <a:pt x="432" y="371"/>
                    </a:lnTo>
                    <a:lnTo>
                      <a:pt x="432" y="373"/>
                    </a:lnTo>
                    <a:lnTo>
                      <a:pt x="432" y="375"/>
                    </a:lnTo>
                    <a:lnTo>
                      <a:pt x="432" y="377"/>
                    </a:lnTo>
                    <a:lnTo>
                      <a:pt x="434" y="379"/>
                    </a:lnTo>
                    <a:lnTo>
                      <a:pt x="434" y="381"/>
                    </a:lnTo>
                    <a:lnTo>
                      <a:pt x="432" y="383"/>
                    </a:lnTo>
                    <a:lnTo>
                      <a:pt x="430" y="383"/>
                    </a:lnTo>
                    <a:lnTo>
                      <a:pt x="428" y="383"/>
                    </a:lnTo>
                    <a:lnTo>
                      <a:pt x="428" y="385"/>
                    </a:lnTo>
                    <a:lnTo>
                      <a:pt x="428" y="383"/>
                    </a:lnTo>
                    <a:lnTo>
                      <a:pt x="428" y="385"/>
                    </a:lnTo>
                    <a:lnTo>
                      <a:pt x="428" y="383"/>
                    </a:lnTo>
                    <a:lnTo>
                      <a:pt x="428" y="385"/>
                    </a:lnTo>
                    <a:lnTo>
                      <a:pt x="426" y="387"/>
                    </a:lnTo>
                    <a:lnTo>
                      <a:pt x="425" y="387"/>
                    </a:lnTo>
                    <a:lnTo>
                      <a:pt x="426" y="387"/>
                    </a:lnTo>
                    <a:lnTo>
                      <a:pt x="426" y="385"/>
                    </a:lnTo>
                    <a:lnTo>
                      <a:pt x="426" y="387"/>
                    </a:lnTo>
                    <a:lnTo>
                      <a:pt x="425" y="387"/>
                    </a:lnTo>
                    <a:lnTo>
                      <a:pt x="425" y="389"/>
                    </a:lnTo>
                    <a:lnTo>
                      <a:pt x="423" y="389"/>
                    </a:lnTo>
                    <a:lnTo>
                      <a:pt x="423" y="390"/>
                    </a:lnTo>
                    <a:lnTo>
                      <a:pt x="421" y="390"/>
                    </a:lnTo>
                    <a:lnTo>
                      <a:pt x="423" y="390"/>
                    </a:lnTo>
                    <a:lnTo>
                      <a:pt x="423" y="392"/>
                    </a:lnTo>
                    <a:lnTo>
                      <a:pt x="423" y="390"/>
                    </a:lnTo>
                    <a:lnTo>
                      <a:pt x="423" y="392"/>
                    </a:lnTo>
                    <a:lnTo>
                      <a:pt x="421" y="392"/>
                    </a:lnTo>
                    <a:lnTo>
                      <a:pt x="423" y="392"/>
                    </a:lnTo>
                    <a:lnTo>
                      <a:pt x="423" y="394"/>
                    </a:lnTo>
                    <a:lnTo>
                      <a:pt x="423" y="396"/>
                    </a:lnTo>
                    <a:lnTo>
                      <a:pt x="423" y="398"/>
                    </a:lnTo>
                    <a:lnTo>
                      <a:pt x="423" y="400"/>
                    </a:lnTo>
                    <a:lnTo>
                      <a:pt x="423" y="402"/>
                    </a:lnTo>
                    <a:lnTo>
                      <a:pt x="423" y="404"/>
                    </a:lnTo>
                    <a:lnTo>
                      <a:pt x="425" y="404"/>
                    </a:lnTo>
                    <a:lnTo>
                      <a:pt x="425" y="406"/>
                    </a:lnTo>
                    <a:lnTo>
                      <a:pt x="425" y="404"/>
                    </a:lnTo>
                    <a:lnTo>
                      <a:pt x="425" y="402"/>
                    </a:lnTo>
                    <a:lnTo>
                      <a:pt x="423" y="402"/>
                    </a:lnTo>
                    <a:lnTo>
                      <a:pt x="425" y="402"/>
                    </a:lnTo>
                    <a:lnTo>
                      <a:pt x="425" y="404"/>
                    </a:lnTo>
                    <a:lnTo>
                      <a:pt x="426" y="406"/>
                    </a:lnTo>
                    <a:lnTo>
                      <a:pt x="426" y="408"/>
                    </a:lnTo>
                    <a:lnTo>
                      <a:pt x="425" y="406"/>
                    </a:lnTo>
                    <a:lnTo>
                      <a:pt x="426" y="406"/>
                    </a:lnTo>
                    <a:lnTo>
                      <a:pt x="426" y="408"/>
                    </a:lnTo>
                    <a:lnTo>
                      <a:pt x="426" y="406"/>
                    </a:lnTo>
                    <a:lnTo>
                      <a:pt x="426" y="408"/>
                    </a:lnTo>
                    <a:lnTo>
                      <a:pt x="426" y="410"/>
                    </a:lnTo>
                    <a:lnTo>
                      <a:pt x="426" y="412"/>
                    </a:lnTo>
                    <a:lnTo>
                      <a:pt x="426" y="414"/>
                    </a:lnTo>
                    <a:lnTo>
                      <a:pt x="426" y="415"/>
                    </a:lnTo>
                    <a:lnTo>
                      <a:pt x="426" y="417"/>
                    </a:lnTo>
                    <a:lnTo>
                      <a:pt x="425" y="417"/>
                    </a:lnTo>
                    <a:lnTo>
                      <a:pt x="423" y="417"/>
                    </a:lnTo>
                    <a:lnTo>
                      <a:pt x="423" y="419"/>
                    </a:lnTo>
                    <a:lnTo>
                      <a:pt x="423" y="421"/>
                    </a:lnTo>
                    <a:lnTo>
                      <a:pt x="423" y="423"/>
                    </a:lnTo>
                    <a:lnTo>
                      <a:pt x="423" y="425"/>
                    </a:lnTo>
                    <a:lnTo>
                      <a:pt x="421" y="425"/>
                    </a:lnTo>
                    <a:lnTo>
                      <a:pt x="423" y="427"/>
                    </a:lnTo>
                    <a:lnTo>
                      <a:pt x="421" y="425"/>
                    </a:lnTo>
                    <a:lnTo>
                      <a:pt x="423" y="425"/>
                    </a:lnTo>
                    <a:lnTo>
                      <a:pt x="423" y="423"/>
                    </a:lnTo>
                    <a:lnTo>
                      <a:pt x="425" y="425"/>
                    </a:lnTo>
                    <a:lnTo>
                      <a:pt x="425" y="427"/>
                    </a:lnTo>
                    <a:lnTo>
                      <a:pt x="426" y="429"/>
                    </a:lnTo>
                    <a:lnTo>
                      <a:pt x="426" y="427"/>
                    </a:lnTo>
                    <a:lnTo>
                      <a:pt x="426" y="429"/>
                    </a:lnTo>
                    <a:lnTo>
                      <a:pt x="426" y="431"/>
                    </a:lnTo>
                    <a:lnTo>
                      <a:pt x="426" y="429"/>
                    </a:lnTo>
                    <a:lnTo>
                      <a:pt x="426" y="431"/>
                    </a:lnTo>
                    <a:lnTo>
                      <a:pt x="426" y="433"/>
                    </a:lnTo>
                    <a:lnTo>
                      <a:pt x="426" y="435"/>
                    </a:lnTo>
                    <a:lnTo>
                      <a:pt x="426" y="437"/>
                    </a:lnTo>
                    <a:lnTo>
                      <a:pt x="428" y="437"/>
                    </a:lnTo>
                    <a:lnTo>
                      <a:pt x="426" y="438"/>
                    </a:lnTo>
                    <a:lnTo>
                      <a:pt x="426" y="440"/>
                    </a:lnTo>
                    <a:lnTo>
                      <a:pt x="426" y="442"/>
                    </a:lnTo>
                    <a:lnTo>
                      <a:pt x="428" y="442"/>
                    </a:lnTo>
                    <a:lnTo>
                      <a:pt x="428" y="444"/>
                    </a:lnTo>
                    <a:lnTo>
                      <a:pt x="426" y="446"/>
                    </a:lnTo>
                    <a:lnTo>
                      <a:pt x="425" y="446"/>
                    </a:lnTo>
                    <a:lnTo>
                      <a:pt x="425" y="448"/>
                    </a:lnTo>
                    <a:lnTo>
                      <a:pt x="423" y="448"/>
                    </a:lnTo>
                    <a:lnTo>
                      <a:pt x="425" y="448"/>
                    </a:lnTo>
                    <a:lnTo>
                      <a:pt x="425" y="450"/>
                    </a:lnTo>
                    <a:lnTo>
                      <a:pt x="425" y="452"/>
                    </a:lnTo>
                    <a:lnTo>
                      <a:pt x="423" y="452"/>
                    </a:lnTo>
                    <a:lnTo>
                      <a:pt x="423" y="454"/>
                    </a:lnTo>
                    <a:lnTo>
                      <a:pt x="425" y="452"/>
                    </a:lnTo>
                    <a:lnTo>
                      <a:pt x="425" y="454"/>
                    </a:lnTo>
                    <a:lnTo>
                      <a:pt x="423" y="454"/>
                    </a:lnTo>
                    <a:lnTo>
                      <a:pt x="423" y="456"/>
                    </a:lnTo>
                    <a:lnTo>
                      <a:pt x="421" y="456"/>
                    </a:lnTo>
                    <a:lnTo>
                      <a:pt x="423" y="456"/>
                    </a:lnTo>
                    <a:lnTo>
                      <a:pt x="423" y="458"/>
                    </a:lnTo>
                    <a:lnTo>
                      <a:pt x="425" y="458"/>
                    </a:lnTo>
                    <a:lnTo>
                      <a:pt x="425" y="460"/>
                    </a:lnTo>
                    <a:lnTo>
                      <a:pt x="423" y="460"/>
                    </a:lnTo>
                    <a:lnTo>
                      <a:pt x="423" y="462"/>
                    </a:lnTo>
                    <a:lnTo>
                      <a:pt x="423" y="463"/>
                    </a:lnTo>
                    <a:lnTo>
                      <a:pt x="421" y="463"/>
                    </a:lnTo>
                    <a:lnTo>
                      <a:pt x="421" y="462"/>
                    </a:lnTo>
                    <a:lnTo>
                      <a:pt x="421" y="463"/>
                    </a:lnTo>
                    <a:lnTo>
                      <a:pt x="419" y="463"/>
                    </a:lnTo>
                    <a:lnTo>
                      <a:pt x="421" y="463"/>
                    </a:lnTo>
                    <a:lnTo>
                      <a:pt x="419" y="463"/>
                    </a:lnTo>
                    <a:lnTo>
                      <a:pt x="421" y="463"/>
                    </a:lnTo>
                    <a:lnTo>
                      <a:pt x="419" y="463"/>
                    </a:lnTo>
                    <a:lnTo>
                      <a:pt x="419" y="465"/>
                    </a:lnTo>
                    <a:lnTo>
                      <a:pt x="417" y="465"/>
                    </a:lnTo>
                    <a:lnTo>
                      <a:pt x="417" y="467"/>
                    </a:lnTo>
                    <a:lnTo>
                      <a:pt x="417" y="469"/>
                    </a:lnTo>
                    <a:lnTo>
                      <a:pt x="417" y="471"/>
                    </a:lnTo>
                    <a:lnTo>
                      <a:pt x="417" y="473"/>
                    </a:lnTo>
                    <a:lnTo>
                      <a:pt x="415" y="473"/>
                    </a:lnTo>
                    <a:lnTo>
                      <a:pt x="413" y="473"/>
                    </a:lnTo>
                    <a:lnTo>
                      <a:pt x="413" y="471"/>
                    </a:lnTo>
                    <a:lnTo>
                      <a:pt x="413" y="473"/>
                    </a:lnTo>
                    <a:lnTo>
                      <a:pt x="413" y="475"/>
                    </a:lnTo>
                    <a:lnTo>
                      <a:pt x="413" y="473"/>
                    </a:lnTo>
                    <a:lnTo>
                      <a:pt x="413" y="475"/>
                    </a:lnTo>
                    <a:lnTo>
                      <a:pt x="413" y="477"/>
                    </a:lnTo>
                    <a:lnTo>
                      <a:pt x="411" y="477"/>
                    </a:lnTo>
                    <a:lnTo>
                      <a:pt x="409" y="477"/>
                    </a:lnTo>
                    <a:lnTo>
                      <a:pt x="409" y="479"/>
                    </a:lnTo>
                    <a:lnTo>
                      <a:pt x="409" y="481"/>
                    </a:lnTo>
                    <a:lnTo>
                      <a:pt x="409" y="483"/>
                    </a:lnTo>
                    <a:lnTo>
                      <a:pt x="409" y="481"/>
                    </a:lnTo>
                    <a:lnTo>
                      <a:pt x="411" y="481"/>
                    </a:lnTo>
                    <a:lnTo>
                      <a:pt x="413" y="481"/>
                    </a:lnTo>
                    <a:lnTo>
                      <a:pt x="411" y="481"/>
                    </a:lnTo>
                    <a:lnTo>
                      <a:pt x="413" y="481"/>
                    </a:lnTo>
                    <a:lnTo>
                      <a:pt x="411" y="481"/>
                    </a:lnTo>
                    <a:lnTo>
                      <a:pt x="413" y="481"/>
                    </a:lnTo>
                    <a:lnTo>
                      <a:pt x="413" y="483"/>
                    </a:lnTo>
                    <a:lnTo>
                      <a:pt x="413" y="485"/>
                    </a:lnTo>
                    <a:lnTo>
                      <a:pt x="413" y="487"/>
                    </a:lnTo>
                    <a:lnTo>
                      <a:pt x="413" y="488"/>
                    </a:lnTo>
                    <a:lnTo>
                      <a:pt x="413" y="490"/>
                    </a:lnTo>
                    <a:lnTo>
                      <a:pt x="411" y="490"/>
                    </a:lnTo>
                    <a:lnTo>
                      <a:pt x="411" y="492"/>
                    </a:lnTo>
                    <a:lnTo>
                      <a:pt x="409" y="492"/>
                    </a:lnTo>
                    <a:lnTo>
                      <a:pt x="409" y="494"/>
                    </a:lnTo>
                    <a:lnTo>
                      <a:pt x="409" y="492"/>
                    </a:lnTo>
                    <a:lnTo>
                      <a:pt x="409" y="494"/>
                    </a:lnTo>
                    <a:lnTo>
                      <a:pt x="409" y="496"/>
                    </a:lnTo>
                    <a:lnTo>
                      <a:pt x="409" y="494"/>
                    </a:lnTo>
                    <a:lnTo>
                      <a:pt x="407" y="496"/>
                    </a:lnTo>
                    <a:lnTo>
                      <a:pt x="407" y="498"/>
                    </a:lnTo>
                    <a:lnTo>
                      <a:pt x="407" y="500"/>
                    </a:lnTo>
                    <a:lnTo>
                      <a:pt x="405" y="500"/>
                    </a:lnTo>
                    <a:lnTo>
                      <a:pt x="405" y="502"/>
                    </a:lnTo>
                    <a:lnTo>
                      <a:pt x="405" y="504"/>
                    </a:lnTo>
                    <a:lnTo>
                      <a:pt x="403" y="504"/>
                    </a:lnTo>
                    <a:lnTo>
                      <a:pt x="405" y="502"/>
                    </a:lnTo>
                    <a:lnTo>
                      <a:pt x="403" y="504"/>
                    </a:lnTo>
                    <a:lnTo>
                      <a:pt x="405" y="504"/>
                    </a:lnTo>
                    <a:lnTo>
                      <a:pt x="403" y="504"/>
                    </a:lnTo>
                    <a:lnTo>
                      <a:pt x="403" y="506"/>
                    </a:lnTo>
                    <a:lnTo>
                      <a:pt x="401" y="506"/>
                    </a:lnTo>
                    <a:lnTo>
                      <a:pt x="400" y="506"/>
                    </a:lnTo>
                    <a:lnTo>
                      <a:pt x="401" y="506"/>
                    </a:lnTo>
                    <a:lnTo>
                      <a:pt x="400" y="504"/>
                    </a:lnTo>
                    <a:lnTo>
                      <a:pt x="400" y="506"/>
                    </a:lnTo>
                    <a:lnTo>
                      <a:pt x="398" y="506"/>
                    </a:lnTo>
                    <a:lnTo>
                      <a:pt x="400" y="506"/>
                    </a:lnTo>
                    <a:lnTo>
                      <a:pt x="400" y="504"/>
                    </a:lnTo>
                    <a:lnTo>
                      <a:pt x="401" y="506"/>
                    </a:lnTo>
                    <a:lnTo>
                      <a:pt x="400" y="506"/>
                    </a:lnTo>
                    <a:lnTo>
                      <a:pt x="401" y="508"/>
                    </a:lnTo>
                    <a:lnTo>
                      <a:pt x="401" y="506"/>
                    </a:lnTo>
                    <a:lnTo>
                      <a:pt x="401" y="508"/>
                    </a:lnTo>
                    <a:lnTo>
                      <a:pt x="401" y="506"/>
                    </a:lnTo>
                    <a:lnTo>
                      <a:pt x="403" y="506"/>
                    </a:lnTo>
                    <a:lnTo>
                      <a:pt x="405" y="506"/>
                    </a:lnTo>
                    <a:lnTo>
                      <a:pt x="405" y="508"/>
                    </a:lnTo>
                    <a:lnTo>
                      <a:pt x="407" y="508"/>
                    </a:lnTo>
                    <a:lnTo>
                      <a:pt x="405" y="508"/>
                    </a:lnTo>
                    <a:lnTo>
                      <a:pt x="407" y="508"/>
                    </a:lnTo>
                    <a:lnTo>
                      <a:pt x="405" y="508"/>
                    </a:lnTo>
                    <a:lnTo>
                      <a:pt x="407" y="508"/>
                    </a:lnTo>
                    <a:lnTo>
                      <a:pt x="405" y="508"/>
                    </a:lnTo>
                    <a:lnTo>
                      <a:pt x="405" y="510"/>
                    </a:lnTo>
                    <a:lnTo>
                      <a:pt x="405" y="508"/>
                    </a:lnTo>
                    <a:lnTo>
                      <a:pt x="405" y="510"/>
                    </a:lnTo>
                    <a:lnTo>
                      <a:pt x="405" y="512"/>
                    </a:lnTo>
                    <a:lnTo>
                      <a:pt x="405" y="510"/>
                    </a:lnTo>
                    <a:lnTo>
                      <a:pt x="405" y="512"/>
                    </a:lnTo>
                    <a:lnTo>
                      <a:pt x="405" y="513"/>
                    </a:lnTo>
                    <a:lnTo>
                      <a:pt x="405" y="515"/>
                    </a:lnTo>
                    <a:lnTo>
                      <a:pt x="405" y="517"/>
                    </a:lnTo>
                    <a:lnTo>
                      <a:pt x="405" y="519"/>
                    </a:lnTo>
                    <a:lnTo>
                      <a:pt x="405" y="521"/>
                    </a:lnTo>
                    <a:lnTo>
                      <a:pt x="405" y="523"/>
                    </a:lnTo>
                    <a:lnTo>
                      <a:pt x="405" y="525"/>
                    </a:lnTo>
                    <a:lnTo>
                      <a:pt x="405" y="523"/>
                    </a:lnTo>
                    <a:lnTo>
                      <a:pt x="405" y="525"/>
                    </a:lnTo>
                    <a:lnTo>
                      <a:pt x="405" y="527"/>
                    </a:lnTo>
                    <a:lnTo>
                      <a:pt x="405" y="525"/>
                    </a:lnTo>
                    <a:lnTo>
                      <a:pt x="405" y="527"/>
                    </a:lnTo>
                    <a:lnTo>
                      <a:pt x="405" y="529"/>
                    </a:lnTo>
                    <a:lnTo>
                      <a:pt x="405" y="527"/>
                    </a:lnTo>
                    <a:lnTo>
                      <a:pt x="405" y="529"/>
                    </a:lnTo>
                    <a:lnTo>
                      <a:pt x="405" y="531"/>
                    </a:lnTo>
                    <a:lnTo>
                      <a:pt x="405" y="533"/>
                    </a:lnTo>
                    <a:lnTo>
                      <a:pt x="405" y="535"/>
                    </a:lnTo>
                    <a:lnTo>
                      <a:pt x="403" y="535"/>
                    </a:lnTo>
                    <a:lnTo>
                      <a:pt x="403" y="537"/>
                    </a:lnTo>
                    <a:lnTo>
                      <a:pt x="405" y="537"/>
                    </a:lnTo>
                    <a:lnTo>
                      <a:pt x="403" y="537"/>
                    </a:lnTo>
                    <a:lnTo>
                      <a:pt x="403" y="538"/>
                    </a:lnTo>
                    <a:lnTo>
                      <a:pt x="403" y="537"/>
                    </a:lnTo>
                    <a:lnTo>
                      <a:pt x="405" y="537"/>
                    </a:lnTo>
                    <a:lnTo>
                      <a:pt x="403" y="537"/>
                    </a:lnTo>
                    <a:lnTo>
                      <a:pt x="403" y="535"/>
                    </a:lnTo>
                    <a:lnTo>
                      <a:pt x="405" y="535"/>
                    </a:lnTo>
                    <a:lnTo>
                      <a:pt x="405" y="533"/>
                    </a:lnTo>
                    <a:lnTo>
                      <a:pt x="405" y="531"/>
                    </a:lnTo>
                    <a:lnTo>
                      <a:pt x="405" y="529"/>
                    </a:lnTo>
                    <a:lnTo>
                      <a:pt x="405" y="527"/>
                    </a:lnTo>
                    <a:lnTo>
                      <a:pt x="405" y="525"/>
                    </a:lnTo>
                    <a:lnTo>
                      <a:pt x="405" y="523"/>
                    </a:lnTo>
                    <a:lnTo>
                      <a:pt x="405" y="521"/>
                    </a:lnTo>
                    <a:lnTo>
                      <a:pt x="405" y="519"/>
                    </a:lnTo>
                    <a:lnTo>
                      <a:pt x="407" y="519"/>
                    </a:lnTo>
                    <a:lnTo>
                      <a:pt x="405" y="519"/>
                    </a:lnTo>
                    <a:lnTo>
                      <a:pt x="407" y="519"/>
                    </a:lnTo>
                    <a:lnTo>
                      <a:pt x="405" y="519"/>
                    </a:lnTo>
                    <a:lnTo>
                      <a:pt x="405" y="517"/>
                    </a:lnTo>
                    <a:lnTo>
                      <a:pt x="407" y="517"/>
                    </a:lnTo>
                    <a:lnTo>
                      <a:pt x="407" y="519"/>
                    </a:lnTo>
                    <a:lnTo>
                      <a:pt x="407" y="517"/>
                    </a:lnTo>
                    <a:lnTo>
                      <a:pt x="405" y="517"/>
                    </a:lnTo>
                    <a:lnTo>
                      <a:pt x="405" y="515"/>
                    </a:lnTo>
                    <a:lnTo>
                      <a:pt x="405" y="513"/>
                    </a:lnTo>
                    <a:lnTo>
                      <a:pt x="405" y="515"/>
                    </a:lnTo>
                    <a:lnTo>
                      <a:pt x="405" y="513"/>
                    </a:lnTo>
                    <a:lnTo>
                      <a:pt x="405" y="512"/>
                    </a:lnTo>
                    <a:lnTo>
                      <a:pt x="405" y="510"/>
                    </a:lnTo>
                    <a:lnTo>
                      <a:pt x="405" y="508"/>
                    </a:lnTo>
                    <a:lnTo>
                      <a:pt x="407" y="508"/>
                    </a:lnTo>
                    <a:lnTo>
                      <a:pt x="407" y="506"/>
                    </a:lnTo>
                    <a:lnTo>
                      <a:pt x="405" y="506"/>
                    </a:lnTo>
                    <a:lnTo>
                      <a:pt x="403" y="506"/>
                    </a:lnTo>
                    <a:lnTo>
                      <a:pt x="403" y="504"/>
                    </a:lnTo>
                    <a:lnTo>
                      <a:pt x="405" y="504"/>
                    </a:lnTo>
                    <a:lnTo>
                      <a:pt x="405" y="502"/>
                    </a:lnTo>
                    <a:lnTo>
                      <a:pt x="405" y="500"/>
                    </a:lnTo>
                    <a:lnTo>
                      <a:pt x="407" y="500"/>
                    </a:lnTo>
                    <a:lnTo>
                      <a:pt x="407" y="498"/>
                    </a:lnTo>
                    <a:lnTo>
                      <a:pt x="407" y="496"/>
                    </a:lnTo>
                    <a:lnTo>
                      <a:pt x="409" y="496"/>
                    </a:lnTo>
                    <a:lnTo>
                      <a:pt x="409" y="494"/>
                    </a:lnTo>
                    <a:lnTo>
                      <a:pt x="409" y="492"/>
                    </a:lnTo>
                    <a:lnTo>
                      <a:pt x="411" y="492"/>
                    </a:lnTo>
                    <a:lnTo>
                      <a:pt x="411" y="490"/>
                    </a:lnTo>
                    <a:lnTo>
                      <a:pt x="413" y="490"/>
                    </a:lnTo>
                    <a:lnTo>
                      <a:pt x="413" y="488"/>
                    </a:lnTo>
                    <a:lnTo>
                      <a:pt x="413" y="487"/>
                    </a:lnTo>
                    <a:lnTo>
                      <a:pt x="413" y="485"/>
                    </a:lnTo>
                    <a:lnTo>
                      <a:pt x="413" y="483"/>
                    </a:lnTo>
                    <a:lnTo>
                      <a:pt x="413" y="481"/>
                    </a:lnTo>
                    <a:lnTo>
                      <a:pt x="413" y="483"/>
                    </a:lnTo>
                    <a:lnTo>
                      <a:pt x="413" y="481"/>
                    </a:lnTo>
                    <a:lnTo>
                      <a:pt x="411" y="481"/>
                    </a:lnTo>
                    <a:lnTo>
                      <a:pt x="411" y="479"/>
                    </a:lnTo>
                    <a:lnTo>
                      <a:pt x="411" y="477"/>
                    </a:lnTo>
                    <a:lnTo>
                      <a:pt x="413" y="477"/>
                    </a:lnTo>
                    <a:lnTo>
                      <a:pt x="411" y="477"/>
                    </a:lnTo>
                    <a:lnTo>
                      <a:pt x="413" y="477"/>
                    </a:lnTo>
                    <a:lnTo>
                      <a:pt x="413" y="475"/>
                    </a:lnTo>
                    <a:lnTo>
                      <a:pt x="413" y="473"/>
                    </a:lnTo>
                    <a:lnTo>
                      <a:pt x="415" y="473"/>
                    </a:lnTo>
                    <a:lnTo>
                      <a:pt x="417" y="471"/>
                    </a:lnTo>
                    <a:lnTo>
                      <a:pt x="417" y="473"/>
                    </a:lnTo>
                    <a:lnTo>
                      <a:pt x="417" y="471"/>
                    </a:lnTo>
                    <a:lnTo>
                      <a:pt x="417" y="469"/>
                    </a:lnTo>
                    <a:lnTo>
                      <a:pt x="417" y="467"/>
                    </a:lnTo>
                    <a:lnTo>
                      <a:pt x="419" y="467"/>
                    </a:lnTo>
                    <a:lnTo>
                      <a:pt x="421" y="467"/>
                    </a:lnTo>
                    <a:lnTo>
                      <a:pt x="421" y="469"/>
                    </a:lnTo>
                    <a:lnTo>
                      <a:pt x="419" y="467"/>
                    </a:lnTo>
                    <a:lnTo>
                      <a:pt x="419" y="469"/>
                    </a:lnTo>
                    <a:lnTo>
                      <a:pt x="421" y="469"/>
                    </a:lnTo>
                    <a:lnTo>
                      <a:pt x="421" y="467"/>
                    </a:lnTo>
                    <a:lnTo>
                      <a:pt x="421" y="465"/>
                    </a:lnTo>
                    <a:lnTo>
                      <a:pt x="421" y="463"/>
                    </a:lnTo>
                    <a:lnTo>
                      <a:pt x="423" y="463"/>
                    </a:lnTo>
                    <a:lnTo>
                      <a:pt x="423" y="462"/>
                    </a:lnTo>
                    <a:lnTo>
                      <a:pt x="423" y="463"/>
                    </a:lnTo>
                    <a:lnTo>
                      <a:pt x="423" y="462"/>
                    </a:lnTo>
                    <a:lnTo>
                      <a:pt x="425" y="462"/>
                    </a:lnTo>
                    <a:lnTo>
                      <a:pt x="425" y="460"/>
                    </a:lnTo>
                    <a:lnTo>
                      <a:pt x="425" y="458"/>
                    </a:lnTo>
                    <a:lnTo>
                      <a:pt x="423" y="458"/>
                    </a:lnTo>
                    <a:lnTo>
                      <a:pt x="425" y="458"/>
                    </a:lnTo>
                    <a:lnTo>
                      <a:pt x="423" y="456"/>
                    </a:lnTo>
                    <a:lnTo>
                      <a:pt x="423" y="454"/>
                    </a:lnTo>
                    <a:lnTo>
                      <a:pt x="425" y="454"/>
                    </a:lnTo>
                    <a:lnTo>
                      <a:pt x="425" y="452"/>
                    </a:lnTo>
                    <a:lnTo>
                      <a:pt x="425" y="450"/>
                    </a:lnTo>
                    <a:lnTo>
                      <a:pt x="425" y="452"/>
                    </a:lnTo>
                    <a:lnTo>
                      <a:pt x="426" y="452"/>
                    </a:lnTo>
                    <a:lnTo>
                      <a:pt x="426" y="454"/>
                    </a:lnTo>
                    <a:lnTo>
                      <a:pt x="425" y="454"/>
                    </a:lnTo>
                    <a:lnTo>
                      <a:pt x="426" y="454"/>
                    </a:lnTo>
                    <a:lnTo>
                      <a:pt x="426" y="452"/>
                    </a:lnTo>
                    <a:lnTo>
                      <a:pt x="425" y="450"/>
                    </a:lnTo>
                    <a:lnTo>
                      <a:pt x="425" y="448"/>
                    </a:lnTo>
                    <a:lnTo>
                      <a:pt x="425" y="446"/>
                    </a:lnTo>
                    <a:lnTo>
                      <a:pt x="426" y="446"/>
                    </a:lnTo>
                    <a:lnTo>
                      <a:pt x="428" y="446"/>
                    </a:lnTo>
                    <a:lnTo>
                      <a:pt x="428" y="444"/>
                    </a:lnTo>
                    <a:lnTo>
                      <a:pt x="428" y="442"/>
                    </a:lnTo>
                    <a:lnTo>
                      <a:pt x="426" y="440"/>
                    </a:lnTo>
                    <a:lnTo>
                      <a:pt x="426" y="438"/>
                    </a:lnTo>
                    <a:lnTo>
                      <a:pt x="428" y="438"/>
                    </a:lnTo>
                    <a:lnTo>
                      <a:pt x="428" y="437"/>
                    </a:lnTo>
                    <a:lnTo>
                      <a:pt x="428" y="438"/>
                    </a:lnTo>
                    <a:lnTo>
                      <a:pt x="428" y="437"/>
                    </a:lnTo>
                    <a:lnTo>
                      <a:pt x="426" y="437"/>
                    </a:lnTo>
                    <a:lnTo>
                      <a:pt x="426" y="435"/>
                    </a:lnTo>
                    <a:lnTo>
                      <a:pt x="426" y="433"/>
                    </a:lnTo>
                    <a:lnTo>
                      <a:pt x="426" y="431"/>
                    </a:lnTo>
                    <a:lnTo>
                      <a:pt x="426" y="429"/>
                    </a:lnTo>
                    <a:lnTo>
                      <a:pt x="426" y="431"/>
                    </a:lnTo>
                    <a:lnTo>
                      <a:pt x="426" y="429"/>
                    </a:lnTo>
                    <a:lnTo>
                      <a:pt x="426" y="427"/>
                    </a:lnTo>
                    <a:lnTo>
                      <a:pt x="425" y="427"/>
                    </a:lnTo>
                    <a:lnTo>
                      <a:pt x="425" y="425"/>
                    </a:lnTo>
                    <a:lnTo>
                      <a:pt x="425" y="423"/>
                    </a:lnTo>
                    <a:lnTo>
                      <a:pt x="425" y="421"/>
                    </a:lnTo>
                    <a:lnTo>
                      <a:pt x="425" y="423"/>
                    </a:lnTo>
                    <a:lnTo>
                      <a:pt x="425" y="421"/>
                    </a:lnTo>
                    <a:lnTo>
                      <a:pt x="425" y="419"/>
                    </a:lnTo>
                    <a:lnTo>
                      <a:pt x="425" y="421"/>
                    </a:lnTo>
                    <a:lnTo>
                      <a:pt x="425" y="419"/>
                    </a:lnTo>
                    <a:lnTo>
                      <a:pt x="425" y="421"/>
                    </a:lnTo>
                    <a:lnTo>
                      <a:pt x="425" y="419"/>
                    </a:lnTo>
                    <a:lnTo>
                      <a:pt x="425" y="417"/>
                    </a:lnTo>
                    <a:lnTo>
                      <a:pt x="426" y="417"/>
                    </a:lnTo>
                    <a:lnTo>
                      <a:pt x="426" y="415"/>
                    </a:lnTo>
                    <a:lnTo>
                      <a:pt x="428" y="415"/>
                    </a:lnTo>
                    <a:lnTo>
                      <a:pt x="426" y="414"/>
                    </a:lnTo>
                    <a:lnTo>
                      <a:pt x="428" y="414"/>
                    </a:lnTo>
                    <a:lnTo>
                      <a:pt x="426" y="414"/>
                    </a:lnTo>
                    <a:lnTo>
                      <a:pt x="428" y="414"/>
                    </a:lnTo>
                    <a:lnTo>
                      <a:pt x="428" y="412"/>
                    </a:lnTo>
                    <a:lnTo>
                      <a:pt x="426" y="410"/>
                    </a:lnTo>
                    <a:lnTo>
                      <a:pt x="426" y="408"/>
                    </a:lnTo>
                    <a:lnTo>
                      <a:pt x="426" y="406"/>
                    </a:lnTo>
                    <a:lnTo>
                      <a:pt x="426" y="404"/>
                    </a:lnTo>
                    <a:lnTo>
                      <a:pt x="425" y="404"/>
                    </a:lnTo>
                    <a:lnTo>
                      <a:pt x="425" y="402"/>
                    </a:lnTo>
                    <a:lnTo>
                      <a:pt x="425" y="400"/>
                    </a:lnTo>
                    <a:lnTo>
                      <a:pt x="425" y="398"/>
                    </a:lnTo>
                    <a:lnTo>
                      <a:pt x="425" y="396"/>
                    </a:lnTo>
                    <a:lnTo>
                      <a:pt x="426" y="394"/>
                    </a:lnTo>
                    <a:lnTo>
                      <a:pt x="425" y="394"/>
                    </a:lnTo>
                    <a:lnTo>
                      <a:pt x="426" y="394"/>
                    </a:lnTo>
                    <a:lnTo>
                      <a:pt x="426" y="396"/>
                    </a:lnTo>
                    <a:lnTo>
                      <a:pt x="425" y="396"/>
                    </a:lnTo>
                    <a:lnTo>
                      <a:pt x="426" y="396"/>
                    </a:lnTo>
                    <a:lnTo>
                      <a:pt x="426" y="394"/>
                    </a:lnTo>
                    <a:lnTo>
                      <a:pt x="426" y="392"/>
                    </a:lnTo>
                    <a:lnTo>
                      <a:pt x="425" y="390"/>
                    </a:lnTo>
                    <a:lnTo>
                      <a:pt x="426" y="390"/>
                    </a:lnTo>
                    <a:lnTo>
                      <a:pt x="425" y="390"/>
                    </a:lnTo>
                    <a:lnTo>
                      <a:pt x="425" y="389"/>
                    </a:lnTo>
                    <a:lnTo>
                      <a:pt x="425" y="387"/>
                    </a:lnTo>
                    <a:lnTo>
                      <a:pt x="426" y="387"/>
                    </a:lnTo>
                    <a:lnTo>
                      <a:pt x="426" y="389"/>
                    </a:lnTo>
                    <a:lnTo>
                      <a:pt x="426" y="387"/>
                    </a:lnTo>
                    <a:lnTo>
                      <a:pt x="426" y="389"/>
                    </a:lnTo>
                    <a:lnTo>
                      <a:pt x="428" y="387"/>
                    </a:lnTo>
                    <a:lnTo>
                      <a:pt x="430" y="387"/>
                    </a:lnTo>
                    <a:lnTo>
                      <a:pt x="430" y="385"/>
                    </a:lnTo>
                    <a:lnTo>
                      <a:pt x="430" y="387"/>
                    </a:lnTo>
                    <a:lnTo>
                      <a:pt x="428" y="387"/>
                    </a:lnTo>
                    <a:lnTo>
                      <a:pt x="426" y="387"/>
                    </a:lnTo>
                    <a:lnTo>
                      <a:pt x="428" y="387"/>
                    </a:lnTo>
                    <a:lnTo>
                      <a:pt x="428" y="385"/>
                    </a:lnTo>
                    <a:lnTo>
                      <a:pt x="428" y="383"/>
                    </a:lnTo>
                    <a:lnTo>
                      <a:pt x="430" y="383"/>
                    </a:lnTo>
                    <a:lnTo>
                      <a:pt x="430" y="385"/>
                    </a:lnTo>
                    <a:lnTo>
                      <a:pt x="430" y="383"/>
                    </a:lnTo>
                    <a:lnTo>
                      <a:pt x="432" y="383"/>
                    </a:lnTo>
                    <a:lnTo>
                      <a:pt x="434" y="381"/>
                    </a:lnTo>
                    <a:lnTo>
                      <a:pt x="436" y="381"/>
                    </a:lnTo>
                    <a:lnTo>
                      <a:pt x="434" y="381"/>
                    </a:lnTo>
                    <a:lnTo>
                      <a:pt x="436" y="381"/>
                    </a:lnTo>
                    <a:lnTo>
                      <a:pt x="436" y="379"/>
                    </a:lnTo>
                    <a:lnTo>
                      <a:pt x="434" y="379"/>
                    </a:lnTo>
                    <a:lnTo>
                      <a:pt x="434" y="377"/>
                    </a:lnTo>
                    <a:lnTo>
                      <a:pt x="434" y="375"/>
                    </a:lnTo>
                    <a:lnTo>
                      <a:pt x="434" y="373"/>
                    </a:lnTo>
                    <a:lnTo>
                      <a:pt x="434" y="375"/>
                    </a:lnTo>
                    <a:lnTo>
                      <a:pt x="434" y="373"/>
                    </a:lnTo>
                    <a:lnTo>
                      <a:pt x="432" y="373"/>
                    </a:lnTo>
                    <a:lnTo>
                      <a:pt x="432" y="371"/>
                    </a:lnTo>
                    <a:lnTo>
                      <a:pt x="432" y="369"/>
                    </a:lnTo>
                    <a:lnTo>
                      <a:pt x="432" y="367"/>
                    </a:lnTo>
                    <a:lnTo>
                      <a:pt x="430" y="365"/>
                    </a:lnTo>
                    <a:lnTo>
                      <a:pt x="432" y="365"/>
                    </a:lnTo>
                    <a:lnTo>
                      <a:pt x="432" y="364"/>
                    </a:lnTo>
                    <a:lnTo>
                      <a:pt x="432" y="362"/>
                    </a:lnTo>
                    <a:lnTo>
                      <a:pt x="434" y="362"/>
                    </a:lnTo>
                    <a:lnTo>
                      <a:pt x="432" y="362"/>
                    </a:lnTo>
                    <a:lnTo>
                      <a:pt x="432" y="360"/>
                    </a:lnTo>
                    <a:lnTo>
                      <a:pt x="434" y="360"/>
                    </a:lnTo>
                    <a:lnTo>
                      <a:pt x="432" y="360"/>
                    </a:lnTo>
                    <a:lnTo>
                      <a:pt x="432" y="358"/>
                    </a:lnTo>
                    <a:lnTo>
                      <a:pt x="432" y="360"/>
                    </a:lnTo>
                    <a:lnTo>
                      <a:pt x="434" y="360"/>
                    </a:lnTo>
                    <a:lnTo>
                      <a:pt x="432" y="360"/>
                    </a:lnTo>
                    <a:lnTo>
                      <a:pt x="432" y="362"/>
                    </a:lnTo>
                    <a:lnTo>
                      <a:pt x="434" y="362"/>
                    </a:lnTo>
                    <a:lnTo>
                      <a:pt x="432" y="362"/>
                    </a:lnTo>
                    <a:lnTo>
                      <a:pt x="432" y="364"/>
                    </a:lnTo>
                    <a:lnTo>
                      <a:pt x="432" y="365"/>
                    </a:lnTo>
                    <a:lnTo>
                      <a:pt x="430" y="365"/>
                    </a:lnTo>
                    <a:lnTo>
                      <a:pt x="430" y="364"/>
                    </a:lnTo>
                    <a:lnTo>
                      <a:pt x="430" y="362"/>
                    </a:lnTo>
                    <a:lnTo>
                      <a:pt x="428" y="362"/>
                    </a:lnTo>
                    <a:lnTo>
                      <a:pt x="430" y="360"/>
                    </a:lnTo>
                    <a:lnTo>
                      <a:pt x="430" y="362"/>
                    </a:lnTo>
                    <a:lnTo>
                      <a:pt x="430" y="360"/>
                    </a:lnTo>
                    <a:lnTo>
                      <a:pt x="430" y="358"/>
                    </a:lnTo>
                    <a:lnTo>
                      <a:pt x="432" y="358"/>
                    </a:lnTo>
                    <a:lnTo>
                      <a:pt x="432" y="356"/>
                    </a:lnTo>
                    <a:lnTo>
                      <a:pt x="432" y="358"/>
                    </a:lnTo>
                    <a:lnTo>
                      <a:pt x="432" y="356"/>
                    </a:lnTo>
                    <a:lnTo>
                      <a:pt x="430" y="356"/>
                    </a:lnTo>
                    <a:lnTo>
                      <a:pt x="430" y="354"/>
                    </a:lnTo>
                    <a:lnTo>
                      <a:pt x="432" y="354"/>
                    </a:lnTo>
                    <a:lnTo>
                      <a:pt x="430" y="352"/>
                    </a:lnTo>
                    <a:lnTo>
                      <a:pt x="430" y="350"/>
                    </a:lnTo>
                    <a:lnTo>
                      <a:pt x="432" y="350"/>
                    </a:lnTo>
                    <a:lnTo>
                      <a:pt x="432" y="348"/>
                    </a:lnTo>
                    <a:lnTo>
                      <a:pt x="434" y="348"/>
                    </a:lnTo>
                    <a:lnTo>
                      <a:pt x="436" y="348"/>
                    </a:lnTo>
                    <a:lnTo>
                      <a:pt x="438" y="348"/>
                    </a:lnTo>
                    <a:lnTo>
                      <a:pt x="440" y="348"/>
                    </a:lnTo>
                    <a:lnTo>
                      <a:pt x="442" y="346"/>
                    </a:lnTo>
                    <a:lnTo>
                      <a:pt x="442" y="348"/>
                    </a:lnTo>
                    <a:lnTo>
                      <a:pt x="442" y="346"/>
                    </a:lnTo>
                    <a:lnTo>
                      <a:pt x="442" y="348"/>
                    </a:lnTo>
                    <a:lnTo>
                      <a:pt x="444" y="350"/>
                    </a:lnTo>
                    <a:lnTo>
                      <a:pt x="446" y="350"/>
                    </a:lnTo>
                    <a:lnTo>
                      <a:pt x="448" y="350"/>
                    </a:lnTo>
                    <a:lnTo>
                      <a:pt x="450" y="350"/>
                    </a:lnTo>
                    <a:lnTo>
                      <a:pt x="448" y="350"/>
                    </a:lnTo>
                    <a:lnTo>
                      <a:pt x="448" y="348"/>
                    </a:lnTo>
                    <a:lnTo>
                      <a:pt x="448" y="350"/>
                    </a:lnTo>
                    <a:lnTo>
                      <a:pt x="448" y="348"/>
                    </a:lnTo>
                    <a:lnTo>
                      <a:pt x="448" y="350"/>
                    </a:lnTo>
                    <a:lnTo>
                      <a:pt x="450" y="350"/>
                    </a:lnTo>
                    <a:lnTo>
                      <a:pt x="451" y="352"/>
                    </a:lnTo>
                    <a:lnTo>
                      <a:pt x="453" y="352"/>
                    </a:lnTo>
                    <a:lnTo>
                      <a:pt x="453" y="354"/>
                    </a:lnTo>
                    <a:lnTo>
                      <a:pt x="453" y="356"/>
                    </a:lnTo>
                    <a:lnTo>
                      <a:pt x="451" y="356"/>
                    </a:lnTo>
                    <a:lnTo>
                      <a:pt x="453" y="356"/>
                    </a:lnTo>
                    <a:lnTo>
                      <a:pt x="453" y="354"/>
                    </a:lnTo>
                    <a:lnTo>
                      <a:pt x="453" y="356"/>
                    </a:lnTo>
                    <a:lnTo>
                      <a:pt x="453" y="354"/>
                    </a:lnTo>
                    <a:lnTo>
                      <a:pt x="453" y="356"/>
                    </a:lnTo>
                    <a:lnTo>
                      <a:pt x="455" y="356"/>
                    </a:lnTo>
                    <a:lnTo>
                      <a:pt x="455" y="358"/>
                    </a:lnTo>
                    <a:lnTo>
                      <a:pt x="455" y="360"/>
                    </a:lnTo>
                    <a:lnTo>
                      <a:pt x="457" y="360"/>
                    </a:lnTo>
                    <a:lnTo>
                      <a:pt x="457" y="362"/>
                    </a:lnTo>
                    <a:lnTo>
                      <a:pt x="459" y="362"/>
                    </a:lnTo>
                    <a:lnTo>
                      <a:pt x="459" y="364"/>
                    </a:lnTo>
                    <a:lnTo>
                      <a:pt x="461" y="364"/>
                    </a:lnTo>
                    <a:lnTo>
                      <a:pt x="461" y="362"/>
                    </a:lnTo>
                    <a:lnTo>
                      <a:pt x="459" y="362"/>
                    </a:lnTo>
                    <a:lnTo>
                      <a:pt x="461" y="362"/>
                    </a:lnTo>
                    <a:lnTo>
                      <a:pt x="461" y="364"/>
                    </a:lnTo>
                    <a:lnTo>
                      <a:pt x="461" y="365"/>
                    </a:lnTo>
                    <a:lnTo>
                      <a:pt x="463" y="365"/>
                    </a:lnTo>
                    <a:lnTo>
                      <a:pt x="463" y="367"/>
                    </a:lnTo>
                    <a:lnTo>
                      <a:pt x="465" y="367"/>
                    </a:lnTo>
                    <a:lnTo>
                      <a:pt x="465" y="369"/>
                    </a:lnTo>
                    <a:lnTo>
                      <a:pt x="465" y="371"/>
                    </a:lnTo>
                    <a:lnTo>
                      <a:pt x="465" y="369"/>
                    </a:lnTo>
                    <a:lnTo>
                      <a:pt x="467" y="369"/>
                    </a:lnTo>
                    <a:lnTo>
                      <a:pt x="465" y="369"/>
                    </a:lnTo>
                    <a:lnTo>
                      <a:pt x="467" y="369"/>
                    </a:lnTo>
                    <a:lnTo>
                      <a:pt x="467" y="367"/>
                    </a:lnTo>
                    <a:lnTo>
                      <a:pt x="467" y="369"/>
                    </a:lnTo>
                    <a:lnTo>
                      <a:pt x="467" y="371"/>
                    </a:lnTo>
                    <a:lnTo>
                      <a:pt x="469" y="371"/>
                    </a:lnTo>
                    <a:lnTo>
                      <a:pt x="469" y="373"/>
                    </a:lnTo>
                    <a:lnTo>
                      <a:pt x="469" y="375"/>
                    </a:lnTo>
                    <a:lnTo>
                      <a:pt x="471" y="375"/>
                    </a:lnTo>
                    <a:lnTo>
                      <a:pt x="471" y="377"/>
                    </a:lnTo>
                    <a:lnTo>
                      <a:pt x="473" y="377"/>
                    </a:lnTo>
                    <a:lnTo>
                      <a:pt x="473" y="379"/>
                    </a:lnTo>
                    <a:lnTo>
                      <a:pt x="475" y="379"/>
                    </a:lnTo>
                    <a:lnTo>
                      <a:pt x="476" y="379"/>
                    </a:lnTo>
                    <a:lnTo>
                      <a:pt x="475" y="379"/>
                    </a:lnTo>
                    <a:lnTo>
                      <a:pt x="476" y="377"/>
                    </a:lnTo>
                    <a:lnTo>
                      <a:pt x="476" y="379"/>
                    </a:lnTo>
                    <a:lnTo>
                      <a:pt x="478" y="379"/>
                    </a:lnTo>
                    <a:lnTo>
                      <a:pt x="478" y="381"/>
                    </a:lnTo>
                    <a:lnTo>
                      <a:pt x="478" y="379"/>
                    </a:lnTo>
                    <a:lnTo>
                      <a:pt x="478" y="381"/>
                    </a:lnTo>
                    <a:lnTo>
                      <a:pt x="478" y="379"/>
                    </a:lnTo>
                    <a:lnTo>
                      <a:pt x="478" y="381"/>
                    </a:lnTo>
                    <a:lnTo>
                      <a:pt x="480" y="381"/>
                    </a:lnTo>
                    <a:lnTo>
                      <a:pt x="478" y="383"/>
                    </a:lnTo>
                    <a:lnTo>
                      <a:pt x="478" y="381"/>
                    </a:lnTo>
                    <a:lnTo>
                      <a:pt x="478" y="383"/>
                    </a:lnTo>
                    <a:lnTo>
                      <a:pt x="480" y="383"/>
                    </a:lnTo>
                    <a:lnTo>
                      <a:pt x="480" y="385"/>
                    </a:lnTo>
                    <a:lnTo>
                      <a:pt x="480" y="383"/>
                    </a:lnTo>
                    <a:lnTo>
                      <a:pt x="480" y="385"/>
                    </a:lnTo>
                    <a:lnTo>
                      <a:pt x="482" y="385"/>
                    </a:lnTo>
                    <a:lnTo>
                      <a:pt x="480" y="385"/>
                    </a:lnTo>
                    <a:lnTo>
                      <a:pt x="482" y="385"/>
                    </a:lnTo>
                    <a:lnTo>
                      <a:pt x="480" y="385"/>
                    </a:lnTo>
                    <a:lnTo>
                      <a:pt x="482" y="385"/>
                    </a:lnTo>
                    <a:lnTo>
                      <a:pt x="482" y="387"/>
                    </a:lnTo>
                    <a:lnTo>
                      <a:pt x="480" y="387"/>
                    </a:lnTo>
                    <a:lnTo>
                      <a:pt x="482" y="387"/>
                    </a:lnTo>
                    <a:lnTo>
                      <a:pt x="482" y="385"/>
                    </a:lnTo>
                    <a:lnTo>
                      <a:pt x="482" y="387"/>
                    </a:lnTo>
                    <a:lnTo>
                      <a:pt x="484" y="387"/>
                    </a:lnTo>
                    <a:lnTo>
                      <a:pt x="482" y="387"/>
                    </a:lnTo>
                    <a:lnTo>
                      <a:pt x="484" y="387"/>
                    </a:lnTo>
                    <a:lnTo>
                      <a:pt x="482" y="387"/>
                    </a:lnTo>
                    <a:lnTo>
                      <a:pt x="484" y="387"/>
                    </a:lnTo>
                    <a:lnTo>
                      <a:pt x="484" y="385"/>
                    </a:lnTo>
                    <a:lnTo>
                      <a:pt x="482" y="385"/>
                    </a:lnTo>
                    <a:lnTo>
                      <a:pt x="484" y="385"/>
                    </a:lnTo>
                    <a:lnTo>
                      <a:pt x="482" y="385"/>
                    </a:lnTo>
                    <a:lnTo>
                      <a:pt x="484" y="385"/>
                    </a:lnTo>
                    <a:lnTo>
                      <a:pt x="484" y="387"/>
                    </a:lnTo>
                    <a:lnTo>
                      <a:pt x="484" y="389"/>
                    </a:lnTo>
                    <a:lnTo>
                      <a:pt x="486" y="389"/>
                    </a:lnTo>
                    <a:lnTo>
                      <a:pt x="486" y="387"/>
                    </a:lnTo>
                    <a:lnTo>
                      <a:pt x="486" y="389"/>
                    </a:lnTo>
                    <a:lnTo>
                      <a:pt x="488" y="389"/>
                    </a:lnTo>
                    <a:lnTo>
                      <a:pt x="488" y="390"/>
                    </a:lnTo>
                    <a:lnTo>
                      <a:pt x="488" y="389"/>
                    </a:lnTo>
                    <a:lnTo>
                      <a:pt x="488" y="390"/>
                    </a:lnTo>
                    <a:lnTo>
                      <a:pt x="488" y="389"/>
                    </a:lnTo>
                    <a:lnTo>
                      <a:pt x="488" y="390"/>
                    </a:lnTo>
                    <a:lnTo>
                      <a:pt x="488" y="389"/>
                    </a:lnTo>
                    <a:lnTo>
                      <a:pt x="486" y="389"/>
                    </a:lnTo>
                    <a:lnTo>
                      <a:pt x="488" y="389"/>
                    </a:lnTo>
                    <a:lnTo>
                      <a:pt x="486" y="389"/>
                    </a:lnTo>
                    <a:lnTo>
                      <a:pt x="486" y="387"/>
                    </a:lnTo>
                    <a:lnTo>
                      <a:pt x="488" y="387"/>
                    </a:lnTo>
                    <a:lnTo>
                      <a:pt x="486" y="389"/>
                    </a:lnTo>
                    <a:lnTo>
                      <a:pt x="488" y="389"/>
                    </a:lnTo>
                    <a:lnTo>
                      <a:pt x="490" y="389"/>
                    </a:lnTo>
                    <a:lnTo>
                      <a:pt x="490" y="390"/>
                    </a:lnTo>
                    <a:lnTo>
                      <a:pt x="490" y="392"/>
                    </a:lnTo>
                    <a:lnTo>
                      <a:pt x="492" y="392"/>
                    </a:lnTo>
                    <a:lnTo>
                      <a:pt x="492" y="390"/>
                    </a:lnTo>
                    <a:lnTo>
                      <a:pt x="490" y="390"/>
                    </a:lnTo>
                    <a:lnTo>
                      <a:pt x="492" y="390"/>
                    </a:lnTo>
                    <a:lnTo>
                      <a:pt x="490" y="390"/>
                    </a:lnTo>
                    <a:lnTo>
                      <a:pt x="492" y="390"/>
                    </a:lnTo>
                    <a:lnTo>
                      <a:pt x="492" y="389"/>
                    </a:lnTo>
                    <a:lnTo>
                      <a:pt x="490" y="389"/>
                    </a:lnTo>
                    <a:lnTo>
                      <a:pt x="492" y="389"/>
                    </a:lnTo>
                    <a:lnTo>
                      <a:pt x="494" y="389"/>
                    </a:lnTo>
                    <a:lnTo>
                      <a:pt x="496" y="389"/>
                    </a:lnTo>
                    <a:lnTo>
                      <a:pt x="494" y="389"/>
                    </a:lnTo>
                    <a:lnTo>
                      <a:pt x="496" y="389"/>
                    </a:lnTo>
                    <a:lnTo>
                      <a:pt x="494" y="389"/>
                    </a:lnTo>
                    <a:lnTo>
                      <a:pt x="496" y="389"/>
                    </a:lnTo>
                    <a:lnTo>
                      <a:pt x="496" y="390"/>
                    </a:lnTo>
                    <a:lnTo>
                      <a:pt x="494" y="390"/>
                    </a:lnTo>
                    <a:lnTo>
                      <a:pt x="496" y="390"/>
                    </a:lnTo>
                    <a:lnTo>
                      <a:pt x="494" y="390"/>
                    </a:lnTo>
                    <a:lnTo>
                      <a:pt x="496" y="390"/>
                    </a:lnTo>
                    <a:lnTo>
                      <a:pt x="496" y="389"/>
                    </a:lnTo>
                    <a:lnTo>
                      <a:pt x="494" y="389"/>
                    </a:lnTo>
                    <a:lnTo>
                      <a:pt x="492" y="389"/>
                    </a:lnTo>
                    <a:lnTo>
                      <a:pt x="492" y="387"/>
                    </a:lnTo>
                    <a:lnTo>
                      <a:pt x="492" y="389"/>
                    </a:lnTo>
                    <a:lnTo>
                      <a:pt x="492" y="387"/>
                    </a:lnTo>
                    <a:lnTo>
                      <a:pt x="492" y="389"/>
                    </a:lnTo>
                    <a:lnTo>
                      <a:pt x="490" y="389"/>
                    </a:lnTo>
                    <a:lnTo>
                      <a:pt x="492" y="389"/>
                    </a:lnTo>
                    <a:lnTo>
                      <a:pt x="490" y="389"/>
                    </a:lnTo>
                    <a:lnTo>
                      <a:pt x="492" y="389"/>
                    </a:lnTo>
                    <a:lnTo>
                      <a:pt x="490" y="389"/>
                    </a:lnTo>
                    <a:lnTo>
                      <a:pt x="488" y="389"/>
                    </a:lnTo>
                    <a:lnTo>
                      <a:pt x="488" y="387"/>
                    </a:lnTo>
                    <a:lnTo>
                      <a:pt x="486" y="387"/>
                    </a:lnTo>
                    <a:lnTo>
                      <a:pt x="486" y="389"/>
                    </a:lnTo>
                    <a:lnTo>
                      <a:pt x="486" y="387"/>
                    </a:lnTo>
                    <a:lnTo>
                      <a:pt x="486" y="389"/>
                    </a:lnTo>
                    <a:lnTo>
                      <a:pt x="486" y="387"/>
                    </a:lnTo>
                    <a:lnTo>
                      <a:pt x="486" y="389"/>
                    </a:lnTo>
                    <a:lnTo>
                      <a:pt x="484" y="389"/>
                    </a:lnTo>
                    <a:lnTo>
                      <a:pt x="484" y="387"/>
                    </a:lnTo>
                    <a:lnTo>
                      <a:pt x="486" y="387"/>
                    </a:lnTo>
                    <a:lnTo>
                      <a:pt x="484" y="387"/>
                    </a:lnTo>
                    <a:lnTo>
                      <a:pt x="486" y="387"/>
                    </a:lnTo>
                    <a:lnTo>
                      <a:pt x="486" y="385"/>
                    </a:lnTo>
                    <a:lnTo>
                      <a:pt x="488" y="385"/>
                    </a:lnTo>
                    <a:lnTo>
                      <a:pt x="488" y="383"/>
                    </a:lnTo>
                    <a:lnTo>
                      <a:pt x="488" y="385"/>
                    </a:lnTo>
                    <a:lnTo>
                      <a:pt x="488" y="383"/>
                    </a:lnTo>
                    <a:lnTo>
                      <a:pt x="486" y="385"/>
                    </a:lnTo>
                    <a:lnTo>
                      <a:pt x="486" y="383"/>
                    </a:lnTo>
                    <a:lnTo>
                      <a:pt x="486" y="385"/>
                    </a:lnTo>
                    <a:lnTo>
                      <a:pt x="486" y="383"/>
                    </a:lnTo>
                    <a:lnTo>
                      <a:pt x="486" y="385"/>
                    </a:lnTo>
                    <a:lnTo>
                      <a:pt x="486" y="383"/>
                    </a:lnTo>
                    <a:lnTo>
                      <a:pt x="484" y="383"/>
                    </a:lnTo>
                    <a:lnTo>
                      <a:pt x="486" y="383"/>
                    </a:lnTo>
                    <a:lnTo>
                      <a:pt x="484" y="383"/>
                    </a:lnTo>
                    <a:lnTo>
                      <a:pt x="484" y="385"/>
                    </a:lnTo>
                    <a:lnTo>
                      <a:pt x="484" y="383"/>
                    </a:lnTo>
                    <a:lnTo>
                      <a:pt x="484" y="385"/>
                    </a:lnTo>
                    <a:lnTo>
                      <a:pt x="484" y="383"/>
                    </a:lnTo>
                    <a:lnTo>
                      <a:pt x="484" y="385"/>
                    </a:lnTo>
                    <a:lnTo>
                      <a:pt x="484" y="383"/>
                    </a:lnTo>
                    <a:lnTo>
                      <a:pt x="486" y="383"/>
                    </a:lnTo>
                    <a:lnTo>
                      <a:pt x="488" y="381"/>
                    </a:lnTo>
                    <a:lnTo>
                      <a:pt x="488" y="383"/>
                    </a:lnTo>
                    <a:lnTo>
                      <a:pt x="488" y="385"/>
                    </a:lnTo>
                    <a:lnTo>
                      <a:pt x="490" y="385"/>
                    </a:lnTo>
                    <a:lnTo>
                      <a:pt x="492" y="385"/>
                    </a:lnTo>
                    <a:lnTo>
                      <a:pt x="494" y="387"/>
                    </a:lnTo>
                    <a:lnTo>
                      <a:pt x="494" y="389"/>
                    </a:lnTo>
                    <a:lnTo>
                      <a:pt x="496" y="389"/>
                    </a:lnTo>
                    <a:lnTo>
                      <a:pt x="496" y="387"/>
                    </a:lnTo>
                    <a:lnTo>
                      <a:pt x="494" y="387"/>
                    </a:lnTo>
                    <a:lnTo>
                      <a:pt x="494" y="385"/>
                    </a:lnTo>
                    <a:lnTo>
                      <a:pt x="496" y="385"/>
                    </a:lnTo>
                    <a:lnTo>
                      <a:pt x="498" y="387"/>
                    </a:lnTo>
                    <a:lnTo>
                      <a:pt x="499" y="387"/>
                    </a:lnTo>
                    <a:lnTo>
                      <a:pt x="498" y="387"/>
                    </a:lnTo>
                    <a:lnTo>
                      <a:pt x="499" y="385"/>
                    </a:lnTo>
                    <a:lnTo>
                      <a:pt x="501" y="385"/>
                    </a:lnTo>
                    <a:lnTo>
                      <a:pt x="501" y="387"/>
                    </a:lnTo>
                    <a:lnTo>
                      <a:pt x="501" y="389"/>
                    </a:lnTo>
                    <a:lnTo>
                      <a:pt x="503" y="389"/>
                    </a:lnTo>
                    <a:lnTo>
                      <a:pt x="503" y="390"/>
                    </a:lnTo>
                    <a:lnTo>
                      <a:pt x="501" y="390"/>
                    </a:lnTo>
                    <a:lnTo>
                      <a:pt x="503" y="390"/>
                    </a:lnTo>
                    <a:lnTo>
                      <a:pt x="501" y="390"/>
                    </a:lnTo>
                    <a:lnTo>
                      <a:pt x="503" y="390"/>
                    </a:lnTo>
                    <a:lnTo>
                      <a:pt x="503" y="392"/>
                    </a:lnTo>
                    <a:lnTo>
                      <a:pt x="503" y="390"/>
                    </a:lnTo>
                    <a:lnTo>
                      <a:pt x="503" y="392"/>
                    </a:lnTo>
                    <a:lnTo>
                      <a:pt x="503" y="394"/>
                    </a:lnTo>
                    <a:lnTo>
                      <a:pt x="505" y="394"/>
                    </a:lnTo>
                    <a:lnTo>
                      <a:pt x="503" y="394"/>
                    </a:lnTo>
                    <a:lnTo>
                      <a:pt x="503" y="392"/>
                    </a:lnTo>
                    <a:lnTo>
                      <a:pt x="503" y="394"/>
                    </a:lnTo>
                    <a:lnTo>
                      <a:pt x="505" y="394"/>
                    </a:lnTo>
                    <a:lnTo>
                      <a:pt x="505" y="396"/>
                    </a:lnTo>
                    <a:lnTo>
                      <a:pt x="503" y="396"/>
                    </a:lnTo>
                    <a:lnTo>
                      <a:pt x="505" y="396"/>
                    </a:lnTo>
                    <a:lnTo>
                      <a:pt x="503" y="396"/>
                    </a:lnTo>
                    <a:lnTo>
                      <a:pt x="505" y="396"/>
                    </a:lnTo>
                    <a:lnTo>
                      <a:pt x="503" y="396"/>
                    </a:lnTo>
                    <a:lnTo>
                      <a:pt x="505" y="396"/>
                    </a:lnTo>
                    <a:lnTo>
                      <a:pt x="507" y="396"/>
                    </a:lnTo>
                    <a:lnTo>
                      <a:pt x="505" y="396"/>
                    </a:lnTo>
                    <a:lnTo>
                      <a:pt x="507" y="396"/>
                    </a:lnTo>
                    <a:lnTo>
                      <a:pt x="505" y="396"/>
                    </a:lnTo>
                    <a:lnTo>
                      <a:pt x="507" y="396"/>
                    </a:lnTo>
                    <a:lnTo>
                      <a:pt x="505" y="396"/>
                    </a:lnTo>
                    <a:lnTo>
                      <a:pt x="507" y="396"/>
                    </a:lnTo>
                    <a:lnTo>
                      <a:pt x="505" y="396"/>
                    </a:lnTo>
                    <a:lnTo>
                      <a:pt x="505" y="394"/>
                    </a:lnTo>
                    <a:lnTo>
                      <a:pt x="507" y="394"/>
                    </a:lnTo>
                    <a:lnTo>
                      <a:pt x="505" y="394"/>
                    </a:lnTo>
                    <a:lnTo>
                      <a:pt x="507" y="394"/>
                    </a:lnTo>
                    <a:lnTo>
                      <a:pt x="505" y="394"/>
                    </a:lnTo>
                    <a:lnTo>
                      <a:pt x="507" y="394"/>
                    </a:lnTo>
                    <a:lnTo>
                      <a:pt x="507" y="396"/>
                    </a:lnTo>
                    <a:lnTo>
                      <a:pt x="507" y="394"/>
                    </a:lnTo>
                    <a:lnTo>
                      <a:pt x="509" y="394"/>
                    </a:lnTo>
                    <a:lnTo>
                      <a:pt x="509" y="396"/>
                    </a:lnTo>
                    <a:lnTo>
                      <a:pt x="509" y="398"/>
                    </a:lnTo>
                    <a:lnTo>
                      <a:pt x="509" y="400"/>
                    </a:lnTo>
                    <a:lnTo>
                      <a:pt x="509" y="398"/>
                    </a:lnTo>
                    <a:lnTo>
                      <a:pt x="509" y="400"/>
                    </a:lnTo>
                    <a:lnTo>
                      <a:pt x="509" y="398"/>
                    </a:lnTo>
                    <a:lnTo>
                      <a:pt x="509" y="400"/>
                    </a:lnTo>
                    <a:lnTo>
                      <a:pt x="509" y="398"/>
                    </a:lnTo>
                    <a:lnTo>
                      <a:pt x="509" y="400"/>
                    </a:lnTo>
                    <a:lnTo>
                      <a:pt x="509" y="398"/>
                    </a:lnTo>
                    <a:lnTo>
                      <a:pt x="511" y="398"/>
                    </a:lnTo>
                    <a:lnTo>
                      <a:pt x="509" y="398"/>
                    </a:lnTo>
                    <a:lnTo>
                      <a:pt x="509" y="396"/>
                    </a:lnTo>
                    <a:lnTo>
                      <a:pt x="509" y="394"/>
                    </a:lnTo>
                    <a:lnTo>
                      <a:pt x="507" y="394"/>
                    </a:lnTo>
                    <a:lnTo>
                      <a:pt x="507" y="396"/>
                    </a:lnTo>
                    <a:lnTo>
                      <a:pt x="507" y="394"/>
                    </a:lnTo>
                    <a:lnTo>
                      <a:pt x="509" y="394"/>
                    </a:lnTo>
                    <a:lnTo>
                      <a:pt x="507" y="394"/>
                    </a:lnTo>
                    <a:lnTo>
                      <a:pt x="505" y="394"/>
                    </a:lnTo>
                    <a:lnTo>
                      <a:pt x="507" y="394"/>
                    </a:lnTo>
                    <a:lnTo>
                      <a:pt x="507" y="392"/>
                    </a:lnTo>
                    <a:lnTo>
                      <a:pt x="505" y="392"/>
                    </a:lnTo>
                    <a:lnTo>
                      <a:pt x="507" y="392"/>
                    </a:lnTo>
                    <a:lnTo>
                      <a:pt x="505" y="392"/>
                    </a:lnTo>
                    <a:lnTo>
                      <a:pt x="507" y="392"/>
                    </a:lnTo>
                    <a:lnTo>
                      <a:pt x="507" y="394"/>
                    </a:lnTo>
                    <a:lnTo>
                      <a:pt x="505" y="394"/>
                    </a:lnTo>
                    <a:lnTo>
                      <a:pt x="503" y="392"/>
                    </a:lnTo>
                    <a:lnTo>
                      <a:pt x="505" y="392"/>
                    </a:lnTo>
                    <a:lnTo>
                      <a:pt x="503" y="392"/>
                    </a:lnTo>
                    <a:lnTo>
                      <a:pt x="503" y="390"/>
                    </a:lnTo>
                    <a:lnTo>
                      <a:pt x="501" y="390"/>
                    </a:lnTo>
                    <a:lnTo>
                      <a:pt x="503" y="390"/>
                    </a:lnTo>
                    <a:lnTo>
                      <a:pt x="503" y="389"/>
                    </a:lnTo>
                    <a:lnTo>
                      <a:pt x="505" y="389"/>
                    </a:lnTo>
                    <a:lnTo>
                      <a:pt x="505" y="390"/>
                    </a:lnTo>
                    <a:lnTo>
                      <a:pt x="507" y="390"/>
                    </a:lnTo>
                    <a:lnTo>
                      <a:pt x="507" y="389"/>
                    </a:lnTo>
                    <a:lnTo>
                      <a:pt x="509" y="389"/>
                    </a:lnTo>
                    <a:lnTo>
                      <a:pt x="509" y="390"/>
                    </a:lnTo>
                    <a:lnTo>
                      <a:pt x="511" y="390"/>
                    </a:lnTo>
                    <a:lnTo>
                      <a:pt x="511" y="392"/>
                    </a:lnTo>
                    <a:lnTo>
                      <a:pt x="513" y="392"/>
                    </a:lnTo>
                    <a:lnTo>
                      <a:pt x="515" y="392"/>
                    </a:lnTo>
                    <a:lnTo>
                      <a:pt x="515" y="394"/>
                    </a:lnTo>
                    <a:lnTo>
                      <a:pt x="517" y="396"/>
                    </a:lnTo>
                    <a:lnTo>
                      <a:pt x="517" y="394"/>
                    </a:lnTo>
                    <a:lnTo>
                      <a:pt x="517" y="396"/>
                    </a:lnTo>
                    <a:lnTo>
                      <a:pt x="519" y="396"/>
                    </a:lnTo>
                    <a:lnTo>
                      <a:pt x="517" y="396"/>
                    </a:lnTo>
                    <a:lnTo>
                      <a:pt x="519" y="396"/>
                    </a:lnTo>
                    <a:lnTo>
                      <a:pt x="517" y="396"/>
                    </a:lnTo>
                    <a:lnTo>
                      <a:pt x="515" y="396"/>
                    </a:lnTo>
                    <a:lnTo>
                      <a:pt x="515" y="394"/>
                    </a:lnTo>
                    <a:lnTo>
                      <a:pt x="515" y="396"/>
                    </a:lnTo>
                    <a:lnTo>
                      <a:pt x="517" y="396"/>
                    </a:lnTo>
                    <a:lnTo>
                      <a:pt x="517" y="398"/>
                    </a:lnTo>
                    <a:lnTo>
                      <a:pt x="519" y="398"/>
                    </a:lnTo>
                    <a:lnTo>
                      <a:pt x="519" y="396"/>
                    </a:lnTo>
                    <a:lnTo>
                      <a:pt x="521" y="396"/>
                    </a:lnTo>
                    <a:lnTo>
                      <a:pt x="523" y="396"/>
                    </a:lnTo>
                    <a:lnTo>
                      <a:pt x="523" y="398"/>
                    </a:lnTo>
                    <a:lnTo>
                      <a:pt x="524" y="398"/>
                    </a:lnTo>
                    <a:lnTo>
                      <a:pt x="523" y="398"/>
                    </a:lnTo>
                    <a:lnTo>
                      <a:pt x="524" y="398"/>
                    </a:lnTo>
                    <a:lnTo>
                      <a:pt x="524" y="400"/>
                    </a:lnTo>
                    <a:lnTo>
                      <a:pt x="526" y="402"/>
                    </a:lnTo>
                    <a:lnTo>
                      <a:pt x="524" y="402"/>
                    </a:lnTo>
                    <a:lnTo>
                      <a:pt x="524" y="400"/>
                    </a:lnTo>
                    <a:lnTo>
                      <a:pt x="523" y="402"/>
                    </a:lnTo>
                    <a:lnTo>
                      <a:pt x="521" y="402"/>
                    </a:lnTo>
                    <a:lnTo>
                      <a:pt x="521" y="400"/>
                    </a:lnTo>
                    <a:lnTo>
                      <a:pt x="519" y="400"/>
                    </a:lnTo>
                    <a:lnTo>
                      <a:pt x="521" y="402"/>
                    </a:lnTo>
                    <a:lnTo>
                      <a:pt x="519" y="402"/>
                    </a:lnTo>
                    <a:lnTo>
                      <a:pt x="517" y="402"/>
                    </a:lnTo>
                    <a:lnTo>
                      <a:pt x="519" y="402"/>
                    </a:lnTo>
                    <a:lnTo>
                      <a:pt x="517" y="402"/>
                    </a:lnTo>
                    <a:lnTo>
                      <a:pt x="517" y="404"/>
                    </a:lnTo>
                    <a:lnTo>
                      <a:pt x="517" y="402"/>
                    </a:lnTo>
                    <a:lnTo>
                      <a:pt x="517" y="404"/>
                    </a:lnTo>
                    <a:lnTo>
                      <a:pt x="517" y="402"/>
                    </a:lnTo>
                    <a:lnTo>
                      <a:pt x="519" y="402"/>
                    </a:lnTo>
                    <a:lnTo>
                      <a:pt x="517" y="402"/>
                    </a:lnTo>
                    <a:lnTo>
                      <a:pt x="519" y="402"/>
                    </a:lnTo>
                    <a:lnTo>
                      <a:pt x="521" y="402"/>
                    </a:lnTo>
                    <a:lnTo>
                      <a:pt x="519" y="402"/>
                    </a:lnTo>
                    <a:lnTo>
                      <a:pt x="521" y="402"/>
                    </a:lnTo>
                    <a:lnTo>
                      <a:pt x="521" y="400"/>
                    </a:lnTo>
                    <a:lnTo>
                      <a:pt x="521" y="402"/>
                    </a:lnTo>
                    <a:lnTo>
                      <a:pt x="521" y="404"/>
                    </a:lnTo>
                    <a:lnTo>
                      <a:pt x="519" y="404"/>
                    </a:lnTo>
                    <a:lnTo>
                      <a:pt x="521" y="404"/>
                    </a:lnTo>
                    <a:lnTo>
                      <a:pt x="521" y="402"/>
                    </a:lnTo>
                    <a:lnTo>
                      <a:pt x="523" y="402"/>
                    </a:lnTo>
                    <a:lnTo>
                      <a:pt x="524" y="402"/>
                    </a:lnTo>
                    <a:lnTo>
                      <a:pt x="526" y="404"/>
                    </a:lnTo>
                    <a:lnTo>
                      <a:pt x="526" y="406"/>
                    </a:lnTo>
                    <a:lnTo>
                      <a:pt x="528" y="406"/>
                    </a:lnTo>
                    <a:lnTo>
                      <a:pt x="528" y="408"/>
                    </a:lnTo>
                    <a:lnTo>
                      <a:pt x="530" y="408"/>
                    </a:lnTo>
                    <a:lnTo>
                      <a:pt x="530" y="410"/>
                    </a:lnTo>
                    <a:lnTo>
                      <a:pt x="530" y="412"/>
                    </a:lnTo>
                    <a:lnTo>
                      <a:pt x="530" y="414"/>
                    </a:lnTo>
                    <a:lnTo>
                      <a:pt x="532" y="414"/>
                    </a:lnTo>
                    <a:lnTo>
                      <a:pt x="534" y="415"/>
                    </a:lnTo>
                    <a:lnTo>
                      <a:pt x="534" y="417"/>
                    </a:lnTo>
                    <a:lnTo>
                      <a:pt x="534" y="419"/>
                    </a:lnTo>
                    <a:lnTo>
                      <a:pt x="534" y="417"/>
                    </a:lnTo>
                    <a:lnTo>
                      <a:pt x="534" y="419"/>
                    </a:lnTo>
                    <a:lnTo>
                      <a:pt x="534" y="421"/>
                    </a:lnTo>
                    <a:lnTo>
                      <a:pt x="532" y="423"/>
                    </a:lnTo>
                    <a:lnTo>
                      <a:pt x="532" y="425"/>
                    </a:lnTo>
                    <a:lnTo>
                      <a:pt x="532" y="423"/>
                    </a:lnTo>
                    <a:lnTo>
                      <a:pt x="534" y="425"/>
                    </a:lnTo>
                    <a:lnTo>
                      <a:pt x="534" y="427"/>
                    </a:lnTo>
                    <a:lnTo>
                      <a:pt x="534" y="429"/>
                    </a:lnTo>
                    <a:lnTo>
                      <a:pt x="532" y="429"/>
                    </a:lnTo>
                    <a:lnTo>
                      <a:pt x="534" y="429"/>
                    </a:lnTo>
                    <a:lnTo>
                      <a:pt x="532" y="429"/>
                    </a:lnTo>
                    <a:lnTo>
                      <a:pt x="530" y="431"/>
                    </a:lnTo>
                    <a:lnTo>
                      <a:pt x="532" y="433"/>
                    </a:lnTo>
                    <a:lnTo>
                      <a:pt x="534" y="433"/>
                    </a:lnTo>
                    <a:lnTo>
                      <a:pt x="534" y="435"/>
                    </a:lnTo>
                    <a:lnTo>
                      <a:pt x="532" y="435"/>
                    </a:lnTo>
                    <a:lnTo>
                      <a:pt x="532" y="437"/>
                    </a:lnTo>
                    <a:lnTo>
                      <a:pt x="530" y="437"/>
                    </a:lnTo>
                    <a:lnTo>
                      <a:pt x="528" y="437"/>
                    </a:lnTo>
                    <a:lnTo>
                      <a:pt x="526" y="437"/>
                    </a:lnTo>
                    <a:lnTo>
                      <a:pt x="526" y="438"/>
                    </a:lnTo>
                    <a:lnTo>
                      <a:pt x="528" y="440"/>
                    </a:lnTo>
                    <a:lnTo>
                      <a:pt x="526" y="440"/>
                    </a:lnTo>
                    <a:lnTo>
                      <a:pt x="526" y="442"/>
                    </a:lnTo>
                    <a:lnTo>
                      <a:pt x="526" y="444"/>
                    </a:lnTo>
                    <a:lnTo>
                      <a:pt x="528" y="444"/>
                    </a:lnTo>
                    <a:lnTo>
                      <a:pt x="530" y="444"/>
                    </a:lnTo>
                    <a:lnTo>
                      <a:pt x="530" y="446"/>
                    </a:lnTo>
                    <a:lnTo>
                      <a:pt x="530" y="448"/>
                    </a:lnTo>
                    <a:lnTo>
                      <a:pt x="528" y="448"/>
                    </a:lnTo>
                    <a:lnTo>
                      <a:pt x="528" y="450"/>
                    </a:lnTo>
                    <a:lnTo>
                      <a:pt x="526" y="450"/>
                    </a:lnTo>
                    <a:lnTo>
                      <a:pt x="526" y="452"/>
                    </a:lnTo>
                    <a:lnTo>
                      <a:pt x="526" y="454"/>
                    </a:lnTo>
                    <a:lnTo>
                      <a:pt x="524" y="454"/>
                    </a:lnTo>
                    <a:lnTo>
                      <a:pt x="526" y="456"/>
                    </a:lnTo>
                    <a:lnTo>
                      <a:pt x="526" y="458"/>
                    </a:lnTo>
                    <a:lnTo>
                      <a:pt x="526" y="460"/>
                    </a:lnTo>
                    <a:lnTo>
                      <a:pt x="526" y="458"/>
                    </a:lnTo>
                    <a:lnTo>
                      <a:pt x="528" y="460"/>
                    </a:lnTo>
                    <a:lnTo>
                      <a:pt x="528" y="462"/>
                    </a:lnTo>
                    <a:lnTo>
                      <a:pt x="528" y="460"/>
                    </a:lnTo>
                    <a:lnTo>
                      <a:pt x="528" y="462"/>
                    </a:lnTo>
                    <a:lnTo>
                      <a:pt x="530" y="462"/>
                    </a:lnTo>
                    <a:lnTo>
                      <a:pt x="530" y="463"/>
                    </a:lnTo>
                    <a:lnTo>
                      <a:pt x="530" y="465"/>
                    </a:lnTo>
                    <a:lnTo>
                      <a:pt x="528" y="465"/>
                    </a:lnTo>
                    <a:lnTo>
                      <a:pt x="530" y="465"/>
                    </a:lnTo>
                    <a:lnTo>
                      <a:pt x="530" y="463"/>
                    </a:lnTo>
                    <a:lnTo>
                      <a:pt x="530" y="465"/>
                    </a:lnTo>
                    <a:lnTo>
                      <a:pt x="528" y="465"/>
                    </a:lnTo>
                    <a:lnTo>
                      <a:pt x="528" y="467"/>
                    </a:lnTo>
                    <a:lnTo>
                      <a:pt x="528" y="469"/>
                    </a:lnTo>
                    <a:lnTo>
                      <a:pt x="528" y="467"/>
                    </a:lnTo>
                    <a:lnTo>
                      <a:pt x="528" y="469"/>
                    </a:lnTo>
                    <a:lnTo>
                      <a:pt x="528" y="471"/>
                    </a:lnTo>
                    <a:lnTo>
                      <a:pt x="528" y="473"/>
                    </a:lnTo>
                    <a:lnTo>
                      <a:pt x="528" y="475"/>
                    </a:lnTo>
                    <a:lnTo>
                      <a:pt x="530" y="475"/>
                    </a:lnTo>
                    <a:lnTo>
                      <a:pt x="528" y="475"/>
                    </a:lnTo>
                    <a:lnTo>
                      <a:pt x="530" y="475"/>
                    </a:lnTo>
                    <a:lnTo>
                      <a:pt x="530" y="477"/>
                    </a:lnTo>
                    <a:lnTo>
                      <a:pt x="530" y="475"/>
                    </a:lnTo>
                    <a:lnTo>
                      <a:pt x="528" y="473"/>
                    </a:lnTo>
                    <a:lnTo>
                      <a:pt x="528" y="471"/>
                    </a:lnTo>
                    <a:lnTo>
                      <a:pt x="528" y="469"/>
                    </a:lnTo>
                    <a:lnTo>
                      <a:pt x="528" y="467"/>
                    </a:lnTo>
                    <a:lnTo>
                      <a:pt x="528" y="465"/>
                    </a:lnTo>
                    <a:lnTo>
                      <a:pt x="530" y="465"/>
                    </a:lnTo>
                    <a:lnTo>
                      <a:pt x="530" y="463"/>
                    </a:lnTo>
                    <a:lnTo>
                      <a:pt x="530" y="462"/>
                    </a:lnTo>
                    <a:lnTo>
                      <a:pt x="530" y="460"/>
                    </a:lnTo>
                    <a:lnTo>
                      <a:pt x="528" y="460"/>
                    </a:lnTo>
                    <a:lnTo>
                      <a:pt x="528" y="458"/>
                    </a:lnTo>
                    <a:lnTo>
                      <a:pt x="526" y="458"/>
                    </a:lnTo>
                    <a:lnTo>
                      <a:pt x="526" y="456"/>
                    </a:lnTo>
                    <a:lnTo>
                      <a:pt x="526" y="454"/>
                    </a:lnTo>
                    <a:lnTo>
                      <a:pt x="526" y="452"/>
                    </a:lnTo>
                    <a:lnTo>
                      <a:pt x="528" y="450"/>
                    </a:lnTo>
                    <a:lnTo>
                      <a:pt x="528" y="452"/>
                    </a:lnTo>
                    <a:lnTo>
                      <a:pt x="528" y="450"/>
                    </a:lnTo>
                    <a:lnTo>
                      <a:pt x="530" y="450"/>
                    </a:lnTo>
                    <a:lnTo>
                      <a:pt x="530" y="448"/>
                    </a:lnTo>
                    <a:lnTo>
                      <a:pt x="532" y="448"/>
                    </a:lnTo>
                    <a:lnTo>
                      <a:pt x="532" y="446"/>
                    </a:lnTo>
                    <a:lnTo>
                      <a:pt x="530" y="446"/>
                    </a:lnTo>
                    <a:lnTo>
                      <a:pt x="530" y="444"/>
                    </a:lnTo>
                    <a:lnTo>
                      <a:pt x="528" y="444"/>
                    </a:lnTo>
                    <a:lnTo>
                      <a:pt x="526" y="444"/>
                    </a:lnTo>
                    <a:lnTo>
                      <a:pt x="526" y="442"/>
                    </a:lnTo>
                    <a:lnTo>
                      <a:pt x="528" y="442"/>
                    </a:lnTo>
                    <a:lnTo>
                      <a:pt x="528" y="440"/>
                    </a:lnTo>
                    <a:lnTo>
                      <a:pt x="528" y="438"/>
                    </a:lnTo>
                    <a:lnTo>
                      <a:pt x="526" y="438"/>
                    </a:lnTo>
                    <a:lnTo>
                      <a:pt x="528" y="438"/>
                    </a:lnTo>
                    <a:lnTo>
                      <a:pt x="526" y="438"/>
                    </a:lnTo>
                    <a:lnTo>
                      <a:pt x="526" y="437"/>
                    </a:lnTo>
                    <a:lnTo>
                      <a:pt x="528" y="437"/>
                    </a:lnTo>
                    <a:lnTo>
                      <a:pt x="530" y="437"/>
                    </a:lnTo>
                    <a:lnTo>
                      <a:pt x="532" y="435"/>
                    </a:lnTo>
                    <a:lnTo>
                      <a:pt x="534" y="435"/>
                    </a:lnTo>
                    <a:lnTo>
                      <a:pt x="534" y="433"/>
                    </a:lnTo>
                    <a:lnTo>
                      <a:pt x="532" y="433"/>
                    </a:lnTo>
                    <a:lnTo>
                      <a:pt x="532" y="431"/>
                    </a:lnTo>
                    <a:lnTo>
                      <a:pt x="530" y="431"/>
                    </a:lnTo>
                    <a:lnTo>
                      <a:pt x="532" y="431"/>
                    </a:lnTo>
                    <a:lnTo>
                      <a:pt x="530" y="431"/>
                    </a:lnTo>
                    <a:lnTo>
                      <a:pt x="532" y="431"/>
                    </a:lnTo>
                    <a:lnTo>
                      <a:pt x="534" y="429"/>
                    </a:lnTo>
                    <a:lnTo>
                      <a:pt x="534" y="427"/>
                    </a:lnTo>
                    <a:lnTo>
                      <a:pt x="534" y="425"/>
                    </a:lnTo>
                    <a:lnTo>
                      <a:pt x="534" y="423"/>
                    </a:lnTo>
                    <a:lnTo>
                      <a:pt x="534" y="421"/>
                    </a:lnTo>
                    <a:lnTo>
                      <a:pt x="534" y="423"/>
                    </a:lnTo>
                    <a:lnTo>
                      <a:pt x="534" y="421"/>
                    </a:lnTo>
                    <a:lnTo>
                      <a:pt x="536" y="419"/>
                    </a:lnTo>
                    <a:lnTo>
                      <a:pt x="536" y="417"/>
                    </a:lnTo>
                    <a:lnTo>
                      <a:pt x="534" y="417"/>
                    </a:lnTo>
                    <a:lnTo>
                      <a:pt x="534" y="415"/>
                    </a:lnTo>
                    <a:lnTo>
                      <a:pt x="534" y="414"/>
                    </a:lnTo>
                    <a:lnTo>
                      <a:pt x="532" y="414"/>
                    </a:lnTo>
                    <a:lnTo>
                      <a:pt x="530" y="412"/>
                    </a:lnTo>
                    <a:lnTo>
                      <a:pt x="530" y="410"/>
                    </a:lnTo>
                    <a:lnTo>
                      <a:pt x="530" y="408"/>
                    </a:lnTo>
                    <a:lnTo>
                      <a:pt x="528" y="408"/>
                    </a:lnTo>
                    <a:lnTo>
                      <a:pt x="528" y="406"/>
                    </a:lnTo>
                    <a:lnTo>
                      <a:pt x="528" y="404"/>
                    </a:lnTo>
                    <a:lnTo>
                      <a:pt x="526" y="404"/>
                    </a:lnTo>
                    <a:lnTo>
                      <a:pt x="526" y="402"/>
                    </a:lnTo>
                    <a:lnTo>
                      <a:pt x="526" y="400"/>
                    </a:lnTo>
                    <a:lnTo>
                      <a:pt x="524" y="400"/>
                    </a:lnTo>
                    <a:lnTo>
                      <a:pt x="524" y="398"/>
                    </a:lnTo>
                    <a:lnTo>
                      <a:pt x="524" y="396"/>
                    </a:lnTo>
                    <a:lnTo>
                      <a:pt x="524" y="398"/>
                    </a:lnTo>
                    <a:lnTo>
                      <a:pt x="523" y="396"/>
                    </a:lnTo>
                    <a:lnTo>
                      <a:pt x="524" y="396"/>
                    </a:lnTo>
                    <a:lnTo>
                      <a:pt x="523" y="396"/>
                    </a:lnTo>
                    <a:lnTo>
                      <a:pt x="521" y="396"/>
                    </a:lnTo>
                    <a:lnTo>
                      <a:pt x="519" y="396"/>
                    </a:lnTo>
                    <a:lnTo>
                      <a:pt x="517" y="396"/>
                    </a:lnTo>
                    <a:lnTo>
                      <a:pt x="517" y="394"/>
                    </a:lnTo>
                    <a:lnTo>
                      <a:pt x="515" y="394"/>
                    </a:lnTo>
                    <a:lnTo>
                      <a:pt x="515" y="392"/>
                    </a:lnTo>
                    <a:lnTo>
                      <a:pt x="517" y="392"/>
                    </a:lnTo>
                    <a:lnTo>
                      <a:pt x="515" y="392"/>
                    </a:lnTo>
                    <a:lnTo>
                      <a:pt x="515" y="390"/>
                    </a:lnTo>
                    <a:lnTo>
                      <a:pt x="515" y="389"/>
                    </a:lnTo>
                    <a:lnTo>
                      <a:pt x="517" y="389"/>
                    </a:lnTo>
                    <a:lnTo>
                      <a:pt x="515" y="389"/>
                    </a:lnTo>
                    <a:lnTo>
                      <a:pt x="515" y="387"/>
                    </a:lnTo>
                    <a:lnTo>
                      <a:pt x="517" y="387"/>
                    </a:lnTo>
                    <a:lnTo>
                      <a:pt x="517" y="385"/>
                    </a:lnTo>
                    <a:lnTo>
                      <a:pt x="517" y="387"/>
                    </a:lnTo>
                    <a:lnTo>
                      <a:pt x="515" y="387"/>
                    </a:lnTo>
                    <a:lnTo>
                      <a:pt x="515" y="389"/>
                    </a:lnTo>
                    <a:lnTo>
                      <a:pt x="517" y="389"/>
                    </a:lnTo>
                    <a:lnTo>
                      <a:pt x="515" y="389"/>
                    </a:lnTo>
                    <a:lnTo>
                      <a:pt x="515" y="390"/>
                    </a:lnTo>
                    <a:lnTo>
                      <a:pt x="515" y="392"/>
                    </a:lnTo>
                    <a:lnTo>
                      <a:pt x="513" y="392"/>
                    </a:lnTo>
                    <a:lnTo>
                      <a:pt x="513" y="390"/>
                    </a:lnTo>
                    <a:lnTo>
                      <a:pt x="511" y="390"/>
                    </a:lnTo>
                    <a:lnTo>
                      <a:pt x="511" y="389"/>
                    </a:lnTo>
                    <a:lnTo>
                      <a:pt x="509" y="389"/>
                    </a:lnTo>
                    <a:lnTo>
                      <a:pt x="507" y="389"/>
                    </a:lnTo>
                    <a:lnTo>
                      <a:pt x="507" y="387"/>
                    </a:lnTo>
                    <a:lnTo>
                      <a:pt x="507" y="389"/>
                    </a:lnTo>
                    <a:lnTo>
                      <a:pt x="507" y="387"/>
                    </a:lnTo>
                    <a:lnTo>
                      <a:pt x="507" y="389"/>
                    </a:lnTo>
                    <a:lnTo>
                      <a:pt x="505" y="389"/>
                    </a:lnTo>
                    <a:lnTo>
                      <a:pt x="507" y="389"/>
                    </a:lnTo>
                    <a:lnTo>
                      <a:pt x="505" y="390"/>
                    </a:lnTo>
                    <a:lnTo>
                      <a:pt x="505" y="389"/>
                    </a:lnTo>
                    <a:lnTo>
                      <a:pt x="505" y="387"/>
                    </a:lnTo>
                    <a:lnTo>
                      <a:pt x="503" y="387"/>
                    </a:lnTo>
                    <a:lnTo>
                      <a:pt x="505" y="387"/>
                    </a:lnTo>
                    <a:lnTo>
                      <a:pt x="503" y="387"/>
                    </a:lnTo>
                    <a:lnTo>
                      <a:pt x="501" y="385"/>
                    </a:lnTo>
                    <a:lnTo>
                      <a:pt x="501" y="383"/>
                    </a:lnTo>
                    <a:lnTo>
                      <a:pt x="499" y="383"/>
                    </a:lnTo>
                    <a:lnTo>
                      <a:pt x="498" y="383"/>
                    </a:lnTo>
                    <a:lnTo>
                      <a:pt x="499" y="383"/>
                    </a:lnTo>
                    <a:lnTo>
                      <a:pt x="498" y="383"/>
                    </a:lnTo>
                    <a:lnTo>
                      <a:pt x="496" y="383"/>
                    </a:lnTo>
                    <a:lnTo>
                      <a:pt x="496" y="381"/>
                    </a:lnTo>
                    <a:lnTo>
                      <a:pt x="498" y="381"/>
                    </a:lnTo>
                    <a:lnTo>
                      <a:pt x="498" y="379"/>
                    </a:lnTo>
                    <a:lnTo>
                      <a:pt x="496" y="379"/>
                    </a:lnTo>
                    <a:lnTo>
                      <a:pt x="494" y="379"/>
                    </a:lnTo>
                    <a:lnTo>
                      <a:pt x="496" y="379"/>
                    </a:lnTo>
                    <a:lnTo>
                      <a:pt x="494" y="379"/>
                    </a:lnTo>
                    <a:lnTo>
                      <a:pt x="496" y="379"/>
                    </a:lnTo>
                    <a:lnTo>
                      <a:pt x="494" y="379"/>
                    </a:lnTo>
                    <a:lnTo>
                      <a:pt x="492" y="379"/>
                    </a:lnTo>
                    <a:lnTo>
                      <a:pt x="490" y="379"/>
                    </a:lnTo>
                    <a:lnTo>
                      <a:pt x="490" y="377"/>
                    </a:lnTo>
                    <a:lnTo>
                      <a:pt x="488" y="377"/>
                    </a:lnTo>
                    <a:lnTo>
                      <a:pt x="486" y="377"/>
                    </a:lnTo>
                    <a:lnTo>
                      <a:pt x="488" y="377"/>
                    </a:lnTo>
                    <a:lnTo>
                      <a:pt x="486" y="377"/>
                    </a:lnTo>
                    <a:lnTo>
                      <a:pt x="486" y="375"/>
                    </a:lnTo>
                    <a:lnTo>
                      <a:pt x="486" y="377"/>
                    </a:lnTo>
                    <a:lnTo>
                      <a:pt x="486" y="375"/>
                    </a:lnTo>
                    <a:lnTo>
                      <a:pt x="484" y="375"/>
                    </a:lnTo>
                    <a:lnTo>
                      <a:pt x="482" y="375"/>
                    </a:lnTo>
                    <a:lnTo>
                      <a:pt x="484" y="375"/>
                    </a:lnTo>
                    <a:lnTo>
                      <a:pt x="484" y="377"/>
                    </a:lnTo>
                    <a:lnTo>
                      <a:pt x="482" y="377"/>
                    </a:lnTo>
                    <a:lnTo>
                      <a:pt x="480" y="377"/>
                    </a:lnTo>
                    <a:lnTo>
                      <a:pt x="482" y="377"/>
                    </a:lnTo>
                    <a:lnTo>
                      <a:pt x="480" y="377"/>
                    </a:lnTo>
                    <a:lnTo>
                      <a:pt x="482" y="377"/>
                    </a:lnTo>
                    <a:lnTo>
                      <a:pt x="480" y="377"/>
                    </a:lnTo>
                    <a:lnTo>
                      <a:pt x="482" y="379"/>
                    </a:lnTo>
                    <a:lnTo>
                      <a:pt x="480" y="379"/>
                    </a:lnTo>
                    <a:lnTo>
                      <a:pt x="482" y="379"/>
                    </a:lnTo>
                    <a:lnTo>
                      <a:pt x="480" y="379"/>
                    </a:lnTo>
                    <a:lnTo>
                      <a:pt x="480" y="377"/>
                    </a:lnTo>
                    <a:lnTo>
                      <a:pt x="478" y="377"/>
                    </a:lnTo>
                    <a:lnTo>
                      <a:pt x="476" y="375"/>
                    </a:lnTo>
                    <a:lnTo>
                      <a:pt x="476" y="373"/>
                    </a:lnTo>
                    <a:lnTo>
                      <a:pt x="476" y="375"/>
                    </a:lnTo>
                    <a:lnTo>
                      <a:pt x="478" y="375"/>
                    </a:lnTo>
                    <a:lnTo>
                      <a:pt x="478" y="377"/>
                    </a:lnTo>
                    <a:lnTo>
                      <a:pt x="476" y="377"/>
                    </a:lnTo>
                    <a:lnTo>
                      <a:pt x="478" y="377"/>
                    </a:lnTo>
                    <a:lnTo>
                      <a:pt x="476" y="377"/>
                    </a:lnTo>
                    <a:lnTo>
                      <a:pt x="475" y="377"/>
                    </a:lnTo>
                    <a:lnTo>
                      <a:pt x="473" y="377"/>
                    </a:lnTo>
                    <a:lnTo>
                      <a:pt x="471" y="375"/>
                    </a:lnTo>
                    <a:lnTo>
                      <a:pt x="471" y="373"/>
                    </a:lnTo>
                    <a:lnTo>
                      <a:pt x="471" y="375"/>
                    </a:lnTo>
                    <a:lnTo>
                      <a:pt x="471" y="373"/>
                    </a:lnTo>
                    <a:lnTo>
                      <a:pt x="473" y="373"/>
                    </a:lnTo>
                    <a:lnTo>
                      <a:pt x="471" y="373"/>
                    </a:lnTo>
                    <a:lnTo>
                      <a:pt x="473" y="373"/>
                    </a:lnTo>
                    <a:lnTo>
                      <a:pt x="473" y="371"/>
                    </a:lnTo>
                    <a:lnTo>
                      <a:pt x="473" y="369"/>
                    </a:lnTo>
                    <a:lnTo>
                      <a:pt x="473" y="371"/>
                    </a:lnTo>
                    <a:lnTo>
                      <a:pt x="471" y="371"/>
                    </a:lnTo>
                    <a:lnTo>
                      <a:pt x="471" y="369"/>
                    </a:lnTo>
                    <a:lnTo>
                      <a:pt x="471" y="367"/>
                    </a:lnTo>
                    <a:lnTo>
                      <a:pt x="471" y="365"/>
                    </a:lnTo>
                    <a:lnTo>
                      <a:pt x="473" y="365"/>
                    </a:lnTo>
                    <a:lnTo>
                      <a:pt x="471" y="365"/>
                    </a:lnTo>
                    <a:lnTo>
                      <a:pt x="471" y="364"/>
                    </a:lnTo>
                    <a:lnTo>
                      <a:pt x="469" y="364"/>
                    </a:lnTo>
                    <a:lnTo>
                      <a:pt x="469" y="362"/>
                    </a:lnTo>
                    <a:lnTo>
                      <a:pt x="467" y="362"/>
                    </a:lnTo>
                    <a:lnTo>
                      <a:pt x="467" y="360"/>
                    </a:lnTo>
                    <a:lnTo>
                      <a:pt x="469" y="360"/>
                    </a:lnTo>
                    <a:lnTo>
                      <a:pt x="467" y="360"/>
                    </a:lnTo>
                    <a:lnTo>
                      <a:pt x="469" y="360"/>
                    </a:lnTo>
                    <a:lnTo>
                      <a:pt x="467" y="360"/>
                    </a:lnTo>
                    <a:lnTo>
                      <a:pt x="467" y="358"/>
                    </a:lnTo>
                    <a:lnTo>
                      <a:pt x="467" y="360"/>
                    </a:lnTo>
                    <a:lnTo>
                      <a:pt x="467" y="358"/>
                    </a:lnTo>
                    <a:lnTo>
                      <a:pt x="467" y="356"/>
                    </a:lnTo>
                    <a:lnTo>
                      <a:pt x="465" y="356"/>
                    </a:lnTo>
                    <a:lnTo>
                      <a:pt x="465" y="354"/>
                    </a:lnTo>
                    <a:lnTo>
                      <a:pt x="465" y="352"/>
                    </a:lnTo>
                    <a:lnTo>
                      <a:pt x="465" y="354"/>
                    </a:lnTo>
                    <a:lnTo>
                      <a:pt x="463" y="354"/>
                    </a:lnTo>
                    <a:lnTo>
                      <a:pt x="463" y="352"/>
                    </a:lnTo>
                    <a:lnTo>
                      <a:pt x="465" y="352"/>
                    </a:lnTo>
                    <a:lnTo>
                      <a:pt x="463" y="352"/>
                    </a:lnTo>
                    <a:lnTo>
                      <a:pt x="461" y="352"/>
                    </a:lnTo>
                    <a:lnTo>
                      <a:pt x="461" y="350"/>
                    </a:lnTo>
                    <a:lnTo>
                      <a:pt x="461" y="348"/>
                    </a:lnTo>
                    <a:lnTo>
                      <a:pt x="459" y="348"/>
                    </a:lnTo>
                    <a:lnTo>
                      <a:pt x="457" y="348"/>
                    </a:lnTo>
                    <a:lnTo>
                      <a:pt x="457" y="346"/>
                    </a:lnTo>
                    <a:lnTo>
                      <a:pt x="457" y="348"/>
                    </a:lnTo>
                    <a:lnTo>
                      <a:pt x="457" y="346"/>
                    </a:lnTo>
                    <a:lnTo>
                      <a:pt x="457" y="348"/>
                    </a:lnTo>
                    <a:lnTo>
                      <a:pt x="457" y="346"/>
                    </a:lnTo>
                    <a:lnTo>
                      <a:pt x="455" y="346"/>
                    </a:lnTo>
                    <a:lnTo>
                      <a:pt x="457" y="346"/>
                    </a:lnTo>
                    <a:lnTo>
                      <a:pt x="457" y="344"/>
                    </a:lnTo>
                    <a:lnTo>
                      <a:pt x="455" y="344"/>
                    </a:lnTo>
                    <a:lnTo>
                      <a:pt x="453" y="344"/>
                    </a:lnTo>
                    <a:lnTo>
                      <a:pt x="453" y="346"/>
                    </a:lnTo>
                    <a:lnTo>
                      <a:pt x="453" y="344"/>
                    </a:lnTo>
                    <a:lnTo>
                      <a:pt x="453" y="342"/>
                    </a:lnTo>
                    <a:lnTo>
                      <a:pt x="451" y="342"/>
                    </a:lnTo>
                    <a:lnTo>
                      <a:pt x="451" y="340"/>
                    </a:lnTo>
                    <a:lnTo>
                      <a:pt x="451" y="339"/>
                    </a:lnTo>
                    <a:lnTo>
                      <a:pt x="450" y="339"/>
                    </a:lnTo>
                    <a:lnTo>
                      <a:pt x="450" y="337"/>
                    </a:lnTo>
                    <a:lnTo>
                      <a:pt x="450" y="339"/>
                    </a:lnTo>
                    <a:lnTo>
                      <a:pt x="448" y="339"/>
                    </a:lnTo>
                    <a:lnTo>
                      <a:pt x="448" y="337"/>
                    </a:lnTo>
                    <a:lnTo>
                      <a:pt x="448" y="339"/>
                    </a:lnTo>
                    <a:lnTo>
                      <a:pt x="448" y="337"/>
                    </a:lnTo>
                    <a:lnTo>
                      <a:pt x="446" y="337"/>
                    </a:lnTo>
                    <a:lnTo>
                      <a:pt x="448" y="339"/>
                    </a:lnTo>
                    <a:lnTo>
                      <a:pt x="450" y="339"/>
                    </a:lnTo>
                    <a:lnTo>
                      <a:pt x="450" y="337"/>
                    </a:lnTo>
                    <a:lnTo>
                      <a:pt x="450" y="339"/>
                    </a:lnTo>
                    <a:lnTo>
                      <a:pt x="451" y="339"/>
                    </a:lnTo>
                    <a:lnTo>
                      <a:pt x="451" y="340"/>
                    </a:lnTo>
                    <a:lnTo>
                      <a:pt x="451" y="342"/>
                    </a:lnTo>
                    <a:lnTo>
                      <a:pt x="453" y="342"/>
                    </a:lnTo>
                    <a:lnTo>
                      <a:pt x="453" y="344"/>
                    </a:lnTo>
                    <a:lnTo>
                      <a:pt x="453" y="346"/>
                    </a:lnTo>
                    <a:lnTo>
                      <a:pt x="451" y="346"/>
                    </a:lnTo>
                    <a:lnTo>
                      <a:pt x="453" y="346"/>
                    </a:lnTo>
                    <a:lnTo>
                      <a:pt x="453" y="348"/>
                    </a:lnTo>
                    <a:lnTo>
                      <a:pt x="451" y="348"/>
                    </a:lnTo>
                    <a:lnTo>
                      <a:pt x="451" y="346"/>
                    </a:lnTo>
                    <a:lnTo>
                      <a:pt x="451" y="348"/>
                    </a:lnTo>
                    <a:lnTo>
                      <a:pt x="450" y="346"/>
                    </a:lnTo>
                    <a:lnTo>
                      <a:pt x="448" y="346"/>
                    </a:lnTo>
                    <a:lnTo>
                      <a:pt x="448" y="344"/>
                    </a:lnTo>
                    <a:lnTo>
                      <a:pt x="450" y="344"/>
                    </a:lnTo>
                    <a:lnTo>
                      <a:pt x="450" y="346"/>
                    </a:lnTo>
                    <a:lnTo>
                      <a:pt x="451" y="346"/>
                    </a:lnTo>
                    <a:lnTo>
                      <a:pt x="451" y="344"/>
                    </a:lnTo>
                    <a:lnTo>
                      <a:pt x="453" y="344"/>
                    </a:lnTo>
                    <a:lnTo>
                      <a:pt x="451" y="342"/>
                    </a:lnTo>
                    <a:lnTo>
                      <a:pt x="450" y="342"/>
                    </a:lnTo>
                    <a:lnTo>
                      <a:pt x="450" y="344"/>
                    </a:lnTo>
                    <a:lnTo>
                      <a:pt x="448" y="344"/>
                    </a:lnTo>
                    <a:lnTo>
                      <a:pt x="448" y="342"/>
                    </a:lnTo>
                    <a:lnTo>
                      <a:pt x="448" y="340"/>
                    </a:lnTo>
                    <a:lnTo>
                      <a:pt x="448" y="339"/>
                    </a:lnTo>
                    <a:lnTo>
                      <a:pt x="448" y="340"/>
                    </a:lnTo>
                    <a:lnTo>
                      <a:pt x="448" y="339"/>
                    </a:lnTo>
                    <a:lnTo>
                      <a:pt x="448" y="340"/>
                    </a:lnTo>
                    <a:lnTo>
                      <a:pt x="446" y="342"/>
                    </a:lnTo>
                    <a:lnTo>
                      <a:pt x="446" y="344"/>
                    </a:lnTo>
                    <a:lnTo>
                      <a:pt x="446" y="342"/>
                    </a:lnTo>
                    <a:lnTo>
                      <a:pt x="444" y="340"/>
                    </a:lnTo>
                    <a:lnTo>
                      <a:pt x="444" y="342"/>
                    </a:lnTo>
                    <a:lnTo>
                      <a:pt x="442" y="342"/>
                    </a:lnTo>
                    <a:lnTo>
                      <a:pt x="442" y="340"/>
                    </a:lnTo>
                    <a:lnTo>
                      <a:pt x="440" y="340"/>
                    </a:lnTo>
                    <a:lnTo>
                      <a:pt x="440" y="342"/>
                    </a:lnTo>
                    <a:lnTo>
                      <a:pt x="438" y="342"/>
                    </a:lnTo>
                    <a:lnTo>
                      <a:pt x="438" y="340"/>
                    </a:lnTo>
                    <a:lnTo>
                      <a:pt x="436" y="339"/>
                    </a:lnTo>
                    <a:lnTo>
                      <a:pt x="434" y="339"/>
                    </a:lnTo>
                    <a:lnTo>
                      <a:pt x="434" y="340"/>
                    </a:lnTo>
                    <a:lnTo>
                      <a:pt x="432" y="340"/>
                    </a:lnTo>
                    <a:lnTo>
                      <a:pt x="432" y="339"/>
                    </a:lnTo>
                    <a:lnTo>
                      <a:pt x="434" y="339"/>
                    </a:lnTo>
                    <a:lnTo>
                      <a:pt x="436" y="339"/>
                    </a:lnTo>
                    <a:lnTo>
                      <a:pt x="438" y="339"/>
                    </a:lnTo>
                    <a:lnTo>
                      <a:pt x="438" y="340"/>
                    </a:lnTo>
                    <a:lnTo>
                      <a:pt x="440" y="340"/>
                    </a:lnTo>
                    <a:lnTo>
                      <a:pt x="440" y="339"/>
                    </a:lnTo>
                    <a:lnTo>
                      <a:pt x="440" y="340"/>
                    </a:lnTo>
                    <a:lnTo>
                      <a:pt x="442" y="340"/>
                    </a:lnTo>
                    <a:lnTo>
                      <a:pt x="442" y="339"/>
                    </a:lnTo>
                    <a:lnTo>
                      <a:pt x="444" y="339"/>
                    </a:lnTo>
                    <a:lnTo>
                      <a:pt x="442" y="339"/>
                    </a:lnTo>
                    <a:lnTo>
                      <a:pt x="442" y="337"/>
                    </a:lnTo>
                    <a:lnTo>
                      <a:pt x="442" y="335"/>
                    </a:lnTo>
                    <a:lnTo>
                      <a:pt x="442" y="337"/>
                    </a:lnTo>
                    <a:lnTo>
                      <a:pt x="442" y="339"/>
                    </a:lnTo>
                    <a:lnTo>
                      <a:pt x="444" y="339"/>
                    </a:lnTo>
                    <a:lnTo>
                      <a:pt x="442" y="339"/>
                    </a:lnTo>
                    <a:lnTo>
                      <a:pt x="440" y="340"/>
                    </a:lnTo>
                    <a:lnTo>
                      <a:pt x="440" y="339"/>
                    </a:lnTo>
                    <a:lnTo>
                      <a:pt x="440" y="340"/>
                    </a:lnTo>
                    <a:lnTo>
                      <a:pt x="438" y="340"/>
                    </a:lnTo>
                    <a:lnTo>
                      <a:pt x="438" y="339"/>
                    </a:lnTo>
                    <a:lnTo>
                      <a:pt x="436" y="339"/>
                    </a:lnTo>
                    <a:lnTo>
                      <a:pt x="434" y="339"/>
                    </a:lnTo>
                    <a:lnTo>
                      <a:pt x="432" y="339"/>
                    </a:lnTo>
                    <a:lnTo>
                      <a:pt x="432" y="340"/>
                    </a:lnTo>
                    <a:lnTo>
                      <a:pt x="432" y="339"/>
                    </a:lnTo>
                    <a:lnTo>
                      <a:pt x="434" y="339"/>
                    </a:lnTo>
                    <a:lnTo>
                      <a:pt x="436" y="337"/>
                    </a:lnTo>
                    <a:lnTo>
                      <a:pt x="436" y="339"/>
                    </a:lnTo>
                    <a:lnTo>
                      <a:pt x="436" y="337"/>
                    </a:lnTo>
                    <a:lnTo>
                      <a:pt x="436" y="339"/>
                    </a:lnTo>
                    <a:lnTo>
                      <a:pt x="436" y="337"/>
                    </a:lnTo>
                    <a:lnTo>
                      <a:pt x="434" y="337"/>
                    </a:lnTo>
                    <a:lnTo>
                      <a:pt x="432" y="337"/>
                    </a:lnTo>
                    <a:lnTo>
                      <a:pt x="432" y="335"/>
                    </a:lnTo>
                    <a:lnTo>
                      <a:pt x="432" y="333"/>
                    </a:lnTo>
                    <a:lnTo>
                      <a:pt x="432" y="335"/>
                    </a:lnTo>
                    <a:lnTo>
                      <a:pt x="430" y="335"/>
                    </a:lnTo>
                    <a:lnTo>
                      <a:pt x="428" y="335"/>
                    </a:lnTo>
                    <a:lnTo>
                      <a:pt x="430" y="335"/>
                    </a:lnTo>
                    <a:lnTo>
                      <a:pt x="430" y="333"/>
                    </a:lnTo>
                    <a:lnTo>
                      <a:pt x="432" y="333"/>
                    </a:lnTo>
                    <a:lnTo>
                      <a:pt x="430" y="333"/>
                    </a:lnTo>
                    <a:lnTo>
                      <a:pt x="432" y="333"/>
                    </a:lnTo>
                    <a:lnTo>
                      <a:pt x="432" y="331"/>
                    </a:lnTo>
                    <a:lnTo>
                      <a:pt x="434" y="331"/>
                    </a:lnTo>
                    <a:lnTo>
                      <a:pt x="432" y="331"/>
                    </a:lnTo>
                    <a:lnTo>
                      <a:pt x="432" y="333"/>
                    </a:lnTo>
                    <a:lnTo>
                      <a:pt x="432" y="331"/>
                    </a:lnTo>
                    <a:lnTo>
                      <a:pt x="430" y="331"/>
                    </a:lnTo>
                    <a:lnTo>
                      <a:pt x="430" y="333"/>
                    </a:lnTo>
                    <a:lnTo>
                      <a:pt x="432" y="333"/>
                    </a:lnTo>
                    <a:lnTo>
                      <a:pt x="430" y="333"/>
                    </a:lnTo>
                    <a:lnTo>
                      <a:pt x="430" y="335"/>
                    </a:lnTo>
                    <a:lnTo>
                      <a:pt x="430" y="333"/>
                    </a:lnTo>
                    <a:lnTo>
                      <a:pt x="430" y="335"/>
                    </a:lnTo>
                    <a:lnTo>
                      <a:pt x="428" y="335"/>
                    </a:lnTo>
                    <a:lnTo>
                      <a:pt x="430" y="335"/>
                    </a:lnTo>
                    <a:lnTo>
                      <a:pt x="428" y="335"/>
                    </a:lnTo>
                    <a:lnTo>
                      <a:pt x="428" y="337"/>
                    </a:lnTo>
                    <a:lnTo>
                      <a:pt x="428" y="335"/>
                    </a:lnTo>
                    <a:lnTo>
                      <a:pt x="426" y="335"/>
                    </a:lnTo>
                    <a:lnTo>
                      <a:pt x="426" y="333"/>
                    </a:lnTo>
                    <a:lnTo>
                      <a:pt x="425" y="333"/>
                    </a:lnTo>
                    <a:lnTo>
                      <a:pt x="425" y="331"/>
                    </a:lnTo>
                    <a:lnTo>
                      <a:pt x="426" y="331"/>
                    </a:lnTo>
                    <a:lnTo>
                      <a:pt x="426" y="329"/>
                    </a:lnTo>
                    <a:lnTo>
                      <a:pt x="425" y="329"/>
                    </a:lnTo>
                    <a:lnTo>
                      <a:pt x="426" y="327"/>
                    </a:lnTo>
                    <a:lnTo>
                      <a:pt x="425" y="325"/>
                    </a:lnTo>
                    <a:lnTo>
                      <a:pt x="426" y="325"/>
                    </a:lnTo>
                    <a:lnTo>
                      <a:pt x="426" y="327"/>
                    </a:lnTo>
                    <a:lnTo>
                      <a:pt x="426" y="329"/>
                    </a:lnTo>
                    <a:lnTo>
                      <a:pt x="426" y="331"/>
                    </a:lnTo>
                    <a:lnTo>
                      <a:pt x="426" y="329"/>
                    </a:lnTo>
                    <a:lnTo>
                      <a:pt x="426" y="327"/>
                    </a:lnTo>
                    <a:lnTo>
                      <a:pt x="426" y="325"/>
                    </a:lnTo>
                    <a:lnTo>
                      <a:pt x="426" y="323"/>
                    </a:lnTo>
                    <a:lnTo>
                      <a:pt x="426" y="325"/>
                    </a:lnTo>
                    <a:lnTo>
                      <a:pt x="426" y="323"/>
                    </a:lnTo>
                    <a:lnTo>
                      <a:pt x="428" y="323"/>
                    </a:lnTo>
                    <a:lnTo>
                      <a:pt x="430" y="323"/>
                    </a:lnTo>
                    <a:lnTo>
                      <a:pt x="430" y="321"/>
                    </a:lnTo>
                    <a:lnTo>
                      <a:pt x="428" y="321"/>
                    </a:lnTo>
                    <a:lnTo>
                      <a:pt x="428" y="323"/>
                    </a:lnTo>
                    <a:lnTo>
                      <a:pt x="428" y="321"/>
                    </a:lnTo>
                    <a:lnTo>
                      <a:pt x="426" y="321"/>
                    </a:lnTo>
                    <a:lnTo>
                      <a:pt x="426" y="319"/>
                    </a:lnTo>
                    <a:lnTo>
                      <a:pt x="428" y="319"/>
                    </a:lnTo>
                    <a:lnTo>
                      <a:pt x="428" y="317"/>
                    </a:lnTo>
                    <a:lnTo>
                      <a:pt x="428" y="315"/>
                    </a:lnTo>
                    <a:lnTo>
                      <a:pt x="428" y="314"/>
                    </a:lnTo>
                    <a:lnTo>
                      <a:pt x="428" y="312"/>
                    </a:lnTo>
                    <a:lnTo>
                      <a:pt x="430" y="312"/>
                    </a:lnTo>
                    <a:lnTo>
                      <a:pt x="430" y="310"/>
                    </a:lnTo>
                    <a:lnTo>
                      <a:pt x="432" y="308"/>
                    </a:lnTo>
                    <a:lnTo>
                      <a:pt x="434" y="308"/>
                    </a:lnTo>
                    <a:lnTo>
                      <a:pt x="432" y="308"/>
                    </a:lnTo>
                    <a:lnTo>
                      <a:pt x="434" y="308"/>
                    </a:lnTo>
                    <a:lnTo>
                      <a:pt x="436" y="308"/>
                    </a:lnTo>
                    <a:lnTo>
                      <a:pt x="436" y="306"/>
                    </a:lnTo>
                    <a:lnTo>
                      <a:pt x="438" y="306"/>
                    </a:lnTo>
                    <a:lnTo>
                      <a:pt x="440" y="306"/>
                    </a:lnTo>
                    <a:lnTo>
                      <a:pt x="442" y="308"/>
                    </a:lnTo>
                    <a:lnTo>
                      <a:pt x="442" y="306"/>
                    </a:lnTo>
                    <a:lnTo>
                      <a:pt x="442" y="308"/>
                    </a:lnTo>
                    <a:lnTo>
                      <a:pt x="442" y="306"/>
                    </a:lnTo>
                    <a:lnTo>
                      <a:pt x="444" y="306"/>
                    </a:lnTo>
                    <a:lnTo>
                      <a:pt x="446" y="306"/>
                    </a:lnTo>
                    <a:lnTo>
                      <a:pt x="448" y="306"/>
                    </a:lnTo>
                    <a:lnTo>
                      <a:pt x="448" y="304"/>
                    </a:lnTo>
                    <a:lnTo>
                      <a:pt x="446" y="304"/>
                    </a:lnTo>
                    <a:lnTo>
                      <a:pt x="446" y="302"/>
                    </a:lnTo>
                    <a:lnTo>
                      <a:pt x="444" y="302"/>
                    </a:lnTo>
                    <a:lnTo>
                      <a:pt x="446" y="302"/>
                    </a:lnTo>
                    <a:lnTo>
                      <a:pt x="446" y="300"/>
                    </a:lnTo>
                    <a:lnTo>
                      <a:pt x="446" y="298"/>
                    </a:lnTo>
                    <a:lnTo>
                      <a:pt x="444" y="298"/>
                    </a:lnTo>
                    <a:lnTo>
                      <a:pt x="444" y="296"/>
                    </a:lnTo>
                    <a:lnTo>
                      <a:pt x="442" y="296"/>
                    </a:lnTo>
                    <a:lnTo>
                      <a:pt x="442" y="294"/>
                    </a:lnTo>
                    <a:lnTo>
                      <a:pt x="444" y="294"/>
                    </a:lnTo>
                    <a:lnTo>
                      <a:pt x="442" y="294"/>
                    </a:lnTo>
                    <a:lnTo>
                      <a:pt x="444" y="294"/>
                    </a:lnTo>
                    <a:lnTo>
                      <a:pt x="442" y="292"/>
                    </a:lnTo>
                    <a:lnTo>
                      <a:pt x="444" y="292"/>
                    </a:lnTo>
                    <a:lnTo>
                      <a:pt x="444" y="290"/>
                    </a:lnTo>
                    <a:lnTo>
                      <a:pt x="444" y="289"/>
                    </a:lnTo>
                    <a:lnTo>
                      <a:pt x="442" y="289"/>
                    </a:lnTo>
                    <a:lnTo>
                      <a:pt x="440" y="289"/>
                    </a:lnTo>
                    <a:lnTo>
                      <a:pt x="442" y="289"/>
                    </a:lnTo>
                    <a:lnTo>
                      <a:pt x="440" y="289"/>
                    </a:lnTo>
                    <a:lnTo>
                      <a:pt x="440" y="287"/>
                    </a:lnTo>
                    <a:lnTo>
                      <a:pt x="440" y="285"/>
                    </a:lnTo>
                    <a:lnTo>
                      <a:pt x="440" y="283"/>
                    </a:lnTo>
                    <a:lnTo>
                      <a:pt x="440" y="281"/>
                    </a:lnTo>
                    <a:lnTo>
                      <a:pt x="440" y="283"/>
                    </a:lnTo>
                    <a:lnTo>
                      <a:pt x="440" y="281"/>
                    </a:lnTo>
                    <a:lnTo>
                      <a:pt x="442" y="281"/>
                    </a:lnTo>
                    <a:lnTo>
                      <a:pt x="440" y="281"/>
                    </a:lnTo>
                    <a:lnTo>
                      <a:pt x="442" y="281"/>
                    </a:lnTo>
                    <a:lnTo>
                      <a:pt x="442" y="279"/>
                    </a:lnTo>
                    <a:lnTo>
                      <a:pt x="442" y="277"/>
                    </a:lnTo>
                    <a:lnTo>
                      <a:pt x="442" y="275"/>
                    </a:lnTo>
                    <a:lnTo>
                      <a:pt x="442" y="273"/>
                    </a:lnTo>
                    <a:lnTo>
                      <a:pt x="440" y="273"/>
                    </a:lnTo>
                    <a:lnTo>
                      <a:pt x="440" y="271"/>
                    </a:lnTo>
                    <a:lnTo>
                      <a:pt x="442" y="273"/>
                    </a:lnTo>
                    <a:lnTo>
                      <a:pt x="440" y="271"/>
                    </a:lnTo>
                    <a:lnTo>
                      <a:pt x="442" y="271"/>
                    </a:lnTo>
                    <a:lnTo>
                      <a:pt x="442" y="267"/>
                    </a:lnTo>
                    <a:lnTo>
                      <a:pt x="442" y="265"/>
                    </a:lnTo>
                    <a:lnTo>
                      <a:pt x="440" y="265"/>
                    </a:lnTo>
                    <a:lnTo>
                      <a:pt x="438" y="264"/>
                    </a:lnTo>
                    <a:lnTo>
                      <a:pt x="436" y="264"/>
                    </a:lnTo>
                    <a:lnTo>
                      <a:pt x="434" y="264"/>
                    </a:lnTo>
                    <a:lnTo>
                      <a:pt x="434" y="262"/>
                    </a:lnTo>
                    <a:lnTo>
                      <a:pt x="432" y="262"/>
                    </a:lnTo>
                    <a:lnTo>
                      <a:pt x="432" y="260"/>
                    </a:lnTo>
                    <a:lnTo>
                      <a:pt x="430" y="258"/>
                    </a:lnTo>
                    <a:lnTo>
                      <a:pt x="428" y="258"/>
                    </a:lnTo>
                    <a:lnTo>
                      <a:pt x="426" y="258"/>
                    </a:lnTo>
                    <a:lnTo>
                      <a:pt x="426" y="256"/>
                    </a:lnTo>
                    <a:lnTo>
                      <a:pt x="425" y="256"/>
                    </a:lnTo>
                    <a:lnTo>
                      <a:pt x="425" y="254"/>
                    </a:lnTo>
                    <a:lnTo>
                      <a:pt x="426" y="254"/>
                    </a:lnTo>
                    <a:lnTo>
                      <a:pt x="426" y="256"/>
                    </a:lnTo>
                    <a:lnTo>
                      <a:pt x="426" y="254"/>
                    </a:lnTo>
                    <a:lnTo>
                      <a:pt x="428" y="254"/>
                    </a:lnTo>
                    <a:lnTo>
                      <a:pt x="426" y="252"/>
                    </a:lnTo>
                    <a:lnTo>
                      <a:pt x="428" y="252"/>
                    </a:lnTo>
                    <a:lnTo>
                      <a:pt x="426" y="252"/>
                    </a:lnTo>
                    <a:lnTo>
                      <a:pt x="428" y="254"/>
                    </a:lnTo>
                    <a:lnTo>
                      <a:pt x="426" y="254"/>
                    </a:lnTo>
                    <a:lnTo>
                      <a:pt x="426" y="256"/>
                    </a:lnTo>
                    <a:lnTo>
                      <a:pt x="426" y="254"/>
                    </a:lnTo>
                    <a:lnTo>
                      <a:pt x="425" y="254"/>
                    </a:lnTo>
                    <a:lnTo>
                      <a:pt x="425" y="256"/>
                    </a:lnTo>
                    <a:lnTo>
                      <a:pt x="423" y="254"/>
                    </a:lnTo>
                    <a:lnTo>
                      <a:pt x="425" y="252"/>
                    </a:lnTo>
                    <a:lnTo>
                      <a:pt x="426" y="252"/>
                    </a:lnTo>
                    <a:lnTo>
                      <a:pt x="426" y="250"/>
                    </a:lnTo>
                    <a:lnTo>
                      <a:pt x="425" y="250"/>
                    </a:lnTo>
                    <a:lnTo>
                      <a:pt x="426" y="250"/>
                    </a:lnTo>
                    <a:lnTo>
                      <a:pt x="426" y="248"/>
                    </a:lnTo>
                    <a:lnTo>
                      <a:pt x="428" y="248"/>
                    </a:lnTo>
                    <a:lnTo>
                      <a:pt x="428" y="250"/>
                    </a:lnTo>
                    <a:lnTo>
                      <a:pt x="428" y="248"/>
                    </a:lnTo>
                    <a:lnTo>
                      <a:pt x="430" y="248"/>
                    </a:lnTo>
                    <a:lnTo>
                      <a:pt x="428" y="248"/>
                    </a:lnTo>
                    <a:lnTo>
                      <a:pt x="428" y="250"/>
                    </a:lnTo>
                    <a:lnTo>
                      <a:pt x="428" y="248"/>
                    </a:lnTo>
                    <a:lnTo>
                      <a:pt x="426" y="248"/>
                    </a:lnTo>
                    <a:lnTo>
                      <a:pt x="426" y="250"/>
                    </a:lnTo>
                    <a:lnTo>
                      <a:pt x="425" y="250"/>
                    </a:lnTo>
                    <a:lnTo>
                      <a:pt x="425" y="248"/>
                    </a:lnTo>
                    <a:lnTo>
                      <a:pt x="426" y="248"/>
                    </a:lnTo>
                    <a:lnTo>
                      <a:pt x="425" y="248"/>
                    </a:lnTo>
                    <a:lnTo>
                      <a:pt x="426" y="248"/>
                    </a:lnTo>
                    <a:lnTo>
                      <a:pt x="425" y="248"/>
                    </a:lnTo>
                    <a:lnTo>
                      <a:pt x="426" y="246"/>
                    </a:lnTo>
                    <a:lnTo>
                      <a:pt x="428" y="246"/>
                    </a:lnTo>
                    <a:lnTo>
                      <a:pt x="428" y="244"/>
                    </a:lnTo>
                    <a:lnTo>
                      <a:pt x="428" y="246"/>
                    </a:lnTo>
                    <a:lnTo>
                      <a:pt x="428" y="244"/>
                    </a:lnTo>
                    <a:lnTo>
                      <a:pt x="428" y="246"/>
                    </a:lnTo>
                    <a:lnTo>
                      <a:pt x="426" y="246"/>
                    </a:lnTo>
                    <a:lnTo>
                      <a:pt x="425" y="248"/>
                    </a:lnTo>
                    <a:lnTo>
                      <a:pt x="426" y="248"/>
                    </a:lnTo>
                    <a:lnTo>
                      <a:pt x="425" y="248"/>
                    </a:lnTo>
                    <a:lnTo>
                      <a:pt x="425" y="250"/>
                    </a:lnTo>
                    <a:lnTo>
                      <a:pt x="425" y="248"/>
                    </a:lnTo>
                    <a:lnTo>
                      <a:pt x="423" y="248"/>
                    </a:lnTo>
                    <a:lnTo>
                      <a:pt x="421" y="248"/>
                    </a:lnTo>
                    <a:lnTo>
                      <a:pt x="423" y="248"/>
                    </a:lnTo>
                    <a:lnTo>
                      <a:pt x="421" y="248"/>
                    </a:lnTo>
                    <a:lnTo>
                      <a:pt x="421" y="246"/>
                    </a:lnTo>
                    <a:lnTo>
                      <a:pt x="421" y="248"/>
                    </a:lnTo>
                    <a:lnTo>
                      <a:pt x="421" y="246"/>
                    </a:lnTo>
                    <a:lnTo>
                      <a:pt x="419" y="246"/>
                    </a:lnTo>
                    <a:lnTo>
                      <a:pt x="419" y="248"/>
                    </a:lnTo>
                    <a:lnTo>
                      <a:pt x="417" y="246"/>
                    </a:lnTo>
                    <a:lnTo>
                      <a:pt x="415" y="246"/>
                    </a:lnTo>
                    <a:lnTo>
                      <a:pt x="417" y="246"/>
                    </a:lnTo>
                    <a:lnTo>
                      <a:pt x="415" y="248"/>
                    </a:lnTo>
                    <a:lnTo>
                      <a:pt x="415" y="246"/>
                    </a:lnTo>
                    <a:lnTo>
                      <a:pt x="415" y="248"/>
                    </a:lnTo>
                    <a:lnTo>
                      <a:pt x="415" y="246"/>
                    </a:lnTo>
                    <a:lnTo>
                      <a:pt x="415" y="244"/>
                    </a:lnTo>
                    <a:lnTo>
                      <a:pt x="417" y="244"/>
                    </a:lnTo>
                    <a:lnTo>
                      <a:pt x="415" y="244"/>
                    </a:lnTo>
                    <a:lnTo>
                      <a:pt x="417" y="244"/>
                    </a:lnTo>
                    <a:lnTo>
                      <a:pt x="415" y="244"/>
                    </a:lnTo>
                    <a:lnTo>
                      <a:pt x="417" y="242"/>
                    </a:lnTo>
                    <a:lnTo>
                      <a:pt x="419" y="242"/>
                    </a:lnTo>
                    <a:lnTo>
                      <a:pt x="417" y="242"/>
                    </a:lnTo>
                    <a:lnTo>
                      <a:pt x="415" y="242"/>
                    </a:lnTo>
                    <a:lnTo>
                      <a:pt x="415" y="244"/>
                    </a:lnTo>
                    <a:lnTo>
                      <a:pt x="417" y="244"/>
                    </a:lnTo>
                    <a:lnTo>
                      <a:pt x="415" y="244"/>
                    </a:lnTo>
                    <a:lnTo>
                      <a:pt x="417" y="244"/>
                    </a:lnTo>
                    <a:lnTo>
                      <a:pt x="415" y="244"/>
                    </a:lnTo>
                    <a:lnTo>
                      <a:pt x="415" y="246"/>
                    </a:lnTo>
                    <a:lnTo>
                      <a:pt x="413" y="246"/>
                    </a:lnTo>
                    <a:lnTo>
                      <a:pt x="415" y="244"/>
                    </a:lnTo>
                    <a:lnTo>
                      <a:pt x="413" y="244"/>
                    </a:lnTo>
                    <a:lnTo>
                      <a:pt x="411" y="244"/>
                    </a:lnTo>
                    <a:lnTo>
                      <a:pt x="413" y="244"/>
                    </a:lnTo>
                    <a:lnTo>
                      <a:pt x="411" y="244"/>
                    </a:lnTo>
                    <a:lnTo>
                      <a:pt x="411" y="242"/>
                    </a:lnTo>
                    <a:lnTo>
                      <a:pt x="413" y="242"/>
                    </a:lnTo>
                    <a:lnTo>
                      <a:pt x="411" y="242"/>
                    </a:lnTo>
                    <a:lnTo>
                      <a:pt x="413" y="242"/>
                    </a:lnTo>
                    <a:lnTo>
                      <a:pt x="411" y="242"/>
                    </a:lnTo>
                    <a:lnTo>
                      <a:pt x="409" y="240"/>
                    </a:lnTo>
                    <a:lnTo>
                      <a:pt x="407" y="239"/>
                    </a:lnTo>
                    <a:lnTo>
                      <a:pt x="405" y="239"/>
                    </a:lnTo>
                    <a:lnTo>
                      <a:pt x="405" y="237"/>
                    </a:lnTo>
                    <a:lnTo>
                      <a:pt x="403" y="237"/>
                    </a:lnTo>
                    <a:lnTo>
                      <a:pt x="405" y="237"/>
                    </a:lnTo>
                    <a:lnTo>
                      <a:pt x="405" y="239"/>
                    </a:lnTo>
                    <a:lnTo>
                      <a:pt x="403" y="239"/>
                    </a:lnTo>
                    <a:lnTo>
                      <a:pt x="401" y="239"/>
                    </a:lnTo>
                    <a:lnTo>
                      <a:pt x="401" y="237"/>
                    </a:lnTo>
                    <a:lnTo>
                      <a:pt x="401" y="239"/>
                    </a:lnTo>
                    <a:lnTo>
                      <a:pt x="400" y="239"/>
                    </a:lnTo>
                    <a:lnTo>
                      <a:pt x="400" y="237"/>
                    </a:lnTo>
                    <a:lnTo>
                      <a:pt x="398" y="237"/>
                    </a:lnTo>
                    <a:lnTo>
                      <a:pt x="396" y="237"/>
                    </a:lnTo>
                    <a:lnTo>
                      <a:pt x="396" y="235"/>
                    </a:lnTo>
                    <a:lnTo>
                      <a:pt x="396" y="237"/>
                    </a:lnTo>
                    <a:lnTo>
                      <a:pt x="396" y="235"/>
                    </a:lnTo>
                    <a:lnTo>
                      <a:pt x="396" y="237"/>
                    </a:lnTo>
                    <a:lnTo>
                      <a:pt x="396" y="235"/>
                    </a:lnTo>
                    <a:lnTo>
                      <a:pt x="394" y="235"/>
                    </a:lnTo>
                    <a:lnTo>
                      <a:pt x="394" y="237"/>
                    </a:lnTo>
                    <a:lnTo>
                      <a:pt x="394" y="235"/>
                    </a:lnTo>
                    <a:lnTo>
                      <a:pt x="394" y="237"/>
                    </a:lnTo>
                    <a:lnTo>
                      <a:pt x="392" y="237"/>
                    </a:lnTo>
                    <a:lnTo>
                      <a:pt x="390" y="237"/>
                    </a:lnTo>
                    <a:lnTo>
                      <a:pt x="388" y="239"/>
                    </a:lnTo>
                    <a:lnTo>
                      <a:pt x="386" y="239"/>
                    </a:lnTo>
                    <a:lnTo>
                      <a:pt x="384" y="239"/>
                    </a:lnTo>
                    <a:lnTo>
                      <a:pt x="384" y="240"/>
                    </a:lnTo>
                    <a:lnTo>
                      <a:pt x="384" y="239"/>
                    </a:lnTo>
                    <a:lnTo>
                      <a:pt x="384" y="240"/>
                    </a:lnTo>
                    <a:lnTo>
                      <a:pt x="382" y="240"/>
                    </a:lnTo>
                    <a:lnTo>
                      <a:pt x="382" y="242"/>
                    </a:lnTo>
                    <a:lnTo>
                      <a:pt x="384" y="242"/>
                    </a:lnTo>
                    <a:lnTo>
                      <a:pt x="382" y="242"/>
                    </a:lnTo>
                    <a:lnTo>
                      <a:pt x="380" y="242"/>
                    </a:lnTo>
                    <a:lnTo>
                      <a:pt x="378" y="242"/>
                    </a:lnTo>
                    <a:lnTo>
                      <a:pt x="377" y="242"/>
                    </a:lnTo>
                    <a:lnTo>
                      <a:pt x="378" y="242"/>
                    </a:lnTo>
                    <a:lnTo>
                      <a:pt x="377" y="242"/>
                    </a:lnTo>
                    <a:lnTo>
                      <a:pt x="378" y="242"/>
                    </a:lnTo>
                    <a:lnTo>
                      <a:pt x="377" y="242"/>
                    </a:lnTo>
                    <a:lnTo>
                      <a:pt x="375" y="242"/>
                    </a:lnTo>
                    <a:lnTo>
                      <a:pt x="373" y="242"/>
                    </a:lnTo>
                    <a:lnTo>
                      <a:pt x="375" y="242"/>
                    </a:lnTo>
                    <a:lnTo>
                      <a:pt x="375" y="240"/>
                    </a:lnTo>
                    <a:lnTo>
                      <a:pt x="375" y="242"/>
                    </a:lnTo>
                    <a:lnTo>
                      <a:pt x="375" y="240"/>
                    </a:lnTo>
                    <a:lnTo>
                      <a:pt x="377" y="240"/>
                    </a:lnTo>
                    <a:lnTo>
                      <a:pt x="375" y="240"/>
                    </a:lnTo>
                    <a:lnTo>
                      <a:pt x="375" y="239"/>
                    </a:lnTo>
                    <a:lnTo>
                      <a:pt x="377" y="239"/>
                    </a:lnTo>
                    <a:lnTo>
                      <a:pt x="375" y="239"/>
                    </a:lnTo>
                    <a:lnTo>
                      <a:pt x="377" y="239"/>
                    </a:lnTo>
                    <a:lnTo>
                      <a:pt x="375" y="239"/>
                    </a:lnTo>
                    <a:lnTo>
                      <a:pt x="375" y="240"/>
                    </a:lnTo>
                    <a:lnTo>
                      <a:pt x="377" y="240"/>
                    </a:lnTo>
                    <a:lnTo>
                      <a:pt x="375" y="240"/>
                    </a:lnTo>
                    <a:lnTo>
                      <a:pt x="373" y="240"/>
                    </a:lnTo>
                    <a:lnTo>
                      <a:pt x="373" y="239"/>
                    </a:lnTo>
                    <a:lnTo>
                      <a:pt x="371" y="239"/>
                    </a:lnTo>
                    <a:lnTo>
                      <a:pt x="369" y="237"/>
                    </a:lnTo>
                    <a:lnTo>
                      <a:pt x="367" y="237"/>
                    </a:lnTo>
                    <a:lnTo>
                      <a:pt x="365" y="237"/>
                    </a:lnTo>
                    <a:lnTo>
                      <a:pt x="363" y="237"/>
                    </a:lnTo>
                    <a:lnTo>
                      <a:pt x="361" y="237"/>
                    </a:lnTo>
                    <a:lnTo>
                      <a:pt x="359" y="237"/>
                    </a:lnTo>
                    <a:lnTo>
                      <a:pt x="359" y="239"/>
                    </a:lnTo>
                    <a:lnTo>
                      <a:pt x="357" y="239"/>
                    </a:lnTo>
                    <a:lnTo>
                      <a:pt x="355" y="239"/>
                    </a:lnTo>
                    <a:lnTo>
                      <a:pt x="353" y="239"/>
                    </a:lnTo>
                    <a:lnTo>
                      <a:pt x="353" y="237"/>
                    </a:lnTo>
                    <a:lnTo>
                      <a:pt x="353" y="235"/>
                    </a:lnTo>
                    <a:lnTo>
                      <a:pt x="352" y="233"/>
                    </a:lnTo>
                    <a:lnTo>
                      <a:pt x="352" y="231"/>
                    </a:lnTo>
                    <a:lnTo>
                      <a:pt x="353" y="227"/>
                    </a:lnTo>
                    <a:lnTo>
                      <a:pt x="355" y="225"/>
                    </a:lnTo>
                    <a:lnTo>
                      <a:pt x="357" y="223"/>
                    </a:lnTo>
                    <a:lnTo>
                      <a:pt x="357" y="221"/>
                    </a:lnTo>
                    <a:lnTo>
                      <a:pt x="357" y="219"/>
                    </a:lnTo>
                    <a:lnTo>
                      <a:pt x="357" y="217"/>
                    </a:lnTo>
                    <a:lnTo>
                      <a:pt x="357" y="215"/>
                    </a:lnTo>
                    <a:lnTo>
                      <a:pt x="357" y="214"/>
                    </a:lnTo>
                    <a:lnTo>
                      <a:pt x="357" y="212"/>
                    </a:lnTo>
                    <a:lnTo>
                      <a:pt x="357" y="210"/>
                    </a:lnTo>
                    <a:lnTo>
                      <a:pt x="357" y="208"/>
                    </a:lnTo>
                    <a:lnTo>
                      <a:pt x="355" y="208"/>
                    </a:lnTo>
                    <a:lnTo>
                      <a:pt x="355" y="206"/>
                    </a:lnTo>
                    <a:lnTo>
                      <a:pt x="353" y="204"/>
                    </a:lnTo>
                    <a:lnTo>
                      <a:pt x="353" y="202"/>
                    </a:lnTo>
                    <a:lnTo>
                      <a:pt x="353" y="200"/>
                    </a:lnTo>
                    <a:lnTo>
                      <a:pt x="353" y="198"/>
                    </a:lnTo>
                    <a:lnTo>
                      <a:pt x="355" y="196"/>
                    </a:lnTo>
                    <a:lnTo>
                      <a:pt x="355" y="194"/>
                    </a:lnTo>
                    <a:lnTo>
                      <a:pt x="357" y="194"/>
                    </a:lnTo>
                    <a:lnTo>
                      <a:pt x="357" y="192"/>
                    </a:lnTo>
                    <a:lnTo>
                      <a:pt x="359" y="192"/>
                    </a:lnTo>
                    <a:lnTo>
                      <a:pt x="359" y="190"/>
                    </a:lnTo>
                    <a:lnTo>
                      <a:pt x="359" y="189"/>
                    </a:lnTo>
                    <a:lnTo>
                      <a:pt x="361" y="187"/>
                    </a:lnTo>
                    <a:lnTo>
                      <a:pt x="361" y="185"/>
                    </a:lnTo>
                    <a:lnTo>
                      <a:pt x="363" y="185"/>
                    </a:lnTo>
                    <a:lnTo>
                      <a:pt x="361" y="185"/>
                    </a:lnTo>
                    <a:lnTo>
                      <a:pt x="361" y="183"/>
                    </a:lnTo>
                    <a:lnTo>
                      <a:pt x="363" y="183"/>
                    </a:lnTo>
                    <a:lnTo>
                      <a:pt x="363" y="181"/>
                    </a:lnTo>
                    <a:lnTo>
                      <a:pt x="363" y="179"/>
                    </a:lnTo>
                    <a:lnTo>
                      <a:pt x="363" y="177"/>
                    </a:lnTo>
                    <a:lnTo>
                      <a:pt x="361" y="177"/>
                    </a:lnTo>
                    <a:lnTo>
                      <a:pt x="363" y="175"/>
                    </a:lnTo>
                    <a:lnTo>
                      <a:pt x="365" y="173"/>
                    </a:lnTo>
                    <a:lnTo>
                      <a:pt x="369" y="171"/>
                    </a:lnTo>
                    <a:lnTo>
                      <a:pt x="371" y="169"/>
                    </a:lnTo>
                    <a:lnTo>
                      <a:pt x="373" y="167"/>
                    </a:lnTo>
                    <a:lnTo>
                      <a:pt x="375" y="166"/>
                    </a:lnTo>
                    <a:lnTo>
                      <a:pt x="375" y="164"/>
                    </a:lnTo>
                    <a:lnTo>
                      <a:pt x="377" y="164"/>
                    </a:lnTo>
                    <a:lnTo>
                      <a:pt x="377" y="166"/>
                    </a:lnTo>
                    <a:lnTo>
                      <a:pt x="375" y="166"/>
                    </a:lnTo>
                    <a:lnTo>
                      <a:pt x="377" y="166"/>
                    </a:lnTo>
                    <a:lnTo>
                      <a:pt x="377" y="167"/>
                    </a:lnTo>
                    <a:lnTo>
                      <a:pt x="378" y="167"/>
                    </a:lnTo>
                    <a:lnTo>
                      <a:pt x="377" y="167"/>
                    </a:lnTo>
                    <a:lnTo>
                      <a:pt x="377" y="166"/>
                    </a:lnTo>
                    <a:lnTo>
                      <a:pt x="375" y="166"/>
                    </a:lnTo>
                    <a:lnTo>
                      <a:pt x="377" y="166"/>
                    </a:lnTo>
                    <a:lnTo>
                      <a:pt x="377" y="164"/>
                    </a:lnTo>
                    <a:lnTo>
                      <a:pt x="375" y="164"/>
                    </a:lnTo>
                    <a:lnTo>
                      <a:pt x="377" y="164"/>
                    </a:lnTo>
                    <a:lnTo>
                      <a:pt x="378" y="162"/>
                    </a:lnTo>
                    <a:lnTo>
                      <a:pt x="380" y="160"/>
                    </a:lnTo>
                    <a:lnTo>
                      <a:pt x="380" y="158"/>
                    </a:lnTo>
                    <a:lnTo>
                      <a:pt x="382" y="156"/>
                    </a:lnTo>
                    <a:lnTo>
                      <a:pt x="382" y="154"/>
                    </a:lnTo>
                    <a:lnTo>
                      <a:pt x="382" y="152"/>
                    </a:lnTo>
                    <a:lnTo>
                      <a:pt x="382" y="150"/>
                    </a:lnTo>
                    <a:lnTo>
                      <a:pt x="382" y="148"/>
                    </a:lnTo>
                    <a:lnTo>
                      <a:pt x="380" y="146"/>
                    </a:lnTo>
                    <a:lnTo>
                      <a:pt x="380" y="144"/>
                    </a:lnTo>
                    <a:lnTo>
                      <a:pt x="377" y="139"/>
                    </a:lnTo>
                    <a:lnTo>
                      <a:pt x="377" y="137"/>
                    </a:lnTo>
                    <a:lnTo>
                      <a:pt x="377" y="135"/>
                    </a:lnTo>
                    <a:lnTo>
                      <a:pt x="377" y="133"/>
                    </a:lnTo>
                    <a:lnTo>
                      <a:pt x="377" y="131"/>
                    </a:lnTo>
                    <a:lnTo>
                      <a:pt x="377" y="129"/>
                    </a:lnTo>
                    <a:lnTo>
                      <a:pt x="375" y="127"/>
                    </a:lnTo>
                    <a:lnTo>
                      <a:pt x="375" y="125"/>
                    </a:lnTo>
                    <a:lnTo>
                      <a:pt x="375" y="123"/>
                    </a:lnTo>
                    <a:lnTo>
                      <a:pt x="373" y="123"/>
                    </a:lnTo>
                    <a:lnTo>
                      <a:pt x="375" y="123"/>
                    </a:lnTo>
                    <a:lnTo>
                      <a:pt x="373" y="123"/>
                    </a:lnTo>
                    <a:lnTo>
                      <a:pt x="373" y="121"/>
                    </a:lnTo>
                    <a:lnTo>
                      <a:pt x="375" y="121"/>
                    </a:lnTo>
                    <a:lnTo>
                      <a:pt x="375" y="119"/>
                    </a:lnTo>
                    <a:lnTo>
                      <a:pt x="373" y="117"/>
                    </a:lnTo>
                    <a:lnTo>
                      <a:pt x="373" y="116"/>
                    </a:lnTo>
                    <a:lnTo>
                      <a:pt x="373" y="114"/>
                    </a:lnTo>
                    <a:lnTo>
                      <a:pt x="371" y="112"/>
                    </a:lnTo>
                    <a:lnTo>
                      <a:pt x="369" y="110"/>
                    </a:lnTo>
                    <a:lnTo>
                      <a:pt x="369" y="108"/>
                    </a:lnTo>
                    <a:lnTo>
                      <a:pt x="367" y="108"/>
                    </a:lnTo>
                    <a:lnTo>
                      <a:pt x="367" y="106"/>
                    </a:lnTo>
                    <a:lnTo>
                      <a:pt x="365" y="106"/>
                    </a:lnTo>
                    <a:lnTo>
                      <a:pt x="363" y="104"/>
                    </a:lnTo>
                    <a:lnTo>
                      <a:pt x="363" y="102"/>
                    </a:lnTo>
                    <a:lnTo>
                      <a:pt x="365" y="102"/>
                    </a:lnTo>
                    <a:lnTo>
                      <a:pt x="363" y="102"/>
                    </a:lnTo>
                    <a:lnTo>
                      <a:pt x="363" y="100"/>
                    </a:lnTo>
                    <a:lnTo>
                      <a:pt x="365" y="100"/>
                    </a:lnTo>
                    <a:lnTo>
                      <a:pt x="367" y="98"/>
                    </a:lnTo>
                    <a:lnTo>
                      <a:pt x="369" y="98"/>
                    </a:lnTo>
                    <a:lnTo>
                      <a:pt x="371" y="96"/>
                    </a:lnTo>
                    <a:lnTo>
                      <a:pt x="373" y="94"/>
                    </a:lnTo>
                    <a:lnTo>
                      <a:pt x="375" y="94"/>
                    </a:lnTo>
                    <a:lnTo>
                      <a:pt x="375" y="92"/>
                    </a:lnTo>
                    <a:lnTo>
                      <a:pt x="377" y="92"/>
                    </a:lnTo>
                    <a:lnTo>
                      <a:pt x="377" y="91"/>
                    </a:lnTo>
                    <a:lnTo>
                      <a:pt x="378" y="89"/>
                    </a:lnTo>
                    <a:lnTo>
                      <a:pt x="378" y="87"/>
                    </a:lnTo>
                    <a:lnTo>
                      <a:pt x="377" y="85"/>
                    </a:lnTo>
                    <a:lnTo>
                      <a:pt x="378" y="85"/>
                    </a:lnTo>
                    <a:lnTo>
                      <a:pt x="377" y="85"/>
                    </a:lnTo>
                    <a:lnTo>
                      <a:pt x="378" y="83"/>
                    </a:lnTo>
                    <a:lnTo>
                      <a:pt x="380" y="83"/>
                    </a:lnTo>
                    <a:lnTo>
                      <a:pt x="380" y="81"/>
                    </a:lnTo>
                    <a:lnTo>
                      <a:pt x="386" y="81"/>
                    </a:lnTo>
                    <a:lnTo>
                      <a:pt x="390" y="79"/>
                    </a:lnTo>
                    <a:lnTo>
                      <a:pt x="390" y="81"/>
                    </a:lnTo>
                    <a:lnTo>
                      <a:pt x="390" y="79"/>
                    </a:lnTo>
                    <a:lnTo>
                      <a:pt x="392" y="79"/>
                    </a:lnTo>
                    <a:lnTo>
                      <a:pt x="396" y="79"/>
                    </a:lnTo>
                    <a:lnTo>
                      <a:pt x="398" y="79"/>
                    </a:lnTo>
                    <a:lnTo>
                      <a:pt x="398" y="77"/>
                    </a:lnTo>
                    <a:lnTo>
                      <a:pt x="400" y="77"/>
                    </a:lnTo>
                    <a:lnTo>
                      <a:pt x="400" y="79"/>
                    </a:lnTo>
                    <a:lnTo>
                      <a:pt x="398" y="79"/>
                    </a:lnTo>
                    <a:lnTo>
                      <a:pt x="400" y="79"/>
                    </a:lnTo>
                    <a:lnTo>
                      <a:pt x="398" y="79"/>
                    </a:lnTo>
                    <a:lnTo>
                      <a:pt x="398" y="81"/>
                    </a:lnTo>
                    <a:lnTo>
                      <a:pt x="398" y="79"/>
                    </a:lnTo>
                    <a:lnTo>
                      <a:pt x="398" y="81"/>
                    </a:lnTo>
                    <a:lnTo>
                      <a:pt x="398" y="79"/>
                    </a:lnTo>
                    <a:lnTo>
                      <a:pt x="400" y="79"/>
                    </a:lnTo>
                    <a:lnTo>
                      <a:pt x="398" y="79"/>
                    </a:lnTo>
                    <a:lnTo>
                      <a:pt x="400" y="79"/>
                    </a:lnTo>
                    <a:lnTo>
                      <a:pt x="400" y="77"/>
                    </a:lnTo>
                    <a:lnTo>
                      <a:pt x="401" y="77"/>
                    </a:lnTo>
                    <a:lnTo>
                      <a:pt x="403" y="77"/>
                    </a:lnTo>
                    <a:lnTo>
                      <a:pt x="405" y="77"/>
                    </a:lnTo>
                    <a:lnTo>
                      <a:pt x="407" y="77"/>
                    </a:lnTo>
                    <a:lnTo>
                      <a:pt x="407" y="75"/>
                    </a:lnTo>
                    <a:lnTo>
                      <a:pt x="409" y="75"/>
                    </a:lnTo>
                    <a:lnTo>
                      <a:pt x="411" y="73"/>
                    </a:lnTo>
                    <a:lnTo>
                      <a:pt x="413" y="73"/>
                    </a:lnTo>
                    <a:lnTo>
                      <a:pt x="415" y="71"/>
                    </a:lnTo>
                    <a:lnTo>
                      <a:pt x="415" y="69"/>
                    </a:lnTo>
                    <a:lnTo>
                      <a:pt x="417" y="69"/>
                    </a:lnTo>
                    <a:lnTo>
                      <a:pt x="417" y="67"/>
                    </a:lnTo>
                    <a:lnTo>
                      <a:pt x="419" y="66"/>
                    </a:lnTo>
                    <a:lnTo>
                      <a:pt x="419" y="64"/>
                    </a:lnTo>
                    <a:lnTo>
                      <a:pt x="419" y="60"/>
                    </a:lnTo>
                    <a:lnTo>
                      <a:pt x="421" y="58"/>
                    </a:lnTo>
                    <a:lnTo>
                      <a:pt x="421" y="56"/>
                    </a:lnTo>
                    <a:lnTo>
                      <a:pt x="421" y="54"/>
                    </a:lnTo>
                    <a:lnTo>
                      <a:pt x="421" y="52"/>
                    </a:lnTo>
                    <a:lnTo>
                      <a:pt x="421" y="48"/>
                    </a:lnTo>
                    <a:lnTo>
                      <a:pt x="421" y="46"/>
                    </a:lnTo>
                    <a:lnTo>
                      <a:pt x="421" y="44"/>
                    </a:lnTo>
                    <a:lnTo>
                      <a:pt x="421" y="42"/>
                    </a:lnTo>
                    <a:lnTo>
                      <a:pt x="419" y="41"/>
                    </a:lnTo>
                    <a:lnTo>
                      <a:pt x="419" y="39"/>
                    </a:lnTo>
                    <a:lnTo>
                      <a:pt x="417" y="37"/>
                    </a:lnTo>
                    <a:lnTo>
                      <a:pt x="417" y="35"/>
                    </a:lnTo>
                    <a:lnTo>
                      <a:pt x="419" y="35"/>
                    </a:lnTo>
                    <a:lnTo>
                      <a:pt x="421" y="33"/>
                    </a:lnTo>
                    <a:lnTo>
                      <a:pt x="423" y="33"/>
                    </a:lnTo>
                    <a:lnTo>
                      <a:pt x="425" y="33"/>
                    </a:lnTo>
                    <a:lnTo>
                      <a:pt x="425" y="35"/>
                    </a:lnTo>
                    <a:lnTo>
                      <a:pt x="426" y="37"/>
                    </a:lnTo>
                    <a:lnTo>
                      <a:pt x="428" y="37"/>
                    </a:lnTo>
                    <a:lnTo>
                      <a:pt x="428" y="39"/>
                    </a:lnTo>
                    <a:lnTo>
                      <a:pt x="430" y="39"/>
                    </a:lnTo>
                    <a:lnTo>
                      <a:pt x="430" y="41"/>
                    </a:lnTo>
                    <a:lnTo>
                      <a:pt x="432" y="41"/>
                    </a:lnTo>
                    <a:lnTo>
                      <a:pt x="430" y="41"/>
                    </a:lnTo>
                    <a:lnTo>
                      <a:pt x="432" y="41"/>
                    </a:lnTo>
                    <a:lnTo>
                      <a:pt x="432" y="42"/>
                    </a:lnTo>
                    <a:lnTo>
                      <a:pt x="430" y="42"/>
                    </a:lnTo>
                    <a:lnTo>
                      <a:pt x="430" y="44"/>
                    </a:lnTo>
                    <a:lnTo>
                      <a:pt x="430" y="42"/>
                    </a:lnTo>
                    <a:lnTo>
                      <a:pt x="428" y="42"/>
                    </a:lnTo>
                    <a:lnTo>
                      <a:pt x="430" y="42"/>
                    </a:lnTo>
                    <a:lnTo>
                      <a:pt x="428" y="42"/>
                    </a:lnTo>
                    <a:lnTo>
                      <a:pt x="428" y="44"/>
                    </a:lnTo>
                    <a:lnTo>
                      <a:pt x="430" y="46"/>
                    </a:lnTo>
                    <a:lnTo>
                      <a:pt x="430" y="48"/>
                    </a:lnTo>
                    <a:lnTo>
                      <a:pt x="432" y="50"/>
                    </a:lnTo>
                    <a:lnTo>
                      <a:pt x="432" y="52"/>
                    </a:lnTo>
                    <a:lnTo>
                      <a:pt x="434" y="52"/>
                    </a:lnTo>
                    <a:lnTo>
                      <a:pt x="434" y="54"/>
                    </a:lnTo>
                    <a:lnTo>
                      <a:pt x="432" y="54"/>
                    </a:lnTo>
                    <a:lnTo>
                      <a:pt x="430" y="54"/>
                    </a:lnTo>
                    <a:lnTo>
                      <a:pt x="430" y="56"/>
                    </a:lnTo>
                    <a:lnTo>
                      <a:pt x="430" y="58"/>
                    </a:lnTo>
                    <a:lnTo>
                      <a:pt x="430" y="60"/>
                    </a:lnTo>
                    <a:lnTo>
                      <a:pt x="430" y="62"/>
                    </a:lnTo>
                    <a:lnTo>
                      <a:pt x="430" y="64"/>
                    </a:lnTo>
                    <a:lnTo>
                      <a:pt x="430" y="62"/>
                    </a:lnTo>
                    <a:lnTo>
                      <a:pt x="430" y="64"/>
                    </a:lnTo>
                    <a:lnTo>
                      <a:pt x="432" y="66"/>
                    </a:lnTo>
                    <a:lnTo>
                      <a:pt x="430" y="66"/>
                    </a:lnTo>
                    <a:lnTo>
                      <a:pt x="432" y="66"/>
                    </a:lnTo>
                    <a:lnTo>
                      <a:pt x="430" y="66"/>
                    </a:lnTo>
                    <a:lnTo>
                      <a:pt x="432" y="66"/>
                    </a:lnTo>
                    <a:lnTo>
                      <a:pt x="432" y="67"/>
                    </a:lnTo>
                    <a:lnTo>
                      <a:pt x="432" y="69"/>
                    </a:lnTo>
                    <a:lnTo>
                      <a:pt x="430" y="69"/>
                    </a:lnTo>
                    <a:lnTo>
                      <a:pt x="428" y="69"/>
                    </a:lnTo>
                    <a:lnTo>
                      <a:pt x="428" y="71"/>
                    </a:lnTo>
                    <a:lnTo>
                      <a:pt x="426" y="71"/>
                    </a:lnTo>
                    <a:lnTo>
                      <a:pt x="426" y="73"/>
                    </a:lnTo>
                    <a:lnTo>
                      <a:pt x="426" y="75"/>
                    </a:lnTo>
                    <a:lnTo>
                      <a:pt x="425" y="77"/>
                    </a:lnTo>
                    <a:lnTo>
                      <a:pt x="425" y="79"/>
                    </a:lnTo>
                    <a:lnTo>
                      <a:pt x="423" y="79"/>
                    </a:lnTo>
                    <a:lnTo>
                      <a:pt x="423" y="81"/>
                    </a:lnTo>
                    <a:close/>
                    <a:moveTo>
                      <a:pt x="400" y="237"/>
                    </a:moveTo>
                    <a:lnTo>
                      <a:pt x="401" y="237"/>
                    </a:lnTo>
                    <a:lnTo>
                      <a:pt x="400" y="237"/>
                    </a:lnTo>
                    <a:lnTo>
                      <a:pt x="401" y="237"/>
                    </a:lnTo>
                    <a:lnTo>
                      <a:pt x="400" y="235"/>
                    </a:lnTo>
                    <a:lnTo>
                      <a:pt x="400" y="237"/>
                    </a:lnTo>
                    <a:close/>
                    <a:moveTo>
                      <a:pt x="417" y="246"/>
                    </a:moveTo>
                    <a:lnTo>
                      <a:pt x="419" y="246"/>
                    </a:lnTo>
                    <a:lnTo>
                      <a:pt x="417" y="246"/>
                    </a:lnTo>
                    <a:close/>
                    <a:moveTo>
                      <a:pt x="521" y="402"/>
                    </a:moveTo>
                    <a:lnTo>
                      <a:pt x="519" y="402"/>
                    </a:lnTo>
                    <a:lnTo>
                      <a:pt x="521" y="402"/>
                    </a:lnTo>
                    <a:close/>
                    <a:moveTo>
                      <a:pt x="98" y="427"/>
                    </a:moveTo>
                    <a:lnTo>
                      <a:pt x="100" y="429"/>
                    </a:lnTo>
                    <a:lnTo>
                      <a:pt x="98" y="427"/>
                    </a:lnTo>
                    <a:lnTo>
                      <a:pt x="98" y="429"/>
                    </a:lnTo>
                    <a:lnTo>
                      <a:pt x="98" y="427"/>
                    </a:lnTo>
                    <a:close/>
                    <a:moveTo>
                      <a:pt x="96" y="427"/>
                    </a:moveTo>
                    <a:lnTo>
                      <a:pt x="98" y="427"/>
                    </a:lnTo>
                    <a:lnTo>
                      <a:pt x="96" y="427"/>
                    </a:lnTo>
                    <a:close/>
                    <a:moveTo>
                      <a:pt x="86" y="414"/>
                    </a:moveTo>
                    <a:lnTo>
                      <a:pt x="86" y="412"/>
                    </a:lnTo>
                    <a:lnTo>
                      <a:pt x="86" y="414"/>
                    </a:lnTo>
                    <a:close/>
                    <a:moveTo>
                      <a:pt x="100" y="402"/>
                    </a:moveTo>
                    <a:lnTo>
                      <a:pt x="98" y="402"/>
                    </a:lnTo>
                    <a:lnTo>
                      <a:pt x="100" y="402"/>
                    </a:lnTo>
                    <a:close/>
                    <a:moveTo>
                      <a:pt x="131" y="367"/>
                    </a:moveTo>
                    <a:lnTo>
                      <a:pt x="133" y="367"/>
                    </a:lnTo>
                    <a:lnTo>
                      <a:pt x="131" y="367"/>
                    </a:lnTo>
                    <a:lnTo>
                      <a:pt x="133" y="367"/>
                    </a:lnTo>
                    <a:lnTo>
                      <a:pt x="131" y="367"/>
                    </a:lnTo>
                    <a:lnTo>
                      <a:pt x="133" y="367"/>
                    </a:lnTo>
                    <a:lnTo>
                      <a:pt x="133" y="365"/>
                    </a:lnTo>
                    <a:lnTo>
                      <a:pt x="131" y="365"/>
                    </a:lnTo>
                    <a:lnTo>
                      <a:pt x="133" y="365"/>
                    </a:lnTo>
                    <a:lnTo>
                      <a:pt x="131" y="365"/>
                    </a:lnTo>
                    <a:lnTo>
                      <a:pt x="131" y="364"/>
                    </a:lnTo>
                    <a:lnTo>
                      <a:pt x="131" y="362"/>
                    </a:lnTo>
                    <a:lnTo>
                      <a:pt x="133" y="362"/>
                    </a:lnTo>
                    <a:lnTo>
                      <a:pt x="133" y="360"/>
                    </a:lnTo>
                    <a:lnTo>
                      <a:pt x="133" y="362"/>
                    </a:lnTo>
                    <a:lnTo>
                      <a:pt x="131" y="362"/>
                    </a:lnTo>
                    <a:lnTo>
                      <a:pt x="131" y="364"/>
                    </a:lnTo>
                    <a:lnTo>
                      <a:pt x="131" y="365"/>
                    </a:lnTo>
                    <a:lnTo>
                      <a:pt x="133" y="365"/>
                    </a:lnTo>
                    <a:lnTo>
                      <a:pt x="131" y="367"/>
                    </a:lnTo>
                    <a:lnTo>
                      <a:pt x="131" y="365"/>
                    </a:lnTo>
                    <a:lnTo>
                      <a:pt x="131" y="367"/>
                    </a:lnTo>
                    <a:lnTo>
                      <a:pt x="131" y="365"/>
                    </a:lnTo>
                    <a:lnTo>
                      <a:pt x="131" y="367"/>
                    </a:lnTo>
                    <a:lnTo>
                      <a:pt x="129" y="367"/>
                    </a:lnTo>
                    <a:lnTo>
                      <a:pt x="131" y="367"/>
                    </a:lnTo>
                    <a:lnTo>
                      <a:pt x="131" y="369"/>
                    </a:lnTo>
                    <a:lnTo>
                      <a:pt x="133" y="369"/>
                    </a:lnTo>
                    <a:lnTo>
                      <a:pt x="131" y="369"/>
                    </a:lnTo>
                    <a:lnTo>
                      <a:pt x="131" y="367"/>
                    </a:lnTo>
                    <a:lnTo>
                      <a:pt x="133" y="369"/>
                    </a:lnTo>
                    <a:lnTo>
                      <a:pt x="133" y="367"/>
                    </a:lnTo>
                    <a:lnTo>
                      <a:pt x="131" y="367"/>
                    </a:lnTo>
                    <a:close/>
                    <a:moveTo>
                      <a:pt x="131" y="362"/>
                    </a:moveTo>
                    <a:lnTo>
                      <a:pt x="133" y="362"/>
                    </a:lnTo>
                    <a:lnTo>
                      <a:pt x="131" y="362"/>
                    </a:lnTo>
                    <a:close/>
                    <a:moveTo>
                      <a:pt x="219" y="369"/>
                    </a:moveTo>
                    <a:lnTo>
                      <a:pt x="219" y="371"/>
                    </a:lnTo>
                    <a:lnTo>
                      <a:pt x="219" y="369"/>
                    </a:lnTo>
                    <a:lnTo>
                      <a:pt x="219" y="371"/>
                    </a:lnTo>
                    <a:lnTo>
                      <a:pt x="219" y="369"/>
                    </a:lnTo>
                    <a:lnTo>
                      <a:pt x="219" y="367"/>
                    </a:lnTo>
                    <a:lnTo>
                      <a:pt x="217" y="367"/>
                    </a:lnTo>
                    <a:lnTo>
                      <a:pt x="219" y="369"/>
                    </a:lnTo>
                    <a:lnTo>
                      <a:pt x="219" y="371"/>
                    </a:lnTo>
                    <a:lnTo>
                      <a:pt x="219" y="369"/>
                    </a:lnTo>
                    <a:close/>
                    <a:moveTo>
                      <a:pt x="223" y="371"/>
                    </a:moveTo>
                    <a:lnTo>
                      <a:pt x="223" y="373"/>
                    </a:lnTo>
                    <a:lnTo>
                      <a:pt x="223" y="371"/>
                    </a:lnTo>
                    <a:close/>
                    <a:moveTo>
                      <a:pt x="140" y="346"/>
                    </a:moveTo>
                    <a:lnTo>
                      <a:pt x="140" y="344"/>
                    </a:lnTo>
                    <a:lnTo>
                      <a:pt x="140" y="346"/>
                    </a:lnTo>
                    <a:close/>
                    <a:moveTo>
                      <a:pt x="115" y="383"/>
                    </a:moveTo>
                    <a:lnTo>
                      <a:pt x="115" y="385"/>
                    </a:lnTo>
                    <a:lnTo>
                      <a:pt x="115" y="383"/>
                    </a:lnTo>
                    <a:lnTo>
                      <a:pt x="115" y="385"/>
                    </a:lnTo>
                    <a:lnTo>
                      <a:pt x="115" y="383"/>
                    </a:lnTo>
                    <a:close/>
                    <a:moveTo>
                      <a:pt x="90" y="425"/>
                    </a:moveTo>
                    <a:lnTo>
                      <a:pt x="90" y="427"/>
                    </a:lnTo>
                    <a:lnTo>
                      <a:pt x="90" y="425"/>
                    </a:lnTo>
                    <a:close/>
                    <a:moveTo>
                      <a:pt x="88" y="429"/>
                    </a:moveTo>
                    <a:lnTo>
                      <a:pt x="88" y="431"/>
                    </a:lnTo>
                    <a:lnTo>
                      <a:pt x="88" y="429"/>
                    </a:lnTo>
                    <a:close/>
                    <a:moveTo>
                      <a:pt x="526" y="190"/>
                    </a:moveTo>
                    <a:lnTo>
                      <a:pt x="528" y="190"/>
                    </a:lnTo>
                    <a:lnTo>
                      <a:pt x="526" y="190"/>
                    </a:lnTo>
                    <a:close/>
                    <a:moveTo>
                      <a:pt x="463" y="127"/>
                    </a:moveTo>
                    <a:lnTo>
                      <a:pt x="463" y="129"/>
                    </a:lnTo>
                    <a:lnTo>
                      <a:pt x="463" y="127"/>
                    </a:lnTo>
                    <a:close/>
                    <a:moveTo>
                      <a:pt x="471" y="152"/>
                    </a:moveTo>
                    <a:lnTo>
                      <a:pt x="471" y="154"/>
                    </a:lnTo>
                    <a:lnTo>
                      <a:pt x="471" y="152"/>
                    </a:lnTo>
                    <a:close/>
                    <a:moveTo>
                      <a:pt x="340" y="16"/>
                    </a:moveTo>
                    <a:lnTo>
                      <a:pt x="340" y="14"/>
                    </a:lnTo>
                    <a:lnTo>
                      <a:pt x="342" y="14"/>
                    </a:lnTo>
                    <a:lnTo>
                      <a:pt x="344" y="14"/>
                    </a:lnTo>
                    <a:lnTo>
                      <a:pt x="344" y="16"/>
                    </a:lnTo>
                    <a:lnTo>
                      <a:pt x="346" y="16"/>
                    </a:lnTo>
                    <a:lnTo>
                      <a:pt x="348" y="16"/>
                    </a:lnTo>
                    <a:lnTo>
                      <a:pt x="350" y="16"/>
                    </a:lnTo>
                    <a:lnTo>
                      <a:pt x="352" y="16"/>
                    </a:lnTo>
                    <a:lnTo>
                      <a:pt x="352" y="17"/>
                    </a:lnTo>
                    <a:lnTo>
                      <a:pt x="353" y="17"/>
                    </a:lnTo>
                    <a:lnTo>
                      <a:pt x="355" y="19"/>
                    </a:lnTo>
                    <a:lnTo>
                      <a:pt x="357" y="21"/>
                    </a:lnTo>
                    <a:lnTo>
                      <a:pt x="359" y="21"/>
                    </a:lnTo>
                    <a:lnTo>
                      <a:pt x="357" y="21"/>
                    </a:lnTo>
                    <a:lnTo>
                      <a:pt x="355" y="21"/>
                    </a:lnTo>
                    <a:lnTo>
                      <a:pt x="357" y="21"/>
                    </a:lnTo>
                    <a:lnTo>
                      <a:pt x="357" y="23"/>
                    </a:lnTo>
                    <a:lnTo>
                      <a:pt x="357" y="21"/>
                    </a:lnTo>
                    <a:lnTo>
                      <a:pt x="355" y="21"/>
                    </a:lnTo>
                    <a:lnTo>
                      <a:pt x="355" y="23"/>
                    </a:lnTo>
                    <a:lnTo>
                      <a:pt x="355" y="21"/>
                    </a:lnTo>
                    <a:lnTo>
                      <a:pt x="355" y="23"/>
                    </a:lnTo>
                    <a:lnTo>
                      <a:pt x="353" y="25"/>
                    </a:lnTo>
                    <a:lnTo>
                      <a:pt x="353" y="23"/>
                    </a:lnTo>
                    <a:lnTo>
                      <a:pt x="352" y="23"/>
                    </a:lnTo>
                    <a:lnTo>
                      <a:pt x="353" y="23"/>
                    </a:lnTo>
                    <a:lnTo>
                      <a:pt x="353" y="25"/>
                    </a:lnTo>
                    <a:lnTo>
                      <a:pt x="352" y="25"/>
                    </a:lnTo>
                    <a:lnTo>
                      <a:pt x="353" y="25"/>
                    </a:lnTo>
                    <a:lnTo>
                      <a:pt x="355" y="23"/>
                    </a:lnTo>
                    <a:lnTo>
                      <a:pt x="355" y="21"/>
                    </a:lnTo>
                    <a:lnTo>
                      <a:pt x="355" y="23"/>
                    </a:lnTo>
                    <a:lnTo>
                      <a:pt x="357" y="23"/>
                    </a:lnTo>
                    <a:lnTo>
                      <a:pt x="359" y="23"/>
                    </a:lnTo>
                    <a:lnTo>
                      <a:pt x="357" y="23"/>
                    </a:lnTo>
                    <a:lnTo>
                      <a:pt x="359" y="23"/>
                    </a:lnTo>
                    <a:lnTo>
                      <a:pt x="359" y="21"/>
                    </a:lnTo>
                    <a:lnTo>
                      <a:pt x="361" y="21"/>
                    </a:lnTo>
                    <a:lnTo>
                      <a:pt x="359" y="21"/>
                    </a:lnTo>
                    <a:lnTo>
                      <a:pt x="361" y="21"/>
                    </a:lnTo>
                    <a:lnTo>
                      <a:pt x="363" y="23"/>
                    </a:lnTo>
                    <a:lnTo>
                      <a:pt x="365" y="25"/>
                    </a:lnTo>
                    <a:lnTo>
                      <a:pt x="367" y="25"/>
                    </a:lnTo>
                    <a:lnTo>
                      <a:pt x="371" y="29"/>
                    </a:lnTo>
                    <a:lnTo>
                      <a:pt x="373" y="31"/>
                    </a:lnTo>
                    <a:lnTo>
                      <a:pt x="375" y="31"/>
                    </a:lnTo>
                    <a:lnTo>
                      <a:pt x="375" y="33"/>
                    </a:lnTo>
                    <a:lnTo>
                      <a:pt x="373" y="31"/>
                    </a:lnTo>
                    <a:lnTo>
                      <a:pt x="373" y="33"/>
                    </a:lnTo>
                    <a:lnTo>
                      <a:pt x="373" y="35"/>
                    </a:lnTo>
                    <a:lnTo>
                      <a:pt x="373" y="37"/>
                    </a:lnTo>
                    <a:lnTo>
                      <a:pt x="371" y="37"/>
                    </a:lnTo>
                    <a:lnTo>
                      <a:pt x="371" y="39"/>
                    </a:lnTo>
                    <a:lnTo>
                      <a:pt x="371" y="41"/>
                    </a:lnTo>
                    <a:lnTo>
                      <a:pt x="371" y="42"/>
                    </a:lnTo>
                    <a:lnTo>
                      <a:pt x="373" y="42"/>
                    </a:lnTo>
                    <a:lnTo>
                      <a:pt x="371" y="42"/>
                    </a:lnTo>
                    <a:lnTo>
                      <a:pt x="369" y="42"/>
                    </a:lnTo>
                    <a:lnTo>
                      <a:pt x="367" y="42"/>
                    </a:lnTo>
                    <a:lnTo>
                      <a:pt x="369" y="42"/>
                    </a:lnTo>
                    <a:lnTo>
                      <a:pt x="371" y="42"/>
                    </a:lnTo>
                    <a:lnTo>
                      <a:pt x="373" y="42"/>
                    </a:lnTo>
                    <a:lnTo>
                      <a:pt x="373" y="44"/>
                    </a:lnTo>
                    <a:lnTo>
                      <a:pt x="373" y="42"/>
                    </a:lnTo>
                    <a:lnTo>
                      <a:pt x="373" y="44"/>
                    </a:lnTo>
                    <a:lnTo>
                      <a:pt x="371" y="44"/>
                    </a:lnTo>
                    <a:lnTo>
                      <a:pt x="371" y="46"/>
                    </a:lnTo>
                    <a:lnTo>
                      <a:pt x="369" y="48"/>
                    </a:lnTo>
                    <a:lnTo>
                      <a:pt x="371" y="48"/>
                    </a:lnTo>
                    <a:lnTo>
                      <a:pt x="369" y="48"/>
                    </a:lnTo>
                    <a:lnTo>
                      <a:pt x="371" y="48"/>
                    </a:lnTo>
                    <a:lnTo>
                      <a:pt x="369" y="48"/>
                    </a:lnTo>
                    <a:lnTo>
                      <a:pt x="369" y="50"/>
                    </a:lnTo>
                    <a:lnTo>
                      <a:pt x="369" y="52"/>
                    </a:lnTo>
                    <a:lnTo>
                      <a:pt x="369" y="54"/>
                    </a:lnTo>
                    <a:lnTo>
                      <a:pt x="369" y="56"/>
                    </a:lnTo>
                    <a:lnTo>
                      <a:pt x="367" y="56"/>
                    </a:lnTo>
                    <a:lnTo>
                      <a:pt x="367" y="58"/>
                    </a:lnTo>
                    <a:lnTo>
                      <a:pt x="365" y="58"/>
                    </a:lnTo>
                    <a:lnTo>
                      <a:pt x="365" y="60"/>
                    </a:lnTo>
                    <a:lnTo>
                      <a:pt x="365" y="58"/>
                    </a:lnTo>
                    <a:lnTo>
                      <a:pt x="365" y="60"/>
                    </a:lnTo>
                    <a:lnTo>
                      <a:pt x="365" y="62"/>
                    </a:lnTo>
                    <a:lnTo>
                      <a:pt x="363" y="62"/>
                    </a:lnTo>
                    <a:lnTo>
                      <a:pt x="363" y="64"/>
                    </a:lnTo>
                    <a:lnTo>
                      <a:pt x="361" y="64"/>
                    </a:lnTo>
                    <a:lnTo>
                      <a:pt x="361" y="66"/>
                    </a:lnTo>
                    <a:lnTo>
                      <a:pt x="359" y="67"/>
                    </a:lnTo>
                    <a:lnTo>
                      <a:pt x="359" y="69"/>
                    </a:lnTo>
                    <a:lnTo>
                      <a:pt x="359" y="71"/>
                    </a:lnTo>
                    <a:lnTo>
                      <a:pt x="357" y="71"/>
                    </a:lnTo>
                    <a:lnTo>
                      <a:pt x="357" y="73"/>
                    </a:lnTo>
                    <a:lnTo>
                      <a:pt x="355" y="73"/>
                    </a:lnTo>
                    <a:lnTo>
                      <a:pt x="353" y="73"/>
                    </a:lnTo>
                    <a:lnTo>
                      <a:pt x="353" y="75"/>
                    </a:lnTo>
                    <a:lnTo>
                      <a:pt x="353" y="73"/>
                    </a:lnTo>
                    <a:lnTo>
                      <a:pt x="353" y="75"/>
                    </a:lnTo>
                    <a:lnTo>
                      <a:pt x="352" y="75"/>
                    </a:lnTo>
                    <a:lnTo>
                      <a:pt x="352" y="79"/>
                    </a:lnTo>
                    <a:lnTo>
                      <a:pt x="352" y="81"/>
                    </a:lnTo>
                    <a:lnTo>
                      <a:pt x="352" y="83"/>
                    </a:lnTo>
                    <a:lnTo>
                      <a:pt x="350" y="83"/>
                    </a:lnTo>
                    <a:lnTo>
                      <a:pt x="352" y="83"/>
                    </a:lnTo>
                    <a:lnTo>
                      <a:pt x="350" y="83"/>
                    </a:lnTo>
                    <a:lnTo>
                      <a:pt x="348" y="83"/>
                    </a:lnTo>
                    <a:lnTo>
                      <a:pt x="348" y="85"/>
                    </a:lnTo>
                    <a:lnTo>
                      <a:pt x="346" y="85"/>
                    </a:lnTo>
                    <a:lnTo>
                      <a:pt x="346" y="83"/>
                    </a:lnTo>
                    <a:lnTo>
                      <a:pt x="346" y="85"/>
                    </a:lnTo>
                    <a:lnTo>
                      <a:pt x="344" y="83"/>
                    </a:lnTo>
                    <a:lnTo>
                      <a:pt x="344" y="81"/>
                    </a:lnTo>
                    <a:lnTo>
                      <a:pt x="342" y="81"/>
                    </a:lnTo>
                    <a:lnTo>
                      <a:pt x="344" y="81"/>
                    </a:lnTo>
                    <a:lnTo>
                      <a:pt x="344" y="83"/>
                    </a:lnTo>
                    <a:lnTo>
                      <a:pt x="342" y="83"/>
                    </a:lnTo>
                    <a:lnTo>
                      <a:pt x="342" y="81"/>
                    </a:lnTo>
                    <a:lnTo>
                      <a:pt x="342" y="83"/>
                    </a:lnTo>
                    <a:lnTo>
                      <a:pt x="344" y="83"/>
                    </a:lnTo>
                    <a:lnTo>
                      <a:pt x="346" y="85"/>
                    </a:lnTo>
                    <a:lnTo>
                      <a:pt x="346" y="83"/>
                    </a:lnTo>
                    <a:lnTo>
                      <a:pt x="346" y="85"/>
                    </a:lnTo>
                    <a:lnTo>
                      <a:pt x="348" y="85"/>
                    </a:lnTo>
                    <a:lnTo>
                      <a:pt x="346" y="85"/>
                    </a:lnTo>
                    <a:lnTo>
                      <a:pt x="346" y="87"/>
                    </a:lnTo>
                    <a:lnTo>
                      <a:pt x="346" y="85"/>
                    </a:lnTo>
                    <a:lnTo>
                      <a:pt x="344" y="85"/>
                    </a:lnTo>
                    <a:lnTo>
                      <a:pt x="346" y="85"/>
                    </a:lnTo>
                    <a:lnTo>
                      <a:pt x="346" y="87"/>
                    </a:lnTo>
                    <a:lnTo>
                      <a:pt x="344" y="87"/>
                    </a:lnTo>
                    <a:lnTo>
                      <a:pt x="346" y="87"/>
                    </a:lnTo>
                    <a:lnTo>
                      <a:pt x="344" y="87"/>
                    </a:lnTo>
                    <a:lnTo>
                      <a:pt x="342" y="87"/>
                    </a:lnTo>
                    <a:lnTo>
                      <a:pt x="344" y="89"/>
                    </a:lnTo>
                    <a:lnTo>
                      <a:pt x="342" y="89"/>
                    </a:lnTo>
                    <a:lnTo>
                      <a:pt x="342" y="87"/>
                    </a:lnTo>
                    <a:lnTo>
                      <a:pt x="340" y="87"/>
                    </a:lnTo>
                    <a:lnTo>
                      <a:pt x="342" y="87"/>
                    </a:lnTo>
                    <a:lnTo>
                      <a:pt x="340" y="87"/>
                    </a:lnTo>
                    <a:lnTo>
                      <a:pt x="342" y="85"/>
                    </a:lnTo>
                    <a:lnTo>
                      <a:pt x="340" y="85"/>
                    </a:lnTo>
                    <a:lnTo>
                      <a:pt x="340" y="83"/>
                    </a:lnTo>
                    <a:lnTo>
                      <a:pt x="338" y="83"/>
                    </a:lnTo>
                    <a:lnTo>
                      <a:pt x="340" y="83"/>
                    </a:lnTo>
                    <a:lnTo>
                      <a:pt x="340" y="81"/>
                    </a:lnTo>
                    <a:lnTo>
                      <a:pt x="338" y="81"/>
                    </a:lnTo>
                    <a:lnTo>
                      <a:pt x="338" y="83"/>
                    </a:lnTo>
                    <a:lnTo>
                      <a:pt x="336" y="83"/>
                    </a:lnTo>
                    <a:lnTo>
                      <a:pt x="336" y="81"/>
                    </a:lnTo>
                    <a:lnTo>
                      <a:pt x="338" y="81"/>
                    </a:lnTo>
                    <a:lnTo>
                      <a:pt x="336" y="81"/>
                    </a:lnTo>
                    <a:lnTo>
                      <a:pt x="334" y="81"/>
                    </a:lnTo>
                    <a:lnTo>
                      <a:pt x="336" y="79"/>
                    </a:lnTo>
                    <a:lnTo>
                      <a:pt x="334" y="79"/>
                    </a:lnTo>
                    <a:lnTo>
                      <a:pt x="336" y="79"/>
                    </a:lnTo>
                    <a:lnTo>
                      <a:pt x="334" y="81"/>
                    </a:lnTo>
                    <a:lnTo>
                      <a:pt x="336" y="81"/>
                    </a:lnTo>
                    <a:lnTo>
                      <a:pt x="336" y="83"/>
                    </a:lnTo>
                    <a:lnTo>
                      <a:pt x="338" y="83"/>
                    </a:lnTo>
                    <a:lnTo>
                      <a:pt x="338" y="81"/>
                    </a:lnTo>
                    <a:lnTo>
                      <a:pt x="338" y="83"/>
                    </a:lnTo>
                    <a:lnTo>
                      <a:pt x="340" y="83"/>
                    </a:lnTo>
                    <a:lnTo>
                      <a:pt x="338" y="83"/>
                    </a:lnTo>
                    <a:lnTo>
                      <a:pt x="340" y="85"/>
                    </a:lnTo>
                    <a:lnTo>
                      <a:pt x="340" y="87"/>
                    </a:lnTo>
                    <a:lnTo>
                      <a:pt x="342" y="87"/>
                    </a:lnTo>
                    <a:lnTo>
                      <a:pt x="342" y="89"/>
                    </a:lnTo>
                    <a:lnTo>
                      <a:pt x="340" y="89"/>
                    </a:lnTo>
                    <a:lnTo>
                      <a:pt x="338" y="89"/>
                    </a:lnTo>
                    <a:lnTo>
                      <a:pt x="338" y="87"/>
                    </a:lnTo>
                    <a:lnTo>
                      <a:pt x="338" y="89"/>
                    </a:lnTo>
                    <a:lnTo>
                      <a:pt x="338" y="91"/>
                    </a:lnTo>
                    <a:lnTo>
                      <a:pt x="338" y="92"/>
                    </a:lnTo>
                    <a:lnTo>
                      <a:pt x="336" y="92"/>
                    </a:lnTo>
                    <a:lnTo>
                      <a:pt x="338" y="94"/>
                    </a:lnTo>
                    <a:lnTo>
                      <a:pt x="336" y="94"/>
                    </a:lnTo>
                    <a:lnTo>
                      <a:pt x="338" y="94"/>
                    </a:lnTo>
                    <a:lnTo>
                      <a:pt x="338" y="96"/>
                    </a:lnTo>
                    <a:lnTo>
                      <a:pt x="340" y="98"/>
                    </a:lnTo>
                    <a:lnTo>
                      <a:pt x="340" y="100"/>
                    </a:lnTo>
                    <a:lnTo>
                      <a:pt x="340" y="98"/>
                    </a:lnTo>
                    <a:lnTo>
                      <a:pt x="338" y="98"/>
                    </a:lnTo>
                    <a:lnTo>
                      <a:pt x="338" y="100"/>
                    </a:lnTo>
                    <a:lnTo>
                      <a:pt x="336" y="100"/>
                    </a:lnTo>
                    <a:lnTo>
                      <a:pt x="338" y="100"/>
                    </a:lnTo>
                    <a:lnTo>
                      <a:pt x="340" y="100"/>
                    </a:lnTo>
                    <a:lnTo>
                      <a:pt x="340" y="102"/>
                    </a:lnTo>
                    <a:lnTo>
                      <a:pt x="340" y="104"/>
                    </a:lnTo>
                    <a:lnTo>
                      <a:pt x="340" y="102"/>
                    </a:lnTo>
                    <a:lnTo>
                      <a:pt x="338" y="102"/>
                    </a:lnTo>
                    <a:lnTo>
                      <a:pt x="336" y="102"/>
                    </a:lnTo>
                    <a:lnTo>
                      <a:pt x="334" y="102"/>
                    </a:lnTo>
                    <a:lnTo>
                      <a:pt x="336" y="102"/>
                    </a:lnTo>
                    <a:lnTo>
                      <a:pt x="334" y="102"/>
                    </a:lnTo>
                    <a:lnTo>
                      <a:pt x="332" y="102"/>
                    </a:lnTo>
                    <a:lnTo>
                      <a:pt x="334" y="102"/>
                    </a:lnTo>
                    <a:lnTo>
                      <a:pt x="336" y="102"/>
                    </a:lnTo>
                    <a:lnTo>
                      <a:pt x="338" y="102"/>
                    </a:lnTo>
                    <a:lnTo>
                      <a:pt x="340" y="102"/>
                    </a:lnTo>
                    <a:lnTo>
                      <a:pt x="338" y="104"/>
                    </a:lnTo>
                    <a:lnTo>
                      <a:pt x="338" y="102"/>
                    </a:lnTo>
                    <a:lnTo>
                      <a:pt x="338" y="104"/>
                    </a:lnTo>
                    <a:lnTo>
                      <a:pt x="338" y="102"/>
                    </a:lnTo>
                    <a:lnTo>
                      <a:pt x="338" y="104"/>
                    </a:lnTo>
                    <a:lnTo>
                      <a:pt x="340" y="102"/>
                    </a:lnTo>
                    <a:lnTo>
                      <a:pt x="340" y="104"/>
                    </a:lnTo>
                    <a:lnTo>
                      <a:pt x="340" y="106"/>
                    </a:lnTo>
                    <a:lnTo>
                      <a:pt x="342" y="106"/>
                    </a:lnTo>
                    <a:lnTo>
                      <a:pt x="342" y="108"/>
                    </a:lnTo>
                    <a:lnTo>
                      <a:pt x="344" y="108"/>
                    </a:lnTo>
                    <a:lnTo>
                      <a:pt x="344" y="110"/>
                    </a:lnTo>
                    <a:lnTo>
                      <a:pt x="346" y="112"/>
                    </a:lnTo>
                    <a:lnTo>
                      <a:pt x="348" y="112"/>
                    </a:lnTo>
                    <a:lnTo>
                      <a:pt x="348" y="114"/>
                    </a:lnTo>
                    <a:lnTo>
                      <a:pt x="346" y="114"/>
                    </a:lnTo>
                    <a:lnTo>
                      <a:pt x="346" y="112"/>
                    </a:lnTo>
                    <a:lnTo>
                      <a:pt x="346" y="114"/>
                    </a:lnTo>
                    <a:lnTo>
                      <a:pt x="344" y="114"/>
                    </a:lnTo>
                    <a:lnTo>
                      <a:pt x="346" y="114"/>
                    </a:lnTo>
                    <a:lnTo>
                      <a:pt x="348" y="114"/>
                    </a:lnTo>
                    <a:lnTo>
                      <a:pt x="346" y="114"/>
                    </a:lnTo>
                    <a:lnTo>
                      <a:pt x="346" y="116"/>
                    </a:lnTo>
                    <a:lnTo>
                      <a:pt x="346" y="114"/>
                    </a:lnTo>
                    <a:lnTo>
                      <a:pt x="344" y="114"/>
                    </a:lnTo>
                    <a:lnTo>
                      <a:pt x="342" y="114"/>
                    </a:lnTo>
                    <a:lnTo>
                      <a:pt x="342" y="116"/>
                    </a:lnTo>
                    <a:lnTo>
                      <a:pt x="340" y="116"/>
                    </a:lnTo>
                    <a:lnTo>
                      <a:pt x="340" y="114"/>
                    </a:lnTo>
                    <a:lnTo>
                      <a:pt x="340" y="116"/>
                    </a:lnTo>
                    <a:lnTo>
                      <a:pt x="340" y="114"/>
                    </a:lnTo>
                    <a:lnTo>
                      <a:pt x="340" y="116"/>
                    </a:lnTo>
                    <a:lnTo>
                      <a:pt x="338" y="116"/>
                    </a:lnTo>
                    <a:lnTo>
                      <a:pt x="340" y="116"/>
                    </a:lnTo>
                    <a:lnTo>
                      <a:pt x="342" y="116"/>
                    </a:lnTo>
                    <a:lnTo>
                      <a:pt x="342" y="114"/>
                    </a:lnTo>
                    <a:lnTo>
                      <a:pt x="344" y="114"/>
                    </a:lnTo>
                    <a:lnTo>
                      <a:pt x="346" y="114"/>
                    </a:lnTo>
                    <a:lnTo>
                      <a:pt x="346" y="116"/>
                    </a:lnTo>
                    <a:lnTo>
                      <a:pt x="346" y="114"/>
                    </a:lnTo>
                    <a:lnTo>
                      <a:pt x="348" y="114"/>
                    </a:lnTo>
                    <a:lnTo>
                      <a:pt x="350" y="114"/>
                    </a:lnTo>
                    <a:lnTo>
                      <a:pt x="348" y="114"/>
                    </a:lnTo>
                    <a:lnTo>
                      <a:pt x="350" y="114"/>
                    </a:lnTo>
                    <a:lnTo>
                      <a:pt x="350" y="116"/>
                    </a:lnTo>
                    <a:lnTo>
                      <a:pt x="350" y="117"/>
                    </a:lnTo>
                    <a:lnTo>
                      <a:pt x="352" y="119"/>
                    </a:lnTo>
                    <a:lnTo>
                      <a:pt x="350" y="119"/>
                    </a:lnTo>
                    <a:lnTo>
                      <a:pt x="348" y="121"/>
                    </a:lnTo>
                    <a:lnTo>
                      <a:pt x="348" y="123"/>
                    </a:lnTo>
                    <a:lnTo>
                      <a:pt x="348" y="125"/>
                    </a:lnTo>
                    <a:lnTo>
                      <a:pt x="350" y="127"/>
                    </a:lnTo>
                    <a:lnTo>
                      <a:pt x="348" y="127"/>
                    </a:lnTo>
                    <a:lnTo>
                      <a:pt x="346" y="127"/>
                    </a:lnTo>
                    <a:lnTo>
                      <a:pt x="348" y="127"/>
                    </a:lnTo>
                    <a:lnTo>
                      <a:pt x="350" y="127"/>
                    </a:lnTo>
                    <a:lnTo>
                      <a:pt x="350" y="129"/>
                    </a:lnTo>
                    <a:lnTo>
                      <a:pt x="352" y="129"/>
                    </a:lnTo>
                    <a:lnTo>
                      <a:pt x="352" y="131"/>
                    </a:lnTo>
                    <a:lnTo>
                      <a:pt x="352" y="133"/>
                    </a:lnTo>
                    <a:lnTo>
                      <a:pt x="350" y="133"/>
                    </a:lnTo>
                    <a:lnTo>
                      <a:pt x="350" y="135"/>
                    </a:lnTo>
                    <a:lnTo>
                      <a:pt x="350" y="137"/>
                    </a:lnTo>
                    <a:lnTo>
                      <a:pt x="348" y="139"/>
                    </a:lnTo>
                    <a:lnTo>
                      <a:pt x="348" y="141"/>
                    </a:lnTo>
                    <a:lnTo>
                      <a:pt x="348" y="142"/>
                    </a:lnTo>
                    <a:lnTo>
                      <a:pt x="346" y="142"/>
                    </a:lnTo>
                    <a:lnTo>
                      <a:pt x="346" y="144"/>
                    </a:lnTo>
                    <a:lnTo>
                      <a:pt x="344" y="144"/>
                    </a:lnTo>
                    <a:lnTo>
                      <a:pt x="346" y="144"/>
                    </a:lnTo>
                    <a:lnTo>
                      <a:pt x="344" y="144"/>
                    </a:lnTo>
                    <a:lnTo>
                      <a:pt x="346" y="144"/>
                    </a:lnTo>
                    <a:lnTo>
                      <a:pt x="344" y="144"/>
                    </a:lnTo>
                    <a:lnTo>
                      <a:pt x="346" y="144"/>
                    </a:lnTo>
                    <a:lnTo>
                      <a:pt x="346" y="146"/>
                    </a:lnTo>
                    <a:lnTo>
                      <a:pt x="344" y="146"/>
                    </a:lnTo>
                    <a:lnTo>
                      <a:pt x="346" y="146"/>
                    </a:lnTo>
                    <a:lnTo>
                      <a:pt x="346" y="148"/>
                    </a:lnTo>
                    <a:lnTo>
                      <a:pt x="346" y="150"/>
                    </a:lnTo>
                    <a:lnTo>
                      <a:pt x="346" y="152"/>
                    </a:lnTo>
                    <a:lnTo>
                      <a:pt x="344" y="154"/>
                    </a:lnTo>
                    <a:lnTo>
                      <a:pt x="344" y="156"/>
                    </a:lnTo>
                    <a:lnTo>
                      <a:pt x="344" y="158"/>
                    </a:lnTo>
                    <a:lnTo>
                      <a:pt x="342" y="158"/>
                    </a:lnTo>
                    <a:lnTo>
                      <a:pt x="344" y="156"/>
                    </a:lnTo>
                    <a:lnTo>
                      <a:pt x="342" y="156"/>
                    </a:lnTo>
                    <a:lnTo>
                      <a:pt x="340" y="158"/>
                    </a:lnTo>
                    <a:lnTo>
                      <a:pt x="338" y="158"/>
                    </a:lnTo>
                    <a:lnTo>
                      <a:pt x="338" y="160"/>
                    </a:lnTo>
                    <a:lnTo>
                      <a:pt x="336" y="160"/>
                    </a:lnTo>
                    <a:lnTo>
                      <a:pt x="334" y="160"/>
                    </a:lnTo>
                    <a:lnTo>
                      <a:pt x="336" y="160"/>
                    </a:lnTo>
                    <a:lnTo>
                      <a:pt x="334" y="162"/>
                    </a:lnTo>
                    <a:lnTo>
                      <a:pt x="334" y="160"/>
                    </a:lnTo>
                    <a:lnTo>
                      <a:pt x="334" y="158"/>
                    </a:lnTo>
                    <a:lnTo>
                      <a:pt x="332" y="158"/>
                    </a:lnTo>
                    <a:lnTo>
                      <a:pt x="330" y="158"/>
                    </a:lnTo>
                    <a:lnTo>
                      <a:pt x="332" y="158"/>
                    </a:lnTo>
                    <a:lnTo>
                      <a:pt x="334" y="158"/>
                    </a:lnTo>
                    <a:lnTo>
                      <a:pt x="332" y="158"/>
                    </a:lnTo>
                    <a:lnTo>
                      <a:pt x="332" y="160"/>
                    </a:lnTo>
                    <a:lnTo>
                      <a:pt x="334" y="160"/>
                    </a:lnTo>
                    <a:lnTo>
                      <a:pt x="332" y="160"/>
                    </a:lnTo>
                    <a:lnTo>
                      <a:pt x="334" y="160"/>
                    </a:lnTo>
                    <a:lnTo>
                      <a:pt x="334" y="162"/>
                    </a:lnTo>
                    <a:lnTo>
                      <a:pt x="334" y="164"/>
                    </a:lnTo>
                    <a:lnTo>
                      <a:pt x="334" y="166"/>
                    </a:lnTo>
                    <a:lnTo>
                      <a:pt x="336" y="166"/>
                    </a:lnTo>
                    <a:lnTo>
                      <a:pt x="336" y="167"/>
                    </a:lnTo>
                    <a:lnTo>
                      <a:pt x="334" y="167"/>
                    </a:lnTo>
                    <a:lnTo>
                      <a:pt x="334" y="166"/>
                    </a:lnTo>
                    <a:lnTo>
                      <a:pt x="334" y="167"/>
                    </a:lnTo>
                    <a:lnTo>
                      <a:pt x="332" y="166"/>
                    </a:lnTo>
                    <a:lnTo>
                      <a:pt x="332" y="167"/>
                    </a:lnTo>
                    <a:lnTo>
                      <a:pt x="332" y="169"/>
                    </a:lnTo>
                    <a:lnTo>
                      <a:pt x="330" y="169"/>
                    </a:lnTo>
                    <a:lnTo>
                      <a:pt x="332" y="169"/>
                    </a:lnTo>
                    <a:lnTo>
                      <a:pt x="330" y="169"/>
                    </a:lnTo>
                    <a:lnTo>
                      <a:pt x="328" y="169"/>
                    </a:lnTo>
                    <a:lnTo>
                      <a:pt x="330" y="169"/>
                    </a:lnTo>
                    <a:lnTo>
                      <a:pt x="330" y="171"/>
                    </a:lnTo>
                    <a:lnTo>
                      <a:pt x="330" y="169"/>
                    </a:lnTo>
                    <a:lnTo>
                      <a:pt x="332" y="169"/>
                    </a:lnTo>
                    <a:lnTo>
                      <a:pt x="330" y="169"/>
                    </a:lnTo>
                    <a:lnTo>
                      <a:pt x="332" y="169"/>
                    </a:lnTo>
                    <a:lnTo>
                      <a:pt x="332" y="167"/>
                    </a:lnTo>
                    <a:lnTo>
                      <a:pt x="332" y="166"/>
                    </a:lnTo>
                    <a:lnTo>
                      <a:pt x="334" y="167"/>
                    </a:lnTo>
                    <a:lnTo>
                      <a:pt x="336" y="167"/>
                    </a:lnTo>
                    <a:lnTo>
                      <a:pt x="336" y="169"/>
                    </a:lnTo>
                    <a:lnTo>
                      <a:pt x="336" y="171"/>
                    </a:lnTo>
                    <a:lnTo>
                      <a:pt x="336" y="173"/>
                    </a:lnTo>
                    <a:lnTo>
                      <a:pt x="336" y="171"/>
                    </a:lnTo>
                    <a:lnTo>
                      <a:pt x="336" y="173"/>
                    </a:lnTo>
                    <a:lnTo>
                      <a:pt x="334" y="173"/>
                    </a:lnTo>
                    <a:lnTo>
                      <a:pt x="334" y="175"/>
                    </a:lnTo>
                    <a:lnTo>
                      <a:pt x="332" y="175"/>
                    </a:lnTo>
                    <a:lnTo>
                      <a:pt x="332" y="177"/>
                    </a:lnTo>
                    <a:lnTo>
                      <a:pt x="332" y="179"/>
                    </a:lnTo>
                    <a:lnTo>
                      <a:pt x="332" y="181"/>
                    </a:lnTo>
                    <a:lnTo>
                      <a:pt x="334" y="183"/>
                    </a:lnTo>
                    <a:lnTo>
                      <a:pt x="334" y="185"/>
                    </a:lnTo>
                    <a:lnTo>
                      <a:pt x="334" y="187"/>
                    </a:lnTo>
                    <a:lnTo>
                      <a:pt x="334" y="189"/>
                    </a:lnTo>
                    <a:lnTo>
                      <a:pt x="334" y="190"/>
                    </a:lnTo>
                    <a:lnTo>
                      <a:pt x="334" y="192"/>
                    </a:lnTo>
                    <a:lnTo>
                      <a:pt x="332" y="192"/>
                    </a:lnTo>
                    <a:lnTo>
                      <a:pt x="332" y="194"/>
                    </a:lnTo>
                    <a:lnTo>
                      <a:pt x="330" y="194"/>
                    </a:lnTo>
                    <a:lnTo>
                      <a:pt x="330" y="196"/>
                    </a:lnTo>
                    <a:lnTo>
                      <a:pt x="328" y="196"/>
                    </a:lnTo>
                    <a:lnTo>
                      <a:pt x="330" y="196"/>
                    </a:lnTo>
                    <a:lnTo>
                      <a:pt x="328" y="196"/>
                    </a:lnTo>
                    <a:lnTo>
                      <a:pt x="330" y="194"/>
                    </a:lnTo>
                    <a:lnTo>
                      <a:pt x="328" y="194"/>
                    </a:lnTo>
                    <a:lnTo>
                      <a:pt x="328" y="196"/>
                    </a:lnTo>
                    <a:lnTo>
                      <a:pt x="330" y="196"/>
                    </a:lnTo>
                    <a:lnTo>
                      <a:pt x="328" y="196"/>
                    </a:lnTo>
                    <a:lnTo>
                      <a:pt x="330" y="196"/>
                    </a:lnTo>
                    <a:lnTo>
                      <a:pt x="328" y="198"/>
                    </a:lnTo>
                    <a:lnTo>
                      <a:pt x="328" y="200"/>
                    </a:lnTo>
                    <a:lnTo>
                      <a:pt x="328" y="202"/>
                    </a:lnTo>
                    <a:lnTo>
                      <a:pt x="328" y="204"/>
                    </a:lnTo>
                    <a:lnTo>
                      <a:pt x="330" y="206"/>
                    </a:lnTo>
                    <a:lnTo>
                      <a:pt x="330" y="208"/>
                    </a:lnTo>
                    <a:lnTo>
                      <a:pt x="328" y="210"/>
                    </a:lnTo>
                    <a:lnTo>
                      <a:pt x="328" y="212"/>
                    </a:lnTo>
                    <a:lnTo>
                      <a:pt x="327" y="212"/>
                    </a:lnTo>
                    <a:lnTo>
                      <a:pt x="328" y="212"/>
                    </a:lnTo>
                    <a:lnTo>
                      <a:pt x="327" y="212"/>
                    </a:lnTo>
                    <a:lnTo>
                      <a:pt x="325" y="210"/>
                    </a:lnTo>
                    <a:lnTo>
                      <a:pt x="325" y="208"/>
                    </a:lnTo>
                    <a:lnTo>
                      <a:pt x="323" y="208"/>
                    </a:lnTo>
                    <a:lnTo>
                      <a:pt x="323" y="206"/>
                    </a:lnTo>
                    <a:lnTo>
                      <a:pt x="323" y="208"/>
                    </a:lnTo>
                    <a:lnTo>
                      <a:pt x="325" y="208"/>
                    </a:lnTo>
                    <a:lnTo>
                      <a:pt x="323" y="208"/>
                    </a:lnTo>
                    <a:lnTo>
                      <a:pt x="321" y="208"/>
                    </a:lnTo>
                    <a:lnTo>
                      <a:pt x="321" y="206"/>
                    </a:lnTo>
                    <a:lnTo>
                      <a:pt x="323" y="206"/>
                    </a:lnTo>
                    <a:lnTo>
                      <a:pt x="321" y="206"/>
                    </a:lnTo>
                    <a:lnTo>
                      <a:pt x="323" y="206"/>
                    </a:lnTo>
                    <a:lnTo>
                      <a:pt x="321" y="206"/>
                    </a:lnTo>
                    <a:lnTo>
                      <a:pt x="321" y="208"/>
                    </a:lnTo>
                    <a:lnTo>
                      <a:pt x="319" y="208"/>
                    </a:lnTo>
                    <a:lnTo>
                      <a:pt x="317" y="208"/>
                    </a:lnTo>
                    <a:lnTo>
                      <a:pt x="315" y="208"/>
                    </a:lnTo>
                    <a:lnTo>
                      <a:pt x="315" y="206"/>
                    </a:lnTo>
                    <a:lnTo>
                      <a:pt x="315" y="208"/>
                    </a:lnTo>
                    <a:lnTo>
                      <a:pt x="313" y="208"/>
                    </a:lnTo>
                    <a:lnTo>
                      <a:pt x="315" y="208"/>
                    </a:lnTo>
                    <a:lnTo>
                      <a:pt x="313" y="210"/>
                    </a:lnTo>
                    <a:lnTo>
                      <a:pt x="313" y="212"/>
                    </a:lnTo>
                    <a:lnTo>
                      <a:pt x="311" y="212"/>
                    </a:lnTo>
                    <a:lnTo>
                      <a:pt x="313" y="212"/>
                    </a:lnTo>
                    <a:lnTo>
                      <a:pt x="313" y="210"/>
                    </a:lnTo>
                    <a:lnTo>
                      <a:pt x="315" y="210"/>
                    </a:lnTo>
                    <a:lnTo>
                      <a:pt x="315" y="212"/>
                    </a:lnTo>
                    <a:lnTo>
                      <a:pt x="313" y="212"/>
                    </a:lnTo>
                    <a:lnTo>
                      <a:pt x="315" y="212"/>
                    </a:lnTo>
                    <a:lnTo>
                      <a:pt x="313" y="212"/>
                    </a:lnTo>
                    <a:lnTo>
                      <a:pt x="315" y="210"/>
                    </a:lnTo>
                    <a:lnTo>
                      <a:pt x="313" y="210"/>
                    </a:lnTo>
                    <a:lnTo>
                      <a:pt x="315" y="208"/>
                    </a:lnTo>
                    <a:lnTo>
                      <a:pt x="313" y="208"/>
                    </a:lnTo>
                    <a:lnTo>
                      <a:pt x="315" y="208"/>
                    </a:lnTo>
                    <a:lnTo>
                      <a:pt x="317" y="208"/>
                    </a:lnTo>
                    <a:lnTo>
                      <a:pt x="319" y="208"/>
                    </a:lnTo>
                    <a:lnTo>
                      <a:pt x="319" y="210"/>
                    </a:lnTo>
                    <a:lnTo>
                      <a:pt x="317" y="210"/>
                    </a:lnTo>
                    <a:lnTo>
                      <a:pt x="317" y="208"/>
                    </a:lnTo>
                    <a:lnTo>
                      <a:pt x="315" y="208"/>
                    </a:lnTo>
                    <a:lnTo>
                      <a:pt x="313" y="210"/>
                    </a:lnTo>
                    <a:lnTo>
                      <a:pt x="315" y="210"/>
                    </a:lnTo>
                    <a:lnTo>
                      <a:pt x="315" y="212"/>
                    </a:lnTo>
                    <a:lnTo>
                      <a:pt x="315" y="210"/>
                    </a:lnTo>
                    <a:lnTo>
                      <a:pt x="313" y="210"/>
                    </a:lnTo>
                    <a:lnTo>
                      <a:pt x="313" y="208"/>
                    </a:lnTo>
                    <a:lnTo>
                      <a:pt x="315" y="208"/>
                    </a:lnTo>
                    <a:lnTo>
                      <a:pt x="317" y="208"/>
                    </a:lnTo>
                    <a:lnTo>
                      <a:pt x="317" y="210"/>
                    </a:lnTo>
                    <a:lnTo>
                      <a:pt x="319" y="210"/>
                    </a:lnTo>
                    <a:lnTo>
                      <a:pt x="321" y="210"/>
                    </a:lnTo>
                    <a:lnTo>
                      <a:pt x="323" y="210"/>
                    </a:lnTo>
                    <a:lnTo>
                      <a:pt x="321" y="210"/>
                    </a:lnTo>
                    <a:lnTo>
                      <a:pt x="323" y="210"/>
                    </a:lnTo>
                    <a:lnTo>
                      <a:pt x="325" y="210"/>
                    </a:lnTo>
                    <a:lnTo>
                      <a:pt x="325" y="212"/>
                    </a:lnTo>
                    <a:lnTo>
                      <a:pt x="323" y="212"/>
                    </a:lnTo>
                    <a:lnTo>
                      <a:pt x="323" y="210"/>
                    </a:lnTo>
                    <a:lnTo>
                      <a:pt x="321" y="210"/>
                    </a:lnTo>
                    <a:lnTo>
                      <a:pt x="319" y="210"/>
                    </a:lnTo>
                    <a:lnTo>
                      <a:pt x="319" y="212"/>
                    </a:lnTo>
                    <a:lnTo>
                      <a:pt x="319" y="210"/>
                    </a:lnTo>
                    <a:lnTo>
                      <a:pt x="317" y="210"/>
                    </a:lnTo>
                    <a:lnTo>
                      <a:pt x="317" y="212"/>
                    </a:lnTo>
                    <a:lnTo>
                      <a:pt x="317" y="210"/>
                    </a:lnTo>
                    <a:lnTo>
                      <a:pt x="319" y="210"/>
                    </a:lnTo>
                    <a:lnTo>
                      <a:pt x="319" y="212"/>
                    </a:lnTo>
                    <a:lnTo>
                      <a:pt x="319" y="210"/>
                    </a:lnTo>
                    <a:lnTo>
                      <a:pt x="321" y="210"/>
                    </a:lnTo>
                    <a:lnTo>
                      <a:pt x="321" y="212"/>
                    </a:lnTo>
                    <a:lnTo>
                      <a:pt x="321" y="210"/>
                    </a:lnTo>
                    <a:lnTo>
                      <a:pt x="321" y="212"/>
                    </a:lnTo>
                    <a:lnTo>
                      <a:pt x="321" y="210"/>
                    </a:lnTo>
                    <a:lnTo>
                      <a:pt x="323" y="210"/>
                    </a:lnTo>
                    <a:lnTo>
                      <a:pt x="323" y="212"/>
                    </a:lnTo>
                    <a:lnTo>
                      <a:pt x="325" y="212"/>
                    </a:lnTo>
                    <a:lnTo>
                      <a:pt x="327" y="212"/>
                    </a:lnTo>
                    <a:lnTo>
                      <a:pt x="327" y="214"/>
                    </a:lnTo>
                    <a:lnTo>
                      <a:pt x="327" y="215"/>
                    </a:lnTo>
                    <a:lnTo>
                      <a:pt x="327" y="217"/>
                    </a:lnTo>
                    <a:lnTo>
                      <a:pt x="327" y="219"/>
                    </a:lnTo>
                    <a:lnTo>
                      <a:pt x="327" y="217"/>
                    </a:lnTo>
                    <a:lnTo>
                      <a:pt x="327" y="219"/>
                    </a:lnTo>
                    <a:lnTo>
                      <a:pt x="325" y="219"/>
                    </a:lnTo>
                    <a:lnTo>
                      <a:pt x="325" y="221"/>
                    </a:lnTo>
                    <a:lnTo>
                      <a:pt x="323" y="221"/>
                    </a:lnTo>
                    <a:lnTo>
                      <a:pt x="323" y="223"/>
                    </a:lnTo>
                    <a:lnTo>
                      <a:pt x="321" y="225"/>
                    </a:lnTo>
                    <a:lnTo>
                      <a:pt x="321" y="227"/>
                    </a:lnTo>
                    <a:lnTo>
                      <a:pt x="321" y="229"/>
                    </a:lnTo>
                    <a:lnTo>
                      <a:pt x="321" y="231"/>
                    </a:lnTo>
                    <a:lnTo>
                      <a:pt x="321" y="233"/>
                    </a:lnTo>
                    <a:lnTo>
                      <a:pt x="321" y="235"/>
                    </a:lnTo>
                    <a:lnTo>
                      <a:pt x="321" y="237"/>
                    </a:lnTo>
                    <a:lnTo>
                      <a:pt x="321" y="239"/>
                    </a:lnTo>
                    <a:lnTo>
                      <a:pt x="321" y="240"/>
                    </a:lnTo>
                    <a:lnTo>
                      <a:pt x="321" y="242"/>
                    </a:lnTo>
                    <a:lnTo>
                      <a:pt x="323" y="242"/>
                    </a:lnTo>
                    <a:lnTo>
                      <a:pt x="323" y="244"/>
                    </a:lnTo>
                    <a:lnTo>
                      <a:pt x="323" y="246"/>
                    </a:lnTo>
                    <a:lnTo>
                      <a:pt x="325" y="246"/>
                    </a:lnTo>
                    <a:lnTo>
                      <a:pt x="325" y="248"/>
                    </a:lnTo>
                    <a:lnTo>
                      <a:pt x="327" y="248"/>
                    </a:lnTo>
                    <a:lnTo>
                      <a:pt x="327" y="250"/>
                    </a:lnTo>
                    <a:lnTo>
                      <a:pt x="328" y="252"/>
                    </a:lnTo>
                    <a:lnTo>
                      <a:pt x="330" y="254"/>
                    </a:lnTo>
                    <a:lnTo>
                      <a:pt x="328" y="256"/>
                    </a:lnTo>
                    <a:lnTo>
                      <a:pt x="328" y="254"/>
                    </a:lnTo>
                    <a:lnTo>
                      <a:pt x="328" y="256"/>
                    </a:lnTo>
                    <a:lnTo>
                      <a:pt x="328" y="254"/>
                    </a:lnTo>
                    <a:lnTo>
                      <a:pt x="328" y="256"/>
                    </a:lnTo>
                    <a:lnTo>
                      <a:pt x="330" y="256"/>
                    </a:lnTo>
                    <a:lnTo>
                      <a:pt x="330" y="254"/>
                    </a:lnTo>
                    <a:lnTo>
                      <a:pt x="330" y="256"/>
                    </a:lnTo>
                    <a:lnTo>
                      <a:pt x="332" y="256"/>
                    </a:lnTo>
                    <a:lnTo>
                      <a:pt x="332" y="258"/>
                    </a:lnTo>
                    <a:lnTo>
                      <a:pt x="334" y="260"/>
                    </a:lnTo>
                    <a:lnTo>
                      <a:pt x="336" y="262"/>
                    </a:lnTo>
                    <a:lnTo>
                      <a:pt x="336" y="264"/>
                    </a:lnTo>
                    <a:lnTo>
                      <a:pt x="338" y="265"/>
                    </a:lnTo>
                    <a:lnTo>
                      <a:pt x="338" y="267"/>
                    </a:lnTo>
                    <a:lnTo>
                      <a:pt x="340" y="269"/>
                    </a:lnTo>
                    <a:lnTo>
                      <a:pt x="338" y="273"/>
                    </a:lnTo>
                    <a:lnTo>
                      <a:pt x="338" y="275"/>
                    </a:lnTo>
                    <a:lnTo>
                      <a:pt x="338" y="273"/>
                    </a:lnTo>
                    <a:lnTo>
                      <a:pt x="338" y="271"/>
                    </a:lnTo>
                    <a:lnTo>
                      <a:pt x="336" y="271"/>
                    </a:lnTo>
                    <a:lnTo>
                      <a:pt x="336" y="273"/>
                    </a:lnTo>
                    <a:lnTo>
                      <a:pt x="334" y="273"/>
                    </a:lnTo>
                    <a:lnTo>
                      <a:pt x="334" y="275"/>
                    </a:lnTo>
                    <a:lnTo>
                      <a:pt x="334" y="277"/>
                    </a:lnTo>
                    <a:lnTo>
                      <a:pt x="332" y="277"/>
                    </a:lnTo>
                    <a:lnTo>
                      <a:pt x="330" y="277"/>
                    </a:lnTo>
                    <a:lnTo>
                      <a:pt x="330" y="279"/>
                    </a:lnTo>
                    <a:lnTo>
                      <a:pt x="328" y="279"/>
                    </a:lnTo>
                    <a:lnTo>
                      <a:pt x="327" y="281"/>
                    </a:lnTo>
                    <a:lnTo>
                      <a:pt x="325" y="281"/>
                    </a:lnTo>
                    <a:lnTo>
                      <a:pt x="325" y="283"/>
                    </a:lnTo>
                    <a:lnTo>
                      <a:pt x="323" y="283"/>
                    </a:lnTo>
                    <a:lnTo>
                      <a:pt x="323" y="285"/>
                    </a:lnTo>
                    <a:lnTo>
                      <a:pt x="323" y="287"/>
                    </a:lnTo>
                    <a:lnTo>
                      <a:pt x="323" y="289"/>
                    </a:lnTo>
                    <a:lnTo>
                      <a:pt x="321" y="289"/>
                    </a:lnTo>
                    <a:lnTo>
                      <a:pt x="321" y="290"/>
                    </a:lnTo>
                    <a:lnTo>
                      <a:pt x="321" y="292"/>
                    </a:lnTo>
                    <a:lnTo>
                      <a:pt x="321" y="294"/>
                    </a:lnTo>
                    <a:lnTo>
                      <a:pt x="321" y="296"/>
                    </a:lnTo>
                    <a:lnTo>
                      <a:pt x="323" y="298"/>
                    </a:lnTo>
                    <a:lnTo>
                      <a:pt x="321" y="298"/>
                    </a:lnTo>
                    <a:lnTo>
                      <a:pt x="323" y="298"/>
                    </a:lnTo>
                    <a:lnTo>
                      <a:pt x="323" y="300"/>
                    </a:lnTo>
                    <a:lnTo>
                      <a:pt x="321" y="300"/>
                    </a:lnTo>
                    <a:lnTo>
                      <a:pt x="323" y="300"/>
                    </a:lnTo>
                    <a:lnTo>
                      <a:pt x="323" y="302"/>
                    </a:lnTo>
                    <a:lnTo>
                      <a:pt x="321" y="304"/>
                    </a:lnTo>
                    <a:lnTo>
                      <a:pt x="321" y="306"/>
                    </a:lnTo>
                    <a:lnTo>
                      <a:pt x="319" y="306"/>
                    </a:lnTo>
                    <a:lnTo>
                      <a:pt x="317" y="308"/>
                    </a:lnTo>
                    <a:lnTo>
                      <a:pt x="317" y="310"/>
                    </a:lnTo>
                    <a:lnTo>
                      <a:pt x="317" y="312"/>
                    </a:lnTo>
                    <a:lnTo>
                      <a:pt x="317" y="314"/>
                    </a:lnTo>
                    <a:lnTo>
                      <a:pt x="317" y="312"/>
                    </a:lnTo>
                    <a:lnTo>
                      <a:pt x="315" y="312"/>
                    </a:lnTo>
                    <a:lnTo>
                      <a:pt x="317" y="312"/>
                    </a:lnTo>
                    <a:lnTo>
                      <a:pt x="317" y="314"/>
                    </a:lnTo>
                    <a:lnTo>
                      <a:pt x="315" y="312"/>
                    </a:lnTo>
                    <a:lnTo>
                      <a:pt x="315" y="314"/>
                    </a:lnTo>
                    <a:lnTo>
                      <a:pt x="315" y="312"/>
                    </a:lnTo>
                    <a:lnTo>
                      <a:pt x="315" y="314"/>
                    </a:lnTo>
                    <a:lnTo>
                      <a:pt x="315" y="312"/>
                    </a:lnTo>
                    <a:lnTo>
                      <a:pt x="315" y="314"/>
                    </a:lnTo>
                    <a:lnTo>
                      <a:pt x="313" y="314"/>
                    </a:lnTo>
                    <a:lnTo>
                      <a:pt x="311" y="314"/>
                    </a:lnTo>
                    <a:lnTo>
                      <a:pt x="311" y="315"/>
                    </a:lnTo>
                    <a:lnTo>
                      <a:pt x="309" y="315"/>
                    </a:lnTo>
                    <a:lnTo>
                      <a:pt x="309" y="317"/>
                    </a:lnTo>
                    <a:lnTo>
                      <a:pt x="307" y="317"/>
                    </a:lnTo>
                    <a:lnTo>
                      <a:pt x="305" y="317"/>
                    </a:lnTo>
                    <a:lnTo>
                      <a:pt x="304" y="317"/>
                    </a:lnTo>
                    <a:lnTo>
                      <a:pt x="305" y="317"/>
                    </a:lnTo>
                    <a:lnTo>
                      <a:pt x="304" y="317"/>
                    </a:lnTo>
                    <a:lnTo>
                      <a:pt x="304" y="315"/>
                    </a:lnTo>
                    <a:lnTo>
                      <a:pt x="304" y="317"/>
                    </a:lnTo>
                    <a:lnTo>
                      <a:pt x="304" y="315"/>
                    </a:lnTo>
                    <a:lnTo>
                      <a:pt x="302" y="315"/>
                    </a:lnTo>
                    <a:lnTo>
                      <a:pt x="302" y="317"/>
                    </a:lnTo>
                    <a:lnTo>
                      <a:pt x="302" y="319"/>
                    </a:lnTo>
                    <a:lnTo>
                      <a:pt x="302" y="321"/>
                    </a:lnTo>
                    <a:lnTo>
                      <a:pt x="300" y="321"/>
                    </a:lnTo>
                    <a:lnTo>
                      <a:pt x="300" y="323"/>
                    </a:lnTo>
                    <a:lnTo>
                      <a:pt x="298" y="323"/>
                    </a:lnTo>
                    <a:lnTo>
                      <a:pt x="296" y="325"/>
                    </a:lnTo>
                    <a:lnTo>
                      <a:pt x="296" y="327"/>
                    </a:lnTo>
                    <a:lnTo>
                      <a:pt x="296" y="329"/>
                    </a:lnTo>
                    <a:lnTo>
                      <a:pt x="296" y="331"/>
                    </a:lnTo>
                    <a:lnTo>
                      <a:pt x="296" y="333"/>
                    </a:lnTo>
                    <a:lnTo>
                      <a:pt x="296" y="331"/>
                    </a:lnTo>
                    <a:lnTo>
                      <a:pt x="294" y="333"/>
                    </a:lnTo>
                    <a:lnTo>
                      <a:pt x="292" y="333"/>
                    </a:lnTo>
                    <a:lnTo>
                      <a:pt x="290" y="333"/>
                    </a:lnTo>
                    <a:lnTo>
                      <a:pt x="290" y="331"/>
                    </a:lnTo>
                    <a:lnTo>
                      <a:pt x="288" y="331"/>
                    </a:lnTo>
                    <a:lnTo>
                      <a:pt x="288" y="333"/>
                    </a:lnTo>
                    <a:lnTo>
                      <a:pt x="288" y="331"/>
                    </a:lnTo>
                    <a:lnTo>
                      <a:pt x="286" y="331"/>
                    </a:lnTo>
                    <a:lnTo>
                      <a:pt x="284" y="331"/>
                    </a:lnTo>
                    <a:lnTo>
                      <a:pt x="284" y="333"/>
                    </a:lnTo>
                    <a:lnTo>
                      <a:pt x="284" y="335"/>
                    </a:lnTo>
                    <a:lnTo>
                      <a:pt x="286" y="335"/>
                    </a:lnTo>
                    <a:lnTo>
                      <a:pt x="284" y="335"/>
                    </a:lnTo>
                    <a:lnTo>
                      <a:pt x="286" y="335"/>
                    </a:lnTo>
                    <a:lnTo>
                      <a:pt x="284" y="335"/>
                    </a:lnTo>
                    <a:lnTo>
                      <a:pt x="286" y="335"/>
                    </a:lnTo>
                    <a:lnTo>
                      <a:pt x="284" y="335"/>
                    </a:lnTo>
                    <a:lnTo>
                      <a:pt x="286" y="335"/>
                    </a:lnTo>
                    <a:lnTo>
                      <a:pt x="288" y="335"/>
                    </a:lnTo>
                    <a:lnTo>
                      <a:pt x="288" y="337"/>
                    </a:lnTo>
                    <a:lnTo>
                      <a:pt x="288" y="339"/>
                    </a:lnTo>
                    <a:lnTo>
                      <a:pt x="288" y="340"/>
                    </a:lnTo>
                    <a:lnTo>
                      <a:pt x="288" y="342"/>
                    </a:lnTo>
                    <a:lnTo>
                      <a:pt x="286" y="342"/>
                    </a:lnTo>
                    <a:lnTo>
                      <a:pt x="286" y="340"/>
                    </a:lnTo>
                    <a:lnTo>
                      <a:pt x="288" y="340"/>
                    </a:lnTo>
                    <a:lnTo>
                      <a:pt x="286" y="340"/>
                    </a:lnTo>
                    <a:lnTo>
                      <a:pt x="286" y="339"/>
                    </a:lnTo>
                    <a:lnTo>
                      <a:pt x="286" y="337"/>
                    </a:lnTo>
                    <a:lnTo>
                      <a:pt x="286" y="339"/>
                    </a:lnTo>
                    <a:lnTo>
                      <a:pt x="286" y="340"/>
                    </a:lnTo>
                    <a:lnTo>
                      <a:pt x="286" y="339"/>
                    </a:lnTo>
                    <a:lnTo>
                      <a:pt x="286" y="340"/>
                    </a:lnTo>
                    <a:lnTo>
                      <a:pt x="284" y="340"/>
                    </a:lnTo>
                    <a:lnTo>
                      <a:pt x="282" y="340"/>
                    </a:lnTo>
                    <a:lnTo>
                      <a:pt x="280" y="342"/>
                    </a:lnTo>
                    <a:lnTo>
                      <a:pt x="280" y="340"/>
                    </a:lnTo>
                    <a:lnTo>
                      <a:pt x="280" y="342"/>
                    </a:lnTo>
                    <a:lnTo>
                      <a:pt x="279" y="342"/>
                    </a:lnTo>
                    <a:lnTo>
                      <a:pt x="280" y="342"/>
                    </a:lnTo>
                    <a:lnTo>
                      <a:pt x="282" y="342"/>
                    </a:lnTo>
                    <a:lnTo>
                      <a:pt x="282" y="344"/>
                    </a:lnTo>
                    <a:lnTo>
                      <a:pt x="280" y="342"/>
                    </a:lnTo>
                    <a:lnTo>
                      <a:pt x="279" y="342"/>
                    </a:lnTo>
                    <a:lnTo>
                      <a:pt x="279" y="344"/>
                    </a:lnTo>
                    <a:lnTo>
                      <a:pt x="280" y="342"/>
                    </a:lnTo>
                    <a:lnTo>
                      <a:pt x="280" y="344"/>
                    </a:lnTo>
                    <a:lnTo>
                      <a:pt x="279" y="344"/>
                    </a:lnTo>
                    <a:lnTo>
                      <a:pt x="280" y="344"/>
                    </a:lnTo>
                    <a:lnTo>
                      <a:pt x="280" y="346"/>
                    </a:lnTo>
                    <a:lnTo>
                      <a:pt x="279" y="346"/>
                    </a:lnTo>
                    <a:lnTo>
                      <a:pt x="279" y="348"/>
                    </a:lnTo>
                    <a:lnTo>
                      <a:pt x="279" y="346"/>
                    </a:lnTo>
                    <a:lnTo>
                      <a:pt x="279" y="348"/>
                    </a:lnTo>
                    <a:lnTo>
                      <a:pt x="277" y="348"/>
                    </a:lnTo>
                    <a:lnTo>
                      <a:pt x="277" y="350"/>
                    </a:lnTo>
                    <a:lnTo>
                      <a:pt x="275" y="350"/>
                    </a:lnTo>
                    <a:lnTo>
                      <a:pt x="273" y="352"/>
                    </a:lnTo>
                    <a:lnTo>
                      <a:pt x="273" y="354"/>
                    </a:lnTo>
                    <a:lnTo>
                      <a:pt x="271" y="354"/>
                    </a:lnTo>
                    <a:lnTo>
                      <a:pt x="271" y="352"/>
                    </a:lnTo>
                    <a:lnTo>
                      <a:pt x="271" y="350"/>
                    </a:lnTo>
                    <a:lnTo>
                      <a:pt x="271" y="352"/>
                    </a:lnTo>
                    <a:lnTo>
                      <a:pt x="271" y="350"/>
                    </a:lnTo>
                    <a:lnTo>
                      <a:pt x="271" y="352"/>
                    </a:lnTo>
                    <a:lnTo>
                      <a:pt x="271" y="350"/>
                    </a:lnTo>
                    <a:lnTo>
                      <a:pt x="269" y="350"/>
                    </a:lnTo>
                    <a:lnTo>
                      <a:pt x="267" y="352"/>
                    </a:lnTo>
                    <a:lnTo>
                      <a:pt x="269" y="352"/>
                    </a:lnTo>
                    <a:lnTo>
                      <a:pt x="267" y="352"/>
                    </a:lnTo>
                    <a:lnTo>
                      <a:pt x="267" y="350"/>
                    </a:lnTo>
                    <a:lnTo>
                      <a:pt x="265" y="350"/>
                    </a:lnTo>
                    <a:lnTo>
                      <a:pt x="265" y="348"/>
                    </a:lnTo>
                    <a:lnTo>
                      <a:pt x="263" y="348"/>
                    </a:lnTo>
                    <a:lnTo>
                      <a:pt x="263" y="350"/>
                    </a:lnTo>
                    <a:lnTo>
                      <a:pt x="261" y="352"/>
                    </a:lnTo>
                    <a:lnTo>
                      <a:pt x="259" y="352"/>
                    </a:lnTo>
                    <a:lnTo>
                      <a:pt x="257" y="350"/>
                    </a:lnTo>
                    <a:lnTo>
                      <a:pt x="255" y="350"/>
                    </a:lnTo>
                    <a:lnTo>
                      <a:pt x="257" y="350"/>
                    </a:lnTo>
                    <a:lnTo>
                      <a:pt x="259" y="352"/>
                    </a:lnTo>
                    <a:lnTo>
                      <a:pt x="261" y="352"/>
                    </a:lnTo>
                    <a:lnTo>
                      <a:pt x="259" y="352"/>
                    </a:lnTo>
                    <a:lnTo>
                      <a:pt x="257" y="352"/>
                    </a:lnTo>
                    <a:lnTo>
                      <a:pt x="255" y="352"/>
                    </a:lnTo>
                    <a:lnTo>
                      <a:pt x="257" y="352"/>
                    </a:lnTo>
                    <a:lnTo>
                      <a:pt x="255" y="354"/>
                    </a:lnTo>
                    <a:lnTo>
                      <a:pt x="254" y="354"/>
                    </a:lnTo>
                    <a:lnTo>
                      <a:pt x="252" y="354"/>
                    </a:lnTo>
                    <a:lnTo>
                      <a:pt x="250" y="354"/>
                    </a:lnTo>
                    <a:lnTo>
                      <a:pt x="248" y="354"/>
                    </a:lnTo>
                    <a:lnTo>
                      <a:pt x="248" y="352"/>
                    </a:lnTo>
                    <a:lnTo>
                      <a:pt x="250" y="352"/>
                    </a:lnTo>
                    <a:lnTo>
                      <a:pt x="252" y="352"/>
                    </a:lnTo>
                    <a:lnTo>
                      <a:pt x="252" y="350"/>
                    </a:lnTo>
                    <a:lnTo>
                      <a:pt x="250" y="352"/>
                    </a:lnTo>
                    <a:lnTo>
                      <a:pt x="250" y="350"/>
                    </a:lnTo>
                    <a:lnTo>
                      <a:pt x="250" y="352"/>
                    </a:lnTo>
                    <a:lnTo>
                      <a:pt x="248" y="352"/>
                    </a:lnTo>
                    <a:lnTo>
                      <a:pt x="248" y="354"/>
                    </a:lnTo>
                    <a:lnTo>
                      <a:pt x="248" y="356"/>
                    </a:lnTo>
                    <a:lnTo>
                      <a:pt x="246" y="356"/>
                    </a:lnTo>
                    <a:lnTo>
                      <a:pt x="244" y="356"/>
                    </a:lnTo>
                    <a:lnTo>
                      <a:pt x="242" y="356"/>
                    </a:lnTo>
                    <a:lnTo>
                      <a:pt x="240" y="356"/>
                    </a:lnTo>
                    <a:lnTo>
                      <a:pt x="242" y="356"/>
                    </a:lnTo>
                    <a:lnTo>
                      <a:pt x="244" y="356"/>
                    </a:lnTo>
                    <a:lnTo>
                      <a:pt x="242" y="356"/>
                    </a:lnTo>
                    <a:lnTo>
                      <a:pt x="240" y="356"/>
                    </a:lnTo>
                    <a:lnTo>
                      <a:pt x="240" y="354"/>
                    </a:lnTo>
                    <a:lnTo>
                      <a:pt x="238" y="354"/>
                    </a:lnTo>
                    <a:lnTo>
                      <a:pt x="236" y="354"/>
                    </a:lnTo>
                    <a:lnTo>
                      <a:pt x="234" y="354"/>
                    </a:lnTo>
                    <a:lnTo>
                      <a:pt x="234" y="352"/>
                    </a:lnTo>
                    <a:lnTo>
                      <a:pt x="234" y="354"/>
                    </a:lnTo>
                    <a:lnTo>
                      <a:pt x="232" y="354"/>
                    </a:lnTo>
                    <a:lnTo>
                      <a:pt x="231" y="354"/>
                    </a:lnTo>
                    <a:lnTo>
                      <a:pt x="229" y="354"/>
                    </a:lnTo>
                    <a:lnTo>
                      <a:pt x="229" y="352"/>
                    </a:lnTo>
                    <a:lnTo>
                      <a:pt x="229" y="350"/>
                    </a:lnTo>
                    <a:lnTo>
                      <a:pt x="227" y="350"/>
                    </a:lnTo>
                    <a:lnTo>
                      <a:pt x="227" y="348"/>
                    </a:lnTo>
                    <a:lnTo>
                      <a:pt x="227" y="346"/>
                    </a:lnTo>
                    <a:lnTo>
                      <a:pt x="227" y="344"/>
                    </a:lnTo>
                    <a:lnTo>
                      <a:pt x="225" y="344"/>
                    </a:lnTo>
                    <a:lnTo>
                      <a:pt x="225" y="346"/>
                    </a:lnTo>
                    <a:lnTo>
                      <a:pt x="227" y="346"/>
                    </a:lnTo>
                    <a:lnTo>
                      <a:pt x="225" y="348"/>
                    </a:lnTo>
                    <a:lnTo>
                      <a:pt x="225" y="346"/>
                    </a:lnTo>
                    <a:lnTo>
                      <a:pt x="223" y="346"/>
                    </a:lnTo>
                    <a:lnTo>
                      <a:pt x="221" y="346"/>
                    </a:lnTo>
                    <a:lnTo>
                      <a:pt x="219" y="346"/>
                    </a:lnTo>
                    <a:lnTo>
                      <a:pt x="217" y="344"/>
                    </a:lnTo>
                    <a:lnTo>
                      <a:pt x="217" y="342"/>
                    </a:lnTo>
                    <a:lnTo>
                      <a:pt x="215" y="342"/>
                    </a:lnTo>
                    <a:lnTo>
                      <a:pt x="213" y="342"/>
                    </a:lnTo>
                    <a:lnTo>
                      <a:pt x="213" y="340"/>
                    </a:lnTo>
                    <a:lnTo>
                      <a:pt x="213" y="342"/>
                    </a:lnTo>
                    <a:lnTo>
                      <a:pt x="211" y="342"/>
                    </a:lnTo>
                    <a:lnTo>
                      <a:pt x="211" y="340"/>
                    </a:lnTo>
                    <a:lnTo>
                      <a:pt x="209" y="339"/>
                    </a:lnTo>
                    <a:lnTo>
                      <a:pt x="209" y="340"/>
                    </a:lnTo>
                    <a:lnTo>
                      <a:pt x="209" y="339"/>
                    </a:lnTo>
                    <a:lnTo>
                      <a:pt x="209" y="340"/>
                    </a:lnTo>
                    <a:lnTo>
                      <a:pt x="209" y="339"/>
                    </a:lnTo>
                    <a:lnTo>
                      <a:pt x="209" y="337"/>
                    </a:lnTo>
                    <a:lnTo>
                      <a:pt x="207" y="337"/>
                    </a:lnTo>
                    <a:lnTo>
                      <a:pt x="209" y="337"/>
                    </a:lnTo>
                    <a:lnTo>
                      <a:pt x="209" y="335"/>
                    </a:lnTo>
                    <a:lnTo>
                      <a:pt x="209" y="337"/>
                    </a:lnTo>
                    <a:lnTo>
                      <a:pt x="207" y="337"/>
                    </a:lnTo>
                    <a:lnTo>
                      <a:pt x="207" y="339"/>
                    </a:lnTo>
                    <a:lnTo>
                      <a:pt x="207" y="337"/>
                    </a:lnTo>
                    <a:lnTo>
                      <a:pt x="207" y="339"/>
                    </a:lnTo>
                    <a:lnTo>
                      <a:pt x="207" y="337"/>
                    </a:lnTo>
                    <a:lnTo>
                      <a:pt x="207" y="339"/>
                    </a:lnTo>
                    <a:lnTo>
                      <a:pt x="206" y="339"/>
                    </a:lnTo>
                    <a:lnTo>
                      <a:pt x="206" y="337"/>
                    </a:lnTo>
                    <a:lnTo>
                      <a:pt x="206" y="339"/>
                    </a:lnTo>
                    <a:lnTo>
                      <a:pt x="204" y="339"/>
                    </a:lnTo>
                    <a:lnTo>
                      <a:pt x="206" y="339"/>
                    </a:lnTo>
                    <a:lnTo>
                      <a:pt x="204" y="339"/>
                    </a:lnTo>
                    <a:lnTo>
                      <a:pt x="202" y="339"/>
                    </a:lnTo>
                    <a:lnTo>
                      <a:pt x="202" y="337"/>
                    </a:lnTo>
                    <a:lnTo>
                      <a:pt x="200" y="337"/>
                    </a:lnTo>
                    <a:lnTo>
                      <a:pt x="202" y="337"/>
                    </a:lnTo>
                    <a:lnTo>
                      <a:pt x="200" y="337"/>
                    </a:lnTo>
                    <a:lnTo>
                      <a:pt x="202" y="337"/>
                    </a:lnTo>
                    <a:lnTo>
                      <a:pt x="202" y="339"/>
                    </a:lnTo>
                    <a:lnTo>
                      <a:pt x="202" y="340"/>
                    </a:lnTo>
                    <a:lnTo>
                      <a:pt x="200" y="340"/>
                    </a:lnTo>
                    <a:lnTo>
                      <a:pt x="198" y="340"/>
                    </a:lnTo>
                    <a:lnTo>
                      <a:pt x="200" y="340"/>
                    </a:lnTo>
                    <a:lnTo>
                      <a:pt x="198" y="340"/>
                    </a:lnTo>
                    <a:lnTo>
                      <a:pt x="198" y="339"/>
                    </a:lnTo>
                    <a:lnTo>
                      <a:pt x="198" y="340"/>
                    </a:lnTo>
                    <a:lnTo>
                      <a:pt x="198" y="342"/>
                    </a:lnTo>
                    <a:lnTo>
                      <a:pt x="196" y="342"/>
                    </a:lnTo>
                    <a:lnTo>
                      <a:pt x="194" y="342"/>
                    </a:lnTo>
                    <a:lnTo>
                      <a:pt x="192" y="342"/>
                    </a:lnTo>
                    <a:lnTo>
                      <a:pt x="192" y="340"/>
                    </a:lnTo>
                    <a:lnTo>
                      <a:pt x="190" y="340"/>
                    </a:lnTo>
                    <a:lnTo>
                      <a:pt x="192" y="340"/>
                    </a:lnTo>
                    <a:lnTo>
                      <a:pt x="190" y="340"/>
                    </a:lnTo>
                    <a:lnTo>
                      <a:pt x="188" y="340"/>
                    </a:lnTo>
                    <a:lnTo>
                      <a:pt x="188" y="339"/>
                    </a:lnTo>
                    <a:lnTo>
                      <a:pt x="186" y="337"/>
                    </a:lnTo>
                    <a:lnTo>
                      <a:pt x="186" y="335"/>
                    </a:lnTo>
                    <a:lnTo>
                      <a:pt x="186" y="333"/>
                    </a:lnTo>
                    <a:lnTo>
                      <a:pt x="188" y="333"/>
                    </a:lnTo>
                    <a:lnTo>
                      <a:pt x="186" y="333"/>
                    </a:lnTo>
                    <a:lnTo>
                      <a:pt x="184" y="333"/>
                    </a:lnTo>
                    <a:lnTo>
                      <a:pt x="184" y="335"/>
                    </a:lnTo>
                    <a:lnTo>
                      <a:pt x="184" y="333"/>
                    </a:lnTo>
                    <a:lnTo>
                      <a:pt x="182" y="333"/>
                    </a:lnTo>
                    <a:lnTo>
                      <a:pt x="184" y="333"/>
                    </a:lnTo>
                    <a:lnTo>
                      <a:pt x="184" y="331"/>
                    </a:lnTo>
                    <a:lnTo>
                      <a:pt x="182" y="333"/>
                    </a:lnTo>
                    <a:lnTo>
                      <a:pt x="184" y="333"/>
                    </a:lnTo>
                    <a:lnTo>
                      <a:pt x="184" y="335"/>
                    </a:lnTo>
                    <a:lnTo>
                      <a:pt x="186" y="335"/>
                    </a:lnTo>
                    <a:lnTo>
                      <a:pt x="186" y="337"/>
                    </a:lnTo>
                    <a:lnTo>
                      <a:pt x="184" y="337"/>
                    </a:lnTo>
                    <a:lnTo>
                      <a:pt x="186" y="337"/>
                    </a:lnTo>
                    <a:lnTo>
                      <a:pt x="186" y="339"/>
                    </a:lnTo>
                    <a:lnTo>
                      <a:pt x="186" y="337"/>
                    </a:lnTo>
                    <a:lnTo>
                      <a:pt x="186" y="339"/>
                    </a:lnTo>
                    <a:lnTo>
                      <a:pt x="184" y="337"/>
                    </a:lnTo>
                    <a:lnTo>
                      <a:pt x="182" y="337"/>
                    </a:lnTo>
                    <a:lnTo>
                      <a:pt x="182" y="335"/>
                    </a:lnTo>
                    <a:lnTo>
                      <a:pt x="181" y="335"/>
                    </a:lnTo>
                    <a:lnTo>
                      <a:pt x="179" y="337"/>
                    </a:lnTo>
                    <a:lnTo>
                      <a:pt x="177" y="337"/>
                    </a:lnTo>
                    <a:lnTo>
                      <a:pt x="175" y="337"/>
                    </a:lnTo>
                    <a:lnTo>
                      <a:pt x="173" y="337"/>
                    </a:lnTo>
                    <a:lnTo>
                      <a:pt x="173" y="335"/>
                    </a:lnTo>
                    <a:lnTo>
                      <a:pt x="171" y="335"/>
                    </a:lnTo>
                    <a:lnTo>
                      <a:pt x="169" y="335"/>
                    </a:lnTo>
                    <a:lnTo>
                      <a:pt x="169" y="333"/>
                    </a:lnTo>
                    <a:lnTo>
                      <a:pt x="167" y="335"/>
                    </a:lnTo>
                    <a:lnTo>
                      <a:pt x="165" y="335"/>
                    </a:lnTo>
                    <a:lnTo>
                      <a:pt x="165" y="333"/>
                    </a:lnTo>
                    <a:lnTo>
                      <a:pt x="167" y="333"/>
                    </a:lnTo>
                    <a:lnTo>
                      <a:pt x="165" y="333"/>
                    </a:lnTo>
                    <a:lnTo>
                      <a:pt x="167" y="333"/>
                    </a:lnTo>
                    <a:lnTo>
                      <a:pt x="167" y="331"/>
                    </a:lnTo>
                    <a:lnTo>
                      <a:pt x="169" y="333"/>
                    </a:lnTo>
                    <a:lnTo>
                      <a:pt x="169" y="331"/>
                    </a:lnTo>
                    <a:lnTo>
                      <a:pt x="171" y="331"/>
                    </a:lnTo>
                    <a:lnTo>
                      <a:pt x="169" y="331"/>
                    </a:lnTo>
                    <a:lnTo>
                      <a:pt x="167" y="331"/>
                    </a:lnTo>
                    <a:lnTo>
                      <a:pt x="167" y="333"/>
                    </a:lnTo>
                    <a:lnTo>
                      <a:pt x="167" y="331"/>
                    </a:lnTo>
                    <a:lnTo>
                      <a:pt x="167" y="329"/>
                    </a:lnTo>
                    <a:lnTo>
                      <a:pt x="167" y="331"/>
                    </a:lnTo>
                    <a:lnTo>
                      <a:pt x="167" y="329"/>
                    </a:lnTo>
                    <a:lnTo>
                      <a:pt x="167" y="331"/>
                    </a:lnTo>
                    <a:lnTo>
                      <a:pt x="165" y="331"/>
                    </a:lnTo>
                    <a:lnTo>
                      <a:pt x="167" y="333"/>
                    </a:lnTo>
                    <a:lnTo>
                      <a:pt x="165" y="333"/>
                    </a:lnTo>
                    <a:lnTo>
                      <a:pt x="163" y="333"/>
                    </a:lnTo>
                    <a:lnTo>
                      <a:pt x="163" y="331"/>
                    </a:lnTo>
                    <a:lnTo>
                      <a:pt x="163" y="333"/>
                    </a:lnTo>
                    <a:lnTo>
                      <a:pt x="163" y="331"/>
                    </a:lnTo>
                    <a:lnTo>
                      <a:pt x="163" y="333"/>
                    </a:lnTo>
                    <a:lnTo>
                      <a:pt x="163" y="331"/>
                    </a:lnTo>
                    <a:lnTo>
                      <a:pt x="163" y="333"/>
                    </a:lnTo>
                    <a:lnTo>
                      <a:pt x="165" y="335"/>
                    </a:lnTo>
                    <a:lnTo>
                      <a:pt x="167" y="335"/>
                    </a:lnTo>
                    <a:lnTo>
                      <a:pt x="165" y="335"/>
                    </a:lnTo>
                    <a:lnTo>
                      <a:pt x="167" y="335"/>
                    </a:lnTo>
                    <a:lnTo>
                      <a:pt x="165" y="335"/>
                    </a:lnTo>
                    <a:lnTo>
                      <a:pt x="165" y="337"/>
                    </a:lnTo>
                    <a:lnTo>
                      <a:pt x="163" y="337"/>
                    </a:lnTo>
                    <a:lnTo>
                      <a:pt x="161" y="337"/>
                    </a:lnTo>
                    <a:lnTo>
                      <a:pt x="159" y="337"/>
                    </a:lnTo>
                    <a:lnTo>
                      <a:pt x="161" y="337"/>
                    </a:lnTo>
                    <a:lnTo>
                      <a:pt x="159" y="339"/>
                    </a:lnTo>
                    <a:lnTo>
                      <a:pt x="161" y="337"/>
                    </a:lnTo>
                    <a:lnTo>
                      <a:pt x="163" y="337"/>
                    </a:lnTo>
                    <a:lnTo>
                      <a:pt x="165" y="337"/>
                    </a:lnTo>
                    <a:lnTo>
                      <a:pt x="163" y="339"/>
                    </a:lnTo>
                    <a:lnTo>
                      <a:pt x="161" y="339"/>
                    </a:lnTo>
                    <a:lnTo>
                      <a:pt x="159" y="339"/>
                    </a:lnTo>
                    <a:lnTo>
                      <a:pt x="158" y="339"/>
                    </a:lnTo>
                    <a:lnTo>
                      <a:pt x="156" y="339"/>
                    </a:lnTo>
                    <a:lnTo>
                      <a:pt x="158" y="339"/>
                    </a:lnTo>
                    <a:lnTo>
                      <a:pt x="156" y="339"/>
                    </a:lnTo>
                    <a:lnTo>
                      <a:pt x="156" y="337"/>
                    </a:lnTo>
                    <a:lnTo>
                      <a:pt x="154" y="337"/>
                    </a:lnTo>
                    <a:lnTo>
                      <a:pt x="152" y="337"/>
                    </a:lnTo>
                    <a:lnTo>
                      <a:pt x="152" y="335"/>
                    </a:lnTo>
                    <a:lnTo>
                      <a:pt x="152" y="337"/>
                    </a:lnTo>
                    <a:lnTo>
                      <a:pt x="150" y="337"/>
                    </a:lnTo>
                    <a:lnTo>
                      <a:pt x="150" y="335"/>
                    </a:lnTo>
                    <a:lnTo>
                      <a:pt x="148" y="335"/>
                    </a:lnTo>
                    <a:lnTo>
                      <a:pt x="146" y="335"/>
                    </a:lnTo>
                    <a:lnTo>
                      <a:pt x="146" y="333"/>
                    </a:lnTo>
                    <a:lnTo>
                      <a:pt x="144" y="333"/>
                    </a:lnTo>
                    <a:lnTo>
                      <a:pt x="142" y="331"/>
                    </a:lnTo>
                    <a:lnTo>
                      <a:pt x="144" y="331"/>
                    </a:lnTo>
                    <a:lnTo>
                      <a:pt x="144" y="333"/>
                    </a:lnTo>
                    <a:lnTo>
                      <a:pt x="144" y="331"/>
                    </a:lnTo>
                    <a:lnTo>
                      <a:pt x="142" y="331"/>
                    </a:lnTo>
                    <a:lnTo>
                      <a:pt x="140" y="331"/>
                    </a:lnTo>
                    <a:lnTo>
                      <a:pt x="138" y="331"/>
                    </a:lnTo>
                    <a:lnTo>
                      <a:pt x="138" y="333"/>
                    </a:lnTo>
                    <a:lnTo>
                      <a:pt x="136" y="333"/>
                    </a:lnTo>
                    <a:lnTo>
                      <a:pt x="138" y="333"/>
                    </a:lnTo>
                    <a:lnTo>
                      <a:pt x="140" y="333"/>
                    </a:lnTo>
                    <a:lnTo>
                      <a:pt x="140" y="335"/>
                    </a:lnTo>
                    <a:lnTo>
                      <a:pt x="138" y="335"/>
                    </a:lnTo>
                    <a:lnTo>
                      <a:pt x="140" y="335"/>
                    </a:lnTo>
                    <a:lnTo>
                      <a:pt x="138" y="335"/>
                    </a:lnTo>
                    <a:lnTo>
                      <a:pt x="136" y="337"/>
                    </a:lnTo>
                    <a:lnTo>
                      <a:pt x="134" y="339"/>
                    </a:lnTo>
                    <a:lnTo>
                      <a:pt x="136" y="339"/>
                    </a:lnTo>
                    <a:lnTo>
                      <a:pt x="134" y="339"/>
                    </a:lnTo>
                    <a:lnTo>
                      <a:pt x="134" y="340"/>
                    </a:lnTo>
                    <a:lnTo>
                      <a:pt x="133" y="340"/>
                    </a:lnTo>
                    <a:lnTo>
                      <a:pt x="133" y="342"/>
                    </a:lnTo>
                    <a:lnTo>
                      <a:pt x="133" y="340"/>
                    </a:lnTo>
                    <a:lnTo>
                      <a:pt x="134" y="340"/>
                    </a:lnTo>
                    <a:lnTo>
                      <a:pt x="133" y="342"/>
                    </a:lnTo>
                    <a:lnTo>
                      <a:pt x="131" y="344"/>
                    </a:lnTo>
                    <a:lnTo>
                      <a:pt x="129" y="344"/>
                    </a:lnTo>
                    <a:lnTo>
                      <a:pt x="129" y="346"/>
                    </a:lnTo>
                    <a:lnTo>
                      <a:pt x="129" y="344"/>
                    </a:lnTo>
                    <a:lnTo>
                      <a:pt x="129" y="346"/>
                    </a:lnTo>
                    <a:lnTo>
                      <a:pt x="127" y="346"/>
                    </a:lnTo>
                    <a:lnTo>
                      <a:pt x="127" y="348"/>
                    </a:lnTo>
                    <a:lnTo>
                      <a:pt x="125" y="348"/>
                    </a:lnTo>
                    <a:lnTo>
                      <a:pt x="127" y="348"/>
                    </a:lnTo>
                    <a:lnTo>
                      <a:pt x="125" y="348"/>
                    </a:lnTo>
                    <a:lnTo>
                      <a:pt x="125" y="350"/>
                    </a:lnTo>
                    <a:lnTo>
                      <a:pt x="123" y="350"/>
                    </a:lnTo>
                    <a:lnTo>
                      <a:pt x="121" y="350"/>
                    </a:lnTo>
                    <a:lnTo>
                      <a:pt x="123" y="350"/>
                    </a:lnTo>
                    <a:lnTo>
                      <a:pt x="121" y="350"/>
                    </a:lnTo>
                    <a:lnTo>
                      <a:pt x="121" y="348"/>
                    </a:lnTo>
                    <a:lnTo>
                      <a:pt x="121" y="346"/>
                    </a:lnTo>
                    <a:lnTo>
                      <a:pt x="121" y="344"/>
                    </a:lnTo>
                    <a:lnTo>
                      <a:pt x="121" y="346"/>
                    </a:lnTo>
                    <a:lnTo>
                      <a:pt x="121" y="344"/>
                    </a:lnTo>
                    <a:lnTo>
                      <a:pt x="119" y="344"/>
                    </a:lnTo>
                    <a:lnTo>
                      <a:pt x="121" y="344"/>
                    </a:lnTo>
                    <a:lnTo>
                      <a:pt x="119" y="342"/>
                    </a:lnTo>
                    <a:lnTo>
                      <a:pt x="119" y="344"/>
                    </a:lnTo>
                    <a:lnTo>
                      <a:pt x="117" y="344"/>
                    </a:lnTo>
                    <a:lnTo>
                      <a:pt x="117" y="342"/>
                    </a:lnTo>
                    <a:lnTo>
                      <a:pt x="115" y="342"/>
                    </a:lnTo>
                    <a:lnTo>
                      <a:pt x="117" y="342"/>
                    </a:lnTo>
                    <a:lnTo>
                      <a:pt x="115" y="342"/>
                    </a:lnTo>
                    <a:lnTo>
                      <a:pt x="117" y="342"/>
                    </a:lnTo>
                    <a:lnTo>
                      <a:pt x="117" y="344"/>
                    </a:lnTo>
                    <a:lnTo>
                      <a:pt x="119" y="344"/>
                    </a:lnTo>
                    <a:lnTo>
                      <a:pt x="119" y="342"/>
                    </a:lnTo>
                    <a:lnTo>
                      <a:pt x="119" y="344"/>
                    </a:lnTo>
                    <a:lnTo>
                      <a:pt x="121" y="346"/>
                    </a:lnTo>
                    <a:lnTo>
                      <a:pt x="121" y="348"/>
                    </a:lnTo>
                    <a:lnTo>
                      <a:pt x="121" y="350"/>
                    </a:lnTo>
                    <a:lnTo>
                      <a:pt x="123" y="350"/>
                    </a:lnTo>
                    <a:lnTo>
                      <a:pt x="121" y="350"/>
                    </a:lnTo>
                    <a:lnTo>
                      <a:pt x="121" y="352"/>
                    </a:lnTo>
                    <a:lnTo>
                      <a:pt x="119" y="352"/>
                    </a:lnTo>
                    <a:lnTo>
                      <a:pt x="121" y="350"/>
                    </a:lnTo>
                    <a:lnTo>
                      <a:pt x="123" y="350"/>
                    </a:lnTo>
                    <a:lnTo>
                      <a:pt x="125" y="350"/>
                    </a:lnTo>
                    <a:lnTo>
                      <a:pt x="123" y="350"/>
                    </a:lnTo>
                    <a:lnTo>
                      <a:pt x="123" y="352"/>
                    </a:lnTo>
                    <a:lnTo>
                      <a:pt x="121" y="352"/>
                    </a:lnTo>
                    <a:lnTo>
                      <a:pt x="119" y="352"/>
                    </a:lnTo>
                    <a:lnTo>
                      <a:pt x="119" y="354"/>
                    </a:lnTo>
                    <a:lnTo>
                      <a:pt x="117" y="354"/>
                    </a:lnTo>
                    <a:lnTo>
                      <a:pt x="115" y="354"/>
                    </a:lnTo>
                    <a:lnTo>
                      <a:pt x="113" y="354"/>
                    </a:lnTo>
                    <a:lnTo>
                      <a:pt x="113" y="356"/>
                    </a:lnTo>
                    <a:lnTo>
                      <a:pt x="111" y="356"/>
                    </a:lnTo>
                    <a:lnTo>
                      <a:pt x="111" y="354"/>
                    </a:lnTo>
                    <a:lnTo>
                      <a:pt x="111" y="352"/>
                    </a:lnTo>
                    <a:lnTo>
                      <a:pt x="111" y="354"/>
                    </a:lnTo>
                    <a:lnTo>
                      <a:pt x="111" y="356"/>
                    </a:lnTo>
                    <a:lnTo>
                      <a:pt x="111" y="354"/>
                    </a:lnTo>
                    <a:lnTo>
                      <a:pt x="109" y="354"/>
                    </a:lnTo>
                    <a:lnTo>
                      <a:pt x="111" y="354"/>
                    </a:lnTo>
                    <a:lnTo>
                      <a:pt x="111" y="356"/>
                    </a:lnTo>
                    <a:lnTo>
                      <a:pt x="109" y="356"/>
                    </a:lnTo>
                    <a:lnTo>
                      <a:pt x="109" y="358"/>
                    </a:lnTo>
                    <a:lnTo>
                      <a:pt x="108" y="356"/>
                    </a:lnTo>
                    <a:lnTo>
                      <a:pt x="108" y="358"/>
                    </a:lnTo>
                    <a:lnTo>
                      <a:pt x="108" y="356"/>
                    </a:lnTo>
                    <a:lnTo>
                      <a:pt x="108" y="358"/>
                    </a:lnTo>
                    <a:lnTo>
                      <a:pt x="108" y="356"/>
                    </a:lnTo>
                    <a:lnTo>
                      <a:pt x="106" y="356"/>
                    </a:lnTo>
                    <a:lnTo>
                      <a:pt x="108" y="358"/>
                    </a:lnTo>
                    <a:lnTo>
                      <a:pt x="106" y="358"/>
                    </a:lnTo>
                    <a:lnTo>
                      <a:pt x="104" y="358"/>
                    </a:lnTo>
                    <a:lnTo>
                      <a:pt x="104" y="356"/>
                    </a:lnTo>
                    <a:lnTo>
                      <a:pt x="104" y="358"/>
                    </a:lnTo>
                    <a:lnTo>
                      <a:pt x="106" y="358"/>
                    </a:lnTo>
                    <a:lnTo>
                      <a:pt x="108" y="358"/>
                    </a:lnTo>
                    <a:lnTo>
                      <a:pt x="108" y="360"/>
                    </a:lnTo>
                    <a:lnTo>
                      <a:pt x="106" y="360"/>
                    </a:lnTo>
                    <a:lnTo>
                      <a:pt x="108" y="360"/>
                    </a:lnTo>
                    <a:lnTo>
                      <a:pt x="106" y="362"/>
                    </a:lnTo>
                    <a:lnTo>
                      <a:pt x="106" y="360"/>
                    </a:lnTo>
                    <a:lnTo>
                      <a:pt x="106" y="362"/>
                    </a:lnTo>
                    <a:lnTo>
                      <a:pt x="104" y="364"/>
                    </a:lnTo>
                    <a:lnTo>
                      <a:pt x="102" y="364"/>
                    </a:lnTo>
                    <a:lnTo>
                      <a:pt x="102" y="365"/>
                    </a:lnTo>
                    <a:lnTo>
                      <a:pt x="100" y="365"/>
                    </a:lnTo>
                    <a:lnTo>
                      <a:pt x="100" y="367"/>
                    </a:lnTo>
                    <a:lnTo>
                      <a:pt x="100" y="369"/>
                    </a:lnTo>
                    <a:lnTo>
                      <a:pt x="98" y="369"/>
                    </a:lnTo>
                    <a:lnTo>
                      <a:pt x="100" y="369"/>
                    </a:lnTo>
                    <a:lnTo>
                      <a:pt x="100" y="367"/>
                    </a:lnTo>
                    <a:lnTo>
                      <a:pt x="100" y="369"/>
                    </a:lnTo>
                    <a:lnTo>
                      <a:pt x="100" y="367"/>
                    </a:lnTo>
                    <a:lnTo>
                      <a:pt x="100" y="369"/>
                    </a:lnTo>
                    <a:lnTo>
                      <a:pt x="100" y="367"/>
                    </a:lnTo>
                    <a:lnTo>
                      <a:pt x="100" y="369"/>
                    </a:lnTo>
                    <a:lnTo>
                      <a:pt x="98" y="369"/>
                    </a:lnTo>
                    <a:lnTo>
                      <a:pt x="96" y="369"/>
                    </a:lnTo>
                    <a:lnTo>
                      <a:pt x="98" y="369"/>
                    </a:lnTo>
                    <a:lnTo>
                      <a:pt x="96" y="369"/>
                    </a:lnTo>
                    <a:lnTo>
                      <a:pt x="96" y="367"/>
                    </a:lnTo>
                    <a:lnTo>
                      <a:pt x="96" y="365"/>
                    </a:lnTo>
                    <a:lnTo>
                      <a:pt x="96" y="364"/>
                    </a:lnTo>
                    <a:lnTo>
                      <a:pt x="96" y="362"/>
                    </a:lnTo>
                    <a:lnTo>
                      <a:pt x="96" y="360"/>
                    </a:lnTo>
                    <a:lnTo>
                      <a:pt x="96" y="358"/>
                    </a:lnTo>
                    <a:lnTo>
                      <a:pt x="98" y="358"/>
                    </a:lnTo>
                    <a:lnTo>
                      <a:pt x="98" y="356"/>
                    </a:lnTo>
                    <a:lnTo>
                      <a:pt x="96" y="356"/>
                    </a:lnTo>
                    <a:lnTo>
                      <a:pt x="96" y="358"/>
                    </a:lnTo>
                    <a:lnTo>
                      <a:pt x="96" y="356"/>
                    </a:lnTo>
                    <a:lnTo>
                      <a:pt x="96" y="358"/>
                    </a:lnTo>
                    <a:lnTo>
                      <a:pt x="94" y="358"/>
                    </a:lnTo>
                    <a:lnTo>
                      <a:pt x="92" y="358"/>
                    </a:lnTo>
                    <a:lnTo>
                      <a:pt x="90" y="358"/>
                    </a:lnTo>
                    <a:lnTo>
                      <a:pt x="90" y="360"/>
                    </a:lnTo>
                    <a:lnTo>
                      <a:pt x="90" y="362"/>
                    </a:lnTo>
                    <a:lnTo>
                      <a:pt x="88" y="362"/>
                    </a:lnTo>
                    <a:lnTo>
                      <a:pt x="88" y="364"/>
                    </a:lnTo>
                    <a:lnTo>
                      <a:pt x="88" y="365"/>
                    </a:lnTo>
                    <a:lnTo>
                      <a:pt x="88" y="367"/>
                    </a:lnTo>
                    <a:lnTo>
                      <a:pt x="90" y="367"/>
                    </a:lnTo>
                    <a:lnTo>
                      <a:pt x="92" y="369"/>
                    </a:lnTo>
                    <a:lnTo>
                      <a:pt x="94" y="367"/>
                    </a:lnTo>
                    <a:lnTo>
                      <a:pt x="94" y="369"/>
                    </a:lnTo>
                    <a:lnTo>
                      <a:pt x="94" y="367"/>
                    </a:lnTo>
                    <a:lnTo>
                      <a:pt x="94" y="369"/>
                    </a:lnTo>
                    <a:lnTo>
                      <a:pt x="92" y="369"/>
                    </a:lnTo>
                    <a:lnTo>
                      <a:pt x="90" y="369"/>
                    </a:lnTo>
                    <a:lnTo>
                      <a:pt x="88" y="369"/>
                    </a:lnTo>
                    <a:lnTo>
                      <a:pt x="86" y="369"/>
                    </a:lnTo>
                    <a:lnTo>
                      <a:pt x="85" y="369"/>
                    </a:lnTo>
                    <a:lnTo>
                      <a:pt x="86" y="369"/>
                    </a:lnTo>
                    <a:lnTo>
                      <a:pt x="88" y="369"/>
                    </a:lnTo>
                    <a:lnTo>
                      <a:pt x="90" y="371"/>
                    </a:lnTo>
                    <a:lnTo>
                      <a:pt x="88" y="369"/>
                    </a:lnTo>
                    <a:lnTo>
                      <a:pt x="88" y="371"/>
                    </a:lnTo>
                    <a:lnTo>
                      <a:pt x="90" y="371"/>
                    </a:lnTo>
                    <a:lnTo>
                      <a:pt x="88" y="371"/>
                    </a:lnTo>
                    <a:lnTo>
                      <a:pt x="86" y="371"/>
                    </a:lnTo>
                    <a:lnTo>
                      <a:pt x="86" y="373"/>
                    </a:lnTo>
                    <a:lnTo>
                      <a:pt x="86" y="371"/>
                    </a:lnTo>
                    <a:lnTo>
                      <a:pt x="86" y="373"/>
                    </a:lnTo>
                    <a:lnTo>
                      <a:pt x="88" y="373"/>
                    </a:lnTo>
                    <a:lnTo>
                      <a:pt x="86" y="373"/>
                    </a:lnTo>
                    <a:lnTo>
                      <a:pt x="88" y="373"/>
                    </a:lnTo>
                    <a:lnTo>
                      <a:pt x="88" y="371"/>
                    </a:lnTo>
                    <a:lnTo>
                      <a:pt x="88" y="373"/>
                    </a:lnTo>
                    <a:lnTo>
                      <a:pt x="86" y="373"/>
                    </a:lnTo>
                    <a:lnTo>
                      <a:pt x="86" y="375"/>
                    </a:lnTo>
                    <a:lnTo>
                      <a:pt x="85" y="375"/>
                    </a:lnTo>
                    <a:lnTo>
                      <a:pt x="86" y="375"/>
                    </a:lnTo>
                    <a:lnTo>
                      <a:pt x="85" y="375"/>
                    </a:lnTo>
                    <a:lnTo>
                      <a:pt x="86" y="375"/>
                    </a:lnTo>
                    <a:lnTo>
                      <a:pt x="86" y="373"/>
                    </a:lnTo>
                    <a:lnTo>
                      <a:pt x="88" y="373"/>
                    </a:lnTo>
                    <a:lnTo>
                      <a:pt x="88" y="375"/>
                    </a:lnTo>
                    <a:lnTo>
                      <a:pt x="86" y="375"/>
                    </a:lnTo>
                    <a:lnTo>
                      <a:pt x="86" y="377"/>
                    </a:lnTo>
                    <a:lnTo>
                      <a:pt x="86" y="375"/>
                    </a:lnTo>
                    <a:lnTo>
                      <a:pt x="86" y="377"/>
                    </a:lnTo>
                    <a:lnTo>
                      <a:pt x="85" y="377"/>
                    </a:lnTo>
                    <a:lnTo>
                      <a:pt x="83" y="379"/>
                    </a:lnTo>
                    <a:lnTo>
                      <a:pt x="83" y="377"/>
                    </a:lnTo>
                    <a:lnTo>
                      <a:pt x="83" y="375"/>
                    </a:lnTo>
                    <a:lnTo>
                      <a:pt x="83" y="377"/>
                    </a:lnTo>
                    <a:lnTo>
                      <a:pt x="81" y="379"/>
                    </a:lnTo>
                    <a:lnTo>
                      <a:pt x="81" y="381"/>
                    </a:lnTo>
                    <a:lnTo>
                      <a:pt x="79" y="381"/>
                    </a:lnTo>
                    <a:lnTo>
                      <a:pt x="79" y="383"/>
                    </a:lnTo>
                    <a:lnTo>
                      <a:pt x="79" y="385"/>
                    </a:lnTo>
                    <a:lnTo>
                      <a:pt x="77" y="385"/>
                    </a:lnTo>
                    <a:lnTo>
                      <a:pt x="79" y="385"/>
                    </a:lnTo>
                    <a:lnTo>
                      <a:pt x="79" y="387"/>
                    </a:lnTo>
                    <a:lnTo>
                      <a:pt x="77" y="387"/>
                    </a:lnTo>
                    <a:lnTo>
                      <a:pt x="79" y="387"/>
                    </a:lnTo>
                    <a:lnTo>
                      <a:pt x="79" y="385"/>
                    </a:lnTo>
                    <a:lnTo>
                      <a:pt x="79" y="383"/>
                    </a:lnTo>
                    <a:lnTo>
                      <a:pt x="81" y="381"/>
                    </a:lnTo>
                    <a:lnTo>
                      <a:pt x="83" y="381"/>
                    </a:lnTo>
                    <a:lnTo>
                      <a:pt x="81" y="381"/>
                    </a:lnTo>
                    <a:lnTo>
                      <a:pt x="81" y="379"/>
                    </a:lnTo>
                    <a:lnTo>
                      <a:pt x="83" y="379"/>
                    </a:lnTo>
                    <a:lnTo>
                      <a:pt x="83" y="377"/>
                    </a:lnTo>
                    <a:lnTo>
                      <a:pt x="83" y="379"/>
                    </a:lnTo>
                    <a:lnTo>
                      <a:pt x="85" y="379"/>
                    </a:lnTo>
                    <a:lnTo>
                      <a:pt x="85" y="377"/>
                    </a:lnTo>
                    <a:lnTo>
                      <a:pt x="85" y="379"/>
                    </a:lnTo>
                    <a:lnTo>
                      <a:pt x="83" y="379"/>
                    </a:lnTo>
                    <a:lnTo>
                      <a:pt x="85" y="379"/>
                    </a:lnTo>
                    <a:lnTo>
                      <a:pt x="83" y="379"/>
                    </a:lnTo>
                    <a:lnTo>
                      <a:pt x="83" y="381"/>
                    </a:lnTo>
                    <a:lnTo>
                      <a:pt x="85" y="381"/>
                    </a:lnTo>
                    <a:lnTo>
                      <a:pt x="83" y="381"/>
                    </a:lnTo>
                    <a:lnTo>
                      <a:pt x="83" y="379"/>
                    </a:lnTo>
                    <a:lnTo>
                      <a:pt x="83" y="381"/>
                    </a:lnTo>
                    <a:lnTo>
                      <a:pt x="83" y="379"/>
                    </a:lnTo>
                    <a:lnTo>
                      <a:pt x="83" y="381"/>
                    </a:lnTo>
                    <a:lnTo>
                      <a:pt x="83" y="379"/>
                    </a:lnTo>
                    <a:lnTo>
                      <a:pt x="83" y="381"/>
                    </a:lnTo>
                    <a:lnTo>
                      <a:pt x="83" y="383"/>
                    </a:lnTo>
                    <a:lnTo>
                      <a:pt x="85" y="383"/>
                    </a:lnTo>
                    <a:lnTo>
                      <a:pt x="83" y="383"/>
                    </a:lnTo>
                    <a:lnTo>
                      <a:pt x="85" y="383"/>
                    </a:lnTo>
                    <a:lnTo>
                      <a:pt x="83" y="383"/>
                    </a:lnTo>
                    <a:lnTo>
                      <a:pt x="85" y="383"/>
                    </a:lnTo>
                    <a:lnTo>
                      <a:pt x="83" y="383"/>
                    </a:lnTo>
                    <a:lnTo>
                      <a:pt x="85" y="383"/>
                    </a:lnTo>
                    <a:lnTo>
                      <a:pt x="85" y="381"/>
                    </a:lnTo>
                    <a:lnTo>
                      <a:pt x="85" y="383"/>
                    </a:lnTo>
                    <a:lnTo>
                      <a:pt x="86" y="383"/>
                    </a:lnTo>
                    <a:lnTo>
                      <a:pt x="85" y="383"/>
                    </a:lnTo>
                    <a:lnTo>
                      <a:pt x="86" y="383"/>
                    </a:lnTo>
                    <a:lnTo>
                      <a:pt x="85" y="383"/>
                    </a:lnTo>
                    <a:lnTo>
                      <a:pt x="86" y="383"/>
                    </a:lnTo>
                    <a:lnTo>
                      <a:pt x="86" y="381"/>
                    </a:lnTo>
                    <a:lnTo>
                      <a:pt x="86" y="383"/>
                    </a:lnTo>
                    <a:lnTo>
                      <a:pt x="86" y="381"/>
                    </a:lnTo>
                    <a:lnTo>
                      <a:pt x="85" y="381"/>
                    </a:lnTo>
                    <a:lnTo>
                      <a:pt x="86" y="381"/>
                    </a:lnTo>
                    <a:lnTo>
                      <a:pt x="85" y="381"/>
                    </a:lnTo>
                    <a:lnTo>
                      <a:pt x="85" y="383"/>
                    </a:lnTo>
                    <a:lnTo>
                      <a:pt x="86" y="383"/>
                    </a:lnTo>
                    <a:lnTo>
                      <a:pt x="85" y="383"/>
                    </a:lnTo>
                    <a:lnTo>
                      <a:pt x="85" y="381"/>
                    </a:lnTo>
                    <a:lnTo>
                      <a:pt x="86" y="381"/>
                    </a:lnTo>
                    <a:lnTo>
                      <a:pt x="85" y="381"/>
                    </a:lnTo>
                    <a:lnTo>
                      <a:pt x="86" y="381"/>
                    </a:lnTo>
                    <a:lnTo>
                      <a:pt x="85" y="381"/>
                    </a:lnTo>
                    <a:lnTo>
                      <a:pt x="86" y="381"/>
                    </a:lnTo>
                    <a:lnTo>
                      <a:pt x="85" y="381"/>
                    </a:lnTo>
                    <a:lnTo>
                      <a:pt x="86" y="381"/>
                    </a:lnTo>
                    <a:lnTo>
                      <a:pt x="88" y="381"/>
                    </a:lnTo>
                    <a:lnTo>
                      <a:pt x="86" y="381"/>
                    </a:lnTo>
                    <a:lnTo>
                      <a:pt x="88" y="381"/>
                    </a:lnTo>
                    <a:lnTo>
                      <a:pt x="86" y="379"/>
                    </a:lnTo>
                    <a:lnTo>
                      <a:pt x="88" y="379"/>
                    </a:lnTo>
                    <a:lnTo>
                      <a:pt x="86" y="379"/>
                    </a:lnTo>
                    <a:lnTo>
                      <a:pt x="88" y="381"/>
                    </a:lnTo>
                    <a:lnTo>
                      <a:pt x="88" y="379"/>
                    </a:lnTo>
                    <a:lnTo>
                      <a:pt x="88" y="381"/>
                    </a:lnTo>
                    <a:lnTo>
                      <a:pt x="88" y="379"/>
                    </a:lnTo>
                    <a:lnTo>
                      <a:pt x="88" y="381"/>
                    </a:lnTo>
                    <a:lnTo>
                      <a:pt x="88" y="379"/>
                    </a:lnTo>
                    <a:lnTo>
                      <a:pt x="90" y="379"/>
                    </a:lnTo>
                    <a:lnTo>
                      <a:pt x="90" y="377"/>
                    </a:lnTo>
                    <a:lnTo>
                      <a:pt x="88" y="377"/>
                    </a:lnTo>
                    <a:lnTo>
                      <a:pt x="90" y="377"/>
                    </a:lnTo>
                    <a:lnTo>
                      <a:pt x="90" y="379"/>
                    </a:lnTo>
                    <a:lnTo>
                      <a:pt x="88" y="379"/>
                    </a:lnTo>
                    <a:lnTo>
                      <a:pt x="86" y="379"/>
                    </a:lnTo>
                    <a:lnTo>
                      <a:pt x="85" y="379"/>
                    </a:lnTo>
                    <a:lnTo>
                      <a:pt x="86" y="379"/>
                    </a:lnTo>
                    <a:lnTo>
                      <a:pt x="85" y="379"/>
                    </a:lnTo>
                    <a:lnTo>
                      <a:pt x="85" y="381"/>
                    </a:lnTo>
                    <a:lnTo>
                      <a:pt x="85" y="379"/>
                    </a:lnTo>
                    <a:lnTo>
                      <a:pt x="85" y="381"/>
                    </a:lnTo>
                    <a:lnTo>
                      <a:pt x="85" y="379"/>
                    </a:lnTo>
                    <a:lnTo>
                      <a:pt x="85" y="377"/>
                    </a:lnTo>
                    <a:lnTo>
                      <a:pt x="86" y="377"/>
                    </a:lnTo>
                    <a:lnTo>
                      <a:pt x="86" y="375"/>
                    </a:lnTo>
                    <a:lnTo>
                      <a:pt x="88" y="375"/>
                    </a:lnTo>
                    <a:lnTo>
                      <a:pt x="86" y="373"/>
                    </a:lnTo>
                    <a:lnTo>
                      <a:pt x="88" y="373"/>
                    </a:lnTo>
                    <a:lnTo>
                      <a:pt x="90" y="373"/>
                    </a:lnTo>
                    <a:lnTo>
                      <a:pt x="90" y="371"/>
                    </a:lnTo>
                    <a:lnTo>
                      <a:pt x="92" y="371"/>
                    </a:lnTo>
                    <a:lnTo>
                      <a:pt x="92" y="369"/>
                    </a:lnTo>
                    <a:lnTo>
                      <a:pt x="92" y="371"/>
                    </a:lnTo>
                    <a:lnTo>
                      <a:pt x="94" y="371"/>
                    </a:lnTo>
                    <a:lnTo>
                      <a:pt x="96" y="371"/>
                    </a:lnTo>
                    <a:lnTo>
                      <a:pt x="98" y="371"/>
                    </a:lnTo>
                    <a:lnTo>
                      <a:pt x="96" y="371"/>
                    </a:lnTo>
                    <a:lnTo>
                      <a:pt x="98" y="371"/>
                    </a:lnTo>
                    <a:lnTo>
                      <a:pt x="96" y="371"/>
                    </a:lnTo>
                    <a:lnTo>
                      <a:pt x="98" y="371"/>
                    </a:lnTo>
                    <a:lnTo>
                      <a:pt x="96" y="371"/>
                    </a:lnTo>
                    <a:lnTo>
                      <a:pt x="94" y="371"/>
                    </a:lnTo>
                    <a:lnTo>
                      <a:pt x="92" y="371"/>
                    </a:lnTo>
                    <a:lnTo>
                      <a:pt x="92" y="373"/>
                    </a:lnTo>
                    <a:lnTo>
                      <a:pt x="92" y="375"/>
                    </a:lnTo>
                    <a:lnTo>
                      <a:pt x="92" y="373"/>
                    </a:lnTo>
                    <a:lnTo>
                      <a:pt x="94" y="373"/>
                    </a:lnTo>
                    <a:lnTo>
                      <a:pt x="92" y="373"/>
                    </a:lnTo>
                    <a:lnTo>
                      <a:pt x="92" y="375"/>
                    </a:lnTo>
                    <a:lnTo>
                      <a:pt x="92" y="373"/>
                    </a:lnTo>
                    <a:lnTo>
                      <a:pt x="92" y="375"/>
                    </a:lnTo>
                    <a:lnTo>
                      <a:pt x="94" y="373"/>
                    </a:lnTo>
                    <a:lnTo>
                      <a:pt x="92" y="375"/>
                    </a:lnTo>
                    <a:lnTo>
                      <a:pt x="92" y="377"/>
                    </a:lnTo>
                    <a:lnTo>
                      <a:pt x="92" y="375"/>
                    </a:lnTo>
                    <a:lnTo>
                      <a:pt x="92" y="377"/>
                    </a:lnTo>
                    <a:lnTo>
                      <a:pt x="94" y="377"/>
                    </a:lnTo>
                    <a:lnTo>
                      <a:pt x="94" y="375"/>
                    </a:lnTo>
                    <a:lnTo>
                      <a:pt x="94" y="377"/>
                    </a:lnTo>
                    <a:lnTo>
                      <a:pt x="92" y="377"/>
                    </a:lnTo>
                    <a:lnTo>
                      <a:pt x="92" y="379"/>
                    </a:lnTo>
                    <a:lnTo>
                      <a:pt x="92" y="377"/>
                    </a:lnTo>
                    <a:lnTo>
                      <a:pt x="92" y="379"/>
                    </a:lnTo>
                    <a:lnTo>
                      <a:pt x="90" y="379"/>
                    </a:lnTo>
                    <a:lnTo>
                      <a:pt x="92" y="379"/>
                    </a:lnTo>
                    <a:lnTo>
                      <a:pt x="90" y="379"/>
                    </a:lnTo>
                    <a:lnTo>
                      <a:pt x="90" y="377"/>
                    </a:lnTo>
                    <a:lnTo>
                      <a:pt x="90" y="379"/>
                    </a:lnTo>
                    <a:lnTo>
                      <a:pt x="90" y="377"/>
                    </a:lnTo>
                    <a:lnTo>
                      <a:pt x="90" y="379"/>
                    </a:lnTo>
                    <a:lnTo>
                      <a:pt x="90" y="381"/>
                    </a:lnTo>
                    <a:lnTo>
                      <a:pt x="90" y="379"/>
                    </a:lnTo>
                    <a:lnTo>
                      <a:pt x="90" y="381"/>
                    </a:lnTo>
                    <a:lnTo>
                      <a:pt x="90" y="379"/>
                    </a:lnTo>
                    <a:lnTo>
                      <a:pt x="90" y="381"/>
                    </a:lnTo>
                    <a:lnTo>
                      <a:pt x="90" y="379"/>
                    </a:lnTo>
                    <a:lnTo>
                      <a:pt x="90" y="381"/>
                    </a:lnTo>
                    <a:lnTo>
                      <a:pt x="90" y="379"/>
                    </a:lnTo>
                    <a:lnTo>
                      <a:pt x="92" y="379"/>
                    </a:lnTo>
                    <a:lnTo>
                      <a:pt x="92" y="381"/>
                    </a:lnTo>
                    <a:lnTo>
                      <a:pt x="92" y="379"/>
                    </a:lnTo>
                    <a:lnTo>
                      <a:pt x="94" y="379"/>
                    </a:lnTo>
                    <a:lnTo>
                      <a:pt x="92" y="379"/>
                    </a:lnTo>
                    <a:lnTo>
                      <a:pt x="92" y="381"/>
                    </a:lnTo>
                    <a:lnTo>
                      <a:pt x="90" y="381"/>
                    </a:lnTo>
                    <a:lnTo>
                      <a:pt x="88" y="381"/>
                    </a:lnTo>
                    <a:lnTo>
                      <a:pt x="88" y="383"/>
                    </a:lnTo>
                    <a:lnTo>
                      <a:pt x="88" y="381"/>
                    </a:lnTo>
                    <a:lnTo>
                      <a:pt x="88" y="383"/>
                    </a:lnTo>
                    <a:lnTo>
                      <a:pt x="88" y="385"/>
                    </a:lnTo>
                    <a:lnTo>
                      <a:pt x="86" y="385"/>
                    </a:lnTo>
                    <a:lnTo>
                      <a:pt x="86" y="387"/>
                    </a:lnTo>
                    <a:lnTo>
                      <a:pt x="85" y="387"/>
                    </a:lnTo>
                    <a:lnTo>
                      <a:pt x="86" y="387"/>
                    </a:lnTo>
                    <a:lnTo>
                      <a:pt x="88" y="385"/>
                    </a:lnTo>
                    <a:lnTo>
                      <a:pt x="88" y="383"/>
                    </a:lnTo>
                    <a:lnTo>
                      <a:pt x="88" y="385"/>
                    </a:lnTo>
                    <a:lnTo>
                      <a:pt x="88" y="387"/>
                    </a:lnTo>
                    <a:lnTo>
                      <a:pt x="86" y="387"/>
                    </a:lnTo>
                    <a:lnTo>
                      <a:pt x="86" y="389"/>
                    </a:lnTo>
                    <a:lnTo>
                      <a:pt x="86" y="387"/>
                    </a:lnTo>
                    <a:lnTo>
                      <a:pt x="86" y="389"/>
                    </a:lnTo>
                    <a:lnTo>
                      <a:pt x="88" y="389"/>
                    </a:lnTo>
                    <a:lnTo>
                      <a:pt x="88" y="387"/>
                    </a:lnTo>
                    <a:lnTo>
                      <a:pt x="88" y="389"/>
                    </a:lnTo>
                    <a:lnTo>
                      <a:pt x="86" y="389"/>
                    </a:lnTo>
                    <a:lnTo>
                      <a:pt x="86" y="390"/>
                    </a:lnTo>
                    <a:lnTo>
                      <a:pt x="86" y="389"/>
                    </a:lnTo>
                    <a:lnTo>
                      <a:pt x="88" y="389"/>
                    </a:lnTo>
                    <a:lnTo>
                      <a:pt x="86" y="390"/>
                    </a:lnTo>
                    <a:lnTo>
                      <a:pt x="86" y="389"/>
                    </a:lnTo>
                    <a:lnTo>
                      <a:pt x="85" y="389"/>
                    </a:lnTo>
                    <a:lnTo>
                      <a:pt x="83" y="389"/>
                    </a:lnTo>
                    <a:lnTo>
                      <a:pt x="83" y="390"/>
                    </a:lnTo>
                    <a:lnTo>
                      <a:pt x="81" y="390"/>
                    </a:lnTo>
                    <a:lnTo>
                      <a:pt x="81" y="392"/>
                    </a:lnTo>
                    <a:lnTo>
                      <a:pt x="79" y="392"/>
                    </a:lnTo>
                    <a:lnTo>
                      <a:pt x="79" y="394"/>
                    </a:lnTo>
                    <a:lnTo>
                      <a:pt x="77" y="394"/>
                    </a:lnTo>
                    <a:lnTo>
                      <a:pt x="79" y="394"/>
                    </a:lnTo>
                    <a:lnTo>
                      <a:pt x="77" y="394"/>
                    </a:lnTo>
                    <a:lnTo>
                      <a:pt x="77" y="396"/>
                    </a:lnTo>
                    <a:lnTo>
                      <a:pt x="75" y="396"/>
                    </a:lnTo>
                    <a:lnTo>
                      <a:pt x="73" y="396"/>
                    </a:lnTo>
                    <a:lnTo>
                      <a:pt x="73" y="394"/>
                    </a:lnTo>
                    <a:lnTo>
                      <a:pt x="75" y="394"/>
                    </a:lnTo>
                    <a:lnTo>
                      <a:pt x="73" y="394"/>
                    </a:lnTo>
                    <a:lnTo>
                      <a:pt x="73" y="392"/>
                    </a:lnTo>
                    <a:lnTo>
                      <a:pt x="75" y="390"/>
                    </a:lnTo>
                    <a:lnTo>
                      <a:pt x="73" y="390"/>
                    </a:lnTo>
                    <a:lnTo>
                      <a:pt x="75" y="389"/>
                    </a:lnTo>
                    <a:lnTo>
                      <a:pt x="75" y="387"/>
                    </a:lnTo>
                    <a:lnTo>
                      <a:pt x="77" y="387"/>
                    </a:lnTo>
                    <a:lnTo>
                      <a:pt x="75" y="387"/>
                    </a:lnTo>
                    <a:lnTo>
                      <a:pt x="75" y="389"/>
                    </a:lnTo>
                    <a:lnTo>
                      <a:pt x="73" y="389"/>
                    </a:lnTo>
                    <a:lnTo>
                      <a:pt x="73" y="387"/>
                    </a:lnTo>
                    <a:lnTo>
                      <a:pt x="75" y="387"/>
                    </a:lnTo>
                    <a:lnTo>
                      <a:pt x="77" y="387"/>
                    </a:lnTo>
                    <a:lnTo>
                      <a:pt x="75" y="387"/>
                    </a:lnTo>
                    <a:lnTo>
                      <a:pt x="77" y="387"/>
                    </a:lnTo>
                    <a:lnTo>
                      <a:pt x="75" y="387"/>
                    </a:lnTo>
                    <a:lnTo>
                      <a:pt x="73" y="387"/>
                    </a:lnTo>
                    <a:lnTo>
                      <a:pt x="71" y="387"/>
                    </a:lnTo>
                    <a:lnTo>
                      <a:pt x="71" y="389"/>
                    </a:lnTo>
                    <a:lnTo>
                      <a:pt x="71" y="390"/>
                    </a:lnTo>
                    <a:lnTo>
                      <a:pt x="71" y="392"/>
                    </a:lnTo>
                    <a:lnTo>
                      <a:pt x="73" y="392"/>
                    </a:lnTo>
                    <a:lnTo>
                      <a:pt x="71" y="392"/>
                    </a:lnTo>
                    <a:lnTo>
                      <a:pt x="71" y="394"/>
                    </a:lnTo>
                    <a:lnTo>
                      <a:pt x="71" y="396"/>
                    </a:lnTo>
                    <a:lnTo>
                      <a:pt x="69" y="398"/>
                    </a:lnTo>
                    <a:lnTo>
                      <a:pt x="71" y="398"/>
                    </a:lnTo>
                    <a:lnTo>
                      <a:pt x="69" y="398"/>
                    </a:lnTo>
                    <a:lnTo>
                      <a:pt x="71" y="398"/>
                    </a:lnTo>
                    <a:lnTo>
                      <a:pt x="69" y="398"/>
                    </a:lnTo>
                    <a:lnTo>
                      <a:pt x="71" y="398"/>
                    </a:lnTo>
                    <a:lnTo>
                      <a:pt x="69" y="398"/>
                    </a:lnTo>
                    <a:lnTo>
                      <a:pt x="71" y="398"/>
                    </a:lnTo>
                    <a:lnTo>
                      <a:pt x="69" y="398"/>
                    </a:lnTo>
                    <a:lnTo>
                      <a:pt x="69" y="400"/>
                    </a:lnTo>
                    <a:lnTo>
                      <a:pt x="69" y="402"/>
                    </a:lnTo>
                    <a:lnTo>
                      <a:pt x="69" y="400"/>
                    </a:lnTo>
                    <a:lnTo>
                      <a:pt x="69" y="402"/>
                    </a:lnTo>
                    <a:lnTo>
                      <a:pt x="69" y="404"/>
                    </a:lnTo>
                    <a:lnTo>
                      <a:pt x="67" y="404"/>
                    </a:lnTo>
                    <a:lnTo>
                      <a:pt x="69" y="404"/>
                    </a:lnTo>
                    <a:lnTo>
                      <a:pt x="67" y="404"/>
                    </a:lnTo>
                    <a:lnTo>
                      <a:pt x="67" y="406"/>
                    </a:lnTo>
                    <a:lnTo>
                      <a:pt x="69" y="404"/>
                    </a:lnTo>
                    <a:lnTo>
                      <a:pt x="67" y="404"/>
                    </a:lnTo>
                    <a:lnTo>
                      <a:pt x="69" y="404"/>
                    </a:lnTo>
                    <a:lnTo>
                      <a:pt x="69" y="406"/>
                    </a:lnTo>
                    <a:lnTo>
                      <a:pt x="67" y="406"/>
                    </a:lnTo>
                    <a:lnTo>
                      <a:pt x="69" y="406"/>
                    </a:lnTo>
                    <a:lnTo>
                      <a:pt x="69" y="404"/>
                    </a:lnTo>
                    <a:lnTo>
                      <a:pt x="69" y="406"/>
                    </a:lnTo>
                    <a:lnTo>
                      <a:pt x="67" y="406"/>
                    </a:lnTo>
                    <a:lnTo>
                      <a:pt x="67" y="404"/>
                    </a:lnTo>
                    <a:lnTo>
                      <a:pt x="67" y="402"/>
                    </a:lnTo>
                    <a:lnTo>
                      <a:pt x="67" y="404"/>
                    </a:lnTo>
                    <a:lnTo>
                      <a:pt x="67" y="402"/>
                    </a:lnTo>
                    <a:lnTo>
                      <a:pt x="67" y="404"/>
                    </a:lnTo>
                    <a:lnTo>
                      <a:pt x="65" y="404"/>
                    </a:lnTo>
                    <a:lnTo>
                      <a:pt x="67" y="404"/>
                    </a:lnTo>
                    <a:lnTo>
                      <a:pt x="67" y="406"/>
                    </a:lnTo>
                    <a:lnTo>
                      <a:pt x="65" y="406"/>
                    </a:lnTo>
                    <a:lnTo>
                      <a:pt x="67" y="406"/>
                    </a:lnTo>
                    <a:lnTo>
                      <a:pt x="65" y="408"/>
                    </a:lnTo>
                    <a:lnTo>
                      <a:pt x="65" y="410"/>
                    </a:lnTo>
                    <a:lnTo>
                      <a:pt x="63" y="412"/>
                    </a:lnTo>
                    <a:lnTo>
                      <a:pt x="65" y="410"/>
                    </a:lnTo>
                    <a:lnTo>
                      <a:pt x="65" y="412"/>
                    </a:lnTo>
                    <a:lnTo>
                      <a:pt x="63" y="412"/>
                    </a:lnTo>
                    <a:lnTo>
                      <a:pt x="65" y="412"/>
                    </a:lnTo>
                    <a:lnTo>
                      <a:pt x="63" y="412"/>
                    </a:lnTo>
                    <a:lnTo>
                      <a:pt x="61" y="412"/>
                    </a:lnTo>
                    <a:lnTo>
                      <a:pt x="63" y="412"/>
                    </a:lnTo>
                    <a:lnTo>
                      <a:pt x="63" y="414"/>
                    </a:lnTo>
                    <a:lnTo>
                      <a:pt x="61" y="414"/>
                    </a:lnTo>
                    <a:lnTo>
                      <a:pt x="63" y="414"/>
                    </a:lnTo>
                    <a:lnTo>
                      <a:pt x="63" y="415"/>
                    </a:lnTo>
                    <a:lnTo>
                      <a:pt x="65" y="415"/>
                    </a:lnTo>
                    <a:lnTo>
                      <a:pt x="65" y="414"/>
                    </a:lnTo>
                    <a:lnTo>
                      <a:pt x="63" y="414"/>
                    </a:lnTo>
                    <a:lnTo>
                      <a:pt x="65" y="414"/>
                    </a:lnTo>
                    <a:lnTo>
                      <a:pt x="65" y="415"/>
                    </a:lnTo>
                    <a:lnTo>
                      <a:pt x="63" y="415"/>
                    </a:lnTo>
                    <a:lnTo>
                      <a:pt x="65" y="415"/>
                    </a:lnTo>
                    <a:lnTo>
                      <a:pt x="63" y="415"/>
                    </a:lnTo>
                    <a:lnTo>
                      <a:pt x="63" y="417"/>
                    </a:lnTo>
                    <a:lnTo>
                      <a:pt x="65" y="417"/>
                    </a:lnTo>
                    <a:lnTo>
                      <a:pt x="63" y="417"/>
                    </a:lnTo>
                    <a:lnTo>
                      <a:pt x="61" y="417"/>
                    </a:lnTo>
                    <a:lnTo>
                      <a:pt x="61" y="419"/>
                    </a:lnTo>
                    <a:lnTo>
                      <a:pt x="60" y="419"/>
                    </a:lnTo>
                    <a:lnTo>
                      <a:pt x="60" y="421"/>
                    </a:lnTo>
                    <a:lnTo>
                      <a:pt x="60" y="419"/>
                    </a:lnTo>
                    <a:lnTo>
                      <a:pt x="60" y="421"/>
                    </a:lnTo>
                    <a:lnTo>
                      <a:pt x="60" y="419"/>
                    </a:lnTo>
                    <a:lnTo>
                      <a:pt x="58" y="419"/>
                    </a:lnTo>
                    <a:lnTo>
                      <a:pt x="58" y="417"/>
                    </a:lnTo>
                    <a:lnTo>
                      <a:pt x="56" y="417"/>
                    </a:lnTo>
                    <a:lnTo>
                      <a:pt x="54" y="417"/>
                    </a:lnTo>
                    <a:lnTo>
                      <a:pt x="54" y="419"/>
                    </a:lnTo>
                    <a:lnTo>
                      <a:pt x="52" y="417"/>
                    </a:lnTo>
                    <a:lnTo>
                      <a:pt x="54" y="419"/>
                    </a:lnTo>
                    <a:lnTo>
                      <a:pt x="52" y="419"/>
                    </a:lnTo>
                    <a:lnTo>
                      <a:pt x="52" y="417"/>
                    </a:lnTo>
                    <a:lnTo>
                      <a:pt x="50" y="417"/>
                    </a:lnTo>
                    <a:lnTo>
                      <a:pt x="50" y="419"/>
                    </a:lnTo>
                    <a:lnTo>
                      <a:pt x="50" y="417"/>
                    </a:lnTo>
                    <a:lnTo>
                      <a:pt x="50" y="419"/>
                    </a:lnTo>
                    <a:lnTo>
                      <a:pt x="48" y="419"/>
                    </a:lnTo>
                    <a:lnTo>
                      <a:pt x="46" y="419"/>
                    </a:lnTo>
                    <a:lnTo>
                      <a:pt x="44" y="419"/>
                    </a:lnTo>
                    <a:lnTo>
                      <a:pt x="42" y="419"/>
                    </a:lnTo>
                    <a:lnTo>
                      <a:pt x="42" y="421"/>
                    </a:lnTo>
                    <a:lnTo>
                      <a:pt x="40" y="421"/>
                    </a:lnTo>
                    <a:lnTo>
                      <a:pt x="40" y="423"/>
                    </a:lnTo>
                    <a:lnTo>
                      <a:pt x="40" y="421"/>
                    </a:lnTo>
                    <a:lnTo>
                      <a:pt x="40" y="419"/>
                    </a:lnTo>
                    <a:lnTo>
                      <a:pt x="40" y="417"/>
                    </a:lnTo>
                    <a:lnTo>
                      <a:pt x="40" y="415"/>
                    </a:lnTo>
                    <a:lnTo>
                      <a:pt x="40" y="414"/>
                    </a:lnTo>
                    <a:lnTo>
                      <a:pt x="38" y="414"/>
                    </a:lnTo>
                    <a:lnTo>
                      <a:pt x="40" y="412"/>
                    </a:lnTo>
                    <a:lnTo>
                      <a:pt x="38" y="412"/>
                    </a:lnTo>
                    <a:lnTo>
                      <a:pt x="38" y="410"/>
                    </a:lnTo>
                    <a:lnTo>
                      <a:pt x="36" y="412"/>
                    </a:lnTo>
                    <a:lnTo>
                      <a:pt x="36" y="410"/>
                    </a:lnTo>
                    <a:lnTo>
                      <a:pt x="36" y="408"/>
                    </a:lnTo>
                    <a:lnTo>
                      <a:pt x="36" y="410"/>
                    </a:lnTo>
                    <a:lnTo>
                      <a:pt x="36" y="408"/>
                    </a:lnTo>
                    <a:lnTo>
                      <a:pt x="36" y="410"/>
                    </a:lnTo>
                    <a:lnTo>
                      <a:pt x="36" y="412"/>
                    </a:lnTo>
                    <a:lnTo>
                      <a:pt x="38" y="410"/>
                    </a:lnTo>
                    <a:lnTo>
                      <a:pt x="38" y="412"/>
                    </a:lnTo>
                    <a:lnTo>
                      <a:pt x="40" y="412"/>
                    </a:lnTo>
                    <a:lnTo>
                      <a:pt x="38" y="414"/>
                    </a:lnTo>
                    <a:lnTo>
                      <a:pt x="40" y="414"/>
                    </a:lnTo>
                    <a:lnTo>
                      <a:pt x="40" y="415"/>
                    </a:lnTo>
                    <a:lnTo>
                      <a:pt x="38" y="417"/>
                    </a:lnTo>
                    <a:lnTo>
                      <a:pt x="40" y="417"/>
                    </a:lnTo>
                    <a:lnTo>
                      <a:pt x="40" y="419"/>
                    </a:lnTo>
                    <a:lnTo>
                      <a:pt x="40" y="421"/>
                    </a:lnTo>
                    <a:lnTo>
                      <a:pt x="40" y="423"/>
                    </a:lnTo>
                    <a:lnTo>
                      <a:pt x="38" y="423"/>
                    </a:lnTo>
                    <a:lnTo>
                      <a:pt x="40" y="423"/>
                    </a:lnTo>
                    <a:lnTo>
                      <a:pt x="42" y="423"/>
                    </a:lnTo>
                    <a:lnTo>
                      <a:pt x="40" y="423"/>
                    </a:lnTo>
                    <a:lnTo>
                      <a:pt x="40" y="421"/>
                    </a:lnTo>
                    <a:lnTo>
                      <a:pt x="42" y="421"/>
                    </a:lnTo>
                    <a:lnTo>
                      <a:pt x="42" y="419"/>
                    </a:lnTo>
                    <a:lnTo>
                      <a:pt x="44" y="419"/>
                    </a:lnTo>
                    <a:lnTo>
                      <a:pt x="46" y="419"/>
                    </a:lnTo>
                    <a:lnTo>
                      <a:pt x="46" y="421"/>
                    </a:lnTo>
                    <a:lnTo>
                      <a:pt x="46" y="419"/>
                    </a:lnTo>
                    <a:lnTo>
                      <a:pt x="48" y="419"/>
                    </a:lnTo>
                    <a:lnTo>
                      <a:pt x="50" y="419"/>
                    </a:lnTo>
                    <a:lnTo>
                      <a:pt x="48" y="419"/>
                    </a:lnTo>
                    <a:lnTo>
                      <a:pt x="50" y="419"/>
                    </a:lnTo>
                    <a:lnTo>
                      <a:pt x="50" y="417"/>
                    </a:lnTo>
                    <a:lnTo>
                      <a:pt x="52" y="417"/>
                    </a:lnTo>
                    <a:lnTo>
                      <a:pt x="50" y="417"/>
                    </a:lnTo>
                    <a:lnTo>
                      <a:pt x="52" y="417"/>
                    </a:lnTo>
                    <a:lnTo>
                      <a:pt x="52" y="419"/>
                    </a:lnTo>
                    <a:lnTo>
                      <a:pt x="52" y="417"/>
                    </a:lnTo>
                    <a:lnTo>
                      <a:pt x="52" y="419"/>
                    </a:lnTo>
                    <a:lnTo>
                      <a:pt x="54" y="419"/>
                    </a:lnTo>
                    <a:lnTo>
                      <a:pt x="52" y="419"/>
                    </a:lnTo>
                    <a:lnTo>
                      <a:pt x="52" y="421"/>
                    </a:lnTo>
                    <a:lnTo>
                      <a:pt x="52" y="423"/>
                    </a:lnTo>
                    <a:lnTo>
                      <a:pt x="50" y="423"/>
                    </a:lnTo>
                    <a:lnTo>
                      <a:pt x="52" y="423"/>
                    </a:lnTo>
                    <a:lnTo>
                      <a:pt x="52" y="421"/>
                    </a:lnTo>
                    <a:lnTo>
                      <a:pt x="52" y="423"/>
                    </a:lnTo>
                    <a:lnTo>
                      <a:pt x="52" y="421"/>
                    </a:lnTo>
                    <a:lnTo>
                      <a:pt x="52" y="423"/>
                    </a:lnTo>
                    <a:lnTo>
                      <a:pt x="52" y="421"/>
                    </a:lnTo>
                    <a:lnTo>
                      <a:pt x="52" y="423"/>
                    </a:lnTo>
                    <a:lnTo>
                      <a:pt x="52" y="421"/>
                    </a:lnTo>
                    <a:lnTo>
                      <a:pt x="52" y="423"/>
                    </a:lnTo>
                    <a:lnTo>
                      <a:pt x="54" y="423"/>
                    </a:lnTo>
                    <a:lnTo>
                      <a:pt x="52" y="423"/>
                    </a:lnTo>
                    <a:lnTo>
                      <a:pt x="54" y="423"/>
                    </a:lnTo>
                    <a:lnTo>
                      <a:pt x="54" y="421"/>
                    </a:lnTo>
                    <a:lnTo>
                      <a:pt x="56" y="421"/>
                    </a:lnTo>
                    <a:lnTo>
                      <a:pt x="56" y="419"/>
                    </a:lnTo>
                    <a:lnTo>
                      <a:pt x="54" y="419"/>
                    </a:lnTo>
                    <a:lnTo>
                      <a:pt x="56" y="417"/>
                    </a:lnTo>
                    <a:lnTo>
                      <a:pt x="58" y="419"/>
                    </a:lnTo>
                    <a:lnTo>
                      <a:pt x="58" y="417"/>
                    </a:lnTo>
                    <a:lnTo>
                      <a:pt x="58" y="419"/>
                    </a:lnTo>
                    <a:lnTo>
                      <a:pt x="58" y="421"/>
                    </a:lnTo>
                    <a:lnTo>
                      <a:pt x="58" y="423"/>
                    </a:lnTo>
                    <a:lnTo>
                      <a:pt x="58" y="425"/>
                    </a:lnTo>
                    <a:lnTo>
                      <a:pt x="58" y="423"/>
                    </a:lnTo>
                    <a:lnTo>
                      <a:pt x="60" y="423"/>
                    </a:lnTo>
                    <a:lnTo>
                      <a:pt x="60" y="421"/>
                    </a:lnTo>
                    <a:lnTo>
                      <a:pt x="60" y="423"/>
                    </a:lnTo>
                    <a:lnTo>
                      <a:pt x="60" y="421"/>
                    </a:lnTo>
                    <a:lnTo>
                      <a:pt x="60" y="423"/>
                    </a:lnTo>
                    <a:lnTo>
                      <a:pt x="60" y="421"/>
                    </a:lnTo>
                    <a:lnTo>
                      <a:pt x="60" y="423"/>
                    </a:lnTo>
                    <a:lnTo>
                      <a:pt x="61" y="423"/>
                    </a:lnTo>
                    <a:lnTo>
                      <a:pt x="60" y="423"/>
                    </a:lnTo>
                    <a:lnTo>
                      <a:pt x="60" y="421"/>
                    </a:lnTo>
                    <a:lnTo>
                      <a:pt x="61" y="421"/>
                    </a:lnTo>
                    <a:lnTo>
                      <a:pt x="63" y="421"/>
                    </a:lnTo>
                    <a:lnTo>
                      <a:pt x="61" y="421"/>
                    </a:lnTo>
                    <a:lnTo>
                      <a:pt x="63" y="421"/>
                    </a:lnTo>
                    <a:lnTo>
                      <a:pt x="63" y="423"/>
                    </a:lnTo>
                    <a:lnTo>
                      <a:pt x="63" y="425"/>
                    </a:lnTo>
                    <a:lnTo>
                      <a:pt x="65" y="425"/>
                    </a:lnTo>
                    <a:lnTo>
                      <a:pt x="65" y="423"/>
                    </a:lnTo>
                    <a:lnTo>
                      <a:pt x="63" y="423"/>
                    </a:lnTo>
                    <a:lnTo>
                      <a:pt x="65" y="423"/>
                    </a:lnTo>
                    <a:lnTo>
                      <a:pt x="65" y="421"/>
                    </a:lnTo>
                    <a:lnTo>
                      <a:pt x="63" y="421"/>
                    </a:lnTo>
                    <a:lnTo>
                      <a:pt x="63" y="419"/>
                    </a:lnTo>
                    <a:lnTo>
                      <a:pt x="65" y="419"/>
                    </a:lnTo>
                    <a:lnTo>
                      <a:pt x="63" y="419"/>
                    </a:lnTo>
                    <a:lnTo>
                      <a:pt x="63" y="421"/>
                    </a:lnTo>
                    <a:lnTo>
                      <a:pt x="63" y="419"/>
                    </a:lnTo>
                    <a:lnTo>
                      <a:pt x="63" y="421"/>
                    </a:lnTo>
                    <a:lnTo>
                      <a:pt x="63" y="419"/>
                    </a:lnTo>
                    <a:lnTo>
                      <a:pt x="65" y="419"/>
                    </a:lnTo>
                    <a:lnTo>
                      <a:pt x="65" y="421"/>
                    </a:lnTo>
                    <a:lnTo>
                      <a:pt x="65" y="419"/>
                    </a:lnTo>
                    <a:lnTo>
                      <a:pt x="65" y="421"/>
                    </a:lnTo>
                    <a:lnTo>
                      <a:pt x="67" y="421"/>
                    </a:lnTo>
                    <a:lnTo>
                      <a:pt x="65" y="421"/>
                    </a:lnTo>
                    <a:lnTo>
                      <a:pt x="67" y="421"/>
                    </a:lnTo>
                    <a:lnTo>
                      <a:pt x="65" y="421"/>
                    </a:lnTo>
                    <a:lnTo>
                      <a:pt x="67" y="421"/>
                    </a:lnTo>
                    <a:lnTo>
                      <a:pt x="67" y="419"/>
                    </a:lnTo>
                    <a:lnTo>
                      <a:pt x="65" y="419"/>
                    </a:lnTo>
                    <a:lnTo>
                      <a:pt x="65" y="417"/>
                    </a:lnTo>
                    <a:lnTo>
                      <a:pt x="65" y="419"/>
                    </a:lnTo>
                    <a:lnTo>
                      <a:pt x="65" y="417"/>
                    </a:lnTo>
                    <a:lnTo>
                      <a:pt x="65" y="419"/>
                    </a:lnTo>
                    <a:lnTo>
                      <a:pt x="65" y="417"/>
                    </a:lnTo>
                    <a:lnTo>
                      <a:pt x="67" y="417"/>
                    </a:lnTo>
                    <a:lnTo>
                      <a:pt x="65" y="417"/>
                    </a:lnTo>
                    <a:lnTo>
                      <a:pt x="67" y="417"/>
                    </a:lnTo>
                    <a:lnTo>
                      <a:pt x="67" y="419"/>
                    </a:lnTo>
                    <a:lnTo>
                      <a:pt x="67" y="421"/>
                    </a:lnTo>
                    <a:lnTo>
                      <a:pt x="69" y="419"/>
                    </a:lnTo>
                    <a:lnTo>
                      <a:pt x="69" y="421"/>
                    </a:lnTo>
                    <a:lnTo>
                      <a:pt x="67" y="421"/>
                    </a:lnTo>
                    <a:lnTo>
                      <a:pt x="69" y="421"/>
                    </a:lnTo>
                    <a:lnTo>
                      <a:pt x="67" y="421"/>
                    </a:lnTo>
                    <a:lnTo>
                      <a:pt x="69" y="421"/>
                    </a:lnTo>
                    <a:lnTo>
                      <a:pt x="67" y="421"/>
                    </a:lnTo>
                    <a:lnTo>
                      <a:pt x="69" y="421"/>
                    </a:lnTo>
                    <a:lnTo>
                      <a:pt x="69" y="423"/>
                    </a:lnTo>
                    <a:lnTo>
                      <a:pt x="69" y="425"/>
                    </a:lnTo>
                    <a:lnTo>
                      <a:pt x="69" y="423"/>
                    </a:lnTo>
                    <a:lnTo>
                      <a:pt x="67" y="425"/>
                    </a:lnTo>
                    <a:lnTo>
                      <a:pt x="67" y="423"/>
                    </a:lnTo>
                    <a:lnTo>
                      <a:pt x="67" y="425"/>
                    </a:lnTo>
                    <a:lnTo>
                      <a:pt x="67" y="423"/>
                    </a:lnTo>
                    <a:lnTo>
                      <a:pt x="65" y="423"/>
                    </a:lnTo>
                    <a:lnTo>
                      <a:pt x="65" y="425"/>
                    </a:lnTo>
                    <a:lnTo>
                      <a:pt x="67" y="425"/>
                    </a:lnTo>
                    <a:lnTo>
                      <a:pt x="69" y="427"/>
                    </a:lnTo>
                    <a:lnTo>
                      <a:pt x="67" y="427"/>
                    </a:lnTo>
                    <a:lnTo>
                      <a:pt x="69" y="427"/>
                    </a:lnTo>
                    <a:lnTo>
                      <a:pt x="67" y="427"/>
                    </a:lnTo>
                    <a:lnTo>
                      <a:pt x="69" y="427"/>
                    </a:lnTo>
                    <a:lnTo>
                      <a:pt x="69" y="429"/>
                    </a:lnTo>
                    <a:lnTo>
                      <a:pt x="67" y="429"/>
                    </a:lnTo>
                    <a:lnTo>
                      <a:pt x="65" y="429"/>
                    </a:lnTo>
                    <a:lnTo>
                      <a:pt x="63" y="429"/>
                    </a:lnTo>
                    <a:lnTo>
                      <a:pt x="65" y="429"/>
                    </a:lnTo>
                    <a:lnTo>
                      <a:pt x="63" y="429"/>
                    </a:lnTo>
                    <a:lnTo>
                      <a:pt x="63" y="431"/>
                    </a:lnTo>
                    <a:lnTo>
                      <a:pt x="63" y="429"/>
                    </a:lnTo>
                    <a:lnTo>
                      <a:pt x="65" y="429"/>
                    </a:lnTo>
                    <a:lnTo>
                      <a:pt x="65" y="431"/>
                    </a:lnTo>
                    <a:lnTo>
                      <a:pt x="65" y="429"/>
                    </a:lnTo>
                    <a:lnTo>
                      <a:pt x="67" y="429"/>
                    </a:lnTo>
                    <a:lnTo>
                      <a:pt x="67" y="431"/>
                    </a:lnTo>
                    <a:lnTo>
                      <a:pt x="67" y="429"/>
                    </a:lnTo>
                    <a:lnTo>
                      <a:pt x="67" y="431"/>
                    </a:lnTo>
                    <a:lnTo>
                      <a:pt x="67" y="429"/>
                    </a:lnTo>
                    <a:lnTo>
                      <a:pt x="67" y="431"/>
                    </a:lnTo>
                    <a:lnTo>
                      <a:pt x="69" y="431"/>
                    </a:lnTo>
                    <a:lnTo>
                      <a:pt x="69" y="433"/>
                    </a:lnTo>
                    <a:lnTo>
                      <a:pt x="69" y="431"/>
                    </a:lnTo>
                    <a:lnTo>
                      <a:pt x="67" y="431"/>
                    </a:lnTo>
                    <a:lnTo>
                      <a:pt x="69" y="431"/>
                    </a:lnTo>
                    <a:lnTo>
                      <a:pt x="67" y="431"/>
                    </a:lnTo>
                    <a:lnTo>
                      <a:pt x="67" y="429"/>
                    </a:lnTo>
                    <a:lnTo>
                      <a:pt x="67" y="431"/>
                    </a:lnTo>
                    <a:lnTo>
                      <a:pt x="69" y="431"/>
                    </a:lnTo>
                    <a:lnTo>
                      <a:pt x="69" y="429"/>
                    </a:lnTo>
                    <a:lnTo>
                      <a:pt x="69" y="431"/>
                    </a:lnTo>
                    <a:lnTo>
                      <a:pt x="69" y="429"/>
                    </a:lnTo>
                    <a:lnTo>
                      <a:pt x="69" y="431"/>
                    </a:lnTo>
                    <a:lnTo>
                      <a:pt x="69" y="429"/>
                    </a:lnTo>
                    <a:lnTo>
                      <a:pt x="69" y="431"/>
                    </a:lnTo>
                    <a:lnTo>
                      <a:pt x="71" y="431"/>
                    </a:lnTo>
                    <a:lnTo>
                      <a:pt x="71" y="433"/>
                    </a:lnTo>
                    <a:lnTo>
                      <a:pt x="71" y="431"/>
                    </a:lnTo>
                    <a:lnTo>
                      <a:pt x="69" y="431"/>
                    </a:lnTo>
                    <a:lnTo>
                      <a:pt x="69" y="433"/>
                    </a:lnTo>
                    <a:lnTo>
                      <a:pt x="69" y="431"/>
                    </a:lnTo>
                    <a:lnTo>
                      <a:pt x="69" y="433"/>
                    </a:lnTo>
                    <a:lnTo>
                      <a:pt x="71" y="433"/>
                    </a:lnTo>
                    <a:lnTo>
                      <a:pt x="69" y="433"/>
                    </a:lnTo>
                    <a:lnTo>
                      <a:pt x="71" y="433"/>
                    </a:lnTo>
                    <a:lnTo>
                      <a:pt x="71" y="435"/>
                    </a:lnTo>
                    <a:lnTo>
                      <a:pt x="69" y="435"/>
                    </a:lnTo>
                    <a:lnTo>
                      <a:pt x="71" y="435"/>
                    </a:lnTo>
                    <a:lnTo>
                      <a:pt x="69" y="435"/>
                    </a:lnTo>
                    <a:lnTo>
                      <a:pt x="71" y="435"/>
                    </a:lnTo>
                    <a:lnTo>
                      <a:pt x="69" y="435"/>
                    </a:lnTo>
                    <a:lnTo>
                      <a:pt x="69" y="437"/>
                    </a:lnTo>
                    <a:lnTo>
                      <a:pt x="69" y="435"/>
                    </a:lnTo>
                    <a:lnTo>
                      <a:pt x="69" y="437"/>
                    </a:lnTo>
                    <a:lnTo>
                      <a:pt x="67" y="437"/>
                    </a:lnTo>
                    <a:lnTo>
                      <a:pt x="67" y="438"/>
                    </a:lnTo>
                    <a:lnTo>
                      <a:pt x="67" y="437"/>
                    </a:lnTo>
                    <a:lnTo>
                      <a:pt x="67" y="438"/>
                    </a:lnTo>
                    <a:lnTo>
                      <a:pt x="65" y="437"/>
                    </a:lnTo>
                    <a:lnTo>
                      <a:pt x="65" y="438"/>
                    </a:lnTo>
                    <a:lnTo>
                      <a:pt x="67" y="438"/>
                    </a:lnTo>
                    <a:lnTo>
                      <a:pt x="67" y="440"/>
                    </a:lnTo>
                    <a:lnTo>
                      <a:pt x="65" y="440"/>
                    </a:lnTo>
                    <a:lnTo>
                      <a:pt x="67" y="440"/>
                    </a:lnTo>
                    <a:lnTo>
                      <a:pt x="67" y="442"/>
                    </a:lnTo>
                    <a:lnTo>
                      <a:pt x="67" y="440"/>
                    </a:lnTo>
                    <a:lnTo>
                      <a:pt x="65" y="440"/>
                    </a:lnTo>
                    <a:lnTo>
                      <a:pt x="65" y="442"/>
                    </a:lnTo>
                    <a:lnTo>
                      <a:pt x="67" y="442"/>
                    </a:lnTo>
                    <a:lnTo>
                      <a:pt x="67" y="444"/>
                    </a:lnTo>
                    <a:lnTo>
                      <a:pt x="67" y="442"/>
                    </a:lnTo>
                    <a:lnTo>
                      <a:pt x="67" y="444"/>
                    </a:lnTo>
                    <a:lnTo>
                      <a:pt x="67" y="442"/>
                    </a:lnTo>
                    <a:lnTo>
                      <a:pt x="67" y="444"/>
                    </a:lnTo>
                    <a:lnTo>
                      <a:pt x="67" y="442"/>
                    </a:lnTo>
                    <a:lnTo>
                      <a:pt x="67" y="444"/>
                    </a:lnTo>
                    <a:lnTo>
                      <a:pt x="69" y="444"/>
                    </a:lnTo>
                    <a:lnTo>
                      <a:pt x="69" y="442"/>
                    </a:lnTo>
                    <a:lnTo>
                      <a:pt x="69" y="440"/>
                    </a:lnTo>
                    <a:lnTo>
                      <a:pt x="69" y="442"/>
                    </a:lnTo>
                    <a:lnTo>
                      <a:pt x="69" y="440"/>
                    </a:lnTo>
                    <a:lnTo>
                      <a:pt x="69" y="438"/>
                    </a:lnTo>
                    <a:lnTo>
                      <a:pt x="69" y="440"/>
                    </a:lnTo>
                    <a:lnTo>
                      <a:pt x="69" y="438"/>
                    </a:lnTo>
                    <a:lnTo>
                      <a:pt x="69" y="437"/>
                    </a:lnTo>
                    <a:lnTo>
                      <a:pt x="69" y="438"/>
                    </a:lnTo>
                    <a:lnTo>
                      <a:pt x="71" y="438"/>
                    </a:lnTo>
                    <a:lnTo>
                      <a:pt x="71" y="440"/>
                    </a:lnTo>
                    <a:lnTo>
                      <a:pt x="71" y="438"/>
                    </a:lnTo>
                    <a:lnTo>
                      <a:pt x="71" y="440"/>
                    </a:lnTo>
                    <a:lnTo>
                      <a:pt x="71" y="438"/>
                    </a:lnTo>
                    <a:lnTo>
                      <a:pt x="71" y="437"/>
                    </a:lnTo>
                    <a:lnTo>
                      <a:pt x="69" y="437"/>
                    </a:lnTo>
                    <a:lnTo>
                      <a:pt x="69" y="438"/>
                    </a:lnTo>
                    <a:lnTo>
                      <a:pt x="69" y="437"/>
                    </a:lnTo>
                    <a:lnTo>
                      <a:pt x="71" y="437"/>
                    </a:lnTo>
                    <a:lnTo>
                      <a:pt x="71" y="438"/>
                    </a:lnTo>
                    <a:lnTo>
                      <a:pt x="71" y="437"/>
                    </a:lnTo>
                    <a:lnTo>
                      <a:pt x="71" y="438"/>
                    </a:lnTo>
                    <a:lnTo>
                      <a:pt x="71" y="437"/>
                    </a:lnTo>
                    <a:lnTo>
                      <a:pt x="69" y="437"/>
                    </a:lnTo>
                    <a:lnTo>
                      <a:pt x="71" y="437"/>
                    </a:lnTo>
                    <a:lnTo>
                      <a:pt x="69" y="437"/>
                    </a:lnTo>
                    <a:lnTo>
                      <a:pt x="71" y="437"/>
                    </a:lnTo>
                    <a:lnTo>
                      <a:pt x="71" y="435"/>
                    </a:lnTo>
                    <a:lnTo>
                      <a:pt x="71" y="433"/>
                    </a:lnTo>
                    <a:lnTo>
                      <a:pt x="71" y="435"/>
                    </a:lnTo>
                    <a:lnTo>
                      <a:pt x="71" y="437"/>
                    </a:lnTo>
                    <a:lnTo>
                      <a:pt x="71" y="435"/>
                    </a:lnTo>
                    <a:lnTo>
                      <a:pt x="71" y="437"/>
                    </a:lnTo>
                    <a:lnTo>
                      <a:pt x="71" y="435"/>
                    </a:lnTo>
                    <a:lnTo>
                      <a:pt x="71" y="437"/>
                    </a:lnTo>
                    <a:lnTo>
                      <a:pt x="71" y="435"/>
                    </a:lnTo>
                    <a:lnTo>
                      <a:pt x="71" y="433"/>
                    </a:lnTo>
                    <a:lnTo>
                      <a:pt x="73" y="433"/>
                    </a:lnTo>
                    <a:lnTo>
                      <a:pt x="73" y="431"/>
                    </a:lnTo>
                    <a:lnTo>
                      <a:pt x="73" y="433"/>
                    </a:lnTo>
                    <a:lnTo>
                      <a:pt x="73" y="431"/>
                    </a:lnTo>
                    <a:lnTo>
                      <a:pt x="71" y="431"/>
                    </a:lnTo>
                    <a:lnTo>
                      <a:pt x="73" y="433"/>
                    </a:lnTo>
                    <a:lnTo>
                      <a:pt x="73" y="431"/>
                    </a:lnTo>
                    <a:lnTo>
                      <a:pt x="71" y="431"/>
                    </a:lnTo>
                    <a:lnTo>
                      <a:pt x="73" y="431"/>
                    </a:lnTo>
                    <a:lnTo>
                      <a:pt x="71" y="431"/>
                    </a:lnTo>
                    <a:lnTo>
                      <a:pt x="71" y="429"/>
                    </a:lnTo>
                    <a:lnTo>
                      <a:pt x="71" y="431"/>
                    </a:lnTo>
                    <a:lnTo>
                      <a:pt x="71" y="429"/>
                    </a:lnTo>
                    <a:lnTo>
                      <a:pt x="71" y="431"/>
                    </a:lnTo>
                    <a:lnTo>
                      <a:pt x="73" y="431"/>
                    </a:lnTo>
                    <a:lnTo>
                      <a:pt x="73" y="429"/>
                    </a:lnTo>
                    <a:lnTo>
                      <a:pt x="71" y="429"/>
                    </a:lnTo>
                    <a:lnTo>
                      <a:pt x="73" y="429"/>
                    </a:lnTo>
                    <a:lnTo>
                      <a:pt x="73" y="431"/>
                    </a:lnTo>
                    <a:lnTo>
                      <a:pt x="73" y="429"/>
                    </a:lnTo>
                    <a:lnTo>
                      <a:pt x="73" y="431"/>
                    </a:lnTo>
                    <a:lnTo>
                      <a:pt x="75" y="431"/>
                    </a:lnTo>
                    <a:lnTo>
                      <a:pt x="73" y="433"/>
                    </a:lnTo>
                    <a:lnTo>
                      <a:pt x="71" y="433"/>
                    </a:lnTo>
                    <a:lnTo>
                      <a:pt x="71" y="435"/>
                    </a:lnTo>
                    <a:lnTo>
                      <a:pt x="71" y="437"/>
                    </a:lnTo>
                    <a:lnTo>
                      <a:pt x="71" y="438"/>
                    </a:lnTo>
                    <a:lnTo>
                      <a:pt x="71" y="440"/>
                    </a:lnTo>
                    <a:lnTo>
                      <a:pt x="71" y="442"/>
                    </a:lnTo>
                    <a:lnTo>
                      <a:pt x="71" y="440"/>
                    </a:lnTo>
                    <a:lnTo>
                      <a:pt x="71" y="442"/>
                    </a:lnTo>
                    <a:lnTo>
                      <a:pt x="69" y="442"/>
                    </a:lnTo>
                    <a:lnTo>
                      <a:pt x="69" y="444"/>
                    </a:lnTo>
                    <a:lnTo>
                      <a:pt x="67" y="446"/>
                    </a:lnTo>
                    <a:lnTo>
                      <a:pt x="65" y="448"/>
                    </a:lnTo>
                    <a:lnTo>
                      <a:pt x="67" y="448"/>
                    </a:lnTo>
                    <a:lnTo>
                      <a:pt x="67" y="450"/>
                    </a:lnTo>
                    <a:lnTo>
                      <a:pt x="65" y="450"/>
                    </a:lnTo>
                    <a:lnTo>
                      <a:pt x="65" y="452"/>
                    </a:lnTo>
                    <a:lnTo>
                      <a:pt x="65" y="450"/>
                    </a:lnTo>
                    <a:lnTo>
                      <a:pt x="67" y="450"/>
                    </a:lnTo>
                    <a:lnTo>
                      <a:pt x="67" y="452"/>
                    </a:lnTo>
                    <a:lnTo>
                      <a:pt x="65" y="452"/>
                    </a:lnTo>
                    <a:lnTo>
                      <a:pt x="67" y="452"/>
                    </a:lnTo>
                    <a:lnTo>
                      <a:pt x="65" y="452"/>
                    </a:lnTo>
                    <a:lnTo>
                      <a:pt x="65" y="454"/>
                    </a:lnTo>
                    <a:lnTo>
                      <a:pt x="65" y="452"/>
                    </a:lnTo>
                    <a:lnTo>
                      <a:pt x="65" y="454"/>
                    </a:lnTo>
                    <a:lnTo>
                      <a:pt x="63" y="454"/>
                    </a:lnTo>
                    <a:lnTo>
                      <a:pt x="60" y="452"/>
                    </a:lnTo>
                    <a:lnTo>
                      <a:pt x="52" y="452"/>
                    </a:lnTo>
                    <a:lnTo>
                      <a:pt x="50" y="452"/>
                    </a:lnTo>
                    <a:lnTo>
                      <a:pt x="46" y="454"/>
                    </a:lnTo>
                    <a:lnTo>
                      <a:pt x="42" y="454"/>
                    </a:lnTo>
                    <a:lnTo>
                      <a:pt x="35" y="452"/>
                    </a:lnTo>
                    <a:lnTo>
                      <a:pt x="31" y="452"/>
                    </a:lnTo>
                    <a:lnTo>
                      <a:pt x="29" y="456"/>
                    </a:lnTo>
                    <a:lnTo>
                      <a:pt x="27" y="454"/>
                    </a:lnTo>
                    <a:lnTo>
                      <a:pt x="21" y="454"/>
                    </a:lnTo>
                    <a:lnTo>
                      <a:pt x="21" y="452"/>
                    </a:lnTo>
                    <a:lnTo>
                      <a:pt x="17" y="450"/>
                    </a:lnTo>
                    <a:lnTo>
                      <a:pt x="17" y="448"/>
                    </a:lnTo>
                    <a:lnTo>
                      <a:pt x="19" y="446"/>
                    </a:lnTo>
                    <a:lnTo>
                      <a:pt x="21" y="440"/>
                    </a:lnTo>
                    <a:lnTo>
                      <a:pt x="19" y="440"/>
                    </a:lnTo>
                    <a:lnTo>
                      <a:pt x="19" y="438"/>
                    </a:lnTo>
                    <a:lnTo>
                      <a:pt x="17" y="438"/>
                    </a:lnTo>
                    <a:lnTo>
                      <a:pt x="17" y="437"/>
                    </a:lnTo>
                    <a:lnTo>
                      <a:pt x="15" y="435"/>
                    </a:lnTo>
                    <a:lnTo>
                      <a:pt x="11" y="433"/>
                    </a:lnTo>
                    <a:lnTo>
                      <a:pt x="10" y="435"/>
                    </a:lnTo>
                    <a:lnTo>
                      <a:pt x="8" y="435"/>
                    </a:lnTo>
                    <a:lnTo>
                      <a:pt x="6" y="433"/>
                    </a:lnTo>
                    <a:lnTo>
                      <a:pt x="2" y="433"/>
                    </a:lnTo>
                    <a:lnTo>
                      <a:pt x="2" y="431"/>
                    </a:lnTo>
                    <a:lnTo>
                      <a:pt x="0" y="429"/>
                    </a:lnTo>
                    <a:lnTo>
                      <a:pt x="0" y="427"/>
                    </a:lnTo>
                    <a:lnTo>
                      <a:pt x="0" y="425"/>
                    </a:lnTo>
                    <a:lnTo>
                      <a:pt x="2" y="423"/>
                    </a:lnTo>
                    <a:lnTo>
                      <a:pt x="2" y="421"/>
                    </a:lnTo>
                    <a:lnTo>
                      <a:pt x="4" y="421"/>
                    </a:lnTo>
                    <a:lnTo>
                      <a:pt x="6" y="421"/>
                    </a:lnTo>
                    <a:lnTo>
                      <a:pt x="8" y="419"/>
                    </a:lnTo>
                    <a:lnTo>
                      <a:pt x="10" y="417"/>
                    </a:lnTo>
                    <a:lnTo>
                      <a:pt x="10" y="415"/>
                    </a:lnTo>
                    <a:lnTo>
                      <a:pt x="11" y="415"/>
                    </a:lnTo>
                    <a:lnTo>
                      <a:pt x="11" y="414"/>
                    </a:lnTo>
                    <a:lnTo>
                      <a:pt x="11" y="412"/>
                    </a:lnTo>
                    <a:lnTo>
                      <a:pt x="10" y="410"/>
                    </a:lnTo>
                    <a:lnTo>
                      <a:pt x="10" y="408"/>
                    </a:lnTo>
                    <a:lnTo>
                      <a:pt x="11" y="406"/>
                    </a:lnTo>
                    <a:lnTo>
                      <a:pt x="13" y="404"/>
                    </a:lnTo>
                    <a:lnTo>
                      <a:pt x="15" y="400"/>
                    </a:lnTo>
                    <a:lnTo>
                      <a:pt x="19" y="392"/>
                    </a:lnTo>
                    <a:lnTo>
                      <a:pt x="19" y="390"/>
                    </a:lnTo>
                    <a:lnTo>
                      <a:pt x="21" y="389"/>
                    </a:lnTo>
                    <a:lnTo>
                      <a:pt x="23" y="385"/>
                    </a:lnTo>
                    <a:lnTo>
                      <a:pt x="21" y="385"/>
                    </a:lnTo>
                    <a:lnTo>
                      <a:pt x="19" y="383"/>
                    </a:lnTo>
                    <a:lnTo>
                      <a:pt x="17" y="381"/>
                    </a:lnTo>
                    <a:lnTo>
                      <a:pt x="15" y="381"/>
                    </a:lnTo>
                    <a:lnTo>
                      <a:pt x="13" y="379"/>
                    </a:lnTo>
                    <a:lnTo>
                      <a:pt x="13" y="377"/>
                    </a:lnTo>
                    <a:lnTo>
                      <a:pt x="13" y="373"/>
                    </a:lnTo>
                    <a:lnTo>
                      <a:pt x="13" y="371"/>
                    </a:lnTo>
                    <a:lnTo>
                      <a:pt x="15" y="369"/>
                    </a:lnTo>
                    <a:lnTo>
                      <a:pt x="13" y="367"/>
                    </a:lnTo>
                    <a:lnTo>
                      <a:pt x="13" y="365"/>
                    </a:lnTo>
                    <a:lnTo>
                      <a:pt x="13" y="364"/>
                    </a:lnTo>
                    <a:lnTo>
                      <a:pt x="15" y="364"/>
                    </a:lnTo>
                    <a:lnTo>
                      <a:pt x="13" y="362"/>
                    </a:lnTo>
                    <a:lnTo>
                      <a:pt x="13" y="360"/>
                    </a:lnTo>
                    <a:lnTo>
                      <a:pt x="11" y="358"/>
                    </a:lnTo>
                    <a:lnTo>
                      <a:pt x="11" y="356"/>
                    </a:lnTo>
                    <a:lnTo>
                      <a:pt x="11" y="354"/>
                    </a:lnTo>
                    <a:lnTo>
                      <a:pt x="10" y="354"/>
                    </a:lnTo>
                    <a:lnTo>
                      <a:pt x="10" y="352"/>
                    </a:lnTo>
                    <a:lnTo>
                      <a:pt x="11" y="352"/>
                    </a:lnTo>
                    <a:lnTo>
                      <a:pt x="13" y="352"/>
                    </a:lnTo>
                    <a:lnTo>
                      <a:pt x="15" y="352"/>
                    </a:lnTo>
                    <a:lnTo>
                      <a:pt x="17" y="352"/>
                    </a:lnTo>
                    <a:lnTo>
                      <a:pt x="19" y="352"/>
                    </a:lnTo>
                    <a:lnTo>
                      <a:pt x="19" y="350"/>
                    </a:lnTo>
                    <a:lnTo>
                      <a:pt x="21" y="350"/>
                    </a:lnTo>
                    <a:lnTo>
                      <a:pt x="23" y="350"/>
                    </a:lnTo>
                    <a:lnTo>
                      <a:pt x="25" y="350"/>
                    </a:lnTo>
                    <a:lnTo>
                      <a:pt x="27" y="350"/>
                    </a:lnTo>
                    <a:lnTo>
                      <a:pt x="29" y="350"/>
                    </a:lnTo>
                    <a:lnTo>
                      <a:pt x="31" y="350"/>
                    </a:lnTo>
                    <a:lnTo>
                      <a:pt x="33" y="350"/>
                    </a:lnTo>
                    <a:lnTo>
                      <a:pt x="33" y="352"/>
                    </a:lnTo>
                    <a:lnTo>
                      <a:pt x="33" y="350"/>
                    </a:lnTo>
                    <a:lnTo>
                      <a:pt x="33" y="348"/>
                    </a:lnTo>
                    <a:lnTo>
                      <a:pt x="35" y="346"/>
                    </a:lnTo>
                    <a:lnTo>
                      <a:pt x="36" y="346"/>
                    </a:lnTo>
                    <a:lnTo>
                      <a:pt x="36" y="344"/>
                    </a:lnTo>
                    <a:lnTo>
                      <a:pt x="35" y="344"/>
                    </a:lnTo>
                    <a:lnTo>
                      <a:pt x="35" y="342"/>
                    </a:lnTo>
                    <a:lnTo>
                      <a:pt x="36" y="342"/>
                    </a:lnTo>
                    <a:lnTo>
                      <a:pt x="36" y="340"/>
                    </a:lnTo>
                    <a:lnTo>
                      <a:pt x="38" y="340"/>
                    </a:lnTo>
                    <a:lnTo>
                      <a:pt x="38" y="339"/>
                    </a:lnTo>
                    <a:lnTo>
                      <a:pt x="40" y="339"/>
                    </a:lnTo>
                    <a:lnTo>
                      <a:pt x="40" y="337"/>
                    </a:lnTo>
                    <a:lnTo>
                      <a:pt x="42" y="337"/>
                    </a:lnTo>
                    <a:lnTo>
                      <a:pt x="42" y="335"/>
                    </a:lnTo>
                    <a:lnTo>
                      <a:pt x="44" y="333"/>
                    </a:lnTo>
                    <a:lnTo>
                      <a:pt x="46" y="333"/>
                    </a:lnTo>
                    <a:lnTo>
                      <a:pt x="46" y="331"/>
                    </a:lnTo>
                    <a:lnTo>
                      <a:pt x="48" y="331"/>
                    </a:lnTo>
                    <a:lnTo>
                      <a:pt x="50" y="331"/>
                    </a:lnTo>
                    <a:lnTo>
                      <a:pt x="50" y="333"/>
                    </a:lnTo>
                    <a:lnTo>
                      <a:pt x="52" y="333"/>
                    </a:lnTo>
                    <a:lnTo>
                      <a:pt x="52" y="331"/>
                    </a:lnTo>
                    <a:lnTo>
                      <a:pt x="52" y="329"/>
                    </a:lnTo>
                    <a:lnTo>
                      <a:pt x="52" y="327"/>
                    </a:lnTo>
                    <a:lnTo>
                      <a:pt x="54" y="327"/>
                    </a:lnTo>
                    <a:lnTo>
                      <a:pt x="54" y="325"/>
                    </a:lnTo>
                    <a:lnTo>
                      <a:pt x="56" y="325"/>
                    </a:lnTo>
                    <a:lnTo>
                      <a:pt x="56" y="323"/>
                    </a:lnTo>
                    <a:lnTo>
                      <a:pt x="58" y="323"/>
                    </a:lnTo>
                    <a:lnTo>
                      <a:pt x="58" y="321"/>
                    </a:lnTo>
                    <a:lnTo>
                      <a:pt x="60" y="321"/>
                    </a:lnTo>
                    <a:lnTo>
                      <a:pt x="60" y="319"/>
                    </a:lnTo>
                    <a:lnTo>
                      <a:pt x="61" y="319"/>
                    </a:lnTo>
                    <a:lnTo>
                      <a:pt x="61" y="321"/>
                    </a:lnTo>
                    <a:lnTo>
                      <a:pt x="63" y="321"/>
                    </a:lnTo>
                    <a:lnTo>
                      <a:pt x="65" y="319"/>
                    </a:lnTo>
                    <a:lnTo>
                      <a:pt x="67" y="319"/>
                    </a:lnTo>
                    <a:lnTo>
                      <a:pt x="69" y="319"/>
                    </a:lnTo>
                    <a:lnTo>
                      <a:pt x="71" y="319"/>
                    </a:lnTo>
                    <a:lnTo>
                      <a:pt x="71" y="317"/>
                    </a:lnTo>
                    <a:lnTo>
                      <a:pt x="73" y="317"/>
                    </a:lnTo>
                    <a:lnTo>
                      <a:pt x="75" y="315"/>
                    </a:lnTo>
                    <a:lnTo>
                      <a:pt x="77" y="315"/>
                    </a:lnTo>
                    <a:lnTo>
                      <a:pt x="79" y="315"/>
                    </a:lnTo>
                    <a:lnTo>
                      <a:pt x="81" y="315"/>
                    </a:lnTo>
                    <a:lnTo>
                      <a:pt x="83" y="315"/>
                    </a:lnTo>
                    <a:lnTo>
                      <a:pt x="83" y="317"/>
                    </a:lnTo>
                    <a:lnTo>
                      <a:pt x="85" y="315"/>
                    </a:lnTo>
                    <a:lnTo>
                      <a:pt x="86" y="315"/>
                    </a:lnTo>
                    <a:lnTo>
                      <a:pt x="86" y="314"/>
                    </a:lnTo>
                    <a:lnTo>
                      <a:pt x="88" y="314"/>
                    </a:lnTo>
                    <a:lnTo>
                      <a:pt x="90" y="314"/>
                    </a:lnTo>
                    <a:lnTo>
                      <a:pt x="90" y="315"/>
                    </a:lnTo>
                    <a:lnTo>
                      <a:pt x="92" y="314"/>
                    </a:lnTo>
                    <a:lnTo>
                      <a:pt x="92" y="312"/>
                    </a:lnTo>
                    <a:lnTo>
                      <a:pt x="94" y="310"/>
                    </a:lnTo>
                    <a:lnTo>
                      <a:pt x="96" y="310"/>
                    </a:lnTo>
                    <a:lnTo>
                      <a:pt x="96" y="312"/>
                    </a:lnTo>
                    <a:lnTo>
                      <a:pt x="98" y="310"/>
                    </a:lnTo>
                    <a:lnTo>
                      <a:pt x="100" y="310"/>
                    </a:lnTo>
                    <a:lnTo>
                      <a:pt x="102" y="310"/>
                    </a:lnTo>
                    <a:lnTo>
                      <a:pt x="104" y="310"/>
                    </a:lnTo>
                    <a:lnTo>
                      <a:pt x="106" y="310"/>
                    </a:lnTo>
                    <a:lnTo>
                      <a:pt x="108" y="310"/>
                    </a:lnTo>
                    <a:lnTo>
                      <a:pt x="108" y="308"/>
                    </a:lnTo>
                    <a:lnTo>
                      <a:pt x="109" y="308"/>
                    </a:lnTo>
                    <a:lnTo>
                      <a:pt x="109" y="306"/>
                    </a:lnTo>
                    <a:lnTo>
                      <a:pt x="111" y="306"/>
                    </a:lnTo>
                    <a:lnTo>
                      <a:pt x="111" y="304"/>
                    </a:lnTo>
                    <a:lnTo>
                      <a:pt x="109" y="304"/>
                    </a:lnTo>
                    <a:lnTo>
                      <a:pt x="111" y="302"/>
                    </a:lnTo>
                    <a:lnTo>
                      <a:pt x="111" y="300"/>
                    </a:lnTo>
                    <a:lnTo>
                      <a:pt x="113" y="298"/>
                    </a:lnTo>
                    <a:lnTo>
                      <a:pt x="115" y="298"/>
                    </a:lnTo>
                    <a:lnTo>
                      <a:pt x="115" y="296"/>
                    </a:lnTo>
                    <a:lnTo>
                      <a:pt x="115" y="294"/>
                    </a:lnTo>
                    <a:lnTo>
                      <a:pt x="117" y="294"/>
                    </a:lnTo>
                    <a:lnTo>
                      <a:pt x="119" y="292"/>
                    </a:lnTo>
                    <a:lnTo>
                      <a:pt x="121" y="292"/>
                    </a:lnTo>
                    <a:lnTo>
                      <a:pt x="123" y="292"/>
                    </a:lnTo>
                    <a:lnTo>
                      <a:pt x="125" y="290"/>
                    </a:lnTo>
                    <a:lnTo>
                      <a:pt x="127" y="290"/>
                    </a:lnTo>
                    <a:lnTo>
                      <a:pt x="127" y="289"/>
                    </a:lnTo>
                    <a:lnTo>
                      <a:pt x="129" y="289"/>
                    </a:lnTo>
                    <a:lnTo>
                      <a:pt x="131" y="287"/>
                    </a:lnTo>
                    <a:lnTo>
                      <a:pt x="133" y="287"/>
                    </a:lnTo>
                    <a:lnTo>
                      <a:pt x="133" y="285"/>
                    </a:lnTo>
                    <a:lnTo>
                      <a:pt x="134" y="285"/>
                    </a:lnTo>
                    <a:lnTo>
                      <a:pt x="136" y="285"/>
                    </a:lnTo>
                    <a:lnTo>
                      <a:pt x="138" y="285"/>
                    </a:lnTo>
                    <a:lnTo>
                      <a:pt x="140" y="285"/>
                    </a:lnTo>
                    <a:lnTo>
                      <a:pt x="142" y="283"/>
                    </a:lnTo>
                    <a:lnTo>
                      <a:pt x="142" y="281"/>
                    </a:lnTo>
                    <a:lnTo>
                      <a:pt x="144" y="281"/>
                    </a:lnTo>
                    <a:lnTo>
                      <a:pt x="144" y="279"/>
                    </a:lnTo>
                    <a:lnTo>
                      <a:pt x="144" y="277"/>
                    </a:lnTo>
                    <a:lnTo>
                      <a:pt x="144" y="275"/>
                    </a:lnTo>
                    <a:lnTo>
                      <a:pt x="142" y="275"/>
                    </a:lnTo>
                    <a:lnTo>
                      <a:pt x="140" y="275"/>
                    </a:lnTo>
                    <a:lnTo>
                      <a:pt x="140" y="277"/>
                    </a:lnTo>
                    <a:lnTo>
                      <a:pt x="138" y="277"/>
                    </a:lnTo>
                    <a:lnTo>
                      <a:pt x="138" y="275"/>
                    </a:lnTo>
                    <a:lnTo>
                      <a:pt x="138" y="273"/>
                    </a:lnTo>
                    <a:lnTo>
                      <a:pt x="140" y="271"/>
                    </a:lnTo>
                    <a:lnTo>
                      <a:pt x="138" y="271"/>
                    </a:lnTo>
                    <a:lnTo>
                      <a:pt x="138" y="269"/>
                    </a:lnTo>
                    <a:lnTo>
                      <a:pt x="140" y="269"/>
                    </a:lnTo>
                    <a:lnTo>
                      <a:pt x="142" y="269"/>
                    </a:lnTo>
                    <a:lnTo>
                      <a:pt x="144" y="269"/>
                    </a:lnTo>
                    <a:lnTo>
                      <a:pt x="146" y="269"/>
                    </a:lnTo>
                    <a:lnTo>
                      <a:pt x="146" y="271"/>
                    </a:lnTo>
                    <a:lnTo>
                      <a:pt x="148" y="271"/>
                    </a:lnTo>
                    <a:lnTo>
                      <a:pt x="150" y="271"/>
                    </a:lnTo>
                    <a:lnTo>
                      <a:pt x="150" y="269"/>
                    </a:lnTo>
                    <a:lnTo>
                      <a:pt x="152" y="267"/>
                    </a:lnTo>
                    <a:lnTo>
                      <a:pt x="152" y="265"/>
                    </a:lnTo>
                    <a:lnTo>
                      <a:pt x="150" y="265"/>
                    </a:lnTo>
                    <a:lnTo>
                      <a:pt x="150" y="264"/>
                    </a:lnTo>
                    <a:lnTo>
                      <a:pt x="148" y="264"/>
                    </a:lnTo>
                    <a:lnTo>
                      <a:pt x="148" y="262"/>
                    </a:lnTo>
                    <a:lnTo>
                      <a:pt x="150" y="262"/>
                    </a:lnTo>
                    <a:lnTo>
                      <a:pt x="150" y="260"/>
                    </a:lnTo>
                    <a:lnTo>
                      <a:pt x="150" y="258"/>
                    </a:lnTo>
                    <a:lnTo>
                      <a:pt x="150" y="256"/>
                    </a:lnTo>
                    <a:lnTo>
                      <a:pt x="150" y="254"/>
                    </a:lnTo>
                    <a:lnTo>
                      <a:pt x="148" y="254"/>
                    </a:lnTo>
                    <a:lnTo>
                      <a:pt x="148" y="252"/>
                    </a:lnTo>
                    <a:lnTo>
                      <a:pt x="146" y="254"/>
                    </a:lnTo>
                    <a:lnTo>
                      <a:pt x="144" y="254"/>
                    </a:lnTo>
                    <a:lnTo>
                      <a:pt x="142" y="254"/>
                    </a:lnTo>
                    <a:lnTo>
                      <a:pt x="142" y="252"/>
                    </a:lnTo>
                    <a:lnTo>
                      <a:pt x="140" y="252"/>
                    </a:lnTo>
                    <a:lnTo>
                      <a:pt x="138" y="252"/>
                    </a:lnTo>
                    <a:lnTo>
                      <a:pt x="136" y="252"/>
                    </a:lnTo>
                    <a:lnTo>
                      <a:pt x="134" y="252"/>
                    </a:lnTo>
                    <a:lnTo>
                      <a:pt x="134" y="250"/>
                    </a:lnTo>
                    <a:lnTo>
                      <a:pt x="134" y="248"/>
                    </a:lnTo>
                    <a:lnTo>
                      <a:pt x="134" y="246"/>
                    </a:lnTo>
                    <a:lnTo>
                      <a:pt x="134" y="244"/>
                    </a:lnTo>
                    <a:lnTo>
                      <a:pt x="134" y="242"/>
                    </a:lnTo>
                    <a:lnTo>
                      <a:pt x="136" y="242"/>
                    </a:lnTo>
                    <a:lnTo>
                      <a:pt x="136" y="240"/>
                    </a:lnTo>
                    <a:lnTo>
                      <a:pt x="136" y="239"/>
                    </a:lnTo>
                    <a:lnTo>
                      <a:pt x="136" y="237"/>
                    </a:lnTo>
                    <a:lnTo>
                      <a:pt x="136" y="235"/>
                    </a:lnTo>
                    <a:lnTo>
                      <a:pt x="138" y="235"/>
                    </a:lnTo>
                    <a:lnTo>
                      <a:pt x="136" y="235"/>
                    </a:lnTo>
                    <a:lnTo>
                      <a:pt x="136" y="233"/>
                    </a:lnTo>
                    <a:lnTo>
                      <a:pt x="138" y="231"/>
                    </a:lnTo>
                    <a:lnTo>
                      <a:pt x="140" y="231"/>
                    </a:lnTo>
                    <a:lnTo>
                      <a:pt x="140" y="229"/>
                    </a:lnTo>
                    <a:lnTo>
                      <a:pt x="142" y="229"/>
                    </a:lnTo>
                    <a:lnTo>
                      <a:pt x="142" y="227"/>
                    </a:lnTo>
                    <a:lnTo>
                      <a:pt x="142" y="225"/>
                    </a:lnTo>
                    <a:lnTo>
                      <a:pt x="144" y="225"/>
                    </a:lnTo>
                    <a:lnTo>
                      <a:pt x="142" y="225"/>
                    </a:lnTo>
                    <a:lnTo>
                      <a:pt x="144" y="225"/>
                    </a:lnTo>
                    <a:lnTo>
                      <a:pt x="144" y="223"/>
                    </a:lnTo>
                    <a:lnTo>
                      <a:pt x="146" y="223"/>
                    </a:lnTo>
                    <a:lnTo>
                      <a:pt x="146" y="221"/>
                    </a:lnTo>
                    <a:lnTo>
                      <a:pt x="146" y="223"/>
                    </a:lnTo>
                    <a:lnTo>
                      <a:pt x="146" y="221"/>
                    </a:lnTo>
                    <a:lnTo>
                      <a:pt x="148" y="221"/>
                    </a:lnTo>
                    <a:lnTo>
                      <a:pt x="148" y="219"/>
                    </a:lnTo>
                    <a:lnTo>
                      <a:pt x="150" y="219"/>
                    </a:lnTo>
                    <a:lnTo>
                      <a:pt x="150" y="217"/>
                    </a:lnTo>
                    <a:lnTo>
                      <a:pt x="152" y="217"/>
                    </a:lnTo>
                    <a:lnTo>
                      <a:pt x="152" y="215"/>
                    </a:lnTo>
                    <a:lnTo>
                      <a:pt x="152" y="214"/>
                    </a:lnTo>
                    <a:lnTo>
                      <a:pt x="150" y="214"/>
                    </a:lnTo>
                    <a:lnTo>
                      <a:pt x="150" y="212"/>
                    </a:lnTo>
                    <a:lnTo>
                      <a:pt x="150" y="210"/>
                    </a:lnTo>
                    <a:lnTo>
                      <a:pt x="148" y="210"/>
                    </a:lnTo>
                    <a:lnTo>
                      <a:pt x="148" y="208"/>
                    </a:lnTo>
                    <a:lnTo>
                      <a:pt x="148" y="206"/>
                    </a:lnTo>
                    <a:lnTo>
                      <a:pt x="150" y="206"/>
                    </a:lnTo>
                    <a:lnTo>
                      <a:pt x="150" y="208"/>
                    </a:lnTo>
                    <a:lnTo>
                      <a:pt x="150" y="206"/>
                    </a:lnTo>
                    <a:lnTo>
                      <a:pt x="150" y="204"/>
                    </a:lnTo>
                    <a:lnTo>
                      <a:pt x="148" y="206"/>
                    </a:lnTo>
                    <a:lnTo>
                      <a:pt x="148" y="204"/>
                    </a:lnTo>
                    <a:lnTo>
                      <a:pt x="148" y="202"/>
                    </a:lnTo>
                    <a:lnTo>
                      <a:pt x="150" y="202"/>
                    </a:lnTo>
                    <a:lnTo>
                      <a:pt x="150" y="200"/>
                    </a:lnTo>
                    <a:lnTo>
                      <a:pt x="148" y="200"/>
                    </a:lnTo>
                    <a:lnTo>
                      <a:pt x="150" y="200"/>
                    </a:lnTo>
                    <a:lnTo>
                      <a:pt x="148" y="200"/>
                    </a:lnTo>
                    <a:lnTo>
                      <a:pt x="148" y="198"/>
                    </a:lnTo>
                    <a:lnTo>
                      <a:pt x="146" y="198"/>
                    </a:lnTo>
                    <a:lnTo>
                      <a:pt x="146" y="200"/>
                    </a:lnTo>
                    <a:lnTo>
                      <a:pt x="146" y="198"/>
                    </a:lnTo>
                    <a:lnTo>
                      <a:pt x="144" y="198"/>
                    </a:lnTo>
                    <a:lnTo>
                      <a:pt x="142" y="198"/>
                    </a:lnTo>
                    <a:lnTo>
                      <a:pt x="142" y="196"/>
                    </a:lnTo>
                    <a:lnTo>
                      <a:pt x="142" y="194"/>
                    </a:lnTo>
                    <a:lnTo>
                      <a:pt x="142" y="196"/>
                    </a:lnTo>
                    <a:lnTo>
                      <a:pt x="142" y="194"/>
                    </a:lnTo>
                    <a:lnTo>
                      <a:pt x="140" y="194"/>
                    </a:lnTo>
                    <a:lnTo>
                      <a:pt x="140" y="192"/>
                    </a:lnTo>
                    <a:lnTo>
                      <a:pt x="138" y="192"/>
                    </a:lnTo>
                    <a:lnTo>
                      <a:pt x="138" y="190"/>
                    </a:lnTo>
                    <a:lnTo>
                      <a:pt x="136" y="190"/>
                    </a:lnTo>
                    <a:lnTo>
                      <a:pt x="136" y="192"/>
                    </a:lnTo>
                    <a:lnTo>
                      <a:pt x="134" y="192"/>
                    </a:lnTo>
                    <a:lnTo>
                      <a:pt x="134" y="190"/>
                    </a:lnTo>
                    <a:lnTo>
                      <a:pt x="133" y="190"/>
                    </a:lnTo>
                    <a:lnTo>
                      <a:pt x="133" y="189"/>
                    </a:lnTo>
                    <a:lnTo>
                      <a:pt x="134" y="187"/>
                    </a:lnTo>
                    <a:lnTo>
                      <a:pt x="134" y="189"/>
                    </a:lnTo>
                    <a:lnTo>
                      <a:pt x="134" y="187"/>
                    </a:lnTo>
                    <a:lnTo>
                      <a:pt x="134" y="185"/>
                    </a:lnTo>
                    <a:lnTo>
                      <a:pt x="134" y="183"/>
                    </a:lnTo>
                    <a:lnTo>
                      <a:pt x="133" y="183"/>
                    </a:lnTo>
                    <a:lnTo>
                      <a:pt x="134" y="183"/>
                    </a:lnTo>
                    <a:lnTo>
                      <a:pt x="134" y="181"/>
                    </a:lnTo>
                    <a:lnTo>
                      <a:pt x="136" y="181"/>
                    </a:lnTo>
                    <a:lnTo>
                      <a:pt x="134" y="181"/>
                    </a:lnTo>
                    <a:lnTo>
                      <a:pt x="136" y="181"/>
                    </a:lnTo>
                    <a:lnTo>
                      <a:pt x="138" y="181"/>
                    </a:lnTo>
                    <a:lnTo>
                      <a:pt x="138" y="179"/>
                    </a:lnTo>
                    <a:lnTo>
                      <a:pt x="140" y="179"/>
                    </a:lnTo>
                    <a:lnTo>
                      <a:pt x="140" y="177"/>
                    </a:lnTo>
                    <a:lnTo>
                      <a:pt x="142" y="177"/>
                    </a:lnTo>
                    <a:lnTo>
                      <a:pt x="142" y="179"/>
                    </a:lnTo>
                    <a:lnTo>
                      <a:pt x="142" y="177"/>
                    </a:lnTo>
                    <a:lnTo>
                      <a:pt x="144" y="177"/>
                    </a:lnTo>
                    <a:lnTo>
                      <a:pt x="144" y="175"/>
                    </a:lnTo>
                    <a:lnTo>
                      <a:pt x="146" y="175"/>
                    </a:lnTo>
                    <a:lnTo>
                      <a:pt x="146" y="173"/>
                    </a:lnTo>
                    <a:lnTo>
                      <a:pt x="146" y="171"/>
                    </a:lnTo>
                    <a:lnTo>
                      <a:pt x="148" y="171"/>
                    </a:lnTo>
                    <a:lnTo>
                      <a:pt x="150" y="171"/>
                    </a:lnTo>
                    <a:lnTo>
                      <a:pt x="152" y="171"/>
                    </a:lnTo>
                    <a:lnTo>
                      <a:pt x="152" y="173"/>
                    </a:lnTo>
                    <a:lnTo>
                      <a:pt x="152" y="175"/>
                    </a:lnTo>
                    <a:lnTo>
                      <a:pt x="152" y="173"/>
                    </a:lnTo>
                    <a:lnTo>
                      <a:pt x="152" y="175"/>
                    </a:lnTo>
                    <a:lnTo>
                      <a:pt x="154" y="175"/>
                    </a:lnTo>
                    <a:lnTo>
                      <a:pt x="154" y="177"/>
                    </a:lnTo>
                    <a:lnTo>
                      <a:pt x="156" y="179"/>
                    </a:lnTo>
                    <a:lnTo>
                      <a:pt x="158" y="179"/>
                    </a:lnTo>
                    <a:lnTo>
                      <a:pt x="158" y="181"/>
                    </a:lnTo>
                    <a:lnTo>
                      <a:pt x="159" y="181"/>
                    </a:lnTo>
                    <a:lnTo>
                      <a:pt x="159" y="183"/>
                    </a:lnTo>
                    <a:lnTo>
                      <a:pt x="161" y="183"/>
                    </a:lnTo>
                    <a:lnTo>
                      <a:pt x="163" y="183"/>
                    </a:lnTo>
                    <a:lnTo>
                      <a:pt x="163" y="185"/>
                    </a:lnTo>
                    <a:lnTo>
                      <a:pt x="165" y="185"/>
                    </a:lnTo>
                    <a:lnTo>
                      <a:pt x="165" y="187"/>
                    </a:lnTo>
                    <a:lnTo>
                      <a:pt x="167" y="187"/>
                    </a:lnTo>
                    <a:lnTo>
                      <a:pt x="169" y="189"/>
                    </a:lnTo>
                    <a:lnTo>
                      <a:pt x="167" y="189"/>
                    </a:lnTo>
                    <a:lnTo>
                      <a:pt x="167" y="187"/>
                    </a:lnTo>
                    <a:lnTo>
                      <a:pt x="165" y="187"/>
                    </a:lnTo>
                    <a:lnTo>
                      <a:pt x="163" y="187"/>
                    </a:lnTo>
                    <a:lnTo>
                      <a:pt x="163" y="185"/>
                    </a:lnTo>
                    <a:lnTo>
                      <a:pt x="165" y="187"/>
                    </a:lnTo>
                    <a:lnTo>
                      <a:pt x="165" y="185"/>
                    </a:lnTo>
                    <a:lnTo>
                      <a:pt x="163" y="185"/>
                    </a:lnTo>
                    <a:lnTo>
                      <a:pt x="161" y="185"/>
                    </a:lnTo>
                    <a:lnTo>
                      <a:pt x="161" y="183"/>
                    </a:lnTo>
                    <a:lnTo>
                      <a:pt x="161" y="185"/>
                    </a:lnTo>
                    <a:lnTo>
                      <a:pt x="161" y="183"/>
                    </a:lnTo>
                    <a:lnTo>
                      <a:pt x="159" y="183"/>
                    </a:lnTo>
                    <a:lnTo>
                      <a:pt x="161" y="183"/>
                    </a:lnTo>
                    <a:lnTo>
                      <a:pt x="159" y="183"/>
                    </a:lnTo>
                    <a:lnTo>
                      <a:pt x="161" y="183"/>
                    </a:lnTo>
                    <a:lnTo>
                      <a:pt x="161" y="185"/>
                    </a:lnTo>
                    <a:lnTo>
                      <a:pt x="161" y="187"/>
                    </a:lnTo>
                    <a:lnTo>
                      <a:pt x="163" y="187"/>
                    </a:lnTo>
                    <a:lnTo>
                      <a:pt x="161" y="187"/>
                    </a:lnTo>
                    <a:lnTo>
                      <a:pt x="163" y="187"/>
                    </a:lnTo>
                    <a:lnTo>
                      <a:pt x="161" y="187"/>
                    </a:lnTo>
                    <a:lnTo>
                      <a:pt x="163" y="187"/>
                    </a:lnTo>
                    <a:lnTo>
                      <a:pt x="163" y="189"/>
                    </a:lnTo>
                    <a:lnTo>
                      <a:pt x="165" y="189"/>
                    </a:lnTo>
                    <a:lnTo>
                      <a:pt x="167" y="190"/>
                    </a:lnTo>
                    <a:lnTo>
                      <a:pt x="167" y="192"/>
                    </a:lnTo>
                    <a:lnTo>
                      <a:pt x="169" y="192"/>
                    </a:lnTo>
                    <a:lnTo>
                      <a:pt x="171" y="192"/>
                    </a:lnTo>
                    <a:lnTo>
                      <a:pt x="169" y="192"/>
                    </a:lnTo>
                    <a:lnTo>
                      <a:pt x="171" y="192"/>
                    </a:lnTo>
                    <a:lnTo>
                      <a:pt x="171" y="194"/>
                    </a:lnTo>
                    <a:lnTo>
                      <a:pt x="173" y="194"/>
                    </a:lnTo>
                    <a:lnTo>
                      <a:pt x="173" y="196"/>
                    </a:lnTo>
                    <a:lnTo>
                      <a:pt x="175" y="196"/>
                    </a:lnTo>
                    <a:lnTo>
                      <a:pt x="173" y="198"/>
                    </a:lnTo>
                    <a:lnTo>
                      <a:pt x="175" y="198"/>
                    </a:lnTo>
                    <a:lnTo>
                      <a:pt x="175" y="200"/>
                    </a:lnTo>
                    <a:lnTo>
                      <a:pt x="177" y="200"/>
                    </a:lnTo>
                    <a:lnTo>
                      <a:pt x="177" y="202"/>
                    </a:lnTo>
                    <a:lnTo>
                      <a:pt x="179" y="202"/>
                    </a:lnTo>
                    <a:lnTo>
                      <a:pt x="179" y="204"/>
                    </a:lnTo>
                    <a:lnTo>
                      <a:pt x="181" y="204"/>
                    </a:lnTo>
                    <a:lnTo>
                      <a:pt x="181" y="206"/>
                    </a:lnTo>
                    <a:lnTo>
                      <a:pt x="182" y="206"/>
                    </a:lnTo>
                    <a:lnTo>
                      <a:pt x="182" y="208"/>
                    </a:lnTo>
                    <a:lnTo>
                      <a:pt x="182" y="206"/>
                    </a:lnTo>
                    <a:lnTo>
                      <a:pt x="184" y="208"/>
                    </a:lnTo>
                    <a:lnTo>
                      <a:pt x="186" y="208"/>
                    </a:lnTo>
                    <a:lnTo>
                      <a:pt x="186" y="210"/>
                    </a:lnTo>
                    <a:lnTo>
                      <a:pt x="188" y="210"/>
                    </a:lnTo>
                    <a:lnTo>
                      <a:pt x="190" y="212"/>
                    </a:lnTo>
                    <a:lnTo>
                      <a:pt x="192" y="212"/>
                    </a:lnTo>
                    <a:lnTo>
                      <a:pt x="190" y="212"/>
                    </a:lnTo>
                    <a:lnTo>
                      <a:pt x="188" y="212"/>
                    </a:lnTo>
                    <a:lnTo>
                      <a:pt x="190" y="212"/>
                    </a:lnTo>
                    <a:lnTo>
                      <a:pt x="188" y="212"/>
                    </a:lnTo>
                    <a:lnTo>
                      <a:pt x="188" y="214"/>
                    </a:lnTo>
                    <a:lnTo>
                      <a:pt x="188" y="215"/>
                    </a:lnTo>
                    <a:lnTo>
                      <a:pt x="190" y="215"/>
                    </a:lnTo>
                    <a:lnTo>
                      <a:pt x="190" y="217"/>
                    </a:lnTo>
                    <a:lnTo>
                      <a:pt x="190" y="219"/>
                    </a:lnTo>
                    <a:lnTo>
                      <a:pt x="192" y="221"/>
                    </a:lnTo>
                    <a:lnTo>
                      <a:pt x="194" y="221"/>
                    </a:lnTo>
                    <a:lnTo>
                      <a:pt x="194" y="223"/>
                    </a:lnTo>
                    <a:lnTo>
                      <a:pt x="194" y="225"/>
                    </a:lnTo>
                    <a:lnTo>
                      <a:pt x="196" y="225"/>
                    </a:lnTo>
                    <a:lnTo>
                      <a:pt x="196" y="227"/>
                    </a:lnTo>
                    <a:lnTo>
                      <a:pt x="198" y="227"/>
                    </a:lnTo>
                    <a:lnTo>
                      <a:pt x="198" y="229"/>
                    </a:lnTo>
                    <a:lnTo>
                      <a:pt x="198" y="231"/>
                    </a:lnTo>
                    <a:lnTo>
                      <a:pt x="200" y="231"/>
                    </a:lnTo>
                    <a:lnTo>
                      <a:pt x="200" y="233"/>
                    </a:lnTo>
                    <a:lnTo>
                      <a:pt x="200" y="231"/>
                    </a:lnTo>
                    <a:lnTo>
                      <a:pt x="198" y="231"/>
                    </a:lnTo>
                    <a:lnTo>
                      <a:pt x="198" y="229"/>
                    </a:lnTo>
                    <a:lnTo>
                      <a:pt x="198" y="231"/>
                    </a:lnTo>
                    <a:lnTo>
                      <a:pt x="198" y="229"/>
                    </a:lnTo>
                    <a:lnTo>
                      <a:pt x="198" y="231"/>
                    </a:lnTo>
                    <a:lnTo>
                      <a:pt x="200" y="231"/>
                    </a:lnTo>
                    <a:lnTo>
                      <a:pt x="200" y="233"/>
                    </a:lnTo>
                    <a:lnTo>
                      <a:pt x="200" y="235"/>
                    </a:lnTo>
                    <a:lnTo>
                      <a:pt x="202" y="235"/>
                    </a:lnTo>
                    <a:lnTo>
                      <a:pt x="202" y="237"/>
                    </a:lnTo>
                    <a:lnTo>
                      <a:pt x="202" y="235"/>
                    </a:lnTo>
                    <a:lnTo>
                      <a:pt x="200" y="235"/>
                    </a:lnTo>
                    <a:lnTo>
                      <a:pt x="198" y="235"/>
                    </a:lnTo>
                    <a:lnTo>
                      <a:pt x="198" y="233"/>
                    </a:lnTo>
                    <a:lnTo>
                      <a:pt x="198" y="235"/>
                    </a:lnTo>
                    <a:lnTo>
                      <a:pt x="200" y="235"/>
                    </a:lnTo>
                    <a:lnTo>
                      <a:pt x="200" y="237"/>
                    </a:lnTo>
                    <a:lnTo>
                      <a:pt x="202" y="237"/>
                    </a:lnTo>
                    <a:lnTo>
                      <a:pt x="202" y="239"/>
                    </a:lnTo>
                    <a:lnTo>
                      <a:pt x="204" y="239"/>
                    </a:lnTo>
                    <a:lnTo>
                      <a:pt x="206" y="240"/>
                    </a:lnTo>
                    <a:lnTo>
                      <a:pt x="207" y="242"/>
                    </a:lnTo>
                    <a:lnTo>
                      <a:pt x="209" y="244"/>
                    </a:lnTo>
                    <a:lnTo>
                      <a:pt x="209" y="246"/>
                    </a:lnTo>
                    <a:lnTo>
                      <a:pt x="209" y="248"/>
                    </a:lnTo>
                    <a:lnTo>
                      <a:pt x="207" y="248"/>
                    </a:lnTo>
                    <a:lnTo>
                      <a:pt x="209" y="248"/>
                    </a:lnTo>
                    <a:lnTo>
                      <a:pt x="207" y="248"/>
                    </a:lnTo>
                    <a:lnTo>
                      <a:pt x="209" y="248"/>
                    </a:lnTo>
                    <a:lnTo>
                      <a:pt x="207" y="250"/>
                    </a:lnTo>
                    <a:lnTo>
                      <a:pt x="207" y="248"/>
                    </a:lnTo>
                    <a:lnTo>
                      <a:pt x="207" y="250"/>
                    </a:lnTo>
                    <a:lnTo>
                      <a:pt x="206" y="250"/>
                    </a:lnTo>
                    <a:lnTo>
                      <a:pt x="206" y="248"/>
                    </a:lnTo>
                    <a:lnTo>
                      <a:pt x="204" y="248"/>
                    </a:lnTo>
                    <a:lnTo>
                      <a:pt x="206" y="248"/>
                    </a:lnTo>
                    <a:lnTo>
                      <a:pt x="206" y="250"/>
                    </a:lnTo>
                    <a:lnTo>
                      <a:pt x="207" y="250"/>
                    </a:lnTo>
                    <a:lnTo>
                      <a:pt x="207" y="252"/>
                    </a:lnTo>
                    <a:lnTo>
                      <a:pt x="207" y="250"/>
                    </a:lnTo>
                    <a:lnTo>
                      <a:pt x="207" y="252"/>
                    </a:lnTo>
                    <a:lnTo>
                      <a:pt x="206" y="252"/>
                    </a:lnTo>
                    <a:lnTo>
                      <a:pt x="206" y="254"/>
                    </a:lnTo>
                    <a:lnTo>
                      <a:pt x="204" y="254"/>
                    </a:lnTo>
                    <a:lnTo>
                      <a:pt x="206" y="254"/>
                    </a:lnTo>
                    <a:lnTo>
                      <a:pt x="206" y="252"/>
                    </a:lnTo>
                    <a:lnTo>
                      <a:pt x="206" y="254"/>
                    </a:lnTo>
                    <a:lnTo>
                      <a:pt x="207" y="254"/>
                    </a:lnTo>
                    <a:lnTo>
                      <a:pt x="207" y="256"/>
                    </a:lnTo>
                    <a:lnTo>
                      <a:pt x="207" y="258"/>
                    </a:lnTo>
                    <a:lnTo>
                      <a:pt x="206" y="258"/>
                    </a:lnTo>
                    <a:lnTo>
                      <a:pt x="206" y="260"/>
                    </a:lnTo>
                    <a:lnTo>
                      <a:pt x="204" y="260"/>
                    </a:lnTo>
                    <a:lnTo>
                      <a:pt x="206" y="260"/>
                    </a:lnTo>
                    <a:lnTo>
                      <a:pt x="206" y="262"/>
                    </a:lnTo>
                    <a:lnTo>
                      <a:pt x="206" y="260"/>
                    </a:lnTo>
                    <a:lnTo>
                      <a:pt x="204" y="262"/>
                    </a:lnTo>
                    <a:lnTo>
                      <a:pt x="202" y="262"/>
                    </a:lnTo>
                    <a:lnTo>
                      <a:pt x="202" y="264"/>
                    </a:lnTo>
                    <a:lnTo>
                      <a:pt x="200" y="264"/>
                    </a:lnTo>
                    <a:lnTo>
                      <a:pt x="202" y="264"/>
                    </a:lnTo>
                    <a:lnTo>
                      <a:pt x="200" y="264"/>
                    </a:lnTo>
                    <a:lnTo>
                      <a:pt x="198" y="264"/>
                    </a:lnTo>
                    <a:lnTo>
                      <a:pt x="198" y="265"/>
                    </a:lnTo>
                    <a:lnTo>
                      <a:pt x="198" y="264"/>
                    </a:lnTo>
                    <a:lnTo>
                      <a:pt x="198" y="265"/>
                    </a:lnTo>
                    <a:lnTo>
                      <a:pt x="200" y="264"/>
                    </a:lnTo>
                    <a:lnTo>
                      <a:pt x="200" y="265"/>
                    </a:lnTo>
                    <a:lnTo>
                      <a:pt x="200" y="264"/>
                    </a:lnTo>
                    <a:lnTo>
                      <a:pt x="202" y="264"/>
                    </a:lnTo>
                    <a:lnTo>
                      <a:pt x="202" y="262"/>
                    </a:lnTo>
                    <a:lnTo>
                      <a:pt x="204" y="262"/>
                    </a:lnTo>
                    <a:lnTo>
                      <a:pt x="206" y="260"/>
                    </a:lnTo>
                    <a:lnTo>
                      <a:pt x="206" y="262"/>
                    </a:lnTo>
                    <a:lnTo>
                      <a:pt x="207" y="262"/>
                    </a:lnTo>
                    <a:lnTo>
                      <a:pt x="206" y="262"/>
                    </a:lnTo>
                    <a:lnTo>
                      <a:pt x="206" y="260"/>
                    </a:lnTo>
                    <a:lnTo>
                      <a:pt x="206" y="258"/>
                    </a:lnTo>
                    <a:lnTo>
                      <a:pt x="207" y="258"/>
                    </a:lnTo>
                    <a:lnTo>
                      <a:pt x="207" y="256"/>
                    </a:lnTo>
                    <a:lnTo>
                      <a:pt x="209" y="256"/>
                    </a:lnTo>
                    <a:lnTo>
                      <a:pt x="211" y="256"/>
                    </a:lnTo>
                    <a:lnTo>
                      <a:pt x="209" y="256"/>
                    </a:lnTo>
                    <a:lnTo>
                      <a:pt x="211" y="256"/>
                    </a:lnTo>
                    <a:lnTo>
                      <a:pt x="209" y="256"/>
                    </a:lnTo>
                    <a:lnTo>
                      <a:pt x="211" y="256"/>
                    </a:lnTo>
                    <a:lnTo>
                      <a:pt x="211" y="254"/>
                    </a:lnTo>
                    <a:lnTo>
                      <a:pt x="211" y="256"/>
                    </a:lnTo>
                    <a:lnTo>
                      <a:pt x="211" y="254"/>
                    </a:lnTo>
                    <a:lnTo>
                      <a:pt x="211" y="256"/>
                    </a:lnTo>
                    <a:lnTo>
                      <a:pt x="211" y="254"/>
                    </a:lnTo>
                    <a:lnTo>
                      <a:pt x="211" y="256"/>
                    </a:lnTo>
                    <a:lnTo>
                      <a:pt x="211" y="254"/>
                    </a:lnTo>
                    <a:lnTo>
                      <a:pt x="211" y="256"/>
                    </a:lnTo>
                    <a:lnTo>
                      <a:pt x="211" y="254"/>
                    </a:lnTo>
                    <a:lnTo>
                      <a:pt x="213" y="254"/>
                    </a:lnTo>
                    <a:lnTo>
                      <a:pt x="215" y="254"/>
                    </a:lnTo>
                    <a:lnTo>
                      <a:pt x="215" y="256"/>
                    </a:lnTo>
                    <a:lnTo>
                      <a:pt x="215" y="254"/>
                    </a:lnTo>
                    <a:lnTo>
                      <a:pt x="213" y="254"/>
                    </a:lnTo>
                    <a:lnTo>
                      <a:pt x="215" y="254"/>
                    </a:lnTo>
                    <a:lnTo>
                      <a:pt x="213" y="254"/>
                    </a:lnTo>
                    <a:lnTo>
                      <a:pt x="215" y="254"/>
                    </a:lnTo>
                    <a:lnTo>
                      <a:pt x="217" y="254"/>
                    </a:lnTo>
                    <a:lnTo>
                      <a:pt x="217" y="256"/>
                    </a:lnTo>
                    <a:lnTo>
                      <a:pt x="215" y="256"/>
                    </a:lnTo>
                    <a:lnTo>
                      <a:pt x="217" y="256"/>
                    </a:lnTo>
                    <a:lnTo>
                      <a:pt x="217" y="258"/>
                    </a:lnTo>
                    <a:lnTo>
                      <a:pt x="217" y="256"/>
                    </a:lnTo>
                    <a:lnTo>
                      <a:pt x="219" y="258"/>
                    </a:lnTo>
                    <a:lnTo>
                      <a:pt x="221" y="258"/>
                    </a:lnTo>
                    <a:lnTo>
                      <a:pt x="221" y="260"/>
                    </a:lnTo>
                    <a:lnTo>
                      <a:pt x="223" y="260"/>
                    </a:lnTo>
                    <a:lnTo>
                      <a:pt x="221" y="260"/>
                    </a:lnTo>
                    <a:lnTo>
                      <a:pt x="221" y="258"/>
                    </a:lnTo>
                    <a:lnTo>
                      <a:pt x="219" y="258"/>
                    </a:lnTo>
                    <a:lnTo>
                      <a:pt x="217" y="256"/>
                    </a:lnTo>
                    <a:lnTo>
                      <a:pt x="217" y="258"/>
                    </a:lnTo>
                    <a:lnTo>
                      <a:pt x="217" y="256"/>
                    </a:lnTo>
                    <a:lnTo>
                      <a:pt x="215" y="256"/>
                    </a:lnTo>
                    <a:lnTo>
                      <a:pt x="217" y="256"/>
                    </a:lnTo>
                    <a:lnTo>
                      <a:pt x="217" y="254"/>
                    </a:lnTo>
                    <a:lnTo>
                      <a:pt x="215" y="254"/>
                    </a:lnTo>
                    <a:lnTo>
                      <a:pt x="215" y="252"/>
                    </a:lnTo>
                    <a:lnTo>
                      <a:pt x="217" y="252"/>
                    </a:lnTo>
                    <a:lnTo>
                      <a:pt x="217" y="250"/>
                    </a:lnTo>
                    <a:lnTo>
                      <a:pt x="217" y="252"/>
                    </a:lnTo>
                    <a:lnTo>
                      <a:pt x="217" y="250"/>
                    </a:lnTo>
                    <a:lnTo>
                      <a:pt x="217" y="252"/>
                    </a:lnTo>
                    <a:lnTo>
                      <a:pt x="217" y="250"/>
                    </a:lnTo>
                    <a:lnTo>
                      <a:pt x="217" y="252"/>
                    </a:lnTo>
                    <a:lnTo>
                      <a:pt x="217" y="250"/>
                    </a:lnTo>
                    <a:lnTo>
                      <a:pt x="217" y="252"/>
                    </a:lnTo>
                    <a:lnTo>
                      <a:pt x="217" y="250"/>
                    </a:lnTo>
                    <a:lnTo>
                      <a:pt x="217" y="252"/>
                    </a:lnTo>
                    <a:lnTo>
                      <a:pt x="217" y="250"/>
                    </a:lnTo>
                    <a:lnTo>
                      <a:pt x="219" y="250"/>
                    </a:lnTo>
                    <a:lnTo>
                      <a:pt x="219" y="252"/>
                    </a:lnTo>
                    <a:lnTo>
                      <a:pt x="221" y="254"/>
                    </a:lnTo>
                    <a:lnTo>
                      <a:pt x="221" y="252"/>
                    </a:lnTo>
                    <a:lnTo>
                      <a:pt x="219" y="252"/>
                    </a:lnTo>
                    <a:lnTo>
                      <a:pt x="219" y="250"/>
                    </a:lnTo>
                    <a:lnTo>
                      <a:pt x="217" y="250"/>
                    </a:lnTo>
                    <a:lnTo>
                      <a:pt x="219" y="250"/>
                    </a:lnTo>
                    <a:lnTo>
                      <a:pt x="217" y="250"/>
                    </a:lnTo>
                    <a:lnTo>
                      <a:pt x="217" y="248"/>
                    </a:lnTo>
                    <a:lnTo>
                      <a:pt x="217" y="250"/>
                    </a:lnTo>
                    <a:lnTo>
                      <a:pt x="217" y="248"/>
                    </a:lnTo>
                    <a:lnTo>
                      <a:pt x="219" y="248"/>
                    </a:lnTo>
                    <a:lnTo>
                      <a:pt x="219" y="246"/>
                    </a:lnTo>
                    <a:lnTo>
                      <a:pt x="221" y="244"/>
                    </a:lnTo>
                    <a:lnTo>
                      <a:pt x="223" y="244"/>
                    </a:lnTo>
                    <a:lnTo>
                      <a:pt x="221" y="244"/>
                    </a:lnTo>
                    <a:lnTo>
                      <a:pt x="227" y="240"/>
                    </a:lnTo>
                    <a:lnTo>
                      <a:pt x="227" y="239"/>
                    </a:lnTo>
                    <a:lnTo>
                      <a:pt x="229" y="237"/>
                    </a:lnTo>
                    <a:lnTo>
                      <a:pt x="231" y="235"/>
                    </a:lnTo>
                    <a:lnTo>
                      <a:pt x="231" y="233"/>
                    </a:lnTo>
                    <a:lnTo>
                      <a:pt x="232" y="231"/>
                    </a:lnTo>
                    <a:lnTo>
                      <a:pt x="232" y="229"/>
                    </a:lnTo>
                    <a:lnTo>
                      <a:pt x="234" y="229"/>
                    </a:lnTo>
                    <a:lnTo>
                      <a:pt x="232" y="229"/>
                    </a:lnTo>
                    <a:lnTo>
                      <a:pt x="234" y="229"/>
                    </a:lnTo>
                    <a:lnTo>
                      <a:pt x="234" y="227"/>
                    </a:lnTo>
                    <a:lnTo>
                      <a:pt x="236" y="227"/>
                    </a:lnTo>
                    <a:lnTo>
                      <a:pt x="236" y="225"/>
                    </a:lnTo>
                    <a:lnTo>
                      <a:pt x="238" y="225"/>
                    </a:lnTo>
                    <a:lnTo>
                      <a:pt x="236" y="225"/>
                    </a:lnTo>
                    <a:lnTo>
                      <a:pt x="238" y="225"/>
                    </a:lnTo>
                    <a:lnTo>
                      <a:pt x="238" y="223"/>
                    </a:lnTo>
                    <a:lnTo>
                      <a:pt x="238" y="225"/>
                    </a:lnTo>
                    <a:lnTo>
                      <a:pt x="240" y="225"/>
                    </a:lnTo>
                    <a:lnTo>
                      <a:pt x="242" y="225"/>
                    </a:lnTo>
                    <a:lnTo>
                      <a:pt x="242" y="227"/>
                    </a:lnTo>
                    <a:lnTo>
                      <a:pt x="242" y="225"/>
                    </a:lnTo>
                    <a:lnTo>
                      <a:pt x="242" y="227"/>
                    </a:lnTo>
                    <a:lnTo>
                      <a:pt x="244" y="227"/>
                    </a:lnTo>
                    <a:lnTo>
                      <a:pt x="246" y="227"/>
                    </a:lnTo>
                    <a:lnTo>
                      <a:pt x="246" y="229"/>
                    </a:lnTo>
                    <a:lnTo>
                      <a:pt x="246" y="227"/>
                    </a:lnTo>
                    <a:lnTo>
                      <a:pt x="244" y="227"/>
                    </a:lnTo>
                    <a:lnTo>
                      <a:pt x="242" y="227"/>
                    </a:lnTo>
                    <a:lnTo>
                      <a:pt x="242" y="225"/>
                    </a:lnTo>
                    <a:lnTo>
                      <a:pt x="240" y="225"/>
                    </a:lnTo>
                    <a:lnTo>
                      <a:pt x="240" y="223"/>
                    </a:lnTo>
                    <a:lnTo>
                      <a:pt x="238" y="223"/>
                    </a:lnTo>
                    <a:lnTo>
                      <a:pt x="238" y="221"/>
                    </a:lnTo>
                    <a:lnTo>
                      <a:pt x="238" y="223"/>
                    </a:lnTo>
                    <a:lnTo>
                      <a:pt x="236" y="221"/>
                    </a:lnTo>
                    <a:lnTo>
                      <a:pt x="234" y="221"/>
                    </a:lnTo>
                    <a:lnTo>
                      <a:pt x="234" y="219"/>
                    </a:lnTo>
                    <a:lnTo>
                      <a:pt x="236" y="219"/>
                    </a:lnTo>
                    <a:lnTo>
                      <a:pt x="238" y="219"/>
                    </a:lnTo>
                    <a:lnTo>
                      <a:pt x="238" y="221"/>
                    </a:lnTo>
                    <a:lnTo>
                      <a:pt x="238" y="219"/>
                    </a:lnTo>
                    <a:lnTo>
                      <a:pt x="240" y="219"/>
                    </a:lnTo>
                    <a:lnTo>
                      <a:pt x="242" y="221"/>
                    </a:lnTo>
                    <a:lnTo>
                      <a:pt x="244" y="221"/>
                    </a:lnTo>
                    <a:lnTo>
                      <a:pt x="246" y="223"/>
                    </a:lnTo>
                    <a:lnTo>
                      <a:pt x="246" y="221"/>
                    </a:lnTo>
                    <a:lnTo>
                      <a:pt x="248" y="221"/>
                    </a:lnTo>
                    <a:lnTo>
                      <a:pt x="248" y="223"/>
                    </a:lnTo>
                    <a:lnTo>
                      <a:pt x="248" y="221"/>
                    </a:lnTo>
                    <a:lnTo>
                      <a:pt x="250" y="221"/>
                    </a:lnTo>
                    <a:lnTo>
                      <a:pt x="250" y="223"/>
                    </a:lnTo>
                    <a:lnTo>
                      <a:pt x="250" y="221"/>
                    </a:lnTo>
                    <a:lnTo>
                      <a:pt x="252" y="223"/>
                    </a:lnTo>
                    <a:lnTo>
                      <a:pt x="254" y="223"/>
                    </a:lnTo>
                    <a:lnTo>
                      <a:pt x="254" y="221"/>
                    </a:lnTo>
                    <a:lnTo>
                      <a:pt x="255" y="221"/>
                    </a:lnTo>
                    <a:lnTo>
                      <a:pt x="255" y="223"/>
                    </a:lnTo>
                    <a:lnTo>
                      <a:pt x="257" y="223"/>
                    </a:lnTo>
                    <a:lnTo>
                      <a:pt x="257" y="221"/>
                    </a:lnTo>
                    <a:lnTo>
                      <a:pt x="257" y="223"/>
                    </a:lnTo>
                    <a:lnTo>
                      <a:pt x="259" y="223"/>
                    </a:lnTo>
                    <a:lnTo>
                      <a:pt x="259" y="221"/>
                    </a:lnTo>
                    <a:lnTo>
                      <a:pt x="259" y="223"/>
                    </a:lnTo>
                    <a:lnTo>
                      <a:pt x="259" y="221"/>
                    </a:lnTo>
                    <a:lnTo>
                      <a:pt x="261" y="221"/>
                    </a:lnTo>
                    <a:lnTo>
                      <a:pt x="259" y="221"/>
                    </a:lnTo>
                    <a:lnTo>
                      <a:pt x="261" y="221"/>
                    </a:lnTo>
                    <a:lnTo>
                      <a:pt x="261" y="223"/>
                    </a:lnTo>
                    <a:lnTo>
                      <a:pt x="263" y="221"/>
                    </a:lnTo>
                    <a:lnTo>
                      <a:pt x="263" y="223"/>
                    </a:lnTo>
                    <a:lnTo>
                      <a:pt x="261" y="223"/>
                    </a:lnTo>
                    <a:lnTo>
                      <a:pt x="261" y="225"/>
                    </a:lnTo>
                    <a:lnTo>
                      <a:pt x="263" y="225"/>
                    </a:lnTo>
                    <a:lnTo>
                      <a:pt x="263" y="223"/>
                    </a:lnTo>
                    <a:lnTo>
                      <a:pt x="263" y="225"/>
                    </a:lnTo>
                    <a:lnTo>
                      <a:pt x="265" y="225"/>
                    </a:lnTo>
                    <a:lnTo>
                      <a:pt x="263" y="225"/>
                    </a:lnTo>
                    <a:lnTo>
                      <a:pt x="263" y="227"/>
                    </a:lnTo>
                    <a:lnTo>
                      <a:pt x="265" y="227"/>
                    </a:lnTo>
                    <a:lnTo>
                      <a:pt x="265" y="225"/>
                    </a:lnTo>
                    <a:lnTo>
                      <a:pt x="267" y="225"/>
                    </a:lnTo>
                    <a:lnTo>
                      <a:pt x="269" y="225"/>
                    </a:lnTo>
                    <a:lnTo>
                      <a:pt x="271" y="225"/>
                    </a:lnTo>
                    <a:lnTo>
                      <a:pt x="269" y="227"/>
                    </a:lnTo>
                    <a:lnTo>
                      <a:pt x="271" y="227"/>
                    </a:lnTo>
                    <a:lnTo>
                      <a:pt x="271" y="229"/>
                    </a:lnTo>
                    <a:lnTo>
                      <a:pt x="273" y="229"/>
                    </a:lnTo>
                    <a:lnTo>
                      <a:pt x="273" y="231"/>
                    </a:lnTo>
                    <a:lnTo>
                      <a:pt x="273" y="229"/>
                    </a:lnTo>
                    <a:lnTo>
                      <a:pt x="273" y="231"/>
                    </a:lnTo>
                    <a:lnTo>
                      <a:pt x="275" y="231"/>
                    </a:lnTo>
                    <a:lnTo>
                      <a:pt x="275" y="229"/>
                    </a:lnTo>
                    <a:lnTo>
                      <a:pt x="275" y="231"/>
                    </a:lnTo>
                    <a:lnTo>
                      <a:pt x="277" y="231"/>
                    </a:lnTo>
                    <a:lnTo>
                      <a:pt x="275" y="231"/>
                    </a:lnTo>
                    <a:lnTo>
                      <a:pt x="275" y="233"/>
                    </a:lnTo>
                    <a:lnTo>
                      <a:pt x="275" y="231"/>
                    </a:lnTo>
                    <a:lnTo>
                      <a:pt x="275" y="233"/>
                    </a:lnTo>
                    <a:lnTo>
                      <a:pt x="275" y="231"/>
                    </a:lnTo>
                    <a:lnTo>
                      <a:pt x="277" y="231"/>
                    </a:lnTo>
                    <a:lnTo>
                      <a:pt x="275" y="231"/>
                    </a:lnTo>
                    <a:lnTo>
                      <a:pt x="275" y="229"/>
                    </a:lnTo>
                    <a:lnTo>
                      <a:pt x="275" y="231"/>
                    </a:lnTo>
                    <a:lnTo>
                      <a:pt x="273" y="231"/>
                    </a:lnTo>
                    <a:lnTo>
                      <a:pt x="273" y="229"/>
                    </a:lnTo>
                    <a:lnTo>
                      <a:pt x="273" y="231"/>
                    </a:lnTo>
                    <a:lnTo>
                      <a:pt x="273" y="229"/>
                    </a:lnTo>
                    <a:lnTo>
                      <a:pt x="271" y="229"/>
                    </a:lnTo>
                    <a:lnTo>
                      <a:pt x="271" y="227"/>
                    </a:lnTo>
                    <a:lnTo>
                      <a:pt x="269" y="227"/>
                    </a:lnTo>
                    <a:lnTo>
                      <a:pt x="271" y="225"/>
                    </a:lnTo>
                    <a:lnTo>
                      <a:pt x="269" y="225"/>
                    </a:lnTo>
                    <a:lnTo>
                      <a:pt x="267" y="225"/>
                    </a:lnTo>
                    <a:lnTo>
                      <a:pt x="265" y="225"/>
                    </a:lnTo>
                    <a:lnTo>
                      <a:pt x="265" y="227"/>
                    </a:lnTo>
                    <a:lnTo>
                      <a:pt x="263" y="227"/>
                    </a:lnTo>
                    <a:lnTo>
                      <a:pt x="263" y="225"/>
                    </a:lnTo>
                    <a:lnTo>
                      <a:pt x="265" y="225"/>
                    </a:lnTo>
                    <a:lnTo>
                      <a:pt x="263" y="225"/>
                    </a:lnTo>
                    <a:lnTo>
                      <a:pt x="263" y="223"/>
                    </a:lnTo>
                    <a:lnTo>
                      <a:pt x="263" y="225"/>
                    </a:lnTo>
                    <a:lnTo>
                      <a:pt x="261" y="225"/>
                    </a:lnTo>
                    <a:lnTo>
                      <a:pt x="261" y="223"/>
                    </a:lnTo>
                    <a:lnTo>
                      <a:pt x="263" y="223"/>
                    </a:lnTo>
                    <a:lnTo>
                      <a:pt x="263" y="221"/>
                    </a:lnTo>
                    <a:lnTo>
                      <a:pt x="263" y="223"/>
                    </a:lnTo>
                    <a:lnTo>
                      <a:pt x="261" y="223"/>
                    </a:lnTo>
                    <a:lnTo>
                      <a:pt x="261" y="221"/>
                    </a:lnTo>
                    <a:lnTo>
                      <a:pt x="259" y="221"/>
                    </a:lnTo>
                    <a:lnTo>
                      <a:pt x="261" y="221"/>
                    </a:lnTo>
                    <a:lnTo>
                      <a:pt x="259" y="221"/>
                    </a:lnTo>
                    <a:lnTo>
                      <a:pt x="259" y="223"/>
                    </a:lnTo>
                    <a:lnTo>
                      <a:pt x="257" y="223"/>
                    </a:lnTo>
                    <a:lnTo>
                      <a:pt x="257" y="221"/>
                    </a:lnTo>
                    <a:lnTo>
                      <a:pt x="257" y="223"/>
                    </a:lnTo>
                    <a:lnTo>
                      <a:pt x="255" y="223"/>
                    </a:lnTo>
                    <a:lnTo>
                      <a:pt x="257" y="221"/>
                    </a:lnTo>
                    <a:lnTo>
                      <a:pt x="255" y="221"/>
                    </a:lnTo>
                    <a:lnTo>
                      <a:pt x="254" y="221"/>
                    </a:lnTo>
                    <a:lnTo>
                      <a:pt x="254" y="223"/>
                    </a:lnTo>
                    <a:lnTo>
                      <a:pt x="252" y="223"/>
                    </a:lnTo>
                    <a:lnTo>
                      <a:pt x="252" y="221"/>
                    </a:lnTo>
                    <a:lnTo>
                      <a:pt x="250" y="221"/>
                    </a:lnTo>
                    <a:lnTo>
                      <a:pt x="250" y="223"/>
                    </a:lnTo>
                    <a:lnTo>
                      <a:pt x="250" y="221"/>
                    </a:lnTo>
                    <a:lnTo>
                      <a:pt x="248" y="219"/>
                    </a:lnTo>
                    <a:lnTo>
                      <a:pt x="248" y="221"/>
                    </a:lnTo>
                    <a:lnTo>
                      <a:pt x="248" y="223"/>
                    </a:lnTo>
                    <a:lnTo>
                      <a:pt x="248" y="221"/>
                    </a:lnTo>
                    <a:lnTo>
                      <a:pt x="246" y="221"/>
                    </a:lnTo>
                    <a:lnTo>
                      <a:pt x="248" y="221"/>
                    </a:lnTo>
                    <a:lnTo>
                      <a:pt x="246" y="221"/>
                    </a:lnTo>
                    <a:lnTo>
                      <a:pt x="246" y="223"/>
                    </a:lnTo>
                    <a:lnTo>
                      <a:pt x="244" y="221"/>
                    </a:lnTo>
                    <a:lnTo>
                      <a:pt x="242" y="221"/>
                    </a:lnTo>
                    <a:lnTo>
                      <a:pt x="244" y="221"/>
                    </a:lnTo>
                    <a:lnTo>
                      <a:pt x="242" y="221"/>
                    </a:lnTo>
                    <a:lnTo>
                      <a:pt x="244" y="221"/>
                    </a:lnTo>
                    <a:lnTo>
                      <a:pt x="244" y="219"/>
                    </a:lnTo>
                    <a:lnTo>
                      <a:pt x="242" y="219"/>
                    </a:lnTo>
                    <a:lnTo>
                      <a:pt x="244" y="219"/>
                    </a:lnTo>
                    <a:lnTo>
                      <a:pt x="246" y="219"/>
                    </a:lnTo>
                    <a:lnTo>
                      <a:pt x="244" y="219"/>
                    </a:lnTo>
                    <a:lnTo>
                      <a:pt x="242" y="219"/>
                    </a:lnTo>
                    <a:lnTo>
                      <a:pt x="244" y="219"/>
                    </a:lnTo>
                    <a:lnTo>
                      <a:pt x="244" y="217"/>
                    </a:lnTo>
                    <a:lnTo>
                      <a:pt x="244" y="219"/>
                    </a:lnTo>
                    <a:lnTo>
                      <a:pt x="246" y="219"/>
                    </a:lnTo>
                    <a:lnTo>
                      <a:pt x="246" y="217"/>
                    </a:lnTo>
                    <a:lnTo>
                      <a:pt x="248" y="217"/>
                    </a:lnTo>
                    <a:lnTo>
                      <a:pt x="246" y="217"/>
                    </a:lnTo>
                    <a:lnTo>
                      <a:pt x="246" y="219"/>
                    </a:lnTo>
                    <a:lnTo>
                      <a:pt x="244" y="219"/>
                    </a:lnTo>
                    <a:lnTo>
                      <a:pt x="244" y="217"/>
                    </a:lnTo>
                    <a:lnTo>
                      <a:pt x="242" y="219"/>
                    </a:lnTo>
                    <a:lnTo>
                      <a:pt x="242" y="217"/>
                    </a:lnTo>
                    <a:lnTo>
                      <a:pt x="244" y="215"/>
                    </a:lnTo>
                    <a:lnTo>
                      <a:pt x="244" y="217"/>
                    </a:lnTo>
                    <a:lnTo>
                      <a:pt x="246" y="217"/>
                    </a:lnTo>
                    <a:lnTo>
                      <a:pt x="244" y="217"/>
                    </a:lnTo>
                    <a:lnTo>
                      <a:pt x="244" y="215"/>
                    </a:lnTo>
                    <a:lnTo>
                      <a:pt x="244" y="217"/>
                    </a:lnTo>
                    <a:lnTo>
                      <a:pt x="246" y="217"/>
                    </a:lnTo>
                    <a:lnTo>
                      <a:pt x="246" y="215"/>
                    </a:lnTo>
                    <a:lnTo>
                      <a:pt x="244" y="215"/>
                    </a:lnTo>
                    <a:lnTo>
                      <a:pt x="246" y="214"/>
                    </a:lnTo>
                    <a:lnTo>
                      <a:pt x="246" y="212"/>
                    </a:lnTo>
                    <a:lnTo>
                      <a:pt x="246" y="214"/>
                    </a:lnTo>
                    <a:lnTo>
                      <a:pt x="248" y="214"/>
                    </a:lnTo>
                    <a:lnTo>
                      <a:pt x="248" y="212"/>
                    </a:lnTo>
                    <a:lnTo>
                      <a:pt x="248" y="214"/>
                    </a:lnTo>
                    <a:lnTo>
                      <a:pt x="246" y="214"/>
                    </a:lnTo>
                    <a:lnTo>
                      <a:pt x="246" y="212"/>
                    </a:lnTo>
                    <a:lnTo>
                      <a:pt x="246" y="214"/>
                    </a:lnTo>
                    <a:lnTo>
                      <a:pt x="244" y="214"/>
                    </a:lnTo>
                    <a:lnTo>
                      <a:pt x="244" y="215"/>
                    </a:lnTo>
                    <a:lnTo>
                      <a:pt x="246" y="215"/>
                    </a:lnTo>
                    <a:lnTo>
                      <a:pt x="244" y="217"/>
                    </a:lnTo>
                    <a:lnTo>
                      <a:pt x="244" y="215"/>
                    </a:lnTo>
                    <a:lnTo>
                      <a:pt x="242" y="215"/>
                    </a:lnTo>
                    <a:lnTo>
                      <a:pt x="242" y="217"/>
                    </a:lnTo>
                    <a:lnTo>
                      <a:pt x="242" y="219"/>
                    </a:lnTo>
                    <a:lnTo>
                      <a:pt x="242" y="217"/>
                    </a:lnTo>
                    <a:lnTo>
                      <a:pt x="240" y="217"/>
                    </a:lnTo>
                    <a:lnTo>
                      <a:pt x="242" y="217"/>
                    </a:lnTo>
                    <a:lnTo>
                      <a:pt x="240" y="217"/>
                    </a:lnTo>
                    <a:lnTo>
                      <a:pt x="238" y="217"/>
                    </a:lnTo>
                    <a:lnTo>
                      <a:pt x="236" y="217"/>
                    </a:lnTo>
                    <a:lnTo>
                      <a:pt x="236" y="215"/>
                    </a:lnTo>
                    <a:lnTo>
                      <a:pt x="236" y="217"/>
                    </a:lnTo>
                    <a:lnTo>
                      <a:pt x="234" y="217"/>
                    </a:lnTo>
                    <a:lnTo>
                      <a:pt x="232" y="217"/>
                    </a:lnTo>
                    <a:lnTo>
                      <a:pt x="231" y="217"/>
                    </a:lnTo>
                    <a:lnTo>
                      <a:pt x="229" y="217"/>
                    </a:lnTo>
                    <a:lnTo>
                      <a:pt x="229" y="215"/>
                    </a:lnTo>
                    <a:lnTo>
                      <a:pt x="227" y="215"/>
                    </a:lnTo>
                    <a:lnTo>
                      <a:pt x="227" y="214"/>
                    </a:lnTo>
                    <a:lnTo>
                      <a:pt x="229" y="214"/>
                    </a:lnTo>
                    <a:lnTo>
                      <a:pt x="227" y="214"/>
                    </a:lnTo>
                    <a:lnTo>
                      <a:pt x="227" y="215"/>
                    </a:lnTo>
                    <a:lnTo>
                      <a:pt x="229" y="215"/>
                    </a:lnTo>
                    <a:lnTo>
                      <a:pt x="227" y="215"/>
                    </a:lnTo>
                    <a:lnTo>
                      <a:pt x="225" y="214"/>
                    </a:lnTo>
                    <a:lnTo>
                      <a:pt x="225" y="212"/>
                    </a:lnTo>
                    <a:lnTo>
                      <a:pt x="225" y="210"/>
                    </a:lnTo>
                    <a:lnTo>
                      <a:pt x="227" y="210"/>
                    </a:lnTo>
                    <a:lnTo>
                      <a:pt x="225" y="210"/>
                    </a:lnTo>
                    <a:lnTo>
                      <a:pt x="225" y="208"/>
                    </a:lnTo>
                    <a:lnTo>
                      <a:pt x="225" y="206"/>
                    </a:lnTo>
                    <a:lnTo>
                      <a:pt x="223" y="204"/>
                    </a:lnTo>
                    <a:lnTo>
                      <a:pt x="223" y="200"/>
                    </a:lnTo>
                    <a:lnTo>
                      <a:pt x="221" y="196"/>
                    </a:lnTo>
                    <a:lnTo>
                      <a:pt x="221" y="194"/>
                    </a:lnTo>
                    <a:lnTo>
                      <a:pt x="221" y="192"/>
                    </a:lnTo>
                    <a:lnTo>
                      <a:pt x="223" y="192"/>
                    </a:lnTo>
                    <a:lnTo>
                      <a:pt x="221" y="192"/>
                    </a:lnTo>
                    <a:lnTo>
                      <a:pt x="221" y="190"/>
                    </a:lnTo>
                    <a:lnTo>
                      <a:pt x="221" y="192"/>
                    </a:lnTo>
                    <a:lnTo>
                      <a:pt x="221" y="190"/>
                    </a:lnTo>
                    <a:lnTo>
                      <a:pt x="221" y="189"/>
                    </a:lnTo>
                    <a:lnTo>
                      <a:pt x="221" y="187"/>
                    </a:lnTo>
                    <a:lnTo>
                      <a:pt x="223" y="187"/>
                    </a:lnTo>
                    <a:lnTo>
                      <a:pt x="223" y="185"/>
                    </a:lnTo>
                    <a:lnTo>
                      <a:pt x="225" y="185"/>
                    </a:lnTo>
                    <a:lnTo>
                      <a:pt x="223" y="185"/>
                    </a:lnTo>
                    <a:lnTo>
                      <a:pt x="225" y="185"/>
                    </a:lnTo>
                    <a:lnTo>
                      <a:pt x="225" y="183"/>
                    </a:lnTo>
                    <a:lnTo>
                      <a:pt x="225" y="185"/>
                    </a:lnTo>
                    <a:lnTo>
                      <a:pt x="225" y="183"/>
                    </a:lnTo>
                    <a:lnTo>
                      <a:pt x="225" y="185"/>
                    </a:lnTo>
                    <a:lnTo>
                      <a:pt x="225" y="183"/>
                    </a:lnTo>
                    <a:lnTo>
                      <a:pt x="225" y="185"/>
                    </a:lnTo>
                    <a:lnTo>
                      <a:pt x="225" y="183"/>
                    </a:lnTo>
                    <a:lnTo>
                      <a:pt x="227" y="183"/>
                    </a:lnTo>
                    <a:lnTo>
                      <a:pt x="225" y="183"/>
                    </a:lnTo>
                    <a:lnTo>
                      <a:pt x="225" y="181"/>
                    </a:lnTo>
                    <a:lnTo>
                      <a:pt x="225" y="179"/>
                    </a:lnTo>
                    <a:lnTo>
                      <a:pt x="225" y="177"/>
                    </a:lnTo>
                    <a:lnTo>
                      <a:pt x="223" y="177"/>
                    </a:lnTo>
                    <a:lnTo>
                      <a:pt x="223" y="179"/>
                    </a:lnTo>
                    <a:lnTo>
                      <a:pt x="223" y="181"/>
                    </a:lnTo>
                    <a:lnTo>
                      <a:pt x="223" y="179"/>
                    </a:lnTo>
                    <a:lnTo>
                      <a:pt x="223" y="181"/>
                    </a:lnTo>
                    <a:lnTo>
                      <a:pt x="221" y="181"/>
                    </a:lnTo>
                    <a:lnTo>
                      <a:pt x="221" y="179"/>
                    </a:lnTo>
                    <a:lnTo>
                      <a:pt x="219" y="179"/>
                    </a:lnTo>
                    <a:lnTo>
                      <a:pt x="219" y="177"/>
                    </a:lnTo>
                    <a:lnTo>
                      <a:pt x="217" y="177"/>
                    </a:lnTo>
                    <a:lnTo>
                      <a:pt x="217" y="175"/>
                    </a:lnTo>
                    <a:lnTo>
                      <a:pt x="215" y="173"/>
                    </a:lnTo>
                    <a:lnTo>
                      <a:pt x="215" y="171"/>
                    </a:lnTo>
                    <a:lnTo>
                      <a:pt x="213" y="171"/>
                    </a:lnTo>
                    <a:lnTo>
                      <a:pt x="213" y="169"/>
                    </a:lnTo>
                    <a:lnTo>
                      <a:pt x="211" y="169"/>
                    </a:lnTo>
                    <a:lnTo>
                      <a:pt x="209" y="169"/>
                    </a:lnTo>
                    <a:lnTo>
                      <a:pt x="209" y="167"/>
                    </a:lnTo>
                    <a:lnTo>
                      <a:pt x="207" y="167"/>
                    </a:lnTo>
                    <a:lnTo>
                      <a:pt x="207" y="166"/>
                    </a:lnTo>
                    <a:lnTo>
                      <a:pt x="206" y="166"/>
                    </a:lnTo>
                    <a:lnTo>
                      <a:pt x="206" y="164"/>
                    </a:lnTo>
                    <a:lnTo>
                      <a:pt x="204" y="164"/>
                    </a:lnTo>
                    <a:lnTo>
                      <a:pt x="204" y="162"/>
                    </a:lnTo>
                    <a:lnTo>
                      <a:pt x="202" y="162"/>
                    </a:lnTo>
                    <a:lnTo>
                      <a:pt x="202" y="164"/>
                    </a:lnTo>
                    <a:lnTo>
                      <a:pt x="202" y="166"/>
                    </a:lnTo>
                    <a:lnTo>
                      <a:pt x="200" y="166"/>
                    </a:lnTo>
                    <a:lnTo>
                      <a:pt x="198" y="166"/>
                    </a:lnTo>
                    <a:lnTo>
                      <a:pt x="200" y="164"/>
                    </a:lnTo>
                    <a:lnTo>
                      <a:pt x="198" y="164"/>
                    </a:lnTo>
                    <a:lnTo>
                      <a:pt x="198" y="166"/>
                    </a:lnTo>
                    <a:lnTo>
                      <a:pt x="198" y="167"/>
                    </a:lnTo>
                    <a:lnTo>
                      <a:pt x="198" y="169"/>
                    </a:lnTo>
                    <a:lnTo>
                      <a:pt x="198" y="171"/>
                    </a:lnTo>
                    <a:lnTo>
                      <a:pt x="200" y="171"/>
                    </a:lnTo>
                    <a:lnTo>
                      <a:pt x="198" y="171"/>
                    </a:lnTo>
                    <a:lnTo>
                      <a:pt x="198" y="173"/>
                    </a:lnTo>
                    <a:lnTo>
                      <a:pt x="198" y="171"/>
                    </a:lnTo>
                    <a:lnTo>
                      <a:pt x="198" y="173"/>
                    </a:lnTo>
                    <a:lnTo>
                      <a:pt x="196" y="173"/>
                    </a:lnTo>
                    <a:lnTo>
                      <a:pt x="196" y="171"/>
                    </a:lnTo>
                    <a:lnTo>
                      <a:pt x="196" y="169"/>
                    </a:lnTo>
                    <a:lnTo>
                      <a:pt x="196" y="167"/>
                    </a:lnTo>
                    <a:lnTo>
                      <a:pt x="198" y="164"/>
                    </a:lnTo>
                    <a:lnTo>
                      <a:pt x="198" y="162"/>
                    </a:lnTo>
                    <a:lnTo>
                      <a:pt x="198" y="160"/>
                    </a:lnTo>
                    <a:lnTo>
                      <a:pt x="198" y="158"/>
                    </a:lnTo>
                    <a:lnTo>
                      <a:pt x="200" y="156"/>
                    </a:lnTo>
                    <a:lnTo>
                      <a:pt x="200" y="154"/>
                    </a:lnTo>
                    <a:lnTo>
                      <a:pt x="202" y="150"/>
                    </a:lnTo>
                    <a:lnTo>
                      <a:pt x="202" y="148"/>
                    </a:lnTo>
                    <a:lnTo>
                      <a:pt x="204" y="146"/>
                    </a:lnTo>
                    <a:lnTo>
                      <a:pt x="206" y="144"/>
                    </a:lnTo>
                    <a:lnTo>
                      <a:pt x="207" y="142"/>
                    </a:lnTo>
                    <a:lnTo>
                      <a:pt x="209" y="141"/>
                    </a:lnTo>
                    <a:lnTo>
                      <a:pt x="209" y="142"/>
                    </a:lnTo>
                    <a:lnTo>
                      <a:pt x="207" y="142"/>
                    </a:lnTo>
                    <a:lnTo>
                      <a:pt x="207" y="144"/>
                    </a:lnTo>
                    <a:lnTo>
                      <a:pt x="206" y="144"/>
                    </a:lnTo>
                    <a:lnTo>
                      <a:pt x="206" y="146"/>
                    </a:lnTo>
                    <a:lnTo>
                      <a:pt x="207" y="146"/>
                    </a:lnTo>
                    <a:lnTo>
                      <a:pt x="207" y="148"/>
                    </a:lnTo>
                    <a:lnTo>
                      <a:pt x="207" y="146"/>
                    </a:lnTo>
                    <a:lnTo>
                      <a:pt x="207" y="148"/>
                    </a:lnTo>
                    <a:lnTo>
                      <a:pt x="207" y="146"/>
                    </a:lnTo>
                    <a:lnTo>
                      <a:pt x="209" y="146"/>
                    </a:lnTo>
                    <a:lnTo>
                      <a:pt x="211" y="146"/>
                    </a:lnTo>
                    <a:lnTo>
                      <a:pt x="213" y="146"/>
                    </a:lnTo>
                    <a:lnTo>
                      <a:pt x="213" y="144"/>
                    </a:lnTo>
                    <a:lnTo>
                      <a:pt x="213" y="146"/>
                    </a:lnTo>
                    <a:lnTo>
                      <a:pt x="215" y="146"/>
                    </a:lnTo>
                    <a:lnTo>
                      <a:pt x="213" y="144"/>
                    </a:lnTo>
                    <a:lnTo>
                      <a:pt x="215" y="144"/>
                    </a:lnTo>
                    <a:lnTo>
                      <a:pt x="213" y="144"/>
                    </a:lnTo>
                    <a:lnTo>
                      <a:pt x="215" y="144"/>
                    </a:lnTo>
                    <a:lnTo>
                      <a:pt x="213" y="144"/>
                    </a:lnTo>
                    <a:lnTo>
                      <a:pt x="215" y="144"/>
                    </a:lnTo>
                    <a:lnTo>
                      <a:pt x="217" y="144"/>
                    </a:lnTo>
                    <a:lnTo>
                      <a:pt x="217" y="142"/>
                    </a:lnTo>
                    <a:lnTo>
                      <a:pt x="217" y="141"/>
                    </a:lnTo>
                    <a:lnTo>
                      <a:pt x="215" y="141"/>
                    </a:lnTo>
                    <a:lnTo>
                      <a:pt x="215" y="142"/>
                    </a:lnTo>
                    <a:lnTo>
                      <a:pt x="215" y="141"/>
                    </a:lnTo>
                    <a:lnTo>
                      <a:pt x="217" y="139"/>
                    </a:lnTo>
                    <a:lnTo>
                      <a:pt x="217" y="137"/>
                    </a:lnTo>
                    <a:lnTo>
                      <a:pt x="215" y="137"/>
                    </a:lnTo>
                    <a:lnTo>
                      <a:pt x="217" y="137"/>
                    </a:lnTo>
                    <a:lnTo>
                      <a:pt x="215" y="137"/>
                    </a:lnTo>
                    <a:lnTo>
                      <a:pt x="215" y="139"/>
                    </a:lnTo>
                    <a:lnTo>
                      <a:pt x="215" y="137"/>
                    </a:lnTo>
                    <a:lnTo>
                      <a:pt x="213" y="137"/>
                    </a:lnTo>
                    <a:lnTo>
                      <a:pt x="215" y="137"/>
                    </a:lnTo>
                    <a:lnTo>
                      <a:pt x="213" y="137"/>
                    </a:lnTo>
                    <a:lnTo>
                      <a:pt x="213" y="135"/>
                    </a:lnTo>
                    <a:lnTo>
                      <a:pt x="213" y="133"/>
                    </a:lnTo>
                    <a:lnTo>
                      <a:pt x="215" y="133"/>
                    </a:lnTo>
                    <a:lnTo>
                      <a:pt x="215" y="131"/>
                    </a:lnTo>
                    <a:lnTo>
                      <a:pt x="215" y="129"/>
                    </a:lnTo>
                    <a:lnTo>
                      <a:pt x="215" y="131"/>
                    </a:lnTo>
                    <a:lnTo>
                      <a:pt x="215" y="129"/>
                    </a:lnTo>
                    <a:lnTo>
                      <a:pt x="217" y="129"/>
                    </a:lnTo>
                    <a:lnTo>
                      <a:pt x="215" y="129"/>
                    </a:lnTo>
                    <a:lnTo>
                      <a:pt x="217" y="129"/>
                    </a:lnTo>
                    <a:lnTo>
                      <a:pt x="217" y="127"/>
                    </a:lnTo>
                    <a:lnTo>
                      <a:pt x="217" y="125"/>
                    </a:lnTo>
                    <a:lnTo>
                      <a:pt x="219" y="125"/>
                    </a:lnTo>
                    <a:lnTo>
                      <a:pt x="221" y="125"/>
                    </a:lnTo>
                    <a:lnTo>
                      <a:pt x="221" y="127"/>
                    </a:lnTo>
                    <a:lnTo>
                      <a:pt x="223" y="127"/>
                    </a:lnTo>
                    <a:lnTo>
                      <a:pt x="223" y="129"/>
                    </a:lnTo>
                    <a:lnTo>
                      <a:pt x="223" y="131"/>
                    </a:lnTo>
                    <a:lnTo>
                      <a:pt x="225" y="131"/>
                    </a:lnTo>
                    <a:lnTo>
                      <a:pt x="225" y="133"/>
                    </a:lnTo>
                    <a:lnTo>
                      <a:pt x="227" y="133"/>
                    </a:lnTo>
                    <a:lnTo>
                      <a:pt x="225" y="133"/>
                    </a:lnTo>
                    <a:lnTo>
                      <a:pt x="227" y="133"/>
                    </a:lnTo>
                    <a:lnTo>
                      <a:pt x="229" y="133"/>
                    </a:lnTo>
                    <a:lnTo>
                      <a:pt x="229" y="135"/>
                    </a:lnTo>
                    <a:lnTo>
                      <a:pt x="231" y="133"/>
                    </a:lnTo>
                    <a:lnTo>
                      <a:pt x="231" y="135"/>
                    </a:lnTo>
                    <a:lnTo>
                      <a:pt x="232" y="135"/>
                    </a:lnTo>
                    <a:lnTo>
                      <a:pt x="232" y="133"/>
                    </a:lnTo>
                    <a:lnTo>
                      <a:pt x="234" y="133"/>
                    </a:lnTo>
                    <a:lnTo>
                      <a:pt x="234" y="135"/>
                    </a:lnTo>
                    <a:lnTo>
                      <a:pt x="236" y="135"/>
                    </a:lnTo>
                    <a:lnTo>
                      <a:pt x="238" y="135"/>
                    </a:lnTo>
                    <a:lnTo>
                      <a:pt x="238" y="133"/>
                    </a:lnTo>
                    <a:lnTo>
                      <a:pt x="240" y="135"/>
                    </a:lnTo>
                    <a:lnTo>
                      <a:pt x="242" y="135"/>
                    </a:lnTo>
                    <a:lnTo>
                      <a:pt x="242" y="137"/>
                    </a:lnTo>
                    <a:lnTo>
                      <a:pt x="244" y="137"/>
                    </a:lnTo>
                    <a:lnTo>
                      <a:pt x="244" y="139"/>
                    </a:lnTo>
                    <a:lnTo>
                      <a:pt x="246" y="139"/>
                    </a:lnTo>
                    <a:lnTo>
                      <a:pt x="246" y="137"/>
                    </a:lnTo>
                    <a:lnTo>
                      <a:pt x="246" y="139"/>
                    </a:lnTo>
                    <a:lnTo>
                      <a:pt x="248" y="139"/>
                    </a:lnTo>
                    <a:lnTo>
                      <a:pt x="248" y="141"/>
                    </a:lnTo>
                    <a:lnTo>
                      <a:pt x="248" y="142"/>
                    </a:lnTo>
                    <a:lnTo>
                      <a:pt x="250" y="142"/>
                    </a:lnTo>
                    <a:lnTo>
                      <a:pt x="250" y="144"/>
                    </a:lnTo>
                    <a:lnTo>
                      <a:pt x="248" y="144"/>
                    </a:lnTo>
                    <a:lnTo>
                      <a:pt x="248" y="142"/>
                    </a:lnTo>
                    <a:lnTo>
                      <a:pt x="248" y="144"/>
                    </a:lnTo>
                    <a:lnTo>
                      <a:pt x="246" y="144"/>
                    </a:lnTo>
                    <a:lnTo>
                      <a:pt x="248" y="144"/>
                    </a:lnTo>
                    <a:lnTo>
                      <a:pt x="246" y="144"/>
                    </a:lnTo>
                    <a:lnTo>
                      <a:pt x="248" y="144"/>
                    </a:lnTo>
                    <a:lnTo>
                      <a:pt x="246" y="144"/>
                    </a:lnTo>
                    <a:lnTo>
                      <a:pt x="248" y="144"/>
                    </a:lnTo>
                    <a:lnTo>
                      <a:pt x="246" y="144"/>
                    </a:lnTo>
                    <a:lnTo>
                      <a:pt x="248" y="144"/>
                    </a:lnTo>
                    <a:lnTo>
                      <a:pt x="248" y="142"/>
                    </a:lnTo>
                    <a:lnTo>
                      <a:pt x="248" y="144"/>
                    </a:lnTo>
                    <a:lnTo>
                      <a:pt x="250" y="144"/>
                    </a:lnTo>
                    <a:lnTo>
                      <a:pt x="250" y="142"/>
                    </a:lnTo>
                    <a:lnTo>
                      <a:pt x="248" y="142"/>
                    </a:lnTo>
                    <a:lnTo>
                      <a:pt x="248" y="141"/>
                    </a:lnTo>
                    <a:lnTo>
                      <a:pt x="248" y="139"/>
                    </a:lnTo>
                    <a:lnTo>
                      <a:pt x="246" y="139"/>
                    </a:lnTo>
                    <a:lnTo>
                      <a:pt x="246" y="137"/>
                    </a:lnTo>
                    <a:lnTo>
                      <a:pt x="244" y="139"/>
                    </a:lnTo>
                    <a:lnTo>
                      <a:pt x="244" y="137"/>
                    </a:lnTo>
                    <a:lnTo>
                      <a:pt x="242" y="137"/>
                    </a:lnTo>
                    <a:lnTo>
                      <a:pt x="242" y="135"/>
                    </a:lnTo>
                    <a:lnTo>
                      <a:pt x="240" y="135"/>
                    </a:lnTo>
                    <a:lnTo>
                      <a:pt x="240" y="133"/>
                    </a:lnTo>
                    <a:lnTo>
                      <a:pt x="240" y="131"/>
                    </a:lnTo>
                    <a:lnTo>
                      <a:pt x="240" y="133"/>
                    </a:lnTo>
                    <a:lnTo>
                      <a:pt x="242" y="133"/>
                    </a:lnTo>
                    <a:lnTo>
                      <a:pt x="240" y="133"/>
                    </a:lnTo>
                    <a:lnTo>
                      <a:pt x="240" y="131"/>
                    </a:lnTo>
                    <a:lnTo>
                      <a:pt x="242" y="131"/>
                    </a:lnTo>
                    <a:lnTo>
                      <a:pt x="242" y="133"/>
                    </a:lnTo>
                    <a:lnTo>
                      <a:pt x="242" y="131"/>
                    </a:lnTo>
                    <a:lnTo>
                      <a:pt x="244" y="131"/>
                    </a:lnTo>
                    <a:lnTo>
                      <a:pt x="244" y="133"/>
                    </a:lnTo>
                    <a:lnTo>
                      <a:pt x="246" y="133"/>
                    </a:lnTo>
                    <a:lnTo>
                      <a:pt x="248" y="133"/>
                    </a:lnTo>
                    <a:lnTo>
                      <a:pt x="250" y="131"/>
                    </a:lnTo>
                    <a:lnTo>
                      <a:pt x="248" y="131"/>
                    </a:lnTo>
                    <a:lnTo>
                      <a:pt x="250" y="131"/>
                    </a:lnTo>
                    <a:lnTo>
                      <a:pt x="250" y="129"/>
                    </a:lnTo>
                    <a:lnTo>
                      <a:pt x="250" y="131"/>
                    </a:lnTo>
                    <a:lnTo>
                      <a:pt x="252" y="131"/>
                    </a:lnTo>
                    <a:lnTo>
                      <a:pt x="254" y="131"/>
                    </a:lnTo>
                    <a:lnTo>
                      <a:pt x="252" y="131"/>
                    </a:lnTo>
                    <a:lnTo>
                      <a:pt x="252" y="133"/>
                    </a:lnTo>
                    <a:lnTo>
                      <a:pt x="254" y="133"/>
                    </a:lnTo>
                    <a:lnTo>
                      <a:pt x="252" y="133"/>
                    </a:lnTo>
                    <a:lnTo>
                      <a:pt x="254" y="135"/>
                    </a:lnTo>
                    <a:lnTo>
                      <a:pt x="255" y="135"/>
                    </a:lnTo>
                    <a:lnTo>
                      <a:pt x="254" y="135"/>
                    </a:lnTo>
                    <a:lnTo>
                      <a:pt x="255" y="135"/>
                    </a:lnTo>
                    <a:lnTo>
                      <a:pt x="254" y="135"/>
                    </a:lnTo>
                    <a:lnTo>
                      <a:pt x="254" y="133"/>
                    </a:lnTo>
                    <a:lnTo>
                      <a:pt x="252" y="133"/>
                    </a:lnTo>
                    <a:lnTo>
                      <a:pt x="254" y="133"/>
                    </a:lnTo>
                    <a:lnTo>
                      <a:pt x="252" y="133"/>
                    </a:lnTo>
                    <a:lnTo>
                      <a:pt x="252" y="131"/>
                    </a:lnTo>
                    <a:lnTo>
                      <a:pt x="254" y="133"/>
                    </a:lnTo>
                    <a:lnTo>
                      <a:pt x="254" y="131"/>
                    </a:lnTo>
                    <a:lnTo>
                      <a:pt x="252" y="131"/>
                    </a:lnTo>
                    <a:lnTo>
                      <a:pt x="250" y="129"/>
                    </a:lnTo>
                    <a:lnTo>
                      <a:pt x="252" y="129"/>
                    </a:lnTo>
                    <a:lnTo>
                      <a:pt x="250" y="129"/>
                    </a:lnTo>
                    <a:lnTo>
                      <a:pt x="250" y="131"/>
                    </a:lnTo>
                    <a:lnTo>
                      <a:pt x="248" y="131"/>
                    </a:lnTo>
                    <a:lnTo>
                      <a:pt x="250" y="131"/>
                    </a:lnTo>
                    <a:lnTo>
                      <a:pt x="248" y="133"/>
                    </a:lnTo>
                    <a:lnTo>
                      <a:pt x="246" y="133"/>
                    </a:lnTo>
                    <a:lnTo>
                      <a:pt x="244" y="133"/>
                    </a:lnTo>
                    <a:lnTo>
                      <a:pt x="244" y="131"/>
                    </a:lnTo>
                    <a:lnTo>
                      <a:pt x="242" y="131"/>
                    </a:lnTo>
                    <a:lnTo>
                      <a:pt x="242" y="133"/>
                    </a:lnTo>
                    <a:lnTo>
                      <a:pt x="242" y="131"/>
                    </a:lnTo>
                    <a:lnTo>
                      <a:pt x="240" y="131"/>
                    </a:lnTo>
                    <a:lnTo>
                      <a:pt x="240" y="133"/>
                    </a:lnTo>
                    <a:lnTo>
                      <a:pt x="242" y="133"/>
                    </a:lnTo>
                    <a:lnTo>
                      <a:pt x="240" y="133"/>
                    </a:lnTo>
                    <a:lnTo>
                      <a:pt x="240" y="131"/>
                    </a:lnTo>
                    <a:lnTo>
                      <a:pt x="240" y="133"/>
                    </a:lnTo>
                    <a:lnTo>
                      <a:pt x="240" y="135"/>
                    </a:lnTo>
                    <a:lnTo>
                      <a:pt x="238" y="133"/>
                    </a:lnTo>
                    <a:lnTo>
                      <a:pt x="236" y="133"/>
                    </a:lnTo>
                    <a:lnTo>
                      <a:pt x="236" y="135"/>
                    </a:lnTo>
                    <a:lnTo>
                      <a:pt x="234" y="135"/>
                    </a:lnTo>
                    <a:lnTo>
                      <a:pt x="234" y="133"/>
                    </a:lnTo>
                    <a:lnTo>
                      <a:pt x="232" y="133"/>
                    </a:lnTo>
                    <a:lnTo>
                      <a:pt x="232" y="131"/>
                    </a:lnTo>
                    <a:lnTo>
                      <a:pt x="231" y="131"/>
                    </a:lnTo>
                    <a:lnTo>
                      <a:pt x="229" y="131"/>
                    </a:lnTo>
                    <a:lnTo>
                      <a:pt x="229" y="129"/>
                    </a:lnTo>
                    <a:lnTo>
                      <a:pt x="227" y="129"/>
                    </a:lnTo>
                    <a:lnTo>
                      <a:pt x="229" y="127"/>
                    </a:lnTo>
                    <a:lnTo>
                      <a:pt x="227" y="127"/>
                    </a:lnTo>
                    <a:lnTo>
                      <a:pt x="227" y="129"/>
                    </a:lnTo>
                    <a:lnTo>
                      <a:pt x="229" y="129"/>
                    </a:lnTo>
                    <a:lnTo>
                      <a:pt x="229" y="131"/>
                    </a:lnTo>
                    <a:lnTo>
                      <a:pt x="231" y="131"/>
                    </a:lnTo>
                    <a:lnTo>
                      <a:pt x="229" y="131"/>
                    </a:lnTo>
                    <a:lnTo>
                      <a:pt x="227" y="131"/>
                    </a:lnTo>
                    <a:lnTo>
                      <a:pt x="227" y="129"/>
                    </a:lnTo>
                    <a:lnTo>
                      <a:pt x="227" y="127"/>
                    </a:lnTo>
                    <a:lnTo>
                      <a:pt x="225" y="127"/>
                    </a:lnTo>
                    <a:lnTo>
                      <a:pt x="227" y="125"/>
                    </a:lnTo>
                    <a:lnTo>
                      <a:pt x="225" y="125"/>
                    </a:lnTo>
                    <a:lnTo>
                      <a:pt x="223" y="125"/>
                    </a:lnTo>
                    <a:lnTo>
                      <a:pt x="225" y="125"/>
                    </a:lnTo>
                    <a:lnTo>
                      <a:pt x="223" y="125"/>
                    </a:lnTo>
                    <a:lnTo>
                      <a:pt x="225" y="125"/>
                    </a:lnTo>
                    <a:lnTo>
                      <a:pt x="223" y="125"/>
                    </a:lnTo>
                    <a:lnTo>
                      <a:pt x="221" y="125"/>
                    </a:lnTo>
                    <a:lnTo>
                      <a:pt x="221" y="123"/>
                    </a:lnTo>
                    <a:lnTo>
                      <a:pt x="223" y="123"/>
                    </a:lnTo>
                    <a:lnTo>
                      <a:pt x="223" y="125"/>
                    </a:lnTo>
                    <a:lnTo>
                      <a:pt x="223" y="123"/>
                    </a:lnTo>
                    <a:lnTo>
                      <a:pt x="221" y="123"/>
                    </a:lnTo>
                    <a:lnTo>
                      <a:pt x="221" y="121"/>
                    </a:lnTo>
                    <a:lnTo>
                      <a:pt x="221" y="123"/>
                    </a:lnTo>
                    <a:lnTo>
                      <a:pt x="221" y="121"/>
                    </a:lnTo>
                    <a:lnTo>
                      <a:pt x="221" y="123"/>
                    </a:lnTo>
                    <a:lnTo>
                      <a:pt x="221" y="121"/>
                    </a:lnTo>
                    <a:lnTo>
                      <a:pt x="223" y="121"/>
                    </a:lnTo>
                    <a:lnTo>
                      <a:pt x="221" y="119"/>
                    </a:lnTo>
                    <a:lnTo>
                      <a:pt x="221" y="117"/>
                    </a:lnTo>
                    <a:lnTo>
                      <a:pt x="221" y="116"/>
                    </a:lnTo>
                    <a:lnTo>
                      <a:pt x="223" y="116"/>
                    </a:lnTo>
                    <a:lnTo>
                      <a:pt x="223" y="114"/>
                    </a:lnTo>
                    <a:lnTo>
                      <a:pt x="223" y="112"/>
                    </a:lnTo>
                    <a:lnTo>
                      <a:pt x="225" y="112"/>
                    </a:lnTo>
                    <a:lnTo>
                      <a:pt x="225" y="110"/>
                    </a:lnTo>
                    <a:lnTo>
                      <a:pt x="225" y="112"/>
                    </a:lnTo>
                    <a:lnTo>
                      <a:pt x="227" y="110"/>
                    </a:lnTo>
                    <a:lnTo>
                      <a:pt x="229" y="112"/>
                    </a:lnTo>
                    <a:lnTo>
                      <a:pt x="231" y="112"/>
                    </a:lnTo>
                    <a:lnTo>
                      <a:pt x="231" y="114"/>
                    </a:lnTo>
                    <a:lnTo>
                      <a:pt x="232" y="114"/>
                    </a:lnTo>
                    <a:lnTo>
                      <a:pt x="232" y="116"/>
                    </a:lnTo>
                    <a:lnTo>
                      <a:pt x="232" y="114"/>
                    </a:lnTo>
                    <a:lnTo>
                      <a:pt x="231" y="114"/>
                    </a:lnTo>
                    <a:lnTo>
                      <a:pt x="231" y="116"/>
                    </a:lnTo>
                    <a:lnTo>
                      <a:pt x="232" y="116"/>
                    </a:lnTo>
                    <a:lnTo>
                      <a:pt x="231" y="116"/>
                    </a:lnTo>
                    <a:lnTo>
                      <a:pt x="231" y="114"/>
                    </a:lnTo>
                    <a:lnTo>
                      <a:pt x="232" y="114"/>
                    </a:lnTo>
                    <a:lnTo>
                      <a:pt x="232" y="116"/>
                    </a:lnTo>
                    <a:lnTo>
                      <a:pt x="232" y="114"/>
                    </a:lnTo>
                    <a:lnTo>
                      <a:pt x="232" y="116"/>
                    </a:lnTo>
                    <a:lnTo>
                      <a:pt x="234" y="116"/>
                    </a:lnTo>
                    <a:lnTo>
                      <a:pt x="232" y="116"/>
                    </a:lnTo>
                    <a:lnTo>
                      <a:pt x="232" y="114"/>
                    </a:lnTo>
                    <a:lnTo>
                      <a:pt x="231" y="114"/>
                    </a:lnTo>
                    <a:lnTo>
                      <a:pt x="231" y="112"/>
                    </a:lnTo>
                    <a:lnTo>
                      <a:pt x="229" y="112"/>
                    </a:lnTo>
                    <a:lnTo>
                      <a:pt x="227" y="110"/>
                    </a:lnTo>
                    <a:lnTo>
                      <a:pt x="225" y="110"/>
                    </a:lnTo>
                    <a:lnTo>
                      <a:pt x="227" y="110"/>
                    </a:lnTo>
                    <a:lnTo>
                      <a:pt x="225" y="110"/>
                    </a:lnTo>
                    <a:lnTo>
                      <a:pt x="225" y="108"/>
                    </a:lnTo>
                    <a:lnTo>
                      <a:pt x="227" y="108"/>
                    </a:lnTo>
                    <a:lnTo>
                      <a:pt x="229" y="108"/>
                    </a:lnTo>
                    <a:lnTo>
                      <a:pt x="231" y="110"/>
                    </a:lnTo>
                    <a:lnTo>
                      <a:pt x="232" y="110"/>
                    </a:lnTo>
                    <a:lnTo>
                      <a:pt x="232" y="112"/>
                    </a:lnTo>
                    <a:lnTo>
                      <a:pt x="232" y="110"/>
                    </a:lnTo>
                    <a:lnTo>
                      <a:pt x="234" y="110"/>
                    </a:lnTo>
                    <a:lnTo>
                      <a:pt x="234" y="112"/>
                    </a:lnTo>
                    <a:lnTo>
                      <a:pt x="236" y="112"/>
                    </a:lnTo>
                    <a:lnTo>
                      <a:pt x="234" y="112"/>
                    </a:lnTo>
                    <a:lnTo>
                      <a:pt x="236" y="112"/>
                    </a:lnTo>
                    <a:lnTo>
                      <a:pt x="234" y="112"/>
                    </a:lnTo>
                    <a:lnTo>
                      <a:pt x="234" y="110"/>
                    </a:lnTo>
                    <a:lnTo>
                      <a:pt x="232" y="110"/>
                    </a:lnTo>
                    <a:lnTo>
                      <a:pt x="231" y="110"/>
                    </a:lnTo>
                    <a:lnTo>
                      <a:pt x="231" y="108"/>
                    </a:lnTo>
                    <a:lnTo>
                      <a:pt x="229" y="108"/>
                    </a:lnTo>
                    <a:lnTo>
                      <a:pt x="231" y="108"/>
                    </a:lnTo>
                    <a:lnTo>
                      <a:pt x="231" y="110"/>
                    </a:lnTo>
                    <a:lnTo>
                      <a:pt x="229" y="108"/>
                    </a:lnTo>
                    <a:lnTo>
                      <a:pt x="227" y="108"/>
                    </a:lnTo>
                    <a:lnTo>
                      <a:pt x="227" y="106"/>
                    </a:lnTo>
                    <a:lnTo>
                      <a:pt x="229" y="106"/>
                    </a:lnTo>
                    <a:lnTo>
                      <a:pt x="229" y="108"/>
                    </a:lnTo>
                    <a:lnTo>
                      <a:pt x="227" y="106"/>
                    </a:lnTo>
                    <a:lnTo>
                      <a:pt x="227" y="104"/>
                    </a:lnTo>
                    <a:lnTo>
                      <a:pt x="227" y="102"/>
                    </a:lnTo>
                    <a:lnTo>
                      <a:pt x="229" y="102"/>
                    </a:lnTo>
                    <a:lnTo>
                      <a:pt x="229" y="104"/>
                    </a:lnTo>
                    <a:lnTo>
                      <a:pt x="227" y="102"/>
                    </a:lnTo>
                    <a:lnTo>
                      <a:pt x="227" y="104"/>
                    </a:lnTo>
                    <a:lnTo>
                      <a:pt x="227" y="102"/>
                    </a:lnTo>
                    <a:lnTo>
                      <a:pt x="227" y="100"/>
                    </a:lnTo>
                    <a:lnTo>
                      <a:pt x="225" y="100"/>
                    </a:lnTo>
                    <a:lnTo>
                      <a:pt x="223" y="100"/>
                    </a:lnTo>
                    <a:lnTo>
                      <a:pt x="223" y="98"/>
                    </a:lnTo>
                    <a:lnTo>
                      <a:pt x="223" y="100"/>
                    </a:lnTo>
                    <a:lnTo>
                      <a:pt x="221" y="100"/>
                    </a:lnTo>
                    <a:lnTo>
                      <a:pt x="219" y="100"/>
                    </a:lnTo>
                    <a:lnTo>
                      <a:pt x="217" y="100"/>
                    </a:lnTo>
                    <a:lnTo>
                      <a:pt x="215" y="100"/>
                    </a:lnTo>
                    <a:lnTo>
                      <a:pt x="213" y="100"/>
                    </a:lnTo>
                    <a:lnTo>
                      <a:pt x="213" y="102"/>
                    </a:lnTo>
                    <a:lnTo>
                      <a:pt x="213" y="100"/>
                    </a:lnTo>
                    <a:lnTo>
                      <a:pt x="213" y="98"/>
                    </a:lnTo>
                    <a:lnTo>
                      <a:pt x="213" y="96"/>
                    </a:lnTo>
                    <a:lnTo>
                      <a:pt x="213" y="94"/>
                    </a:lnTo>
                    <a:lnTo>
                      <a:pt x="213" y="92"/>
                    </a:lnTo>
                    <a:lnTo>
                      <a:pt x="215" y="92"/>
                    </a:lnTo>
                    <a:lnTo>
                      <a:pt x="217" y="92"/>
                    </a:lnTo>
                    <a:lnTo>
                      <a:pt x="217" y="91"/>
                    </a:lnTo>
                    <a:lnTo>
                      <a:pt x="219" y="91"/>
                    </a:lnTo>
                    <a:lnTo>
                      <a:pt x="219" y="89"/>
                    </a:lnTo>
                    <a:lnTo>
                      <a:pt x="221" y="89"/>
                    </a:lnTo>
                    <a:lnTo>
                      <a:pt x="223" y="89"/>
                    </a:lnTo>
                    <a:lnTo>
                      <a:pt x="223" y="91"/>
                    </a:lnTo>
                    <a:lnTo>
                      <a:pt x="225" y="91"/>
                    </a:lnTo>
                    <a:lnTo>
                      <a:pt x="223" y="91"/>
                    </a:lnTo>
                    <a:lnTo>
                      <a:pt x="223" y="89"/>
                    </a:lnTo>
                    <a:lnTo>
                      <a:pt x="221" y="89"/>
                    </a:lnTo>
                    <a:lnTo>
                      <a:pt x="221" y="87"/>
                    </a:lnTo>
                    <a:lnTo>
                      <a:pt x="221" y="85"/>
                    </a:lnTo>
                    <a:lnTo>
                      <a:pt x="223" y="85"/>
                    </a:lnTo>
                    <a:lnTo>
                      <a:pt x="225" y="87"/>
                    </a:lnTo>
                    <a:lnTo>
                      <a:pt x="223" y="87"/>
                    </a:lnTo>
                    <a:lnTo>
                      <a:pt x="225" y="87"/>
                    </a:lnTo>
                    <a:lnTo>
                      <a:pt x="223" y="89"/>
                    </a:lnTo>
                    <a:lnTo>
                      <a:pt x="225" y="89"/>
                    </a:lnTo>
                    <a:lnTo>
                      <a:pt x="227" y="89"/>
                    </a:lnTo>
                    <a:lnTo>
                      <a:pt x="227" y="91"/>
                    </a:lnTo>
                    <a:lnTo>
                      <a:pt x="229" y="91"/>
                    </a:lnTo>
                    <a:lnTo>
                      <a:pt x="227" y="91"/>
                    </a:lnTo>
                    <a:lnTo>
                      <a:pt x="227" y="92"/>
                    </a:lnTo>
                    <a:lnTo>
                      <a:pt x="229" y="91"/>
                    </a:lnTo>
                    <a:lnTo>
                      <a:pt x="229" y="92"/>
                    </a:lnTo>
                    <a:lnTo>
                      <a:pt x="227" y="92"/>
                    </a:lnTo>
                    <a:lnTo>
                      <a:pt x="229" y="92"/>
                    </a:lnTo>
                    <a:lnTo>
                      <a:pt x="231" y="92"/>
                    </a:lnTo>
                    <a:lnTo>
                      <a:pt x="232" y="92"/>
                    </a:lnTo>
                    <a:lnTo>
                      <a:pt x="232" y="94"/>
                    </a:lnTo>
                    <a:lnTo>
                      <a:pt x="234" y="94"/>
                    </a:lnTo>
                    <a:lnTo>
                      <a:pt x="234" y="96"/>
                    </a:lnTo>
                    <a:lnTo>
                      <a:pt x="236" y="96"/>
                    </a:lnTo>
                    <a:lnTo>
                      <a:pt x="236" y="94"/>
                    </a:lnTo>
                    <a:lnTo>
                      <a:pt x="236" y="96"/>
                    </a:lnTo>
                    <a:lnTo>
                      <a:pt x="238" y="96"/>
                    </a:lnTo>
                    <a:lnTo>
                      <a:pt x="238" y="94"/>
                    </a:lnTo>
                    <a:lnTo>
                      <a:pt x="238" y="96"/>
                    </a:lnTo>
                    <a:lnTo>
                      <a:pt x="236" y="96"/>
                    </a:lnTo>
                    <a:lnTo>
                      <a:pt x="236" y="94"/>
                    </a:lnTo>
                    <a:lnTo>
                      <a:pt x="234" y="96"/>
                    </a:lnTo>
                    <a:lnTo>
                      <a:pt x="234" y="94"/>
                    </a:lnTo>
                    <a:lnTo>
                      <a:pt x="232" y="94"/>
                    </a:lnTo>
                    <a:lnTo>
                      <a:pt x="232" y="92"/>
                    </a:lnTo>
                    <a:lnTo>
                      <a:pt x="231" y="92"/>
                    </a:lnTo>
                    <a:lnTo>
                      <a:pt x="229" y="92"/>
                    </a:lnTo>
                    <a:lnTo>
                      <a:pt x="229" y="91"/>
                    </a:lnTo>
                    <a:lnTo>
                      <a:pt x="227" y="91"/>
                    </a:lnTo>
                    <a:lnTo>
                      <a:pt x="229" y="91"/>
                    </a:lnTo>
                    <a:lnTo>
                      <a:pt x="229" y="89"/>
                    </a:lnTo>
                    <a:lnTo>
                      <a:pt x="229" y="91"/>
                    </a:lnTo>
                    <a:lnTo>
                      <a:pt x="227" y="91"/>
                    </a:lnTo>
                    <a:lnTo>
                      <a:pt x="227" y="89"/>
                    </a:lnTo>
                    <a:lnTo>
                      <a:pt x="225" y="89"/>
                    </a:lnTo>
                    <a:lnTo>
                      <a:pt x="223" y="89"/>
                    </a:lnTo>
                    <a:lnTo>
                      <a:pt x="225" y="89"/>
                    </a:lnTo>
                    <a:lnTo>
                      <a:pt x="225" y="87"/>
                    </a:lnTo>
                    <a:lnTo>
                      <a:pt x="223" y="87"/>
                    </a:lnTo>
                    <a:lnTo>
                      <a:pt x="225" y="87"/>
                    </a:lnTo>
                    <a:lnTo>
                      <a:pt x="223" y="85"/>
                    </a:lnTo>
                    <a:lnTo>
                      <a:pt x="221" y="85"/>
                    </a:lnTo>
                    <a:lnTo>
                      <a:pt x="221" y="83"/>
                    </a:lnTo>
                    <a:lnTo>
                      <a:pt x="219" y="83"/>
                    </a:lnTo>
                    <a:lnTo>
                      <a:pt x="219" y="81"/>
                    </a:lnTo>
                    <a:lnTo>
                      <a:pt x="221" y="81"/>
                    </a:lnTo>
                    <a:lnTo>
                      <a:pt x="221" y="79"/>
                    </a:lnTo>
                    <a:lnTo>
                      <a:pt x="223" y="79"/>
                    </a:lnTo>
                    <a:lnTo>
                      <a:pt x="225" y="77"/>
                    </a:lnTo>
                    <a:lnTo>
                      <a:pt x="227" y="75"/>
                    </a:lnTo>
                    <a:lnTo>
                      <a:pt x="227" y="73"/>
                    </a:lnTo>
                    <a:lnTo>
                      <a:pt x="229" y="73"/>
                    </a:lnTo>
                    <a:lnTo>
                      <a:pt x="231" y="73"/>
                    </a:lnTo>
                    <a:lnTo>
                      <a:pt x="232" y="73"/>
                    </a:lnTo>
                    <a:lnTo>
                      <a:pt x="234" y="73"/>
                    </a:lnTo>
                    <a:lnTo>
                      <a:pt x="236" y="73"/>
                    </a:lnTo>
                    <a:lnTo>
                      <a:pt x="238" y="73"/>
                    </a:lnTo>
                    <a:lnTo>
                      <a:pt x="238" y="71"/>
                    </a:lnTo>
                    <a:lnTo>
                      <a:pt x="240" y="71"/>
                    </a:lnTo>
                    <a:lnTo>
                      <a:pt x="242" y="71"/>
                    </a:lnTo>
                    <a:lnTo>
                      <a:pt x="242" y="69"/>
                    </a:lnTo>
                    <a:lnTo>
                      <a:pt x="242" y="71"/>
                    </a:lnTo>
                    <a:lnTo>
                      <a:pt x="242" y="73"/>
                    </a:lnTo>
                    <a:lnTo>
                      <a:pt x="244" y="73"/>
                    </a:lnTo>
                    <a:lnTo>
                      <a:pt x="244" y="75"/>
                    </a:lnTo>
                    <a:lnTo>
                      <a:pt x="244" y="73"/>
                    </a:lnTo>
                    <a:lnTo>
                      <a:pt x="244" y="75"/>
                    </a:lnTo>
                    <a:lnTo>
                      <a:pt x="242" y="75"/>
                    </a:lnTo>
                    <a:lnTo>
                      <a:pt x="244" y="75"/>
                    </a:lnTo>
                    <a:lnTo>
                      <a:pt x="242" y="75"/>
                    </a:lnTo>
                    <a:lnTo>
                      <a:pt x="244" y="75"/>
                    </a:lnTo>
                    <a:lnTo>
                      <a:pt x="242" y="73"/>
                    </a:lnTo>
                    <a:lnTo>
                      <a:pt x="242" y="71"/>
                    </a:lnTo>
                    <a:lnTo>
                      <a:pt x="244" y="71"/>
                    </a:lnTo>
                    <a:lnTo>
                      <a:pt x="246" y="71"/>
                    </a:lnTo>
                    <a:lnTo>
                      <a:pt x="246" y="73"/>
                    </a:lnTo>
                    <a:lnTo>
                      <a:pt x="248" y="75"/>
                    </a:lnTo>
                    <a:lnTo>
                      <a:pt x="246" y="75"/>
                    </a:lnTo>
                    <a:lnTo>
                      <a:pt x="246" y="73"/>
                    </a:lnTo>
                    <a:lnTo>
                      <a:pt x="244" y="73"/>
                    </a:lnTo>
                    <a:lnTo>
                      <a:pt x="246" y="73"/>
                    </a:lnTo>
                    <a:lnTo>
                      <a:pt x="244" y="75"/>
                    </a:lnTo>
                    <a:lnTo>
                      <a:pt x="246" y="75"/>
                    </a:lnTo>
                    <a:lnTo>
                      <a:pt x="246" y="77"/>
                    </a:lnTo>
                    <a:lnTo>
                      <a:pt x="244" y="79"/>
                    </a:lnTo>
                    <a:lnTo>
                      <a:pt x="246" y="79"/>
                    </a:lnTo>
                    <a:lnTo>
                      <a:pt x="248" y="79"/>
                    </a:lnTo>
                    <a:lnTo>
                      <a:pt x="246" y="79"/>
                    </a:lnTo>
                    <a:lnTo>
                      <a:pt x="246" y="81"/>
                    </a:lnTo>
                    <a:lnTo>
                      <a:pt x="244" y="81"/>
                    </a:lnTo>
                    <a:lnTo>
                      <a:pt x="246" y="81"/>
                    </a:lnTo>
                    <a:lnTo>
                      <a:pt x="246" y="79"/>
                    </a:lnTo>
                    <a:lnTo>
                      <a:pt x="248" y="79"/>
                    </a:lnTo>
                    <a:lnTo>
                      <a:pt x="246" y="79"/>
                    </a:lnTo>
                    <a:lnTo>
                      <a:pt x="244" y="79"/>
                    </a:lnTo>
                    <a:lnTo>
                      <a:pt x="246" y="77"/>
                    </a:lnTo>
                    <a:lnTo>
                      <a:pt x="246" y="75"/>
                    </a:lnTo>
                    <a:lnTo>
                      <a:pt x="244" y="75"/>
                    </a:lnTo>
                    <a:lnTo>
                      <a:pt x="246" y="73"/>
                    </a:lnTo>
                    <a:lnTo>
                      <a:pt x="244" y="73"/>
                    </a:lnTo>
                    <a:lnTo>
                      <a:pt x="246" y="73"/>
                    </a:lnTo>
                    <a:lnTo>
                      <a:pt x="246" y="75"/>
                    </a:lnTo>
                    <a:lnTo>
                      <a:pt x="248" y="75"/>
                    </a:lnTo>
                    <a:lnTo>
                      <a:pt x="248" y="73"/>
                    </a:lnTo>
                    <a:lnTo>
                      <a:pt x="246" y="73"/>
                    </a:lnTo>
                    <a:lnTo>
                      <a:pt x="246" y="71"/>
                    </a:lnTo>
                    <a:lnTo>
                      <a:pt x="244" y="71"/>
                    </a:lnTo>
                    <a:lnTo>
                      <a:pt x="242" y="71"/>
                    </a:lnTo>
                    <a:lnTo>
                      <a:pt x="242" y="69"/>
                    </a:lnTo>
                    <a:lnTo>
                      <a:pt x="244" y="69"/>
                    </a:lnTo>
                    <a:lnTo>
                      <a:pt x="246" y="69"/>
                    </a:lnTo>
                    <a:lnTo>
                      <a:pt x="248" y="69"/>
                    </a:lnTo>
                    <a:lnTo>
                      <a:pt x="250" y="67"/>
                    </a:lnTo>
                    <a:lnTo>
                      <a:pt x="250" y="69"/>
                    </a:lnTo>
                    <a:lnTo>
                      <a:pt x="252" y="69"/>
                    </a:lnTo>
                    <a:lnTo>
                      <a:pt x="250" y="71"/>
                    </a:lnTo>
                    <a:lnTo>
                      <a:pt x="252" y="71"/>
                    </a:lnTo>
                    <a:lnTo>
                      <a:pt x="250" y="71"/>
                    </a:lnTo>
                    <a:lnTo>
                      <a:pt x="252" y="71"/>
                    </a:lnTo>
                    <a:lnTo>
                      <a:pt x="252" y="69"/>
                    </a:lnTo>
                    <a:lnTo>
                      <a:pt x="250" y="69"/>
                    </a:lnTo>
                    <a:lnTo>
                      <a:pt x="252" y="69"/>
                    </a:lnTo>
                    <a:lnTo>
                      <a:pt x="250" y="69"/>
                    </a:lnTo>
                    <a:lnTo>
                      <a:pt x="252" y="69"/>
                    </a:lnTo>
                    <a:lnTo>
                      <a:pt x="250" y="69"/>
                    </a:lnTo>
                    <a:lnTo>
                      <a:pt x="250" y="67"/>
                    </a:lnTo>
                    <a:lnTo>
                      <a:pt x="252" y="67"/>
                    </a:lnTo>
                    <a:lnTo>
                      <a:pt x="254" y="67"/>
                    </a:lnTo>
                    <a:lnTo>
                      <a:pt x="252" y="67"/>
                    </a:lnTo>
                    <a:lnTo>
                      <a:pt x="254" y="67"/>
                    </a:lnTo>
                    <a:lnTo>
                      <a:pt x="255" y="66"/>
                    </a:lnTo>
                    <a:lnTo>
                      <a:pt x="255" y="67"/>
                    </a:lnTo>
                    <a:lnTo>
                      <a:pt x="254" y="67"/>
                    </a:lnTo>
                    <a:lnTo>
                      <a:pt x="255" y="67"/>
                    </a:lnTo>
                    <a:lnTo>
                      <a:pt x="254" y="67"/>
                    </a:lnTo>
                    <a:lnTo>
                      <a:pt x="255" y="67"/>
                    </a:lnTo>
                    <a:lnTo>
                      <a:pt x="255" y="69"/>
                    </a:lnTo>
                    <a:lnTo>
                      <a:pt x="257" y="69"/>
                    </a:lnTo>
                    <a:lnTo>
                      <a:pt x="257" y="71"/>
                    </a:lnTo>
                    <a:lnTo>
                      <a:pt x="257" y="69"/>
                    </a:lnTo>
                    <a:lnTo>
                      <a:pt x="257" y="71"/>
                    </a:lnTo>
                    <a:lnTo>
                      <a:pt x="257" y="69"/>
                    </a:lnTo>
                    <a:lnTo>
                      <a:pt x="255" y="69"/>
                    </a:lnTo>
                    <a:lnTo>
                      <a:pt x="255" y="67"/>
                    </a:lnTo>
                    <a:lnTo>
                      <a:pt x="255" y="66"/>
                    </a:lnTo>
                    <a:lnTo>
                      <a:pt x="257" y="66"/>
                    </a:lnTo>
                    <a:lnTo>
                      <a:pt x="259" y="66"/>
                    </a:lnTo>
                    <a:lnTo>
                      <a:pt x="259" y="67"/>
                    </a:lnTo>
                    <a:lnTo>
                      <a:pt x="261" y="67"/>
                    </a:lnTo>
                    <a:lnTo>
                      <a:pt x="259" y="67"/>
                    </a:lnTo>
                    <a:lnTo>
                      <a:pt x="259" y="66"/>
                    </a:lnTo>
                    <a:lnTo>
                      <a:pt x="257" y="66"/>
                    </a:lnTo>
                    <a:lnTo>
                      <a:pt x="257" y="64"/>
                    </a:lnTo>
                    <a:lnTo>
                      <a:pt x="259" y="64"/>
                    </a:lnTo>
                    <a:lnTo>
                      <a:pt x="261" y="64"/>
                    </a:lnTo>
                    <a:lnTo>
                      <a:pt x="261" y="66"/>
                    </a:lnTo>
                    <a:lnTo>
                      <a:pt x="261" y="67"/>
                    </a:lnTo>
                    <a:lnTo>
                      <a:pt x="263" y="66"/>
                    </a:lnTo>
                    <a:lnTo>
                      <a:pt x="263" y="67"/>
                    </a:lnTo>
                    <a:lnTo>
                      <a:pt x="261" y="67"/>
                    </a:lnTo>
                    <a:lnTo>
                      <a:pt x="263" y="67"/>
                    </a:lnTo>
                    <a:lnTo>
                      <a:pt x="263" y="69"/>
                    </a:lnTo>
                    <a:lnTo>
                      <a:pt x="265" y="69"/>
                    </a:lnTo>
                    <a:lnTo>
                      <a:pt x="265" y="67"/>
                    </a:lnTo>
                    <a:lnTo>
                      <a:pt x="263" y="67"/>
                    </a:lnTo>
                    <a:lnTo>
                      <a:pt x="265" y="67"/>
                    </a:lnTo>
                    <a:lnTo>
                      <a:pt x="267" y="67"/>
                    </a:lnTo>
                    <a:lnTo>
                      <a:pt x="265" y="67"/>
                    </a:lnTo>
                    <a:lnTo>
                      <a:pt x="267" y="67"/>
                    </a:lnTo>
                    <a:lnTo>
                      <a:pt x="265" y="67"/>
                    </a:lnTo>
                    <a:lnTo>
                      <a:pt x="263" y="67"/>
                    </a:lnTo>
                    <a:lnTo>
                      <a:pt x="265" y="67"/>
                    </a:lnTo>
                    <a:lnTo>
                      <a:pt x="263" y="67"/>
                    </a:lnTo>
                    <a:lnTo>
                      <a:pt x="261" y="67"/>
                    </a:lnTo>
                    <a:lnTo>
                      <a:pt x="263" y="67"/>
                    </a:lnTo>
                    <a:lnTo>
                      <a:pt x="263" y="66"/>
                    </a:lnTo>
                    <a:lnTo>
                      <a:pt x="261" y="66"/>
                    </a:lnTo>
                    <a:lnTo>
                      <a:pt x="261" y="64"/>
                    </a:lnTo>
                    <a:lnTo>
                      <a:pt x="259" y="64"/>
                    </a:lnTo>
                    <a:lnTo>
                      <a:pt x="259" y="62"/>
                    </a:lnTo>
                    <a:lnTo>
                      <a:pt x="261" y="62"/>
                    </a:lnTo>
                    <a:lnTo>
                      <a:pt x="263" y="62"/>
                    </a:lnTo>
                    <a:lnTo>
                      <a:pt x="263" y="60"/>
                    </a:lnTo>
                    <a:lnTo>
                      <a:pt x="265" y="60"/>
                    </a:lnTo>
                    <a:lnTo>
                      <a:pt x="263" y="60"/>
                    </a:lnTo>
                    <a:lnTo>
                      <a:pt x="263" y="62"/>
                    </a:lnTo>
                    <a:lnTo>
                      <a:pt x="265" y="62"/>
                    </a:lnTo>
                    <a:lnTo>
                      <a:pt x="265" y="64"/>
                    </a:lnTo>
                    <a:lnTo>
                      <a:pt x="267" y="64"/>
                    </a:lnTo>
                    <a:lnTo>
                      <a:pt x="267" y="62"/>
                    </a:lnTo>
                    <a:lnTo>
                      <a:pt x="267" y="64"/>
                    </a:lnTo>
                    <a:lnTo>
                      <a:pt x="265" y="64"/>
                    </a:lnTo>
                    <a:lnTo>
                      <a:pt x="265" y="62"/>
                    </a:lnTo>
                    <a:lnTo>
                      <a:pt x="265" y="60"/>
                    </a:lnTo>
                    <a:lnTo>
                      <a:pt x="263" y="60"/>
                    </a:lnTo>
                    <a:lnTo>
                      <a:pt x="265" y="58"/>
                    </a:lnTo>
                    <a:lnTo>
                      <a:pt x="267" y="56"/>
                    </a:lnTo>
                    <a:lnTo>
                      <a:pt x="269" y="54"/>
                    </a:lnTo>
                    <a:lnTo>
                      <a:pt x="271" y="52"/>
                    </a:lnTo>
                    <a:lnTo>
                      <a:pt x="271" y="50"/>
                    </a:lnTo>
                    <a:lnTo>
                      <a:pt x="273" y="50"/>
                    </a:lnTo>
                    <a:lnTo>
                      <a:pt x="275" y="44"/>
                    </a:lnTo>
                    <a:lnTo>
                      <a:pt x="275" y="46"/>
                    </a:lnTo>
                    <a:lnTo>
                      <a:pt x="275" y="44"/>
                    </a:lnTo>
                    <a:lnTo>
                      <a:pt x="277" y="42"/>
                    </a:lnTo>
                    <a:lnTo>
                      <a:pt x="277" y="41"/>
                    </a:lnTo>
                    <a:lnTo>
                      <a:pt x="279" y="41"/>
                    </a:lnTo>
                    <a:lnTo>
                      <a:pt x="280" y="41"/>
                    </a:lnTo>
                    <a:lnTo>
                      <a:pt x="280" y="42"/>
                    </a:lnTo>
                    <a:lnTo>
                      <a:pt x="280" y="41"/>
                    </a:lnTo>
                    <a:lnTo>
                      <a:pt x="279" y="41"/>
                    </a:lnTo>
                    <a:lnTo>
                      <a:pt x="277" y="41"/>
                    </a:lnTo>
                    <a:lnTo>
                      <a:pt x="279" y="39"/>
                    </a:lnTo>
                    <a:lnTo>
                      <a:pt x="279" y="37"/>
                    </a:lnTo>
                    <a:lnTo>
                      <a:pt x="282" y="31"/>
                    </a:lnTo>
                    <a:lnTo>
                      <a:pt x="284" y="31"/>
                    </a:lnTo>
                    <a:lnTo>
                      <a:pt x="284" y="33"/>
                    </a:lnTo>
                    <a:lnTo>
                      <a:pt x="284" y="31"/>
                    </a:lnTo>
                    <a:lnTo>
                      <a:pt x="282" y="31"/>
                    </a:lnTo>
                    <a:lnTo>
                      <a:pt x="282" y="29"/>
                    </a:lnTo>
                    <a:lnTo>
                      <a:pt x="284" y="27"/>
                    </a:lnTo>
                    <a:lnTo>
                      <a:pt x="284" y="25"/>
                    </a:lnTo>
                    <a:lnTo>
                      <a:pt x="286" y="23"/>
                    </a:lnTo>
                    <a:lnTo>
                      <a:pt x="288" y="23"/>
                    </a:lnTo>
                    <a:lnTo>
                      <a:pt x="286" y="23"/>
                    </a:lnTo>
                    <a:lnTo>
                      <a:pt x="288" y="19"/>
                    </a:lnTo>
                    <a:lnTo>
                      <a:pt x="290" y="17"/>
                    </a:lnTo>
                    <a:lnTo>
                      <a:pt x="290" y="16"/>
                    </a:lnTo>
                    <a:lnTo>
                      <a:pt x="292" y="14"/>
                    </a:lnTo>
                    <a:lnTo>
                      <a:pt x="292" y="16"/>
                    </a:lnTo>
                    <a:lnTo>
                      <a:pt x="294" y="16"/>
                    </a:lnTo>
                    <a:lnTo>
                      <a:pt x="292" y="16"/>
                    </a:lnTo>
                    <a:lnTo>
                      <a:pt x="292" y="14"/>
                    </a:lnTo>
                    <a:lnTo>
                      <a:pt x="294" y="16"/>
                    </a:lnTo>
                    <a:lnTo>
                      <a:pt x="292" y="14"/>
                    </a:lnTo>
                    <a:lnTo>
                      <a:pt x="292" y="16"/>
                    </a:lnTo>
                    <a:lnTo>
                      <a:pt x="292" y="14"/>
                    </a:lnTo>
                    <a:lnTo>
                      <a:pt x="292" y="12"/>
                    </a:lnTo>
                    <a:lnTo>
                      <a:pt x="294" y="12"/>
                    </a:lnTo>
                    <a:lnTo>
                      <a:pt x="298" y="10"/>
                    </a:lnTo>
                    <a:lnTo>
                      <a:pt x="298" y="8"/>
                    </a:lnTo>
                    <a:lnTo>
                      <a:pt x="300" y="8"/>
                    </a:lnTo>
                    <a:lnTo>
                      <a:pt x="302" y="4"/>
                    </a:lnTo>
                    <a:lnTo>
                      <a:pt x="304" y="2"/>
                    </a:lnTo>
                    <a:lnTo>
                      <a:pt x="304" y="0"/>
                    </a:lnTo>
                    <a:lnTo>
                      <a:pt x="305" y="0"/>
                    </a:lnTo>
                    <a:lnTo>
                      <a:pt x="307" y="0"/>
                    </a:lnTo>
                    <a:lnTo>
                      <a:pt x="309" y="2"/>
                    </a:lnTo>
                    <a:lnTo>
                      <a:pt x="313" y="2"/>
                    </a:lnTo>
                    <a:lnTo>
                      <a:pt x="313" y="4"/>
                    </a:lnTo>
                    <a:lnTo>
                      <a:pt x="311" y="4"/>
                    </a:lnTo>
                    <a:lnTo>
                      <a:pt x="309" y="4"/>
                    </a:lnTo>
                    <a:lnTo>
                      <a:pt x="307" y="4"/>
                    </a:lnTo>
                    <a:lnTo>
                      <a:pt x="307" y="6"/>
                    </a:lnTo>
                    <a:lnTo>
                      <a:pt x="309" y="6"/>
                    </a:lnTo>
                    <a:lnTo>
                      <a:pt x="309" y="8"/>
                    </a:lnTo>
                    <a:lnTo>
                      <a:pt x="311" y="8"/>
                    </a:lnTo>
                    <a:lnTo>
                      <a:pt x="313" y="8"/>
                    </a:lnTo>
                    <a:lnTo>
                      <a:pt x="315" y="8"/>
                    </a:lnTo>
                    <a:lnTo>
                      <a:pt x="315" y="6"/>
                    </a:lnTo>
                    <a:lnTo>
                      <a:pt x="315" y="8"/>
                    </a:lnTo>
                    <a:lnTo>
                      <a:pt x="317" y="8"/>
                    </a:lnTo>
                    <a:lnTo>
                      <a:pt x="319" y="8"/>
                    </a:lnTo>
                    <a:lnTo>
                      <a:pt x="321" y="8"/>
                    </a:lnTo>
                    <a:lnTo>
                      <a:pt x="323" y="8"/>
                    </a:lnTo>
                    <a:lnTo>
                      <a:pt x="323" y="10"/>
                    </a:lnTo>
                    <a:lnTo>
                      <a:pt x="325" y="10"/>
                    </a:lnTo>
                    <a:lnTo>
                      <a:pt x="327" y="10"/>
                    </a:lnTo>
                    <a:lnTo>
                      <a:pt x="328" y="10"/>
                    </a:lnTo>
                    <a:lnTo>
                      <a:pt x="330" y="12"/>
                    </a:lnTo>
                    <a:lnTo>
                      <a:pt x="332" y="12"/>
                    </a:lnTo>
                    <a:lnTo>
                      <a:pt x="334" y="12"/>
                    </a:lnTo>
                    <a:lnTo>
                      <a:pt x="336" y="12"/>
                    </a:lnTo>
                    <a:lnTo>
                      <a:pt x="336" y="14"/>
                    </a:lnTo>
                    <a:lnTo>
                      <a:pt x="336" y="16"/>
                    </a:lnTo>
                    <a:lnTo>
                      <a:pt x="338" y="16"/>
                    </a:lnTo>
                    <a:lnTo>
                      <a:pt x="336" y="16"/>
                    </a:lnTo>
                    <a:lnTo>
                      <a:pt x="334" y="16"/>
                    </a:lnTo>
                    <a:lnTo>
                      <a:pt x="334" y="17"/>
                    </a:lnTo>
                    <a:lnTo>
                      <a:pt x="332" y="17"/>
                    </a:lnTo>
                    <a:lnTo>
                      <a:pt x="334" y="17"/>
                    </a:lnTo>
                    <a:lnTo>
                      <a:pt x="334" y="16"/>
                    </a:lnTo>
                    <a:lnTo>
                      <a:pt x="336" y="16"/>
                    </a:lnTo>
                    <a:lnTo>
                      <a:pt x="338" y="16"/>
                    </a:lnTo>
                    <a:lnTo>
                      <a:pt x="336" y="16"/>
                    </a:lnTo>
                    <a:lnTo>
                      <a:pt x="336" y="14"/>
                    </a:lnTo>
                    <a:lnTo>
                      <a:pt x="338" y="14"/>
                    </a:lnTo>
                    <a:lnTo>
                      <a:pt x="336" y="14"/>
                    </a:lnTo>
                    <a:lnTo>
                      <a:pt x="336" y="12"/>
                    </a:lnTo>
                    <a:lnTo>
                      <a:pt x="338" y="12"/>
                    </a:lnTo>
                    <a:lnTo>
                      <a:pt x="338" y="14"/>
                    </a:lnTo>
                    <a:lnTo>
                      <a:pt x="338" y="12"/>
                    </a:lnTo>
                    <a:lnTo>
                      <a:pt x="340" y="14"/>
                    </a:lnTo>
                    <a:lnTo>
                      <a:pt x="340" y="12"/>
                    </a:lnTo>
                    <a:lnTo>
                      <a:pt x="340" y="14"/>
                    </a:lnTo>
                    <a:lnTo>
                      <a:pt x="340" y="16"/>
                    </a:lnTo>
                    <a:close/>
                    <a:moveTo>
                      <a:pt x="223" y="121"/>
                    </a:moveTo>
                    <a:lnTo>
                      <a:pt x="223" y="123"/>
                    </a:lnTo>
                    <a:lnTo>
                      <a:pt x="225" y="123"/>
                    </a:lnTo>
                    <a:lnTo>
                      <a:pt x="227" y="125"/>
                    </a:lnTo>
                    <a:lnTo>
                      <a:pt x="225" y="123"/>
                    </a:lnTo>
                    <a:lnTo>
                      <a:pt x="223" y="123"/>
                    </a:lnTo>
                    <a:lnTo>
                      <a:pt x="223" y="121"/>
                    </a:lnTo>
                    <a:close/>
                    <a:moveTo>
                      <a:pt x="246" y="144"/>
                    </a:moveTo>
                    <a:lnTo>
                      <a:pt x="246" y="146"/>
                    </a:lnTo>
                    <a:lnTo>
                      <a:pt x="246" y="144"/>
                    </a:lnTo>
                    <a:lnTo>
                      <a:pt x="246" y="146"/>
                    </a:lnTo>
                    <a:lnTo>
                      <a:pt x="248" y="146"/>
                    </a:lnTo>
                    <a:lnTo>
                      <a:pt x="246" y="146"/>
                    </a:lnTo>
                    <a:lnTo>
                      <a:pt x="246" y="144"/>
                    </a:lnTo>
                    <a:close/>
                    <a:moveTo>
                      <a:pt x="248" y="210"/>
                    </a:moveTo>
                    <a:lnTo>
                      <a:pt x="248" y="212"/>
                    </a:lnTo>
                    <a:lnTo>
                      <a:pt x="248" y="210"/>
                    </a:lnTo>
                    <a:close/>
                    <a:moveTo>
                      <a:pt x="248" y="229"/>
                    </a:moveTo>
                    <a:lnTo>
                      <a:pt x="246" y="229"/>
                    </a:lnTo>
                    <a:lnTo>
                      <a:pt x="248" y="229"/>
                    </a:lnTo>
                    <a:lnTo>
                      <a:pt x="246" y="229"/>
                    </a:lnTo>
                    <a:lnTo>
                      <a:pt x="248" y="229"/>
                    </a:lnTo>
                    <a:close/>
                    <a:moveTo>
                      <a:pt x="321" y="294"/>
                    </a:moveTo>
                    <a:lnTo>
                      <a:pt x="321" y="296"/>
                    </a:lnTo>
                    <a:lnTo>
                      <a:pt x="321" y="294"/>
                    </a:lnTo>
                    <a:close/>
                    <a:moveTo>
                      <a:pt x="206" y="335"/>
                    </a:moveTo>
                    <a:lnTo>
                      <a:pt x="204" y="335"/>
                    </a:lnTo>
                    <a:lnTo>
                      <a:pt x="206" y="335"/>
                    </a:lnTo>
                    <a:lnTo>
                      <a:pt x="206" y="337"/>
                    </a:lnTo>
                    <a:lnTo>
                      <a:pt x="207" y="337"/>
                    </a:lnTo>
                    <a:lnTo>
                      <a:pt x="206" y="337"/>
                    </a:lnTo>
                    <a:lnTo>
                      <a:pt x="207" y="335"/>
                    </a:lnTo>
                    <a:lnTo>
                      <a:pt x="206" y="335"/>
                    </a:lnTo>
                    <a:lnTo>
                      <a:pt x="207" y="335"/>
                    </a:lnTo>
                    <a:lnTo>
                      <a:pt x="206" y="335"/>
                    </a:lnTo>
                    <a:close/>
                    <a:moveTo>
                      <a:pt x="200" y="339"/>
                    </a:moveTo>
                    <a:lnTo>
                      <a:pt x="200" y="337"/>
                    </a:lnTo>
                    <a:lnTo>
                      <a:pt x="202" y="337"/>
                    </a:lnTo>
                    <a:lnTo>
                      <a:pt x="202" y="335"/>
                    </a:lnTo>
                    <a:lnTo>
                      <a:pt x="200" y="335"/>
                    </a:lnTo>
                    <a:lnTo>
                      <a:pt x="198" y="335"/>
                    </a:lnTo>
                    <a:lnTo>
                      <a:pt x="198" y="337"/>
                    </a:lnTo>
                    <a:lnTo>
                      <a:pt x="200" y="337"/>
                    </a:lnTo>
                    <a:lnTo>
                      <a:pt x="200" y="339"/>
                    </a:lnTo>
                    <a:close/>
                    <a:moveTo>
                      <a:pt x="194" y="337"/>
                    </a:moveTo>
                    <a:lnTo>
                      <a:pt x="192" y="337"/>
                    </a:lnTo>
                    <a:lnTo>
                      <a:pt x="192" y="335"/>
                    </a:lnTo>
                    <a:lnTo>
                      <a:pt x="192" y="337"/>
                    </a:lnTo>
                    <a:lnTo>
                      <a:pt x="194" y="337"/>
                    </a:lnTo>
                    <a:lnTo>
                      <a:pt x="192" y="337"/>
                    </a:lnTo>
                    <a:lnTo>
                      <a:pt x="194" y="337"/>
                    </a:lnTo>
                    <a:lnTo>
                      <a:pt x="192" y="337"/>
                    </a:lnTo>
                    <a:lnTo>
                      <a:pt x="194" y="337"/>
                    </a:lnTo>
                    <a:close/>
                    <a:moveTo>
                      <a:pt x="194" y="337"/>
                    </a:moveTo>
                    <a:lnTo>
                      <a:pt x="194" y="339"/>
                    </a:lnTo>
                    <a:lnTo>
                      <a:pt x="194" y="337"/>
                    </a:lnTo>
                    <a:close/>
                    <a:moveTo>
                      <a:pt x="200" y="340"/>
                    </a:moveTo>
                    <a:lnTo>
                      <a:pt x="200" y="339"/>
                    </a:lnTo>
                    <a:lnTo>
                      <a:pt x="200" y="340"/>
                    </a:lnTo>
                    <a:close/>
                    <a:moveTo>
                      <a:pt x="192" y="339"/>
                    </a:moveTo>
                    <a:lnTo>
                      <a:pt x="192" y="337"/>
                    </a:lnTo>
                    <a:lnTo>
                      <a:pt x="192" y="339"/>
                    </a:lnTo>
                    <a:lnTo>
                      <a:pt x="190" y="339"/>
                    </a:lnTo>
                    <a:lnTo>
                      <a:pt x="192" y="339"/>
                    </a:lnTo>
                    <a:lnTo>
                      <a:pt x="192" y="337"/>
                    </a:lnTo>
                    <a:lnTo>
                      <a:pt x="192" y="339"/>
                    </a:lnTo>
                    <a:lnTo>
                      <a:pt x="194" y="339"/>
                    </a:lnTo>
                    <a:lnTo>
                      <a:pt x="194" y="340"/>
                    </a:lnTo>
                    <a:lnTo>
                      <a:pt x="194" y="342"/>
                    </a:lnTo>
                    <a:lnTo>
                      <a:pt x="194" y="340"/>
                    </a:lnTo>
                    <a:lnTo>
                      <a:pt x="194" y="342"/>
                    </a:lnTo>
                    <a:lnTo>
                      <a:pt x="194" y="340"/>
                    </a:lnTo>
                    <a:lnTo>
                      <a:pt x="196" y="340"/>
                    </a:lnTo>
                    <a:lnTo>
                      <a:pt x="196" y="342"/>
                    </a:lnTo>
                    <a:lnTo>
                      <a:pt x="196" y="340"/>
                    </a:lnTo>
                    <a:lnTo>
                      <a:pt x="198" y="340"/>
                    </a:lnTo>
                    <a:lnTo>
                      <a:pt x="196" y="340"/>
                    </a:lnTo>
                    <a:lnTo>
                      <a:pt x="194" y="340"/>
                    </a:lnTo>
                    <a:lnTo>
                      <a:pt x="194" y="339"/>
                    </a:lnTo>
                    <a:lnTo>
                      <a:pt x="192" y="339"/>
                    </a:lnTo>
                    <a:close/>
                    <a:moveTo>
                      <a:pt x="113" y="342"/>
                    </a:moveTo>
                    <a:lnTo>
                      <a:pt x="115" y="342"/>
                    </a:lnTo>
                    <a:lnTo>
                      <a:pt x="113" y="342"/>
                    </a:lnTo>
                    <a:close/>
                    <a:moveTo>
                      <a:pt x="115" y="354"/>
                    </a:moveTo>
                    <a:lnTo>
                      <a:pt x="113" y="354"/>
                    </a:lnTo>
                    <a:lnTo>
                      <a:pt x="115" y="354"/>
                    </a:lnTo>
                    <a:lnTo>
                      <a:pt x="117" y="352"/>
                    </a:lnTo>
                    <a:lnTo>
                      <a:pt x="119" y="352"/>
                    </a:lnTo>
                    <a:lnTo>
                      <a:pt x="117" y="352"/>
                    </a:lnTo>
                    <a:lnTo>
                      <a:pt x="115" y="354"/>
                    </a:lnTo>
                    <a:close/>
                    <a:moveTo>
                      <a:pt x="36" y="404"/>
                    </a:moveTo>
                    <a:lnTo>
                      <a:pt x="36" y="406"/>
                    </a:lnTo>
                    <a:lnTo>
                      <a:pt x="36" y="404"/>
                    </a:lnTo>
                    <a:close/>
                    <a:moveTo>
                      <a:pt x="36" y="408"/>
                    </a:moveTo>
                    <a:lnTo>
                      <a:pt x="35" y="408"/>
                    </a:lnTo>
                    <a:lnTo>
                      <a:pt x="36" y="406"/>
                    </a:lnTo>
                    <a:lnTo>
                      <a:pt x="35" y="406"/>
                    </a:lnTo>
                    <a:lnTo>
                      <a:pt x="35" y="408"/>
                    </a:lnTo>
                    <a:lnTo>
                      <a:pt x="36" y="408"/>
                    </a:lnTo>
                    <a:close/>
                    <a:moveTo>
                      <a:pt x="50" y="427"/>
                    </a:moveTo>
                    <a:lnTo>
                      <a:pt x="52" y="427"/>
                    </a:lnTo>
                    <a:lnTo>
                      <a:pt x="50" y="427"/>
                    </a:lnTo>
                    <a:close/>
                    <a:moveTo>
                      <a:pt x="67" y="452"/>
                    </a:moveTo>
                    <a:lnTo>
                      <a:pt x="67" y="450"/>
                    </a:lnTo>
                    <a:lnTo>
                      <a:pt x="67" y="452"/>
                    </a:lnTo>
                    <a:close/>
                    <a:moveTo>
                      <a:pt x="73" y="431"/>
                    </a:moveTo>
                    <a:lnTo>
                      <a:pt x="73" y="429"/>
                    </a:lnTo>
                    <a:lnTo>
                      <a:pt x="73" y="431"/>
                    </a:lnTo>
                    <a:close/>
                    <a:moveTo>
                      <a:pt x="50" y="427"/>
                    </a:moveTo>
                    <a:lnTo>
                      <a:pt x="50" y="425"/>
                    </a:lnTo>
                    <a:lnTo>
                      <a:pt x="52" y="425"/>
                    </a:lnTo>
                    <a:lnTo>
                      <a:pt x="52" y="423"/>
                    </a:lnTo>
                    <a:lnTo>
                      <a:pt x="52" y="425"/>
                    </a:lnTo>
                    <a:lnTo>
                      <a:pt x="50" y="425"/>
                    </a:lnTo>
                    <a:lnTo>
                      <a:pt x="50" y="427"/>
                    </a:lnTo>
                    <a:lnTo>
                      <a:pt x="52" y="427"/>
                    </a:lnTo>
                    <a:lnTo>
                      <a:pt x="50" y="427"/>
                    </a:lnTo>
                    <a:close/>
                    <a:moveTo>
                      <a:pt x="52" y="417"/>
                    </a:moveTo>
                    <a:lnTo>
                      <a:pt x="52" y="419"/>
                    </a:lnTo>
                    <a:lnTo>
                      <a:pt x="52" y="417"/>
                    </a:lnTo>
                    <a:close/>
                    <a:moveTo>
                      <a:pt x="90" y="377"/>
                    </a:moveTo>
                    <a:lnTo>
                      <a:pt x="88" y="377"/>
                    </a:lnTo>
                    <a:lnTo>
                      <a:pt x="90" y="377"/>
                    </a:lnTo>
                    <a:close/>
                    <a:moveTo>
                      <a:pt x="359" y="23"/>
                    </a:moveTo>
                    <a:lnTo>
                      <a:pt x="357" y="23"/>
                    </a:lnTo>
                    <a:lnTo>
                      <a:pt x="357" y="25"/>
                    </a:lnTo>
                    <a:lnTo>
                      <a:pt x="359" y="23"/>
                    </a:lnTo>
                    <a:close/>
                    <a:moveTo>
                      <a:pt x="73" y="448"/>
                    </a:moveTo>
                    <a:lnTo>
                      <a:pt x="75" y="448"/>
                    </a:lnTo>
                    <a:lnTo>
                      <a:pt x="73" y="448"/>
                    </a:lnTo>
                    <a:close/>
                    <a:moveTo>
                      <a:pt x="75" y="444"/>
                    </a:moveTo>
                    <a:lnTo>
                      <a:pt x="73" y="444"/>
                    </a:lnTo>
                    <a:lnTo>
                      <a:pt x="75" y="444"/>
                    </a:lnTo>
                    <a:lnTo>
                      <a:pt x="73" y="444"/>
                    </a:lnTo>
                    <a:lnTo>
                      <a:pt x="75" y="444"/>
                    </a:lnTo>
                    <a:close/>
                    <a:moveTo>
                      <a:pt x="71" y="431"/>
                    </a:moveTo>
                    <a:lnTo>
                      <a:pt x="71" y="433"/>
                    </a:lnTo>
                    <a:lnTo>
                      <a:pt x="71" y="431"/>
                    </a:lnTo>
                    <a:lnTo>
                      <a:pt x="71" y="433"/>
                    </a:lnTo>
                    <a:lnTo>
                      <a:pt x="71" y="431"/>
                    </a:lnTo>
                    <a:close/>
                    <a:moveTo>
                      <a:pt x="77" y="417"/>
                    </a:moveTo>
                    <a:lnTo>
                      <a:pt x="75" y="417"/>
                    </a:lnTo>
                    <a:lnTo>
                      <a:pt x="77" y="415"/>
                    </a:lnTo>
                    <a:lnTo>
                      <a:pt x="77" y="417"/>
                    </a:lnTo>
                    <a:close/>
                    <a:moveTo>
                      <a:pt x="300" y="469"/>
                    </a:moveTo>
                    <a:lnTo>
                      <a:pt x="298" y="469"/>
                    </a:lnTo>
                    <a:lnTo>
                      <a:pt x="300" y="469"/>
                    </a:lnTo>
                    <a:close/>
                    <a:moveTo>
                      <a:pt x="73" y="410"/>
                    </a:moveTo>
                    <a:lnTo>
                      <a:pt x="73" y="408"/>
                    </a:lnTo>
                    <a:lnTo>
                      <a:pt x="73" y="410"/>
                    </a:lnTo>
                    <a:close/>
                    <a:moveTo>
                      <a:pt x="73" y="408"/>
                    </a:moveTo>
                    <a:lnTo>
                      <a:pt x="73" y="410"/>
                    </a:lnTo>
                    <a:lnTo>
                      <a:pt x="75" y="410"/>
                    </a:lnTo>
                    <a:lnTo>
                      <a:pt x="73" y="410"/>
                    </a:lnTo>
                    <a:lnTo>
                      <a:pt x="73" y="408"/>
                    </a:lnTo>
                    <a:close/>
                    <a:moveTo>
                      <a:pt x="300" y="469"/>
                    </a:moveTo>
                    <a:lnTo>
                      <a:pt x="298" y="469"/>
                    </a:lnTo>
                    <a:lnTo>
                      <a:pt x="298" y="467"/>
                    </a:lnTo>
                    <a:lnTo>
                      <a:pt x="296" y="467"/>
                    </a:lnTo>
                    <a:lnTo>
                      <a:pt x="298" y="467"/>
                    </a:lnTo>
                    <a:lnTo>
                      <a:pt x="296" y="467"/>
                    </a:lnTo>
                    <a:lnTo>
                      <a:pt x="298" y="467"/>
                    </a:lnTo>
                    <a:lnTo>
                      <a:pt x="298" y="469"/>
                    </a:lnTo>
                    <a:lnTo>
                      <a:pt x="298" y="467"/>
                    </a:lnTo>
                    <a:lnTo>
                      <a:pt x="298" y="469"/>
                    </a:lnTo>
                    <a:lnTo>
                      <a:pt x="300" y="469"/>
                    </a:lnTo>
                    <a:lnTo>
                      <a:pt x="300" y="471"/>
                    </a:lnTo>
                    <a:lnTo>
                      <a:pt x="300" y="469"/>
                    </a:lnTo>
                    <a:close/>
                    <a:moveTo>
                      <a:pt x="292" y="467"/>
                    </a:moveTo>
                    <a:lnTo>
                      <a:pt x="294" y="467"/>
                    </a:lnTo>
                    <a:lnTo>
                      <a:pt x="292" y="467"/>
                    </a:lnTo>
                    <a:close/>
                    <a:moveTo>
                      <a:pt x="73" y="408"/>
                    </a:moveTo>
                    <a:lnTo>
                      <a:pt x="73" y="406"/>
                    </a:lnTo>
                    <a:lnTo>
                      <a:pt x="73" y="408"/>
                    </a:lnTo>
                    <a:close/>
                    <a:moveTo>
                      <a:pt x="75" y="406"/>
                    </a:moveTo>
                    <a:lnTo>
                      <a:pt x="75" y="408"/>
                    </a:lnTo>
                    <a:lnTo>
                      <a:pt x="75" y="406"/>
                    </a:lnTo>
                    <a:close/>
                    <a:moveTo>
                      <a:pt x="77" y="406"/>
                    </a:moveTo>
                    <a:lnTo>
                      <a:pt x="75" y="406"/>
                    </a:lnTo>
                    <a:lnTo>
                      <a:pt x="77" y="406"/>
                    </a:lnTo>
                    <a:close/>
                    <a:moveTo>
                      <a:pt x="83" y="404"/>
                    </a:moveTo>
                    <a:lnTo>
                      <a:pt x="81" y="404"/>
                    </a:lnTo>
                    <a:lnTo>
                      <a:pt x="83" y="404"/>
                    </a:lnTo>
                    <a:close/>
                    <a:moveTo>
                      <a:pt x="83" y="400"/>
                    </a:moveTo>
                    <a:lnTo>
                      <a:pt x="83" y="402"/>
                    </a:lnTo>
                    <a:lnTo>
                      <a:pt x="83" y="400"/>
                    </a:lnTo>
                    <a:lnTo>
                      <a:pt x="83" y="402"/>
                    </a:lnTo>
                    <a:lnTo>
                      <a:pt x="81" y="402"/>
                    </a:lnTo>
                    <a:lnTo>
                      <a:pt x="83" y="402"/>
                    </a:lnTo>
                    <a:lnTo>
                      <a:pt x="81" y="402"/>
                    </a:lnTo>
                    <a:lnTo>
                      <a:pt x="83" y="402"/>
                    </a:lnTo>
                    <a:lnTo>
                      <a:pt x="83" y="400"/>
                    </a:lnTo>
                    <a:close/>
                    <a:moveTo>
                      <a:pt x="277" y="438"/>
                    </a:moveTo>
                    <a:lnTo>
                      <a:pt x="277" y="440"/>
                    </a:lnTo>
                    <a:lnTo>
                      <a:pt x="277" y="438"/>
                    </a:lnTo>
                    <a:close/>
                    <a:moveTo>
                      <a:pt x="85" y="381"/>
                    </a:moveTo>
                    <a:lnTo>
                      <a:pt x="86" y="381"/>
                    </a:lnTo>
                    <a:lnTo>
                      <a:pt x="85" y="381"/>
                    </a:lnTo>
                    <a:lnTo>
                      <a:pt x="85" y="383"/>
                    </a:lnTo>
                    <a:lnTo>
                      <a:pt x="85" y="381"/>
                    </a:lnTo>
                    <a:close/>
                    <a:moveTo>
                      <a:pt x="85" y="379"/>
                    </a:moveTo>
                    <a:lnTo>
                      <a:pt x="85" y="381"/>
                    </a:lnTo>
                    <a:lnTo>
                      <a:pt x="85" y="379"/>
                    </a:lnTo>
                    <a:close/>
                    <a:moveTo>
                      <a:pt x="85" y="379"/>
                    </a:moveTo>
                    <a:lnTo>
                      <a:pt x="86" y="379"/>
                    </a:lnTo>
                    <a:lnTo>
                      <a:pt x="85" y="379"/>
                    </a:lnTo>
                    <a:lnTo>
                      <a:pt x="85" y="381"/>
                    </a:lnTo>
                    <a:lnTo>
                      <a:pt x="86" y="381"/>
                    </a:lnTo>
                    <a:lnTo>
                      <a:pt x="86" y="379"/>
                    </a:lnTo>
                    <a:lnTo>
                      <a:pt x="86" y="381"/>
                    </a:lnTo>
                    <a:lnTo>
                      <a:pt x="85" y="379"/>
                    </a:lnTo>
                    <a:lnTo>
                      <a:pt x="85" y="381"/>
                    </a:lnTo>
                    <a:lnTo>
                      <a:pt x="85" y="379"/>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5" name="Freeform 145"/>
              <p:cNvSpPr>
                <a:spLocks noEditPoints="1"/>
              </p:cNvSpPr>
              <p:nvPr/>
            </p:nvSpPr>
            <p:spPr bwMode="auto">
              <a:xfrm>
                <a:off x="2575059" y="1390909"/>
                <a:ext cx="829341" cy="889564"/>
              </a:xfrm>
              <a:custGeom>
                <a:avLst/>
                <a:gdLst>
                  <a:gd name="T0" fmla="*/ 40 w 482"/>
                  <a:gd name="T1" fmla="*/ 457 h 517"/>
                  <a:gd name="T2" fmla="*/ 31 w 482"/>
                  <a:gd name="T3" fmla="*/ 444 h 517"/>
                  <a:gd name="T4" fmla="*/ 353 w 482"/>
                  <a:gd name="T5" fmla="*/ 517 h 517"/>
                  <a:gd name="T6" fmla="*/ 252 w 482"/>
                  <a:gd name="T7" fmla="*/ 490 h 517"/>
                  <a:gd name="T8" fmla="*/ 244 w 482"/>
                  <a:gd name="T9" fmla="*/ 482 h 517"/>
                  <a:gd name="T10" fmla="*/ 232 w 482"/>
                  <a:gd name="T11" fmla="*/ 469 h 517"/>
                  <a:gd name="T12" fmla="*/ 21 w 482"/>
                  <a:gd name="T13" fmla="*/ 407 h 517"/>
                  <a:gd name="T14" fmla="*/ 38 w 482"/>
                  <a:gd name="T15" fmla="*/ 396 h 517"/>
                  <a:gd name="T16" fmla="*/ 42 w 482"/>
                  <a:gd name="T17" fmla="*/ 394 h 517"/>
                  <a:gd name="T18" fmla="*/ 46 w 482"/>
                  <a:gd name="T19" fmla="*/ 390 h 517"/>
                  <a:gd name="T20" fmla="*/ 38 w 482"/>
                  <a:gd name="T21" fmla="*/ 382 h 517"/>
                  <a:gd name="T22" fmla="*/ 52 w 482"/>
                  <a:gd name="T23" fmla="*/ 377 h 517"/>
                  <a:gd name="T24" fmla="*/ 71 w 482"/>
                  <a:gd name="T25" fmla="*/ 377 h 517"/>
                  <a:gd name="T26" fmla="*/ 373 w 482"/>
                  <a:gd name="T27" fmla="*/ 440 h 517"/>
                  <a:gd name="T28" fmla="*/ 75 w 482"/>
                  <a:gd name="T29" fmla="*/ 365 h 517"/>
                  <a:gd name="T30" fmla="*/ 225 w 482"/>
                  <a:gd name="T31" fmla="*/ 402 h 517"/>
                  <a:gd name="T32" fmla="*/ 188 w 482"/>
                  <a:gd name="T33" fmla="*/ 392 h 517"/>
                  <a:gd name="T34" fmla="*/ 482 w 482"/>
                  <a:gd name="T35" fmla="*/ 448 h 517"/>
                  <a:gd name="T36" fmla="*/ 188 w 482"/>
                  <a:gd name="T37" fmla="*/ 388 h 517"/>
                  <a:gd name="T38" fmla="*/ 192 w 482"/>
                  <a:gd name="T39" fmla="*/ 388 h 517"/>
                  <a:gd name="T40" fmla="*/ 205 w 482"/>
                  <a:gd name="T41" fmla="*/ 392 h 517"/>
                  <a:gd name="T42" fmla="*/ 82 w 482"/>
                  <a:gd name="T43" fmla="*/ 357 h 517"/>
                  <a:gd name="T44" fmla="*/ 198 w 482"/>
                  <a:gd name="T45" fmla="*/ 386 h 517"/>
                  <a:gd name="T46" fmla="*/ 84 w 482"/>
                  <a:gd name="T47" fmla="*/ 353 h 517"/>
                  <a:gd name="T48" fmla="*/ 202 w 482"/>
                  <a:gd name="T49" fmla="*/ 382 h 517"/>
                  <a:gd name="T50" fmla="*/ 205 w 482"/>
                  <a:gd name="T51" fmla="*/ 382 h 517"/>
                  <a:gd name="T52" fmla="*/ 175 w 482"/>
                  <a:gd name="T53" fmla="*/ 375 h 517"/>
                  <a:gd name="T54" fmla="*/ 180 w 482"/>
                  <a:gd name="T55" fmla="*/ 375 h 517"/>
                  <a:gd name="T56" fmla="*/ 182 w 482"/>
                  <a:gd name="T57" fmla="*/ 373 h 517"/>
                  <a:gd name="T58" fmla="*/ 179 w 482"/>
                  <a:gd name="T59" fmla="*/ 367 h 517"/>
                  <a:gd name="T60" fmla="*/ 198 w 482"/>
                  <a:gd name="T61" fmla="*/ 375 h 517"/>
                  <a:gd name="T62" fmla="*/ 182 w 482"/>
                  <a:gd name="T63" fmla="*/ 369 h 517"/>
                  <a:gd name="T64" fmla="*/ 173 w 482"/>
                  <a:gd name="T65" fmla="*/ 365 h 517"/>
                  <a:gd name="T66" fmla="*/ 157 w 482"/>
                  <a:gd name="T67" fmla="*/ 357 h 517"/>
                  <a:gd name="T68" fmla="*/ 154 w 482"/>
                  <a:gd name="T69" fmla="*/ 355 h 517"/>
                  <a:gd name="T70" fmla="*/ 159 w 482"/>
                  <a:gd name="T71" fmla="*/ 357 h 517"/>
                  <a:gd name="T72" fmla="*/ 219 w 482"/>
                  <a:gd name="T73" fmla="*/ 367 h 517"/>
                  <a:gd name="T74" fmla="*/ 376 w 482"/>
                  <a:gd name="T75" fmla="*/ 400 h 517"/>
                  <a:gd name="T76" fmla="*/ 382 w 482"/>
                  <a:gd name="T77" fmla="*/ 390 h 517"/>
                  <a:gd name="T78" fmla="*/ 382 w 482"/>
                  <a:gd name="T79" fmla="*/ 386 h 517"/>
                  <a:gd name="T80" fmla="*/ 442 w 482"/>
                  <a:gd name="T81" fmla="*/ 394 h 517"/>
                  <a:gd name="T82" fmla="*/ 374 w 482"/>
                  <a:gd name="T83" fmla="*/ 363 h 517"/>
                  <a:gd name="T84" fmla="*/ 411 w 482"/>
                  <a:gd name="T85" fmla="*/ 367 h 517"/>
                  <a:gd name="T86" fmla="*/ 376 w 482"/>
                  <a:gd name="T87" fmla="*/ 359 h 517"/>
                  <a:gd name="T88" fmla="*/ 380 w 482"/>
                  <a:gd name="T89" fmla="*/ 359 h 517"/>
                  <a:gd name="T90" fmla="*/ 403 w 482"/>
                  <a:gd name="T91" fmla="*/ 367 h 517"/>
                  <a:gd name="T92" fmla="*/ 413 w 482"/>
                  <a:gd name="T93" fmla="*/ 369 h 517"/>
                  <a:gd name="T94" fmla="*/ 161 w 482"/>
                  <a:gd name="T95" fmla="*/ 267 h 517"/>
                  <a:gd name="T96" fmla="*/ 190 w 482"/>
                  <a:gd name="T97" fmla="*/ 232 h 517"/>
                  <a:gd name="T98" fmla="*/ 121 w 482"/>
                  <a:gd name="T99" fmla="*/ 203 h 517"/>
                  <a:gd name="T100" fmla="*/ 113 w 482"/>
                  <a:gd name="T101" fmla="*/ 200 h 517"/>
                  <a:gd name="T102" fmla="*/ 271 w 482"/>
                  <a:gd name="T103" fmla="*/ 221 h 517"/>
                  <a:gd name="T104" fmla="*/ 150 w 482"/>
                  <a:gd name="T105" fmla="*/ 184 h 517"/>
                  <a:gd name="T106" fmla="*/ 161 w 482"/>
                  <a:gd name="T107" fmla="*/ 132 h 517"/>
                  <a:gd name="T108" fmla="*/ 154 w 482"/>
                  <a:gd name="T109" fmla="*/ 115 h 517"/>
                  <a:gd name="T110" fmla="*/ 432 w 482"/>
                  <a:gd name="T111" fmla="*/ 167 h 517"/>
                  <a:gd name="T112" fmla="*/ 430 w 482"/>
                  <a:gd name="T113" fmla="*/ 157 h 517"/>
                  <a:gd name="T114" fmla="*/ 396 w 482"/>
                  <a:gd name="T115" fmla="*/ 144 h 517"/>
                  <a:gd name="T116" fmla="*/ 380 w 482"/>
                  <a:gd name="T117" fmla="*/ 82 h 517"/>
                  <a:gd name="T118" fmla="*/ 321 w 482"/>
                  <a:gd name="T119" fmla="*/ 50 h 517"/>
                  <a:gd name="T120" fmla="*/ 365 w 482"/>
                  <a:gd name="T121" fmla="*/ 40 h 517"/>
                  <a:gd name="T122" fmla="*/ 403 w 482"/>
                  <a:gd name="T123" fmla="*/ 38 h 517"/>
                  <a:gd name="T124" fmla="*/ 399 w 482"/>
                  <a:gd name="T125" fmla="*/ 17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2" h="517">
                    <a:moveTo>
                      <a:pt x="13" y="461"/>
                    </a:moveTo>
                    <a:lnTo>
                      <a:pt x="15" y="461"/>
                    </a:lnTo>
                    <a:lnTo>
                      <a:pt x="15" y="463"/>
                    </a:lnTo>
                    <a:lnTo>
                      <a:pt x="15" y="461"/>
                    </a:lnTo>
                    <a:lnTo>
                      <a:pt x="13" y="461"/>
                    </a:lnTo>
                    <a:lnTo>
                      <a:pt x="15" y="461"/>
                    </a:lnTo>
                    <a:lnTo>
                      <a:pt x="13" y="461"/>
                    </a:lnTo>
                    <a:close/>
                    <a:moveTo>
                      <a:pt x="34" y="465"/>
                    </a:moveTo>
                    <a:lnTo>
                      <a:pt x="36" y="465"/>
                    </a:lnTo>
                    <a:lnTo>
                      <a:pt x="34" y="465"/>
                    </a:lnTo>
                    <a:close/>
                    <a:moveTo>
                      <a:pt x="33" y="461"/>
                    </a:moveTo>
                    <a:lnTo>
                      <a:pt x="31" y="461"/>
                    </a:lnTo>
                    <a:lnTo>
                      <a:pt x="33" y="459"/>
                    </a:lnTo>
                    <a:lnTo>
                      <a:pt x="31" y="459"/>
                    </a:lnTo>
                    <a:lnTo>
                      <a:pt x="33" y="459"/>
                    </a:lnTo>
                    <a:lnTo>
                      <a:pt x="33" y="461"/>
                    </a:lnTo>
                    <a:close/>
                    <a:moveTo>
                      <a:pt x="21" y="455"/>
                    </a:moveTo>
                    <a:lnTo>
                      <a:pt x="19" y="457"/>
                    </a:lnTo>
                    <a:lnTo>
                      <a:pt x="19" y="455"/>
                    </a:lnTo>
                    <a:lnTo>
                      <a:pt x="21" y="455"/>
                    </a:lnTo>
                    <a:lnTo>
                      <a:pt x="19" y="455"/>
                    </a:lnTo>
                    <a:lnTo>
                      <a:pt x="21" y="455"/>
                    </a:lnTo>
                    <a:lnTo>
                      <a:pt x="19" y="455"/>
                    </a:lnTo>
                    <a:lnTo>
                      <a:pt x="21" y="455"/>
                    </a:lnTo>
                    <a:close/>
                    <a:moveTo>
                      <a:pt x="29" y="457"/>
                    </a:moveTo>
                    <a:lnTo>
                      <a:pt x="29" y="459"/>
                    </a:lnTo>
                    <a:lnTo>
                      <a:pt x="29" y="457"/>
                    </a:lnTo>
                    <a:close/>
                    <a:moveTo>
                      <a:pt x="34" y="459"/>
                    </a:moveTo>
                    <a:lnTo>
                      <a:pt x="36" y="459"/>
                    </a:lnTo>
                    <a:lnTo>
                      <a:pt x="34" y="459"/>
                    </a:lnTo>
                    <a:close/>
                    <a:moveTo>
                      <a:pt x="36" y="459"/>
                    </a:moveTo>
                    <a:lnTo>
                      <a:pt x="34" y="459"/>
                    </a:lnTo>
                    <a:lnTo>
                      <a:pt x="36" y="459"/>
                    </a:lnTo>
                    <a:close/>
                    <a:moveTo>
                      <a:pt x="19" y="451"/>
                    </a:moveTo>
                    <a:lnTo>
                      <a:pt x="19" y="453"/>
                    </a:lnTo>
                    <a:lnTo>
                      <a:pt x="19" y="451"/>
                    </a:lnTo>
                    <a:close/>
                    <a:moveTo>
                      <a:pt x="40" y="457"/>
                    </a:moveTo>
                    <a:lnTo>
                      <a:pt x="40" y="459"/>
                    </a:lnTo>
                    <a:lnTo>
                      <a:pt x="40" y="457"/>
                    </a:lnTo>
                    <a:close/>
                    <a:moveTo>
                      <a:pt x="42" y="459"/>
                    </a:moveTo>
                    <a:lnTo>
                      <a:pt x="42" y="457"/>
                    </a:lnTo>
                    <a:lnTo>
                      <a:pt x="42" y="459"/>
                    </a:lnTo>
                    <a:close/>
                    <a:moveTo>
                      <a:pt x="21" y="451"/>
                    </a:moveTo>
                    <a:lnTo>
                      <a:pt x="19" y="451"/>
                    </a:lnTo>
                    <a:lnTo>
                      <a:pt x="19" y="450"/>
                    </a:lnTo>
                    <a:lnTo>
                      <a:pt x="21" y="451"/>
                    </a:lnTo>
                    <a:close/>
                    <a:moveTo>
                      <a:pt x="21" y="450"/>
                    </a:moveTo>
                    <a:lnTo>
                      <a:pt x="19" y="450"/>
                    </a:lnTo>
                    <a:lnTo>
                      <a:pt x="21" y="450"/>
                    </a:lnTo>
                    <a:close/>
                    <a:moveTo>
                      <a:pt x="242" y="507"/>
                    </a:moveTo>
                    <a:lnTo>
                      <a:pt x="240" y="507"/>
                    </a:lnTo>
                    <a:lnTo>
                      <a:pt x="242" y="507"/>
                    </a:lnTo>
                    <a:close/>
                    <a:moveTo>
                      <a:pt x="29" y="451"/>
                    </a:moveTo>
                    <a:lnTo>
                      <a:pt x="29" y="450"/>
                    </a:lnTo>
                    <a:lnTo>
                      <a:pt x="29" y="451"/>
                    </a:lnTo>
                    <a:close/>
                    <a:moveTo>
                      <a:pt x="21" y="448"/>
                    </a:moveTo>
                    <a:lnTo>
                      <a:pt x="19" y="448"/>
                    </a:lnTo>
                    <a:lnTo>
                      <a:pt x="21" y="448"/>
                    </a:lnTo>
                    <a:lnTo>
                      <a:pt x="21" y="450"/>
                    </a:lnTo>
                    <a:lnTo>
                      <a:pt x="19" y="450"/>
                    </a:lnTo>
                    <a:lnTo>
                      <a:pt x="21" y="448"/>
                    </a:lnTo>
                    <a:lnTo>
                      <a:pt x="19" y="448"/>
                    </a:lnTo>
                    <a:lnTo>
                      <a:pt x="21" y="448"/>
                    </a:lnTo>
                    <a:close/>
                    <a:moveTo>
                      <a:pt x="23" y="448"/>
                    </a:moveTo>
                    <a:lnTo>
                      <a:pt x="25" y="448"/>
                    </a:lnTo>
                    <a:lnTo>
                      <a:pt x="23" y="448"/>
                    </a:lnTo>
                    <a:close/>
                    <a:moveTo>
                      <a:pt x="242" y="505"/>
                    </a:moveTo>
                    <a:lnTo>
                      <a:pt x="244" y="505"/>
                    </a:lnTo>
                    <a:lnTo>
                      <a:pt x="242" y="505"/>
                    </a:lnTo>
                    <a:close/>
                    <a:moveTo>
                      <a:pt x="31" y="444"/>
                    </a:moveTo>
                    <a:lnTo>
                      <a:pt x="29" y="444"/>
                    </a:lnTo>
                    <a:lnTo>
                      <a:pt x="31" y="444"/>
                    </a:lnTo>
                    <a:lnTo>
                      <a:pt x="29" y="444"/>
                    </a:lnTo>
                    <a:lnTo>
                      <a:pt x="31" y="444"/>
                    </a:lnTo>
                    <a:close/>
                    <a:moveTo>
                      <a:pt x="250" y="500"/>
                    </a:moveTo>
                    <a:lnTo>
                      <a:pt x="248" y="500"/>
                    </a:lnTo>
                    <a:lnTo>
                      <a:pt x="250" y="500"/>
                    </a:lnTo>
                    <a:lnTo>
                      <a:pt x="248" y="500"/>
                    </a:lnTo>
                    <a:lnTo>
                      <a:pt x="248" y="501"/>
                    </a:lnTo>
                    <a:lnTo>
                      <a:pt x="248" y="500"/>
                    </a:lnTo>
                    <a:lnTo>
                      <a:pt x="250" y="500"/>
                    </a:lnTo>
                    <a:close/>
                    <a:moveTo>
                      <a:pt x="2" y="432"/>
                    </a:moveTo>
                    <a:lnTo>
                      <a:pt x="2" y="434"/>
                    </a:lnTo>
                    <a:lnTo>
                      <a:pt x="2" y="432"/>
                    </a:lnTo>
                    <a:close/>
                    <a:moveTo>
                      <a:pt x="33" y="444"/>
                    </a:moveTo>
                    <a:lnTo>
                      <a:pt x="31" y="444"/>
                    </a:lnTo>
                    <a:lnTo>
                      <a:pt x="33" y="444"/>
                    </a:lnTo>
                    <a:lnTo>
                      <a:pt x="34" y="442"/>
                    </a:lnTo>
                    <a:lnTo>
                      <a:pt x="34" y="444"/>
                    </a:lnTo>
                    <a:lnTo>
                      <a:pt x="33" y="444"/>
                    </a:lnTo>
                    <a:close/>
                    <a:moveTo>
                      <a:pt x="2" y="432"/>
                    </a:moveTo>
                    <a:lnTo>
                      <a:pt x="0" y="432"/>
                    </a:lnTo>
                    <a:lnTo>
                      <a:pt x="2" y="432"/>
                    </a:lnTo>
                    <a:close/>
                    <a:moveTo>
                      <a:pt x="6" y="430"/>
                    </a:moveTo>
                    <a:lnTo>
                      <a:pt x="6" y="432"/>
                    </a:lnTo>
                    <a:lnTo>
                      <a:pt x="6" y="430"/>
                    </a:lnTo>
                    <a:lnTo>
                      <a:pt x="4" y="430"/>
                    </a:lnTo>
                    <a:lnTo>
                      <a:pt x="6" y="430"/>
                    </a:lnTo>
                    <a:lnTo>
                      <a:pt x="4" y="430"/>
                    </a:lnTo>
                    <a:lnTo>
                      <a:pt x="6" y="430"/>
                    </a:lnTo>
                    <a:close/>
                    <a:moveTo>
                      <a:pt x="33" y="438"/>
                    </a:moveTo>
                    <a:lnTo>
                      <a:pt x="31" y="438"/>
                    </a:lnTo>
                    <a:lnTo>
                      <a:pt x="29" y="438"/>
                    </a:lnTo>
                    <a:lnTo>
                      <a:pt x="31" y="438"/>
                    </a:lnTo>
                    <a:lnTo>
                      <a:pt x="33" y="438"/>
                    </a:lnTo>
                    <a:close/>
                    <a:moveTo>
                      <a:pt x="36" y="440"/>
                    </a:moveTo>
                    <a:lnTo>
                      <a:pt x="36" y="438"/>
                    </a:lnTo>
                    <a:lnTo>
                      <a:pt x="36" y="440"/>
                    </a:lnTo>
                    <a:close/>
                    <a:moveTo>
                      <a:pt x="353" y="517"/>
                    </a:moveTo>
                    <a:lnTo>
                      <a:pt x="353" y="515"/>
                    </a:lnTo>
                    <a:lnTo>
                      <a:pt x="353" y="517"/>
                    </a:lnTo>
                    <a:close/>
                    <a:moveTo>
                      <a:pt x="36" y="438"/>
                    </a:moveTo>
                    <a:lnTo>
                      <a:pt x="36" y="440"/>
                    </a:lnTo>
                    <a:lnTo>
                      <a:pt x="36" y="438"/>
                    </a:lnTo>
                    <a:lnTo>
                      <a:pt x="36" y="440"/>
                    </a:lnTo>
                    <a:lnTo>
                      <a:pt x="36" y="438"/>
                    </a:lnTo>
                    <a:close/>
                    <a:moveTo>
                      <a:pt x="252" y="492"/>
                    </a:moveTo>
                    <a:lnTo>
                      <a:pt x="252" y="494"/>
                    </a:lnTo>
                    <a:lnTo>
                      <a:pt x="252" y="492"/>
                    </a:lnTo>
                    <a:close/>
                    <a:moveTo>
                      <a:pt x="25" y="432"/>
                    </a:moveTo>
                    <a:lnTo>
                      <a:pt x="25" y="434"/>
                    </a:lnTo>
                    <a:lnTo>
                      <a:pt x="25" y="432"/>
                    </a:lnTo>
                    <a:lnTo>
                      <a:pt x="25" y="434"/>
                    </a:lnTo>
                    <a:lnTo>
                      <a:pt x="25" y="432"/>
                    </a:lnTo>
                    <a:close/>
                    <a:moveTo>
                      <a:pt x="252" y="492"/>
                    </a:moveTo>
                    <a:lnTo>
                      <a:pt x="252" y="490"/>
                    </a:lnTo>
                    <a:lnTo>
                      <a:pt x="252" y="492"/>
                    </a:lnTo>
                    <a:close/>
                    <a:moveTo>
                      <a:pt x="25" y="432"/>
                    </a:moveTo>
                    <a:lnTo>
                      <a:pt x="25" y="434"/>
                    </a:lnTo>
                    <a:lnTo>
                      <a:pt x="25" y="436"/>
                    </a:lnTo>
                    <a:lnTo>
                      <a:pt x="27" y="436"/>
                    </a:lnTo>
                    <a:lnTo>
                      <a:pt x="25" y="436"/>
                    </a:lnTo>
                    <a:lnTo>
                      <a:pt x="27" y="436"/>
                    </a:lnTo>
                    <a:lnTo>
                      <a:pt x="25" y="436"/>
                    </a:lnTo>
                    <a:lnTo>
                      <a:pt x="25" y="434"/>
                    </a:lnTo>
                    <a:lnTo>
                      <a:pt x="23" y="432"/>
                    </a:lnTo>
                    <a:lnTo>
                      <a:pt x="25" y="432"/>
                    </a:lnTo>
                    <a:lnTo>
                      <a:pt x="25" y="430"/>
                    </a:lnTo>
                    <a:lnTo>
                      <a:pt x="25" y="432"/>
                    </a:lnTo>
                    <a:lnTo>
                      <a:pt x="25" y="430"/>
                    </a:lnTo>
                    <a:lnTo>
                      <a:pt x="27" y="430"/>
                    </a:lnTo>
                    <a:lnTo>
                      <a:pt x="25" y="430"/>
                    </a:lnTo>
                    <a:lnTo>
                      <a:pt x="25" y="432"/>
                    </a:lnTo>
                    <a:close/>
                    <a:moveTo>
                      <a:pt x="355" y="509"/>
                    </a:moveTo>
                    <a:lnTo>
                      <a:pt x="355" y="511"/>
                    </a:lnTo>
                    <a:lnTo>
                      <a:pt x="355" y="509"/>
                    </a:lnTo>
                    <a:close/>
                    <a:moveTo>
                      <a:pt x="252" y="488"/>
                    </a:moveTo>
                    <a:lnTo>
                      <a:pt x="252" y="490"/>
                    </a:lnTo>
                    <a:lnTo>
                      <a:pt x="252" y="488"/>
                    </a:lnTo>
                    <a:close/>
                    <a:moveTo>
                      <a:pt x="13" y="423"/>
                    </a:moveTo>
                    <a:lnTo>
                      <a:pt x="13" y="425"/>
                    </a:lnTo>
                    <a:lnTo>
                      <a:pt x="13" y="423"/>
                    </a:lnTo>
                    <a:close/>
                    <a:moveTo>
                      <a:pt x="252" y="486"/>
                    </a:moveTo>
                    <a:lnTo>
                      <a:pt x="252" y="488"/>
                    </a:lnTo>
                    <a:lnTo>
                      <a:pt x="252" y="486"/>
                    </a:lnTo>
                    <a:close/>
                    <a:moveTo>
                      <a:pt x="250" y="486"/>
                    </a:moveTo>
                    <a:lnTo>
                      <a:pt x="252" y="486"/>
                    </a:lnTo>
                    <a:lnTo>
                      <a:pt x="250" y="486"/>
                    </a:lnTo>
                    <a:lnTo>
                      <a:pt x="250" y="484"/>
                    </a:lnTo>
                    <a:lnTo>
                      <a:pt x="250" y="486"/>
                    </a:lnTo>
                    <a:close/>
                    <a:moveTo>
                      <a:pt x="13" y="421"/>
                    </a:moveTo>
                    <a:lnTo>
                      <a:pt x="15" y="423"/>
                    </a:lnTo>
                    <a:lnTo>
                      <a:pt x="13" y="423"/>
                    </a:lnTo>
                    <a:lnTo>
                      <a:pt x="13" y="421"/>
                    </a:lnTo>
                    <a:lnTo>
                      <a:pt x="13" y="423"/>
                    </a:lnTo>
                    <a:lnTo>
                      <a:pt x="13" y="421"/>
                    </a:lnTo>
                    <a:close/>
                    <a:moveTo>
                      <a:pt x="250" y="486"/>
                    </a:moveTo>
                    <a:lnTo>
                      <a:pt x="250" y="484"/>
                    </a:lnTo>
                    <a:lnTo>
                      <a:pt x="250" y="486"/>
                    </a:lnTo>
                    <a:close/>
                    <a:moveTo>
                      <a:pt x="25" y="425"/>
                    </a:moveTo>
                    <a:lnTo>
                      <a:pt x="25" y="427"/>
                    </a:lnTo>
                    <a:lnTo>
                      <a:pt x="25" y="425"/>
                    </a:lnTo>
                    <a:lnTo>
                      <a:pt x="25" y="427"/>
                    </a:lnTo>
                    <a:lnTo>
                      <a:pt x="25" y="425"/>
                    </a:lnTo>
                    <a:close/>
                    <a:moveTo>
                      <a:pt x="250" y="484"/>
                    </a:moveTo>
                    <a:lnTo>
                      <a:pt x="248" y="484"/>
                    </a:lnTo>
                    <a:lnTo>
                      <a:pt x="250" y="484"/>
                    </a:lnTo>
                    <a:close/>
                    <a:moveTo>
                      <a:pt x="248" y="482"/>
                    </a:moveTo>
                    <a:lnTo>
                      <a:pt x="246" y="482"/>
                    </a:lnTo>
                    <a:lnTo>
                      <a:pt x="248" y="482"/>
                    </a:lnTo>
                    <a:close/>
                    <a:moveTo>
                      <a:pt x="244" y="482"/>
                    </a:moveTo>
                    <a:lnTo>
                      <a:pt x="246" y="482"/>
                    </a:lnTo>
                    <a:lnTo>
                      <a:pt x="248" y="482"/>
                    </a:lnTo>
                    <a:lnTo>
                      <a:pt x="246" y="482"/>
                    </a:lnTo>
                    <a:lnTo>
                      <a:pt x="244" y="482"/>
                    </a:lnTo>
                    <a:close/>
                    <a:moveTo>
                      <a:pt x="244" y="480"/>
                    </a:moveTo>
                    <a:lnTo>
                      <a:pt x="242" y="480"/>
                    </a:lnTo>
                    <a:lnTo>
                      <a:pt x="244" y="480"/>
                    </a:lnTo>
                    <a:close/>
                    <a:moveTo>
                      <a:pt x="242" y="480"/>
                    </a:moveTo>
                    <a:lnTo>
                      <a:pt x="240" y="480"/>
                    </a:lnTo>
                    <a:lnTo>
                      <a:pt x="242" y="480"/>
                    </a:lnTo>
                    <a:close/>
                    <a:moveTo>
                      <a:pt x="17" y="419"/>
                    </a:moveTo>
                    <a:lnTo>
                      <a:pt x="17" y="421"/>
                    </a:lnTo>
                    <a:lnTo>
                      <a:pt x="17" y="419"/>
                    </a:lnTo>
                    <a:close/>
                    <a:moveTo>
                      <a:pt x="242" y="480"/>
                    </a:moveTo>
                    <a:lnTo>
                      <a:pt x="240" y="480"/>
                    </a:lnTo>
                    <a:lnTo>
                      <a:pt x="240" y="478"/>
                    </a:lnTo>
                    <a:lnTo>
                      <a:pt x="240" y="480"/>
                    </a:lnTo>
                    <a:lnTo>
                      <a:pt x="240" y="478"/>
                    </a:lnTo>
                    <a:lnTo>
                      <a:pt x="242" y="480"/>
                    </a:lnTo>
                    <a:close/>
                    <a:moveTo>
                      <a:pt x="240" y="478"/>
                    </a:moveTo>
                    <a:lnTo>
                      <a:pt x="240" y="480"/>
                    </a:lnTo>
                    <a:lnTo>
                      <a:pt x="240" y="478"/>
                    </a:lnTo>
                    <a:lnTo>
                      <a:pt x="238" y="478"/>
                    </a:lnTo>
                    <a:lnTo>
                      <a:pt x="240" y="478"/>
                    </a:lnTo>
                    <a:close/>
                    <a:moveTo>
                      <a:pt x="17" y="419"/>
                    </a:moveTo>
                    <a:lnTo>
                      <a:pt x="19" y="419"/>
                    </a:lnTo>
                    <a:lnTo>
                      <a:pt x="17" y="419"/>
                    </a:lnTo>
                    <a:close/>
                    <a:moveTo>
                      <a:pt x="238" y="478"/>
                    </a:moveTo>
                    <a:lnTo>
                      <a:pt x="240" y="478"/>
                    </a:lnTo>
                    <a:lnTo>
                      <a:pt x="238" y="478"/>
                    </a:lnTo>
                    <a:close/>
                    <a:moveTo>
                      <a:pt x="236" y="475"/>
                    </a:moveTo>
                    <a:lnTo>
                      <a:pt x="238" y="475"/>
                    </a:lnTo>
                    <a:lnTo>
                      <a:pt x="236" y="476"/>
                    </a:lnTo>
                    <a:lnTo>
                      <a:pt x="236" y="475"/>
                    </a:lnTo>
                    <a:close/>
                    <a:moveTo>
                      <a:pt x="31" y="415"/>
                    </a:moveTo>
                    <a:lnTo>
                      <a:pt x="31" y="417"/>
                    </a:lnTo>
                    <a:lnTo>
                      <a:pt x="31" y="415"/>
                    </a:lnTo>
                    <a:close/>
                    <a:moveTo>
                      <a:pt x="38" y="417"/>
                    </a:moveTo>
                    <a:lnTo>
                      <a:pt x="36" y="417"/>
                    </a:lnTo>
                    <a:lnTo>
                      <a:pt x="38" y="417"/>
                    </a:lnTo>
                    <a:close/>
                    <a:moveTo>
                      <a:pt x="232" y="469"/>
                    </a:moveTo>
                    <a:lnTo>
                      <a:pt x="232" y="467"/>
                    </a:lnTo>
                    <a:lnTo>
                      <a:pt x="232" y="469"/>
                    </a:lnTo>
                    <a:close/>
                    <a:moveTo>
                      <a:pt x="232" y="467"/>
                    </a:moveTo>
                    <a:lnTo>
                      <a:pt x="232" y="469"/>
                    </a:lnTo>
                    <a:lnTo>
                      <a:pt x="232" y="467"/>
                    </a:lnTo>
                    <a:lnTo>
                      <a:pt x="230" y="467"/>
                    </a:lnTo>
                    <a:lnTo>
                      <a:pt x="232" y="467"/>
                    </a:lnTo>
                    <a:close/>
                    <a:moveTo>
                      <a:pt x="357" y="492"/>
                    </a:moveTo>
                    <a:lnTo>
                      <a:pt x="357" y="494"/>
                    </a:lnTo>
                    <a:lnTo>
                      <a:pt x="357" y="492"/>
                    </a:lnTo>
                    <a:lnTo>
                      <a:pt x="359" y="494"/>
                    </a:lnTo>
                    <a:lnTo>
                      <a:pt x="357" y="494"/>
                    </a:lnTo>
                    <a:lnTo>
                      <a:pt x="357" y="492"/>
                    </a:lnTo>
                    <a:close/>
                    <a:moveTo>
                      <a:pt x="230" y="467"/>
                    </a:moveTo>
                    <a:lnTo>
                      <a:pt x="230" y="465"/>
                    </a:lnTo>
                    <a:lnTo>
                      <a:pt x="230" y="467"/>
                    </a:lnTo>
                    <a:close/>
                    <a:moveTo>
                      <a:pt x="357" y="492"/>
                    </a:moveTo>
                    <a:lnTo>
                      <a:pt x="359" y="492"/>
                    </a:lnTo>
                    <a:lnTo>
                      <a:pt x="357" y="492"/>
                    </a:lnTo>
                    <a:close/>
                    <a:moveTo>
                      <a:pt x="230" y="465"/>
                    </a:moveTo>
                    <a:lnTo>
                      <a:pt x="230" y="467"/>
                    </a:lnTo>
                    <a:lnTo>
                      <a:pt x="230" y="465"/>
                    </a:lnTo>
                    <a:close/>
                    <a:moveTo>
                      <a:pt x="228" y="465"/>
                    </a:moveTo>
                    <a:lnTo>
                      <a:pt x="228" y="463"/>
                    </a:lnTo>
                    <a:lnTo>
                      <a:pt x="228" y="465"/>
                    </a:lnTo>
                    <a:close/>
                    <a:moveTo>
                      <a:pt x="19" y="407"/>
                    </a:moveTo>
                    <a:lnTo>
                      <a:pt x="19" y="405"/>
                    </a:lnTo>
                    <a:lnTo>
                      <a:pt x="21" y="405"/>
                    </a:lnTo>
                    <a:lnTo>
                      <a:pt x="19" y="405"/>
                    </a:lnTo>
                    <a:lnTo>
                      <a:pt x="19" y="407"/>
                    </a:lnTo>
                    <a:close/>
                    <a:moveTo>
                      <a:pt x="228" y="461"/>
                    </a:moveTo>
                    <a:lnTo>
                      <a:pt x="228" y="463"/>
                    </a:lnTo>
                    <a:lnTo>
                      <a:pt x="227" y="461"/>
                    </a:lnTo>
                    <a:lnTo>
                      <a:pt x="228" y="461"/>
                    </a:lnTo>
                    <a:close/>
                    <a:moveTo>
                      <a:pt x="23" y="403"/>
                    </a:moveTo>
                    <a:lnTo>
                      <a:pt x="21" y="405"/>
                    </a:lnTo>
                    <a:lnTo>
                      <a:pt x="21" y="407"/>
                    </a:lnTo>
                    <a:lnTo>
                      <a:pt x="21" y="405"/>
                    </a:lnTo>
                    <a:lnTo>
                      <a:pt x="21" y="403"/>
                    </a:lnTo>
                    <a:lnTo>
                      <a:pt x="23" y="403"/>
                    </a:lnTo>
                    <a:close/>
                    <a:moveTo>
                      <a:pt x="227" y="461"/>
                    </a:moveTo>
                    <a:lnTo>
                      <a:pt x="227" y="459"/>
                    </a:lnTo>
                    <a:lnTo>
                      <a:pt x="227" y="461"/>
                    </a:lnTo>
                    <a:close/>
                    <a:moveTo>
                      <a:pt x="44" y="409"/>
                    </a:moveTo>
                    <a:lnTo>
                      <a:pt x="44" y="411"/>
                    </a:lnTo>
                    <a:lnTo>
                      <a:pt x="44" y="409"/>
                    </a:lnTo>
                    <a:close/>
                    <a:moveTo>
                      <a:pt x="227" y="457"/>
                    </a:moveTo>
                    <a:lnTo>
                      <a:pt x="227" y="459"/>
                    </a:lnTo>
                    <a:lnTo>
                      <a:pt x="227" y="457"/>
                    </a:lnTo>
                    <a:close/>
                    <a:moveTo>
                      <a:pt x="227" y="457"/>
                    </a:moveTo>
                    <a:lnTo>
                      <a:pt x="227" y="455"/>
                    </a:lnTo>
                    <a:lnTo>
                      <a:pt x="227" y="457"/>
                    </a:lnTo>
                    <a:close/>
                    <a:moveTo>
                      <a:pt x="34" y="403"/>
                    </a:moveTo>
                    <a:lnTo>
                      <a:pt x="34" y="405"/>
                    </a:lnTo>
                    <a:lnTo>
                      <a:pt x="34" y="403"/>
                    </a:lnTo>
                    <a:lnTo>
                      <a:pt x="34" y="405"/>
                    </a:lnTo>
                    <a:lnTo>
                      <a:pt x="34" y="403"/>
                    </a:lnTo>
                    <a:lnTo>
                      <a:pt x="34" y="405"/>
                    </a:lnTo>
                    <a:lnTo>
                      <a:pt x="34" y="403"/>
                    </a:lnTo>
                    <a:close/>
                    <a:moveTo>
                      <a:pt x="227" y="455"/>
                    </a:moveTo>
                    <a:lnTo>
                      <a:pt x="227" y="453"/>
                    </a:lnTo>
                    <a:lnTo>
                      <a:pt x="227" y="455"/>
                    </a:lnTo>
                    <a:lnTo>
                      <a:pt x="227" y="453"/>
                    </a:lnTo>
                    <a:lnTo>
                      <a:pt x="227" y="455"/>
                    </a:lnTo>
                    <a:close/>
                    <a:moveTo>
                      <a:pt x="225" y="453"/>
                    </a:moveTo>
                    <a:lnTo>
                      <a:pt x="225" y="451"/>
                    </a:lnTo>
                    <a:lnTo>
                      <a:pt x="225" y="453"/>
                    </a:lnTo>
                    <a:close/>
                    <a:moveTo>
                      <a:pt x="38" y="396"/>
                    </a:moveTo>
                    <a:lnTo>
                      <a:pt x="38" y="398"/>
                    </a:lnTo>
                    <a:lnTo>
                      <a:pt x="36" y="398"/>
                    </a:lnTo>
                    <a:lnTo>
                      <a:pt x="38" y="398"/>
                    </a:lnTo>
                    <a:lnTo>
                      <a:pt x="36" y="398"/>
                    </a:lnTo>
                    <a:lnTo>
                      <a:pt x="36" y="396"/>
                    </a:lnTo>
                    <a:lnTo>
                      <a:pt x="38" y="396"/>
                    </a:lnTo>
                    <a:close/>
                    <a:moveTo>
                      <a:pt x="369" y="475"/>
                    </a:moveTo>
                    <a:lnTo>
                      <a:pt x="369" y="476"/>
                    </a:lnTo>
                    <a:lnTo>
                      <a:pt x="371" y="476"/>
                    </a:lnTo>
                    <a:lnTo>
                      <a:pt x="369" y="476"/>
                    </a:lnTo>
                    <a:lnTo>
                      <a:pt x="369" y="478"/>
                    </a:lnTo>
                    <a:lnTo>
                      <a:pt x="369" y="480"/>
                    </a:lnTo>
                    <a:lnTo>
                      <a:pt x="367" y="480"/>
                    </a:lnTo>
                    <a:lnTo>
                      <a:pt x="365" y="480"/>
                    </a:lnTo>
                    <a:lnTo>
                      <a:pt x="365" y="478"/>
                    </a:lnTo>
                    <a:lnTo>
                      <a:pt x="367" y="478"/>
                    </a:lnTo>
                    <a:lnTo>
                      <a:pt x="367" y="480"/>
                    </a:lnTo>
                    <a:lnTo>
                      <a:pt x="367" y="478"/>
                    </a:lnTo>
                    <a:lnTo>
                      <a:pt x="367" y="476"/>
                    </a:lnTo>
                    <a:lnTo>
                      <a:pt x="369" y="476"/>
                    </a:lnTo>
                    <a:lnTo>
                      <a:pt x="367" y="476"/>
                    </a:lnTo>
                    <a:lnTo>
                      <a:pt x="369" y="476"/>
                    </a:lnTo>
                    <a:lnTo>
                      <a:pt x="369" y="475"/>
                    </a:lnTo>
                    <a:close/>
                    <a:moveTo>
                      <a:pt x="223" y="446"/>
                    </a:moveTo>
                    <a:lnTo>
                      <a:pt x="225" y="448"/>
                    </a:lnTo>
                    <a:lnTo>
                      <a:pt x="225" y="450"/>
                    </a:lnTo>
                    <a:lnTo>
                      <a:pt x="225" y="451"/>
                    </a:lnTo>
                    <a:lnTo>
                      <a:pt x="225" y="450"/>
                    </a:lnTo>
                    <a:lnTo>
                      <a:pt x="223" y="450"/>
                    </a:lnTo>
                    <a:lnTo>
                      <a:pt x="223" y="448"/>
                    </a:lnTo>
                    <a:lnTo>
                      <a:pt x="223" y="446"/>
                    </a:lnTo>
                    <a:close/>
                    <a:moveTo>
                      <a:pt x="48" y="400"/>
                    </a:moveTo>
                    <a:lnTo>
                      <a:pt x="48" y="398"/>
                    </a:lnTo>
                    <a:lnTo>
                      <a:pt x="50" y="398"/>
                    </a:lnTo>
                    <a:lnTo>
                      <a:pt x="48" y="400"/>
                    </a:lnTo>
                    <a:close/>
                    <a:moveTo>
                      <a:pt x="371" y="475"/>
                    </a:moveTo>
                    <a:lnTo>
                      <a:pt x="373" y="475"/>
                    </a:lnTo>
                    <a:lnTo>
                      <a:pt x="371" y="475"/>
                    </a:lnTo>
                    <a:close/>
                    <a:moveTo>
                      <a:pt x="42" y="394"/>
                    </a:moveTo>
                    <a:lnTo>
                      <a:pt x="42" y="396"/>
                    </a:lnTo>
                    <a:lnTo>
                      <a:pt x="42" y="394"/>
                    </a:lnTo>
                    <a:lnTo>
                      <a:pt x="42" y="396"/>
                    </a:lnTo>
                    <a:lnTo>
                      <a:pt x="42" y="394"/>
                    </a:lnTo>
                    <a:close/>
                    <a:moveTo>
                      <a:pt x="223" y="444"/>
                    </a:moveTo>
                    <a:lnTo>
                      <a:pt x="223" y="446"/>
                    </a:lnTo>
                    <a:lnTo>
                      <a:pt x="223" y="444"/>
                    </a:lnTo>
                    <a:lnTo>
                      <a:pt x="223" y="446"/>
                    </a:lnTo>
                    <a:lnTo>
                      <a:pt x="225" y="446"/>
                    </a:lnTo>
                    <a:lnTo>
                      <a:pt x="223" y="446"/>
                    </a:lnTo>
                    <a:lnTo>
                      <a:pt x="223" y="444"/>
                    </a:lnTo>
                    <a:close/>
                    <a:moveTo>
                      <a:pt x="373" y="475"/>
                    </a:moveTo>
                    <a:lnTo>
                      <a:pt x="371" y="475"/>
                    </a:lnTo>
                    <a:lnTo>
                      <a:pt x="371" y="473"/>
                    </a:lnTo>
                    <a:lnTo>
                      <a:pt x="373" y="473"/>
                    </a:lnTo>
                    <a:lnTo>
                      <a:pt x="373" y="475"/>
                    </a:lnTo>
                    <a:close/>
                    <a:moveTo>
                      <a:pt x="373" y="473"/>
                    </a:moveTo>
                    <a:lnTo>
                      <a:pt x="371" y="473"/>
                    </a:lnTo>
                    <a:lnTo>
                      <a:pt x="373" y="473"/>
                    </a:lnTo>
                    <a:close/>
                    <a:moveTo>
                      <a:pt x="40" y="390"/>
                    </a:moveTo>
                    <a:lnTo>
                      <a:pt x="40" y="392"/>
                    </a:lnTo>
                    <a:lnTo>
                      <a:pt x="40" y="390"/>
                    </a:lnTo>
                    <a:close/>
                    <a:moveTo>
                      <a:pt x="223" y="440"/>
                    </a:moveTo>
                    <a:lnTo>
                      <a:pt x="223" y="442"/>
                    </a:lnTo>
                    <a:lnTo>
                      <a:pt x="223" y="440"/>
                    </a:lnTo>
                    <a:lnTo>
                      <a:pt x="223" y="442"/>
                    </a:lnTo>
                    <a:lnTo>
                      <a:pt x="223" y="444"/>
                    </a:lnTo>
                    <a:lnTo>
                      <a:pt x="223" y="442"/>
                    </a:lnTo>
                    <a:lnTo>
                      <a:pt x="223" y="440"/>
                    </a:lnTo>
                    <a:close/>
                    <a:moveTo>
                      <a:pt x="56" y="394"/>
                    </a:moveTo>
                    <a:lnTo>
                      <a:pt x="56" y="396"/>
                    </a:lnTo>
                    <a:lnTo>
                      <a:pt x="56" y="394"/>
                    </a:lnTo>
                    <a:close/>
                    <a:moveTo>
                      <a:pt x="223" y="438"/>
                    </a:moveTo>
                    <a:lnTo>
                      <a:pt x="223" y="440"/>
                    </a:lnTo>
                    <a:lnTo>
                      <a:pt x="223" y="438"/>
                    </a:lnTo>
                    <a:close/>
                    <a:moveTo>
                      <a:pt x="476" y="486"/>
                    </a:moveTo>
                    <a:lnTo>
                      <a:pt x="476" y="484"/>
                    </a:lnTo>
                    <a:lnTo>
                      <a:pt x="476" y="486"/>
                    </a:lnTo>
                    <a:close/>
                    <a:moveTo>
                      <a:pt x="46" y="390"/>
                    </a:moveTo>
                    <a:lnTo>
                      <a:pt x="44" y="390"/>
                    </a:lnTo>
                    <a:lnTo>
                      <a:pt x="46" y="390"/>
                    </a:lnTo>
                    <a:lnTo>
                      <a:pt x="44" y="390"/>
                    </a:lnTo>
                    <a:lnTo>
                      <a:pt x="46" y="390"/>
                    </a:lnTo>
                    <a:close/>
                    <a:moveTo>
                      <a:pt x="46" y="390"/>
                    </a:moveTo>
                    <a:lnTo>
                      <a:pt x="46" y="392"/>
                    </a:lnTo>
                    <a:lnTo>
                      <a:pt x="46" y="390"/>
                    </a:lnTo>
                    <a:close/>
                    <a:moveTo>
                      <a:pt x="46" y="388"/>
                    </a:moveTo>
                    <a:lnTo>
                      <a:pt x="44" y="388"/>
                    </a:lnTo>
                    <a:lnTo>
                      <a:pt x="44" y="390"/>
                    </a:lnTo>
                    <a:lnTo>
                      <a:pt x="42" y="390"/>
                    </a:lnTo>
                    <a:lnTo>
                      <a:pt x="44" y="390"/>
                    </a:lnTo>
                    <a:lnTo>
                      <a:pt x="44" y="388"/>
                    </a:lnTo>
                    <a:lnTo>
                      <a:pt x="46" y="388"/>
                    </a:lnTo>
                    <a:close/>
                    <a:moveTo>
                      <a:pt x="56" y="390"/>
                    </a:moveTo>
                    <a:lnTo>
                      <a:pt x="56" y="392"/>
                    </a:lnTo>
                    <a:lnTo>
                      <a:pt x="54" y="392"/>
                    </a:lnTo>
                    <a:lnTo>
                      <a:pt x="56" y="392"/>
                    </a:lnTo>
                    <a:lnTo>
                      <a:pt x="54" y="392"/>
                    </a:lnTo>
                    <a:lnTo>
                      <a:pt x="56" y="390"/>
                    </a:lnTo>
                    <a:close/>
                    <a:moveTo>
                      <a:pt x="40" y="384"/>
                    </a:moveTo>
                    <a:lnTo>
                      <a:pt x="38" y="384"/>
                    </a:lnTo>
                    <a:lnTo>
                      <a:pt x="40" y="384"/>
                    </a:lnTo>
                    <a:close/>
                    <a:moveTo>
                      <a:pt x="44" y="386"/>
                    </a:moveTo>
                    <a:lnTo>
                      <a:pt x="42" y="386"/>
                    </a:lnTo>
                    <a:lnTo>
                      <a:pt x="44" y="386"/>
                    </a:lnTo>
                    <a:lnTo>
                      <a:pt x="42" y="386"/>
                    </a:lnTo>
                    <a:lnTo>
                      <a:pt x="44" y="386"/>
                    </a:lnTo>
                    <a:close/>
                    <a:moveTo>
                      <a:pt x="373" y="465"/>
                    </a:moveTo>
                    <a:lnTo>
                      <a:pt x="373" y="463"/>
                    </a:lnTo>
                    <a:lnTo>
                      <a:pt x="373" y="465"/>
                    </a:lnTo>
                    <a:close/>
                    <a:moveTo>
                      <a:pt x="38" y="382"/>
                    </a:moveTo>
                    <a:lnTo>
                      <a:pt x="40" y="382"/>
                    </a:lnTo>
                    <a:lnTo>
                      <a:pt x="38" y="384"/>
                    </a:lnTo>
                    <a:lnTo>
                      <a:pt x="40" y="382"/>
                    </a:lnTo>
                    <a:lnTo>
                      <a:pt x="38" y="384"/>
                    </a:lnTo>
                    <a:lnTo>
                      <a:pt x="38" y="382"/>
                    </a:lnTo>
                    <a:lnTo>
                      <a:pt x="40" y="382"/>
                    </a:lnTo>
                    <a:lnTo>
                      <a:pt x="38" y="382"/>
                    </a:lnTo>
                    <a:close/>
                    <a:moveTo>
                      <a:pt x="373" y="461"/>
                    </a:moveTo>
                    <a:lnTo>
                      <a:pt x="373" y="463"/>
                    </a:lnTo>
                    <a:lnTo>
                      <a:pt x="373" y="461"/>
                    </a:lnTo>
                    <a:lnTo>
                      <a:pt x="373" y="463"/>
                    </a:lnTo>
                    <a:lnTo>
                      <a:pt x="373" y="461"/>
                    </a:lnTo>
                    <a:close/>
                    <a:moveTo>
                      <a:pt x="50" y="384"/>
                    </a:moveTo>
                    <a:lnTo>
                      <a:pt x="50" y="382"/>
                    </a:lnTo>
                    <a:lnTo>
                      <a:pt x="50" y="384"/>
                    </a:lnTo>
                    <a:close/>
                    <a:moveTo>
                      <a:pt x="52" y="384"/>
                    </a:moveTo>
                    <a:lnTo>
                      <a:pt x="50" y="384"/>
                    </a:lnTo>
                    <a:lnTo>
                      <a:pt x="52" y="384"/>
                    </a:lnTo>
                    <a:close/>
                    <a:moveTo>
                      <a:pt x="376" y="457"/>
                    </a:moveTo>
                    <a:lnTo>
                      <a:pt x="376" y="459"/>
                    </a:lnTo>
                    <a:lnTo>
                      <a:pt x="376" y="457"/>
                    </a:lnTo>
                    <a:close/>
                    <a:moveTo>
                      <a:pt x="476" y="471"/>
                    </a:moveTo>
                    <a:lnTo>
                      <a:pt x="474" y="471"/>
                    </a:lnTo>
                    <a:lnTo>
                      <a:pt x="476" y="471"/>
                    </a:lnTo>
                    <a:close/>
                    <a:moveTo>
                      <a:pt x="54" y="378"/>
                    </a:moveTo>
                    <a:lnTo>
                      <a:pt x="54" y="380"/>
                    </a:lnTo>
                    <a:lnTo>
                      <a:pt x="54" y="378"/>
                    </a:lnTo>
                    <a:lnTo>
                      <a:pt x="54" y="380"/>
                    </a:lnTo>
                    <a:lnTo>
                      <a:pt x="52" y="380"/>
                    </a:lnTo>
                    <a:lnTo>
                      <a:pt x="52" y="378"/>
                    </a:lnTo>
                    <a:lnTo>
                      <a:pt x="52" y="380"/>
                    </a:lnTo>
                    <a:lnTo>
                      <a:pt x="54" y="378"/>
                    </a:lnTo>
                    <a:lnTo>
                      <a:pt x="52" y="378"/>
                    </a:lnTo>
                    <a:lnTo>
                      <a:pt x="54" y="378"/>
                    </a:lnTo>
                    <a:close/>
                    <a:moveTo>
                      <a:pt x="56" y="378"/>
                    </a:moveTo>
                    <a:lnTo>
                      <a:pt x="54" y="380"/>
                    </a:lnTo>
                    <a:lnTo>
                      <a:pt x="54" y="378"/>
                    </a:lnTo>
                    <a:lnTo>
                      <a:pt x="56" y="378"/>
                    </a:lnTo>
                    <a:close/>
                    <a:moveTo>
                      <a:pt x="54" y="378"/>
                    </a:moveTo>
                    <a:lnTo>
                      <a:pt x="52" y="378"/>
                    </a:lnTo>
                    <a:lnTo>
                      <a:pt x="54" y="378"/>
                    </a:lnTo>
                    <a:close/>
                    <a:moveTo>
                      <a:pt x="52" y="377"/>
                    </a:moveTo>
                    <a:lnTo>
                      <a:pt x="50" y="377"/>
                    </a:lnTo>
                    <a:lnTo>
                      <a:pt x="52" y="377"/>
                    </a:lnTo>
                    <a:close/>
                    <a:moveTo>
                      <a:pt x="374" y="453"/>
                    </a:moveTo>
                    <a:lnTo>
                      <a:pt x="374" y="455"/>
                    </a:lnTo>
                    <a:lnTo>
                      <a:pt x="374" y="453"/>
                    </a:lnTo>
                    <a:close/>
                    <a:moveTo>
                      <a:pt x="61" y="378"/>
                    </a:moveTo>
                    <a:lnTo>
                      <a:pt x="61" y="380"/>
                    </a:lnTo>
                    <a:lnTo>
                      <a:pt x="61" y="378"/>
                    </a:lnTo>
                    <a:lnTo>
                      <a:pt x="61" y="380"/>
                    </a:lnTo>
                    <a:lnTo>
                      <a:pt x="61" y="378"/>
                    </a:lnTo>
                    <a:lnTo>
                      <a:pt x="61" y="380"/>
                    </a:lnTo>
                    <a:lnTo>
                      <a:pt x="61" y="378"/>
                    </a:lnTo>
                    <a:close/>
                    <a:moveTo>
                      <a:pt x="61" y="377"/>
                    </a:moveTo>
                    <a:lnTo>
                      <a:pt x="61" y="378"/>
                    </a:lnTo>
                    <a:lnTo>
                      <a:pt x="61" y="377"/>
                    </a:lnTo>
                    <a:lnTo>
                      <a:pt x="61" y="378"/>
                    </a:lnTo>
                    <a:lnTo>
                      <a:pt x="61" y="377"/>
                    </a:lnTo>
                    <a:close/>
                    <a:moveTo>
                      <a:pt x="54" y="375"/>
                    </a:moveTo>
                    <a:lnTo>
                      <a:pt x="56" y="375"/>
                    </a:lnTo>
                    <a:lnTo>
                      <a:pt x="54" y="375"/>
                    </a:lnTo>
                    <a:lnTo>
                      <a:pt x="56" y="375"/>
                    </a:lnTo>
                    <a:lnTo>
                      <a:pt x="54" y="375"/>
                    </a:lnTo>
                    <a:lnTo>
                      <a:pt x="56" y="375"/>
                    </a:lnTo>
                    <a:lnTo>
                      <a:pt x="54" y="375"/>
                    </a:lnTo>
                    <a:lnTo>
                      <a:pt x="56" y="375"/>
                    </a:lnTo>
                    <a:lnTo>
                      <a:pt x="56" y="373"/>
                    </a:lnTo>
                    <a:lnTo>
                      <a:pt x="54" y="375"/>
                    </a:lnTo>
                    <a:close/>
                    <a:moveTo>
                      <a:pt x="61" y="375"/>
                    </a:moveTo>
                    <a:lnTo>
                      <a:pt x="61" y="377"/>
                    </a:lnTo>
                    <a:lnTo>
                      <a:pt x="61" y="375"/>
                    </a:lnTo>
                    <a:lnTo>
                      <a:pt x="61" y="377"/>
                    </a:lnTo>
                    <a:lnTo>
                      <a:pt x="61" y="375"/>
                    </a:lnTo>
                    <a:lnTo>
                      <a:pt x="61" y="377"/>
                    </a:lnTo>
                    <a:lnTo>
                      <a:pt x="61" y="375"/>
                    </a:lnTo>
                    <a:close/>
                    <a:moveTo>
                      <a:pt x="71" y="377"/>
                    </a:moveTo>
                    <a:lnTo>
                      <a:pt x="71" y="378"/>
                    </a:lnTo>
                    <a:lnTo>
                      <a:pt x="69" y="378"/>
                    </a:lnTo>
                    <a:lnTo>
                      <a:pt x="69" y="377"/>
                    </a:lnTo>
                    <a:lnTo>
                      <a:pt x="71" y="377"/>
                    </a:lnTo>
                    <a:close/>
                    <a:moveTo>
                      <a:pt x="476" y="463"/>
                    </a:moveTo>
                    <a:lnTo>
                      <a:pt x="476" y="465"/>
                    </a:lnTo>
                    <a:lnTo>
                      <a:pt x="474" y="465"/>
                    </a:lnTo>
                    <a:lnTo>
                      <a:pt x="476" y="463"/>
                    </a:lnTo>
                    <a:close/>
                    <a:moveTo>
                      <a:pt x="61" y="373"/>
                    </a:moveTo>
                    <a:lnTo>
                      <a:pt x="61" y="375"/>
                    </a:lnTo>
                    <a:lnTo>
                      <a:pt x="61" y="373"/>
                    </a:lnTo>
                    <a:lnTo>
                      <a:pt x="59" y="373"/>
                    </a:lnTo>
                    <a:lnTo>
                      <a:pt x="61" y="373"/>
                    </a:lnTo>
                    <a:close/>
                    <a:moveTo>
                      <a:pt x="57" y="373"/>
                    </a:moveTo>
                    <a:lnTo>
                      <a:pt x="56" y="373"/>
                    </a:lnTo>
                    <a:lnTo>
                      <a:pt x="57" y="373"/>
                    </a:lnTo>
                    <a:lnTo>
                      <a:pt x="57" y="371"/>
                    </a:lnTo>
                    <a:lnTo>
                      <a:pt x="57" y="373"/>
                    </a:lnTo>
                    <a:close/>
                    <a:moveTo>
                      <a:pt x="71" y="375"/>
                    </a:moveTo>
                    <a:lnTo>
                      <a:pt x="73" y="375"/>
                    </a:lnTo>
                    <a:lnTo>
                      <a:pt x="73" y="377"/>
                    </a:lnTo>
                    <a:lnTo>
                      <a:pt x="73" y="378"/>
                    </a:lnTo>
                    <a:lnTo>
                      <a:pt x="71" y="378"/>
                    </a:lnTo>
                    <a:lnTo>
                      <a:pt x="71" y="377"/>
                    </a:lnTo>
                    <a:lnTo>
                      <a:pt x="69" y="377"/>
                    </a:lnTo>
                    <a:lnTo>
                      <a:pt x="69" y="375"/>
                    </a:lnTo>
                    <a:lnTo>
                      <a:pt x="71" y="375"/>
                    </a:lnTo>
                    <a:close/>
                    <a:moveTo>
                      <a:pt x="215" y="413"/>
                    </a:moveTo>
                    <a:lnTo>
                      <a:pt x="217" y="413"/>
                    </a:lnTo>
                    <a:lnTo>
                      <a:pt x="215" y="413"/>
                    </a:lnTo>
                    <a:close/>
                    <a:moveTo>
                      <a:pt x="478" y="461"/>
                    </a:moveTo>
                    <a:lnTo>
                      <a:pt x="476" y="463"/>
                    </a:lnTo>
                    <a:lnTo>
                      <a:pt x="476" y="461"/>
                    </a:lnTo>
                    <a:lnTo>
                      <a:pt x="478" y="461"/>
                    </a:lnTo>
                    <a:close/>
                    <a:moveTo>
                      <a:pt x="61" y="371"/>
                    </a:moveTo>
                    <a:lnTo>
                      <a:pt x="59" y="371"/>
                    </a:lnTo>
                    <a:lnTo>
                      <a:pt x="61" y="371"/>
                    </a:lnTo>
                    <a:close/>
                    <a:moveTo>
                      <a:pt x="374" y="440"/>
                    </a:moveTo>
                    <a:lnTo>
                      <a:pt x="374" y="442"/>
                    </a:lnTo>
                    <a:lnTo>
                      <a:pt x="374" y="440"/>
                    </a:lnTo>
                    <a:lnTo>
                      <a:pt x="373" y="440"/>
                    </a:lnTo>
                    <a:lnTo>
                      <a:pt x="374" y="440"/>
                    </a:lnTo>
                    <a:close/>
                    <a:moveTo>
                      <a:pt x="221" y="409"/>
                    </a:moveTo>
                    <a:lnTo>
                      <a:pt x="219" y="409"/>
                    </a:lnTo>
                    <a:lnTo>
                      <a:pt x="219" y="411"/>
                    </a:lnTo>
                    <a:lnTo>
                      <a:pt x="219" y="409"/>
                    </a:lnTo>
                    <a:lnTo>
                      <a:pt x="221" y="409"/>
                    </a:lnTo>
                    <a:close/>
                    <a:moveTo>
                      <a:pt x="373" y="438"/>
                    </a:moveTo>
                    <a:lnTo>
                      <a:pt x="373" y="440"/>
                    </a:lnTo>
                    <a:lnTo>
                      <a:pt x="373" y="438"/>
                    </a:lnTo>
                    <a:lnTo>
                      <a:pt x="373" y="440"/>
                    </a:lnTo>
                    <a:lnTo>
                      <a:pt x="373" y="438"/>
                    </a:lnTo>
                    <a:close/>
                    <a:moveTo>
                      <a:pt x="81" y="371"/>
                    </a:moveTo>
                    <a:lnTo>
                      <a:pt x="81" y="369"/>
                    </a:lnTo>
                    <a:lnTo>
                      <a:pt x="81" y="371"/>
                    </a:lnTo>
                    <a:close/>
                    <a:moveTo>
                      <a:pt x="81" y="371"/>
                    </a:moveTo>
                    <a:lnTo>
                      <a:pt x="81" y="369"/>
                    </a:lnTo>
                    <a:lnTo>
                      <a:pt x="81" y="371"/>
                    </a:lnTo>
                    <a:close/>
                    <a:moveTo>
                      <a:pt x="474" y="455"/>
                    </a:moveTo>
                    <a:lnTo>
                      <a:pt x="474" y="453"/>
                    </a:lnTo>
                    <a:lnTo>
                      <a:pt x="476" y="453"/>
                    </a:lnTo>
                    <a:lnTo>
                      <a:pt x="476" y="455"/>
                    </a:lnTo>
                    <a:lnTo>
                      <a:pt x="474" y="455"/>
                    </a:lnTo>
                    <a:close/>
                    <a:moveTo>
                      <a:pt x="225" y="407"/>
                    </a:moveTo>
                    <a:lnTo>
                      <a:pt x="223" y="407"/>
                    </a:lnTo>
                    <a:lnTo>
                      <a:pt x="225" y="407"/>
                    </a:lnTo>
                    <a:lnTo>
                      <a:pt x="223" y="407"/>
                    </a:lnTo>
                    <a:lnTo>
                      <a:pt x="223" y="409"/>
                    </a:lnTo>
                    <a:lnTo>
                      <a:pt x="223" y="407"/>
                    </a:lnTo>
                    <a:lnTo>
                      <a:pt x="225" y="407"/>
                    </a:lnTo>
                    <a:close/>
                    <a:moveTo>
                      <a:pt x="373" y="438"/>
                    </a:moveTo>
                    <a:lnTo>
                      <a:pt x="373" y="436"/>
                    </a:lnTo>
                    <a:lnTo>
                      <a:pt x="373" y="438"/>
                    </a:lnTo>
                    <a:close/>
                    <a:moveTo>
                      <a:pt x="474" y="451"/>
                    </a:moveTo>
                    <a:lnTo>
                      <a:pt x="474" y="450"/>
                    </a:lnTo>
                    <a:lnTo>
                      <a:pt x="474" y="451"/>
                    </a:lnTo>
                    <a:close/>
                    <a:moveTo>
                      <a:pt x="75" y="363"/>
                    </a:moveTo>
                    <a:lnTo>
                      <a:pt x="75" y="365"/>
                    </a:lnTo>
                    <a:lnTo>
                      <a:pt x="73" y="365"/>
                    </a:lnTo>
                    <a:lnTo>
                      <a:pt x="73" y="363"/>
                    </a:lnTo>
                    <a:lnTo>
                      <a:pt x="75" y="363"/>
                    </a:lnTo>
                    <a:close/>
                    <a:moveTo>
                      <a:pt x="182" y="392"/>
                    </a:moveTo>
                    <a:lnTo>
                      <a:pt x="180" y="392"/>
                    </a:lnTo>
                    <a:lnTo>
                      <a:pt x="182" y="392"/>
                    </a:lnTo>
                    <a:lnTo>
                      <a:pt x="180" y="392"/>
                    </a:lnTo>
                    <a:lnTo>
                      <a:pt x="182" y="392"/>
                    </a:lnTo>
                    <a:close/>
                    <a:moveTo>
                      <a:pt x="202" y="398"/>
                    </a:moveTo>
                    <a:lnTo>
                      <a:pt x="202" y="396"/>
                    </a:lnTo>
                    <a:lnTo>
                      <a:pt x="202" y="398"/>
                    </a:lnTo>
                    <a:close/>
                    <a:moveTo>
                      <a:pt x="202" y="396"/>
                    </a:moveTo>
                    <a:lnTo>
                      <a:pt x="202" y="398"/>
                    </a:lnTo>
                    <a:lnTo>
                      <a:pt x="202" y="396"/>
                    </a:lnTo>
                    <a:lnTo>
                      <a:pt x="200" y="396"/>
                    </a:lnTo>
                    <a:lnTo>
                      <a:pt x="202" y="396"/>
                    </a:lnTo>
                    <a:close/>
                    <a:moveTo>
                      <a:pt x="75" y="365"/>
                    </a:moveTo>
                    <a:lnTo>
                      <a:pt x="75" y="363"/>
                    </a:lnTo>
                    <a:lnTo>
                      <a:pt x="77" y="363"/>
                    </a:lnTo>
                    <a:lnTo>
                      <a:pt x="75" y="365"/>
                    </a:lnTo>
                    <a:close/>
                    <a:moveTo>
                      <a:pt x="177" y="390"/>
                    </a:moveTo>
                    <a:lnTo>
                      <a:pt x="175" y="390"/>
                    </a:lnTo>
                    <a:lnTo>
                      <a:pt x="177" y="390"/>
                    </a:lnTo>
                    <a:close/>
                    <a:moveTo>
                      <a:pt x="81" y="365"/>
                    </a:moveTo>
                    <a:lnTo>
                      <a:pt x="81" y="363"/>
                    </a:lnTo>
                    <a:lnTo>
                      <a:pt x="81" y="365"/>
                    </a:lnTo>
                    <a:close/>
                    <a:moveTo>
                      <a:pt x="225" y="402"/>
                    </a:moveTo>
                    <a:lnTo>
                      <a:pt x="225" y="403"/>
                    </a:lnTo>
                    <a:lnTo>
                      <a:pt x="225" y="402"/>
                    </a:lnTo>
                    <a:lnTo>
                      <a:pt x="225" y="403"/>
                    </a:lnTo>
                    <a:lnTo>
                      <a:pt x="227" y="403"/>
                    </a:lnTo>
                    <a:lnTo>
                      <a:pt x="225" y="403"/>
                    </a:lnTo>
                    <a:lnTo>
                      <a:pt x="225" y="402"/>
                    </a:lnTo>
                    <a:lnTo>
                      <a:pt x="225" y="403"/>
                    </a:lnTo>
                    <a:lnTo>
                      <a:pt x="223" y="403"/>
                    </a:lnTo>
                    <a:lnTo>
                      <a:pt x="223" y="402"/>
                    </a:lnTo>
                    <a:lnTo>
                      <a:pt x="225" y="402"/>
                    </a:lnTo>
                    <a:close/>
                    <a:moveTo>
                      <a:pt x="182" y="392"/>
                    </a:moveTo>
                    <a:lnTo>
                      <a:pt x="180" y="392"/>
                    </a:lnTo>
                    <a:lnTo>
                      <a:pt x="182" y="392"/>
                    </a:lnTo>
                    <a:close/>
                    <a:moveTo>
                      <a:pt x="371" y="436"/>
                    </a:moveTo>
                    <a:lnTo>
                      <a:pt x="373" y="436"/>
                    </a:lnTo>
                    <a:lnTo>
                      <a:pt x="371" y="436"/>
                    </a:lnTo>
                    <a:lnTo>
                      <a:pt x="371" y="434"/>
                    </a:lnTo>
                    <a:lnTo>
                      <a:pt x="371" y="432"/>
                    </a:lnTo>
                    <a:lnTo>
                      <a:pt x="373" y="432"/>
                    </a:lnTo>
                    <a:lnTo>
                      <a:pt x="373" y="434"/>
                    </a:lnTo>
                    <a:lnTo>
                      <a:pt x="371" y="434"/>
                    </a:lnTo>
                    <a:lnTo>
                      <a:pt x="373" y="434"/>
                    </a:lnTo>
                    <a:lnTo>
                      <a:pt x="371" y="436"/>
                    </a:lnTo>
                    <a:close/>
                    <a:moveTo>
                      <a:pt x="227" y="402"/>
                    </a:moveTo>
                    <a:lnTo>
                      <a:pt x="225" y="402"/>
                    </a:lnTo>
                    <a:lnTo>
                      <a:pt x="227" y="402"/>
                    </a:lnTo>
                    <a:close/>
                    <a:moveTo>
                      <a:pt x="196" y="394"/>
                    </a:moveTo>
                    <a:lnTo>
                      <a:pt x="198" y="394"/>
                    </a:lnTo>
                    <a:lnTo>
                      <a:pt x="198" y="396"/>
                    </a:lnTo>
                    <a:lnTo>
                      <a:pt x="198" y="394"/>
                    </a:lnTo>
                    <a:lnTo>
                      <a:pt x="198" y="396"/>
                    </a:lnTo>
                    <a:lnTo>
                      <a:pt x="198" y="394"/>
                    </a:lnTo>
                    <a:lnTo>
                      <a:pt x="198" y="396"/>
                    </a:lnTo>
                    <a:lnTo>
                      <a:pt x="196" y="394"/>
                    </a:lnTo>
                    <a:close/>
                    <a:moveTo>
                      <a:pt x="173" y="388"/>
                    </a:moveTo>
                    <a:lnTo>
                      <a:pt x="175" y="388"/>
                    </a:lnTo>
                    <a:lnTo>
                      <a:pt x="175" y="390"/>
                    </a:lnTo>
                    <a:lnTo>
                      <a:pt x="175" y="388"/>
                    </a:lnTo>
                    <a:lnTo>
                      <a:pt x="173" y="388"/>
                    </a:lnTo>
                    <a:close/>
                    <a:moveTo>
                      <a:pt x="180" y="390"/>
                    </a:moveTo>
                    <a:lnTo>
                      <a:pt x="179" y="390"/>
                    </a:lnTo>
                    <a:lnTo>
                      <a:pt x="180" y="390"/>
                    </a:lnTo>
                    <a:lnTo>
                      <a:pt x="179" y="390"/>
                    </a:lnTo>
                    <a:lnTo>
                      <a:pt x="180" y="390"/>
                    </a:lnTo>
                    <a:close/>
                    <a:moveTo>
                      <a:pt x="192" y="392"/>
                    </a:moveTo>
                    <a:lnTo>
                      <a:pt x="190" y="392"/>
                    </a:lnTo>
                    <a:lnTo>
                      <a:pt x="188" y="392"/>
                    </a:lnTo>
                    <a:lnTo>
                      <a:pt x="188" y="394"/>
                    </a:lnTo>
                    <a:lnTo>
                      <a:pt x="188" y="392"/>
                    </a:lnTo>
                    <a:lnTo>
                      <a:pt x="186" y="392"/>
                    </a:lnTo>
                    <a:lnTo>
                      <a:pt x="188" y="392"/>
                    </a:lnTo>
                    <a:lnTo>
                      <a:pt x="190" y="392"/>
                    </a:lnTo>
                    <a:lnTo>
                      <a:pt x="192" y="392"/>
                    </a:lnTo>
                    <a:close/>
                    <a:moveTo>
                      <a:pt x="186" y="390"/>
                    </a:moveTo>
                    <a:lnTo>
                      <a:pt x="186" y="392"/>
                    </a:lnTo>
                    <a:lnTo>
                      <a:pt x="184" y="392"/>
                    </a:lnTo>
                    <a:lnTo>
                      <a:pt x="184" y="390"/>
                    </a:lnTo>
                    <a:lnTo>
                      <a:pt x="186" y="390"/>
                    </a:lnTo>
                    <a:close/>
                    <a:moveTo>
                      <a:pt x="186" y="390"/>
                    </a:moveTo>
                    <a:lnTo>
                      <a:pt x="186" y="392"/>
                    </a:lnTo>
                    <a:lnTo>
                      <a:pt x="186" y="390"/>
                    </a:lnTo>
                    <a:close/>
                    <a:moveTo>
                      <a:pt x="190" y="392"/>
                    </a:moveTo>
                    <a:lnTo>
                      <a:pt x="188" y="392"/>
                    </a:lnTo>
                    <a:lnTo>
                      <a:pt x="188" y="390"/>
                    </a:lnTo>
                    <a:lnTo>
                      <a:pt x="186" y="390"/>
                    </a:lnTo>
                    <a:lnTo>
                      <a:pt x="188" y="392"/>
                    </a:lnTo>
                    <a:lnTo>
                      <a:pt x="190" y="392"/>
                    </a:lnTo>
                    <a:close/>
                    <a:moveTo>
                      <a:pt x="77" y="359"/>
                    </a:moveTo>
                    <a:lnTo>
                      <a:pt x="75" y="359"/>
                    </a:lnTo>
                    <a:lnTo>
                      <a:pt x="77" y="359"/>
                    </a:lnTo>
                    <a:lnTo>
                      <a:pt x="77" y="361"/>
                    </a:lnTo>
                    <a:lnTo>
                      <a:pt x="75" y="361"/>
                    </a:lnTo>
                    <a:lnTo>
                      <a:pt x="75" y="363"/>
                    </a:lnTo>
                    <a:lnTo>
                      <a:pt x="73" y="363"/>
                    </a:lnTo>
                    <a:lnTo>
                      <a:pt x="75" y="363"/>
                    </a:lnTo>
                    <a:lnTo>
                      <a:pt x="75" y="361"/>
                    </a:lnTo>
                    <a:lnTo>
                      <a:pt x="75" y="359"/>
                    </a:lnTo>
                    <a:lnTo>
                      <a:pt x="77" y="359"/>
                    </a:lnTo>
                    <a:close/>
                    <a:moveTo>
                      <a:pt x="179" y="388"/>
                    </a:moveTo>
                    <a:lnTo>
                      <a:pt x="177" y="388"/>
                    </a:lnTo>
                    <a:lnTo>
                      <a:pt x="179" y="388"/>
                    </a:lnTo>
                    <a:close/>
                    <a:moveTo>
                      <a:pt x="482" y="448"/>
                    </a:moveTo>
                    <a:lnTo>
                      <a:pt x="482" y="446"/>
                    </a:lnTo>
                    <a:lnTo>
                      <a:pt x="482" y="448"/>
                    </a:lnTo>
                    <a:close/>
                    <a:moveTo>
                      <a:pt x="202" y="394"/>
                    </a:moveTo>
                    <a:lnTo>
                      <a:pt x="200" y="394"/>
                    </a:lnTo>
                    <a:lnTo>
                      <a:pt x="202" y="394"/>
                    </a:lnTo>
                    <a:close/>
                    <a:moveTo>
                      <a:pt x="175" y="386"/>
                    </a:moveTo>
                    <a:lnTo>
                      <a:pt x="175" y="388"/>
                    </a:lnTo>
                    <a:lnTo>
                      <a:pt x="175" y="386"/>
                    </a:lnTo>
                    <a:lnTo>
                      <a:pt x="175" y="388"/>
                    </a:lnTo>
                    <a:lnTo>
                      <a:pt x="175" y="386"/>
                    </a:lnTo>
                    <a:close/>
                    <a:moveTo>
                      <a:pt x="182" y="388"/>
                    </a:moveTo>
                    <a:lnTo>
                      <a:pt x="182" y="390"/>
                    </a:lnTo>
                    <a:lnTo>
                      <a:pt x="182" y="388"/>
                    </a:lnTo>
                    <a:lnTo>
                      <a:pt x="182" y="390"/>
                    </a:lnTo>
                    <a:lnTo>
                      <a:pt x="182" y="388"/>
                    </a:lnTo>
                    <a:lnTo>
                      <a:pt x="182" y="390"/>
                    </a:lnTo>
                    <a:lnTo>
                      <a:pt x="182" y="388"/>
                    </a:lnTo>
                    <a:close/>
                    <a:moveTo>
                      <a:pt x="198" y="392"/>
                    </a:moveTo>
                    <a:lnTo>
                      <a:pt x="198" y="394"/>
                    </a:lnTo>
                    <a:lnTo>
                      <a:pt x="198" y="392"/>
                    </a:lnTo>
                    <a:close/>
                    <a:moveTo>
                      <a:pt x="77" y="361"/>
                    </a:moveTo>
                    <a:lnTo>
                      <a:pt x="77" y="359"/>
                    </a:lnTo>
                    <a:lnTo>
                      <a:pt x="79" y="359"/>
                    </a:lnTo>
                    <a:lnTo>
                      <a:pt x="77" y="361"/>
                    </a:lnTo>
                    <a:close/>
                    <a:moveTo>
                      <a:pt x="196" y="392"/>
                    </a:moveTo>
                    <a:lnTo>
                      <a:pt x="194" y="392"/>
                    </a:lnTo>
                    <a:lnTo>
                      <a:pt x="196" y="392"/>
                    </a:lnTo>
                    <a:lnTo>
                      <a:pt x="194" y="392"/>
                    </a:lnTo>
                    <a:lnTo>
                      <a:pt x="196" y="392"/>
                    </a:lnTo>
                    <a:close/>
                    <a:moveTo>
                      <a:pt x="198" y="392"/>
                    </a:moveTo>
                    <a:lnTo>
                      <a:pt x="196" y="392"/>
                    </a:lnTo>
                    <a:lnTo>
                      <a:pt x="198" y="392"/>
                    </a:lnTo>
                    <a:close/>
                    <a:moveTo>
                      <a:pt x="203" y="392"/>
                    </a:moveTo>
                    <a:lnTo>
                      <a:pt x="203" y="394"/>
                    </a:lnTo>
                    <a:lnTo>
                      <a:pt x="202" y="394"/>
                    </a:lnTo>
                    <a:lnTo>
                      <a:pt x="202" y="392"/>
                    </a:lnTo>
                    <a:lnTo>
                      <a:pt x="203" y="392"/>
                    </a:lnTo>
                    <a:close/>
                    <a:moveTo>
                      <a:pt x="186" y="388"/>
                    </a:moveTo>
                    <a:lnTo>
                      <a:pt x="188" y="388"/>
                    </a:lnTo>
                    <a:lnTo>
                      <a:pt x="186" y="388"/>
                    </a:lnTo>
                    <a:lnTo>
                      <a:pt x="188" y="388"/>
                    </a:lnTo>
                    <a:lnTo>
                      <a:pt x="186" y="388"/>
                    </a:lnTo>
                    <a:close/>
                    <a:moveTo>
                      <a:pt x="203" y="392"/>
                    </a:moveTo>
                    <a:lnTo>
                      <a:pt x="203" y="394"/>
                    </a:lnTo>
                    <a:lnTo>
                      <a:pt x="203" y="392"/>
                    </a:lnTo>
                    <a:lnTo>
                      <a:pt x="203" y="394"/>
                    </a:lnTo>
                    <a:lnTo>
                      <a:pt x="203" y="392"/>
                    </a:lnTo>
                    <a:close/>
                    <a:moveTo>
                      <a:pt x="179" y="386"/>
                    </a:moveTo>
                    <a:lnTo>
                      <a:pt x="179" y="388"/>
                    </a:lnTo>
                    <a:lnTo>
                      <a:pt x="177" y="388"/>
                    </a:lnTo>
                    <a:lnTo>
                      <a:pt x="179" y="388"/>
                    </a:lnTo>
                    <a:lnTo>
                      <a:pt x="179" y="386"/>
                    </a:lnTo>
                    <a:close/>
                    <a:moveTo>
                      <a:pt x="179" y="386"/>
                    </a:moveTo>
                    <a:lnTo>
                      <a:pt x="180" y="386"/>
                    </a:lnTo>
                    <a:lnTo>
                      <a:pt x="179" y="386"/>
                    </a:lnTo>
                    <a:close/>
                    <a:moveTo>
                      <a:pt x="182" y="386"/>
                    </a:moveTo>
                    <a:lnTo>
                      <a:pt x="182" y="388"/>
                    </a:lnTo>
                    <a:lnTo>
                      <a:pt x="182" y="386"/>
                    </a:lnTo>
                    <a:close/>
                    <a:moveTo>
                      <a:pt x="374" y="427"/>
                    </a:moveTo>
                    <a:lnTo>
                      <a:pt x="374" y="428"/>
                    </a:lnTo>
                    <a:lnTo>
                      <a:pt x="374" y="427"/>
                    </a:lnTo>
                    <a:close/>
                    <a:moveTo>
                      <a:pt x="188" y="388"/>
                    </a:moveTo>
                    <a:lnTo>
                      <a:pt x="186" y="388"/>
                    </a:lnTo>
                    <a:lnTo>
                      <a:pt x="188" y="388"/>
                    </a:lnTo>
                    <a:close/>
                    <a:moveTo>
                      <a:pt x="200" y="390"/>
                    </a:moveTo>
                    <a:lnTo>
                      <a:pt x="198" y="390"/>
                    </a:lnTo>
                    <a:lnTo>
                      <a:pt x="198" y="392"/>
                    </a:lnTo>
                    <a:lnTo>
                      <a:pt x="198" y="390"/>
                    </a:lnTo>
                    <a:lnTo>
                      <a:pt x="198" y="392"/>
                    </a:lnTo>
                    <a:lnTo>
                      <a:pt x="198" y="390"/>
                    </a:lnTo>
                    <a:lnTo>
                      <a:pt x="198" y="392"/>
                    </a:lnTo>
                    <a:lnTo>
                      <a:pt x="198" y="390"/>
                    </a:lnTo>
                    <a:lnTo>
                      <a:pt x="200" y="390"/>
                    </a:lnTo>
                    <a:close/>
                    <a:moveTo>
                      <a:pt x="194" y="388"/>
                    </a:moveTo>
                    <a:lnTo>
                      <a:pt x="194" y="390"/>
                    </a:lnTo>
                    <a:lnTo>
                      <a:pt x="192" y="388"/>
                    </a:lnTo>
                    <a:lnTo>
                      <a:pt x="192" y="390"/>
                    </a:lnTo>
                    <a:lnTo>
                      <a:pt x="194" y="390"/>
                    </a:lnTo>
                    <a:lnTo>
                      <a:pt x="192" y="390"/>
                    </a:lnTo>
                    <a:lnTo>
                      <a:pt x="192" y="388"/>
                    </a:lnTo>
                    <a:lnTo>
                      <a:pt x="194" y="388"/>
                    </a:lnTo>
                    <a:close/>
                    <a:moveTo>
                      <a:pt x="200" y="390"/>
                    </a:moveTo>
                    <a:lnTo>
                      <a:pt x="200" y="392"/>
                    </a:lnTo>
                    <a:lnTo>
                      <a:pt x="200" y="390"/>
                    </a:lnTo>
                    <a:close/>
                    <a:moveTo>
                      <a:pt x="203" y="392"/>
                    </a:moveTo>
                    <a:lnTo>
                      <a:pt x="205" y="392"/>
                    </a:lnTo>
                    <a:lnTo>
                      <a:pt x="203" y="392"/>
                    </a:lnTo>
                    <a:close/>
                    <a:moveTo>
                      <a:pt x="202" y="390"/>
                    </a:moveTo>
                    <a:lnTo>
                      <a:pt x="202" y="392"/>
                    </a:lnTo>
                    <a:lnTo>
                      <a:pt x="202" y="390"/>
                    </a:lnTo>
                    <a:lnTo>
                      <a:pt x="202" y="392"/>
                    </a:lnTo>
                    <a:lnTo>
                      <a:pt x="202" y="390"/>
                    </a:lnTo>
                    <a:lnTo>
                      <a:pt x="202" y="392"/>
                    </a:lnTo>
                    <a:lnTo>
                      <a:pt x="202" y="390"/>
                    </a:lnTo>
                    <a:close/>
                    <a:moveTo>
                      <a:pt x="194" y="388"/>
                    </a:moveTo>
                    <a:lnTo>
                      <a:pt x="194" y="390"/>
                    </a:lnTo>
                    <a:lnTo>
                      <a:pt x="194" y="388"/>
                    </a:lnTo>
                    <a:lnTo>
                      <a:pt x="194" y="390"/>
                    </a:lnTo>
                    <a:lnTo>
                      <a:pt x="194" y="388"/>
                    </a:lnTo>
                    <a:close/>
                    <a:moveTo>
                      <a:pt x="184" y="386"/>
                    </a:moveTo>
                    <a:lnTo>
                      <a:pt x="184" y="388"/>
                    </a:lnTo>
                    <a:lnTo>
                      <a:pt x="184" y="386"/>
                    </a:lnTo>
                    <a:lnTo>
                      <a:pt x="184" y="388"/>
                    </a:lnTo>
                    <a:lnTo>
                      <a:pt x="184" y="386"/>
                    </a:lnTo>
                    <a:close/>
                    <a:moveTo>
                      <a:pt x="480" y="444"/>
                    </a:moveTo>
                    <a:lnTo>
                      <a:pt x="480" y="442"/>
                    </a:lnTo>
                    <a:lnTo>
                      <a:pt x="480" y="444"/>
                    </a:lnTo>
                    <a:close/>
                    <a:moveTo>
                      <a:pt x="200" y="390"/>
                    </a:moveTo>
                    <a:lnTo>
                      <a:pt x="202" y="390"/>
                    </a:lnTo>
                    <a:lnTo>
                      <a:pt x="200" y="390"/>
                    </a:lnTo>
                    <a:close/>
                    <a:moveTo>
                      <a:pt x="203" y="390"/>
                    </a:moveTo>
                    <a:lnTo>
                      <a:pt x="203" y="392"/>
                    </a:lnTo>
                    <a:lnTo>
                      <a:pt x="205" y="392"/>
                    </a:lnTo>
                    <a:lnTo>
                      <a:pt x="203" y="392"/>
                    </a:lnTo>
                    <a:lnTo>
                      <a:pt x="205" y="392"/>
                    </a:lnTo>
                    <a:lnTo>
                      <a:pt x="203" y="392"/>
                    </a:lnTo>
                    <a:lnTo>
                      <a:pt x="202" y="392"/>
                    </a:lnTo>
                    <a:lnTo>
                      <a:pt x="202" y="390"/>
                    </a:lnTo>
                    <a:lnTo>
                      <a:pt x="203" y="392"/>
                    </a:lnTo>
                    <a:lnTo>
                      <a:pt x="203" y="390"/>
                    </a:lnTo>
                    <a:lnTo>
                      <a:pt x="203" y="392"/>
                    </a:lnTo>
                    <a:lnTo>
                      <a:pt x="203" y="390"/>
                    </a:lnTo>
                    <a:lnTo>
                      <a:pt x="202" y="390"/>
                    </a:lnTo>
                    <a:lnTo>
                      <a:pt x="203" y="390"/>
                    </a:lnTo>
                    <a:lnTo>
                      <a:pt x="202" y="390"/>
                    </a:lnTo>
                    <a:lnTo>
                      <a:pt x="202" y="392"/>
                    </a:lnTo>
                    <a:lnTo>
                      <a:pt x="203" y="392"/>
                    </a:lnTo>
                    <a:lnTo>
                      <a:pt x="202" y="392"/>
                    </a:lnTo>
                    <a:lnTo>
                      <a:pt x="202" y="390"/>
                    </a:lnTo>
                    <a:lnTo>
                      <a:pt x="202" y="392"/>
                    </a:lnTo>
                    <a:lnTo>
                      <a:pt x="202" y="390"/>
                    </a:lnTo>
                    <a:lnTo>
                      <a:pt x="203" y="390"/>
                    </a:lnTo>
                    <a:close/>
                    <a:moveTo>
                      <a:pt x="200" y="390"/>
                    </a:moveTo>
                    <a:lnTo>
                      <a:pt x="200" y="388"/>
                    </a:lnTo>
                    <a:lnTo>
                      <a:pt x="200" y="390"/>
                    </a:lnTo>
                    <a:lnTo>
                      <a:pt x="200" y="388"/>
                    </a:lnTo>
                    <a:lnTo>
                      <a:pt x="200" y="390"/>
                    </a:lnTo>
                    <a:close/>
                    <a:moveTo>
                      <a:pt x="374" y="425"/>
                    </a:moveTo>
                    <a:lnTo>
                      <a:pt x="374" y="427"/>
                    </a:lnTo>
                    <a:lnTo>
                      <a:pt x="374" y="425"/>
                    </a:lnTo>
                    <a:close/>
                    <a:moveTo>
                      <a:pt x="171" y="380"/>
                    </a:moveTo>
                    <a:lnTo>
                      <a:pt x="171" y="382"/>
                    </a:lnTo>
                    <a:lnTo>
                      <a:pt x="171" y="380"/>
                    </a:lnTo>
                    <a:lnTo>
                      <a:pt x="171" y="382"/>
                    </a:lnTo>
                    <a:lnTo>
                      <a:pt x="171" y="380"/>
                    </a:lnTo>
                    <a:close/>
                    <a:moveTo>
                      <a:pt x="163" y="378"/>
                    </a:moveTo>
                    <a:lnTo>
                      <a:pt x="165" y="378"/>
                    </a:lnTo>
                    <a:lnTo>
                      <a:pt x="163" y="378"/>
                    </a:lnTo>
                    <a:close/>
                    <a:moveTo>
                      <a:pt x="82" y="355"/>
                    </a:moveTo>
                    <a:lnTo>
                      <a:pt x="82" y="357"/>
                    </a:lnTo>
                    <a:lnTo>
                      <a:pt x="81" y="357"/>
                    </a:lnTo>
                    <a:lnTo>
                      <a:pt x="81" y="359"/>
                    </a:lnTo>
                    <a:lnTo>
                      <a:pt x="81" y="361"/>
                    </a:lnTo>
                    <a:lnTo>
                      <a:pt x="79" y="361"/>
                    </a:lnTo>
                    <a:lnTo>
                      <a:pt x="79" y="359"/>
                    </a:lnTo>
                    <a:lnTo>
                      <a:pt x="81" y="359"/>
                    </a:lnTo>
                    <a:lnTo>
                      <a:pt x="81" y="357"/>
                    </a:lnTo>
                    <a:lnTo>
                      <a:pt x="82" y="355"/>
                    </a:lnTo>
                    <a:close/>
                    <a:moveTo>
                      <a:pt x="173" y="380"/>
                    </a:moveTo>
                    <a:lnTo>
                      <a:pt x="173" y="382"/>
                    </a:lnTo>
                    <a:lnTo>
                      <a:pt x="173" y="380"/>
                    </a:lnTo>
                    <a:lnTo>
                      <a:pt x="171" y="380"/>
                    </a:lnTo>
                    <a:lnTo>
                      <a:pt x="173" y="380"/>
                    </a:lnTo>
                    <a:close/>
                    <a:moveTo>
                      <a:pt x="207" y="390"/>
                    </a:moveTo>
                    <a:lnTo>
                      <a:pt x="207" y="388"/>
                    </a:lnTo>
                    <a:lnTo>
                      <a:pt x="207" y="390"/>
                    </a:lnTo>
                    <a:close/>
                    <a:moveTo>
                      <a:pt x="482" y="442"/>
                    </a:moveTo>
                    <a:lnTo>
                      <a:pt x="482" y="440"/>
                    </a:lnTo>
                    <a:lnTo>
                      <a:pt x="482" y="442"/>
                    </a:lnTo>
                    <a:close/>
                    <a:moveTo>
                      <a:pt x="175" y="380"/>
                    </a:moveTo>
                    <a:lnTo>
                      <a:pt x="177" y="380"/>
                    </a:lnTo>
                    <a:lnTo>
                      <a:pt x="177" y="382"/>
                    </a:lnTo>
                    <a:lnTo>
                      <a:pt x="175" y="380"/>
                    </a:lnTo>
                    <a:close/>
                    <a:moveTo>
                      <a:pt x="163" y="377"/>
                    </a:moveTo>
                    <a:lnTo>
                      <a:pt x="163" y="378"/>
                    </a:lnTo>
                    <a:lnTo>
                      <a:pt x="163" y="377"/>
                    </a:lnTo>
                    <a:close/>
                    <a:moveTo>
                      <a:pt x="374" y="425"/>
                    </a:moveTo>
                    <a:lnTo>
                      <a:pt x="374" y="423"/>
                    </a:lnTo>
                    <a:lnTo>
                      <a:pt x="374" y="425"/>
                    </a:lnTo>
                    <a:close/>
                    <a:moveTo>
                      <a:pt x="171" y="380"/>
                    </a:moveTo>
                    <a:lnTo>
                      <a:pt x="171" y="378"/>
                    </a:lnTo>
                    <a:lnTo>
                      <a:pt x="171" y="380"/>
                    </a:lnTo>
                    <a:close/>
                    <a:moveTo>
                      <a:pt x="186" y="382"/>
                    </a:moveTo>
                    <a:lnTo>
                      <a:pt x="184" y="382"/>
                    </a:lnTo>
                    <a:lnTo>
                      <a:pt x="186" y="382"/>
                    </a:lnTo>
                    <a:close/>
                    <a:moveTo>
                      <a:pt x="198" y="384"/>
                    </a:moveTo>
                    <a:lnTo>
                      <a:pt x="198" y="386"/>
                    </a:lnTo>
                    <a:lnTo>
                      <a:pt x="198" y="384"/>
                    </a:lnTo>
                    <a:lnTo>
                      <a:pt x="198" y="386"/>
                    </a:lnTo>
                    <a:lnTo>
                      <a:pt x="198" y="384"/>
                    </a:lnTo>
                    <a:close/>
                    <a:moveTo>
                      <a:pt x="184" y="380"/>
                    </a:moveTo>
                    <a:lnTo>
                      <a:pt x="184" y="382"/>
                    </a:lnTo>
                    <a:lnTo>
                      <a:pt x="184" y="380"/>
                    </a:lnTo>
                    <a:close/>
                    <a:moveTo>
                      <a:pt x="127" y="365"/>
                    </a:moveTo>
                    <a:lnTo>
                      <a:pt x="127" y="367"/>
                    </a:lnTo>
                    <a:lnTo>
                      <a:pt x="127" y="365"/>
                    </a:lnTo>
                    <a:lnTo>
                      <a:pt x="127" y="367"/>
                    </a:lnTo>
                    <a:lnTo>
                      <a:pt x="125" y="367"/>
                    </a:lnTo>
                    <a:lnTo>
                      <a:pt x="125" y="365"/>
                    </a:lnTo>
                    <a:lnTo>
                      <a:pt x="127" y="365"/>
                    </a:lnTo>
                    <a:close/>
                    <a:moveTo>
                      <a:pt x="374" y="423"/>
                    </a:moveTo>
                    <a:lnTo>
                      <a:pt x="374" y="425"/>
                    </a:lnTo>
                    <a:lnTo>
                      <a:pt x="374" y="423"/>
                    </a:lnTo>
                    <a:lnTo>
                      <a:pt x="374" y="421"/>
                    </a:lnTo>
                    <a:lnTo>
                      <a:pt x="374" y="423"/>
                    </a:lnTo>
                    <a:close/>
                    <a:moveTo>
                      <a:pt x="202" y="384"/>
                    </a:moveTo>
                    <a:lnTo>
                      <a:pt x="202" y="386"/>
                    </a:lnTo>
                    <a:lnTo>
                      <a:pt x="200" y="386"/>
                    </a:lnTo>
                    <a:lnTo>
                      <a:pt x="200" y="384"/>
                    </a:lnTo>
                    <a:lnTo>
                      <a:pt x="200" y="386"/>
                    </a:lnTo>
                    <a:lnTo>
                      <a:pt x="200" y="384"/>
                    </a:lnTo>
                    <a:lnTo>
                      <a:pt x="202" y="384"/>
                    </a:lnTo>
                    <a:close/>
                    <a:moveTo>
                      <a:pt x="203" y="386"/>
                    </a:moveTo>
                    <a:lnTo>
                      <a:pt x="202" y="386"/>
                    </a:lnTo>
                    <a:lnTo>
                      <a:pt x="203" y="386"/>
                    </a:lnTo>
                    <a:lnTo>
                      <a:pt x="203" y="384"/>
                    </a:lnTo>
                    <a:lnTo>
                      <a:pt x="203" y="386"/>
                    </a:lnTo>
                    <a:close/>
                    <a:moveTo>
                      <a:pt x="84" y="353"/>
                    </a:moveTo>
                    <a:lnTo>
                      <a:pt x="84" y="352"/>
                    </a:lnTo>
                    <a:lnTo>
                      <a:pt x="84" y="353"/>
                    </a:lnTo>
                    <a:close/>
                    <a:moveTo>
                      <a:pt x="84" y="353"/>
                    </a:moveTo>
                    <a:lnTo>
                      <a:pt x="86" y="352"/>
                    </a:lnTo>
                    <a:lnTo>
                      <a:pt x="86" y="353"/>
                    </a:lnTo>
                    <a:lnTo>
                      <a:pt x="84" y="353"/>
                    </a:lnTo>
                    <a:close/>
                    <a:moveTo>
                      <a:pt x="86" y="353"/>
                    </a:moveTo>
                    <a:lnTo>
                      <a:pt x="86" y="352"/>
                    </a:lnTo>
                    <a:lnTo>
                      <a:pt x="86" y="353"/>
                    </a:lnTo>
                    <a:close/>
                    <a:moveTo>
                      <a:pt x="157" y="373"/>
                    </a:moveTo>
                    <a:lnTo>
                      <a:pt x="155" y="373"/>
                    </a:lnTo>
                    <a:lnTo>
                      <a:pt x="157" y="373"/>
                    </a:lnTo>
                    <a:close/>
                    <a:moveTo>
                      <a:pt x="155" y="373"/>
                    </a:moveTo>
                    <a:lnTo>
                      <a:pt x="154" y="373"/>
                    </a:lnTo>
                    <a:lnTo>
                      <a:pt x="154" y="371"/>
                    </a:lnTo>
                    <a:lnTo>
                      <a:pt x="154" y="373"/>
                    </a:lnTo>
                    <a:lnTo>
                      <a:pt x="154" y="371"/>
                    </a:lnTo>
                    <a:lnTo>
                      <a:pt x="154" y="373"/>
                    </a:lnTo>
                    <a:lnTo>
                      <a:pt x="155" y="371"/>
                    </a:lnTo>
                    <a:lnTo>
                      <a:pt x="155" y="373"/>
                    </a:lnTo>
                    <a:close/>
                    <a:moveTo>
                      <a:pt x="121" y="363"/>
                    </a:moveTo>
                    <a:lnTo>
                      <a:pt x="121" y="361"/>
                    </a:lnTo>
                    <a:lnTo>
                      <a:pt x="121" y="363"/>
                    </a:lnTo>
                    <a:close/>
                    <a:moveTo>
                      <a:pt x="200" y="382"/>
                    </a:moveTo>
                    <a:lnTo>
                      <a:pt x="200" y="384"/>
                    </a:lnTo>
                    <a:lnTo>
                      <a:pt x="200" y="382"/>
                    </a:lnTo>
                    <a:lnTo>
                      <a:pt x="200" y="384"/>
                    </a:lnTo>
                    <a:lnTo>
                      <a:pt x="198" y="384"/>
                    </a:lnTo>
                    <a:lnTo>
                      <a:pt x="200" y="384"/>
                    </a:lnTo>
                    <a:lnTo>
                      <a:pt x="198" y="384"/>
                    </a:lnTo>
                    <a:lnTo>
                      <a:pt x="200" y="384"/>
                    </a:lnTo>
                    <a:lnTo>
                      <a:pt x="198" y="384"/>
                    </a:lnTo>
                    <a:lnTo>
                      <a:pt x="198" y="382"/>
                    </a:lnTo>
                    <a:lnTo>
                      <a:pt x="200" y="382"/>
                    </a:lnTo>
                    <a:close/>
                    <a:moveTo>
                      <a:pt x="100" y="355"/>
                    </a:moveTo>
                    <a:lnTo>
                      <a:pt x="102" y="357"/>
                    </a:lnTo>
                    <a:lnTo>
                      <a:pt x="100" y="357"/>
                    </a:lnTo>
                    <a:lnTo>
                      <a:pt x="98" y="355"/>
                    </a:lnTo>
                    <a:lnTo>
                      <a:pt x="100" y="355"/>
                    </a:lnTo>
                    <a:close/>
                    <a:moveTo>
                      <a:pt x="202" y="382"/>
                    </a:moveTo>
                    <a:lnTo>
                      <a:pt x="202" y="384"/>
                    </a:lnTo>
                    <a:lnTo>
                      <a:pt x="200" y="382"/>
                    </a:lnTo>
                    <a:lnTo>
                      <a:pt x="202" y="382"/>
                    </a:lnTo>
                    <a:lnTo>
                      <a:pt x="202" y="384"/>
                    </a:lnTo>
                    <a:lnTo>
                      <a:pt x="202" y="382"/>
                    </a:lnTo>
                    <a:close/>
                    <a:moveTo>
                      <a:pt x="202" y="384"/>
                    </a:moveTo>
                    <a:lnTo>
                      <a:pt x="203" y="384"/>
                    </a:lnTo>
                    <a:lnTo>
                      <a:pt x="202" y="384"/>
                    </a:lnTo>
                    <a:lnTo>
                      <a:pt x="202" y="382"/>
                    </a:lnTo>
                    <a:lnTo>
                      <a:pt x="202" y="384"/>
                    </a:lnTo>
                    <a:close/>
                    <a:moveTo>
                      <a:pt x="121" y="363"/>
                    </a:moveTo>
                    <a:lnTo>
                      <a:pt x="121" y="365"/>
                    </a:lnTo>
                    <a:lnTo>
                      <a:pt x="119" y="363"/>
                    </a:lnTo>
                    <a:lnTo>
                      <a:pt x="119" y="361"/>
                    </a:lnTo>
                    <a:lnTo>
                      <a:pt x="121" y="361"/>
                    </a:lnTo>
                    <a:lnTo>
                      <a:pt x="121" y="363"/>
                    </a:lnTo>
                    <a:close/>
                    <a:moveTo>
                      <a:pt x="86" y="352"/>
                    </a:moveTo>
                    <a:lnTo>
                      <a:pt x="86" y="353"/>
                    </a:lnTo>
                    <a:lnTo>
                      <a:pt x="86" y="352"/>
                    </a:lnTo>
                    <a:close/>
                    <a:moveTo>
                      <a:pt x="84" y="352"/>
                    </a:moveTo>
                    <a:lnTo>
                      <a:pt x="86" y="352"/>
                    </a:lnTo>
                    <a:lnTo>
                      <a:pt x="84" y="352"/>
                    </a:lnTo>
                    <a:close/>
                    <a:moveTo>
                      <a:pt x="165" y="373"/>
                    </a:moveTo>
                    <a:lnTo>
                      <a:pt x="165" y="375"/>
                    </a:lnTo>
                    <a:lnTo>
                      <a:pt x="165" y="373"/>
                    </a:lnTo>
                    <a:lnTo>
                      <a:pt x="163" y="373"/>
                    </a:lnTo>
                    <a:lnTo>
                      <a:pt x="165" y="373"/>
                    </a:lnTo>
                    <a:close/>
                    <a:moveTo>
                      <a:pt x="203" y="382"/>
                    </a:moveTo>
                    <a:lnTo>
                      <a:pt x="205" y="382"/>
                    </a:lnTo>
                    <a:lnTo>
                      <a:pt x="205" y="384"/>
                    </a:lnTo>
                    <a:lnTo>
                      <a:pt x="203" y="384"/>
                    </a:lnTo>
                    <a:lnTo>
                      <a:pt x="205" y="384"/>
                    </a:lnTo>
                    <a:lnTo>
                      <a:pt x="203" y="384"/>
                    </a:lnTo>
                    <a:lnTo>
                      <a:pt x="203" y="382"/>
                    </a:lnTo>
                    <a:close/>
                    <a:moveTo>
                      <a:pt x="202" y="382"/>
                    </a:moveTo>
                    <a:lnTo>
                      <a:pt x="200" y="382"/>
                    </a:lnTo>
                    <a:lnTo>
                      <a:pt x="202" y="382"/>
                    </a:lnTo>
                    <a:close/>
                    <a:moveTo>
                      <a:pt x="205" y="382"/>
                    </a:moveTo>
                    <a:lnTo>
                      <a:pt x="203" y="382"/>
                    </a:lnTo>
                    <a:lnTo>
                      <a:pt x="205" y="382"/>
                    </a:lnTo>
                    <a:close/>
                    <a:moveTo>
                      <a:pt x="200" y="380"/>
                    </a:moveTo>
                    <a:lnTo>
                      <a:pt x="200" y="382"/>
                    </a:lnTo>
                    <a:lnTo>
                      <a:pt x="202" y="382"/>
                    </a:lnTo>
                    <a:lnTo>
                      <a:pt x="200" y="382"/>
                    </a:lnTo>
                    <a:lnTo>
                      <a:pt x="198" y="382"/>
                    </a:lnTo>
                    <a:lnTo>
                      <a:pt x="198" y="380"/>
                    </a:lnTo>
                    <a:lnTo>
                      <a:pt x="200" y="380"/>
                    </a:lnTo>
                    <a:close/>
                    <a:moveTo>
                      <a:pt x="207" y="382"/>
                    </a:moveTo>
                    <a:lnTo>
                      <a:pt x="207" y="384"/>
                    </a:lnTo>
                    <a:lnTo>
                      <a:pt x="207" y="382"/>
                    </a:lnTo>
                    <a:lnTo>
                      <a:pt x="207" y="384"/>
                    </a:lnTo>
                    <a:lnTo>
                      <a:pt x="207" y="382"/>
                    </a:lnTo>
                    <a:lnTo>
                      <a:pt x="207" y="384"/>
                    </a:lnTo>
                    <a:lnTo>
                      <a:pt x="205" y="384"/>
                    </a:lnTo>
                    <a:lnTo>
                      <a:pt x="205" y="382"/>
                    </a:lnTo>
                    <a:lnTo>
                      <a:pt x="205" y="384"/>
                    </a:lnTo>
                    <a:lnTo>
                      <a:pt x="205" y="382"/>
                    </a:lnTo>
                    <a:lnTo>
                      <a:pt x="205" y="384"/>
                    </a:lnTo>
                    <a:lnTo>
                      <a:pt x="205" y="382"/>
                    </a:lnTo>
                    <a:lnTo>
                      <a:pt x="207" y="382"/>
                    </a:lnTo>
                    <a:close/>
                    <a:moveTo>
                      <a:pt x="159" y="369"/>
                    </a:moveTo>
                    <a:lnTo>
                      <a:pt x="157" y="371"/>
                    </a:lnTo>
                    <a:lnTo>
                      <a:pt x="159" y="371"/>
                    </a:lnTo>
                    <a:lnTo>
                      <a:pt x="157" y="371"/>
                    </a:lnTo>
                    <a:lnTo>
                      <a:pt x="159" y="371"/>
                    </a:lnTo>
                    <a:lnTo>
                      <a:pt x="157" y="369"/>
                    </a:lnTo>
                    <a:lnTo>
                      <a:pt x="159" y="369"/>
                    </a:lnTo>
                    <a:close/>
                    <a:moveTo>
                      <a:pt x="205" y="380"/>
                    </a:moveTo>
                    <a:lnTo>
                      <a:pt x="205" y="382"/>
                    </a:lnTo>
                    <a:lnTo>
                      <a:pt x="203" y="382"/>
                    </a:lnTo>
                    <a:lnTo>
                      <a:pt x="205" y="382"/>
                    </a:lnTo>
                    <a:lnTo>
                      <a:pt x="203" y="382"/>
                    </a:lnTo>
                    <a:lnTo>
                      <a:pt x="203" y="380"/>
                    </a:lnTo>
                    <a:lnTo>
                      <a:pt x="205" y="380"/>
                    </a:lnTo>
                    <a:close/>
                    <a:moveTo>
                      <a:pt x="175" y="375"/>
                    </a:moveTo>
                    <a:lnTo>
                      <a:pt x="177" y="375"/>
                    </a:lnTo>
                    <a:lnTo>
                      <a:pt x="175" y="375"/>
                    </a:lnTo>
                    <a:close/>
                    <a:moveTo>
                      <a:pt x="180" y="375"/>
                    </a:moveTo>
                    <a:lnTo>
                      <a:pt x="179" y="375"/>
                    </a:lnTo>
                    <a:lnTo>
                      <a:pt x="180" y="377"/>
                    </a:lnTo>
                    <a:lnTo>
                      <a:pt x="180" y="378"/>
                    </a:lnTo>
                    <a:lnTo>
                      <a:pt x="180" y="377"/>
                    </a:lnTo>
                    <a:lnTo>
                      <a:pt x="180" y="378"/>
                    </a:lnTo>
                    <a:lnTo>
                      <a:pt x="179" y="377"/>
                    </a:lnTo>
                    <a:lnTo>
                      <a:pt x="179" y="375"/>
                    </a:lnTo>
                    <a:lnTo>
                      <a:pt x="180" y="375"/>
                    </a:lnTo>
                    <a:close/>
                    <a:moveTo>
                      <a:pt x="373" y="417"/>
                    </a:moveTo>
                    <a:lnTo>
                      <a:pt x="371" y="417"/>
                    </a:lnTo>
                    <a:lnTo>
                      <a:pt x="371" y="415"/>
                    </a:lnTo>
                    <a:lnTo>
                      <a:pt x="373" y="415"/>
                    </a:lnTo>
                    <a:lnTo>
                      <a:pt x="373" y="417"/>
                    </a:lnTo>
                    <a:close/>
                    <a:moveTo>
                      <a:pt x="373" y="417"/>
                    </a:moveTo>
                    <a:lnTo>
                      <a:pt x="373" y="415"/>
                    </a:lnTo>
                    <a:lnTo>
                      <a:pt x="373" y="417"/>
                    </a:lnTo>
                    <a:close/>
                    <a:moveTo>
                      <a:pt x="161" y="369"/>
                    </a:moveTo>
                    <a:lnTo>
                      <a:pt x="161" y="371"/>
                    </a:lnTo>
                    <a:lnTo>
                      <a:pt x="161" y="369"/>
                    </a:lnTo>
                    <a:close/>
                    <a:moveTo>
                      <a:pt x="163" y="369"/>
                    </a:moveTo>
                    <a:lnTo>
                      <a:pt x="163" y="371"/>
                    </a:lnTo>
                    <a:lnTo>
                      <a:pt x="161" y="369"/>
                    </a:lnTo>
                    <a:lnTo>
                      <a:pt x="163" y="369"/>
                    </a:lnTo>
                    <a:close/>
                    <a:moveTo>
                      <a:pt x="94" y="352"/>
                    </a:moveTo>
                    <a:lnTo>
                      <a:pt x="94" y="350"/>
                    </a:lnTo>
                    <a:lnTo>
                      <a:pt x="92" y="350"/>
                    </a:lnTo>
                    <a:lnTo>
                      <a:pt x="94" y="350"/>
                    </a:lnTo>
                    <a:lnTo>
                      <a:pt x="94" y="352"/>
                    </a:lnTo>
                    <a:close/>
                    <a:moveTo>
                      <a:pt x="161" y="369"/>
                    </a:moveTo>
                    <a:lnTo>
                      <a:pt x="159" y="369"/>
                    </a:lnTo>
                    <a:lnTo>
                      <a:pt x="161" y="369"/>
                    </a:lnTo>
                    <a:close/>
                    <a:moveTo>
                      <a:pt x="173" y="371"/>
                    </a:moveTo>
                    <a:lnTo>
                      <a:pt x="173" y="373"/>
                    </a:lnTo>
                    <a:lnTo>
                      <a:pt x="173" y="371"/>
                    </a:lnTo>
                    <a:close/>
                    <a:moveTo>
                      <a:pt x="180" y="373"/>
                    </a:moveTo>
                    <a:lnTo>
                      <a:pt x="180" y="375"/>
                    </a:lnTo>
                    <a:lnTo>
                      <a:pt x="179" y="375"/>
                    </a:lnTo>
                    <a:lnTo>
                      <a:pt x="179" y="373"/>
                    </a:lnTo>
                    <a:lnTo>
                      <a:pt x="179" y="375"/>
                    </a:lnTo>
                    <a:lnTo>
                      <a:pt x="179" y="373"/>
                    </a:lnTo>
                    <a:lnTo>
                      <a:pt x="179" y="375"/>
                    </a:lnTo>
                    <a:lnTo>
                      <a:pt x="179" y="373"/>
                    </a:lnTo>
                    <a:lnTo>
                      <a:pt x="179" y="375"/>
                    </a:lnTo>
                    <a:lnTo>
                      <a:pt x="179" y="373"/>
                    </a:lnTo>
                    <a:lnTo>
                      <a:pt x="180" y="373"/>
                    </a:lnTo>
                    <a:close/>
                    <a:moveTo>
                      <a:pt x="159" y="367"/>
                    </a:moveTo>
                    <a:lnTo>
                      <a:pt x="159" y="369"/>
                    </a:lnTo>
                    <a:lnTo>
                      <a:pt x="159" y="367"/>
                    </a:lnTo>
                    <a:close/>
                    <a:moveTo>
                      <a:pt x="161" y="367"/>
                    </a:moveTo>
                    <a:lnTo>
                      <a:pt x="161" y="369"/>
                    </a:lnTo>
                    <a:lnTo>
                      <a:pt x="161" y="367"/>
                    </a:lnTo>
                    <a:close/>
                    <a:moveTo>
                      <a:pt x="182" y="373"/>
                    </a:moveTo>
                    <a:lnTo>
                      <a:pt x="180" y="373"/>
                    </a:lnTo>
                    <a:lnTo>
                      <a:pt x="182" y="373"/>
                    </a:lnTo>
                    <a:close/>
                    <a:moveTo>
                      <a:pt x="159" y="367"/>
                    </a:moveTo>
                    <a:lnTo>
                      <a:pt x="161" y="367"/>
                    </a:lnTo>
                    <a:lnTo>
                      <a:pt x="159" y="367"/>
                    </a:lnTo>
                    <a:close/>
                    <a:moveTo>
                      <a:pt x="371" y="413"/>
                    </a:moveTo>
                    <a:lnTo>
                      <a:pt x="373" y="413"/>
                    </a:lnTo>
                    <a:lnTo>
                      <a:pt x="371" y="413"/>
                    </a:lnTo>
                    <a:close/>
                    <a:moveTo>
                      <a:pt x="92" y="348"/>
                    </a:moveTo>
                    <a:lnTo>
                      <a:pt x="90" y="348"/>
                    </a:lnTo>
                    <a:lnTo>
                      <a:pt x="88" y="348"/>
                    </a:lnTo>
                    <a:lnTo>
                      <a:pt x="88" y="346"/>
                    </a:lnTo>
                    <a:lnTo>
                      <a:pt x="90" y="346"/>
                    </a:lnTo>
                    <a:lnTo>
                      <a:pt x="90" y="348"/>
                    </a:lnTo>
                    <a:lnTo>
                      <a:pt x="92" y="348"/>
                    </a:lnTo>
                    <a:close/>
                    <a:moveTo>
                      <a:pt x="198" y="377"/>
                    </a:moveTo>
                    <a:lnTo>
                      <a:pt x="196" y="375"/>
                    </a:lnTo>
                    <a:lnTo>
                      <a:pt x="198" y="375"/>
                    </a:lnTo>
                    <a:lnTo>
                      <a:pt x="198" y="377"/>
                    </a:lnTo>
                    <a:close/>
                    <a:moveTo>
                      <a:pt x="184" y="373"/>
                    </a:moveTo>
                    <a:lnTo>
                      <a:pt x="182" y="373"/>
                    </a:lnTo>
                    <a:lnTo>
                      <a:pt x="184" y="373"/>
                    </a:lnTo>
                    <a:close/>
                    <a:moveTo>
                      <a:pt x="111" y="353"/>
                    </a:moveTo>
                    <a:lnTo>
                      <a:pt x="109" y="352"/>
                    </a:lnTo>
                    <a:lnTo>
                      <a:pt x="111" y="352"/>
                    </a:lnTo>
                    <a:lnTo>
                      <a:pt x="111" y="353"/>
                    </a:lnTo>
                    <a:close/>
                    <a:moveTo>
                      <a:pt x="177" y="371"/>
                    </a:moveTo>
                    <a:lnTo>
                      <a:pt x="177" y="369"/>
                    </a:lnTo>
                    <a:lnTo>
                      <a:pt x="177" y="371"/>
                    </a:lnTo>
                    <a:close/>
                    <a:moveTo>
                      <a:pt x="194" y="375"/>
                    </a:moveTo>
                    <a:lnTo>
                      <a:pt x="194" y="373"/>
                    </a:lnTo>
                    <a:lnTo>
                      <a:pt x="194" y="375"/>
                    </a:lnTo>
                    <a:close/>
                    <a:moveTo>
                      <a:pt x="482" y="428"/>
                    </a:moveTo>
                    <a:lnTo>
                      <a:pt x="482" y="427"/>
                    </a:lnTo>
                    <a:lnTo>
                      <a:pt x="480" y="427"/>
                    </a:lnTo>
                    <a:lnTo>
                      <a:pt x="482" y="427"/>
                    </a:lnTo>
                    <a:lnTo>
                      <a:pt x="482" y="428"/>
                    </a:lnTo>
                    <a:close/>
                    <a:moveTo>
                      <a:pt x="154" y="363"/>
                    </a:moveTo>
                    <a:lnTo>
                      <a:pt x="154" y="361"/>
                    </a:lnTo>
                    <a:lnTo>
                      <a:pt x="154" y="363"/>
                    </a:lnTo>
                    <a:lnTo>
                      <a:pt x="154" y="361"/>
                    </a:lnTo>
                    <a:lnTo>
                      <a:pt x="154" y="363"/>
                    </a:lnTo>
                    <a:close/>
                    <a:moveTo>
                      <a:pt x="159" y="365"/>
                    </a:moveTo>
                    <a:lnTo>
                      <a:pt x="159" y="367"/>
                    </a:lnTo>
                    <a:lnTo>
                      <a:pt x="159" y="365"/>
                    </a:lnTo>
                    <a:lnTo>
                      <a:pt x="159" y="367"/>
                    </a:lnTo>
                    <a:lnTo>
                      <a:pt x="159" y="365"/>
                    </a:lnTo>
                    <a:lnTo>
                      <a:pt x="159" y="363"/>
                    </a:lnTo>
                    <a:lnTo>
                      <a:pt x="159" y="365"/>
                    </a:lnTo>
                    <a:close/>
                    <a:moveTo>
                      <a:pt x="211" y="377"/>
                    </a:moveTo>
                    <a:lnTo>
                      <a:pt x="209" y="377"/>
                    </a:lnTo>
                    <a:lnTo>
                      <a:pt x="211" y="377"/>
                    </a:lnTo>
                    <a:close/>
                    <a:moveTo>
                      <a:pt x="157" y="363"/>
                    </a:moveTo>
                    <a:lnTo>
                      <a:pt x="157" y="361"/>
                    </a:lnTo>
                    <a:lnTo>
                      <a:pt x="157" y="363"/>
                    </a:lnTo>
                    <a:close/>
                    <a:moveTo>
                      <a:pt x="179" y="367"/>
                    </a:moveTo>
                    <a:lnTo>
                      <a:pt x="177" y="367"/>
                    </a:lnTo>
                    <a:lnTo>
                      <a:pt x="179" y="367"/>
                    </a:lnTo>
                    <a:close/>
                    <a:moveTo>
                      <a:pt x="478" y="427"/>
                    </a:moveTo>
                    <a:lnTo>
                      <a:pt x="478" y="425"/>
                    </a:lnTo>
                    <a:lnTo>
                      <a:pt x="478" y="427"/>
                    </a:lnTo>
                    <a:close/>
                    <a:moveTo>
                      <a:pt x="196" y="371"/>
                    </a:moveTo>
                    <a:lnTo>
                      <a:pt x="198" y="373"/>
                    </a:lnTo>
                    <a:lnTo>
                      <a:pt x="200" y="373"/>
                    </a:lnTo>
                    <a:lnTo>
                      <a:pt x="200" y="375"/>
                    </a:lnTo>
                    <a:lnTo>
                      <a:pt x="202" y="375"/>
                    </a:lnTo>
                    <a:lnTo>
                      <a:pt x="202" y="377"/>
                    </a:lnTo>
                    <a:lnTo>
                      <a:pt x="203" y="377"/>
                    </a:lnTo>
                    <a:lnTo>
                      <a:pt x="203" y="378"/>
                    </a:lnTo>
                    <a:lnTo>
                      <a:pt x="205" y="378"/>
                    </a:lnTo>
                    <a:lnTo>
                      <a:pt x="205" y="380"/>
                    </a:lnTo>
                    <a:lnTo>
                      <a:pt x="205" y="378"/>
                    </a:lnTo>
                    <a:lnTo>
                      <a:pt x="205" y="380"/>
                    </a:lnTo>
                    <a:lnTo>
                      <a:pt x="205" y="378"/>
                    </a:lnTo>
                    <a:lnTo>
                      <a:pt x="205" y="380"/>
                    </a:lnTo>
                    <a:lnTo>
                      <a:pt x="203" y="380"/>
                    </a:lnTo>
                    <a:lnTo>
                      <a:pt x="205" y="380"/>
                    </a:lnTo>
                    <a:lnTo>
                      <a:pt x="203" y="380"/>
                    </a:lnTo>
                    <a:lnTo>
                      <a:pt x="205" y="380"/>
                    </a:lnTo>
                    <a:lnTo>
                      <a:pt x="205" y="382"/>
                    </a:lnTo>
                    <a:lnTo>
                      <a:pt x="205" y="380"/>
                    </a:lnTo>
                    <a:lnTo>
                      <a:pt x="203" y="380"/>
                    </a:lnTo>
                    <a:lnTo>
                      <a:pt x="203" y="382"/>
                    </a:lnTo>
                    <a:lnTo>
                      <a:pt x="203" y="380"/>
                    </a:lnTo>
                    <a:lnTo>
                      <a:pt x="203" y="382"/>
                    </a:lnTo>
                    <a:lnTo>
                      <a:pt x="203" y="380"/>
                    </a:lnTo>
                    <a:lnTo>
                      <a:pt x="203" y="382"/>
                    </a:lnTo>
                    <a:lnTo>
                      <a:pt x="202" y="380"/>
                    </a:lnTo>
                    <a:lnTo>
                      <a:pt x="200" y="380"/>
                    </a:lnTo>
                    <a:lnTo>
                      <a:pt x="200" y="378"/>
                    </a:lnTo>
                    <a:lnTo>
                      <a:pt x="200" y="380"/>
                    </a:lnTo>
                    <a:lnTo>
                      <a:pt x="200" y="378"/>
                    </a:lnTo>
                    <a:lnTo>
                      <a:pt x="200" y="377"/>
                    </a:lnTo>
                    <a:lnTo>
                      <a:pt x="198" y="377"/>
                    </a:lnTo>
                    <a:lnTo>
                      <a:pt x="198" y="375"/>
                    </a:lnTo>
                    <a:lnTo>
                      <a:pt x="196" y="375"/>
                    </a:lnTo>
                    <a:lnTo>
                      <a:pt x="194" y="375"/>
                    </a:lnTo>
                    <a:lnTo>
                      <a:pt x="194" y="373"/>
                    </a:lnTo>
                    <a:lnTo>
                      <a:pt x="192" y="373"/>
                    </a:lnTo>
                    <a:lnTo>
                      <a:pt x="192" y="371"/>
                    </a:lnTo>
                    <a:lnTo>
                      <a:pt x="194" y="371"/>
                    </a:lnTo>
                    <a:lnTo>
                      <a:pt x="196" y="371"/>
                    </a:lnTo>
                    <a:close/>
                    <a:moveTo>
                      <a:pt x="192" y="371"/>
                    </a:moveTo>
                    <a:lnTo>
                      <a:pt x="190" y="371"/>
                    </a:lnTo>
                    <a:lnTo>
                      <a:pt x="192" y="371"/>
                    </a:lnTo>
                    <a:lnTo>
                      <a:pt x="192" y="369"/>
                    </a:lnTo>
                    <a:lnTo>
                      <a:pt x="192" y="371"/>
                    </a:lnTo>
                    <a:lnTo>
                      <a:pt x="190" y="371"/>
                    </a:lnTo>
                    <a:lnTo>
                      <a:pt x="188" y="371"/>
                    </a:lnTo>
                    <a:lnTo>
                      <a:pt x="190" y="371"/>
                    </a:lnTo>
                    <a:lnTo>
                      <a:pt x="190" y="369"/>
                    </a:lnTo>
                    <a:lnTo>
                      <a:pt x="190" y="371"/>
                    </a:lnTo>
                    <a:lnTo>
                      <a:pt x="190" y="369"/>
                    </a:lnTo>
                    <a:lnTo>
                      <a:pt x="192" y="369"/>
                    </a:lnTo>
                    <a:lnTo>
                      <a:pt x="192" y="371"/>
                    </a:lnTo>
                    <a:close/>
                    <a:moveTo>
                      <a:pt x="190" y="369"/>
                    </a:moveTo>
                    <a:lnTo>
                      <a:pt x="188" y="371"/>
                    </a:lnTo>
                    <a:lnTo>
                      <a:pt x="188" y="369"/>
                    </a:lnTo>
                    <a:lnTo>
                      <a:pt x="190" y="369"/>
                    </a:lnTo>
                    <a:close/>
                    <a:moveTo>
                      <a:pt x="163" y="361"/>
                    </a:moveTo>
                    <a:lnTo>
                      <a:pt x="163" y="363"/>
                    </a:lnTo>
                    <a:lnTo>
                      <a:pt x="163" y="361"/>
                    </a:lnTo>
                    <a:lnTo>
                      <a:pt x="165" y="361"/>
                    </a:lnTo>
                    <a:lnTo>
                      <a:pt x="163" y="361"/>
                    </a:lnTo>
                    <a:close/>
                    <a:moveTo>
                      <a:pt x="159" y="361"/>
                    </a:moveTo>
                    <a:lnTo>
                      <a:pt x="161" y="361"/>
                    </a:lnTo>
                    <a:lnTo>
                      <a:pt x="159" y="361"/>
                    </a:lnTo>
                    <a:close/>
                    <a:moveTo>
                      <a:pt x="184" y="367"/>
                    </a:moveTo>
                    <a:lnTo>
                      <a:pt x="184" y="369"/>
                    </a:lnTo>
                    <a:lnTo>
                      <a:pt x="184" y="367"/>
                    </a:lnTo>
                    <a:lnTo>
                      <a:pt x="184" y="369"/>
                    </a:lnTo>
                    <a:lnTo>
                      <a:pt x="182" y="369"/>
                    </a:lnTo>
                    <a:lnTo>
                      <a:pt x="182" y="367"/>
                    </a:lnTo>
                    <a:lnTo>
                      <a:pt x="180" y="367"/>
                    </a:lnTo>
                    <a:lnTo>
                      <a:pt x="182" y="367"/>
                    </a:lnTo>
                    <a:lnTo>
                      <a:pt x="184" y="367"/>
                    </a:lnTo>
                    <a:close/>
                    <a:moveTo>
                      <a:pt x="186" y="367"/>
                    </a:moveTo>
                    <a:lnTo>
                      <a:pt x="188" y="367"/>
                    </a:lnTo>
                    <a:lnTo>
                      <a:pt x="188" y="369"/>
                    </a:lnTo>
                    <a:lnTo>
                      <a:pt x="186" y="369"/>
                    </a:lnTo>
                    <a:lnTo>
                      <a:pt x="188" y="369"/>
                    </a:lnTo>
                    <a:lnTo>
                      <a:pt x="186" y="369"/>
                    </a:lnTo>
                    <a:lnTo>
                      <a:pt x="184" y="367"/>
                    </a:lnTo>
                    <a:lnTo>
                      <a:pt x="186" y="367"/>
                    </a:lnTo>
                    <a:lnTo>
                      <a:pt x="184" y="367"/>
                    </a:lnTo>
                    <a:lnTo>
                      <a:pt x="186" y="367"/>
                    </a:lnTo>
                    <a:close/>
                    <a:moveTo>
                      <a:pt x="125" y="352"/>
                    </a:moveTo>
                    <a:lnTo>
                      <a:pt x="125" y="350"/>
                    </a:lnTo>
                    <a:lnTo>
                      <a:pt x="127" y="350"/>
                    </a:lnTo>
                    <a:lnTo>
                      <a:pt x="125" y="350"/>
                    </a:lnTo>
                    <a:lnTo>
                      <a:pt x="125" y="352"/>
                    </a:lnTo>
                    <a:close/>
                    <a:moveTo>
                      <a:pt x="177" y="365"/>
                    </a:moveTo>
                    <a:lnTo>
                      <a:pt x="175" y="363"/>
                    </a:lnTo>
                    <a:lnTo>
                      <a:pt x="177" y="365"/>
                    </a:lnTo>
                    <a:close/>
                    <a:moveTo>
                      <a:pt x="169" y="363"/>
                    </a:moveTo>
                    <a:lnTo>
                      <a:pt x="169" y="361"/>
                    </a:lnTo>
                    <a:lnTo>
                      <a:pt x="169" y="363"/>
                    </a:lnTo>
                    <a:close/>
                    <a:moveTo>
                      <a:pt x="215" y="373"/>
                    </a:moveTo>
                    <a:lnTo>
                      <a:pt x="215" y="375"/>
                    </a:lnTo>
                    <a:lnTo>
                      <a:pt x="213" y="375"/>
                    </a:lnTo>
                    <a:lnTo>
                      <a:pt x="213" y="373"/>
                    </a:lnTo>
                    <a:lnTo>
                      <a:pt x="215" y="373"/>
                    </a:lnTo>
                    <a:close/>
                    <a:moveTo>
                      <a:pt x="215" y="373"/>
                    </a:moveTo>
                    <a:lnTo>
                      <a:pt x="215" y="375"/>
                    </a:lnTo>
                    <a:lnTo>
                      <a:pt x="215" y="373"/>
                    </a:lnTo>
                    <a:close/>
                    <a:moveTo>
                      <a:pt x="171" y="363"/>
                    </a:moveTo>
                    <a:lnTo>
                      <a:pt x="173" y="363"/>
                    </a:lnTo>
                    <a:lnTo>
                      <a:pt x="175" y="365"/>
                    </a:lnTo>
                    <a:lnTo>
                      <a:pt x="173" y="365"/>
                    </a:lnTo>
                    <a:lnTo>
                      <a:pt x="175" y="365"/>
                    </a:lnTo>
                    <a:lnTo>
                      <a:pt x="175" y="367"/>
                    </a:lnTo>
                    <a:lnTo>
                      <a:pt x="177" y="367"/>
                    </a:lnTo>
                    <a:lnTo>
                      <a:pt x="175" y="367"/>
                    </a:lnTo>
                    <a:lnTo>
                      <a:pt x="177" y="367"/>
                    </a:lnTo>
                    <a:lnTo>
                      <a:pt x="177" y="369"/>
                    </a:lnTo>
                    <a:lnTo>
                      <a:pt x="175" y="369"/>
                    </a:lnTo>
                    <a:lnTo>
                      <a:pt x="175" y="367"/>
                    </a:lnTo>
                    <a:lnTo>
                      <a:pt x="177" y="367"/>
                    </a:lnTo>
                    <a:lnTo>
                      <a:pt x="175" y="367"/>
                    </a:lnTo>
                    <a:lnTo>
                      <a:pt x="173" y="367"/>
                    </a:lnTo>
                    <a:lnTo>
                      <a:pt x="171" y="365"/>
                    </a:lnTo>
                    <a:lnTo>
                      <a:pt x="171" y="363"/>
                    </a:lnTo>
                    <a:lnTo>
                      <a:pt x="169" y="363"/>
                    </a:lnTo>
                    <a:lnTo>
                      <a:pt x="171" y="363"/>
                    </a:lnTo>
                    <a:lnTo>
                      <a:pt x="171" y="361"/>
                    </a:lnTo>
                    <a:lnTo>
                      <a:pt x="171" y="363"/>
                    </a:lnTo>
                    <a:close/>
                    <a:moveTo>
                      <a:pt x="154" y="357"/>
                    </a:moveTo>
                    <a:lnTo>
                      <a:pt x="152" y="357"/>
                    </a:lnTo>
                    <a:lnTo>
                      <a:pt x="154" y="357"/>
                    </a:lnTo>
                    <a:close/>
                    <a:moveTo>
                      <a:pt x="213" y="373"/>
                    </a:moveTo>
                    <a:lnTo>
                      <a:pt x="215" y="373"/>
                    </a:lnTo>
                    <a:lnTo>
                      <a:pt x="213" y="373"/>
                    </a:lnTo>
                    <a:close/>
                    <a:moveTo>
                      <a:pt x="148" y="355"/>
                    </a:moveTo>
                    <a:lnTo>
                      <a:pt x="146" y="355"/>
                    </a:lnTo>
                    <a:lnTo>
                      <a:pt x="148" y="355"/>
                    </a:lnTo>
                    <a:close/>
                    <a:moveTo>
                      <a:pt x="134" y="352"/>
                    </a:moveTo>
                    <a:lnTo>
                      <a:pt x="132" y="352"/>
                    </a:lnTo>
                    <a:lnTo>
                      <a:pt x="134" y="352"/>
                    </a:lnTo>
                    <a:close/>
                    <a:moveTo>
                      <a:pt x="136" y="352"/>
                    </a:moveTo>
                    <a:lnTo>
                      <a:pt x="136" y="353"/>
                    </a:lnTo>
                    <a:lnTo>
                      <a:pt x="134" y="352"/>
                    </a:lnTo>
                    <a:lnTo>
                      <a:pt x="136" y="352"/>
                    </a:lnTo>
                    <a:close/>
                    <a:moveTo>
                      <a:pt x="175" y="361"/>
                    </a:moveTo>
                    <a:lnTo>
                      <a:pt x="173" y="361"/>
                    </a:lnTo>
                    <a:lnTo>
                      <a:pt x="175" y="361"/>
                    </a:lnTo>
                    <a:close/>
                    <a:moveTo>
                      <a:pt x="157" y="357"/>
                    </a:moveTo>
                    <a:lnTo>
                      <a:pt x="159" y="357"/>
                    </a:lnTo>
                    <a:lnTo>
                      <a:pt x="157" y="359"/>
                    </a:lnTo>
                    <a:lnTo>
                      <a:pt x="157" y="357"/>
                    </a:lnTo>
                    <a:lnTo>
                      <a:pt x="157" y="359"/>
                    </a:lnTo>
                    <a:lnTo>
                      <a:pt x="159" y="359"/>
                    </a:lnTo>
                    <a:lnTo>
                      <a:pt x="159" y="361"/>
                    </a:lnTo>
                    <a:lnTo>
                      <a:pt x="157" y="361"/>
                    </a:lnTo>
                    <a:lnTo>
                      <a:pt x="159" y="361"/>
                    </a:lnTo>
                    <a:lnTo>
                      <a:pt x="157" y="361"/>
                    </a:lnTo>
                    <a:lnTo>
                      <a:pt x="159" y="361"/>
                    </a:lnTo>
                    <a:lnTo>
                      <a:pt x="157" y="361"/>
                    </a:lnTo>
                    <a:lnTo>
                      <a:pt x="159" y="361"/>
                    </a:lnTo>
                    <a:lnTo>
                      <a:pt x="157" y="361"/>
                    </a:lnTo>
                    <a:lnTo>
                      <a:pt x="155" y="361"/>
                    </a:lnTo>
                    <a:lnTo>
                      <a:pt x="155" y="359"/>
                    </a:lnTo>
                    <a:lnTo>
                      <a:pt x="155" y="357"/>
                    </a:lnTo>
                    <a:lnTo>
                      <a:pt x="157" y="357"/>
                    </a:lnTo>
                    <a:close/>
                    <a:moveTo>
                      <a:pt x="165" y="359"/>
                    </a:moveTo>
                    <a:lnTo>
                      <a:pt x="167" y="359"/>
                    </a:lnTo>
                    <a:lnTo>
                      <a:pt x="167" y="361"/>
                    </a:lnTo>
                    <a:lnTo>
                      <a:pt x="165" y="359"/>
                    </a:lnTo>
                    <a:lnTo>
                      <a:pt x="163" y="359"/>
                    </a:lnTo>
                    <a:lnTo>
                      <a:pt x="165" y="359"/>
                    </a:lnTo>
                    <a:close/>
                    <a:moveTo>
                      <a:pt x="198" y="367"/>
                    </a:moveTo>
                    <a:lnTo>
                      <a:pt x="200" y="367"/>
                    </a:lnTo>
                    <a:lnTo>
                      <a:pt x="198" y="367"/>
                    </a:lnTo>
                    <a:lnTo>
                      <a:pt x="198" y="369"/>
                    </a:lnTo>
                    <a:lnTo>
                      <a:pt x="196" y="369"/>
                    </a:lnTo>
                    <a:lnTo>
                      <a:pt x="196" y="367"/>
                    </a:lnTo>
                    <a:lnTo>
                      <a:pt x="198" y="367"/>
                    </a:lnTo>
                    <a:close/>
                    <a:moveTo>
                      <a:pt x="169" y="361"/>
                    </a:moveTo>
                    <a:lnTo>
                      <a:pt x="167" y="361"/>
                    </a:lnTo>
                    <a:lnTo>
                      <a:pt x="167" y="359"/>
                    </a:lnTo>
                    <a:lnTo>
                      <a:pt x="169" y="359"/>
                    </a:lnTo>
                    <a:lnTo>
                      <a:pt x="169" y="361"/>
                    </a:lnTo>
                    <a:close/>
                    <a:moveTo>
                      <a:pt x="155" y="355"/>
                    </a:moveTo>
                    <a:lnTo>
                      <a:pt x="154" y="355"/>
                    </a:lnTo>
                    <a:lnTo>
                      <a:pt x="155" y="355"/>
                    </a:lnTo>
                    <a:close/>
                    <a:moveTo>
                      <a:pt x="152" y="355"/>
                    </a:moveTo>
                    <a:lnTo>
                      <a:pt x="154" y="355"/>
                    </a:lnTo>
                    <a:lnTo>
                      <a:pt x="152" y="355"/>
                    </a:lnTo>
                    <a:close/>
                    <a:moveTo>
                      <a:pt x="129" y="348"/>
                    </a:moveTo>
                    <a:lnTo>
                      <a:pt x="130" y="348"/>
                    </a:lnTo>
                    <a:lnTo>
                      <a:pt x="129" y="348"/>
                    </a:lnTo>
                    <a:close/>
                    <a:moveTo>
                      <a:pt x="213" y="371"/>
                    </a:moveTo>
                    <a:lnTo>
                      <a:pt x="215" y="371"/>
                    </a:lnTo>
                    <a:lnTo>
                      <a:pt x="213" y="371"/>
                    </a:lnTo>
                    <a:lnTo>
                      <a:pt x="213" y="373"/>
                    </a:lnTo>
                    <a:lnTo>
                      <a:pt x="213" y="371"/>
                    </a:lnTo>
                    <a:close/>
                    <a:moveTo>
                      <a:pt x="213" y="369"/>
                    </a:moveTo>
                    <a:lnTo>
                      <a:pt x="215" y="369"/>
                    </a:lnTo>
                    <a:lnTo>
                      <a:pt x="213" y="369"/>
                    </a:lnTo>
                    <a:close/>
                    <a:moveTo>
                      <a:pt x="213" y="369"/>
                    </a:moveTo>
                    <a:lnTo>
                      <a:pt x="215" y="369"/>
                    </a:lnTo>
                    <a:lnTo>
                      <a:pt x="213" y="369"/>
                    </a:lnTo>
                    <a:lnTo>
                      <a:pt x="213" y="367"/>
                    </a:lnTo>
                    <a:lnTo>
                      <a:pt x="213" y="369"/>
                    </a:lnTo>
                    <a:close/>
                    <a:moveTo>
                      <a:pt x="474" y="417"/>
                    </a:moveTo>
                    <a:lnTo>
                      <a:pt x="476" y="419"/>
                    </a:lnTo>
                    <a:lnTo>
                      <a:pt x="474" y="419"/>
                    </a:lnTo>
                    <a:lnTo>
                      <a:pt x="474" y="417"/>
                    </a:lnTo>
                    <a:close/>
                    <a:moveTo>
                      <a:pt x="155" y="353"/>
                    </a:moveTo>
                    <a:lnTo>
                      <a:pt x="157" y="355"/>
                    </a:lnTo>
                    <a:lnTo>
                      <a:pt x="159" y="355"/>
                    </a:lnTo>
                    <a:lnTo>
                      <a:pt x="161" y="355"/>
                    </a:lnTo>
                    <a:lnTo>
                      <a:pt x="163" y="355"/>
                    </a:lnTo>
                    <a:lnTo>
                      <a:pt x="163" y="357"/>
                    </a:lnTo>
                    <a:lnTo>
                      <a:pt x="163" y="355"/>
                    </a:lnTo>
                    <a:lnTo>
                      <a:pt x="165" y="357"/>
                    </a:lnTo>
                    <a:lnTo>
                      <a:pt x="167" y="359"/>
                    </a:lnTo>
                    <a:lnTo>
                      <a:pt x="165" y="359"/>
                    </a:lnTo>
                    <a:lnTo>
                      <a:pt x="163" y="357"/>
                    </a:lnTo>
                    <a:lnTo>
                      <a:pt x="161" y="357"/>
                    </a:lnTo>
                    <a:lnTo>
                      <a:pt x="159" y="357"/>
                    </a:lnTo>
                    <a:lnTo>
                      <a:pt x="157" y="357"/>
                    </a:lnTo>
                    <a:lnTo>
                      <a:pt x="157" y="355"/>
                    </a:lnTo>
                    <a:lnTo>
                      <a:pt x="155" y="355"/>
                    </a:lnTo>
                    <a:lnTo>
                      <a:pt x="154" y="355"/>
                    </a:lnTo>
                    <a:lnTo>
                      <a:pt x="152" y="355"/>
                    </a:lnTo>
                    <a:lnTo>
                      <a:pt x="154" y="355"/>
                    </a:lnTo>
                    <a:lnTo>
                      <a:pt x="154" y="353"/>
                    </a:lnTo>
                    <a:lnTo>
                      <a:pt x="152" y="353"/>
                    </a:lnTo>
                    <a:lnTo>
                      <a:pt x="154" y="353"/>
                    </a:lnTo>
                    <a:lnTo>
                      <a:pt x="154" y="352"/>
                    </a:lnTo>
                    <a:lnTo>
                      <a:pt x="155" y="353"/>
                    </a:lnTo>
                    <a:close/>
                    <a:moveTo>
                      <a:pt x="215" y="369"/>
                    </a:moveTo>
                    <a:lnTo>
                      <a:pt x="217" y="369"/>
                    </a:lnTo>
                    <a:lnTo>
                      <a:pt x="215" y="369"/>
                    </a:lnTo>
                    <a:close/>
                    <a:moveTo>
                      <a:pt x="215" y="369"/>
                    </a:moveTo>
                    <a:lnTo>
                      <a:pt x="215" y="367"/>
                    </a:lnTo>
                    <a:lnTo>
                      <a:pt x="215" y="369"/>
                    </a:lnTo>
                    <a:close/>
                    <a:moveTo>
                      <a:pt x="213" y="367"/>
                    </a:moveTo>
                    <a:lnTo>
                      <a:pt x="211" y="367"/>
                    </a:lnTo>
                    <a:lnTo>
                      <a:pt x="213" y="367"/>
                    </a:lnTo>
                    <a:close/>
                    <a:moveTo>
                      <a:pt x="215" y="367"/>
                    </a:moveTo>
                    <a:lnTo>
                      <a:pt x="213" y="367"/>
                    </a:lnTo>
                    <a:lnTo>
                      <a:pt x="215" y="367"/>
                    </a:lnTo>
                    <a:close/>
                    <a:moveTo>
                      <a:pt x="213" y="367"/>
                    </a:moveTo>
                    <a:lnTo>
                      <a:pt x="215" y="367"/>
                    </a:lnTo>
                    <a:lnTo>
                      <a:pt x="215" y="369"/>
                    </a:lnTo>
                    <a:lnTo>
                      <a:pt x="215" y="367"/>
                    </a:lnTo>
                    <a:lnTo>
                      <a:pt x="215" y="369"/>
                    </a:lnTo>
                    <a:lnTo>
                      <a:pt x="213" y="367"/>
                    </a:lnTo>
                    <a:lnTo>
                      <a:pt x="213" y="365"/>
                    </a:lnTo>
                    <a:lnTo>
                      <a:pt x="213" y="367"/>
                    </a:lnTo>
                    <a:close/>
                    <a:moveTo>
                      <a:pt x="374" y="400"/>
                    </a:moveTo>
                    <a:lnTo>
                      <a:pt x="373" y="400"/>
                    </a:lnTo>
                    <a:lnTo>
                      <a:pt x="374" y="400"/>
                    </a:lnTo>
                    <a:close/>
                    <a:moveTo>
                      <a:pt x="219" y="367"/>
                    </a:moveTo>
                    <a:lnTo>
                      <a:pt x="221" y="367"/>
                    </a:lnTo>
                    <a:lnTo>
                      <a:pt x="219" y="367"/>
                    </a:lnTo>
                    <a:lnTo>
                      <a:pt x="221" y="367"/>
                    </a:lnTo>
                    <a:lnTo>
                      <a:pt x="219" y="369"/>
                    </a:lnTo>
                    <a:lnTo>
                      <a:pt x="219" y="367"/>
                    </a:lnTo>
                    <a:close/>
                    <a:moveTo>
                      <a:pt x="474" y="415"/>
                    </a:moveTo>
                    <a:lnTo>
                      <a:pt x="474" y="417"/>
                    </a:lnTo>
                    <a:lnTo>
                      <a:pt x="474" y="415"/>
                    </a:lnTo>
                    <a:lnTo>
                      <a:pt x="474" y="417"/>
                    </a:lnTo>
                    <a:lnTo>
                      <a:pt x="474" y="415"/>
                    </a:lnTo>
                    <a:lnTo>
                      <a:pt x="472" y="415"/>
                    </a:lnTo>
                    <a:lnTo>
                      <a:pt x="474" y="415"/>
                    </a:lnTo>
                    <a:close/>
                    <a:moveTo>
                      <a:pt x="211" y="365"/>
                    </a:moveTo>
                    <a:lnTo>
                      <a:pt x="213" y="365"/>
                    </a:lnTo>
                    <a:lnTo>
                      <a:pt x="211" y="365"/>
                    </a:lnTo>
                    <a:lnTo>
                      <a:pt x="213" y="365"/>
                    </a:lnTo>
                    <a:lnTo>
                      <a:pt x="213" y="367"/>
                    </a:lnTo>
                    <a:lnTo>
                      <a:pt x="211" y="367"/>
                    </a:lnTo>
                    <a:lnTo>
                      <a:pt x="209" y="367"/>
                    </a:lnTo>
                    <a:lnTo>
                      <a:pt x="209" y="365"/>
                    </a:lnTo>
                    <a:lnTo>
                      <a:pt x="211" y="365"/>
                    </a:lnTo>
                    <a:close/>
                    <a:moveTo>
                      <a:pt x="376" y="400"/>
                    </a:moveTo>
                    <a:lnTo>
                      <a:pt x="374" y="400"/>
                    </a:lnTo>
                    <a:lnTo>
                      <a:pt x="376" y="400"/>
                    </a:lnTo>
                    <a:lnTo>
                      <a:pt x="374" y="400"/>
                    </a:lnTo>
                    <a:lnTo>
                      <a:pt x="376" y="400"/>
                    </a:lnTo>
                    <a:close/>
                    <a:moveTo>
                      <a:pt x="155" y="350"/>
                    </a:moveTo>
                    <a:lnTo>
                      <a:pt x="157" y="350"/>
                    </a:lnTo>
                    <a:lnTo>
                      <a:pt x="155" y="350"/>
                    </a:lnTo>
                    <a:close/>
                    <a:moveTo>
                      <a:pt x="219" y="365"/>
                    </a:moveTo>
                    <a:lnTo>
                      <a:pt x="219" y="367"/>
                    </a:lnTo>
                    <a:lnTo>
                      <a:pt x="217" y="367"/>
                    </a:lnTo>
                    <a:lnTo>
                      <a:pt x="217" y="365"/>
                    </a:lnTo>
                    <a:lnTo>
                      <a:pt x="217" y="367"/>
                    </a:lnTo>
                    <a:lnTo>
                      <a:pt x="217" y="365"/>
                    </a:lnTo>
                    <a:lnTo>
                      <a:pt x="219" y="365"/>
                    </a:lnTo>
                    <a:close/>
                    <a:moveTo>
                      <a:pt x="376" y="400"/>
                    </a:moveTo>
                    <a:lnTo>
                      <a:pt x="376" y="398"/>
                    </a:lnTo>
                    <a:lnTo>
                      <a:pt x="376" y="400"/>
                    </a:lnTo>
                    <a:close/>
                    <a:moveTo>
                      <a:pt x="457" y="409"/>
                    </a:moveTo>
                    <a:lnTo>
                      <a:pt x="457" y="411"/>
                    </a:lnTo>
                    <a:lnTo>
                      <a:pt x="457" y="409"/>
                    </a:lnTo>
                    <a:close/>
                    <a:moveTo>
                      <a:pt x="465" y="407"/>
                    </a:moveTo>
                    <a:lnTo>
                      <a:pt x="463" y="407"/>
                    </a:lnTo>
                    <a:lnTo>
                      <a:pt x="465" y="407"/>
                    </a:lnTo>
                    <a:lnTo>
                      <a:pt x="463" y="407"/>
                    </a:lnTo>
                    <a:lnTo>
                      <a:pt x="465" y="407"/>
                    </a:lnTo>
                    <a:close/>
                    <a:moveTo>
                      <a:pt x="382" y="396"/>
                    </a:moveTo>
                    <a:lnTo>
                      <a:pt x="380" y="396"/>
                    </a:lnTo>
                    <a:lnTo>
                      <a:pt x="382" y="396"/>
                    </a:lnTo>
                    <a:lnTo>
                      <a:pt x="382" y="394"/>
                    </a:lnTo>
                    <a:lnTo>
                      <a:pt x="382" y="396"/>
                    </a:lnTo>
                    <a:close/>
                    <a:moveTo>
                      <a:pt x="465" y="407"/>
                    </a:moveTo>
                    <a:lnTo>
                      <a:pt x="463" y="407"/>
                    </a:lnTo>
                    <a:lnTo>
                      <a:pt x="465" y="407"/>
                    </a:lnTo>
                    <a:close/>
                    <a:moveTo>
                      <a:pt x="451" y="405"/>
                    </a:moveTo>
                    <a:lnTo>
                      <a:pt x="451" y="403"/>
                    </a:lnTo>
                    <a:lnTo>
                      <a:pt x="451" y="405"/>
                    </a:lnTo>
                    <a:close/>
                    <a:moveTo>
                      <a:pt x="451" y="405"/>
                    </a:moveTo>
                    <a:lnTo>
                      <a:pt x="451" y="403"/>
                    </a:lnTo>
                    <a:lnTo>
                      <a:pt x="451" y="405"/>
                    </a:lnTo>
                    <a:close/>
                    <a:moveTo>
                      <a:pt x="438" y="402"/>
                    </a:moveTo>
                    <a:lnTo>
                      <a:pt x="440" y="402"/>
                    </a:lnTo>
                    <a:lnTo>
                      <a:pt x="438" y="402"/>
                    </a:lnTo>
                    <a:lnTo>
                      <a:pt x="438" y="403"/>
                    </a:lnTo>
                    <a:lnTo>
                      <a:pt x="438" y="402"/>
                    </a:lnTo>
                    <a:lnTo>
                      <a:pt x="438" y="403"/>
                    </a:lnTo>
                    <a:lnTo>
                      <a:pt x="438" y="402"/>
                    </a:lnTo>
                    <a:lnTo>
                      <a:pt x="438" y="403"/>
                    </a:lnTo>
                    <a:lnTo>
                      <a:pt x="438" y="402"/>
                    </a:lnTo>
                    <a:close/>
                    <a:moveTo>
                      <a:pt x="230" y="359"/>
                    </a:moveTo>
                    <a:lnTo>
                      <a:pt x="228" y="359"/>
                    </a:lnTo>
                    <a:lnTo>
                      <a:pt x="230" y="359"/>
                    </a:lnTo>
                    <a:close/>
                    <a:moveTo>
                      <a:pt x="380" y="388"/>
                    </a:moveTo>
                    <a:lnTo>
                      <a:pt x="380" y="390"/>
                    </a:lnTo>
                    <a:lnTo>
                      <a:pt x="382" y="390"/>
                    </a:lnTo>
                    <a:lnTo>
                      <a:pt x="380" y="390"/>
                    </a:lnTo>
                    <a:lnTo>
                      <a:pt x="380" y="388"/>
                    </a:lnTo>
                    <a:close/>
                    <a:moveTo>
                      <a:pt x="432" y="398"/>
                    </a:moveTo>
                    <a:lnTo>
                      <a:pt x="434" y="398"/>
                    </a:lnTo>
                    <a:lnTo>
                      <a:pt x="432" y="398"/>
                    </a:lnTo>
                    <a:lnTo>
                      <a:pt x="434" y="398"/>
                    </a:lnTo>
                    <a:lnTo>
                      <a:pt x="432" y="398"/>
                    </a:lnTo>
                    <a:lnTo>
                      <a:pt x="434" y="398"/>
                    </a:lnTo>
                    <a:lnTo>
                      <a:pt x="432" y="398"/>
                    </a:lnTo>
                    <a:close/>
                    <a:moveTo>
                      <a:pt x="382" y="390"/>
                    </a:moveTo>
                    <a:lnTo>
                      <a:pt x="380" y="390"/>
                    </a:lnTo>
                    <a:lnTo>
                      <a:pt x="380" y="388"/>
                    </a:lnTo>
                    <a:lnTo>
                      <a:pt x="382" y="388"/>
                    </a:lnTo>
                    <a:lnTo>
                      <a:pt x="382" y="390"/>
                    </a:lnTo>
                    <a:close/>
                    <a:moveTo>
                      <a:pt x="230" y="357"/>
                    </a:moveTo>
                    <a:lnTo>
                      <a:pt x="228" y="355"/>
                    </a:lnTo>
                    <a:lnTo>
                      <a:pt x="228" y="357"/>
                    </a:lnTo>
                    <a:lnTo>
                      <a:pt x="230" y="357"/>
                    </a:lnTo>
                    <a:close/>
                    <a:moveTo>
                      <a:pt x="228" y="357"/>
                    </a:moveTo>
                    <a:lnTo>
                      <a:pt x="230" y="357"/>
                    </a:lnTo>
                    <a:lnTo>
                      <a:pt x="228" y="357"/>
                    </a:lnTo>
                    <a:lnTo>
                      <a:pt x="228" y="355"/>
                    </a:lnTo>
                    <a:lnTo>
                      <a:pt x="227" y="357"/>
                    </a:lnTo>
                    <a:lnTo>
                      <a:pt x="227" y="355"/>
                    </a:lnTo>
                    <a:lnTo>
                      <a:pt x="228" y="355"/>
                    </a:lnTo>
                    <a:lnTo>
                      <a:pt x="228" y="357"/>
                    </a:lnTo>
                    <a:close/>
                    <a:moveTo>
                      <a:pt x="449" y="398"/>
                    </a:moveTo>
                    <a:lnTo>
                      <a:pt x="449" y="400"/>
                    </a:lnTo>
                    <a:lnTo>
                      <a:pt x="451" y="400"/>
                    </a:lnTo>
                    <a:lnTo>
                      <a:pt x="449" y="402"/>
                    </a:lnTo>
                    <a:lnTo>
                      <a:pt x="449" y="400"/>
                    </a:lnTo>
                    <a:lnTo>
                      <a:pt x="449" y="398"/>
                    </a:lnTo>
                    <a:close/>
                    <a:moveTo>
                      <a:pt x="382" y="386"/>
                    </a:moveTo>
                    <a:lnTo>
                      <a:pt x="382" y="388"/>
                    </a:lnTo>
                    <a:lnTo>
                      <a:pt x="380" y="388"/>
                    </a:lnTo>
                    <a:lnTo>
                      <a:pt x="380" y="386"/>
                    </a:lnTo>
                    <a:lnTo>
                      <a:pt x="382" y="386"/>
                    </a:lnTo>
                    <a:close/>
                    <a:moveTo>
                      <a:pt x="428" y="394"/>
                    </a:moveTo>
                    <a:lnTo>
                      <a:pt x="430" y="394"/>
                    </a:lnTo>
                    <a:lnTo>
                      <a:pt x="430" y="396"/>
                    </a:lnTo>
                    <a:lnTo>
                      <a:pt x="430" y="398"/>
                    </a:lnTo>
                    <a:lnTo>
                      <a:pt x="430" y="396"/>
                    </a:lnTo>
                    <a:lnTo>
                      <a:pt x="432" y="396"/>
                    </a:lnTo>
                    <a:lnTo>
                      <a:pt x="432" y="398"/>
                    </a:lnTo>
                    <a:lnTo>
                      <a:pt x="430" y="398"/>
                    </a:lnTo>
                    <a:lnTo>
                      <a:pt x="430" y="396"/>
                    </a:lnTo>
                    <a:lnTo>
                      <a:pt x="430" y="398"/>
                    </a:lnTo>
                    <a:lnTo>
                      <a:pt x="430" y="396"/>
                    </a:lnTo>
                    <a:lnTo>
                      <a:pt x="430" y="398"/>
                    </a:lnTo>
                    <a:lnTo>
                      <a:pt x="428" y="396"/>
                    </a:lnTo>
                    <a:lnTo>
                      <a:pt x="428" y="394"/>
                    </a:lnTo>
                    <a:lnTo>
                      <a:pt x="426" y="394"/>
                    </a:lnTo>
                    <a:lnTo>
                      <a:pt x="428" y="394"/>
                    </a:lnTo>
                    <a:lnTo>
                      <a:pt x="426" y="394"/>
                    </a:lnTo>
                    <a:lnTo>
                      <a:pt x="428" y="394"/>
                    </a:lnTo>
                    <a:close/>
                    <a:moveTo>
                      <a:pt x="428" y="394"/>
                    </a:moveTo>
                    <a:lnTo>
                      <a:pt x="430" y="394"/>
                    </a:lnTo>
                    <a:lnTo>
                      <a:pt x="428" y="394"/>
                    </a:lnTo>
                    <a:close/>
                    <a:moveTo>
                      <a:pt x="421" y="390"/>
                    </a:moveTo>
                    <a:lnTo>
                      <a:pt x="423" y="390"/>
                    </a:lnTo>
                    <a:lnTo>
                      <a:pt x="421" y="390"/>
                    </a:lnTo>
                    <a:close/>
                    <a:moveTo>
                      <a:pt x="426" y="392"/>
                    </a:moveTo>
                    <a:lnTo>
                      <a:pt x="424" y="390"/>
                    </a:lnTo>
                    <a:lnTo>
                      <a:pt x="426" y="390"/>
                    </a:lnTo>
                    <a:lnTo>
                      <a:pt x="426" y="392"/>
                    </a:lnTo>
                    <a:close/>
                    <a:moveTo>
                      <a:pt x="428" y="390"/>
                    </a:moveTo>
                    <a:lnTo>
                      <a:pt x="428" y="392"/>
                    </a:lnTo>
                    <a:lnTo>
                      <a:pt x="428" y="394"/>
                    </a:lnTo>
                    <a:lnTo>
                      <a:pt x="428" y="392"/>
                    </a:lnTo>
                    <a:lnTo>
                      <a:pt x="426" y="392"/>
                    </a:lnTo>
                    <a:lnTo>
                      <a:pt x="426" y="390"/>
                    </a:lnTo>
                    <a:lnTo>
                      <a:pt x="428" y="390"/>
                    </a:lnTo>
                    <a:close/>
                    <a:moveTo>
                      <a:pt x="442" y="392"/>
                    </a:moveTo>
                    <a:lnTo>
                      <a:pt x="442" y="394"/>
                    </a:lnTo>
                    <a:lnTo>
                      <a:pt x="440" y="394"/>
                    </a:lnTo>
                    <a:lnTo>
                      <a:pt x="440" y="392"/>
                    </a:lnTo>
                    <a:lnTo>
                      <a:pt x="440" y="394"/>
                    </a:lnTo>
                    <a:lnTo>
                      <a:pt x="440" y="392"/>
                    </a:lnTo>
                    <a:lnTo>
                      <a:pt x="442" y="392"/>
                    </a:lnTo>
                    <a:close/>
                    <a:moveTo>
                      <a:pt x="419" y="388"/>
                    </a:moveTo>
                    <a:lnTo>
                      <a:pt x="419" y="390"/>
                    </a:lnTo>
                    <a:lnTo>
                      <a:pt x="421" y="390"/>
                    </a:lnTo>
                    <a:lnTo>
                      <a:pt x="419" y="390"/>
                    </a:lnTo>
                    <a:lnTo>
                      <a:pt x="419" y="388"/>
                    </a:lnTo>
                    <a:lnTo>
                      <a:pt x="417" y="388"/>
                    </a:lnTo>
                    <a:lnTo>
                      <a:pt x="417" y="386"/>
                    </a:lnTo>
                    <a:lnTo>
                      <a:pt x="419" y="388"/>
                    </a:lnTo>
                    <a:lnTo>
                      <a:pt x="417" y="386"/>
                    </a:lnTo>
                    <a:lnTo>
                      <a:pt x="419" y="386"/>
                    </a:lnTo>
                    <a:lnTo>
                      <a:pt x="419" y="388"/>
                    </a:lnTo>
                    <a:close/>
                    <a:moveTo>
                      <a:pt x="413" y="378"/>
                    </a:moveTo>
                    <a:lnTo>
                      <a:pt x="413" y="380"/>
                    </a:lnTo>
                    <a:lnTo>
                      <a:pt x="413" y="382"/>
                    </a:lnTo>
                    <a:lnTo>
                      <a:pt x="413" y="380"/>
                    </a:lnTo>
                    <a:lnTo>
                      <a:pt x="411" y="380"/>
                    </a:lnTo>
                    <a:lnTo>
                      <a:pt x="411" y="378"/>
                    </a:lnTo>
                    <a:lnTo>
                      <a:pt x="413" y="378"/>
                    </a:lnTo>
                    <a:close/>
                    <a:moveTo>
                      <a:pt x="371" y="371"/>
                    </a:moveTo>
                    <a:lnTo>
                      <a:pt x="371" y="373"/>
                    </a:lnTo>
                    <a:lnTo>
                      <a:pt x="371" y="371"/>
                    </a:lnTo>
                    <a:close/>
                    <a:moveTo>
                      <a:pt x="413" y="373"/>
                    </a:moveTo>
                    <a:lnTo>
                      <a:pt x="415" y="373"/>
                    </a:lnTo>
                    <a:lnTo>
                      <a:pt x="413" y="373"/>
                    </a:lnTo>
                    <a:lnTo>
                      <a:pt x="413" y="375"/>
                    </a:lnTo>
                    <a:lnTo>
                      <a:pt x="413" y="373"/>
                    </a:lnTo>
                    <a:close/>
                    <a:moveTo>
                      <a:pt x="378" y="363"/>
                    </a:moveTo>
                    <a:lnTo>
                      <a:pt x="378" y="365"/>
                    </a:lnTo>
                    <a:lnTo>
                      <a:pt x="378" y="363"/>
                    </a:lnTo>
                    <a:close/>
                    <a:moveTo>
                      <a:pt x="374" y="363"/>
                    </a:moveTo>
                    <a:lnTo>
                      <a:pt x="374" y="365"/>
                    </a:lnTo>
                    <a:lnTo>
                      <a:pt x="374" y="363"/>
                    </a:lnTo>
                    <a:close/>
                    <a:moveTo>
                      <a:pt x="405" y="371"/>
                    </a:moveTo>
                    <a:lnTo>
                      <a:pt x="405" y="373"/>
                    </a:lnTo>
                    <a:lnTo>
                      <a:pt x="407" y="373"/>
                    </a:lnTo>
                    <a:lnTo>
                      <a:pt x="407" y="375"/>
                    </a:lnTo>
                    <a:lnTo>
                      <a:pt x="409" y="375"/>
                    </a:lnTo>
                    <a:lnTo>
                      <a:pt x="407" y="375"/>
                    </a:lnTo>
                    <a:lnTo>
                      <a:pt x="405" y="373"/>
                    </a:lnTo>
                    <a:lnTo>
                      <a:pt x="403" y="373"/>
                    </a:lnTo>
                    <a:lnTo>
                      <a:pt x="405" y="373"/>
                    </a:lnTo>
                    <a:lnTo>
                      <a:pt x="403" y="371"/>
                    </a:lnTo>
                    <a:lnTo>
                      <a:pt x="403" y="369"/>
                    </a:lnTo>
                    <a:lnTo>
                      <a:pt x="401" y="369"/>
                    </a:lnTo>
                    <a:lnTo>
                      <a:pt x="401" y="367"/>
                    </a:lnTo>
                    <a:lnTo>
                      <a:pt x="403" y="367"/>
                    </a:lnTo>
                    <a:lnTo>
                      <a:pt x="403" y="369"/>
                    </a:lnTo>
                    <a:lnTo>
                      <a:pt x="405" y="369"/>
                    </a:lnTo>
                    <a:lnTo>
                      <a:pt x="405" y="371"/>
                    </a:lnTo>
                    <a:close/>
                    <a:moveTo>
                      <a:pt x="415" y="369"/>
                    </a:moveTo>
                    <a:lnTo>
                      <a:pt x="415" y="371"/>
                    </a:lnTo>
                    <a:lnTo>
                      <a:pt x="413" y="369"/>
                    </a:lnTo>
                    <a:lnTo>
                      <a:pt x="415" y="369"/>
                    </a:lnTo>
                    <a:close/>
                    <a:moveTo>
                      <a:pt x="376" y="365"/>
                    </a:moveTo>
                    <a:lnTo>
                      <a:pt x="376" y="363"/>
                    </a:lnTo>
                    <a:lnTo>
                      <a:pt x="378" y="363"/>
                    </a:lnTo>
                    <a:lnTo>
                      <a:pt x="376" y="363"/>
                    </a:lnTo>
                    <a:lnTo>
                      <a:pt x="376" y="365"/>
                    </a:lnTo>
                    <a:close/>
                    <a:moveTo>
                      <a:pt x="378" y="363"/>
                    </a:moveTo>
                    <a:lnTo>
                      <a:pt x="378" y="365"/>
                    </a:lnTo>
                    <a:lnTo>
                      <a:pt x="378" y="367"/>
                    </a:lnTo>
                    <a:lnTo>
                      <a:pt x="378" y="365"/>
                    </a:lnTo>
                    <a:lnTo>
                      <a:pt x="378" y="367"/>
                    </a:lnTo>
                    <a:lnTo>
                      <a:pt x="376" y="367"/>
                    </a:lnTo>
                    <a:lnTo>
                      <a:pt x="376" y="365"/>
                    </a:lnTo>
                    <a:lnTo>
                      <a:pt x="378" y="363"/>
                    </a:lnTo>
                    <a:close/>
                    <a:moveTo>
                      <a:pt x="411" y="367"/>
                    </a:moveTo>
                    <a:lnTo>
                      <a:pt x="413" y="367"/>
                    </a:lnTo>
                    <a:lnTo>
                      <a:pt x="411" y="367"/>
                    </a:lnTo>
                    <a:lnTo>
                      <a:pt x="411" y="365"/>
                    </a:lnTo>
                    <a:lnTo>
                      <a:pt x="411" y="367"/>
                    </a:lnTo>
                    <a:close/>
                    <a:moveTo>
                      <a:pt x="401" y="365"/>
                    </a:moveTo>
                    <a:lnTo>
                      <a:pt x="399" y="365"/>
                    </a:lnTo>
                    <a:lnTo>
                      <a:pt x="399" y="363"/>
                    </a:lnTo>
                    <a:lnTo>
                      <a:pt x="399" y="365"/>
                    </a:lnTo>
                    <a:lnTo>
                      <a:pt x="401" y="365"/>
                    </a:lnTo>
                    <a:close/>
                    <a:moveTo>
                      <a:pt x="382" y="359"/>
                    </a:moveTo>
                    <a:lnTo>
                      <a:pt x="382" y="361"/>
                    </a:lnTo>
                    <a:lnTo>
                      <a:pt x="384" y="361"/>
                    </a:lnTo>
                    <a:lnTo>
                      <a:pt x="382" y="361"/>
                    </a:lnTo>
                    <a:lnTo>
                      <a:pt x="380" y="361"/>
                    </a:lnTo>
                    <a:lnTo>
                      <a:pt x="380" y="363"/>
                    </a:lnTo>
                    <a:lnTo>
                      <a:pt x="378" y="363"/>
                    </a:lnTo>
                    <a:lnTo>
                      <a:pt x="380" y="363"/>
                    </a:lnTo>
                    <a:lnTo>
                      <a:pt x="378" y="361"/>
                    </a:lnTo>
                    <a:lnTo>
                      <a:pt x="380" y="361"/>
                    </a:lnTo>
                    <a:lnTo>
                      <a:pt x="380" y="359"/>
                    </a:lnTo>
                    <a:lnTo>
                      <a:pt x="382" y="359"/>
                    </a:lnTo>
                    <a:close/>
                    <a:moveTo>
                      <a:pt x="409" y="363"/>
                    </a:moveTo>
                    <a:lnTo>
                      <a:pt x="409" y="365"/>
                    </a:lnTo>
                    <a:lnTo>
                      <a:pt x="407" y="365"/>
                    </a:lnTo>
                    <a:lnTo>
                      <a:pt x="407" y="363"/>
                    </a:lnTo>
                    <a:lnTo>
                      <a:pt x="409" y="363"/>
                    </a:lnTo>
                    <a:close/>
                    <a:moveTo>
                      <a:pt x="398" y="361"/>
                    </a:moveTo>
                    <a:lnTo>
                      <a:pt x="396" y="361"/>
                    </a:lnTo>
                    <a:lnTo>
                      <a:pt x="398" y="361"/>
                    </a:lnTo>
                    <a:close/>
                    <a:moveTo>
                      <a:pt x="409" y="363"/>
                    </a:moveTo>
                    <a:lnTo>
                      <a:pt x="409" y="365"/>
                    </a:lnTo>
                    <a:lnTo>
                      <a:pt x="411" y="365"/>
                    </a:lnTo>
                    <a:lnTo>
                      <a:pt x="411" y="367"/>
                    </a:lnTo>
                    <a:lnTo>
                      <a:pt x="409" y="365"/>
                    </a:lnTo>
                    <a:lnTo>
                      <a:pt x="409" y="363"/>
                    </a:lnTo>
                    <a:close/>
                    <a:moveTo>
                      <a:pt x="407" y="363"/>
                    </a:moveTo>
                    <a:lnTo>
                      <a:pt x="405" y="363"/>
                    </a:lnTo>
                    <a:lnTo>
                      <a:pt x="407" y="363"/>
                    </a:lnTo>
                    <a:close/>
                    <a:moveTo>
                      <a:pt x="376" y="359"/>
                    </a:moveTo>
                    <a:lnTo>
                      <a:pt x="376" y="361"/>
                    </a:lnTo>
                    <a:lnTo>
                      <a:pt x="376" y="359"/>
                    </a:lnTo>
                    <a:lnTo>
                      <a:pt x="376" y="357"/>
                    </a:lnTo>
                    <a:lnTo>
                      <a:pt x="376" y="359"/>
                    </a:lnTo>
                    <a:close/>
                    <a:moveTo>
                      <a:pt x="382" y="359"/>
                    </a:moveTo>
                    <a:lnTo>
                      <a:pt x="380" y="359"/>
                    </a:lnTo>
                    <a:lnTo>
                      <a:pt x="382" y="359"/>
                    </a:lnTo>
                    <a:close/>
                    <a:moveTo>
                      <a:pt x="378" y="359"/>
                    </a:moveTo>
                    <a:lnTo>
                      <a:pt x="376" y="361"/>
                    </a:lnTo>
                    <a:lnTo>
                      <a:pt x="376" y="359"/>
                    </a:lnTo>
                    <a:lnTo>
                      <a:pt x="378" y="359"/>
                    </a:lnTo>
                    <a:lnTo>
                      <a:pt x="378" y="357"/>
                    </a:lnTo>
                    <a:lnTo>
                      <a:pt x="378" y="359"/>
                    </a:lnTo>
                    <a:close/>
                    <a:moveTo>
                      <a:pt x="398" y="361"/>
                    </a:moveTo>
                    <a:lnTo>
                      <a:pt x="399" y="361"/>
                    </a:lnTo>
                    <a:lnTo>
                      <a:pt x="399" y="363"/>
                    </a:lnTo>
                    <a:lnTo>
                      <a:pt x="398" y="363"/>
                    </a:lnTo>
                    <a:lnTo>
                      <a:pt x="398" y="361"/>
                    </a:lnTo>
                    <a:lnTo>
                      <a:pt x="396" y="361"/>
                    </a:lnTo>
                    <a:lnTo>
                      <a:pt x="398" y="361"/>
                    </a:lnTo>
                    <a:close/>
                    <a:moveTo>
                      <a:pt x="380" y="359"/>
                    </a:moveTo>
                    <a:lnTo>
                      <a:pt x="380" y="361"/>
                    </a:lnTo>
                    <a:lnTo>
                      <a:pt x="378" y="361"/>
                    </a:lnTo>
                    <a:lnTo>
                      <a:pt x="378" y="363"/>
                    </a:lnTo>
                    <a:lnTo>
                      <a:pt x="378" y="361"/>
                    </a:lnTo>
                    <a:lnTo>
                      <a:pt x="376" y="361"/>
                    </a:lnTo>
                    <a:lnTo>
                      <a:pt x="378" y="361"/>
                    </a:lnTo>
                    <a:lnTo>
                      <a:pt x="378" y="363"/>
                    </a:lnTo>
                    <a:lnTo>
                      <a:pt x="376" y="363"/>
                    </a:lnTo>
                    <a:lnTo>
                      <a:pt x="376" y="361"/>
                    </a:lnTo>
                    <a:lnTo>
                      <a:pt x="378" y="361"/>
                    </a:lnTo>
                    <a:lnTo>
                      <a:pt x="376" y="361"/>
                    </a:lnTo>
                    <a:lnTo>
                      <a:pt x="378" y="359"/>
                    </a:lnTo>
                    <a:lnTo>
                      <a:pt x="378" y="361"/>
                    </a:lnTo>
                    <a:lnTo>
                      <a:pt x="378" y="359"/>
                    </a:lnTo>
                    <a:lnTo>
                      <a:pt x="380" y="357"/>
                    </a:lnTo>
                    <a:lnTo>
                      <a:pt x="380" y="359"/>
                    </a:lnTo>
                    <a:lnTo>
                      <a:pt x="380" y="357"/>
                    </a:lnTo>
                    <a:lnTo>
                      <a:pt x="380" y="359"/>
                    </a:lnTo>
                    <a:lnTo>
                      <a:pt x="378" y="359"/>
                    </a:lnTo>
                    <a:lnTo>
                      <a:pt x="380" y="359"/>
                    </a:lnTo>
                    <a:lnTo>
                      <a:pt x="380" y="357"/>
                    </a:lnTo>
                    <a:lnTo>
                      <a:pt x="380" y="359"/>
                    </a:lnTo>
                    <a:close/>
                    <a:moveTo>
                      <a:pt x="401" y="361"/>
                    </a:moveTo>
                    <a:lnTo>
                      <a:pt x="403" y="363"/>
                    </a:lnTo>
                    <a:lnTo>
                      <a:pt x="401" y="363"/>
                    </a:lnTo>
                    <a:lnTo>
                      <a:pt x="399" y="361"/>
                    </a:lnTo>
                    <a:lnTo>
                      <a:pt x="401" y="363"/>
                    </a:lnTo>
                    <a:lnTo>
                      <a:pt x="401" y="361"/>
                    </a:lnTo>
                    <a:close/>
                    <a:moveTo>
                      <a:pt x="378" y="357"/>
                    </a:moveTo>
                    <a:lnTo>
                      <a:pt x="376" y="357"/>
                    </a:lnTo>
                    <a:lnTo>
                      <a:pt x="378" y="357"/>
                    </a:lnTo>
                    <a:close/>
                    <a:moveTo>
                      <a:pt x="405" y="363"/>
                    </a:moveTo>
                    <a:lnTo>
                      <a:pt x="405" y="361"/>
                    </a:lnTo>
                    <a:lnTo>
                      <a:pt x="405" y="363"/>
                    </a:lnTo>
                    <a:close/>
                    <a:moveTo>
                      <a:pt x="405" y="371"/>
                    </a:moveTo>
                    <a:lnTo>
                      <a:pt x="405" y="369"/>
                    </a:lnTo>
                    <a:lnTo>
                      <a:pt x="407" y="369"/>
                    </a:lnTo>
                    <a:lnTo>
                      <a:pt x="405" y="369"/>
                    </a:lnTo>
                    <a:lnTo>
                      <a:pt x="403" y="367"/>
                    </a:lnTo>
                    <a:lnTo>
                      <a:pt x="403" y="369"/>
                    </a:lnTo>
                    <a:lnTo>
                      <a:pt x="403" y="367"/>
                    </a:lnTo>
                    <a:lnTo>
                      <a:pt x="401" y="367"/>
                    </a:lnTo>
                    <a:lnTo>
                      <a:pt x="401" y="365"/>
                    </a:lnTo>
                    <a:lnTo>
                      <a:pt x="399" y="365"/>
                    </a:lnTo>
                    <a:lnTo>
                      <a:pt x="399" y="363"/>
                    </a:lnTo>
                    <a:lnTo>
                      <a:pt x="399" y="361"/>
                    </a:lnTo>
                    <a:lnTo>
                      <a:pt x="399" y="363"/>
                    </a:lnTo>
                    <a:lnTo>
                      <a:pt x="399" y="361"/>
                    </a:lnTo>
                    <a:lnTo>
                      <a:pt x="401" y="363"/>
                    </a:lnTo>
                    <a:lnTo>
                      <a:pt x="401" y="365"/>
                    </a:lnTo>
                    <a:lnTo>
                      <a:pt x="403" y="365"/>
                    </a:lnTo>
                    <a:lnTo>
                      <a:pt x="405" y="367"/>
                    </a:lnTo>
                    <a:lnTo>
                      <a:pt x="403" y="367"/>
                    </a:lnTo>
                    <a:lnTo>
                      <a:pt x="405" y="367"/>
                    </a:lnTo>
                    <a:lnTo>
                      <a:pt x="403" y="365"/>
                    </a:lnTo>
                    <a:lnTo>
                      <a:pt x="401" y="365"/>
                    </a:lnTo>
                    <a:lnTo>
                      <a:pt x="403" y="365"/>
                    </a:lnTo>
                    <a:lnTo>
                      <a:pt x="401" y="365"/>
                    </a:lnTo>
                    <a:lnTo>
                      <a:pt x="403" y="363"/>
                    </a:lnTo>
                    <a:lnTo>
                      <a:pt x="401" y="363"/>
                    </a:lnTo>
                    <a:lnTo>
                      <a:pt x="403" y="363"/>
                    </a:lnTo>
                    <a:lnTo>
                      <a:pt x="403" y="361"/>
                    </a:lnTo>
                    <a:lnTo>
                      <a:pt x="403" y="363"/>
                    </a:lnTo>
                    <a:lnTo>
                      <a:pt x="405" y="363"/>
                    </a:lnTo>
                    <a:lnTo>
                      <a:pt x="405" y="365"/>
                    </a:lnTo>
                    <a:lnTo>
                      <a:pt x="407" y="367"/>
                    </a:lnTo>
                    <a:lnTo>
                      <a:pt x="407" y="369"/>
                    </a:lnTo>
                    <a:lnTo>
                      <a:pt x="409" y="369"/>
                    </a:lnTo>
                    <a:lnTo>
                      <a:pt x="407" y="369"/>
                    </a:lnTo>
                    <a:lnTo>
                      <a:pt x="407" y="367"/>
                    </a:lnTo>
                    <a:lnTo>
                      <a:pt x="409" y="367"/>
                    </a:lnTo>
                    <a:lnTo>
                      <a:pt x="409" y="369"/>
                    </a:lnTo>
                    <a:lnTo>
                      <a:pt x="409" y="367"/>
                    </a:lnTo>
                    <a:lnTo>
                      <a:pt x="407" y="367"/>
                    </a:lnTo>
                    <a:lnTo>
                      <a:pt x="407" y="365"/>
                    </a:lnTo>
                    <a:lnTo>
                      <a:pt x="405" y="365"/>
                    </a:lnTo>
                    <a:lnTo>
                      <a:pt x="405" y="363"/>
                    </a:lnTo>
                    <a:lnTo>
                      <a:pt x="407" y="363"/>
                    </a:lnTo>
                    <a:lnTo>
                      <a:pt x="407" y="365"/>
                    </a:lnTo>
                    <a:lnTo>
                      <a:pt x="409" y="365"/>
                    </a:lnTo>
                    <a:lnTo>
                      <a:pt x="409" y="367"/>
                    </a:lnTo>
                    <a:lnTo>
                      <a:pt x="411" y="367"/>
                    </a:lnTo>
                    <a:lnTo>
                      <a:pt x="409" y="367"/>
                    </a:lnTo>
                    <a:lnTo>
                      <a:pt x="411" y="367"/>
                    </a:lnTo>
                    <a:lnTo>
                      <a:pt x="409" y="367"/>
                    </a:lnTo>
                    <a:lnTo>
                      <a:pt x="411" y="367"/>
                    </a:lnTo>
                    <a:lnTo>
                      <a:pt x="411" y="369"/>
                    </a:lnTo>
                    <a:lnTo>
                      <a:pt x="413" y="369"/>
                    </a:lnTo>
                    <a:lnTo>
                      <a:pt x="413" y="371"/>
                    </a:lnTo>
                    <a:lnTo>
                      <a:pt x="413" y="369"/>
                    </a:lnTo>
                    <a:lnTo>
                      <a:pt x="411" y="369"/>
                    </a:lnTo>
                    <a:lnTo>
                      <a:pt x="413" y="369"/>
                    </a:lnTo>
                    <a:lnTo>
                      <a:pt x="413" y="371"/>
                    </a:lnTo>
                    <a:lnTo>
                      <a:pt x="411" y="371"/>
                    </a:lnTo>
                    <a:lnTo>
                      <a:pt x="411" y="373"/>
                    </a:lnTo>
                    <a:lnTo>
                      <a:pt x="409" y="373"/>
                    </a:lnTo>
                    <a:lnTo>
                      <a:pt x="409" y="375"/>
                    </a:lnTo>
                    <a:lnTo>
                      <a:pt x="407" y="373"/>
                    </a:lnTo>
                    <a:lnTo>
                      <a:pt x="405" y="373"/>
                    </a:lnTo>
                    <a:lnTo>
                      <a:pt x="407" y="371"/>
                    </a:lnTo>
                    <a:lnTo>
                      <a:pt x="405" y="371"/>
                    </a:lnTo>
                    <a:close/>
                    <a:moveTo>
                      <a:pt x="378" y="357"/>
                    </a:moveTo>
                    <a:lnTo>
                      <a:pt x="376" y="357"/>
                    </a:lnTo>
                    <a:lnTo>
                      <a:pt x="378" y="357"/>
                    </a:lnTo>
                    <a:close/>
                    <a:moveTo>
                      <a:pt x="405" y="361"/>
                    </a:moveTo>
                    <a:lnTo>
                      <a:pt x="405" y="363"/>
                    </a:lnTo>
                    <a:lnTo>
                      <a:pt x="405" y="361"/>
                    </a:lnTo>
                    <a:close/>
                    <a:moveTo>
                      <a:pt x="407" y="363"/>
                    </a:moveTo>
                    <a:lnTo>
                      <a:pt x="405" y="363"/>
                    </a:lnTo>
                    <a:lnTo>
                      <a:pt x="405" y="361"/>
                    </a:lnTo>
                    <a:lnTo>
                      <a:pt x="407" y="361"/>
                    </a:lnTo>
                    <a:lnTo>
                      <a:pt x="409" y="363"/>
                    </a:lnTo>
                    <a:lnTo>
                      <a:pt x="407" y="363"/>
                    </a:lnTo>
                    <a:close/>
                    <a:moveTo>
                      <a:pt x="376" y="357"/>
                    </a:moveTo>
                    <a:lnTo>
                      <a:pt x="376" y="355"/>
                    </a:lnTo>
                    <a:lnTo>
                      <a:pt x="376" y="357"/>
                    </a:lnTo>
                    <a:close/>
                    <a:moveTo>
                      <a:pt x="403" y="361"/>
                    </a:moveTo>
                    <a:lnTo>
                      <a:pt x="405" y="361"/>
                    </a:lnTo>
                    <a:lnTo>
                      <a:pt x="403" y="361"/>
                    </a:lnTo>
                    <a:close/>
                    <a:moveTo>
                      <a:pt x="371" y="336"/>
                    </a:moveTo>
                    <a:lnTo>
                      <a:pt x="369" y="336"/>
                    </a:lnTo>
                    <a:lnTo>
                      <a:pt x="371" y="336"/>
                    </a:lnTo>
                    <a:close/>
                    <a:moveTo>
                      <a:pt x="155" y="271"/>
                    </a:moveTo>
                    <a:lnTo>
                      <a:pt x="155" y="269"/>
                    </a:lnTo>
                    <a:lnTo>
                      <a:pt x="155" y="271"/>
                    </a:lnTo>
                    <a:close/>
                    <a:moveTo>
                      <a:pt x="161" y="265"/>
                    </a:moveTo>
                    <a:lnTo>
                      <a:pt x="161" y="267"/>
                    </a:lnTo>
                    <a:lnTo>
                      <a:pt x="163" y="267"/>
                    </a:lnTo>
                    <a:lnTo>
                      <a:pt x="161" y="267"/>
                    </a:lnTo>
                    <a:lnTo>
                      <a:pt x="161" y="265"/>
                    </a:lnTo>
                    <a:lnTo>
                      <a:pt x="161" y="267"/>
                    </a:lnTo>
                    <a:lnTo>
                      <a:pt x="161" y="265"/>
                    </a:lnTo>
                    <a:lnTo>
                      <a:pt x="161" y="267"/>
                    </a:lnTo>
                    <a:lnTo>
                      <a:pt x="161" y="265"/>
                    </a:lnTo>
                    <a:close/>
                    <a:moveTo>
                      <a:pt x="163" y="267"/>
                    </a:moveTo>
                    <a:lnTo>
                      <a:pt x="163" y="265"/>
                    </a:lnTo>
                    <a:lnTo>
                      <a:pt x="163" y="267"/>
                    </a:lnTo>
                    <a:close/>
                    <a:moveTo>
                      <a:pt x="163" y="267"/>
                    </a:moveTo>
                    <a:lnTo>
                      <a:pt x="163" y="265"/>
                    </a:lnTo>
                    <a:lnTo>
                      <a:pt x="163" y="267"/>
                    </a:lnTo>
                    <a:close/>
                    <a:moveTo>
                      <a:pt x="140" y="225"/>
                    </a:moveTo>
                    <a:lnTo>
                      <a:pt x="142" y="225"/>
                    </a:lnTo>
                    <a:lnTo>
                      <a:pt x="142" y="227"/>
                    </a:lnTo>
                    <a:lnTo>
                      <a:pt x="144" y="227"/>
                    </a:lnTo>
                    <a:lnTo>
                      <a:pt x="144" y="228"/>
                    </a:lnTo>
                    <a:lnTo>
                      <a:pt x="144" y="230"/>
                    </a:lnTo>
                    <a:lnTo>
                      <a:pt x="144" y="228"/>
                    </a:lnTo>
                    <a:lnTo>
                      <a:pt x="142" y="228"/>
                    </a:lnTo>
                    <a:lnTo>
                      <a:pt x="142" y="230"/>
                    </a:lnTo>
                    <a:lnTo>
                      <a:pt x="142" y="228"/>
                    </a:lnTo>
                    <a:lnTo>
                      <a:pt x="142" y="230"/>
                    </a:lnTo>
                    <a:lnTo>
                      <a:pt x="142" y="228"/>
                    </a:lnTo>
                    <a:lnTo>
                      <a:pt x="142" y="227"/>
                    </a:lnTo>
                    <a:lnTo>
                      <a:pt x="140" y="227"/>
                    </a:lnTo>
                    <a:lnTo>
                      <a:pt x="138" y="227"/>
                    </a:lnTo>
                    <a:lnTo>
                      <a:pt x="140" y="227"/>
                    </a:lnTo>
                    <a:lnTo>
                      <a:pt x="138" y="227"/>
                    </a:lnTo>
                    <a:lnTo>
                      <a:pt x="140" y="225"/>
                    </a:lnTo>
                    <a:close/>
                    <a:moveTo>
                      <a:pt x="180" y="230"/>
                    </a:moveTo>
                    <a:lnTo>
                      <a:pt x="182" y="230"/>
                    </a:lnTo>
                    <a:lnTo>
                      <a:pt x="180" y="230"/>
                    </a:lnTo>
                    <a:close/>
                    <a:moveTo>
                      <a:pt x="190" y="232"/>
                    </a:moveTo>
                    <a:lnTo>
                      <a:pt x="190" y="230"/>
                    </a:lnTo>
                    <a:lnTo>
                      <a:pt x="190" y="232"/>
                    </a:lnTo>
                    <a:close/>
                    <a:moveTo>
                      <a:pt x="188" y="230"/>
                    </a:moveTo>
                    <a:lnTo>
                      <a:pt x="190" y="230"/>
                    </a:lnTo>
                    <a:lnTo>
                      <a:pt x="190" y="232"/>
                    </a:lnTo>
                    <a:lnTo>
                      <a:pt x="188" y="232"/>
                    </a:lnTo>
                    <a:lnTo>
                      <a:pt x="188" y="230"/>
                    </a:lnTo>
                    <a:close/>
                    <a:moveTo>
                      <a:pt x="188" y="230"/>
                    </a:moveTo>
                    <a:lnTo>
                      <a:pt x="186" y="230"/>
                    </a:lnTo>
                    <a:lnTo>
                      <a:pt x="186" y="232"/>
                    </a:lnTo>
                    <a:lnTo>
                      <a:pt x="186" y="230"/>
                    </a:lnTo>
                    <a:lnTo>
                      <a:pt x="188" y="230"/>
                    </a:lnTo>
                    <a:close/>
                    <a:moveTo>
                      <a:pt x="380" y="273"/>
                    </a:moveTo>
                    <a:lnTo>
                      <a:pt x="378" y="271"/>
                    </a:lnTo>
                    <a:lnTo>
                      <a:pt x="380" y="273"/>
                    </a:lnTo>
                    <a:close/>
                    <a:moveTo>
                      <a:pt x="371" y="267"/>
                    </a:moveTo>
                    <a:lnTo>
                      <a:pt x="371" y="265"/>
                    </a:lnTo>
                    <a:lnTo>
                      <a:pt x="371" y="267"/>
                    </a:lnTo>
                    <a:close/>
                    <a:moveTo>
                      <a:pt x="117" y="202"/>
                    </a:moveTo>
                    <a:lnTo>
                      <a:pt x="117" y="203"/>
                    </a:lnTo>
                    <a:lnTo>
                      <a:pt x="117" y="202"/>
                    </a:lnTo>
                    <a:lnTo>
                      <a:pt x="115" y="203"/>
                    </a:lnTo>
                    <a:lnTo>
                      <a:pt x="115" y="202"/>
                    </a:lnTo>
                    <a:lnTo>
                      <a:pt x="115" y="203"/>
                    </a:lnTo>
                    <a:lnTo>
                      <a:pt x="115" y="202"/>
                    </a:lnTo>
                    <a:lnTo>
                      <a:pt x="115" y="203"/>
                    </a:lnTo>
                    <a:lnTo>
                      <a:pt x="115" y="202"/>
                    </a:lnTo>
                    <a:lnTo>
                      <a:pt x="117" y="202"/>
                    </a:lnTo>
                    <a:close/>
                    <a:moveTo>
                      <a:pt x="115" y="202"/>
                    </a:moveTo>
                    <a:lnTo>
                      <a:pt x="113" y="202"/>
                    </a:lnTo>
                    <a:lnTo>
                      <a:pt x="113" y="200"/>
                    </a:lnTo>
                    <a:lnTo>
                      <a:pt x="115" y="202"/>
                    </a:lnTo>
                    <a:close/>
                    <a:moveTo>
                      <a:pt x="113" y="200"/>
                    </a:moveTo>
                    <a:lnTo>
                      <a:pt x="113" y="202"/>
                    </a:lnTo>
                    <a:lnTo>
                      <a:pt x="113" y="200"/>
                    </a:lnTo>
                    <a:close/>
                    <a:moveTo>
                      <a:pt x="117" y="202"/>
                    </a:moveTo>
                    <a:lnTo>
                      <a:pt x="119" y="202"/>
                    </a:lnTo>
                    <a:lnTo>
                      <a:pt x="119" y="203"/>
                    </a:lnTo>
                    <a:lnTo>
                      <a:pt x="121" y="203"/>
                    </a:lnTo>
                    <a:lnTo>
                      <a:pt x="123" y="205"/>
                    </a:lnTo>
                    <a:lnTo>
                      <a:pt x="123" y="207"/>
                    </a:lnTo>
                    <a:lnTo>
                      <a:pt x="125" y="207"/>
                    </a:lnTo>
                    <a:lnTo>
                      <a:pt x="125" y="209"/>
                    </a:lnTo>
                    <a:lnTo>
                      <a:pt x="125" y="211"/>
                    </a:lnTo>
                    <a:lnTo>
                      <a:pt x="127" y="213"/>
                    </a:lnTo>
                    <a:lnTo>
                      <a:pt x="127" y="215"/>
                    </a:lnTo>
                    <a:lnTo>
                      <a:pt x="127" y="213"/>
                    </a:lnTo>
                    <a:lnTo>
                      <a:pt x="125" y="211"/>
                    </a:lnTo>
                    <a:lnTo>
                      <a:pt x="125" y="209"/>
                    </a:lnTo>
                    <a:lnTo>
                      <a:pt x="123" y="209"/>
                    </a:lnTo>
                    <a:lnTo>
                      <a:pt x="123" y="207"/>
                    </a:lnTo>
                    <a:lnTo>
                      <a:pt x="123" y="205"/>
                    </a:lnTo>
                    <a:lnTo>
                      <a:pt x="121" y="205"/>
                    </a:lnTo>
                    <a:lnTo>
                      <a:pt x="121" y="203"/>
                    </a:lnTo>
                    <a:lnTo>
                      <a:pt x="119" y="203"/>
                    </a:lnTo>
                    <a:lnTo>
                      <a:pt x="117" y="203"/>
                    </a:lnTo>
                    <a:lnTo>
                      <a:pt x="117" y="202"/>
                    </a:lnTo>
                    <a:lnTo>
                      <a:pt x="117" y="203"/>
                    </a:lnTo>
                    <a:lnTo>
                      <a:pt x="119" y="203"/>
                    </a:lnTo>
                    <a:lnTo>
                      <a:pt x="117" y="203"/>
                    </a:lnTo>
                    <a:lnTo>
                      <a:pt x="117" y="202"/>
                    </a:lnTo>
                    <a:lnTo>
                      <a:pt x="117" y="203"/>
                    </a:lnTo>
                    <a:lnTo>
                      <a:pt x="117" y="202"/>
                    </a:lnTo>
                    <a:lnTo>
                      <a:pt x="117" y="203"/>
                    </a:lnTo>
                    <a:lnTo>
                      <a:pt x="117" y="202"/>
                    </a:lnTo>
                    <a:lnTo>
                      <a:pt x="117" y="203"/>
                    </a:lnTo>
                    <a:lnTo>
                      <a:pt x="117" y="202"/>
                    </a:lnTo>
                    <a:lnTo>
                      <a:pt x="115" y="202"/>
                    </a:lnTo>
                    <a:lnTo>
                      <a:pt x="117" y="202"/>
                    </a:lnTo>
                    <a:close/>
                    <a:moveTo>
                      <a:pt x="115" y="200"/>
                    </a:moveTo>
                    <a:lnTo>
                      <a:pt x="115" y="202"/>
                    </a:lnTo>
                    <a:lnTo>
                      <a:pt x="115" y="200"/>
                    </a:lnTo>
                    <a:lnTo>
                      <a:pt x="113" y="200"/>
                    </a:lnTo>
                    <a:lnTo>
                      <a:pt x="115" y="200"/>
                    </a:lnTo>
                    <a:close/>
                    <a:moveTo>
                      <a:pt x="115" y="200"/>
                    </a:moveTo>
                    <a:lnTo>
                      <a:pt x="113" y="200"/>
                    </a:lnTo>
                    <a:lnTo>
                      <a:pt x="115" y="200"/>
                    </a:lnTo>
                    <a:lnTo>
                      <a:pt x="113" y="200"/>
                    </a:lnTo>
                    <a:lnTo>
                      <a:pt x="113" y="202"/>
                    </a:lnTo>
                    <a:lnTo>
                      <a:pt x="113" y="200"/>
                    </a:lnTo>
                    <a:lnTo>
                      <a:pt x="115" y="200"/>
                    </a:lnTo>
                    <a:close/>
                    <a:moveTo>
                      <a:pt x="111" y="200"/>
                    </a:moveTo>
                    <a:lnTo>
                      <a:pt x="109" y="200"/>
                    </a:lnTo>
                    <a:lnTo>
                      <a:pt x="109" y="198"/>
                    </a:lnTo>
                    <a:lnTo>
                      <a:pt x="111" y="198"/>
                    </a:lnTo>
                    <a:lnTo>
                      <a:pt x="111" y="200"/>
                    </a:lnTo>
                    <a:close/>
                    <a:moveTo>
                      <a:pt x="100" y="188"/>
                    </a:moveTo>
                    <a:lnTo>
                      <a:pt x="102" y="190"/>
                    </a:lnTo>
                    <a:lnTo>
                      <a:pt x="102" y="188"/>
                    </a:lnTo>
                    <a:lnTo>
                      <a:pt x="100" y="188"/>
                    </a:lnTo>
                    <a:close/>
                    <a:moveTo>
                      <a:pt x="102" y="188"/>
                    </a:moveTo>
                    <a:lnTo>
                      <a:pt x="100" y="188"/>
                    </a:lnTo>
                    <a:lnTo>
                      <a:pt x="100" y="186"/>
                    </a:lnTo>
                    <a:lnTo>
                      <a:pt x="102" y="188"/>
                    </a:lnTo>
                    <a:close/>
                    <a:moveTo>
                      <a:pt x="100" y="186"/>
                    </a:moveTo>
                    <a:lnTo>
                      <a:pt x="100" y="184"/>
                    </a:lnTo>
                    <a:lnTo>
                      <a:pt x="98" y="184"/>
                    </a:lnTo>
                    <a:lnTo>
                      <a:pt x="100" y="184"/>
                    </a:lnTo>
                    <a:lnTo>
                      <a:pt x="100" y="186"/>
                    </a:lnTo>
                    <a:close/>
                    <a:moveTo>
                      <a:pt x="152" y="192"/>
                    </a:moveTo>
                    <a:lnTo>
                      <a:pt x="154" y="192"/>
                    </a:lnTo>
                    <a:lnTo>
                      <a:pt x="152" y="192"/>
                    </a:lnTo>
                    <a:close/>
                    <a:moveTo>
                      <a:pt x="271" y="221"/>
                    </a:moveTo>
                    <a:lnTo>
                      <a:pt x="273" y="221"/>
                    </a:lnTo>
                    <a:lnTo>
                      <a:pt x="273" y="223"/>
                    </a:lnTo>
                    <a:lnTo>
                      <a:pt x="271" y="223"/>
                    </a:lnTo>
                    <a:lnTo>
                      <a:pt x="269" y="223"/>
                    </a:lnTo>
                    <a:lnTo>
                      <a:pt x="267" y="223"/>
                    </a:lnTo>
                    <a:lnTo>
                      <a:pt x="267" y="221"/>
                    </a:lnTo>
                    <a:lnTo>
                      <a:pt x="269" y="221"/>
                    </a:lnTo>
                    <a:lnTo>
                      <a:pt x="269" y="219"/>
                    </a:lnTo>
                    <a:lnTo>
                      <a:pt x="269" y="221"/>
                    </a:lnTo>
                    <a:lnTo>
                      <a:pt x="271" y="221"/>
                    </a:lnTo>
                    <a:close/>
                    <a:moveTo>
                      <a:pt x="146" y="188"/>
                    </a:moveTo>
                    <a:lnTo>
                      <a:pt x="148" y="188"/>
                    </a:lnTo>
                    <a:lnTo>
                      <a:pt x="148" y="190"/>
                    </a:lnTo>
                    <a:lnTo>
                      <a:pt x="150" y="190"/>
                    </a:lnTo>
                    <a:lnTo>
                      <a:pt x="150" y="192"/>
                    </a:lnTo>
                    <a:lnTo>
                      <a:pt x="152" y="192"/>
                    </a:lnTo>
                    <a:lnTo>
                      <a:pt x="150" y="192"/>
                    </a:lnTo>
                    <a:lnTo>
                      <a:pt x="150" y="194"/>
                    </a:lnTo>
                    <a:lnTo>
                      <a:pt x="148" y="194"/>
                    </a:lnTo>
                    <a:lnTo>
                      <a:pt x="146" y="194"/>
                    </a:lnTo>
                    <a:lnTo>
                      <a:pt x="146" y="192"/>
                    </a:lnTo>
                    <a:lnTo>
                      <a:pt x="146" y="190"/>
                    </a:lnTo>
                    <a:lnTo>
                      <a:pt x="144" y="188"/>
                    </a:lnTo>
                    <a:lnTo>
                      <a:pt x="144" y="186"/>
                    </a:lnTo>
                    <a:lnTo>
                      <a:pt x="146" y="186"/>
                    </a:lnTo>
                    <a:lnTo>
                      <a:pt x="146" y="188"/>
                    </a:lnTo>
                    <a:close/>
                    <a:moveTo>
                      <a:pt x="161" y="192"/>
                    </a:moveTo>
                    <a:lnTo>
                      <a:pt x="161" y="190"/>
                    </a:lnTo>
                    <a:lnTo>
                      <a:pt x="161" y="192"/>
                    </a:lnTo>
                    <a:lnTo>
                      <a:pt x="159" y="190"/>
                    </a:lnTo>
                    <a:lnTo>
                      <a:pt x="161" y="190"/>
                    </a:lnTo>
                    <a:lnTo>
                      <a:pt x="159" y="190"/>
                    </a:lnTo>
                    <a:lnTo>
                      <a:pt x="161" y="190"/>
                    </a:lnTo>
                    <a:lnTo>
                      <a:pt x="161" y="192"/>
                    </a:lnTo>
                    <a:close/>
                    <a:moveTo>
                      <a:pt x="148" y="186"/>
                    </a:moveTo>
                    <a:lnTo>
                      <a:pt x="146" y="186"/>
                    </a:lnTo>
                    <a:lnTo>
                      <a:pt x="148" y="186"/>
                    </a:lnTo>
                    <a:close/>
                    <a:moveTo>
                      <a:pt x="155" y="186"/>
                    </a:moveTo>
                    <a:lnTo>
                      <a:pt x="155" y="188"/>
                    </a:lnTo>
                    <a:lnTo>
                      <a:pt x="154" y="188"/>
                    </a:lnTo>
                    <a:lnTo>
                      <a:pt x="154" y="190"/>
                    </a:lnTo>
                    <a:lnTo>
                      <a:pt x="152" y="190"/>
                    </a:lnTo>
                    <a:lnTo>
                      <a:pt x="150" y="190"/>
                    </a:lnTo>
                    <a:lnTo>
                      <a:pt x="148" y="190"/>
                    </a:lnTo>
                    <a:lnTo>
                      <a:pt x="148" y="188"/>
                    </a:lnTo>
                    <a:lnTo>
                      <a:pt x="148" y="186"/>
                    </a:lnTo>
                    <a:lnTo>
                      <a:pt x="150" y="184"/>
                    </a:lnTo>
                    <a:lnTo>
                      <a:pt x="152" y="182"/>
                    </a:lnTo>
                    <a:lnTo>
                      <a:pt x="154" y="182"/>
                    </a:lnTo>
                    <a:lnTo>
                      <a:pt x="155" y="182"/>
                    </a:lnTo>
                    <a:lnTo>
                      <a:pt x="157" y="182"/>
                    </a:lnTo>
                    <a:lnTo>
                      <a:pt x="155" y="184"/>
                    </a:lnTo>
                    <a:lnTo>
                      <a:pt x="155" y="186"/>
                    </a:lnTo>
                    <a:close/>
                    <a:moveTo>
                      <a:pt x="161" y="152"/>
                    </a:moveTo>
                    <a:lnTo>
                      <a:pt x="161" y="154"/>
                    </a:lnTo>
                    <a:lnTo>
                      <a:pt x="159" y="154"/>
                    </a:lnTo>
                    <a:lnTo>
                      <a:pt x="159" y="152"/>
                    </a:lnTo>
                    <a:lnTo>
                      <a:pt x="161" y="152"/>
                    </a:lnTo>
                    <a:close/>
                    <a:moveTo>
                      <a:pt x="280" y="182"/>
                    </a:moveTo>
                    <a:lnTo>
                      <a:pt x="280" y="180"/>
                    </a:lnTo>
                    <a:lnTo>
                      <a:pt x="280" y="182"/>
                    </a:lnTo>
                    <a:close/>
                    <a:moveTo>
                      <a:pt x="161" y="148"/>
                    </a:moveTo>
                    <a:lnTo>
                      <a:pt x="161" y="150"/>
                    </a:lnTo>
                    <a:lnTo>
                      <a:pt x="161" y="148"/>
                    </a:lnTo>
                    <a:close/>
                    <a:moveTo>
                      <a:pt x="161" y="146"/>
                    </a:moveTo>
                    <a:lnTo>
                      <a:pt x="161" y="144"/>
                    </a:lnTo>
                    <a:lnTo>
                      <a:pt x="161" y="146"/>
                    </a:lnTo>
                    <a:close/>
                    <a:moveTo>
                      <a:pt x="184" y="148"/>
                    </a:moveTo>
                    <a:lnTo>
                      <a:pt x="186" y="148"/>
                    </a:lnTo>
                    <a:lnTo>
                      <a:pt x="184" y="148"/>
                    </a:lnTo>
                    <a:close/>
                    <a:moveTo>
                      <a:pt x="282" y="171"/>
                    </a:moveTo>
                    <a:lnTo>
                      <a:pt x="282" y="173"/>
                    </a:lnTo>
                    <a:lnTo>
                      <a:pt x="280" y="173"/>
                    </a:lnTo>
                    <a:lnTo>
                      <a:pt x="280" y="171"/>
                    </a:lnTo>
                    <a:lnTo>
                      <a:pt x="282" y="171"/>
                    </a:lnTo>
                    <a:close/>
                    <a:moveTo>
                      <a:pt x="161" y="136"/>
                    </a:moveTo>
                    <a:lnTo>
                      <a:pt x="159" y="134"/>
                    </a:lnTo>
                    <a:lnTo>
                      <a:pt x="161" y="136"/>
                    </a:lnTo>
                    <a:lnTo>
                      <a:pt x="159" y="136"/>
                    </a:lnTo>
                    <a:lnTo>
                      <a:pt x="159" y="134"/>
                    </a:lnTo>
                    <a:lnTo>
                      <a:pt x="159" y="132"/>
                    </a:lnTo>
                    <a:lnTo>
                      <a:pt x="159" y="130"/>
                    </a:lnTo>
                    <a:lnTo>
                      <a:pt x="161" y="130"/>
                    </a:lnTo>
                    <a:lnTo>
                      <a:pt x="161" y="132"/>
                    </a:lnTo>
                    <a:lnTo>
                      <a:pt x="161" y="134"/>
                    </a:lnTo>
                    <a:lnTo>
                      <a:pt x="161" y="136"/>
                    </a:lnTo>
                    <a:close/>
                    <a:moveTo>
                      <a:pt x="159" y="129"/>
                    </a:moveTo>
                    <a:lnTo>
                      <a:pt x="159" y="130"/>
                    </a:lnTo>
                    <a:lnTo>
                      <a:pt x="159" y="132"/>
                    </a:lnTo>
                    <a:lnTo>
                      <a:pt x="159" y="134"/>
                    </a:lnTo>
                    <a:lnTo>
                      <a:pt x="159" y="136"/>
                    </a:lnTo>
                    <a:lnTo>
                      <a:pt x="159" y="134"/>
                    </a:lnTo>
                    <a:lnTo>
                      <a:pt x="157" y="134"/>
                    </a:lnTo>
                    <a:lnTo>
                      <a:pt x="157" y="132"/>
                    </a:lnTo>
                    <a:lnTo>
                      <a:pt x="155" y="130"/>
                    </a:lnTo>
                    <a:lnTo>
                      <a:pt x="155" y="129"/>
                    </a:lnTo>
                    <a:lnTo>
                      <a:pt x="154" y="129"/>
                    </a:lnTo>
                    <a:lnTo>
                      <a:pt x="155" y="129"/>
                    </a:lnTo>
                    <a:lnTo>
                      <a:pt x="155" y="127"/>
                    </a:lnTo>
                    <a:lnTo>
                      <a:pt x="155" y="125"/>
                    </a:lnTo>
                    <a:lnTo>
                      <a:pt x="157" y="125"/>
                    </a:lnTo>
                    <a:lnTo>
                      <a:pt x="159" y="127"/>
                    </a:lnTo>
                    <a:lnTo>
                      <a:pt x="159" y="129"/>
                    </a:lnTo>
                    <a:close/>
                    <a:moveTo>
                      <a:pt x="175" y="123"/>
                    </a:moveTo>
                    <a:lnTo>
                      <a:pt x="173" y="125"/>
                    </a:lnTo>
                    <a:lnTo>
                      <a:pt x="173" y="123"/>
                    </a:lnTo>
                    <a:lnTo>
                      <a:pt x="175" y="123"/>
                    </a:lnTo>
                    <a:close/>
                    <a:moveTo>
                      <a:pt x="155" y="115"/>
                    </a:moveTo>
                    <a:lnTo>
                      <a:pt x="155" y="117"/>
                    </a:lnTo>
                    <a:lnTo>
                      <a:pt x="155" y="119"/>
                    </a:lnTo>
                    <a:lnTo>
                      <a:pt x="155" y="121"/>
                    </a:lnTo>
                    <a:lnTo>
                      <a:pt x="155" y="123"/>
                    </a:lnTo>
                    <a:lnTo>
                      <a:pt x="155" y="125"/>
                    </a:lnTo>
                    <a:lnTo>
                      <a:pt x="155" y="127"/>
                    </a:lnTo>
                    <a:lnTo>
                      <a:pt x="154" y="127"/>
                    </a:lnTo>
                    <a:lnTo>
                      <a:pt x="154" y="125"/>
                    </a:lnTo>
                    <a:lnTo>
                      <a:pt x="154" y="123"/>
                    </a:lnTo>
                    <a:lnTo>
                      <a:pt x="154" y="121"/>
                    </a:lnTo>
                    <a:lnTo>
                      <a:pt x="154" y="119"/>
                    </a:lnTo>
                    <a:lnTo>
                      <a:pt x="154" y="117"/>
                    </a:lnTo>
                    <a:lnTo>
                      <a:pt x="154" y="115"/>
                    </a:lnTo>
                    <a:lnTo>
                      <a:pt x="155" y="115"/>
                    </a:lnTo>
                    <a:lnTo>
                      <a:pt x="154" y="115"/>
                    </a:lnTo>
                    <a:lnTo>
                      <a:pt x="154" y="113"/>
                    </a:lnTo>
                    <a:lnTo>
                      <a:pt x="155" y="111"/>
                    </a:lnTo>
                    <a:lnTo>
                      <a:pt x="155" y="109"/>
                    </a:lnTo>
                    <a:lnTo>
                      <a:pt x="157" y="109"/>
                    </a:lnTo>
                    <a:lnTo>
                      <a:pt x="157" y="111"/>
                    </a:lnTo>
                    <a:lnTo>
                      <a:pt x="157" y="113"/>
                    </a:lnTo>
                    <a:lnTo>
                      <a:pt x="155" y="113"/>
                    </a:lnTo>
                    <a:lnTo>
                      <a:pt x="155" y="115"/>
                    </a:lnTo>
                    <a:close/>
                    <a:moveTo>
                      <a:pt x="159" y="109"/>
                    </a:moveTo>
                    <a:lnTo>
                      <a:pt x="159" y="111"/>
                    </a:lnTo>
                    <a:lnTo>
                      <a:pt x="161" y="111"/>
                    </a:lnTo>
                    <a:lnTo>
                      <a:pt x="159" y="111"/>
                    </a:lnTo>
                    <a:lnTo>
                      <a:pt x="159" y="109"/>
                    </a:lnTo>
                    <a:lnTo>
                      <a:pt x="157" y="109"/>
                    </a:lnTo>
                    <a:lnTo>
                      <a:pt x="159" y="109"/>
                    </a:lnTo>
                    <a:close/>
                    <a:moveTo>
                      <a:pt x="161" y="105"/>
                    </a:moveTo>
                    <a:lnTo>
                      <a:pt x="161" y="104"/>
                    </a:lnTo>
                    <a:lnTo>
                      <a:pt x="161" y="105"/>
                    </a:lnTo>
                    <a:close/>
                    <a:moveTo>
                      <a:pt x="428" y="167"/>
                    </a:moveTo>
                    <a:lnTo>
                      <a:pt x="430" y="167"/>
                    </a:lnTo>
                    <a:lnTo>
                      <a:pt x="428" y="167"/>
                    </a:lnTo>
                    <a:close/>
                    <a:moveTo>
                      <a:pt x="396" y="161"/>
                    </a:moveTo>
                    <a:lnTo>
                      <a:pt x="396" y="159"/>
                    </a:lnTo>
                    <a:lnTo>
                      <a:pt x="396" y="161"/>
                    </a:lnTo>
                    <a:close/>
                    <a:moveTo>
                      <a:pt x="161" y="104"/>
                    </a:moveTo>
                    <a:lnTo>
                      <a:pt x="163" y="104"/>
                    </a:lnTo>
                    <a:lnTo>
                      <a:pt x="163" y="105"/>
                    </a:lnTo>
                    <a:lnTo>
                      <a:pt x="161" y="104"/>
                    </a:lnTo>
                    <a:close/>
                    <a:moveTo>
                      <a:pt x="430" y="167"/>
                    </a:moveTo>
                    <a:lnTo>
                      <a:pt x="428" y="167"/>
                    </a:lnTo>
                    <a:lnTo>
                      <a:pt x="430" y="167"/>
                    </a:lnTo>
                    <a:lnTo>
                      <a:pt x="430" y="165"/>
                    </a:lnTo>
                    <a:lnTo>
                      <a:pt x="430" y="167"/>
                    </a:lnTo>
                    <a:close/>
                    <a:moveTo>
                      <a:pt x="430" y="167"/>
                    </a:moveTo>
                    <a:lnTo>
                      <a:pt x="432" y="167"/>
                    </a:lnTo>
                    <a:lnTo>
                      <a:pt x="430" y="167"/>
                    </a:lnTo>
                    <a:close/>
                    <a:moveTo>
                      <a:pt x="161" y="104"/>
                    </a:moveTo>
                    <a:lnTo>
                      <a:pt x="161" y="105"/>
                    </a:lnTo>
                    <a:lnTo>
                      <a:pt x="159" y="105"/>
                    </a:lnTo>
                    <a:lnTo>
                      <a:pt x="159" y="107"/>
                    </a:lnTo>
                    <a:lnTo>
                      <a:pt x="159" y="109"/>
                    </a:lnTo>
                    <a:lnTo>
                      <a:pt x="157" y="109"/>
                    </a:lnTo>
                    <a:lnTo>
                      <a:pt x="157" y="107"/>
                    </a:lnTo>
                    <a:lnTo>
                      <a:pt x="159" y="104"/>
                    </a:lnTo>
                    <a:lnTo>
                      <a:pt x="161" y="104"/>
                    </a:lnTo>
                    <a:close/>
                    <a:moveTo>
                      <a:pt x="432" y="165"/>
                    </a:moveTo>
                    <a:lnTo>
                      <a:pt x="430" y="165"/>
                    </a:lnTo>
                    <a:lnTo>
                      <a:pt x="432" y="165"/>
                    </a:lnTo>
                    <a:close/>
                    <a:moveTo>
                      <a:pt x="165" y="104"/>
                    </a:moveTo>
                    <a:lnTo>
                      <a:pt x="163" y="104"/>
                    </a:lnTo>
                    <a:lnTo>
                      <a:pt x="165" y="104"/>
                    </a:lnTo>
                    <a:close/>
                    <a:moveTo>
                      <a:pt x="442" y="165"/>
                    </a:moveTo>
                    <a:lnTo>
                      <a:pt x="440" y="167"/>
                    </a:lnTo>
                    <a:lnTo>
                      <a:pt x="440" y="165"/>
                    </a:lnTo>
                    <a:lnTo>
                      <a:pt x="442" y="165"/>
                    </a:lnTo>
                    <a:close/>
                    <a:moveTo>
                      <a:pt x="177" y="105"/>
                    </a:moveTo>
                    <a:lnTo>
                      <a:pt x="175" y="105"/>
                    </a:lnTo>
                    <a:lnTo>
                      <a:pt x="177" y="105"/>
                    </a:lnTo>
                    <a:close/>
                    <a:moveTo>
                      <a:pt x="165" y="102"/>
                    </a:moveTo>
                    <a:lnTo>
                      <a:pt x="163" y="102"/>
                    </a:lnTo>
                    <a:lnTo>
                      <a:pt x="163" y="104"/>
                    </a:lnTo>
                    <a:lnTo>
                      <a:pt x="161" y="104"/>
                    </a:lnTo>
                    <a:lnTo>
                      <a:pt x="163" y="104"/>
                    </a:lnTo>
                    <a:lnTo>
                      <a:pt x="161" y="104"/>
                    </a:lnTo>
                    <a:lnTo>
                      <a:pt x="161" y="102"/>
                    </a:lnTo>
                    <a:lnTo>
                      <a:pt x="163" y="100"/>
                    </a:lnTo>
                    <a:lnTo>
                      <a:pt x="163" y="102"/>
                    </a:lnTo>
                    <a:lnTo>
                      <a:pt x="165" y="102"/>
                    </a:lnTo>
                    <a:close/>
                    <a:moveTo>
                      <a:pt x="169" y="98"/>
                    </a:moveTo>
                    <a:lnTo>
                      <a:pt x="169" y="96"/>
                    </a:lnTo>
                    <a:lnTo>
                      <a:pt x="169" y="98"/>
                    </a:lnTo>
                    <a:close/>
                    <a:moveTo>
                      <a:pt x="430" y="157"/>
                    </a:moveTo>
                    <a:lnTo>
                      <a:pt x="428" y="157"/>
                    </a:lnTo>
                    <a:lnTo>
                      <a:pt x="430" y="157"/>
                    </a:lnTo>
                    <a:lnTo>
                      <a:pt x="430" y="155"/>
                    </a:lnTo>
                    <a:lnTo>
                      <a:pt x="430" y="157"/>
                    </a:lnTo>
                    <a:close/>
                    <a:moveTo>
                      <a:pt x="167" y="100"/>
                    </a:moveTo>
                    <a:lnTo>
                      <a:pt x="167" y="102"/>
                    </a:lnTo>
                    <a:lnTo>
                      <a:pt x="165" y="102"/>
                    </a:lnTo>
                    <a:lnTo>
                      <a:pt x="163" y="100"/>
                    </a:lnTo>
                    <a:lnTo>
                      <a:pt x="165" y="98"/>
                    </a:lnTo>
                    <a:lnTo>
                      <a:pt x="165" y="100"/>
                    </a:lnTo>
                    <a:lnTo>
                      <a:pt x="165" y="98"/>
                    </a:lnTo>
                    <a:lnTo>
                      <a:pt x="165" y="96"/>
                    </a:lnTo>
                    <a:lnTo>
                      <a:pt x="167" y="96"/>
                    </a:lnTo>
                    <a:lnTo>
                      <a:pt x="169" y="96"/>
                    </a:lnTo>
                    <a:lnTo>
                      <a:pt x="169" y="98"/>
                    </a:lnTo>
                    <a:lnTo>
                      <a:pt x="167" y="98"/>
                    </a:lnTo>
                    <a:lnTo>
                      <a:pt x="167" y="100"/>
                    </a:lnTo>
                    <a:close/>
                    <a:moveTo>
                      <a:pt x="396" y="150"/>
                    </a:moveTo>
                    <a:lnTo>
                      <a:pt x="396" y="152"/>
                    </a:lnTo>
                    <a:lnTo>
                      <a:pt x="396" y="150"/>
                    </a:lnTo>
                    <a:close/>
                    <a:moveTo>
                      <a:pt x="298" y="129"/>
                    </a:moveTo>
                    <a:lnTo>
                      <a:pt x="298" y="130"/>
                    </a:lnTo>
                    <a:lnTo>
                      <a:pt x="298" y="129"/>
                    </a:lnTo>
                    <a:close/>
                    <a:moveTo>
                      <a:pt x="396" y="150"/>
                    </a:moveTo>
                    <a:lnTo>
                      <a:pt x="394" y="152"/>
                    </a:lnTo>
                    <a:lnTo>
                      <a:pt x="394" y="154"/>
                    </a:lnTo>
                    <a:lnTo>
                      <a:pt x="394" y="152"/>
                    </a:lnTo>
                    <a:lnTo>
                      <a:pt x="394" y="150"/>
                    </a:lnTo>
                    <a:lnTo>
                      <a:pt x="396" y="148"/>
                    </a:lnTo>
                    <a:lnTo>
                      <a:pt x="396" y="150"/>
                    </a:lnTo>
                    <a:close/>
                    <a:moveTo>
                      <a:pt x="396" y="150"/>
                    </a:moveTo>
                    <a:lnTo>
                      <a:pt x="396" y="148"/>
                    </a:lnTo>
                    <a:lnTo>
                      <a:pt x="396" y="150"/>
                    </a:lnTo>
                    <a:close/>
                    <a:moveTo>
                      <a:pt x="396" y="146"/>
                    </a:moveTo>
                    <a:lnTo>
                      <a:pt x="394" y="146"/>
                    </a:lnTo>
                    <a:lnTo>
                      <a:pt x="394" y="144"/>
                    </a:lnTo>
                    <a:lnTo>
                      <a:pt x="396" y="144"/>
                    </a:lnTo>
                    <a:lnTo>
                      <a:pt x="394" y="144"/>
                    </a:lnTo>
                    <a:lnTo>
                      <a:pt x="396" y="144"/>
                    </a:lnTo>
                    <a:lnTo>
                      <a:pt x="396" y="146"/>
                    </a:lnTo>
                    <a:close/>
                    <a:moveTo>
                      <a:pt x="373" y="138"/>
                    </a:moveTo>
                    <a:lnTo>
                      <a:pt x="371" y="138"/>
                    </a:lnTo>
                    <a:lnTo>
                      <a:pt x="373" y="138"/>
                    </a:lnTo>
                    <a:close/>
                    <a:moveTo>
                      <a:pt x="286" y="113"/>
                    </a:moveTo>
                    <a:lnTo>
                      <a:pt x="284" y="113"/>
                    </a:lnTo>
                    <a:lnTo>
                      <a:pt x="286" y="113"/>
                    </a:lnTo>
                    <a:close/>
                    <a:moveTo>
                      <a:pt x="200" y="80"/>
                    </a:moveTo>
                    <a:lnTo>
                      <a:pt x="200" y="79"/>
                    </a:lnTo>
                    <a:lnTo>
                      <a:pt x="200" y="80"/>
                    </a:lnTo>
                    <a:close/>
                    <a:moveTo>
                      <a:pt x="290" y="100"/>
                    </a:moveTo>
                    <a:lnTo>
                      <a:pt x="290" y="102"/>
                    </a:lnTo>
                    <a:lnTo>
                      <a:pt x="290" y="100"/>
                    </a:lnTo>
                    <a:close/>
                    <a:moveTo>
                      <a:pt x="407" y="92"/>
                    </a:moveTo>
                    <a:lnTo>
                      <a:pt x="405" y="92"/>
                    </a:lnTo>
                    <a:lnTo>
                      <a:pt x="405" y="90"/>
                    </a:lnTo>
                    <a:lnTo>
                      <a:pt x="407" y="90"/>
                    </a:lnTo>
                    <a:lnTo>
                      <a:pt x="407" y="92"/>
                    </a:lnTo>
                    <a:lnTo>
                      <a:pt x="405" y="92"/>
                    </a:lnTo>
                    <a:lnTo>
                      <a:pt x="407" y="92"/>
                    </a:lnTo>
                    <a:close/>
                    <a:moveTo>
                      <a:pt x="407" y="90"/>
                    </a:moveTo>
                    <a:lnTo>
                      <a:pt x="405" y="90"/>
                    </a:lnTo>
                    <a:lnTo>
                      <a:pt x="407" y="90"/>
                    </a:lnTo>
                    <a:close/>
                    <a:moveTo>
                      <a:pt x="405" y="88"/>
                    </a:moveTo>
                    <a:lnTo>
                      <a:pt x="407" y="90"/>
                    </a:lnTo>
                    <a:lnTo>
                      <a:pt x="405" y="90"/>
                    </a:lnTo>
                    <a:lnTo>
                      <a:pt x="407" y="90"/>
                    </a:lnTo>
                    <a:lnTo>
                      <a:pt x="405" y="90"/>
                    </a:lnTo>
                    <a:lnTo>
                      <a:pt x="405" y="88"/>
                    </a:lnTo>
                    <a:close/>
                    <a:moveTo>
                      <a:pt x="380" y="84"/>
                    </a:moveTo>
                    <a:lnTo>
                      <a:pt x="378" y="84"/>
                    </a:lnTo>
                    <a:lnTo>
                      <a:pt x="380" y="84"/>
                    </a:lnTo>
                    <a:lnTo>
                      <a:pt x="380" y="82"/>
                    </a:lnTo>
                    <a:lnTo>
                      <a:pt x="380" y="84"/>
                    </a:lnTo>
                    <a:close/>
                    <a:moveTo>
                      <a:pt x="380" y="82"/>
                    </a:moveTo>
                    <a:lnTo>
                      <a:pt x="380" y="84"/>
                    </a:lnTo>
                    <a:lnTo>
                      <a:pt x="378" y="84"/>
                    </a:lnTo>
                    <a:lnTo>
                      <a:pt x="378" y="82"/>
                    </a:lnTo>
                    <a:lnTo>
                      <a:pt x="380" y="82"/>
                    </a:lnTo>
                    <a:close/>
                    <a:moveTo>
                      <a:pt x="415" y="90"/>
                    </a:moveTo>
                    <a:lnTo>
                      <a:pt x="413" y="90"/>
                    </a:lnTo>
                    <a:lnTo>
                      <a:pt x="415" y="90"/>
                    </a:lnTo>
                    <a:close/>
                    <a:moveTo>
                      <a:pt x="407" y="88"/>
                    </a:moveTo>
                    <a:lnTo>
                      <a:pt x="405" y="88"/>
                    </a:lnTo>
                    <a:lnTo>
                      <a:pt x="407" y="88"/>
                    </a:lnTo>
                    <a:close/>
                    <a:moveTo>
                      <a:pt x="409" y="90"/>
                    </a:moveTo>
                    <a:lnTo>
                      <a:pt x="409" y="88"/>
                    </a:lnTo>
                    <a:lnTo>
                      <a:pt x="407" y="88"/>
                    </a:lnTo>
                    <a:lnTo>
                      <a:pt x="409" y="88"/>
                    </a:lnTo>
                    <a:lnTo>
                      <a:pt x="409" y="90"/>
                    </a:lnTo>
                    <a:close/>
                    <a:moveTo>
                      <a:pt x="409" y="86"/>
                    </a:moveTo>
                    <a:lnTo>
                      <a:pt x="407" y="86"/>
                    </a:lnTo>
                    <a:lnTo>
                      <a:pt x="409" y="86"/>
                    </a:lnTo>
                    <a:close/>
                    <a:moveTo>
                      <a:pt x="407" y="82"/>
                    </a:moveTo>
                    <a:lnTo>
                      <a:pt x="407" y="80"/>
                    </a:lnTo>
                    <a:lnTo>
                      <a:pt x="409" y="80"/>
                    </a:lnTo>
                    <a:lnTo>
                      <a:pt x="407" y="82"/>
                    </a:lnTo>
                    <a:close/>
                    <a:moveTo>
                      <a:pt x="321" y="50"/>
                    </a:moveTo>
                    <a:lnTo>
                      <a:pt x="321" y="52"/>
                    </a:lnTo>
                    <a:lnTo>
                      <a:pt x="321" y="50"/>
                    </a:lnTo>
                    <a:close/>
                    <a:moveTo>
                      <a:pt x="424" y="71"/>
                    </a:moveTo>
                    <a:lnTo>
                      <a:pt x="423" y="71"/>
                    </a:lnTo>
                    <a:lnTo>
                      <a:pt x="424" y="71"/>
                    </a:lnTo>
                    <a:close/>
                    <a:moveTo>
                      <a:pt x="323" y="50"/>
                    </a:moveTo>
                    <a:lnTo>
                      <a:pt x="323" y="52"/>
                    </a:lnTo>
                    <a:lnTo>
                      <a:pt x="323" y="50"/>
                    </a:lnTo>
                    <a:lnTo>
                      <a:pt x="321" y="50"/>
                    </a:lnTo>
                    <a:lnTo>
                      <a:pt x="323" y="50"/>
                    </a:lnTo>
                    <a:close/>
                    <a:moveTo>
                      <a:pt x="321" y="50"/>
                    </a:moveTo>
                    <a:lnTo>
                      <a:pt x="323" y="48"/>
                    </a:lnTo>
                    <a:lnTo>
                      <a:pt x="323" y="50"/>
                    </a:lnTo>
                    <a:lnTo>
                      <a:pt x="321" y="50"/>
                    </a:lnTo>
                    <a:close/>
                    <a:moveTo>
                      <a:pt x="321" y="46"/>
                    </a:moveTo>
                    <a:lnTo>
                      <a:pt x="323" y="46"/>
                    </a:lnTo>
                    <a:lnTo>
                      <a:pt x="321" y="46"/>
                    </a:lnTo>
                    <a:close/>
                    <a:moveTo>
                      <a:pt x="325" y="46"/>
                    </a:moveTo>
                    <a:lnTo>
                      <a:pt x="325" y="48"/>
                    </a:lnTo>
                    <a:lnTo>
                      <a:pt x="323" y="48"/>
                    </a:lnTo>
                    <a:lnTo>
                      <a:pt x="323" y="50"/>
                    </a:lnTo>
                    <a:lnTo>
                      <a:pt x="323" y="52"/>
                    </a:lnTo>
                    <a:lnTo>
                      <a:pt x="325" y="52"/>
                    </a:lnTo>
                    <a:lnTo>
                      <a:pt x="325" y="54"/>
                    </a:lnTo>
                    <a:lnTo>
                      <a:pt x="323" y="52"/>
                    </a:lnTo>
                    <a:lnTo>
                      <a:pt x="323" y="50"/>
                    </a:lnTo>
                    <a:lnTo>
                      <a:pt x="323" y="48"/>
                    </a:lnTo>
                    <a:lnTo>
                      <a:pt x="323" y="46"/>
                    </a:lnTo>
                    <a:lnTo>
                      <a:pt x="325" y="46"/>
                    </a:lnTo>
                    <a:close/>
                    <a:moveTo>
                      <a:pt x="367" y="48"/>
                    </a:moveTo>
                    <a:lnTo>
                      <a:pt x="365" y="48"/>
                    </a:lnTo>
                    <a:lnTo>
                      <a:pt x="367" y="48"/>
                    </a:lnTo>
                    <a:close/>
                    <a:moveTo>
                      <a:pt x="365" y="46"/>
                    </a:moveTo>
                    <a:lnTo>
                      <a:pt x="363" y="46"/>
                    </a:lnTo>
                    <a:lnTo>
                      <a:pt x="365" y="46"/>
                    </a:lnTo>
                    <a:close/>
                    <a:moveTo>
                      <a:pt x="367" y="44"/>
                    </a:moveTo>
                    <a:lnTo>
                      <a:pt x="367" y="46"/>
                    </a:lnTo>
                    <a:lnTo>
                      <a:pt x="367" y="44"/>
                    </a:lnTo>
                    <a:close/>
                    <a:moveTo>
                      <a:pt x="365" y="44"/>
                    </a:moveTo>
                    <a:lnTo>
                      <a:pt x="365" y="46"/>
                    </a:lnTo>
                    <a:lnTo>
                      <a:pt x="365" y="44"/>
                    </a:lnTo>
                    <a:close/>
                    <a:moveTo>
                      <a:pt x="369" y="46"/>
                    </a:moveTo>
                    <a:lnTo>
                      <a:pt x="369" y="44"/>
                    </a:lnTo>
                    <a:lnTo>
                      <a:pt x="369" y="46"/>
                    </a:lnTo>
                    <a:close/>
                    <a:moveTo>
                      <a:pt x="261" y="19"/>
                    </a:moveTo>
                    <a:lnTo>
                      <a:pt x="261" y="17"/>
                    </a:lnTo>
                    <a:lnTo>
                      <a:pt x="261" y="19"/>
                    </a:lnTo>
                    <a:close/>
                    <a:moveTo>
                      <a:pt x="367" y="40"/>
                    </a:moveTo>
                    <a:lnTo>
                      <a:pt x="365" y="40"/>
                    </a:lnTo>
                    <a:lnTo>
                      <a:pt x="365" y="42"/>
                    </a:lnTo>
                    <a:lnTo>
                      <a:pt x="365" y="40"/>
                    </a:lnTo>
                    <a:lnTo>
                      <a:pt x="367" y="40"/>
                    </a:lnTo>
                    <a:lnTo>
                      <a:pt x="367" y="42"/>
                    </a:lnTo>
                    <a:lnTo>
                      <a:pt x="365" y="42"/>
                    </a:lnTo>
                    <a:lnTo>
                      <a:pt x="365" y="40"/>
                    </a:lnTo>
                    <a:lnTo>
                      <a:pt x="367" y="40"/>
                    </a:lnTo>
                    <a:close/>
                    <a:moveTo>
                      <a:pt x="365" y="40"/>
                    </a:moveTo>
                    <a:lnTo>
                      <a:pt x="367" y="40"/>
                    </a:lnTo>
                    <a:lnTo>
                      <a:pt x="365" y="40"/>
                    </a:lnTo>
                    <a:close/>
                    <a:moveTo>
                      <a:pt x="303" y="19"/>
                    </a:moveTo>
                    <a:lnTo>
                      <a:pt x="303" y="21"/>
                    </a:lnTo>
                    <a:lnTo>
                      <a:pt x="301" y="21"/>
                    </a:lnTo>
                    <a:lnTo>
                      <a:pt x="301" y="19"/>
                    </a:lnTo>
                    <a:lnTo>
                      <a:pt x="303" y="19"/>
                    </a:lnTo>
                    <a:close/>
                    <a:moveTo>
                      <a:pt x="301" y="17"/>
                    </a:moveTo>
                    <a:lnTo>
                      <a:pt x="300" y="17"/>
                    </a:lnTo>
                    <a:lnTo>
                      <a:pt x="301" y="17"/>
                    </a:lnTo>
                    <a:close/>
                    <a:moveTo>
                      <a:pt x="303" y="15"/>
                    </a:moveTo>
                    <a:lnTo>
                      <a:pt x="303" y="17"/>
                    </a:lnTo>
                    <a:lnTo>
                      <a:pt x="303" y="15"/>
                    </a:lnTo>
                    <a:lnTo>
                      <a:pt x="301" y="15"/>
                    </a:lnTo>
                    <a:lnTo>
                      <a:pt x="303" y="15"/>
                    </a:lnTo>
                    <a:close/>
                    <a:moveTo>
                      <a:pt x="396" y="32"/>
                    </a:moveTo>
                    <a:lnTo>
                      <a:pt x="396" y="34"/>
                    </a:lnTo>
                    <a:lnTo>
                      <a:pt x="396" y="36"/>
                    </a:lnTo>
                    <a:lnTo>
                      <a:pt x="396" y="34"/>
                    </a:lnTo>
                    <a:lnTo>
                      <a:pt x="396" y="32"/>
                    </a:lnTo>
                    <a:close/>
                    <a:moveTo>
                      <a:pt x="407" y="36"/>
                    </a:moveTo>
                    <a:lnTo>
                      <a:pt x="409" y="36"/>
                    </a:lnTo>
                    <a:lnTo>
                      <a:pt x="407" y="36"/>
                    </a:lnTo>
                    <a:lnTo>
                      <a:pt x="409" y="36"/>
                    </a:lnTo>
                    <a:lnTo>
                      <a:pt x="409" y="38"/>
                    </a:lnTo>
                    <a:lnTo>
                      <a:pt x="411" y="38"/>
                    </a:lnTo>
                    <a:lnTo>
                      <a:pt x="411" y="40"/>
                    </a:lnTo>
                    <a:lnTo>
                      <a:pt x="409" y="40"/>
                    </a:lnTo>
                    <a:lnTo>
                      <a:pt x="407" y="40"/>
                    </a:lnTo>
                    <a:lnTo>
                      <a:pt x="405" y="38"/>
                    </a:lnTo>
                    <a:lnTo>
                      <a:pt x="403" y="38"/>
                    </a:lnTo>
                    <a:lnTo>
                      <a:pt x="401" y="38"/>
                    </a:lnTo>
                    <a:lnTo>
                      <a:pt x="399" y="36"/>
                    </a:lnTo>
                    <a:lnTo>
                      <a:pt x="399" y="34"/>
                    </a:lnTo>
                    <a:lnTo>
                      <a:pt x="401" y="34"/>
                    </a:lnTo>
                    <a:lnTo>
                      <a:pt x="403" y="34"/>
                    </a:lnTo>
                    <a:lnTo>
                      <a:pt x="405" y="34"/>
                    </a:lnTo>
                    <a:lnTo>
                      <a:pt x="405" y="36"/>
                    </a:lnTo>
                    <a:lnTo>
                      <a:pt x="407" y="36"/>
                    </a:lnTo>
                    <a:close/>
                    <a:moveTo>
                      <a:pt x="298" y="0"/>
                    </a:moveTo>
                    <a:lnTo>
                      <a:pt x="298" y="2"/>
                    </a:lnTo>
                    <a:lnTo>
                      <a:pt x="300" y="2"/>
                    </a:lnTo>
                    <a:lnTo>
                      <a:pt x="298" y="2"/>
                    </a:lnTo>
                    <a:lnTo>
                      <a:pt x="298" y="0"/>
                    </a:lnTo>
                    <a:close/>
                    <a:moveTo>
                      <a:pt x="403" y="17"/>
                    </a:moveTo>
                    <a:lnTo>
                      <a:pt x="405" y="19"/>
                    </a:lnTo>
                    <a:lnTo>
                      <a:pt x="407" y="19"/>
                    </a:lnTo>
                    <a:lnTo>
                      <a:pt x="411" y="21"/>
                    </a:lnTo>
                    <a:lnTo>
                      <a:pt x="413" y="23"/>
                    </a:lnTo>
                    <a:lnTo>
                      <a:pt x="415" y="25"/>
                    </a:lnTo>
                    <a:lnTo>
                      <a:pt x="415" y="27"/>
                    </a:lnTo>
                    <a:lnTo>
                      <a:pt x="415" y="25"/>
                    </a:lnTo>
                    <a:lnTo>
                      <a:pt x="413" y="25"/>
                    </a:lnTo>
                    <a:lnTo>
                      <a:pt x="413" y="23"/>
                    </a:lnTo>
                    <a:lnTo>
                      <a:pt x="411" y="23"/>
                    </a:lnTo>
                    <a:lnTo>
                      <a:pt x="413" y="23"/>
                    </a:lnTo>
                    <a:lnTo>
                      <a:pt x="411" y="23"/>
                    </a:lnTo>
                    <a:lnTo>
                      <a:pt x="411" y="21"/>
                    </a:lnTo>
                    <a:lnTo>
                      <a:pt x="409" y="21"/>
                    </a:lnTo>
                    <a:lnTo>
                      <a:pt x="407" y="21"/>
                    </a:lnTo>
                    <a:lnTo>
                      <a:pt x="407" y="19"/>
                    </a:lnTo>
                    <a:lnTo>
                      <a:pt x="405" y="19"/>
                    </a:lnTo>
                    <a:lnTo>
                      <a:pt x="403" y="19"/>
                    </a:lnTo>
                    <a:lnTo>
                      <a:pt x="401" y="19"/>
                    </a:lnTo>
                    <a:lnTo>
                      <a:pt x="401" y="17"/>
                    </a:lnTo>
                    <a:lnTo>
                      <a:pt x="403" y="17"/>
                    </a:lnTo>
                    <a:close/>
                    <a:moveTo>
                      <a:pt x="401" y="17"/>
                    </a:moveTo>
                    <a:lnTo>
                      <a:pt x="399" y="17"/>
                    </a:lnTo>
                    <a:lnTo>
                      <a:pt x="398" y="17"/>
                    </a:lnTo>
                    <a:lnTo>
                      <a:pt x="396" y="19"/>
                    </a:lnTo>
                    <a:lnTo>
                      <a:pt x="398" y="19"/>
                    </a:lnTo>
                    <a:lnTo>
                      <a:pt x="398" y="21"/>
                    </a:lnTo>
                    <a:lnTo>
                      <a:pt x="396" y="21"/>
                    </a:lnTo>
                    <a:lnTo>
                      <a:pt x="394" y="21"/>
                    </a:lnTo>
                    <a:lnTo>
                      <a:pt x="390" y="19"/>
                    </a:lnTo>
                    <a:lnTo>
                      <a:pt x="390" y="17"/>
                    </a:lnTo>
                    <a:lnTo>
                      <a:pt x="388" y="19"/>
                    </a:lnTo>
                    <a:lnTo>
                      <a:pt x="386" y="19"/>
                    </a:lnTo>
                    <a:lnTo>
                      <a:pt x="386" y="21"/>
                    </a:lnTo>
                    <a:lnTo>
                      <a:pt x="384" y="21"/>
                    </a:lnTo>
                    <a:lnTo>
                      <a:pt x="386" y="19"/>
                    </a:lnTo>
                    <a:lnTo>
                      <a:pt x="386" y="17"/>
                    </a:lnTo>
                    <a:lnTo>
                      <a:pt x="388" y="17"/>
                    </a:lnTo>
                    <a:lnTo>
                      <a:pt x="390" y="17"/>
                    </a:lnTo>
                    <a:lnTo>
                      <a:pt x="390" y="15"/>
                    </a:lnTo>
                    <a:lnTo>
                      <a:pt x="392" y="15"/>
                    </a:lnTo>
                    <a:lnTo>
                      <a:pt x="396" y="15"/>
                    </a:lnTo>
                    <a:lnTo>
                      <a:pt x="398" y="15"/>
                    </a:lnTo>
                    <a:lnTo>
                      <a:pt x="399" y="17"/>
                    </a:lnTo>
                    <a:lnTo>
                      <a:pt x="401" y="1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6" name="Freeform 146"/>
              <p:cNvSpPr>
                <a:spLocks noEditPoints="1"/>
              </p:cNvSpPr>
              <p:nvPr/>
            </p:nvSpPr>
            <p:spPr bwMode="auto">
              <a:xfrm>
                <a:off x="2575059" y="1380586"/>
                <a:ext cx="832783" cy="929138"/>
              </a:xfrm>
              <a:custGeom>
                <a:avLst/>
                <a:gdLst>
                  <a:gd name="T0" fmla="*/ 27 w 484"/>
                  <a:gd name="T1" fmla="*/ 471 h 540"/>
                  <a:gd name="T2" fmla="*/ 21 w 484"/>
                  <a:gd name="T3" fmla="*/ 467 h 540"/>
                  <a:gd name="T4" fmla="*/ 21 w 484"/>
                  <a:gd name="T5" fmla="*/ 465 h 540"/>
                  <a:gd name="T6" fmla="*/ 25 w 484"/>
                  <a:gd name="T7" fmla="*/ 463 h 540"/>
                  <a:gd name="T8" fmla="*/ 25 w 484"/>
                  <a:gd name="T9" fmla="*/ 459 h 540"/>
                  <a:gd name="T10" fmla="*/ 21 w 484"/>
                  <a:gd name="T11" fmla="*/ 456 h 540"/>
                  <a:gd name="T12" fmla="*/ 353 w 484"/>
                  <a:gd name="T13" fmla="*/ 532 h 540"/>
                  <a:gd name="T14" fmla="*/ 21 w 484"/>
                  <a:gd name="T15" fmla="*/ 448 h 540"/>
                  <a:gd name="T16" fmla="*/ 25 w 484"/>
                  <a:gd name="T17" fmla="*/ 448 h 540"/>
                  <a:gd name="T18" fmla="*/ 2 w 484"/>
                  <a:gd name="T19" fmla="*/ 440 h 540"/>
                  <a:gd name="T20" fmla="*/ 11 w 484"/>
                  <a:gd name="T21" fmla="*/ 440 h 540"/>
                  <a:gd name="T22" fmla="*/ 13 w 484"/>
                  <a:gd name="T23" fmla="*/ 440 h 540"/>
                  <a:gd name="T24" fmla="*/ 11 w 484"/>
                  <a:gd name="T25" fmla="*/ 438 h 540"/>
                  <a:gd name="T26" fmla="*/ 29 w 484"/>
                  <a:gd name="T27" fmla="*/ 442 h 540"/>
                  <a:gd name="T28" fmla="*/ 25 w 484"/>
                  <a:gd name="T29" fmla="*/ 436 h 540"/>
                  <a:gd name="T30" fmla="*/ 357 w 484"/>
                  <a:gd name="T31" fmla="*/ 515 h 540"/>
                  <a:gd name="T32" fmla="*/ 15 w 484"/>
                  <a:gd name="T33" fmla="*/ 427 h 540"/>
                  <a:gd name="T34" fmla="*/ 15 w 484"/>
                  <a:gd name="T35" fmla="*/ 423 h 540"/>
                  <a:gd name="T36" fmla="*/ 31 w 484"/>
                  <a:gd name="T37" fmla="*/ 421 h 540"/>
                  <a:gd name="T38" fmla="*/ 25 w 484"/>
                  <a:gd name="T39" fmla="*/ 415 h 540"/>
                  <a:gd name="T40" fmla="*/ 34 w 484"/>
                  <a:gd name="T41" fmla="*/ 409 h 540"/>
                  <a:gd name="T42" fmla="*/ 33 w 484"/>
                  <a:gd name="T43" fmla="*/ 400 h 540"/>
                  <a:gd name="T44" fmla="*/ 223 w 484"/>
                  <a:gd name="T45" fmla="*/ 450 h 540"/>
                  <a:gd name="T46" fmla="*/ 56 w 484"/>
                  <a:gd name="T47" fmla="*/ 400 h 540"/>
                  <a:gd name="T48" fmla="*/ 48 w 484"/>
                  <a:gd name="T49" fmla="*/ 398 h 540"/>
                  <a:gd name="T50" fmla="*/ 42 w 484"/>
                  <a:gd name="T51" fmla="*/ 394 h 540"/>
                  <a:gd name="T52" fmla="*/ 40 w 484"/>
                  <a:gd name="T53" fmla="*/ 392 h 540"/>
                  <a:gd name="T54" fmla="*/ 50 w 484"/>
                  <a:gd name="T55" fmla="*/ 392 h 540"/>
                  <a:gd name="T56" fmla="*/ 57 w 484"/>
                  <a:gd name="T57" fmla="*/ 388 h 540"/>
                  <a:gd name="T58" fmla="*/ 56 w 484"/>
                  <a:gd name="T59" fmla="*/ 386 h 540"/>
                  <a:gd name="T60" fmla="*/ 57 w 484"/>
                  <a:gd name="T61" fmla="*/ 383 h 540"/>
                  <a:gd name="T62" fmla="*/ 79 w 484"/>
                  <a:gd name="T63" fmla="*/ 384 h 540"/>
                  <a:gd name="T64" fmla="*/ 227 w 484"/>
                  <a:gd name="T65" fmla="*/ 411 h 540"/>
                  <a:gd name="T66" fmla="*/ 227 w 484"/>
                  <a:gd name="T67" fmla="*/ 409 h 540"/>
                  <a:gd name="T68" fmla="*/ 373 w 484"/>
                  <a:gd name="T69" fmla="*/ 438 h 540"/>
                  <a:gd name="T70" fmla="*/ 180 w 484"/>
                  <a:gd name="T71" fmla="*/ 394 h 540"/>
                  <a:gd name="T72" fmla="*/ 230 w 484"/>
                  <a:gd name="T73" fmla="*/ 406 h 540"/>
                  <a:gd name="T74" fmla="*/ 203 w 484"/>
                  <a:gd name="T75" fmla="*/ 400 h 540"/>
                  <a:gd name="T76" fmla="*/ 194 w 484"/>
                  <a:gd name="T77" fmla="*/ 396 h 540"/>
                  <a:gd name="T78" fmla="*/ 165 w 484"/>
                  <a:gd name="T79" fmla="*/ 383 h 540"/>
                  <a:gd name="T80" fmla="*/ 180 w 484"/>
                  <a:gd name="T81" fmla="*/ 384 h 540"/>
                  <a:gd name="T82" fmla="*/ 203 w 484"/>
                  <a:gd name="T83" fmla="*/ 388 h 540"/>
                  <a:gd name="T84" fmla="*/ 238 w 484"/>
                  <a:gd name="T85" fmla="*/ 396 h 540"/>
                  <a:gd name="T86" fmla="*/ 179 w 484"/>
                  <a:gd name="T87" fmla="*/ 379 h 540"/>
                  <a:gd name="T88" fmla="*/ 129 w 484"/>
                  <a:gd name="T89" fmla="*/ 363 h 540"/>
                  <a:gd name="T90" fmla="*/ 211 w 484"/>
                  <a:gd name="T91" fmla="*/ 383 h 540"/>
                  <a:gd name="T92" fmla="*/ 179 w 484"/>
                  <a:gd name="T93" fmla="*/ 373 h 540"/>
                  <a:gd name="T94" fmla="*/ 148 w 484"/>
                  <a:gd name="T95" fmla="*/ 361 h 540"/>
                  <a:gd name="T96" fmla="*/ 215 w 484"/>
                  <a:gd name="T97" fmla="*/ 375 h 540"/>
                  <a:gd name="T98" fmla="*/ 217 w 484"/>
                  <a:gd name="T99" fmla="*/ 371 h 540"/>
                  <a:gd name="T100" fmla="*/ 432 w 484"/>
                  <a:gd name="T101" fmla="*/ 404 h 540"/>
                  <a:gd name="T102" fmla="*/ 426 w 484"/>
                  <a:gd name="T103" fmla="*/ 398 h 540"/>
                  <a:gd name="T104" fmla="*/ 415 w 484"/>
                  <a:gd name="T105" fmla="*/ 386 h 540"/>
                  <a:gd name="T106" fmla="*/ 378 w 484"/>
                  <a:gd name="T107" fmla="*/ 356 h 540"/>
                  <a:gd name="T108" fmla="*/ 186 w 484"/>
                  <a:gd name="T109" fmla="*/ 242 h 540"/>
                  <a:gd name="T110" fmla="*/ 367 w 484"/>
                  <a:gd name="T111" fmla="*/ 265 h 540"/>
                  <a:gd name="T112" fmla="*/ 154 w 484"/>
                  <a:gd name="T113" fmla="*/ 196 h 540"/>
                  <a:gd name="T114" fmla="*/ 157 w 484"/>
                  <a:gd name="T115" fmla="*/ 115 h 540"/>
                  <a:gd name="T116" fmla="*/ 426 w 484"/>
                  <a:gd name="T117" fmla="*/ 154 h 540"/>
                  <a:gd name="T118" fmla="*/ 407 w 484"/>
                  <a:gd name="T119" fmla="*/ 94 h 540"/>
                  <a:gd name="T120" fmla="*/ 367 w 484"/>
                  <a:gd name="T121" fmla="*/ 46 h 540"/>
                  <a:gd name="T122" fmla="*/ 296 w 484"/>
                  <a:gd name="T123" fmla="*/ 6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4" h="540">
                    <a:moveTo>
                      <a:pt x="228" y="531"/>
                    </a:moveTo>
                    <a:lnTo>
                      <a:pt x="228" y="532"/>
                    </a:lnTo>
                    <a:lnTo>
                      <a:pt x="228" y="531"/>
                    </a:lnTo>
                    <a:close/>
                    <a:moveTo>
                      <a:pt x="230" y="531"/>
                    </a:moveTo>
                    <a:lnTo>
                      <a:pt x="228" y="531"/>
                    </a:lnTo>
                    <a:lnTo>
                      <a:pt x="230" y="531"/>
                    </a:lnTo>
                    <a:close/>
                    <a:moveTo>
                      <a:pt x="15" y="471"/>
                    </a:moveTo>
                    <a:lnTo>
                      <a:pt x="15" y="473"/>
                    </a:lnTo>
                    <a:lnTo>
                      <a:pt x="15" y="471"/>
                    </a:lnTo>
                    <a:close/>
                    <a:moveTo>
                      <a:pt x="15" y="471"/>
                    </a:moveTo>
                    <a:lnTo>
                      <a:pt x="15" y="469"/>
                    </a:lnTo>
                    <a:lnTo>
                      <a:pt x="15" y="471"/>
                    </a:lnTo>
                    <a:close/>
                    <a:moveTo>
                      <a:pt x="15" y="469"/>
                    </a:moveTo>
                    <a:lnTo>
                      <a:pt x="13" y="469"/>
                    </a:lnTo>
                    <a:lnTo>
                      <a:pt x="15" y="469"/>
                    </a:lnTo>
                    <a:close/>
                    <a:moveTo>
                      <a:pt x="17" y="471"/>
                    </a:moveTo>
                    <a:lnTo>
                      <a:pt x="17" y="469"/>
                    </a:lnTo>
                    <a:lnTo>
                      <a:pt x="17" y="471"/>
                    </a:lnTo>
                    <a:close/>
                    <a:moveTo>
                      <a:pt x="23" y="471"/>
                    </a:moveTo>
                    <a:lnTo>
                      <a:pt x="23" y="469"/>
                    </a:lnTo>
                    <a:lnTo>
                      <a:pt x="23" y="471"/>
                    </a:lnTo>
                    <a:close/>
                    <a:moveTo>
                      <a:pt x="25" y="469"/>
                    </a:moveTo>
                    <a:lnTo>
                      <a:pt x="25" y="471"/>
                    </a:lnTo>
                    <a:lnTo>
                      <a:pt x="25" y="469"/>
                    </a:lnTo>
                    <a:close/>
                    <a:moveTo>
                      <a:pt x="27" y="471"/>
                    </a:moveTo>
                    <a:lnTo>
                      <a:pt x="27" y="469"/>
                    </a:lnTo>
                    <a:lnTo>
                      <a:pt x="27" y="471"/>
                    </a:lnTo>
                    <a:close/>
                    <a:moveTo>
                      <a:pt x="27" y="469"/>
                    </a:moveTo>
                    <a:lnTo>
                      <a:pt x="27" y="471"/>
                    </a:lnTo>
                    <a:lnTo>
                      <a:pt x="27" y="469"/>
                    </a:lnTo>
                    <a:close/>
                    <a:moveTo>
                      <a:pt x="34" y="473"/>
                    </a:moveTo>
                    <a:lnTo>
                      <a:pt x="34" y="471"/>
                    </a:lnTo>
                    <a:lnTo>
                      <a:pt x="34" y="473"/>
                    </a:lnTo>
                    <a:close/>
                    <a:moveTo>
                      <a:pt x="232" y="525"/>
                    </a:moveTo>
                    <a:lnTo>
                      <a:pt x="232" y="523"/>
                    </a:lnTo>
                    <a:lnTo>
                      <a:pt x="232" y="525"/>
                    </a:lnTo>
                    <a:close/>
                    <a:moveTo>
                      <a:pt x="27" y="469"/>
                    </a:moveTo>
                    <a:lnTo>
                      <a:pt x="25" y="469"/>
                    </a:lnTo>
                    <a:lnTo>
                      <a:pt x="27" y="469"/>
                    </a:lnTo>
                    <a:close/>
                    <a:moveTo>
                      <a:pt x="25" y="469"/>
                    </a:moveTo>
                    <a:lnTo>
                      <a:pt x="25" y="467"/>
                    </a:lnTo>
                    <a:lnTo>
                      <a:pt x="25" y="469"/>
                    </a:lnTo>
                    <a:close/>
                    <a:moveTo>
                      <a:pt x="33" y="471"/>
                    </a:moveTo>
                    <a:lnTo>
                      <a:pt x="31" y="471"/>
                    </a:lnTo>
                    <a:lnTo>
                      <a:pt x="33" y="471"/>
                    </a:lnTo>
                    <a:close/>
                    <a:moveTo>
                      <a:pt x="19" y="465"/>
                    </a:moveTo>
                    <a:lnTo>
                      <a:pt x="19" y="467"/>
                    </a:lnTo>
                    <a:lnTo>
                      <a:pt x="19" y="465"/>
                    </a:lnTo>
                    <a:close/>
                    <a:moveTo>
                      <a:pt x="23" y="467"/>
                    </a:moveTo>
                    <a:lnTo>
                      <a:pt x="21" y="467"/>
                    </a:lnTo>
                    <a:lnTo>
                      <a:pt x="23" y="467"/>
                    </a:lnTo>
                    <a:close/>
                    <a:moveTo>
                      <a:pt x="17" y="465"/>
                    </a:moveTo>
                    <a:lnTo>
                      <a:pt x="17" y="463"/>
                    </a:lnTo>
                    <a:lnTo>
                      <a:pt x="17" y="465"/>
                    </a:lnTo>
                    <a:close/>
                    <a:moveTo>
                      <a:pt x="36" y="469"/>
                    </a:moveTo>
                    <a:lnTo>
                      <a:pt x="36" y="471"/>
                    </a:lnTo>
                    <a:lnTo>
                      <a:pt x="36" y="469"/>
                    </a:lnTo>
                    <a:close/>
                    <a:moveTo>
                      <a:pt x="234" y="523"/>
                    </a:moveTo>
                    <a:lnTo>
                      <a:pt x="232" y="523"/>
                    </a:lnTo>
                    <a:lnTo>
                      <a:pt x="234" y="523"/>
                    </a:lnTo>
                    <a:close/>
                    <a:moveTo>
                      <a:pt x="36" y="471"/>
                    </a:moveTo>
                    <a:lnTo>
                      <a:pt x="36" y="469"/>
                    </a:lnTo>
                    <a:lnTo>
                      <a:pt x="36" y="471"/>
                    </a:lnTo>
                    <a:close/>
                    <a:moveTo>
                      <a:pt x="234" y="523"/>
                    </a:moveTo>
                    <a:lnTo>
                      <a:pt x="234" y="521"/>
                    </a:lnTo>
                    <a:lnTo>
                      <a:pt x="234" y="523"/>
                    </a:lnTo>
                    <a:close/>
                    <a:moveTo>
                      <a:pt x="31" y="469"/>
                    </a:moveTo>
                    <a:lnTo>
                      <a:pt x="31" y="467"/>
                    </a:lnTo>
                    <a:lnTo>
                      <a:pt x="31" y="469"/>
                    </a:lnTo>
                    <a:close/>
                    <a:moveTo>
                      <a:pt x="25" y="465"/>
                    </a:moveTo>
                    <a:lnTo>
                      <a:pt x="23" y="465"/>
                    </a:lnTo>
                    <a:lnTo>
                      <a:pt x="25" y="465"/>
                    </a:lnTo>
                    <a:close/>
                    <a:moveTo>
                      <a:pt x="21" y="465"/>
                    </a:moveTo>
                    <a:lnTo>
                      <a:pt x="21" y="463"/>
                    </a:lnTo>
                    <a:lnTo>
                      <a:pt x="21" y="465"/>
                    </a:lnTo>
                    <a:close/>
                    <a:moveTo>
                      <a:pt x="33" y="467"/>
                    </a:moveTo>
                    <a:lnTo>
                      <a:pt x="31" y="467"/>
                    </a:lnTo>
                    <a:lnTo>
                      <a:pt x="33" y="467"/>
                    </a:lnTo>
                    <a:close/>
                    <a:moveTo>
                      <a:pt x="29" y="467"/>
                    </a:moveTo>
                    <a:lnTo>
                      <a:pt x="27" y="465"/>
                    </a:lnTo>
                    <a:lnTo>
                      <a:pt x="29" y="465"/>
                    </a:lnTo>
                    <a:lnTo>
                      <a:pt x="29" y="467"/>
                    </a:lnTo>
                    <a:close/>
                    <a:moveTo>
                      <a:pt x="31" y="467"/>
                    </a:moveTo>
                    <a:lnTo>
                      <a:pt x="31" y="465"/>
                    </a:lnTo>
                    <a:lnTo>
                      <a:pt x="31" y="467"/>
                    </a:lnTo>
                    <a:close/>
                    <a:moveTo>
                      <a:pt x="31" y="465"/>
                    </a:moveTo>
                    <a:lnTo>
                      <a:pt x="29" y="465"/>
                    </a:lnTo>
                    <a:lnTo>
                      <a:pt x="31" y="465"/>
                    </a:lnTo>
                    <a:close/>
                    <a:moveTo>
                      <a:pt x="27" y="465"/>
                    </a:moveTo>
                    <a:lnTo>
                      <a:pt x="27" y="463"/>
                    </a:lnTo>
                    <a:lnTo>
                      <a:pt x="27" y="465"/>
                    </a:lnTo>
                    <a:close/>
                    <a:moveTo>
                      <a:pt x="236" y="519"/>
                    </a:moveTo>
                    <a:lnTo>
                      <a:pt x="234" y="519"/>
                    </a:lnTo>
                    <a:lnTo>
                      <a:pt x="236" y="519"/>
                    </a:lnTo>
                    <a:close/>
                    <a:moveTo>
                      <a:pt x="17" y="459"/>
                    </a:moveTo>
                    <a:lnTo>
                      <a:pt x="15" y="459"/>
                    </a:lnTo>
                    <a:lnTo>
                      <a:pt x="17" y="459"/>
                    </a:lnTo>
                    <a:close/>
                    <a:moveTo>
                      <a:pt x="25" y="463"/>
                    </a:moveTo>
                    <a:lnTo>
                      <a:pt x="27" y="463"/>
                    </a:lnTo>
                    <a:lnTo>
                      <a:pt x="25" y="463"/>
                    </a:lnTo>
                    <a:close/>
                    <a:moveTo>
                      <a:pt x="25" y="463"/>
                    </a:moveTo>
                    <a:lnTo>
                      <a:pt x="27" y="463"/>
                    </a:lnTo>
                    <a:lnTo>
                      <a:pt x="25" y="463"/>
                    </a:lnTo>
                    <a:close/>
                    <a:moveTo>
                      <a:pt x="25" y="461"/>
                    </a:moveTo>
                    <a:lnTo>
                      <a:pt x="25" y="463"/>
                    </a:lnTo>
                    <a:lnTo>
                      <a:pt x="25" y="461"/>
                    </a:lnTo>
                    <a:close/>
                    <a:moveTo>
                      <a:pt x="236" y="519"/>
                    </a:moveTo>
                    <a:lnTo>
                      <a:pt x="236" y="517"/>
                    </a:lnTo>
                    <a:lnTo>
                      <a:pt x="236" y="519"/>
                    </a:lnTo>
                    <a:close/>
                    <a:moveTo>
                      <a:pt x="17" y="459"/>
                    </a:moveTo>
                    <a:lnTo>
                      <a:pt x="17" y="457"/>
                    </a:lnTo>
                    <a:lnTo>
                      <a:pt x="17" y="459"/>
                    </a:lnTo>
                    <a:close/>
                    <a:moveTo>
                      <a:pt x="27" y="461"/>
                    </a:moveTo>
                    <a:lnTo>
                      <a:pt x="25" y="461"/>
                    </a:lnTo>
                    <a:lnTo>
                      <a:pt x="27" y="461"/>
                    </a:lnTo>
                    <a:close/>
                    <a:moveTo>
                      <a:pt x="27" y="461"/>
                    </a:moveTo>
                    <a:lnTo>
                      <a:pt x="27" y="459"/>
                    </a:lnTo>
                    <a:lnTo>
                      <a:pt x="27" y="461"/>
                    </a:lnTo>
                    <a:close/>
                    <a:moveTo>
                      <a:pt x="353" y="540"/>
                    </a:moveTo>
                    <a:lnTo>
                      <a:pt x="353" y="538"/>
                    </a:lnTo>
                    <a:lnTo>
                      <a:pt x="353" y="540"/>
                    </a:lnTo>
                    <a:close/>
                    <a:moveTo>
                      <a:pt x="21" y="459"/>
                    </a:moveTo>
                    <a:lnTo>
                      <a:pt x="21" y="457"/>
                    </a:lnTo>
                    <a:lnTo>
                      <a:pt x="21" y="459"/>
                    </a:lnTo>
                    <a:close/>
                    <a:moveTo>
                      <a:pt x="25" y="459"/>
                    </a:moveTo>
                    <a:lnTo>
                      <a:pt x="23" y="459"/>
                    </a:lnTo>
                    <a:lnTo>
                      <a:pt x="25" y="459"/>
                    </a:lnTo>
                    <a:close/>
                    <a:moveTo>
                      <a:pt x="17" y="456"/>
                    </a:moveTo>
                    <a:lnTo>
                      <a:pt x="17" y="457"/>
                    </a:lnTo>
                    <a:lnTo>
                      <a:pt x="17" y="456"/>
                    </a:lnTo>
                    <a:close/>
                    <a:moveTo>
                      <a:pt x="44" y="465"/>
                    </a:moveTo>
                    <a:lnTo>
                      <a:pt x="42" y="465"/>
                    </a:lnTo>
                    <a:lnTo>
                      <a:pt x="42" y="463"/>
                    </a:lnTo>
                    <a:lnTo>
                      <a:pt x="44" y="463"/>
                    </a:lnTo>
                    <a:lnTo>
                      <a:pt x="44" y="465"/>
                    </a:lnTo>
                    <a:close/>
                    <a:moveTo>
                      <a:pt x="27" y="457"/>
                    </a:moveTo>
                    <a:lnTo>
                      <a:pt x="25" y="459"/>
                    </a:lnTo>
                    <a:lnTo>
                      <a:pt x="25" y="457"/>
                    </a:lnTo>
                    <a:lnTo>
                      <a:pt x="27" y="457"/>
                    </a:lnTo>
                    <a:close/>
                    <a:moveTo>
                      <a:pt x="44" y="463"/>
                    </a:moveTo>
                    <a:lnTo>
                      <a:pt x="44" y="465"/>
                    </a:lnTo>
                    <a:lnTo>
                      <a:pt x="44" y="463"/>
                    </a:lnTo>
                    <a:close/>
                    <a:moveTo>
                      <a:pt x="46" y="463"/>
                    </a:moveTo>
                    <a:lnTo>
                      <a:pt x="46" y="465"/>
                    </a:lnTo>
                    <a:lnTo>
                      <a:pt x="46" y="463"/>
                    </a:lnTo>
                    <a:close/>
                    <a:moveTo>
                      <a:pt x="25" y="457"/>
                    </a:moveTo>
                    <a:lnTo>
                      <a:pt x="27" y="457"/>
                    </a:lnTo>
                    <a:lnTo>
                      <a:pt x="25" y="457"/>
                    </a:lnTo>
                    <a:close/>
                    <a:moveTo>
                      <a:pt x="23" y="456"/>
                    </a:moveTo>
                    <a:lnTo>
                      <a:pt x="21" y="456"/>
                    </a:lnTo>
                    <a:lnTo>
                      <a:pt x="23" y="456"/>
                    </a:lnTo>
                    <a:close/>
                    <a:moveTo>
                      <a:pt x="19" y="456"/>
                    </a:moveTo>
                    <a:lnTo>
                      <a:pt x="17" y="456"/>
                    </a:lnTo>
                    <a:lnTo>
                      <a:pt x="19" y="454"/>
                    </a:lnTo>
                    <a:lnTo>
                      <a:pt x="19" y="456"/>
                    </a:lnTo>
                    <a:close/>
                    <a:moveTo>
                      <a:pt x="21" y="454"/>
                    </a:moveTo>
                    <a:lnTo>
                      <a:pt x="21" y="456"/>
                    </a:lnTo>
                    <a:lnTo>
                      <a:pt x="21" y="454"/>
                    </a:lnTo>
                    <a:close/>
                    <a:moveTo>
                      <a:pt x="23" y="454"/>
                    </a:moveTo>
                    <a:lnTo>
                      <a:pt x="21" y="454"/>
                    </a:lnTo>
                    <a:lnTo>
                      <a:pt x="23" y="454"/>
                    </a:lnTo>
                    <a:close/>
                    <a:moveTo>
                      <a:pt x="242" y="511"/>
                    </a:moveTo>
                    <a:lnTo>
                      <a:pt x="242" y="513"/>
                    </a:lnTo>
                    <a:lnTo>
                      <a:pt x="242" y="511"/>
                    </a:lnTo>
                    <a:close/>
                    <a:moveTo>
                      <a:pt x="242" y="511"/>
                    </a:moveTo>
                    <a:lnTo>
                      <a:pt x="242" y="513"/>
                    </a:lnTo>
                    <a:lnTo>
                      <a:pt x="242" y="511"/>
                    </a:lnTo>
                    <a:close/>
                    <a:moveTo>
                      <a:pt x="242" y="513"/>
                    </a:moveTo>
                    <a:lnTo>
                      <a:pt x="242" y="511"/>
                    </a:lnTo>
                    <a:lnTo>
                      <a:pt x="242" y="513"/>
                    </a:lnTo>
                    <a:close/>
                    <a:moveTo>
                      <a:pt x="19" y="454"/>
                    </a:moveTo>
                    <a:lnTo>
                      <a:pt x="19" y="452"/>
                    </a:lnTo>
                    <a:lnTo>
                      <a:pt x="19" y="454"/>
                    </a:lnTo>
                    <a:close/>
                    <a:moveTo>
                      <a:pt x="353" y="534"/>
                    </a:moveTo>
                    <a:lnTo>
                      <a:pt x="353" y="532"/>
                    </a:lnTo>
                    <a:lnTo>
                      <a:pt x="353" y="534"/>
                    </a:lnTo>
                    <a:close/>
                    <a:moveTo>
                      <a:pt x="27" y="454"/>
                    </a:moveTo>
                    <a:lnTo>
                      <a:pt x="25" y="454"/>
                    </a:lnTo>
                    <a:lnTo>
                      <a:pt x="27" y="454"/>
                    </a:lnTo>
                    <a:close/>
                    <a:moveTo>
                      <a:pt x="17" y="450"/>
                    </a:moveTo>
                    <a:lnTo>
                      <a:pt x="17" y="452"/>
                    </a:lnTo>
                    <a:lnTo>
                      <a:pt x="17" y="450"/>
                    </a:lnTo>
                    <a:close/>
                    <a:moveTo>
                      <a:pt x="244" y="509"/>
                    </a:moveTo>
                    <a:lnTo>
                      <a:pt x="244" y="511"/>
                    </a:lnTo>
                    <a:lnTo>
                      <a:pt x="242" y="509"/>
                    </a:lnTo>
                    <a:lnTo>
                      <a:pt x="244" y="509"/>
                    </a:lnTo>
                    <a:close/>
                    <a:moveTo>
                      <a:pt x="23" y="452"/>
                    </a:moveTo>
                    <a:lnTo>
                      <a:pt x="21" y="452"/>
                    </a:lnTo>
                    <a:lnTo>
                      <a:pt x="23" y="452"/>
                    </a:lnTo>
                    <a:close/>
                    <a:moveTo>
                      <a:pt x="23" y="452"/>
                    </a:moveTo>
                    <a:lnTo>
                      <a:pt x="23" y="450"/>
                    </a:lnTo>
                    <a:lnTo>
                      <a:pt x="23" y="452"/>
                    </a:lnTo>
                    <a:close/>
                    <a:moveTo>
                      <a:pt x="29" y="454"/>
                    </a:moveTo>
                    <a:lnTo>
                      <a:pt x="29" y="452"/>
                    </a:lnTo>
                    <a:lnTo>
                      <a:pt x="29" y="454"/>
                    </a:lnTo>
                    <a:close/>
                    <a:moveTo>
                      <a:pt x="27" y="450"/>
                    </a:moveTo>
                    <a:lnTo>
                      <a:pt x="25" y="452"/>
                    </a:lnTo>
                    <a:lnTo>
                      <a:pt x="25" y="450"/>
                    </a:lnTo>
                    <a:lnTo>
                      <a:pt x="27" y="450"/>
                    </a:lnTo>
                    <a:close/>
                    <a:moveTo>
                      <a:pt x="21" y="448"/>
                    </a:moveTo>
                    <a:lnTo>
                      <a:pt x="21" y="450"/>
                    </a:lnTo>
                    <a:lnTo>
                      <a:pt x="21" y="448"/>
                    </a:lnTo>
                    <a:close/>
                    <a:moveTo>
                      <a:pt x="25" y="452"/>
                    </a:moveTo>
                    <a:lnTo>
                      <a:pt x="25" y="450"/>
                    </a:lnTo>
                    <a:lnTo>
                      <a:pt x="25" y="452"/>
                    </a:lnTo>
                    <a:close/>
                    <a:moveTo>
                      <a:pt x="21" y="448"/>
                    </a:moveTo>
                    <a:lnTo>
                      <a:pt x="21" y="450"/>
                    </a:lnTo>
                    <a:lnTo>
                      <a:pt x="19" y="448"/>
                    </a:lnTo>
                    <a:lnTo>
                      <a:pt x="21" y="448"/>
                    </a:lnTo>
                    <a:close/>
                    <a:moveTo>
                      <a:pt x="23" y="450"/>
                    </a:moveTo>
                    <a:lnTo>
                      <a:pt x="25" y="448"/>
                    </a:lnTo>
                    <a:lnTo>
                      <a:pt x="25" y="450"/>
                    </a:lnTo>
                    <a:lnTo>
                      <a:pt x="23" y="450"/>
                    </a:lnTo>
                    <a:close/>
                    <a:moveTo>
                      <a:pt x="17" y="446"/>
                    </a:moveTo>
                    <a:lnTo>
                      <a:pt x="17" y="448"/>
                    </a:lnTo>
                    <a:lnTo>
                      <a:pt x="17" y="446"/>
                    </a:lnTo>
                    <a:close/>
                    <a:moveTo>
                      <a:pt x="21" y="446"/>
                    </a:moveTo>
                    <a:lnTo>
                      <a:pt x="21" y="448"/>
                    </a:lnTo>
                    <a:lnTo>
                      <a:pt x="21" y="446"/>
                    </a:lnTo>
                    <a:close/>
                    <a:moveTo>
                      <a:pt x="23" y="448"/>
                    </a:moveTo>
                    <a:lnTo>
                      <a:pt x="25" y="448"/>
                    </a:lnTo>
                    <a:lnTo>
                      <a:pt x="23" y="448"/>
                    </a:lnTo>
                    <a:close/>
                    <a:moveTo>
                      <a:pt x="25" y="448"/>
                    </a:moveTo>
                    <a:lnTo>
                      <a:pt x="23" y="448"/>
                    </a:lnTo>
                    <a:lnTo>
                      <a:pt x="25" y="448"/>
                    </a:lnTo>
                    <a:close/>
                    <a:moveTo>
                      <a:pt x="248" y="506"/>
                    </a:moveTo>
                    <a:lnTo>
                      <a:pt x="248" y="507"/>
                    </a:lnTo>
                    <a:lnTo>
                      <a:pt x="248" y="506"/>
                    </a:lnTo>
                    <a:close/>
                    <a:moveTo>
                      <a:pt x="23" y="446"/>
                    </a:moveTo>
                    <a:lnTo>
                      <a:pt x="23" y="448"/>
                    </a:lnTo>
                    <a:lnTo>
                      <a:pt x="23" y="446"/>
                    </a:lnTo>
                    <a:close/>
                    <a:moveTo>
                      <a:pt x="0" y="440"/>
                    </a:moveTo>
                    <a:lnTo>
                      <a:pt x="0" y="438"/>
                    </a:lnTo>
                    <a:lnTo>
                      <a:pt x="0" y="440"/>
                    </a:lnTo>
                    <a:close/>
                    <a:moveTo>
                      <a:pt x="19" y="446"/>
                    </a:moveTo>
                    <a:lnTo>
                      <a:pt x="17" y="446"/>
                    </a:lnTo>
                    <a:lnTo>
                      <a:pt x="19" y="446"/>
                    </a:lnTo>
                    <a:lnTo>
                      <a:pt x="19" y="444"/>
                    </a:lnTo>
                    <a:lnTo>
                      <a:pt x="19" y="446"/>
                    </a:lnTo>
                    <a:close/>
                    <a:moveTo>
                      <a:pt x="11" y="442"/>
                    </a:moveTo>
                    <a:lnTo>
                      <a:pt x="13" y="442"/>
                    </a:lnTo>
                    <a:lnTo>
                      <a:pt x="13" y="444"/>
                    </a:lnTo>
                    <a:lnTo>
                      <a:pt x="13" y="442"/>
                    </a:lnTo>
                    <a:lnTo>
                      <a:pt x="11" y="442"/>
                    </a:lnTo>
                    <a:close/>
                    <a:moveTo>
                      <a:pt x="17" y="444"/>
                    </a:moveTo>
                    <a:lnTo>
                      <a:pt x="15" y="444"/>
                    </a:lnTo>
                    <a:lnTo>
                      <a:pt x="17" y="444"/>
                    </a:lnTo>
                    <a:close/>
                    <a:moveTo>
                      <a:pt x="2" y="440"/>
                    </a:moveTo>
                    <a:lnTo>
                      <a:pt x="2" y="438"/>
                    </a:lnTo>
                    <a:lnTo>
                      <a:pt x="2" y="440"/>
                    </a:lnTo>
                    <a:close/>
                    <a:moveTo>
                      <a:pt x="27" y="446"/>
                    </a:moveTo>
                    <a:lnTo>
                      <a:pt x="27" y="448"/>
                    </a:lnTo>
                    <a:lnTo>
                      <a:pt x="27" y="446"/>
                    </a:lnTo>
                    <a:close/>
                    <a:moveTo>
                      <a:pt x="40" y="452"/>
                    </a:moveTo>
                    <a:lnTo>
                      <a:pt x="40" y="450"/>
                    </a:lnTo>
                    <a:lnTo>
                      <a:pt x="40" y="452"/>
                    </a:lnTo>
                    <a:close/>
                    <a:moveTo>
                      <a:pt x="38" y="450"/>
                    </a:moveTo>
                    <a:lnTo>
                      <a:pt x="36" y="450"/>
                    </a:lnTo>
                    <a:lnTo>
                      <a:pt x="36" y="448"/>
                    </a:lnTo>
                    <a:lnTo>
                      <a:pt x="38" y="450"/>
                    </a:lnTo>
                    <a:close/>
                    <a:moveTo>
                      <a:pt x="348" y="523"/>
                    </a:moveTo>
                    <a:lnTo>
                      <a:pt x="348" y="525"/>
                    </a:lnTo>
                    <a:lnTo>
                      <a:pt x="348" y="523"/>
                    </a:lnTo>
                    <a:close/>
                    <a:moveTo>
                      <a:pt x="19" y="444"/>
                    </a:moveTo>
                    <a:lnTo>
                      <a:pt x="19" y="442"/>
                    </a:lnTo>
                    <a:lnTo>
                      <a:pt x="19" y="444"/>
                    </a:lnTo>
                    <a:close/>
                    <a:moveTo>
                      <a:pt x="9" y="440"/>
                    </a:moveTo>
                    <a:lnTo>
                      <a:pt x="8" y="440"/>
                    </a:lnTo>
                    <a:lnTo>
                      <a:pt x="8" y="438"/>
                    </a:lnTo>
                    <a:lnTo>
                      <a:pt x="8" y="440"/>
                    </a:lnTo>
                    <a:lnTo>
                      <a:pt x="9" y="440"/>
                    </a:lnTo>
                    <a:close/>
                    <a:moveTo>
                      <a:pt x="2" y="436"/>
                    </a:moveTo>
                    <a:lnTo>
                      <a:pt x="2" y="438"/>
                    </a:lnTo>
                    <a:lnTo>
                      <a:pt x="2" y="436"/>
                    </a:lnTo>
                    <a:close/>
                    <a:moveTo>
                      <a:pt x="11" y="440"/>
                    </a:moveTo>
                    <a:lnTo>
                      <a:pt x="9" y="440"/>
                    </a:lnTo>
                    <a:lnTo>
                      <a:pt x="11" y="440"/>
                    </a:lnTo>
                    <a:close/>
                    <a:moveTo>
                      <a:pt x="8" y="438"/>
                    </a:moveTo>
                    <a:lnTo>
                      <a:pt x="9" y="438"/>
                    </a:lnTo>
                    <a:lnTo>
                      <a:pt x="8" y="438"/>
                    </a:lnTo>
                    <a:close/>
                    <a:moveTo>
                      <a:pt x="11" y="440"/>
                    </a:moveTo>
                    <a:lnTo>
                      <a:pt x="9" y="440"/>
                    </a:lnTo>
                    <a:lnTo>
                      <a:pt x="11" y="440"/>
                    </a:lnTo>
                    <a:close/>
                    <a:moveTo>
                      <a:pt x="29" y="446"/>
                    </a:moveTo>
                    <a:lnTo>
                      <a:pt x="29" y="444"/>
                    </a:lnTo>
                    <a:lnTo>
                      <a:pt x="29" y="446"/>
                    </a:lnTo>
                    <a:close/>
                    <a:moveTo>
                      <a:pt x="21" y="442"/>
                    </a:moveTo>
                    <a:lnTo>
                      <a:pt x="19" y="442"/>
                    </a:lnTo>
                    <a:lnTo>
                      <a:pt x="21" y="442"/>
                    </a:lnTo>
                    <a:close/>
                    <a:moveTo>
                      <a:pt x="4" y="436"/>
                    </a:moveTo>
                    <a:lnTo>
                      <a:pt x="2" y="436"/>
                    </a:lnTo>
                    <a:lnTo>
                      <a:pt x="4" y="436"/>
                    </a:lnTo>
                    <a:close/>
                    <a:moveTo>
                      <a:pt x="6" y="438"/>
                    </a:moveTo>
                    <a:lnTo>
                      <a:pt x="6" y="436"/>
                    </a:lnTo>
                    <a:lnTo>
                      <a:pt x="6" y="438"/>
                    </a:lnTo>
                    <a:close/>
                    <a:moveTo>
                      <a:pt x="19" y="442"/>
                    </a:moveTo>
                    <a:lnTo>
                      <a:pt x="19" y="440"/>
                    </a:lnTo>
                    <a:lnTo>
                      <a:pt x="19" y="442"/>
                    </a:lnTo>
                    <a:close/>
                    <a:moveTo>
                      <a:pt x="13" y="438"/>
                    </a:moveTo>
                    <a:lnTo>
                      <a:pt x="13" y="440"/>
                    </a:lnTo>
                    <a:lnTo>
                      <a:pt x="13" y="438"/>
                    </a:lnTo>
                    <a:close/>
                    <a:moveTo>
                      <a:pt x="27" y="442"/>
                    </a:moveTo>
                    <a:lnTo>
                      <a:pt x="27" y="444"/>
                    </a:lnTo>
                    <a:lnTo>
                      <a:pt x="27" y="442"/>
                    </a:lnTo>
                    <a:close/>
                    <a:moveTo>
                      <a:pt x="17" y="440"/>
                    </a:moveTo>
                    <a:lnTo>
                      <a:pt x="15" y="440"/>
                    </a:lnTo>
                    <a:lnTo>
                      <a:pt x="17" y="440"/>
                    </a:lnTo>
                    <a:close/>
                    <a:moveTo>
                      <a:pt x="33" y="444"/>
                    </a:moveTo>
                    <a:lnTo>
                      <a:pt x="31" y="444"/>
                    </a:lnTo>
                    <a:lnTo>
                      <a:pt x="33" y="444"/>
                    </a:lnTo>
                    <a:close/>
                    <a:moveTo>
                      <a:pt x="34" y="446"/>
                    </a:moveTo>
                    <a:lnTo>
                      <a:pt x="34" y="444"/>
                    </a:lnTo>
                    <a:lnTo>
                      <a:pt x="34" y="446"/>
                    </a:lnTo>
                    <a:close/>
                    <a:moveTo>
                      <a:pt x="34" y="444"/>
                    </a:moveTo>
                    <a:lnTo>
                      <a:pt x="34" y="446"/>
                    </a:lnTo>
                    <a:lnTo>
                      <a:pt x="34" y="444"/>
                    </a:lnTo>
                    <a:close/>
                    <a:moveTo>
                      <a:pt x="38" y="446"/>
                    </a:moveTo>
                    <a:lnTo>
                      <a:pt x="36" y="446"/>
                    </a:lnTo>
                    <a:lnTo>
                      <a:pt x="38" y="446"/>
                    </a:lnTo>
                    <a:close/>
                    <a:moveTo>
                      <a:pt x="19" y="440"/>
                    </a:moveTo>
                    <a:lnTo>
                      <a:pt x="17" y="440"/>
                    </a:lnTo>
                    <a:lnTo>
                      <a:pt x="19" y="440"/>
                    </a:lnTo>
                    <a:close/>
                    <a:moveTo>
                      <a:pt x="11" y="438"/>
                    </a:moveTo>
                    <a:lnTo>
                      <a:pt x="9" y="438"/>
                    </a:lnTo>
                    <a:lnTo>
                      <a:pt x="11" y="438"/>
                    </a:lnTo>
                    <a:close/>
                    <a:moveTo>
                      <a:pt x="9" y="438"/>
                    </a:moveTo>
                    <a:lnTo>
                      <a:pt x="9" y="436"/>
                    </a:lnTo>
                    <a:lnTo>
                      <a:pt x="9" y="438"/>
                    </a:lnTo>
                    <a:close/>
                    <a:moveTo>
                      <a:pt x="33" y="444"/>
                    </a:moveTo>
                    <a:lnTo>
                      <a:pt x="31" y="444"/>
                    </a:lnTo>
                    <a:lnTo>
                      <a:pt x="33" y="444"/>
                    </a:lnTo>
                    <a:close/>
                    <a:moveTo>
                      <a:pt x="36" y="446"/>
                    </a:moveTo>
                    <a:lnTo>
                      <a:pt x="38" y="446"/>
                    </a:lnTo>
                    <a:lnTo>
                      <a:pt x="36" y="446"/>
                    </a:lnTo>
                    <a:close/>
                    <a:moveTo>
                      <a:pt x="13" y="438"/>
                    </a:moveTo>
                    <a:lnTo>
                      <a:pt x="11" y="438"/>
                    </a:lnTo>
                    <a:lnTo>
                      <a:pt x="13" y="438"/>
                    </a:lnTo>
                    <a:close/>
                    <a:moveTo>
                      <a:pt x="11" y="436"/>
                    </a:moveTo>
                    <a:lnTo>
                      <a:pt x="11" y="438"/>
                    </a:lnTo>
                    <a:lnTo>
                      <a:pt x="11" y="436"/>
                    </a:lnTo>
                    <a:close/>
                    <a:moveTo>
                      <a:pt x="252" y="500"/>
                    </a:moveTo>
                    <a:lnTo>
                      <a:pt x="252" y="502"/>
                    </a:lnTo>
                    <a:lnTo>
                      <a:pt x="252" y="500"/>
                    </a:lnTo>
                    <a:close/>
                    <a:moveTo>
                      <a:pt x="34" y="444"/>
                    </a:moveTo>
                    <a:lnTo>
                      <a:pt x="33" y="444"/>
                    </a:lnTo>
                    <a:lnTo>
                      <a:pt x="34" y="444"/>
                    </a:lnTo>
                    <a:close/>
                    <a:moveTo>
                      <a:pt x="29" y="442"/>
                    </a:moveTo>
                    <a:lnTo>
                      <a:pt x="29" y="440"/>
                    </a:lnTo>
                    <a:lnTo>
                      <a:pt x="29" y="442"/>
                    </a:lnTo>
                    <a:close/>
                    <a:moveTo>
                      <a:pt x="29" y="442"/>
                    </a:moveTo>
                    <a:lnTo>
                      <a:pt x="31" y="442"/>
                    </a:lnTo>
                    <a:lnTo>
                      <a:pt x="29" y="442"/>
                    </a:lnTo>
                    <a:close/>
                    <a:moveTo>
                      <a:pt x="19" y="438"/>
                    </a:moveTo>
                    <a:lnTo>
                      <a:pt x="21" y="438"/>
                    </a:lnTo>
                    <a:lnTo>
                      <a:pt x="19" y="438"/>
                    </a:lnTo>
                    <a:close/>
                    <a:moveTo>
                      <a:pt x="353" y="519"/>
                    </a:moveTo>
                    <a:lnTo>
                      <a:pt x="353" y="521"/>
                    </a:lnTo>
                    <a:lnTo>
                      <a:pt x="353" y="519"/>
                    </a:lnTo>
                    <a:close/>
                    <a:moveTo>
                      <a:pt x="19" y="438"/>
                    </a:moveTo>
                    <a:lnTo>
                      <a:pt x="19" y="436"/>
                    </a:lnTo>
                    <a:lnTo>
                      <a:pt x="19" y="438"/>
                    </a:lnTo>
                    <a:close/>
                    <a:moveTo>
                      <a:pt x="38" y="442"/>
                    </a:moveTo>
                    <a:lnTo>
                      <a:pt x="36" y="442"/>
                    </a:lnTo>
                    <a:lnTo>
                      <a:pt x="38" y="442"/>
                    </a:lnTo>
                    <a:close/>
                    <a:moveTo>
                      <a:pt x="33" y="440"/>
                    </a:moveTo>
                    <a:lnTo>
                      <a:pt x="33" y="442"/>
                    </a:lnTo>
                    <a:lnTo>
                      <a:pt x="33" y="440"/>
                    </a:lnTo>
                    <a:close/>
                    <a:moveTo>
                      <a:pt x="33" y="440"/>
                    </a:moveTo>
                    <a:lnTo>
                      <a:pt x="34" y="442"/>
                    </a:lnTo>
                    <a:lnTo>
                      <a:pt x="34" y="440"/>
                    </a:lnTo>
                    <a:lnTo>
                      <a:pt x="33" y="440"/>
                    </a:lnTo>
                    <a:close/>
                    <a:moveTo>
                      <a:pt x="25" y="438"/>
                    </a:moveTo>
                    <a:lnTo>
                      <a:pt x="23" y="438"/>
                    </a:lnTo>
                    <a:lnTo>
                      <a:pt x="25" y="438"/>
                    </a:lnTo>
                    <a:close/>
                    <a:moveTo>
                      <a:pt x="25" y="436"/>
                    </a:moveTo>
                    <a:lnTo>
                      <a:pt x="25" y="438"/>
                    </a:lnTo>
                    <a:lnTo>
                      <a:pt x="25" y="436"/>
                    </a:lnTo>
                    <a:close/>
                    <a:moveTo>
                      <a:pt x="33" y="438"/>
                    </a:moveTo>
                    <a:lnTo>
                      <a:pt x="31" y="438"/>
                    </a:lnTo>
                    <a:lnTo>
                      <a:pt x="33" y="438"/>
                    </a:lnTo>
                    <a:close/>
                    <a:moveTo>
                      <a:pt x="27" y="438"/>
                    </a:moveTo>
                    <a:lnTo>
                      <a:pt x="27" y="436"/>
                    </a:lnTo>
                    <a:lnTo>
                      <a:pt x="27" y="438"/>
                    </a:lnTo>
                    <a:close/>
                    <a:moveTo>
                      <a:pt x="25" y="434"/>
                    </a:moveTo>
                    <a:lnTo>
                      <a:pt x="23" y="434"/>
                    </a:lnTo>
                    <a:lnTo>
                      <a:pt x="25" y="434"/>
                    </a:lnTo>
                    <a:close/>
                    <a:moveTo>
                      <a:pt x="13" y="431"/>
                    </a:moveTo>
                    <a:lnTo>
                      <a:pt x="13" y="433"/>
                    </a:lnTo>
                    <a:lnTo>
                      <a:pt x="13" y="431"/>
                    </a:lnTo>
                    <a:close/>
                    <a:moveTo>
                      <a:pt x="252" y="496"/>
                    </a:moveTo>
                    <a:lnTo>
                      <a:pt x="252" y="494"/>
                    </a:lnTo>
                    <a:lnTo>
                      <a:pt x="252" y="496"/>
                    </a:lnTo>
                    <a:close/>
                    <a:moveTo>
                      <a:pt x="23" y="433"/>
                    </a:moveTo>
                    <a:lnTo>
                      <a:pt x="23" y="434"/>
                    </a:lnTo>
                    <a:lnTo>
                      <a:pt x="23" y="433"/>
                    </a:lnTo>
                    <a:lnTo>
                      <a:pt x="23" y="434"/>
                    </a:lnTo>
                    <a:lnTo>
                      <a:pt x="23" y="433"/>
                    </a:lnTo>
                    <a:close/>
                    <a:moveTo>
                      <a:pt x="357" y="515"/>
                    </a:moveTo>
                    <a:lnTo>
                      <a:pt x="355" y="515"/>
                    </a:lnTo>
                    <a:lnTo>
                      <a:pt x="357" y="515"/>
                    </a:lnTo>
                    <a:close/>
                    <a:moveTo>
                      <a:pt x="23" y="433"/>
                    </a:moveTo>
                    <a:lnTo>
                      <a:pt x="21" y="433"/>
                    </a:lnTo>
                    <a:lnTo>
                      <a:pt x="23" y="433"/>
                    </a:lnTo>
                    <a:close/>
                    <a:moveTo>
                      <a:pt x="252" y="492"/>
                    </a:moveTo>
                    <a:lnTo>
                      <a:pt x="252" y="494"/>
                    </a:lnTo>
                    <a:lnTo>
                      <a:pt x="252" y="492"/>
                    </a:lnTo>
                    <a:close/>
                    <a:moveTo>
                      <a:pt x="250" y="492"/>
                    </a:moveTo>
                    <a:lnTo>
                      <a:pt x="250" y="490"/>
                    </a:lnTo>
                    <a:lnTo>
                      <a:pt x="250" y="492"/>
                    </a:lnTo>
                    <a:close/>
                    <a:moveTo>
                      <a:pt x="25" y="431"/>
                    </a:moveTo>
                    <a:lnTo>
                      <a:pt x="23" y="431"/>
                    </a:lnTo>
                    <a:lnTo>
                      <a:pt x="25" y="431"/>
                    </a:lnTo>
                    <a:close/>
                    <a:moveTo>
                      <a:pt x="250" y="490"/>
                    </a:moveTo>
                    <a:lnTo>
                      <a:pt x="248" y="490"/>
                    </a:lnTo>
                    <a:lnTo>
                      <a:pt x="250" y="490"/>
                    </a:lnTo>
                    <a:close/>
                    <a:moveTo>
                      <a:pt x="17" y="427"/>
                    </a:moveTo>
                    <a:lnTo>
                      <a:pt x="17" y="429"/>
                    </a:lnTo>
                    <a:lnTo>
                      <a:pt x="17" y="427"/>
                    </a:lnTo>
                    <a:close/>
                    <a:moveTo>
                      <a:pt x="21" y="429"/>
                    </a:moveTo>
                    <a:lnTo>
                      <a:pt x="23" y="429"/>
                    </a:lnTo>
                    <a:lnTo>
                      <a:pt x="21" y="429"/>
                    </a:lnTo>
                    <a:close/>
                    <a:moveTo>
                      <a:pt x="25" y="431"/>
                    </a:moveTo>
                    <a:lnTo>
                      <a:pt x="25" y="429"/>
                    </a:lnTo>
                    <a:lnTo>
                      <a:pt x="25" y="431"/>
                    </a:lnTo>
                    <a:close/>
                    <a:moveTo>
                      <a:pt x="15" y="427"/>
                    </a:moveTo>
                    <a:lnTo>
                      <a:pt x="17" y="427"/>
                    </a:lnTo>
                    <a:lnTo>
                      <a:pt x="15" y="427"/>
                    </a:lnTo>
                    <a:close/>
                    <a:moveTo>
                      <a:pt x="246" y="488"/>
                    </a:moveTo>
                    <a:lnTo>
                      <a:pt x="244" y="486"/>
                    </a:lnTo>
                    <a:lnTo>
                      <a:pt x="246" y="488"/>
                    </a:lnTo>
                    <a:close/>
                    <a:moveTo>
                      <a:pt x="17" y="425"/>
                    </a:moveTo>
                    <a:lnTo>
                      <a:pt x="17" y="427"/>
                    </a:lnTo>
                    <a:lnTo>
                      <a:pt x="17" y="425"/>
                    </a:lnTo>
                    <a:close/>
                    <a:moveTo>
                      <a:pt x="17" y="425"/>
                    </a:moveTo>
                    <a:lnTo>
                      <a:pt x="17" y="427"/>
                    </a:lnTo>
                    <a:lnTo>
                      <a:pt x="17" y="425"/>
                    </a:lnTo>
                    <a:close/>
                    <a:moveTo>
                      <a:pt x="31" y="431"/>
                    </a:moveTo>
                    <a:lnTo>
                      <a:pt x="29" y="431"/>
                    </a:lnTo>
                    <a:lnTo>
                      <a:pt x="31" y="429"/>
                    </a:lnTo>
                    <a:lnTo>
                      <a:pt x="31" y="431"/>
                    </a:lnTo>
                    <a:close/>
                    <a:moveTo>
                      <a:pt x="242" y="484"/>
                    </a:moveTo>
                    <a:lnTo>
                      <a:pt x="240" y="484"/>
                    </a:lnTo>
                    <a:lnTo>
                      <a:pt x="242" y="484"/>
                    </a:lnTo>
                    <a:close/>
                    <a:moveTo>
                      <a:pt x="17" y="423"/>
                    </a:moveTo>
                    <a:lnTo>
                      <a:pt x="17" y="425"/>
                    </a:lnTo>
                    <a:lnTo>
                      <a:pt x="17" y="423"/>
                    </a:lnTo>
                    <a:close/>
                    <a:moveTo>
                      <a:pt x="23" y="425"/>
                    </a:moveTo>
                    <a:lnTo>
                      <a:pt x="23" y="427"/>
                    </a:lnTo>
                    <a:lnTo>
                      <a:pt x="23" y="425"/>
                    </a:lnTo>
                    <a:close/>
                    <a:moveTo>
                      <a:pt x="15" y="423"/>
                    </a:moveTo>
                    <a:lnTo>
                      <a:pt x="17" y="423"/>
                    </a:lnTo>
                    <a:lnTo>
                      <a:pt x="15" y="423"/>
                    </a:lnTo>
                    <a:close/>
                    <a:moveTo>
                      <a:pt x="34" y="427"/>
                    </a:moveTo>
                    <a:lnTo>
                      <a:pt x="34" y="425"/>
                    </a:lnTo>
                    <a:lnTo>
                      <a:pt x="34" y="427"/>
                    </a:lnTo>
                    <a:close/>
                    <a:moveTo>
                      <a:pt x="33" y="425"/>
                    </a:moveTo>
                    <a:lnTo>
                      <a:pt x="31" y="425"/>
                    </a:lnTo>
                    <a:lnTo>
                      <a:pt x="33" y="425"/>
                    </a:lnTo>
                    <a:close/>
                    <a:moveTo>
                      <a:pt x="236" y="481"/>
                    </a:moveTo>
                    <a:lnTo>
                      <a:pt x="236" y="479"/>
                    </a:lnTo>
                    <a:lnTo>
                      <a:pt x="236" y="481"/>
                    </a:lnTo>
                    <a:close/>
                    <a:moveTo>
                      <a:pt x="236" y="477"/>
                    </a:moveTo>
                    <a:lnTo>
                      <a:pt x="236" y="479"/>
                    </a:lnTo>
                    <a:lnTo>
                      <a:pt x="236" y="477"/>
                    </a:lnTo>
                    <a:close/>
                    <a:moveTo>
                      <a:pt x="361" y="504"/>
                    </a:moveTo>
                    <a:lnTo>
                      <a:pt x="361" y="502"/>
                    </a:lnTo>
                    <a:lnTo>
                      <a:pt x="361" y="504"/>
                    </a:lnTo>
                    <a:close/>
                    <a:moveTo>
                      <a:pt x="234" y="477"/>
                    </a:moveTo>
                    <a:lnTo>
                      <a:pt x="234" y="475"/>
                    </a:lnTo>
                    <a:lnTo>
                      <a:pt x="234" y="477"/>
                    </a:lnTo>
                    <a:close/>
                    <a:moveTo>
                      <a:pt x="234" y="475"/>
                    </a:moveTo>
                    <a:lnTo>
                      <a:pt x="234" y="477"/>
                    </a:lnTo>
                    <a:lnTo>
                      <a:pt x="234" y="475"/>
                    </a:lnTo>
                    <a:close/>
                    <a:moveTo>
                      <a:pt x="31" y="419"/>
                    </a:moveTo>
                    <a:lnTo>
                      <a:pt x="31" y="421"/>
                    </a:lnTo>
                    <a:lnTo>
                      <a:pt x="31" y="419"/>
                    </a:lnTo>
                    <a:close/>
                    <a:moveTo>
                      <a:pt x="25" y="419"/>
                    </a:moveTo>
                    <a:lnTo>
                      <a:pt x="25" y="417"/>
                    </a:lnTo>
                    <a:lnTo>
                      <a:pt x="25" y="419"/>
                    </a:lnTo>
                    <a:close/>
                    <a:moveTo>
                      <a:pt x="361" y="500"/>
                    </a:moveTo>
                    <a:lnTo>
                      <a:pt x="359" y="500"/>
                    </a:lnTo>
                    <a:lnTo>
                      <a:pt x="361" y="500"/>
                    </a:lnTo>
                    <a:close/>
                    <a:moveTo>
                      <a:pt x="40" y="423"/>
                    </a:moveTo>
                    <a:lnTo>
                      <a:pt x="38" y="423"/>
                    </a:lnTo>
                    <a:lnTo>
                      <a:pt x="40" y="423"/>
                    </a:lnTo>
                    <a:close/>
                    <a:moveTo>
                      <a:pt x="232" y="475"/>
                    </a:moveTo>
                    <a:lnTo>
                      <a:pt x="232" y="473"/>
                    </a:lnTo>
                    <a:lnTo>
                      <a:pt x="232" y="475"/>
                    </a:lnTo>
                    <a:close/>
                    <a:moveTo>
                      <a:pt x="232" y="473"/>
                    </a:moveTo>
                    <a:lnTo>
                      <a:pt x="230" y="473"/>
                    </a:lnTo>
                    <a:lnTo>
                      <a:pt x="232" y="473"/>
                    </a:lnTo>
                    <a:close/>
                    <a:moveTo>
                      <a:pt x="357" y="498"/>
                    </a:moveTo>
                    <a:lnTo>
                      <a:pt x="359" y="496"/>
                    </a:lnTo>
                    <a:lnTo>
                      <a:pt x="357" y="498"/>
                    </a:lnTo>
                    <a:close/>
                    <a:moveTo>
                      <a:pt x="230" y="469"/>
                    </a:moveTo>
                    <a:lnTo>
                      <a:pt x="230" y="471"/>
                    </a:lnTo>
                    <a:lnTo>
                      <a:pt x="228" y="469"/>
                    </a:lnTo>
                    <a:lnTo>
                      <a:pt x="230" y="469"/>
                    </a:lnTo>
                    <a:close/>
                    <a:moveTo>
                      <a:pt x="27" y="415"/>
                    </a:moveTo>
                    <a:lnTo>
                      <a:pt x="25" y="415"/>
                    </a:lnTo>
                    <a:lnTo>
                      <a:pt x="27" y="415"/>
                    </a:lnTo>
                    <a:close/>
                    <a:moveTo>
                      <a:pt x="228" y="469"/>
                    </a:moveTo>
                    <a:lnTo>
                      <a:pt x="227" y="469"/>
                    </a:lnTo>
                    <a:lnTo>
                      <a:pt x="227" y="467"/>
                    </a:lnTo>
                    <a:lnTo>
                      <a:pt x="228" y="469"/>
                    </a:lnTo>
                    <a:close/>
                    <a:moveTo>
                      <a:pt x="21" y="409"/>
                    </a:moveTo>
                    <a:lnTo>
                      <a:pt x="19" y="409"/>
                    </a:lnTo>
                    <a:lnTo>
                      <a:pt x="21" y="409"/>
                    </a:lnTo>
                    <a:close/>
                    <a:moveTo>
                      <a:pt x="361" y="492"/>
                    </a:moveTo>
                    <a:lnTo>
                      <a:pt x="363" y="492"/>
                    </a:lnTo>
                    <a:lnTo>
                      <a:pt x="361" y="492"/>
                    </a:lnTo>
                    <a:close/>
                    <a:moveTo>
                      <a:pt x="31" y="409"/>
                    </a:moveTo>
                    <a:lnTo>
                      <a:pt x="31" y="411"/>
                    </a:lnTo>
                    <a:lnTo>
                      <a:pt x="31" y="409"/>
                    </a:lnTo>
                    <a:close/>
                    <a:moveTo>
                      <a:pt x="33" y="411"/>
                    </a:moveTo>
                    <a:lnTo>
                      <a:pt x="34" y="411"/>
                    </a:lnTo>
                    <a:lnTo>
                      <a:pt x="33" y="411"/>
                    </a:lnTo>
                    <a:close/>
                    <a:moveTo>
                      <a:pt x="33" y="409"/>
                    </a:moveTo>
                    <a:lnTo>
                      <a:pt x="33" y="408"/>
                    </a:lnTo>
                    <a:lnTo>
                      <a:pt x="33" y="409"/>
                    </a:lnTo>
                    <a:close/>
                    <a:moveTo>
                      <a:pt x="36" y="409"/>
                    </a:moveTo>
                    <a:lnTo>
                      <a:pt x="34" y="409"/>
                    </a:lnTo>
                    <a:lnTo>
                      <a:pt x="36" y="409"/>
                    </a:lnTo>
                    <a:close/>
                    <a:moveTo>
                      <a:pt x="36" y="409"/>
                    </a:moveTo>
                    <a:lnTo>
                      <a:pt x="34" y="409"/>
                    </a:lnTo>
                    <a:lnTo>
                      <a:pt x="36" y="409"/>
                    </a:lnTo>
                    <a:close/>
                    <a:moveTo>
                      <a:pt x="38" y="409"/>
                    </a:moveTo>
                    <a:lnTo>
                      <a:pt x="36" y="409"/>
                    </a:lnTo>
                    <a:lnTo>
                      <a:pt x="38" y="409"/>
                    </a:lnTo>
                    <a:close/>
                    <a:moveTo>
                      <a:pt x="36" y="408"/>
                    </a:moveTo>
                    <a:lnTo>
                      <a:pt x="36" y="409"/>
                    </a:lnTo>
                    <a:lnTo>
                      <a:pt x="36" y="408"/>
                    </a:lnTo>
                    <a:close/>
                    <a:moveTo>
                      <a:pt x="40" y="409"/>
                    </a:moveTo>
                    <a:lnTo>
                      <a:pt x="38" y="409"/>
                    </a:lnTo>
                    <a:lnTo>
                      <a:pt x="40" y="409"/>
                    </a:lnTo>
                    <a:close/>
                    <a:moveTo>
                      <a:pt x="365" y="486"/>
                    </a:moveTo>
                    <a:lnTo>
                      <a:pt x="365" y="488"/>
                    </a:lnTo>
                    <a:lnTo>
                      <a:pt x="365" y="486"/>
                    </a:lnTo>
                    <a:close/>
                    <a:moveTo>
                      <a:pt x="38" y="404"/>
                    </a:moveTo>
                    <a:lnTo>
                      <a:pt x="36" y="404"/>
                    </a:lnTo>
                    <a:lnTo>
                      <a:pt x="38" y="404"/>
                    </a:lnTo>
                    <a:close/>
                    <a:moveTo>
                      <a:pt x="34" y="402"/>
                    </a:moveTo>
                    <a:lnTo>
                      <a:pt x="33" y="402"/>
                    </a:lnTo>
                    <a:lnTo>
                      <a:pt x="34" y="402"/>
                    </a:lnTo>
                    <a:close/>
                    <a:moveTo>
                      <a:pt x="36" y="404"/>
                    </a:moveTo>
                    <a:lnTo>
                      <a:pt x="36" y="402"/>
                    </a:lnTo>
                    <a:lnTo>
                      <a:pt x="36" y="404"/>
                    </a:lnTo>
                    <a:close/>
                    <a:moveTo>
                      <a:pt x="33" y="400"/>
                    </a:moveTo>
                    <a:lnTo>
                      <a:pt x="31" y="400"/>
                    </a:lnTo>
                    <a:lnTo>
                      <a:pt x="33" y="400"/>
                    </a:lnTo>
                    <a:close/>
                    <a:moveTo>
                      <a:pt x="42" y="404"/>
                    </a:moveTo>
                    <a:lnTo>
                      <a:pt x="40" y="404"/>
                    </a:lnTo>
                    <a:lnTo>
                      <a:pt x="42" y="404"/>
                    </a:lnTo>
                    <a:close/>
                    <a:moveTo>
                      <a:pt x="33" y="402"/>
                    </a:moveTo>
                    <a:lnTo>
                      <a:pt x="33" y="400"/>
                    </a:lnTo>
                    <a:lnTo>
                      <a:pt x="33" y="402"/>
                    </a:lnTo>
                    <a:close/>
                    <a:moveTo>
                      <a:pt x="34" y="398"/>
                    </a:moveTo>
                    <a:lnTo>
                      <a:pt x="34" y="400"/>
                    </a:lnTo>
                    <a:lnTo>
                      <a:pt x="34" y="398"/>
                    </a:lnTo>
                    <a:close/>
                    <a:moveTo>
                      <a:pt x="36" y="400"/>
                    </a:moveTo>
                    <a:lnTo>
                      <a:pt x="34" y="400"/>
                    </a:lnTo>
                    <a:lnTo>
                      <a:pt x="36" y="400"/>
                    </a:lnTo>
                    <a:close/>
                    <a:moveTo>
                      <a:pt x="34" y="398"/>
                    </a:moveTo>
                    <a:lnTo>
                      <a:pt x="34" y="400"/>
                    </a:lnTo>
                    <a:lnTo>
                      <a:pt x="34" y="398"/>
                    </a:lnTo>
                    <a:close/>
                    <a:moveTo>
                      <a:pt x="42" y="402"/>
                    </a:moveTo>
                    <a:lnTo>
                      <a:pt x="42" y="400"/>
                    </a:lnTo>
                    <a:lnTo>
                      <a:pt x="42" y="402"/>
                    </a:lnTo>
                    <a:close/>
                    <a:moveTo>
                      <a:pt x="42" y="402"/>
                    </a:moveTo>
                    <a:lnTo>
                      <a:pt x="42" y="400"/>
                    </a:lnTo>
                    <a:lnTo>
                      <a:pt x="42" y="402"/>
                    </a:lnTo>
                    <a:close/>
                    <a:moveTo>
                      <a:pt x="40" y="400"/>
                    </a:moveTo>
                    <a:lnTo>
                      <a:pt x="38" y="400"/>
                    </a:lnTo>
                    <a:lnTo>
                      <a:pt x="40" y="400"/>
                    </a:lnTo>
                    <a:close/>
                    <a:moveTo>
                      <a:pt x="223" y="450"/>
                    </a:moveTo>
                    <a:lnTo>
                      <a:pt x="223" y="448"/>
                    </a:lnTo>
                    <a:lnTo>
                      <a:pt x="223" y="450"/>
                    </a:lnTo>
                    <a:close/>
                    <a:moveTo>
                      <a:pt x="40" y="398"/>
                    </a:moveTo>
                    <a:lnTo>
                      <a:pt x="40" y="400"/>
                    </a:lnTo>
                    <a:lnTo>
                      <a:pt x="40" y="398"/>
                    </a:lnTo>
                    <a:close/>
                    <a:moveTo>
                      <a:pt x="46" y="400"/>
                    </a:moveTo>
                    <a:lnTo>
                      <a:pt x="44" y="400"/>
                    </a:lnTo>
                    <a:lnTo>
                      <a:pt x="46" y="400"/>
                    </a:lnTo>
                    <a:close/>
                    <a:moveTo>
                      <a:pt x="57" y="402"/>
                    </a:moveTo>
                    <a:lnTo>
                      <a:pt x="57" y="404"/>
                    </a:lnTo>
                    <a:lnTo>
                      <a:pt x="57" y="402"/>
                    </a:lnTo>
                    <a:close/>
                    <a:moveTo>
                      <a:pt x="46" y="398"/>
                    </a:moveTo>
                    <a:lnTo>
                      <a:pt x="44" y="398"/>
                    </a:lnTo>
                    <a:lnTo>
                      <a:pt x="46" y="398"/>
                    </a:lnTo>
                    <a:close/>
                    <a:moveTo>
                      <a:pt x="67" y="406"/>
                    </a:moveTo>
                    <a:lnTo>
                      <a:pt x="65" y="406"/>
                    </a:lnTo>
                    <a:lnTo>
                      <a:pt x="67" y="406"/>
                    </a:lnTo>
                    <a:close/>
                    <a:moveTo>
                      <a:pt x="54" y="400"/>
                    </a:moveTo>
                    <a:lnTo>
                      <a:pt x="54" y="402"/>
                    </a:lnTo>
                    <a:lnTo>
                      <a:pt x="54" y="400"/>
                    </a:lnTo>
                    <a:close/>
                    <a:moveTo>
                      <a:pt x="54" y="400"/>
                    </a:moveTo>
                    <a:lnTo>
                      <a:pt x="54" y="402"/>
                    </a:lnTo>
                    <a:lnTo>
                      <a:pt x="54" y="400"/>
                    </a:lnTo>
                    <a:close/>
                    <a:moveTo>
                      <a:pt x="54" y="400"/>
                    </a:moveTo>
                    <a:lnTo>
                      <a:pt x="56" y="400"/>
                    </a:lnTo>
                    <a:lnTo>
                      <a:pt x="56" y="402"/>
                    </a:lnTo>
                    <a:lnTo>
                      <a:pt x="54" y="400"/>
                    </a:lnTo>
                    <a:close/>
                    <a:moveTo>
                      <a:pt x="46" y="398"/>
                    </a:moveTo>
                    <a:lnTo>
                      <a:pt x="44" y="398"/>
                    </a:lnTo>
                    <a:lnTo>
                      <a:pt x="46" y="398"/>
                    </a:lnTo>
                    <a:close/>
                    <a:moveTo>
                      <a:pt x="63" y="402"/>
                    </a:moveTo>
                    <a:lnTo>
                      <a:pt x="63" y="404"/>
                    </a:lnTo>
                    <a:lnTo>
                      <a:pt x="63" y="402"/>
                    </a:lnTo>
                    <a:lnTo>
                      <a:pt x="63" y="404"/>
                    </a:lnTo>
                    <a:lnTo>
                      <a:pt x="63" y="402"/>
                    </a:lnTo>
                    <a:close/>
                    <a:moveTo>
                      <a:pt x="48" y="398"/>
                    </a:moveTo>
                    <a:lnTo>
                      <a:pt x="46" y="398"/>
                    </a:lnTo>
                    <a:lnTo>
                      <a:pt x="48" y="398"/>
                    </a:lnTo>
                    <a:close/>
                    <a:moveTo>
                      <a:pt x="67" y="404"/>
                    </a:moveTo>
                    <a:lnTo>
                      <a:pt x="65" y="404"/>
                    </a:lnTo>
                    <a:lnTo>
                      <a:pt x="67" y="404"/>
                    </a:lnTo>
                    <a:close/>
                    <a:moveTo>
                      <a:pt x="44" y="398"/>
                    </a:moveTo>
                    <a:lnTo>
                      <a:pt x="44" y="396"/>
                    </a:lnTo>
                    <a:lnTo>
                      <a:pt x="44" y="398"/>
                    </a:lnTo>
                    <a:close/>
                    <a:moveTo>
                      <a:pt x="44" y="398"/>
                    </a:moveTo>
                    <a:lnTo>
                      <a:pt x="44" y="396"/>
                    </a:lnTo>
                    <a:lnTo>
                      <a:pt x="44" y="398"/>
                    </a:lnTo>
                    <a:close/>
                    <a:moveTo>
                      <a:pt x="48" y="398"/>
                    </a:moveTo>
                    <a:lnTo>
                      <a:pt x="46" y="398"/>
                    </a:lnTo>
                    <a:lnTo>
                      <a:pt x="48" y="398"/>
                    </a:lnTo>
                    <a:close/>
                    <a:moveTo>
                      <a:pt x="44" y="396"/>
                    </a:moveTo>
                    <a:lnTo>
                      <a:pt x="42" y="396"/>
                    </a:lnTo>
                    <a:lnTo>
                      <a:pt x="44" y="396"/>
                    </a:lnTo>
                    <a:close/>
                    <a:moveTo>
                      <a:pt x="46" y="398"/>
                    </a:moveTo>
                    <a:lnTo>
                      <a:pt x="46" y="396"/>
                    </a:lnTo>
                    <a:lnTo>
                      <a:pt x="46" y="398"/>
                    </a:lnTo>
                    <a:close/>
                    <a:moveTo>
                      <a:pt x="48" y="398"/>
                    </a:moveTo>
                    <a:lnTo>
                      <a:pt x="46" y="398"/>
                    </a:lnTo>
                    <a:lnTo>
                      <a:pt x="48" y="398"/>
                    </a:lnTo>
                    <a:close/>
                    <a:moveTo>
                      <a:pt x="34" y="392"/>
                    </a:moveTo>
                    <a:lnTo>
                      <a:pt x="34" y="394"/>
                    </a:lnTo>
                    <a:lnTo>
                      <a:pt x="34" y="392"/>
                    </a:lnTo>
                    <a:close/>
                    <a:moveTo>
                      <a:pt x="48" y="398"/>
                    </a:moveTo>
                    <a:lnTo>
                      <a:pt x="48" y="396"/>
                    </a:lnTo>
                    <a:lnTo>
                      <a:pt x="48" y="398"/>
                    </a:lnTo>
                    <a:close/>
                    <a:moveTo>
                      <a:pt x="40" y="394"/>
                    </a:moveTo>
                    <a:lnTo>
                      <a:pt x="40" y="396"/>
                    </a:lnTo>
                    <a:lnTo>
                      <a:pt x="40" y="394"/>
                    </a:lnTo>
                    <a:close/>
                    <a:moveTo>
                      <a:pt x="48" y="396"/>
                    </a:moveTo>
                    <a:lnTo>
                      <a:pt x="46" y="396"/>
                    </a:lnTo>
                    <a:lnTo>
                      <a:pt x="48" y="396"/>
                    </a:lnTo>
                    <a:close/>
                    <a:moveTo>
                      <a:pt x="42" y="394"/>
                    </a:moveTo>
                    <a:lnTo>
                      <a:pt x="40" y="394"/>
                    </a:lnTo>
                    <a:lnTo>
                      <a:pt x="42" y="394"/>
                    </a:lnTo>
                    <a:close/>
                    <a:moveTo>
                      <a:pt x="42" y="394"/>
                    </a:moveTo>
                    <a:lnTo>
                      <a:pt x="42" y="396"/>
                    </a:lnTo>
                    <a:lnTo>
                      <a:pt x="42" y="394"/>
                    </a:lnTo>
                    <a:close/>
                    <a:moveTo>
                      <a:pt x="48" y="396"/>
                    </a:moveTo>
                    <a:lnTo>
                      <a:pt x="46" y="396"/>
                    </a:lnTo>
                    <a:lnTo>
                      <a:pt x="48" y="396"/>
                    </a:lnTo>
                    <a:close/>
                    <a:moveTo>
                      <a:pt x="36" y="392"/>
                    </a:moveTo>
                    <a:lnTo>
                      <a:pt x="34" y="392"/>
                    </a:lnTo>
                    <a:lnTo>
                      <a:pt x="36" y="392"/>
                    </a:lnTo>
                    <a:close/>
                    <a:moveTo>
                      <a:pt x="48" y="396"/>
                    </a:moveTo>
                    <a:lnTo>
                      <a:pt x="48" y="394"/>
                    </a:lnTo>
                    <a:lnTo>
                      <a:pt x="48" y="396"/>
                    </a:lnTo>
                    <a:close/>
                    <a:moveTo>
                      <a:pt x="36" y="390"/>
                    </a:moveTo>
                    <a:lnTo>
                      <a:pt x="36" y="392"/>
                    </a:lnTo>
                    <a:lnTo>
                      <a:pt x="36" y="390"/>
                    </a:lnTo>
                    <a:close/>
                    <a:moveTo>
                      <a:pt x="36" y="392"/>
                    </a:moveTo>
                    <a:lnTo>
                      <a:pt x="36" y="390"/>
                    </a:lnTo>
                    <a:lnTo>
                      <a:pt x="36" y="392"/>
                    </a:lnTo>
                    <a:close/>
                    <a:moveTo>
                      <a:pt x="42" y="392"/>
                    </a:moveTo>
                    <a:lnTo>
                      <a:pt x="42" y="394"/>
                    </a:lnTo>
                    <a:lnTo>
                      <a:pt x="42" y="392"/>
                    </a:lnTo>
                    <a:close/>
                    <a:moveTo>
                      <a:pt x="56" y="396"/>
                    </a:moveTo>
                    <a:lnTo>
                      <a:pt x="56" y="398"/>
                    </a:lnTo>
                    <a:lnTo>
                      <a:pt x="56" y="396"/>
                    </a:lnTo>
                    <a:close/>
                    <a:moveTo>
                      <a:pt x="42" y="392"/>
                    </a:moveTo>
                    <a:lnTo>
                      <a:pt x="40" y="392"/>
                    </a:lnTo>
                    <a:lnTo>
                      <a:pt x="42" y="392"/>
                    </a:lnTo>
                    <a:close/>
                    <a:moveTo>
                      <a:pt x="42" y="394"/>
                    </a:moveTo>
                    <a:lnTo>
                      <a:pt x="42" y="392"/>
                    </a:lnTo>
                    <a:lnTo>
                      <a:pt x="42" y="394"/>
                    </a:lnTo>
                    <a:close/>
                    <a:moveTo>
                      <a:pt x="42" y="394"/>
                    </a:moveTo>
                    <a:lnTo>
                      <a:pt x="44" y="392"/>
                    </a:lnTo>
                    <a:lnTo>
                      <a:pt x="42" y="394"/>
                    </a:lnTo>
                    <a:close/>
                    <a:moveTo>
                      <a:pt x="44" y="394"/>
                    </a:moveTo>
                    <a:lnTo>
                      <a:pt x="42" y="394"/>
                    </a:lnTo>
                    <a:lnTo>
                      <a:pt x="44" y="392"/>
                    </a:lnTo>
                    <a:lnTo>
                      <a:pt x="44" y="394"/>
                    </a:lnTo>
                    <a:close/>
                    <a:moveTo>
                      <a:pt x="46" y="394"/>
                    </a:moveTo>
                    <a:lnTo>
                      <a:pt x="48" y="394"/>
                    </a:lnTo>
                    <a:lnTo>
                      <a:pt x="46" y="394"/>
                    </a:lnTo>
                    <a:close/>
                    <a:moveTo>
                      <a:pt x="42" y="392"/>
                    </a:moveTo>
                    <a:lnTo>
                      <a:pt x="42" y="390"/>
                    </a:lnTo>
                    <a:lnTo>
                      <a:pt x="42" y="392"/>
                    </a:lnTo>
                    <a:close/>
                    <a:moveTo>
                      <a:pt x="46" y="392"/>
                    </a:moveTo>
                    <a:lnTo>
                      <a:pt x="48" y="392"/>
                    </a:lnTo>
                    <a:lnTo>
                      <a:pt x="46" y="392"/>
                    </a:lnTo>
                    <a:close/>
                    <a:moveTo>
                      <a:pt x="48" y="390"/>
                    </a:moveTo>
                    <a:lnTo>
                      <a:pt x="46" y="390"/>
                    </a:lnTo>
                    <a:lnTo>
                      <a:pt x="48" y="390"/>
                    </a:lnTo>
                    <a:close/>
                    <a:moveTo>
                      <a:pt x="50" y="390"/>
                    </a:moveTo>
                    <a:lnTo>
                      <a:pt x="50" y="392"/>
                    </a:lnTo>
                    <a:lnTo>
                      <a:pt x="50" y="390"/>
                    </a:lnTo>
                    <a:close/>
                    <a:moveTo>
                      <a:pt x="50" y="392"/>
                    </a:moveTo>
                    <a:lnTo>
                      <a:pt x="50" y="390"/>
                    </a:lnTo>
                    <a:lnTo>
                      <a:pt x="50" y="392"/>
                    </a:lnTo>
                    <a:close/>
                    <a:moveTo>
                      <a:pt x="50" y="392"/>
                    </a:moveTo>
                    <a:lnTo>
                      <a:pt x="50" y="390"/>
                    </a:lnTo>
                    <a:lnTo>
                      <a:pt x="50" y="392"/>
                    </a:lnTo>
                    <a:close/>
                    <a:moveTo>
                      <a:pt x="54" y="390"/>
                    </a:moveTo>
                    <a:lnTo>
                      <a:pt x="54" y="392"/>
                    </a:lnTo>
                    <a:lnTo>
                      <a:pt x="54" y="390"/>
                    </a:lnTo>
                    <a:close/>
                    <a:moveTo>
                      <a:pt x="52" y="390"/>
                    </a:moveTo>
                    <a:lnTo>
                      <a:pt x="50" y="390"/>
                    </a:lnTo>
                    <a:lnTo>
                      <a:pt x="52" y="390"/>
                    </a:lnTo>
                    <a:close/>
                    <a:moveTo>
                      <a:pt x="52" y="388"/>
                    </a:moveTo>
                    <a:lnTo>
                      <a:pt x="50" y="388"/>
                    </a:lnTo>
                    <a:lnTo>
                      <a:pt x="52" y="388"/>
                    </a:lnTo>
                    <a:close/>
                    <a:moveTo>
                      <a:pt x="374" y="465"/>
                    </a:moveTo>
                    <a:lnTo>
                      <a:pt x="373" y="465"/>
                    </a:lnTo>
                    <a:lnTo>
                      <a:pt x="374" y="465"/>
                    </a:lnTo>
                    <a:close/>
                    <a:moveTo>
                      <a:pt x="59" y="390"/>
                    </a:moveTo>
                    <a:lnTo>
                      <a:pt x="57" y="390"/>
                    </a:lnTo>
                    <a:lnTo>
                      <a:pt x="59" y="390"/>
                    </a:lnTo>
                    <a:close/>
                    <a:moveTo>
                      <a:pt x="57" y="388"/>
                    </a:moveTo>
                    <a:lnTo>
                      <a:pt x="57" y="390"/>
                    </a:lnTo>
                    <a:lnTo>
                      <a:pt x="57" y="388"/>
                    </a:lnTo>
                    <a:close/>
                    <a:moveTo>
                      <a:pt x="52" y="386"/>
                    </a:moveTo>
                    <a:lnTo>
                      <a:pt x="52" y="388"/>
                    </a:lnTo>
                    <a:lnTo>
                      <a:pt x="52" y="386"/>
                    </a:lnTo>
                    <a:close/>
                    <a:moveTo>
                      <a:pt x="54" y="388"/>
                    </a:moveTo>
                    <a:lnTo>
                      <a:pt x="54" y="386"/>
                    </a:lnTo>
                    <a:lnTo>
                      <a:pt x="54" y="388"/>
                    </a:lnTo>
                    <a:close/>
                    <a:moveTo>
                      <a:pt x="374" y="463"/>
                    </a:moveTo>
                    <a:lnTo>
                      <a:pt x="376" y="463"/>
                    </a:lnTo>
                    <a:lnTo>
                      <a:pt x="374" y="463"/>
                    </a:lnTo>
                    <a:close/>
                    <a:moveTo>
                      <a:pt x="54" y="388"/>
                    </a:moveTo>
                    <a:lnTo>
                      <a:pt x="54" y="386"/>
                    </a:lnTo>
                    <a:lnTo>
                      <a:pt x="54" y="388"/>
                    </a:lnTo>
                    <a:close/>
                    <a:moveTo>
                      <a:pt x="56" y="386"/>
                    </a:moveTo>
                    <a:lnTo>
                      <a:pt x="54" y="386"/>
                    </a:lnTo>
                    <a:lnTo>
                      <a:pt x="56" y="386"/>
                    </a:lnTo>
                    <a:close/>
                    <a:moveTo>
                      <a:pt x="57" y="388"/>
                    </a:moveTo>
                    <a:lnTo>
                      <a:pt x="56" y="388"/>
                    </a:lnTo>
                    <a:lnTo>
                      <a:pt x="57" y="388"/>
                    </a:lnTo>
                    <a:close/>
                    <a:moveTo>
                      <a:pt x="56" y="388"/>
                    </a:moveTo>
                    <a:lnTo>
                      <a:pt x="56" y="386"/>
                    </a:lnTo>
                    <a:lnTo>
                      <a:pt x="56" y="388"/>
                    </a:lnTo>
                    <a:close/>
                    <a:moveTo>
                      <a:pt x="54" y="386"/>
                    </a:moveTo>
                    <a:lnTo>
                      <a:pt x="56" y="386"/>
                    </a:lnTo>
                    <a:lnTo>
                      <a:pt x="54" y="386"/>
                    </a:lnTo>
                    <a:close/>
                    <a:moveTo>
                      <a:pt x="56" y="386"/>
                    </a:moveTo>
                    <a:lnTo>
                      <a:pt x="54" y="386"/>
                    </a:lnTo>
                    <a:lnTo>
                      <a:pt x="56" y="386"/>
                    </a:lnTo>
                    <a:close/>
                    <a:moveTo>
                      <a:pt x="52" y="384"/>
                    </a:moveTo>
                    <a:lnTo>
                      <a:pt x="50" y="384"/>
                    </a:lnTo>
                    <a:lnTo>
                      <a:pt x="52" y="384"/>
                    </a:lnTo>
                    <a:close/>
                    <a:moveTo>
                      <a:pt x="52" y="384"/>
                    </a:moveTo>
                    <a:lnTo>
                      <a:pt x="52" y="383"/>
                    </a:lnTo>
                    <a:lnTo>
                      <a:pt x="52" y="384"/>
                    </a:lnTo>
                    <a:close/>
                    <a:moveTo>
                      <a:pt x="57" y="384"/>
                    </a:moveTo>
                    <a:lnTo>
                      <a:pt x="59" y="384"/>
                    </a:lnTo>
                    <a:lnTo>
                      <a:pt x="57" y="384"/>
                    </a:lnTo>
                    <a:lnTo>
                      <a:pt x="57" y="386"/>
                    </a:lnTo>
                    <a:lnTo>
                      <a:pt x="57" y="384"/>
                    </a:lnTo>
                    <a:lnTo>
                      <a:pt x="59" y="384"/>
                    </a:lnTo>
                    <a:lnTo>
                      <a:pt x="57" y="384"/>
                    </a:lnTo>
                    <a:close/>
                    <a:moveTo>
                      <a:pt x="59" y="384"/>
                    </a:moveTo>
                    <a:lnTo>
                      <a:pt x="57" y="384"/>
                    </a:lnTo>
                    <a:lnTo>
                      <a:pt x="59" y="384"/>
                    </a:lnTo>
                    <a:close/>
                    <a:moveTo>
                      <a:pt x="56" y="384"/>
                    </a:moveTo>
                    <a:lnTo>
                      <a:pt x="56" y="383"/>
                    </a:lnTo>
                    <a:lnTo>
                      <a:pt x="56" y="384"/>
                    </a:lnTo>
                    <a:close/>
                    <a:moveTo>
                      <a:pt x="59" y="384"/>
                    </a:moveTo>
                    <a:lnTo>
                      <a:pt x="57" y="384"/>
                    </a:lnTo>
                    <a:lnTo>
                      <a:pt x="59" y="384"/>
                    </a:lnTo>
                    <a:close/>
                    <a:moveTo>
                      <a:pt x="57" y="383"/>
                    </a:moveTo>
                    <a:lnTo>
                      <a:pt x="56" y="383"/>
                    </a:lnTo>
                    <a:lnTo>
                      <a:pt x="57" y="383"/>
                    </a:lnTo>
                    <a:lnTo>
                      <a:pt x="56" y="383"/>
                    </a:lnTo>
                    <a:lnTo>
                      <a:pt x="57" y="383"/>
                    </a:lnTo>
                    <a:close/>
                    <a:moveTo>
                      <a:pt x="57" y="383"/>
                    </a:moveTo>
                    <a:lnTo>
                      <a:pt x="59" y="383"/>
                    </a:lnTo>
                    <a:lnTo>
                      <a:pt x="57" y="383"/>
                    </a:lnTo>
                    <a:close/>
                    <a:moveTo>
                      <a:pt x="61" y="381"/>
                    </a:moveTo>
                    <a:lnTo>
                      <a:pt x="61" y="383"/>
                    </a:lnTo>
                    <a:lnTo>
                      <a:pt x="61" y="381"/>
                    </a:lnTo>
                    <a:close/>
                    <a:moveTo>
                      <a:pt x="81" y="386"/>
                    </a:moveTo>
                    <a:lnTo>
                      <a:pt x="79" y="386"/>
                    </a:lnTo>
                    <a:lnTo>
                      <a:pt x="81" y="386"/>
                    </a:lnTo>
                    <a:close/>
                    <a:moveTo>
                      <a:pt x="61" y="381"/>
                    </a:moveTo>
                    <a:lnTo>
                      <a:pt x="59" y="381"/>
                    </a:lnTo>
                    <a:lnTo>
                      <a:pt x="61" y="381"/>
                    </a:lnTo>
                    <a:close/>
                    <a:moveTo>
                      <a:pt x="79" y="386"/>
                    </a:moveTo>
                    <a:lnTo>
                      <a:pt x="81" y="386"/>
                    </a:lnTo>
                    <a:lnTo>
                      <a:pt x="79" y="386"/>
                    </a:lnTo>
                    <a:close/>
                    <a:moveTo>
                      <a:pt x="79" y="384"/>
                    </a:moveTo>
                    <a:lnTo>
                      <a:pt x="79" y="386"/>
                    </a:lnTo>
                    <a:lnTo>
                      <a:pt x="79" y="384"/>
                    </a:lnTo>
                    <a:close/>
                    <a:moveTo>
                      <a:pt x="79" y="384"/>
                    </a:moveTo>
                    <a:lnTo>
                      <a:pt x="79" y="386"/>
                    </a:lnTo>
                    <a:lnTo>
                      <a:pt x="79" y="384"/>
                    </a:lnTo>
                    <a:close/>
                    <a:moveTo>
                      <a:pt x="59" y="381"/>
                    </a:moveTo>
                    <a:lnTo>
                      <a:pt x="59" y="379"/>
                    </a:lnTo>
                    <a:lnTo>
                      <a:pt x="59" y="381"/>
                    </a:lnTo>
                    <a:close/>
                    <a:moveTo>
                      <a:pt x="81" y="384"/>
                    </a:moveTo>
                    <a:lnTo>
                      <a:pt x="79" y="384"/>
                    </a:lnTo>
                    <a:lnTo>
                      <a:pt x="81" y="384"/>
                    </a:lnTo>
                    <a:close/>
                    <a:moveTo>
                      <a:pt x="374" y="452"/>
                    </a:moveTo>
                    <a:lnTo>
                      <a:pt x="374" y="450"/>
                    </a:lnTo>
                    <a:lnTo>
                      <a:pt x="374" y="452"/>
                    </a:lnTo>
                    <a:close/>
                    <a:moveTo>
                      <a:pt x="61" y="377"/>
                    </a:moveTo>
                    <a:lnTo>
                      <a:pt x="61" y="375"/>
                    </a:lnTo>
                    <a:lnTo>
                      <a:pt x="61" y="377"/>
                    </a:lnTo>
                    <a:close/>
                    <a:moveTo>
                      <a:pt x="219" y="413"/>
                    </a:moveTo>
                    <a:lnTo>
                      <a:pt x="219" y="415"/>
                    </a:lnTo>
                    <a:lnTo>
                      <a:pt x="219" y="413"/>
                    </a:lnTo>
                    <a:close/>
                    <a:moveTo>
                      <a:pt x="213" y="413"/>
                    </a:moveTo>
                    <a:lnTo>
                      <a:pt x="213" y="411"/>
                    </a:lnTo>
                    <a:lnTo>
                      <a:pt x="213" y="413"/>
                    </a:lnTo>
                    <a:close/>
                    <a:moveTo>
                      <a:pt x="211" y="408"/>
                    </a:moveTo>
                    <a:lnTo>
                      <a:pt x="209" y="408"/>
                    </a:lnTo>
                    <a:lnTo>
                      <a:pt x="211" y="408"/>
                    </a:lnTo>
                    <a:close/>
                    <a:moveTo>
                      <a:pt x="371" y="442"/>
                    </a:moveTo>
                    <a:lnTo>
                      <a:pt x="371" y="440"/>
                    </a:lnTo>
                    <a:lnTo>
                      <a:pt x="371" y="442"/>
                    </a:lnTo>
                    <a:close/>
                    <a:moveTo>
                      <a:pt x="227" y="411"/>
                    </a:moveTo>
                    <a:lnTo>
                      <a:pt x="225" y="411"/>
                    </a:lnTo>
                    <a:lnTo>
                      <a:pt x="227" y="411"/>
                    </a:lnTo>
                    <a:close/>
                    <a:moveTo>
                      <a:pt x="205" y="404"/>
                    </a:moveTo>
                    <a:lnTo>
                      <a:pt x="205" y="406"/>
                    </a:lnTo>
                    <a:lnTo>
                      <a:pt x="205" y="404"/>
                    </a:lnTo>
                    <a:close/>
                    <a:moveTo>
                      <a:pt x="203" y="404"/>
                    </a:moveTo>
                    <a:lnTo>
                      <a:pt x="205" y="404"/>
                    </a:lnTo>
                    <a:lnTo>
                      <a:pt x="203" y="404"/>
                    </a:lnTo>
                    <a:close/>
                    <a:moveTo>
                      <a:pt x="203" y="404"/>
                    </a:moveTo>
                    <a:lnTo>
                      <a:pt x="202" y="404"/>
                    </a:lnTo>
                    <a:lnTo>
                      <a:pt x="203" y="404"/>
                    </a:lnTo>
                    <a:close/>
                    <a:moveTo>
                      <a:pt x="198" y="402"/>
                    </a:moveTo>
                    <a:lnTo>
                      <a:pt x="196" y="402"/>
                    </a:lnTo>
                    <a:lnTo>
                      <a:pt x="198" y="402"/>
                    </a:lnTo>
                    <a:close/>
                    <a:moveTo>
                      <a:pt x="177" y="398"/>
                    </a:moveTo>
                    <a:lnTo>
                      <a:pt x="177" y="396"/>
                    </a:lnTo>
                    <a:lnTo>
                      <a:pt x="177" y="398"/>
                    </a:lnTo>
                    <a:close/>
                    <a:moveTo>
                      <a:pt x="228" y="409"/>
                    </a:moveTo>
                    <a:lnTo>
                      <a:pt x="227" y="409"/>
                    </a:lnTo>
                    <a:lnTo>
                      <a:pt x="228" y="409"/>
                    </a:lnTo>
                    <a:close/>
                    <a:moveTo>
                      <a:pt x="227" y="409"/>
                    </a:moveTo>
                    <a:lnTo>
                      <a:pt x="227" y="408"/>
                    </a:lnTo>
                    <a:lnTo>
                      <a:pt x="227" y="409"/>
                    </a:lnTo>
                    <a:close/>
                    <a:moveTo>
                      <a:pt x="227" y="408"/>
                    </a:moveTo>
                    <a:lnTo>
                      <a:pt x="227" y="409"/>
                    </a:lnTo>
                    <a:lnTo>
                      <a:pt x="225" y="408"/>
                    </a:lnTo>
                    <a:lnTo>
                      <a:pt x="227" y="408"/>
                    </a:lnTo>
                    <a:close/>
                    <a:moveTo>
                      <a:pt x="227" y="408"/>
                    </a:moveTo>
                    <a:lnTo>
                      <a:pt x="225" y="408"/>
                    </a:lnTo>
                    <a:lnTo>
                      <a:pt x="227" y="408"/>
                    </a:lnTo>
                    <a:close/>
                    <a:moveTo>
                      <a:pt x="200" y="402"/>
                    </a:moveTo>
                    <a:lnTo>
                      <a:pt x="198" y="402"/>
                    </a:lnTo>
                    <a:lnTo>
                      <a:pt x="200" y="402"/>
                    </a:lnTo>
                    <a:close/>
                    <a:moveTo>
                      <a:pt x="90" y="371"/>
                    </a:moveTo>
                    <a:lnTo>
                      <a:pt x="90" y="373"/>
                    </a:lnTo>
                    <a:lnTo>
                      <a:pt x="90" y="371"/>
                    </a:lnTo>
                    <a:close/>
                    <a:moveTo>
                      <a:pt x="198" y="402"/>
                    </a:moveTo>
                    <a:lnTo>
                      <a:pt x="196" y="402"/>
                    </a:lnTo>
                    <a:lnTo>
                      <a:pt x="196" y="400"/>
                    </a:lnTo>
                    <a:lnTo>
                      <a:pt x="198" y="402"/>
                    </a:lnTo>
                    <a:close/>
                    <a:moveTo>
                      <a:pt x="186" y="398"/>
                    </a:moveTo>
                    <a:lnTo>
                      <a:pt x="188" y="398"/>
                    </a:lnTo>
                    <a:lnTo>
                      <a:pt x="186" y="398"/>
                    </a:lnTo>
                    <a:close/>
                    <a:moveTo>
                      <a:pt x="228" y="408"/>
                    </a:moveTo>
                    <a:lnTo>
                      <a:pt x="228" y="409"/>
                    </a:lnTo>
                    <a:lnTo>
                      <a:pt x="228" y="408"/>
                    </a:lnTo>
                    <a:close/>
                    <a:moveTo>
                      <a:pt x="198" y="400"/>
                    </a:moveTo>
                    <a:lnTo>
                      <a:pt x="198" y="402"/>
                    </a:lnTo>
                    <a:lnTo>
                      <a:pt x="198" y="400"/>
                    </a:lnTo>
                    <a:close/>
                    <a:moveTo>
                      <a:pt x="373" y="438"/>
                    </a:moveTo>
                    <a:lnTo>
                      <a:pt x="373" y="436"/>
                    </a:lnTo>
                    <a:lnTo>
                      <a:pt x="373" y="438"/>
                    </a:lnTo>
                    <a:close/>
                    <a:moveTo>
                      <a:pt x="190" y="398"/>
                    </a:moveTo>
                    <a:lnTo>
                      <a:pt x="188" y="398"/>
                    </a:lnTo>
                    <a:lnTo>
                      <a:pt x="190" y="398"/>
                    </a:lnTo>
                    <a:close/>
                    <a:moveTo>
                      <a:pt x="177" y="394"/>
                    </a:moveTo>
                    <a:lnTo>
                      <a:pt x="175" y="394"/>
                    </a:lnTo>
                    <a:lnTo>
                      <a:pt x="177" y="394"/>
                    </a:lnTo>
                    <a:close/>
                    <a:moveTo>
                      <a:pt x="223" y="406"/>
                    </a:moveTo>
                    <a:lnTo>
                      <a:pt x="223" y="408"/>
                    </a:lnTo>
                    <a:lnTo>
                      <a:pt x="223" y="406"/>
                    </a:lnTo>
                    <a:lnTo>
                      <a:pt x="223" y="408"/>
                    </a:lnTo>
                    <a:lnTo>
                      <a:pt x="223" y="406"/>
                    </a:lnTo>
                    <a:close/>
                    <a:moveTo>
                      <a:pt x="180" y="396"/>
                    </a:moveTo>
                    <a:lnTo>
                      <a:pt x="179" y="396"/>
                    </a:lnTo>
                    <a:lnTo>
                      <a:pt x="180" y="396"/>
                    </a:lnTo>
                    <a:close/>
                    <a:moveTo>
                      <a:pt x="200" y="400"/>
                    </a:moveTo>
                    <a:lnTo>
                      <a:pt x="198" y="400"/>
                    </a:lnTo>
                    <a:lnTo>
                      <a:pt x="200" y="400"/>
                    </a:lnTo>
                    <a:close/>
                    <a:moveTo>
                      <a:pt x="184" y="396"/>
                    </a:moveTo>
                    <a:lnTo>
                      <a:pt x="182" y="396"/>
                    </a:lnTo>
                    <a:lnTo>
                      <a:pt x="184" y="396"/>
                    </a:lnTo>
                    <a:close/>
                    <a:moveTo>
                      <a:pt x="180" y="394"/>
                    </a:moveTo>
                    <a:lnTo>
                      <a:pt x="180" y="396"/>
                    </a:lnTo>
                    <a:lnTo>
                      <a:pt x="180" y="394"/>
                    </a:lnTo>
                    <a:close/>
                    <a:moveTo>
                      <a:pt x="180" y="394"/>
                    </a:moveTo>
                    <a:lnTo>
                      <a:pt x="180" y="396"/>
                    </a:lnTo>
                    <a:lnTo>
                      <a:pt x="180" y="394"/>
                    </a:lnTo>
                    <a:lnTo>
                      <a:pt x="180" y="396"/>
                    </a:lnTo>
                    <a:lnTo>
                      <a:pt x="180" y="394"/>
                    </a:lnTo>
                    <a:close/>
                    <a:moveTo>
                      <a:pt x="180" y="394"/>
                    </a:moveTo>
                    <a:lnTo>
                      <a:pt x="179" y="394"/>
                    </a:lnTo>
                    <a:lnTo>
                      <a:pt x="180" y="394"/>
                    </a:lnTo>
                    <a:close/>
                    <a:moveTo>
                      <a:pt x="196" y="398"/>
                    </a:moveTo>
                    <a:lnTo>
                      <a:pt x="196" y="400"/>
                    </a:lnTo>
                    <a:lnTo>
                      <a:pt x="196" y="398"/>
                    </a:lnTo>
                    <a:close/>
                    <a:moveTo>
                      <a:pt x="198" y="400"/>
                    </a:moveTo>
                    <a:lnTo>
                      <a:pt x="200" y="400"/>
                    </a:lnTo>
                    <a:lnTo>
                      <a:pt x="198" y="400"/>
                    </a:lnTo>
                    <a:close/>
                    <a:moveTo>
                      <a:pt x="182" y="396"/>
                    </a:moveTo>
                    <a:lnTo>
                      <a:pt x="182" y="394"/>
                    </a:lnTo>
                    <a:lnTo>
                      <a:pt x="182" y="396"/>
                    </a:lnTo>
                    <a:close/>
                    <a:moveTo>
                      <a:pt x="169" y="392"/>
                    </a:moveTo>
                    <a:lnTo>
                      <a:pt x="167" y="392"/>
                    </a:lnTo>
                    <a:lnTo>
                      <a:pt x="167" y="390"/>
                    </a:lnTo>
                    <a:lnTo>
                      <a:pt x="169" y="392"/>
                    </a:lnTo>
                    <a:close/>
                    <a:moveTo>
                      <a:pt x="180" y="394"/>
                    </a:moveTo>
                    <a:lnTo>
                      <a:pt x="179" y="394"/>
                    </a:lnTo>
                    <a:lnTo>
                      <a:pt x="180" y="394"/>
                    </a:lnTo>
                    <a:close/>
                    <a:moveTo>
                      <a:pt x="230" y="406"/>
                    </a:moveTo>
                    <a:lnTo>
                      <a:pt x="228" y="406"/>
                    </a:lnTo>
                    <a:lnTo>
                      <a:pt x="230" y="406"/>
                    </a:lnTo>
                    <a:close/>
                    <a:moveTo>
                      <a:pt x="182" y="396"/>
                    </a:moveTo>
                    <a:lnTo>
                      <a:pt x="182" y="394"/>
                    </a:lnTo>
                    <a:lnTo>
                      <a:pt x="182" y="396"/>
                    </a:lnTo>
                    <a:close/>
                    <a:moveTo>
                      <a:pt x="186" y="396"/>
                    </a:moveTo>
                    <a:lnTo>
                      <a:pt x="184" y="396"/>
                    </a:lnTo>
                    <a:lnTo>
                      <a:pt x="186" y="396"/>
                    </a:lnTo>
                    <a:close/>
                    <a:moveTo>
                      <a:pt x="177" y="392"/>
                    </a:moveTo>
                    <a:lnTo>
                      <a:pt x="177" y="394"/>
                    </a:lnTo>
                    <a:lnTo>
                      <a:pt x="177" y="392"/>
                    </a:lnTo>
                    <a:close/>
                    <a:moveTo>
                      <a:pt x="202" y="398"/>
                    </a:moveTo>
                    <a:lnTo>
                      <a:pt x="202" y="400"/>
                    </a:lnTo>
                    <a:lnTo>
                      <a:pt x="202" y="398"/>
                    </a:lnTo>
                    <a:close/>
                    <a:moveTo>
                      <a:pt x="202" y="400"/>
                    </a:moveTo>
                    <a:lnTo>
                      <a:pt x="202" y="398"/>
                    </a:lnTo>
                    <a:lnTo>
                      <a:pt x="202" y="400"/>
                    </a:lnTo>
                    <a:close/>
                    <a:moveTo>
                      <a:pt x="180" y="392"/>
                    </a:moveTo>
                    <a:lnTo>
                      <a:pt x="180" y="394"/>
                    </a:lnTo>
                    <a:lnTo>
                      <a:pt x="180" y="392"/>
                    </a:lnTo>
                    <a:close/>
                    <a:moveTo>
                      <a:pt x="196" y="398"/>
                    </a:moveTo>
                    <a:lnTo>
                      <a:pt x="196" y="396"/>
                    </a:lnTo>
                    <a:lnTo>
                      <a:pt x="196" y="398"/>
                    </a:lnTo>
                    <a:close/>
                    <a:moveTo>
                      <a:pt x="203" y="398"/>
                    </a:moveTo>
                    <a:lnTo>
                      <a:pt x="203" y="400"/>
                    </a:lnTo>
                    <a:lnTo>
                      <a:pt x="203" y="398"/>
                    </a:lnTo>
                    <a:close/>
                    <a:moveTo>
                      <a:pt x="192" y="396"/>
                    </a:moveTo>
                    <a:lnTo>
                      <a:pt x="194" y="396"/>
                    </a:lnTo>
                    <a:lnTo>
                      <a:pt x="192" y="396"/>
                    </a:lnTo>
                    <a:close/>
                    <a:moveTo>
                      <a:pt x="167" y="388"/>
                    </a:moveTo>
                    <a:lnTo>
                      <a:pt x="167" y="390"/>
                    </a:lnTo>
                    <a:lnTo>
                      <a:pt x="167" y="388"/>
                    </a:lnTo>
                    <a:close/>
                    <a:moveTo>
                      <a:pt x="182" y="392"/>
                    </a:moveTo>
                    <a:lnTo>
                      <a:pt x="182" y="394"/>
                    </a:lnTo>
                    <a:lnTo>
                      <a:pt x="182" y="392"/>
                    </a:lnTo>
                    <a:close/>
                    <a:moveTo>
                      <a:pt x="188" y="394"/>
                    </a:moveTo>
                    <a:lnTo>
                      <a:pt x="190" y="394"/>
                    </a:lnTo>
                    <a:lnTo>
                      <a:pt x="188" y="394"/>
                    </a:lnTo>
                    <a:close/>
                    <a:moveTo>
                      <a:pt x="175" y="390"/>
                    </a:moveTo>
                    <a:lnTo>
                      <a:pt x="175" y="392"/>
                    </a:lnTo>
                    <a:lnTo>
                      <a:pt x="175" y="390"/>
                    </a:lnTo>
                    <a:close/>
                    <a:moveTo>
                      <a:pt x="90" y="367"/>
                    </a:moveTo>
                    <a:lnTo>
                      <a:pt x="88" y="367"/>
                    </a:lnTo>
                    <a:lnTo>
                      <a:pt x="90" y="367"/>
                    </a:lnTo>
                    <a:close/>
                    <a:moveTo>
                      <a:pt x="200" y="396"/>
                    </a:moveTo>
                    <a:lnTo>
                      <a:pt x="200" y="398"/>
                    </a:lnTo>
                    <a:lnTo>
                      <a:pt x="200" y="396"/>
                    </a:lnTo>
                    <a:close/>
                    <a:moveTo>
                      <a:pt x="194" y="396"/>
                    </a:moveTo>
                    <a:lnTo>
                      <a:pt x="192" y="396"/>
                    </a:lnTo>
                    <a:lnTo>
                      <a:pt x="194" y="396"/>
                    </a:lnTo>
                    <a:close/>
                    <a:moveTo>
                      <a:pt x="179" y="390"/>
                    </a:moveTo>
                    <a:lnTo>
                      <a:pt x="179" y="392"/>
                    </a:lnTo>
                    <a:lnTo>
                      <a:pt x="179" y="390"/>
                    </a:lnTo>
                    <a:close/>
                    <a:moveTo>
                      <a:pt x="188" y="394"/>
                    </a:moveTo>
                    <a:lnTo>
                      <a:pt x="186" y="394"/>
                    </a:lnTo>
                    <a:lnTo>
                      <a:pt x="188" y="394"/>
                    </a:lnTo>
                    <a:close/>
                    <a:moveTo>
                      <a:pt x="203" y="398"/>
                    </a:moveTo>
                    <a:lnTo>
                      <a:pt x="202" y="398"/>
                    </a:lnTo>
                    <a:lnTo>
                      <a:pt x="203" y="398"/>
                    </a:lnTo>
                    <a:close/>
                    <a:moveTo>
                      <a:pt x="203" y="398"/>
                    </a:moveTo>
                    <a:lnTo>
                      <a:pt x="203" y="396"/>
                    </a:lnTo>
                    <a:lnTo>
                      <a:pt x="203" y="398"/>
                    </a:lnTo>
                    <a:close/>
                    <a:moveTo>
                      <a:pt x="177" y="390"/>
                    </a:moveTo>
                    <a:lnTo>
                      <a:pt x="175" y="390"/>
                    </a:lnTo>
                    <a:lnTo>
                      <a:pt x="177" y="390"/>
                    </a:lnTo>
                    <a:close/>
                    <a:moveTo>
                      <a:pt x="173" y="388"/>
                    </a:moveTo>
                    <a:lnTo>
                      <a:pt x="173" y="386"/>
                    </a:lnTo>
                    <a:lnTo>
                      <a:pt x="173" y="388"/>
                    </a:lnTo>
                    <a:close/>
                    <a:moveTo>
                      <a:pt x="163" y="383"/>
                    </a:moveTo>
                    <a:lnTo>
                      <a:pt x="163" y="384"/>
                    </a:lnTo>
                    <a:lnTo>
                      <a:pt x="163" y="383"/>
                    </a:lnTo>
                    <a:close/>
                    <a:moveTo>
                      <a:pt x="165" y="383"/>
                    </a:moveTo>
                    <a:lnTo>
                      <a:pt x="163" y="384"/>
                    </a:lnTo>
                    <a:lnTo>
                      <a:pt x="163" y="383"/>
                    </a:lnTo>
                    <a:lnTo>
                      <a:pt x="165" y="383"/>
                    </a:lnTo>
                    <a:close/>
                    <a:moveTo>
                      <a:pt x="202" y="392"/>
                    </a:moveTo>
                    <a:lnTo>
                      <a:pt x="202" y="394"/>
                    </a:lnTo>
                    <a:lnTo>
                      <a:pt x="202" y="392"/>
                    </a:lnTo>
                    <a:close/>
                    <a:moveTo>
                      <a:pt x="200" y="392"/>
                    </a:moveTo>
                    <a:lnTo>
                      <a:pt x="200" y="390"/>
                    </a:lnTo>
                    <a:lnTo>
                      <a:pt x="200" y="392"/>
                    </a:lnTo>
                    <a:close/>
                    <a:moveTo>
                      <a:pt x="84" y="359"/>
                    </a:moveTo>
                    <a:lnTo>
                      <a:pt x="86" y="359"/>
                    </a:lnTo>
                    <a:lnTo>
                      <a:pt x="84" y="359"/>
                    </a:lnTo>
                    <a:close/>
                    <a:moveTo>
                      <a:pt x="155" y="379"/>
                    </a:moveTo>
                    <a:lnTo>
                      <a:pt x="155" y="381"/>
                    </a:lnTo>
                    <a:lnTo>
                      <a:pt x="155" y="379"/>
                    </a:lnTo>
                    <a:close/>
                    <a:moveTo>
                      <a:pt x="163" y="381"/>
                    </a:moveTo>
                    <a:lnTo>
                      <a:pt x="161" y="381"/>
                    </a:lnTo>
                    <a:lnTo>
                      <a:pt x="163" y="381"/>
                    </a:lnTo>
                    <a:close/>
                    <a:moveTo>
                      <a:pt x="184" y="386"/>
                    </a:moveTo>
                    <a:lnTo>
                      <a:pt x="182" y="386"/>
                    </a:lnTo>
                    <a:lnTo>
                      <a:pt x="184" y="386"/>
                    </a:lnTo>
                    <a:close/>
                    <a:moveTo>
                      <a:pt x="180" y="386"/>
                    </a:moveTo>
                    <a:lnTo>
                      <a:pt x="180" y="384"/>
                    </a:lnTo>
                    <a:lnTo>
                      <a:pt x="180" y="386"/>
                    </a:lnTo>
                    <a:lnTo>
                      <a:pt x="180" y="384"/>
                    </a:lnTo>
                    <a:lnTo>
                      <a:pt x="180" y="386"/>
                    </a:lnTo>
                    <a:close/>
                    <a:moveTo>
                      <a:pt x="180" y="386"/>
                    </a:moveTo>
                    <a:lnTo>
                      <a:pt x="180" y="384"/>
                    </a:lnTo>
                    <a:lnTo>
                      <a:pt x="180" y="386"/>
                    </a:lnTo>
                    <a:close/>
                    <a:moveTo>
                      <a:pt x="203" y="390"/>
                    </a:moveTo>
                    <a:lnTo>
                      <a:pt x="203" y="392"/>
                    </a:lnTo>
                    <a:lnTo>
                      <a:pt x="203" y="390"/>
                    </a:lnTo>
                    <a:close/>
                    <a:moveTo>
                      <a:pt x="180" y="384"/>
                    </a:moveTo>
                    <a:lnTo>
                      <a:pt x="179" y="384"/>
                    </a:lnTo>
                    <a:lnTo>
                      <a:pt x="180" y="384"/>
                    </a:lnTo>
                    <a:close/>
                    <a:moveTo>
                      <a:pt x="155" y="377"/>
                    </a:moveTo>
                    <a:lnTo>
                      <a:pt x="154" y="377"/>
                    </a:lnTo>
                    <a:lnTo>
                      <a:pt x="155" y="377"/>
                    </a:lnTo>
                    <a:close/>
                    <a:moveTo>
                      <a:pt x="155" y="379"/>
                    </a:moveTo>
                    <a:lnTo>
                      <a:pt x="155" y="377"/>
                    </a:lnTo>
                    <a:lnTo>
                      <a:pt x="155" y="379"/>
                    </a:lnTo>
                    <a:close/>
                    <a:moveTo>
                      <a:pt x="202" y="388"/>
                    </a:moveTo>
                    <a:lnTo>
                      <a:pt x="200" y="388"/>
                    </a:lnTo>
                    <a:lnTo>
                      <a:pt x="202" y="388"/>
                    </a:lnTo>
                    <a:close/>
                    <a:moveTo>
                      <a:pt x="163" y="381"/>
                    </a:moveTo>
                    <a:lnTo>
                      <a:pt x="163" y="379"/>
                    </a:lnTo>
                    <a:lnTo>
                      <a:pt x="163" y="381"/>
                    </a:lnTo>
                    <a:close/>
                    <a:moveTo>
                      <a:pt x="232" y="396"/>
                    </a:moveTo>
                    <a:lnTo>
                      <a:pt x="234" y="396"/>
                    </a:lnTo>
                    <a:lnTo>
                      <a:pt x="232" y="396"/>
                    </a:lnTo>
                    <a:close/>
                    <a:moveTo>
                      <a:pt x="203" y="388"/>
                    </a:moveTo>
                    <a:lnTo>
                      <a:pt x="203" y="390"/>
                    </a:lnTo>
                    <a:lnTo>
                      <a:pt x="203" y="388"/>
                    </a:lnTo>
                    <a:close/>
                    <a:moveTo>
                      <a:pt x="84" y="356"/>
                    </a:moveTo>
                    <a:lnTo>
                      <a:pt x="84" y="358"/>
                    </a:lnTo>
                    <a:lnTo>
                      <a:pt x="84" y="356"/>
                    </a:lnTo>
                    <a:close/>
                    <a:moveTo>
                      <a:pt x="175" y="383"/>
                    </a:moveTo>
                    <a:lnTo>
                      <a:pt x="175" y="381"/>
                    </a:lnTo>
                    <a:lnTo>
                      <a:pt x="175" y="383"/>
                    </a:lnTo>
                    <a:close/>
                    <a:moveTo>
                      <a:pt x="202" y="388"/>
                    </a:moveTo>
                    <a:lnTo>
                      <a:pt x="202" y="386"/>
                    </a:lnTo>
                    <a:lnTo>
                      <a:pt x="202" y="388"/>
                    </a:lnTo>
                    <a:close/>
                    <a:moveTo>
                      <a:pt x="179" y="381"/>
                    </a:moveTo>
                    <a:lnTo>
                      <a:pt x="179" y="383"/>
                    </a:lnTo>
                    <a:lnTo>
                      <a:pt x="179" y="381"/>
                    </a:lnTo>
                    <a:lnTo>
                      <a:pt x="179" y="383"/>
                    </a:lnTo>
                    <a:lnTo>
                      <a:pt x="179" y="381"/>
                    </a:lnTo>
                    <a:close/>
                    <a:moveTo>
                      <a:pt x="234" y="396"/>
                    </a:moveTo>
                    <a:lnTo>
                      <a:pt x="234" y="394"/>
                    </a:lnTo>
                    <a:lnTo>
                      <a:pt x="234" y="396"/>
                    </a:lnTo>
                    <a:close/>
                    <a:moveTo>
                      <a:pt x="196" y="384"/>
                    </a:moveTo>
                    <a:lnTo>
                      <a:pt x="196" y="386"/>
                    </a:lnTo>
                    <a:lnTo>
                      <a:pt x="196" y="384"/>
                    </a:lnTo>
                    <a:close/>
                    <a:moveTo>
                      <a:pt x="177" y="381"/>
                    </a:moveTo>
                    <a:lnTo>
                      <a:pt x="175" y="381"/>
                    </a:lnTo>
                    <a:lnTo>
                      <a:pt x="177" y="381"/>
                    </a:lnTo>
                    <a:close/>
                    <a:moveTo>
                      <a:pt x="238" y="394"/>
                    </a:moveTo>
                    <a:lnTo>
                      <a:pt x="238" y="396"/>
                    </a:lnTo>
                    <a:lnTo>
                      <a:pt x="238" y="394"/>
                    </a:lnTo>
                    <a:close/>
                    <a:moveTo>
                      <a:pt x="161" y="375"/>
                    </a:moveTo>
                    <a:lnTo>
                      <a:pt x="161" y="377"/>
                    </a:lnTo>
                    <a:lnTo>
                      <a:pt x="161" y="375"/>
                    </a:lnTo>
                    <a:close/>
                    <a:moveTo>
                      <a:pt x="161" y="377"/>
                    </a:moveTo>
                    <a:lnTo>
                      <a:pt x="161" y="375"/>
                    </a:lnTo>
                    <a:lnTo>
                      <a:pt x="161" y="377"/>
                    </a:lnTo>
                    <a:close/>
                    <a:moveTo>
                      <a:pt x="177" y="381"/>
                    </a:moveTo>
                    <a:lnTo>
                      <a:pt x="177" y="379"/>
                    </a:lnTo>
                    <a:lnTo>
                      <a:pt x="177" y="381"/>
                    </a:lnTo>
                    <a:close/>
                    <a:moveTo>
                      <a:pt x="177" y="379"/>
                    </a:moveTo>
                    <a:lnTo>
                      <a:pt x="177" y="381"/>
                    </a:lnTo>
                    <a:lnTo>
                      <a:pt x="177" y="379"/>
                    </a:lnTo>
                    <a:close/>
                    <a:moveTo>
                      <a:pt x="209" y="388"/>
                    </a:moveTo>
                    <a:lnTo>
                      <a:pt x="209" y="386"/>
                    </a:lnTo>
                    <a:lnTo>
                      <a:pt x="209" y="388"/>
                    </a:lnTo>
                    <a:close/>
                    <a:moveTo>
                      <a:pt x="209" y="388"/>
                    </a:moveTo>
                    <a:lnTo>
                      <a:pt x="211" y="388"/>
                    </a:lnTo>
                    <a:lnTo>
                      <a:pt x="209" y="388"/>
                    </a:lnTo>
                    <a:close/>
                    <a:moveTo>
                      <a:pt x="157" y="373"/>
                    </a:moveTo>
                    <a:lnTo>
                      <a:pt x="157" y="375"/>
                    </a:lnTo>
                    <a:lnTo>
                      <a:pt x="157" y="373"/>
                    </a:lnTo>
                    <a:lnTo>
                      <a:pt x="157" y="375"/>
                    </a:lnTo>
                    <a:lnTo>
                      <a:pt x="157" y="373"/>
                    </a:lnTo>
                    <a:close/>
                    <a:moveTo>
                      <a:pt x="179" y="379"/>
                    </a:moveTo>
                    <a:lnTo>
                      <a:pt x="177" y="379"/>
                    </a:lnTo>
                    <a:lnTo>
                      <a:pt x="179" y="379"/>
                    </a:lnTo>
                    <a:close/>
                    <a:moveTo>
                      <a:pt x="179" y="379"/>
                    </a:moveTo>
                    <a:lnTo>
                      <a:pt x="177" y="379"/>
                    </a:lnTo>
                    <a:lnTo>
                      <a:pt x="179" y="379"/>
                    </a:lnTo>
                    <a:close/>
                    <a:moveTo>
                      <a:pt x="253" y="396"/>
                    </a:moveTo>
                    <a:lnTo>
                      <a:pt x="253" y="398"/>
                    </a:lnTo>
                    <a:lnTo>
                      <a:pt x="253" y="396"/>
                    </a:lnTo>
                    <a:close/>
                    <a:moveTo>
                      <a:pt x="179" y="379"/>
                    </a:moveTo>
                    <a:lnTo>
                      <a:pt x="177" y="379"/>
                    </a:lnTo>
                    <a:lnTo>
                      <a:pt x="179" y="379"/>
                    </a:lnTo>
                    <a:close/>
                    <a:moveTo>
                      <a:pt x="132" y="365"/>
                    </a:moveTo>
                    <a:lnTo>
                      <a:pt x="130" y="365"/>
                    </a:lnTo>
                    <a:lnTo>
                      <a:pt x="132" y="365"/>
                    </a:lnTo>
                    <a:close/>
                    <a:moveTo>
                      <a:pt x="159" y="373"/>
                    </a:moveTo>
                    <a:lnTo>
                      <a:pt x="157" y="373"/>
                    </a:lnTo>
                    <a:lnTo>
                      <a:pt x="159" y="373"/>
                    </a:lnTo>
                    <a:close/>
                    <a:moveTo>
                      <a:pt x="484" y="438"/>
                    </a:moveTo>
                    <a:lnTo>
                      <a:pt x="484" y="436"/>
                    </a:lnTo>
                    <a:lnTo>
                      <a:pt x="484" y="438"/>
                    </a:lnTo>
                    <a:close/>
                    <a:moveTo>
                      <a:pt x="155" y="373"/>
                    </a:moveTo>
                    <a:lnTo>
                      <a:pt x="155" y="371"/>
                    </a:lnTo>
                    <a:lnTo>
                      <a:pt x="155" y="373"/>
                    </a:lnTo>
                    <a:close/>
                    <a:moveTo>
                      <a:pt x="129" y="365"/>
                    </a:moveTo>
                    <a:lnTo>
                      <a:pt x="129" y="363"/>
                    </a:lnTo>
                    <a:lnTo>
                      <a:pt x="129" y="365"/>
                    </a:lnTo>
                    <a:close/>
                    <a:moveTo>
                      <a:pt x="373" y="419"/>
                    </a:moveTo>
                    <a:lnTo>
                      <a:pt x="371" y="419"/>
                    </a:lnTo>
                    <a:lnTo>
                      <a:pt x="373" y="419"/>
                    </a:lnTo>
                    <a:close/>
                    <a:moveTo>
                      <a:pt x="154" y="371"/>
                    </a:moveTo>
                    <a:lnTo>
                      <a:pt x="154" y="369"/>
                    </a:lnTo>
                    <a:lnTo>
                      <a:pt x="154" y="371"/>
                    </a:lnTo>
                    <a:close/>
                    <a:moveTo>
                      <a:pt x="371" y="419"/>
                    </a:moveTo>
                    <a:lnTo>
                      <a:pt x="371" y="417"/>
                    </a:lnTo>
                    <a:lnTo>
                      <a:pt x="371" y="419"/>
                    </a:lnTo>
                    <a:close/>
                    <a:moveTo>
                      <a:pt x="177" y="375"/>
                    </a:moveTo>
                    <a:lnTo>
                      <a:pt x="177" y="377"/>
                    </a:lnTo>
                    <a:lnTo>
                      <a:pt x="177" y="375"/>
                    </a:lnTo>
                    <a:close/>
                    <a:moveTo>
                      <a:pt x="134" y="363"/>
                    </a:moveTo>
                    <a:lnTo>
                      <a:pt x="132" y="363"/>
                    </a:lnTo>
                    <a:lnTo>
                      <a:pt x="134" y="363"/>
                    </a:lnTo>
                    <a:close/>
                    <a:moveTo>
                      <a:pt x="134" y="363"/>
                    </a:moveTo>
                    <a:lnTo>
                      <a:pt x="132" y="363"/>
                    </a:lnTo>
                    <a:lnTo>
                      <a:pt x="134" y="363"/>
                    </a:lnTo>
                    <a:close/>
                    <a:moveTo>
                      <a:pt x="134" y="363"/>
                    </a:moveTo>
                    <a:lnTo>
                      <a:pt x="132" y="363"/>
                    </a:lnTo>
                    <a:lnTo>
                      <a:pt x="134" y="363"/>
                    </a:lnTo>
                    <a:close/>
                    <a:moveTo>
                      <a:pt x="211" y="383"/>
                    </a:moveTo>
                    <a:lnTo>
                      <a:pt x="211" y="384"/>
                    </a:lnTo>
                    <a:lnTo>
                      <a:pt x="211" y="383"/>
                    </a:lnTo>
                    <a:close/>
                    <a:moveTo>
                      <a:pt x="138" y="363"/>
                    </a:moveTo>
                    <a:lnTo>
                      <a:pt x="136" y="363"/>
                    </a:lnTo>
                    <a:lnTo>
                      <a:pt x="138" y="363"/>
                    </a:lnTo>
                    <a:close/>
                    <a:moveTo>
                      <a:pt x="134" y="363"/>
                    </a:moveTo>
                    <a:lnTo>
                      <a:pt x="132" y="363"/>
                    </a:lnTo>
                    <a:lnTo>
                      <a:pt x="134" y="363"/>
                    </a:lnTo>
                    <a:close/>
                    <a:moveTo>
                      <a:pt x="482" y="433"/>
                    </a:moveTo>
                    <a:lnTo>
                      <a:pt x="482" y="434"/>
                    </a:lnTo>
                    <a:lnTo>
                      <a:pt x="482" y="433"/>
                    </a:lnTo>
                    <a:close/>
                    <a:moveTo>
                      <a:pt x="132" y="363"/>
                    </a:moveTo>
                    <a:lnTo>
                      <a:pt x="132" y="361"/>
                    </a:lnTo>
                    <a:lnTo>
                      <a:pt x="132" y="363"/>
                    </a:lnTo>
                    <a:close/>
                    <a:moveTo>
                      <a:pt x="252" y="392"/>
                    </a:moveTo>
                    <a:lnTo>
                      <a:pt x="253" y="392"/>
                    </a:lnTo>
                    <a:lnTo>
                      <a:pt x="252" y="392"/>
                    </a:lnTo>
                    <a:close/>
                    <a:moveTo>
                      <a:pt x="188" y="377"/>
                    </a:moveTo>
                    <a:lnTo>
                      <a:pt x="190" y="377"/>
                    </a:lnTo>
                    <a:lnTo>
                      <a:pt x="188" y="377"/>
                    </a:lnTo>
                    <a:close/>
                    <a:moveTo>
                      <a:pt x="134" y="361"/>
                    </a:moveTo>
                    <a:lnTo>
                      <a:pt x="132" y="361"/>
                    </a:lnTo>
                    <a:lnTo>
                      <a:pt x="134" y="361"/>
                    </a:lnTo>
                    <a:close/>
                    <a:moveTo>
                      <a:pt x="190" y="377"/>
                    </a:moveTo>
                    <a:lnTo>
                      <a:pt x="188" y="377"/>
                    </a:lnTo>
                    <a:lnTo>
                      <a:pt x="190" y="377"/>
                    </a:lnTo>
                    <a:close/>
                    <a:moveTo>
                      <a:pt x="179" y="373"/>
                    </a:moveTo>
                    <a:lnTo>
                      <a:pt x="179" y="375"/>
                    </a:lnTo>
                    <a:lnTo>
                      <a:pt x="179" y="373"/>
                    </a:lnTo>
                    <a:close/>
                    <a:moveTo>
                      <a:pt x="134" y="363"/>
                    </a:moveTo>
                    <a:lnTo>
                      <a:pt x="134" y="361"/>
                    </a:lnTo>
                    <a:lnTo>
                      <a:pt x="134" y="363"/>
                    </a:lnTo>
                    <a:close/>
                    <a:moveTo>
                      <a:pt x="205" y="379"/>
                    </a:moveTo>
                    <a:lnTo>
                      <a:pt x="205" y="381"/>
                    </a:lnTo>
                    <a:lnTo>
                      <a:pt x="205" y="379"/>
                    </a:lnTo>
                    <a:lnTo>
                      <a:pt x="203" y="379"/>
                    </a:lnTo>
                    <a:lnTo>
                      <a:pt x="205" y="379"/>
                    </a:lnTo>
                    <a:close/>
                    <a:moveTo>
                      <a:pt x="190" y="375"/>
                    </a:moveTo>
                    <a:lnTo>
                      <a:pt x="188" y="375"/>
                    </a:lnTo>
                    <a:lnTo>
                      <a:pt x="190" y="375"/>
                    </a:lnTo>
                    <a:close/>
                    <a:moveTo>
                      <a:pt x="163" y="367"/>
                    </a:moveTo>
                    <a:lnTo>
                      <a:pt x="163" y="369"/>
                    </a:lnTo>
                    <a:lnTo>
                      <a:pt x="163" y="367"/>
                    </a:lnTo>
                    <a:close/>
                    <a:moveTo>
                      <a:pt x="203" y="377"/>
                    </a:moveTo>
                    <a:lnTo>
                      <a:pt x="202" y="377"/>
                    </a:lnTo>
                    <a:lnTo>
                      <a:pt x="203" y="377"/>
                    </a:lnTo>
                    <a:close/>
                    <a:moveTo>
                      <a:pt x="215" y="379"/>
                    </a:moveTo>
                    <a:lnTo>
                      <a:pt x="213" y="379"/>
                    </a:lnTo>
                    <a:lnTo>
                      <a:pt x="215" y="379"/>
                    </a:lnTo>
                    <a:close/>
                    <a:moveTo>
                      <a:pt x="148" y="361"/>
                    </a:moveTo>
                    <a:lnTo>
                      <a:pt x="146" y="361"/>
                    </a:lnTo>
                    <a:lnTo>
                      <a:pt x="148" y="361"/>
                    </a:lnTo>
                    <a:close/>
                    <a:moveTo>
                      <a:pt x="196" y="373"/>
                    </a:moveTo>
                    <a:lnTo>
                      <a:pt x="196" y="375"/>
                    </a:lnTo>
                    <a:lnTo>
                      <a:pt x="196" y="373"/>
                    </a:lnTo>
                    <a:close/>
                    <a:moveTo>
                      <a:pt x="175" y="367"/>
                    </a:moveTo>
                    <a:lnTo>
                      <a:pt x="173" y="367"/>
                    </a:lnTo>
                    <a:lnTo>
                      <a:pt x="175" y="367"/>
                    </a:lnTo>
                    <a:close/>
                    <a:moveTo>
                      <a:pt x="175" y="367"/>
                    </a:moveTo>
                    <a:lnTo>
                      <a:pt x="173" y="367"/>
                    </a:lnTo>
                    <a:lnTo>
                      <a:pt x="175" y="367"/>
                    </a:lnTo>
                    <a:close/>
                    <a:moveTo>
                      <a:pt x="213" y="377"/>
                    </a:moveTo>
                    <a:lnTo>
                      <a:pt x="215" y="377"/>
                    </a:lnTo>
                    <a:lnTo>
                      <a:pt x="213" y="377"/>
                    </a:lnTo>
                    <a:close/>
                    <a:moveTo>
                      <a:pt x="265" y="386"/>
                    </a:moveTo>
                    <a:lnTo>
                      <a:pt x="263" y="386"/>
                    </a:lnTo>
                    <a:lnTo>
                      <a:pt x="265" y="386"/>
                    </a:lnTo>
                    <a:close/>
                    <a:moveTo>
                      <a:pt x="219" y="375"/>
                    </a:moveTo>
                    <a:lnTo>
                      <a:pt x="217" y="375"/>
                    </a:lnTo>
                    <a:lnTo>
                      <a:pt x="219" y="375"/>
                    </a:lnTo>
                    <a:close/>
                    <a:moveTo>
                      <a:pt x="265" y="386"/>
                    </a:moveTo>
                    <a:lnTo>
                      <a:pt x="263" y="386"/>
                    </a:lnTo>
                    <a:lnTo>
                      <a:pt x="265" y="386"/>
                    </a:lnTo>
                    <a:close/>
                    <a:moveTo>
                      <a:pt x="476" y="425"/>
                    </a:moveTo>
                    <a:lnTo>
                      <a:pt x="476" y="423"/>
                    </a:lnTo>
                    <a:lnTo>
                      <a:pt x="476" y="425"/>
                    </a:lnTo>
                    <a:close/>
                    <a:moveTo>
                      <a:pt x="215" y="375"/>
                    </a:moveTo>
                    <a:lnTo>
                      <a:pt x="213" y="375"/>
                    </a:lnTo>
                    <a:lnTo>
                      <a:pt x="215" y="375"/>
                    </a:lnTo>
                    <a:close/>
                    <a:moveTo>
                      <a:pt x="207" y="371"/>
                    </a:moveTo>
                    <a:lnTo>
                      <a:pt x="205" y="371"/>
                    </a:lnTo>
                    <a:lnTo>
                      <a:pt x="207" y="371"/>
                    </a:lnTo>
                    <a:close/>
                    <a:moveTo>
                      <a:pt x="154" y="358"/>
                    </a:moveTo>
                    <a:lnTo>
                      <a:pt x="152" y="358"/>
                    </a:lnTo>
                    <a:lnTo>
                      <a:pt x="154" y="358"/>
                    </a:lnTo>
                    <a:close/>
                    <a:moveTo>
                      <a:pt x="213" y="371"/>
                    </a:moveTo>
                    <a:lnTo>
                      <a:pt x="213" y="373"/>
                    </a:lnTo>
                    <a:lnTo>
                      <a:pt x="213" y="371"/>
                    </a:lnTo>
                    <a:close/>
                    <a:moveTo>
                      <a:pt x="150" y="356"/>
                    </a:moveTo>
                    <a:lnTo>
                      <a:pt x="148" y="356"/>
                    </a:lnTo>
                    <a:lnTo>
                      <a:pt x="150" y="356"/>
                    </a:lnTo>
                    <a:close/>
                    <a:moveTo>
                      <a:pt x="155" y="358"/>
                    </a:moveTo>
                    <a:lnTo>
                      <a:pt x="155" y="356"/>
                    </a:lnTo>
                    <a:lnTo>
                      <a:pt x="155" y="358"/>
                    </a:lnTo>
                    <a:close/>
                    <a:moveTo>
                      <a:pt x="157" y="356"/>
                    </a:moveTo>
                    <a:lnTo>
                      <a:pt x="157" y="358"/>
                    </a:lnTo>
                    <a:lnTo>
                      <a:pt x="157" y="356"/>
                    </a:lnTo>
                    <a:close/>
                    <a:moveTo>
                      <a:pt x="217" y="371"/>
                    </a:moveTo>
                    <a:lnTo>
                      <a:pt x="217" y="373"/>
                    </a:lnTo>
                    <a:lnTo>
                      <a:pt x="217" y="371"/>
                    </a:lnTo>
                    <a:lnTo>
                      <a:pt x="217" y="373"/>
                    </a:lnTo>
                    <a:lnTo>
                      <a:pt x="217" y="371"/>
                    </a:lnTo>
                    <a:close/>
                    <a:moveTo>
                      <a:pt x="474" y="419"/>
                    </a:moveTo>
                    <a:lnTo>
                      <a:pt x="472" y="419"/>
                    </a:lnTo>
                    <a:lnTo>
                      <a:pt x="474" y="419"/>
                    </a:lnTo>
                    <a:close/>
                    <a:moveTo>
                      <a:pt x="267" y="383"/>
                    </a:moveTo>
                    <a:lnTo>
                      <a:pt x="267" y="381"/>
                    </a:lnTo>
                    <a:lnTo>
                      <a:pt x="267" y="383"/>
                    </a:lnTo>
                    <a:close/>
                    <a:moveTo>
                      <a:pt x="267" y="383"/>
                    </a:moveTo>
                    <a:lnTo>
                      <a:pt x="267" y="381"/>
                    </a:lnTo>
                    <a:lnTo>
                      <a:pt x="267" y="383"/>
                    </a:lnTo>
                    <a:close/>
                    <a:moveTo>
                      <a:pt x="378" y="402"/>
                    </a:moveTo>
                    <a:lnTo>
                      <a:pt x="376" y="402"/>
                    </a:lnTo>
                    <a:lnTo>
                      <a:pt x="378" y="402"/>
                    </a:lnTo>
                    <a:close/>
                    <a:moveTo>
                      <a:pt x="440" y="409"/>
                    </a:moveTo>
                    <a:lnTo>
                      <a:pt x="438" y="409"/>
                    </a:lnTo>
                    <a:lnTo>
                      <a:pt x="440" y="409"/>
                    </a:lnTo>
                    <a:close/>
                    <a:moveTo>
                      <a:pt x="440" y="409"/>
                    </a:moveTo>
                    <a:lnTo>
                      <a:pt x="438" y="409"/>
                    </a:lnTo>
                    <a:lnTo>
                      <a:pt x="440" y="409"/>
                    </a:lnTo>
                    <a:close/>
                    <a:moveTo>
                      <a:pt x="438" y="409"/>
                    </a:moveTo>
                    <a:lnTo>
                      <a:pt x="438" y="408"/>
                    </a:lnTo>
                    <a:lnTo>
                      <a:pt x="438" y="409"/>
                    </a:lnTo>
                    <a:close/>
                    <a:moveTo>
                      <a:pt x="432" y="404"/>
                    </a:moveTo>
                    <a:lnTo>
                      <a:pt x="432" y="406"/>
                    </a:lnTo>
                    <a:lnTo>
                      <a:pt x="432" y="404"/>
                    </a:lnTo>
                    <a:close/>
                    <a:moveTo>
                      <a:pt x="432" y="404"/>
                    </a:moveTo>
                    <a:lnTo>
                      <a:pt x="432" y="406"/>
                    </a:lnTo>
                    <a:lnTo>
                      <a:pt x="432" y="404"/>
                    </a:lnTo>
                    <a:close/>
                    <a:moveTo>
                      <a:pt x="449" y="408"/>
                    </a:moveTo>
                    <a:lnTo>
                      <a:pt x="451" y="408"/>
                    </a:lnTo>
                    <a:lnTo>
                      <a:pt x="449" y="408"/>
                    </a:lnTo>
                    <a:close/>
                    <a:moveTo>
                      <a:pt x="451" y="408"/>
                    </a:moveTo>
                    <a:lnTo>
                      <a:pt x="451" y="406"/>
                    </a:lnTo>
                    <a:lnTo>
                      <a:pt x="451" y="408"/>
                    </a:lnTo>
                    <a:close/>
                    <a:moveTo>
                      <a:pt x="444" y="406"/>
                    </a:moveTo>
                    <a:lnTo>
                      <a:pt x="442" y="406"/>
                    </a:lnTo>
                    <a:lnTo>
                      <a:pt x="444" y="406"/>
                    </a:lnTo>
                    <a:close/>
                    <a:moveTo>
                      <a:pt x="432" y="404"/>
                    </a:moveTo>
                    <a:lnTo>
                      <a:pt x="434" y="404"/>
                    </a:lnTo>
                    <a:lnTo>
                      <a:pt x="432" y="404"/>
                    </a:lnTo>
                    <a:close/>
                    <a:moveTo>
                      <a:pt x="432" y="404"/>
                    </a:moveTo>
                    <a:lnTo>
                      <a:pt x="434" y="404"/>
                    </a:lnTo>
                    <a:lnTo>
                      <a:pt x="432" y="404"/>
                    </a:lnTo>
                    <a:close/>
                    <a:moveTo>
                      <a:pt x="434" y="402"/>
                    </a:moveTo>
                    <a:lnTo>
                      <a:pt x="434" y="404"/>
                    </a:lnTo>
                    <a:lnTo>
                      <a:pt x="434" y="402"/>
                    </a:lnTo>
                    <a:close/>
                    <a:moveTo>
                      <a:pt x="230" y="361"/>
                    </a:moveTo>
                    <a:lnTo>
                      <a:pt x="228" y="361"/>
                    </a:lnTo>
                    <a:lnTo>
                      <a:pt x="230" y="361"/>
                    </a:lnTo>
                    <a:close/>
                    <a:moveTo>
                      <a:pt x="426" y="400"/>
                    </a:moveTo>
                    <a:lnTo>
                      <a:pt x="426" y="398"/>
                    </a:lnTo>
                    <a:lnTo>
                      <a:pt x="426" y="400"/>
                    </a:lnTo>
                    <a:close/>
                    <a:moveTo>
                      <a:pt x="432" y="400"/>
                    </a:moveTo>
                    <a:lnTo>
                      <a:pt x="430" y="400"/>
                    </a:lnTo>
                    <a:lnTo>
                      <a:pt x="432" y="400"/>
                    </a:lnTo>
                    <a:close/>
                    <a:moveTo>
                      <a:pt x="428" y="398"/>
                    </a:moveTo>
                    <a:lnTo>
                      <a:pt x="426" y="398"/>
                    </a:lnTo>
                    <a:lnTo>
                      <a:pt x="428" y="398"/>
                    </a:lnTo>
                    <a:close/>
                    <a:moveTo>
                      <a:pt x="428" y="400"/>
                    </a:moveTo>
                    <a:lnTo>
                      <a:pt x="428" y="398"/>
                    </a:lnTo>
                    <a:lnTo>
                      <a:pt x="430" y="400"/>
                    </a:lnTo>
                    <a:lnTo>
                      <a:pt x="428" y="400"/>
                    </a:lnTo>
                    <a:close/>
                    <a:moveTo>
                      <a:pt x="419" y="396"/>
                    </a:moveTo>
                    <a:lnTo>
                      <a:pt x="419" y="394"/>
                    </a:lnTo>
                    <a:lnTo>
                      <a:pt x="419" y="396"/>
                    </a:lnTo>
                    <a:close/>
                    <a:moveTo>
                      <a:pt x="432" y="396"/>
                    </a:moveTo>
                    <a:lnTo>
                      <a:pt x="432" y="394"/>
                    </a:lnTo>
                    <a:lnTo>
                      <a:pt x="432" y="396"/>
                    </a:lnTo>
                    <a:close/>
                    <a:moveTo>
                      <a:pt x="373" y="383"/>
                    </a:moveTo>
                    <a:lnTo>
                      <a:pt x="371" y="383"/>
                    </a:lnTo>
                    <a:lnTo>
                      <a:pt x="373" y="383"/>
                    </a:lnTo>
                    <a:close/>
                    <a:moveTo>
                      <a:pt x="378" y="384"/>
                    </a:moveTo>
                    <a:lnTo>
                      <a:pt x="378" y="383"/>
                    </a:lnTo>
                    <a:lnTo>
                      <a:pt x="378" y="384"/>
                    </a:lnTo>
                    <a:close/>
                    <a:moveTo>
                      <a:pt x="415" y="388"/>
                    </a:moveTo>
                    <a:lnTo>
                      <a:pt x="415" y="386"/>
                    </a:lnTo>
                    <a:lnTo>
                      <a:pt x="415" y="388"/>
                    </a:lnTo>
                    <a:close/>
                    <a:moveTo>
                      <a:pt x="380" y="377"/>
                    </a:moveTo>
                    <a:lnTo>
                      <a:pt x="380" y="375"/>
                    </a:lnTo>
                    <a:lnTo>
                      <a:pt x="380" y="377"/>
                    </a:lnTo>
                    <a:close/>
                    <a:moveTo>
                      <a:pt x="407" y="381"/>
                    </a:moveTo>
                    <a:lnTo>
                      <a:pt x="407" y="379"/>
                    </a:lnTo>
                    <a:lnTo>
                      <a:pt x="407" y="381"/>
                    </a:lnTo>
                    <a:close/>
                    <a:moveTo>
                      <a:pt x="376" y="369"/>
                    </a:moveTo>
                    <a:lnTo>
                      <a:pt x="374" y="369"/>
                    </a:lnTo>
                    <a:lnTo>
                      <a:pt x="376" y="369"/>
                    </a:lnTo>
                    <a:close/>
                    <a:moveTo>
                      <a:pt x="378" y="369"/>
                    </a:moveTo>
                    <a:lnTo>
                      <a:pt x="378" y="367"/>
                    </a:lnTo>
                    <a:lnTo>
                      <a:pt x="378" y="369"/>
                    </a:lnTo>
                    <a:close/>
                    <a:moveTo>
                      <a:pt x="396" y="369"/>
                    </a:moveTo>
                    <a:lnTo>
                      <a:pt x="394" y="369"/>
                    </a:lnTo>
                    <a:lnTo>
                      <a:pt x="396" y="369"/>
                    </a:lnTo>
                    <a:lnTo>
                      <a:pt x="396" y="367"/>
                    </a:lnTo>
                    <a:lnTo>
                      <a:pt x="396" y="369"/>
                    </a:lnTo>
                    <a:close/>
                    <a:moveTo>
                      <a:pt x="378" y="365"/>
                    </a:moveTo>
                    <a:lnTo>
                      <a:pt x="378" y="363"/>
                    </a:lnTo>
                    <a:lnTo>
                      <a:pt x="378" y="365"/>
                    </a:lnTo>
                    <a:close/>
                    <a:moveTo>
                      <a:pt x="401" y="365"/>
                    </a:moveTo>
                    <a:lnTo>
                      <a:pt x="399" y="365"/>
                    </a:lnTo>
                    <a:lnTo>
                      <a:pt x="401" y="365"/>
                    </a:lnTo>
                    <a:close/>
                    <a:moveTo>
                      <a:pt x="378" y="356"/>
                    </a:moveTo>
                    <a:lnTo>
                      <a:pt x="378" y="354"/>
                    </a:lnTo>
                    <a:lnTo>
                      <a:pt x="378" y="356"/>
                    </a:lnTo>
                    <a:close/>
                    <a:moveTo>
                      <a:pt x="269" y="309"/>
                    </a:moveTo>
                    <a:lnTo>
                      <a:pt x="269" y="308"/>
                    </a:lnTo>
                    <a:lnTo>
                      <a:pt x="269" y="309"/>
                    </a:lnTo>
                    <a:close/>
                    <a:moveTo>
                      <a:pt x="309" y="309"/>
                    </a:moveTo>
                    <a:lnTo>
                      <a:pt x="307" y="309"/>
                    </a:lnTo>
                    <a:lnTo>
                      <a:pt x="309" y="309"/>
                    </a:lnTo>
                    <a:close/>
                    <a:moveTo>
                      <a:pt x="155" y="273"/>
                    </a:moveTo>
                    <a:lnTo>
                      <a:pt x="155" y="271"/>
                    </a:lnTo>
                    <a:lnTo>
                      <a:pt x="155" y="273"/>
                    </a:lnTo>
                    <a:close/>
                    <a:moveTo>
                      <a:pt x="155" y="273"/>
                    </a:moveTo>
                    <a:lnTo>
                      <a:pt x="155" y="271"/>
                    </a:lnTo>
                    <a:lnTo>
                      <a:pt x="155" y="273"/>
                    </a:lnTo>
                    <a:close/>
                    <a:moveTo>
                      <a:pt x="394" y="321"/>
                    </a:moveTo>
                    <a:lnTo>
                      <a:pt x="392" y="321"/>
                    </a:lnTo>
                    <a:lnTo>
                      <a:pt x="394" y="321"/>
                    </a:lnTo>
                    <a:close/>
                    <a:moveTo>
                      <a:pt x="284" y="292"/>
                    </a:moveTo>
                    <a:lnTo>
                      <a:pt x="282" y="292"/>
                    </a:lnTo>
                    <a:lnTo>
                      <a:pt x="284" y="292"/>
                    </a:lnTo>
                    <a:close/>
                    <a:moveTo>
                      <a:pt x="373" y="300"/>
                    </a:moveTo>
                    <a:lnTo>
                      <a:pt x="373" y="302"/>
                    </a:lnTo>
                    <a:lnTo>
                      <a:pt x="373" y="300"/>
                    </a:lnTo>
                    <a:close/>
                    <a:moveTo>
                      <a:pt x="186" y="244"/>
                    </a:moveTo>
                    <a:lnTo>
                      <a:pt x="186" y="242"/>
                    </a:lnTo>
                    <a:lnTo>
                      <a:pt x="186" y="244"/>
                    </a:lnTo>
                    <a:close/>
                    <a:moveTo>
                      <a:pt x="130" y="225"/>
                    </a:moveTo>
                    <a:lnTo>
                      <a:pt x="130" y="227"/>
                    </a:lnTo>
                    <a:lnTo>
                      <a:pt x="130" y="225"/>
                    </a:lnTo>
                    <a:close/>
                    <a:moveTo>
                      <a:pt x="184" y="240"/>
                    </a:moveTo>
                    <a:lnTo>
                      <a:pt x="182" y="240"/>
                    </a:lnTo>
                    <a:lnTo>
                      <a:pt x="184" y="240"/>
                    </a:lnTo>
                    <a:close/>
                    <a:moveTo>
                      <a:pt x="179" y="236"/>
                    </a:moveTo>
                    <a:lnTo>
                      <a:pt x="180" y="236"/>
                    </a:lnTo>
                    <a:lnTo>
                      <a:pt x="179" y="236"/>
                    </a:lnTo>
                    <a:close/>
                    <a:moveTo>
                      <a:pt x="190" y="236"/>
                    </a:moveTo>
                    <a:lnTo>
                      <a:pt x="190" y="238"/>
                    </a:lnTo>
                    <a:lnTo>
                      <a:pt x="190" y="236"/>
                    </a:lnTo>
                    <a:close/>
                    <a:moveTo>
                      <a:pt x="190" y="234"/>
                    </a:moveTo>
                    <a:lnTo>
                      <a:pt x="190" y="236"/>
                    </a:lnTo>
                    <a:lnTo>
                      <a:pt x="190" y="234"/>
                    </a:lnTo>
                    <a:close/>
                    <a:moveTo>
                      <a:pt x="117" y="208"/>
                    </a:moveTo>
                    <a:lnTo>
                      <a:pt x="115" y="208"/>
                    </a:lnTo>
                    <a:lnTo>
                      <a:pt x="117" y="208"/>
                    </a:lnTo>
                    <a:close/>
                    <a:moveTo>
                      <a:pt x="332" y="261"/>
                    </a:moveTo>
                    <a:lnTo>
                      <a:pt x="330" y="259"/>
                    </a:lnTo>
                    <a:lnTo>
                      <a:pt x="332" y="259"/>
                    </a:lnTo>
                    <a:lnTo>
                      <a:pt x="332" y="261"/>
                    </a:lnTo>
                    <a:close/>
                    <a:moveTo>
                      <a:pt x="367" y="267"/>
                    </a:moveTo>
                    <a:lnTo>
                      <a:pt x="367" y="265"/>
                    </a:lnTo>
                    <a:lnTo>
                      <a:pt x="367" y="267"/>
                    </a:lnTo>
                    <a:close/>
                    <a:moveTo>
                      <a:pt x="102" y="194"/>
                    </a:moveTo>
                    <a:lnTo>
                      <a:pt x="100" y="194"/>
                    </a:lnTo>
                    <a:lnTo>
                      <a:pt x="102" y="194"/>
                    </a:lnTo>
                    <a:close/>
                    <a:moveTo>
                      <a:pt x="355" y="258"/>
                    </a:moveTo>
                    <a:lnTo>
                      <a:pt x="353" y="258"/>
                    </a:lnTo>
                    <a:lnTo>
                      <a:pt x="355" y="258"/>
                    </a:lnTo>
                    <a:close/>
                    <a:moveTo>
                      <a:pt x="275" y="231"/>
                    </a:moveTo>
                    <a:lnTo>
                      <a:pt x="275" y="233"/>
                    </a:lnTo>
                    <a:lnTo>
                      <a:pt x="275" y="231"/>
                    </a:lnTo>
                    <a:close/>
                    <a:moveTo>
                      <a:pt x="152" y="196"/>
                    </a:moveTo>
                    <a:lnTo>
                      <a:pt x="152" y="198"/>
                    </a:lnTo>
                    <a:lnTo>
                      <a:pt x="152" y="196"/>
                    </a:lnTo>
                    <a:close/>
                    <a:moveTo>
                      <a:pt x="154" y="198"/>
                    </a:moveTo>
                    <a:lnTo>
                      <a:pt x="152" y="198"/>
                    </a:lnTo>
                    <a:lnTo>
                      <a:pt x="154" y="198"/>
                    </a:lnTo>
                    <a:lnTo>
                      <a:pt x="152" y="198"/>
                    </a:lnTo>
                    <a:lnTo>
                      <a:pt x="154" y="198"/>
                    </a:lnTo>
                    <a:close/>
                    <a:moveTo>
                      <a:pt x="154" y="198"/>
                    </a:moveTo>
                    <a:lnTo>
                      <a:pt x="154" y="196"/>
                    </a:lnTo>
                    <a:lnTo>
                      <a:pt x="154" y="198"/>
                    </a:lnTo>
                    <a:lnTo>
                      <a:pt x="154" y="196"/>
                    </a:lnTo>
                    <a:lnTo>
                      <a:pt x="154" y="198"/>
                    </a:lnTo>
                    <a:close/>
                    <a:moveTo>
                      <a:pt x="154" y="198"/>
                    </a:moveTo>
                    <a:lnTo>
                      <a:pt x="154" y="196"/>
                    </a:lnTo>
                    <a:lnTo>
                      <a:pt x="154" y="198"/>
                    </a:lnTo>
                    <a:lnTo>
                      <a:pt x="154" y="196"/>
                    </a:lnTo>
                    <a:lnTo>
                      <a:pt x="154" y="198"/>
                    </a:lnTo>
                    <a:close/>
                    <a:moveTo>
                      <a:pt x="273" y="229"/>
                    </a:moveTo>
                    <a:lnTo>
                      <a:pt x="273" y="227"/>
                    </a:lnTo>
                    <a:lnTo>
                      <a:pt x="273" y="229"/>
                    </a:lnTo>
                    <a:close/>
                    <a:moveTo>
                      <a:pt x="161" y="152"/>
                    </a:moveTo>
                    <a:lnTo>
                      <a:pt x="161" y="154"/>
                    </a:lnTo>
                    <a:lnTo>
                      <a:pt x="161" y="152"/>
                    </a:lnTo>
                    <a:close/>
                    <a:moveTo>
                      <a:pt x="161" y="142"/>
                    </a:moveTo>
                    <a:lnTo>
                      <a:pt x="159" y="142"/>
                    </a:lnTo>
                    <a:lnTo>
                      <a:pt x="161" y="142"/>
                    </a:lnTo>
                    <a:close/>
                    <a:moveTo>
                      <a:pt x="154" y="129"/>
                    </a:moveTo>
                    <a:lnTo>
                      <a:pt x="154" y="131"/>
                    </a:lnTo>
                    <a:lnTo>
                      <a:pt x="154" y="129"/>
                    </a:lnTo>
                    <a:close/>
                    <a:moveTo>
                      <a:pt x="296" y="160"/>
                    </a:moveTo>
                    <a:lnTo>
                      <a:pt x="296" y="161"/>
                    </a:lnTo>
                    <a:lnTo>
                      <a:pt x="296" y="160"/>
                    </a:lnTo>
                    <a:close/>
                    <a:moveTo>
                      <a:pt x="298" y="160"/>
                    </a:moveTo>
                    <a:lnTo>
                      <a:pt x="296" y="160"/>
                    </a:lnTo>
                    <a:lnTo>
                      <a:pt x="298" y="160"/>
                    </a:lnTo>
                    <a:close/>
                    <a:moveTo>
                      <a:pt x="300" y="154"/>
                    </a:moveTo>
                    <a:lnTo>
                      <a:pt x="298" y="154"/>
                    </a:lnTo>
                    <a:lnTo>
                      <a:pt x="300" y="154"/>
                    </a:lnTo>
                    <a:close/>
                    <a:moveTo>
                      <a:pt x="157" y="115"/>
                    </a:moveTo>
                    <a:lnTo>
                      <a:pt x="155" y="115"/>
                    </a:lnTo>
                    <a:lnTo>
                      <a:pt x="157" y="115"/>
                    </a:lnTo>
                    <a:close/>
                    <a:moveTo>
                      <a:pt x="177" y="111"/>
                    </a:moveTo>
                    <a:lnTo>
                      <a:pt x="175" y="111"/>
                    </a:lnTo>
                    <a:lnTo>
                      <a:pt x="177" y="111"/>
                    </a:lnTo>
                    <a:close/>
                    <a:moveTo>
                      <a:pt x="426" y="160"/>
                    </a:moveTo>
                    <a:lnTo>
                      <a:pt x="424" y="160"/>
                    </a:lnTo>
                    <a:lnTo>
                      <a:pt x="426" y="160"/>
                    </a:lnTo>
                    <a:lnTo>
                      <a:pt x="424" y="160"/>
                    </a:lnTo>
                    <a:lnTo>
                      <a:pt x="426" y="160"/>
                    </a:lnTo>
                    <a:lnTo>
                      <a:pt x="424" y="160"/>
                    </a:lnTo>
                    <a:lnTo>
                      <a:pt x="426" y="160"/>
                    </a:lnTo>
                    <a:lnTo>
                      <a:pt x="424" y="160"/>
                    </a:lnTo>
                    <a:lnTo>
                      <a:pt x="426" y="160"/>
                    </a:lnTo>
                    <a:close/>
                    <a:moveTo>
                      <a:pt x="426" y="160"/>
                    </a:moveTo>
                    <a:lnTo>
                      <a:pt x="424" y="160"/>
                    </a:lnTo>
                    <a:lnTo>
                      <a:pt x="426" y="160"/>
                    </a:lnTo>
                    <a:close/>
                    <a:moveTo>
                      <a:pt x="298" y="133"/>
                    </a:moveTo>
                    <a:lnTo>
                      <a:pt x="296" y="133"/>
                    </a:lnTo>
                    <a:lnTo>
                      <a:pt x="298" y="133"/>
                    </a:lnTo>
                    <a:close/>
                    <a:moveTo>
                      <a:pt x="378" y="146"/>
                    </a:moveTo>
                    <a:lnTo>
                      <a:pt x="380" y="146"/>
                    </a:lnTo>
                    <a:lnTo>
                      <a:pt x="378" y="146"/>
                    </a:lnTo>
                    <a:close/>
                    <a:moveTo>
                      <a:pt x="428" y="154"/>
                    </a:moveTo>
                    <a:lnTo>
                      <a:pt x="426" y="154"/>
                    </a:lnTo>
                    <a:lnTo>
                      <a:pt x="428" y="154"/>
                    </a:lnTo>
                    <a:close/>
                    <a:moveTo>
                      <a:pt x="426" y="154"/>
                    </a:moveTo>
                    <a:lnTo>
                      <a:pt x="426" y="152"/>
                    </a:lnTo>
                    <a:lnTo>
                      <a:pt x="426" y="154"/>
                    </a:lnTo>
                    <a:close/>
                    <a:moveTo>
                      <a:pt x="369" y="142"/>
                    </a:moveTo>
                    <a:lnTo>
                      <a:pt x="367" y="140"/>
                    </a:lnTo>
                    <a:lnTo>
                      <a:pt x="369" y="142"/>
                    </a:lnTo>
                    <a:close/>
                    <a:moveTo>
                      <a:pt x="203" y="86"/>
                    </a:moveTo>
                    <a:lnTo>
                      <a:pt x="202" y="86"/>
                    </a:lnTo>
                    <a:lnTo>
                      <a:pt x="203" y="86"/>
                    </a:lnTo>
                    <a:close/>
                    <a:moveTo>
                      <a:pt x="202" y="86"/>
                    </a:moveTo>
                    <a:lnTo>
                      <a:pt x="203" y="86"/>
                    </a:lnTo>
                    <a:lnTo>
                      <a:pt x="202" y="86"/>
                    </a:lnTo>
                    <a:close/>
                    <a:moveTo>
                      <a:pt x="211" y="85"/>
                    </a:moveTo>
                    <a:lnTo>
                      <a:pt x="211" y="86"/>
                    </a:lnTo>
                    <a:lnTo>
                      <a:pt x="211" y="85"/>
                    </a:lnTo>
                    <a:close/>
                    <a:moveTo>
                      <a:pt x="367" y="117"/>
                    </a:moveTo>
                    <a:lnTo>
                      <a:pt x="365" y="117"/>
                    </a:lnTo>
                    <a:lnTo>
                      <a:pt x="367" y="117"/>
                    </a:lnTo>
                    <a:close/>
                    <a:moveTo>
                      <a:pt x="298" y="102"/>
                    </a:moveTo>
                    <a:lnTo>
                      <a:pt x="296" y="102"/>
                    </a:lnTo>
                    <a:lnTo>
                      <a:pt x="298" y="102"/>
                    </a:lnTo>
                    <a:close/>
                    <a:moveTo>
                      <a:pt x="407" y="94"/>
                    </a:moveTo>
                    <a:lnTo>
                      <a:pt x="407" y="96"/>
                    </a:lnTo>
                    <a:lnTo>
                      <a:pt x="407" y="94"/>
                    </a:lnTo>
                    <a:close/>
                    <a:moveTo>
                      <a:pt x="378" y="88"/>
                    </a:moveTo>
                    <a:lnTo>
                      <a:pt x="378" y="90"/>
                    </a:lnTo>
                    <a:lnTo>
                      <a:pt x="378" y="88"/>
                    </a:lnTo>
                    <a:close/>
                    <a:moveTo>
                      <a:pt x="232" y="50"/>
                    </a:moveTo>
                    <a:lnTo>
                      <a:pt x="230" y="50"/>
                    </a:lnTo>
                    <a:lnTo>
                      <a:pt x="232" y="50"/>
                    </a:lnTo>
                    <a:close/>
                    <a:moveTo>
                      <a:pt x="434" y="92"/>
                    </a:moveTo>
                    <a:lnTo>
                      <a:pt x="432" y="92"/>
                    </a:lnTo>
                    <a:lnTo>
                      <a:pt x="434" y="92"/>
                    </a:lnTo>
                    <a:close/>
                    <a:moveTo>
                      <a:pt x="323" y="56"/>
                    </a:moveTo>
                    <a:lnTo>
                      <a:pt x="321" y="56"/>
                    </a:lnTo>
                    <a:lnTo>
                      <a:pt x="323" y="56"/>
                    </a:lnTo>
                    <a:close/>
                    <a:moveTo>
                      <a:pt x="426" y="77"/>
                    </a:moveTo>
                    <a:lnTo>
                      <a:pt x="424" y="77"/>
                    </a:lnTo>
                    <a:lnTo>
                      <a:pt x="426" y="77"/>
                    </a:lnTo>
                    <a:close/>
                    <a:moveTo>
                      <a:pt x="321" y="52"/>
                    </a:moveTo>
                    <a:lnTo>
                      <a:pt x="321" y="54"/>
                    </a:lnTo>
                    <a:lnTo>
                      <a:pt x="321" y="52"/>
                    </a:lnTo>
                    <a:close/>
                    <a:moveTo>
                      <a:pt x="365" y="52"/>
                    </a:moveTo>
                    <a:lnTo>
                      <a:pt x="363" y="52"/>
                    </a:lnTo>
                    <a:lnTo>
                      <a:pt x="365" y="52"/>
                    </a:lnTo>
                    <a:close/>
                    <a:moveTo>
                      <a:pt x="367" y="48"/>
                    </a:moveTo>
                    <a:lnTo>
                      <a:pt x="365" y="48"/>
                    </a:lnTo>
                    <a:lnTo>
                      <a:pt x="367" y="48"/>
                    </a:lnTo>
                    <a:close/>
                    <a:moveTo>
                      <a:pt x="367" y="46"/>
                    </a:moveTo>
                    <a:lnTo>
                      <a:pt x="367" y="48"/>
                    </a:lnTo>
                    <a:lnTo>
                      <a:pt x="367" y="46"/>
                    </a:lnTo>
                    <a:close/>
                    <a:moveTo>
                      <a:pt x="303" y="23"/>
                    </a:moveTo>
                    <a:lnTo>
                      <a:pt x="303" y="25"/>
                    </a:lnTo>
                    <a:lnTo>
                      <a:pt x="303" y="23"/>
                    </a:lnTo>
                    <a:close/>
                    <a:moveTo>
                      <a:pt x="396" y="38"/>
                    </a:moveTo>
                    <a:lnTo>
                      <a:pt x="396" y="40"/>
                    </a:lnTo>
                    <a:lnTo>
                      <a:pt x="396" y="38"/>
                    </a:lnTo>
                    <a:close/>
                    <a:moveTo>
                      <a:pt x="292" y="11"/>
                    </a:moveTo>
                    <a:lnTo>
                      <a:pt x="290" y="11"/>
                    </a:lnTo>
                    <a:lnTo>
                      <a:pt x="292" y="11"/>
                    </a:lnTo>
                    <a:close/>
                    <a:moveTo>
                      <a:pt x="292" y="11"/>
                    </a:moveTo>
                    <a:lnTo>
                      <a:pt x="290" y="11"/>
                    </a:lnTo>
                    <a:lnTo>
                      <a:pt x="292" y="11"/>
                    </a:lnTo>
                    <a:close/>
                    <a:moveTo>
                      <a:pt x="273" y="6"/>
                    </a:moveTo>
                    <a:lnTo>
                      <a:pt x="271" y="6"/>
                    </a:lnTo>
                    <a:lnTo>
                      <a:pt x="273" y="6"/>
                    </a:lnTo>
                    <a:close/>
                    <a:moveTo>
                      <a:pt x="275" y="0"/>
                    </a:moveTo>
                    <a:lnTo>
                      <a:pt x="275" y="2"/>
                    </a:lnTo>
                    <a:lnTo>
                      <a:pt x="275" y="0"/>
                    </a:lnTo>
                    <a:close/>
                    <a:moveTo>
                      <a:pt x="294" y="6"/>
                    </a:moveTo>
                    <a:lnTo>
                      <a:pt x="296" y="6"/>
                    </a:lnTo>
                    <a:lnTo>
                      <a:pt x="294" y="6"/>
                    </a:lnTo>
                    <a:close/>
                    <a:moveTo>
                      <a:pt x="296" y="4"/>
                    </a:moveTo>
                    <a:lnTo>
                      <a:pt x="296" y="6"/>
                    </a:lnTo>
                    <a:lnTo>
                      <a:pt x="296" y="4"/>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7" name="Freeform 147"/>
              <p:cNvSpPr>
                <a:spLocks/>
              </p:cNvSpPr>
              <p:nvPr/>
            </p:nvSpPr>
            <p:spPr bwMode="auto">
              <a:xfrm>
                <a:off x="985201" y="2197883"/>
                <a:ext cx="240887" cy="251211"/>
              </a:xfrm>
              <a:custGeom>
                <a:avLst/>
                <a:gdLst>
                  <a:gd name="T0" fmla="*/ 138 w 140"/>
                  <a:gd name="T1" fmla="*/ 65 h 146"/>
                  <a:gd name="T2" fmla="*/ 138 w 140"/>
                  <a:gd name="T3" fmla="*/ 71 h 146"/>
                  <a:gd name="T4" fmla="*/ 128 w 140"/>
                  <a:gd name="T5" fmla="*/ 75 h 146"/>
                  <a:gd name="T6" fmla="*/ 121 w 140"/>
                  <a:gd name="T7" fmla="*/ 81 h 146"/>
                  <a:gd name="T8" fmla="*/ 115 w 140"/>
                  <a:gd name="T9" fmla="*/ 82 h 146"/>
                  <a:gd name="T10" fmla="*/ 105 w 140"/>
                  <a:gd name="T11" fmla="*/ 92 h 146"/>
                  <a:gd name="T12" fmla="*/ 100 w 140"/>
                  <a:gd name="T13" fmla="*/ 106 h 146"/>
                  <a:gd name="T14" fmla="*/ 92 w 140"/>
                  <a:gd name="T15" fmla="*/ 107 h 146"/>
                  <a:gd name="T16" fmla="*/ 90 w 140"/>
                  <a:gd name="T17" fmla="*/ 109 h 146"/>
                  <a:gd name="T18" fmla="*/ 82 w 140"/>
                  <a:gd name="T19" fmla="*/ 115 h 146"/>
                  <a:gd name="T20" fmla="*/ 77 w 140"/>
                  <a:gd name="T21" fmla="*/ 121 h 146"/>
                  <a:gd name="T22" fmla="*/ 71 w 140"/>
                  <a:gd name="T23" fmla="*/ 121 h 146"/>
                  <a:gd name="T24" fmla="*/ 71 w 140"/>
                  <a:gd name="T25" fmla="*/ 121 h 146"/>
                  <a:gd name="T26" fmla="*/ 61 w 140"/>
                  <a:gd name="T27" fmla="*/ 121 h 146"/>
                  <a:gd name="T28" fmla="*/ 55 w 140"/>
                  <a:gd name="T29" fmla="*/ 121 h 146"/>
                  <a:gd name="T30" fmla="*/ 46 w 140"/>
                  <a:gd name="T31" fmla="*/ 123 h 146"/>
                  <a:gd name="T32" fmla="*/ 44 w 140"/>
                  <a:gd name="T33" fmla="*/ 127 h 146"/>
                  <a:gd name="T34" fmla="*/ 36 w 140"/>
                  <a:gd name="T35" fmla="*/ 129 h 146"/>
                  <a:gd name="T36" fmla="*/ 30 w 140"/>
                  <a:gd name="T37" fmla="*/ 136 h 146"/>
                  <a:gd name="T38" fmla="*/ 25 w 140"/>
                  <a:gd name="T39" fmla="*/ 142 h 146"/>
                  <a:gd name="T40" fmla="*/ 19 w 140"/>
                  <a:gd name="T41" fmla="*/ 144 h 146"/>
                  <a:gd name="T42" fmla="*/ 11 w 140"/>
                  <a:gd name="T43" fmla="*/ 136 h 146"/>
                  <a:gd name="T44" fmla="*/ 6 w 140"/>
                  <a:gd name="T45" fmla="*/ 132 h 146"/>
                  <a:gd name="T46" fmla="*/ 2 w 140"/>
                  <a:gd name="T47" fmla="*/ 131 h 146"/>
                  <a:gd name="T48" fmla="*/ 2 w 140"/>
                  <a:gd name="T49" fmla="*/ 121 h 146"/>
                  <a:gd name="T50" fmla="*/ 2 w 140"/>
                  <a:gd name="T51" fmla="*/ 113 h 146"/>
                  <a:gd name="T52" fmla="*/ 2 w 140"/>
                  <a:gd name="T53" fmla="*/ 106 h 146"/>
                  <a:gd name="T54" fmla="*/ 6 w 140"/>
                  <a:gd name="T55" fmla="*/ 102 h 146"/>
                  <a:gd name="T56" fmla="*/ 13 w 140"/>
                  <a:gd name="T57" fmla="*/ 98 h 146"/>
                  <a:gd name="T58" fmla="*/ 13 w 140"/>
                  <a:gd name="T59" fmla="*/ 90 h 146"/>
                  <a:gd name="T60" fmla="*/ 21 w 140"/>
                  <a:gd name="T61" fmla="*/ 86 h 146"/>
                  <a:gd name="T62" fmla="*/ 21 w 140"/>
                  <a:gd name="T63" fmla="*/ 81 h 146"/>
                  <a:gd name="T64" fmla="*/ 15 w 140"/>
                  <a:gd name="T65" fmla="*/ 71 h 146"/>
                  <a:gd name="T66" fmla="*/ 21 w 140"/>
                  <a:gd name="T67" fmla="*/ 61 h 146"/>
                  <a:gd name="T68" fmla="*/ 19 w 140"/>
                  <a:gd name="T69" fmla="*/ 48 h 146"/>
                  <a:gd name="T70" fmla="*/ 19 w 140"/>
                  <a:gd name="T71" fmla="*/ 38 h 146"/>
                  <a:gd name="T72" fmla="*/ 23 w 140"/>
                  <a:gd name="T73" fmla="*/ 36 h 146"/>
                  <a:gd name="T74" fmla="*/ 23 w 140"/>
                  <a:gd name="T75" fmla="*/ 31 h 146"/>
                  <a:gd name="T76" fmla="*/ 30 w 140"/>
                  <a:gd name="T77" fmla="*/ 31 h 146"/>
                  <a:gd name="T78" fmla="*/ 34 w 140"/>
                  <a:gd name="T79" fmla="*/ 25 h 146"/>
                  <a:gd name="T80" fmla="*/ 34 w 140"/>
                  <a:gd name="T81" fmla="*/ 15 h 146"/>
                  <a:gd name="T82" fmla="*/ 40 w 140"/>
                  <a:gd name="T83" fmla="*/ 9 h 146"/>
                  <a:gd name="T84" fmla="*/ 48 w 140"/>
                  <a:gd name="T85" fmla="*/ 9 h 146"/>
                  <a:gd name="T86" fmla="*/ 57 w 140"/>
                  <a:gd name="T87" fmla="*/ 0 h 146"/>
                  <a:gd name="T88" fmla="*/ 65 w 140"/>
                  <a:gd name="T89" fmla="*/ 2 h 146"/>
                  <a:gd name="T90" fmla="*/ 82 w 140"/>
                  <a:gd name="T91" fmla="*/ 7 h 146"/>
                  <a:gd name="T92" fmla="*/ 86 w 140"/>
                  <a:gd name="T93" fmla="*/ 9 h 146"/>
                  <a:gd name="T94" fmla="*/ 86 w 140"/>
                  <a:gd name="T95" fmla="*/ 11 h 146"/>
                  <a:gd name="T96" fmla="*/ 94 w 140"/>
                  <a:gd name="T97" fmla="*/ 9 h 146"/>
                  <a:gd name="T98" fmla="*/ 98 w 140"/>
                  <a:gd name="T99" fmla="*/ 6 h 146"/>
                  <a:gd name="T100" fmla="*/ 105 w 140"/>
                  <a:gd name="T101" fmla="*/ 7 h 146"/>
                  <a:gd name="T102" fmla="*/ 109 w 140"/>
                  <a:gd name="T103" fmla="*/ 11 h 146"/>
                  <a:gd name="T104" fmla="*/ 115 w 140"/>
                  <a:gd name="T105" fmla="*/ 19 h 146"/>
                  <a:gd name="T106" fmla="*/ 119 w 140"/>
                  <a:gd name="T107" fmla="*/ 31 h 146"/>
                  <a:gd name="T108" fmla="*/ 117 w 140"/>
                  <a:gd name="T109" fmla="*/ 38 h 146"/>
                  <a:gd name="T110" fmla="*/ 121 w 140"/>
                  <a:gd name="T111" fmla="*/ 48 h 146"/>
                  <a:gd name="T112" fmla="*/ 127 w 140"/>
                  <a:gd name="T113" fmla="*/ 50 h 146"/>
                  <a:gd name="T114" fmla="*/ 134 w 140"/>
                  <a:gd name="T115" fmla="*/ 5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146">
                    <a:moveTo>
                      <a:pt x="138" y="56"/>
                    </a:moveTo>
                    <a:lnTo>
                      <a:pt x="138" y="57"/>
                    </a:lnTo>
                    <a:lnTo>
                      <a:pt x="138" y="59"/>
                    </a:lnTo>
                    <a:lnTo>
                      <a:pt x="140" y="59"/>
                    </a:lnTo>
                    <a:lnTo>
                      <a:pt x="140" y="61"/>
                    </a:lnTo>
                    <a:lnTo>
                      <a:pt x="140" y="63"/>
                    </a:lnTo>
                    <a:lnTo>
                      <a:pt x="138" y="63"/>
                    </a:lnTo>
                    <a:lnTo>
                      <a:pt x="138" y="65"/>
                    </a:lnTo>
                    <a:lnTo>
                      <a:pt x="136" y="65"/>
                    </a:lnTo>
                    <a:lnTo>
                      <a:pt x="136" y="67"/>
                    </a:lnTo>
                    <a:lnTo>
                      <a:pt x="138" y="69"/>
                    </a:lnTo>
                    <a:lnTo>
                      <a:pt x="136" y="69"/>
                    </a:lnTo>
                    <a:lnTo>
                      <a:pt x="138" y="69"/>
                    </a:lnTo>
                    <a:lnTo>
                      <a:pt x="136" y="69"/>
                    </a:lnTo>
                    <a:lnTo>
                      <a:pt x="138" y="69"/>
                    </a:lnTo>
                    <a:lnTo>
                      <a:pt x="138" y="71"/>
                    </a:lnTo>
                    <a:lnTo>
                      <a:pt x="136" y="71"/>
                    </a:lnTo>
                    <a:lnTo>
                      <a:pt x="138" y="73"/>
                    </a:lnTo>
                    <a:lnTo>
                      <a:pt x="136" y="73"/>
                    </a:lnTo>
                    <a:lnTo>
                      <a:pt x="136" y="75"/>
                    </a:lnTo>
                    <a:lnTo>
                      <a:pt x="134" y="75"/>
                    </a:lnTo>
                    <a:lnTo>
                      <a:pt x="132" y="75"/>
                    </a:lnTo>
                    <a:lnTo>
                      <a:pt x="130" y="75"/>
                    </a:lnTo>
                    <a:lnTo>
                      <a:pt x="128" y="75"/>
                    </a:lnTo>
                    <a:lnTo>
                      <a:pt x="128" y="77"/>
                    </a:lnTo>
                    <a:lnTo>
                      <a:pt x="127" y="77"/>
                    </a:lnTo>
                    <a:lnTo>
                      <a:pt x="127" y="79"/>
                    </a:lnTo>
                    <a:lnTo>
                      <a:pt x="125" y="79"/>
                    </a:lnTo>
                    <a:lnTo>
                      <a:pt x="125" y="77"/>
                    </a:lnTo>
                    <a:lnTo>
                      <a:pt x="123" y="79"/>
                    </a:lnTo>
                    <a:lnTo>
                      <a:pt x="123" y="81"/>
                    </a:lnTo>
                    <a:lnTo>
                      <a:pt x="121" y="81"/>
                    </a:lnTo>
                    <a:lnTo>
                      <a:pt x="121" y="82"/>
                    </a:lnTo>
                    <a:lnTo>
                      <a:pt x="119" y="82"/>
                    </a:lnTo>
                    <a:lnTo>
                      <a:pt x="121" y="82"/>
                    </a:lnTo>
                    <a:lnTo>
                      <a:pt x="119" y="82"/>
                    </a:lnTo>
                    <a:lnTo>
                      <a:pt x="119" y="84"/>
                    </a:lnTo>
                    <a:lnTo>
                      <a:pt x="117" y="84"/>
                    </a:lnTo>
                    <a:lnTo>
                      <a:pt x="117" y="82"/>
                    </a:lnTo>
                    <a:lnTo>
                      <a:pt x="115" y="82"/>
                    </a:lnTo>
                    <a:lnTo>
                      <a:pt x="115" y="84"/>
                    </a:lnTo>
                    <a:lnTo>
                      <a:pt x="113" y="86"/>
                    </a:lnTo>
                    <a:lnTo>
                      <a:pt x="111" y="86"/>
                    </a:lnTo>
                    <a:lnTo>
                      <a:pt x="109" y="86"/>
                    </a:lnTo>
                    <a:lnTo>
                      <a:pt x="107" y="88"/>
                    </a:lnTo>
                    <a:lnTo>
                      <a:pt x="107" y="90"/>
                    </a:lnTo>
                    <a:lnTo>
                      <a:pt x="105" y="90"/>
                    </a:lnTo>
                    <a:lnTo>
                      <a:pt x="105" y="92"/>
                    </a:lnTo>
                    <a:lnTo>
                      <a:pt x="104" y="94"/>
                    </a:lnTo>
                    <a:lnTo>
                      <a:pt x="104" y="96"/>
                    </a:lnTo>
                    <a:lnTo>
                      <a:pt x="102" y="96"/>
                    </a:lnTo>
                    <a:lnTo>
                      <a:pt x="102" y="98"/>
                    </a:lnTo>
                    <a:lnTo>
                      <a:pt x="102" y="100"/>
                    </a:lnTo>
                    <a:lnTo>
                      <a:pt x="102" y="102"/>
                    </a:lnTo>
                    <a:lnTo>
                      <a:pt x="100" y="102"/>
                    </a:lnTo>
                    <a:lnTo>
                      <a:pt x="100" y="106"/>
                    </a:lnTo>
                    <a:lnTo>
                      <a:pt x="100" y="107"/>
                    </a:lnTo>
                    <a:lnTo>
                      <a:pt x="98" y="107"/>
                    </a:lnTo>
                    <a:lnTo>
                      <a:pt x="96" y="109"/>
                    </a:lnTo>
                    <a:lnTo>
                      <a:pt x="94" y="109"/>
                    </a:lnTo>
                    <a:lnTo>
                      <a:pt x="94" y="107"/>
                    </a:lnTo>
                    <a:lnTo>
                      <a:pt x="92" y="107"/>
                    </a:lnTo>
                    <a:lnTo>
                      <a:pt x="94" y="107"/>
                    </a:lnTo>
                    <a:lnTo>
                      <a:pt x="92" y="107"/>
                    </a:lnTo>
                    <a:lnTo>
                      <a:pt x="92" y="106"/>
                    </a:lnTo>
                    <a:lnTo>
                      <a:pt x="92" y="107"/>
                    </a:lnTo>
                    <a:lnTo>
                      <a:pt x="90" y="107"/>
                    </a:lnTo>
                    <a:lnTo>
                      <a:pt x="88" y="107"/>
                    </a:lnTo>
                    <a:lnTo>
                      <a:pt x="88" y="109"/>
                    </a:lnTo>
                    <a:lnTo>
                      <a:pt x="90" y="109"/>
                    </a:lnTo>
                    <a:lnTo>
                      <a:pt x="88" y="109"/>
                    </a:lnTo>
                    <a:lnTo>
                      <a:pt x="90" y="109"/>
                    </a:lnTo>
                    <a:lnTo>
                      <a:pt x="88" y="111"/>
                    </a:lnTo>
                    <a:lnTo>
                      <a:pt x="88" y="109"/>
                    </a:lnTo>
                    <a:lnTo>
                      <a:pt x="86" y="109"/>
                    </a:lnTo>
                    <a:lnTo>
                      <a:pt x="86" y="111"/>
                    </a:lnTo>
                    <a:lnTo>
                      <a:pt x="84" y="111"/>
                    </a:lnTo>
                    <a:lnTo>
                      <a:pt x="84" y="113"/>
                    </a:lnTo>
                    <a:lnTo>
                      <a:pt x="84" y="115"/>
                    </a:lnTo>
                    <a:lnTo>
                      <a:pt x="82" y="115"/>
                    </a:lnTo>
                    <a:lnTo>
                      <a:pt x="82" y="117"/>
                    </a:lnTo>
                    <a:lnTo>
                      <a:pt x="82" y="119"/>
                    </a:lnTo>
                    <a:lnTo>
                      <a:pt x="80" y="119"/>
                    </a:lnTo>
                    <a:lnTo>
                      <a:pt x="80" y="121"/>
                    </a:lnTo>
                    <a:lnTo>
                      <a:pt x="79" y="121"/>
                    </a:lnTo>
                    <a:lnTo>
                      <a:pt x="79" y="123"/>
                    </a:lnTo>
                    <a:lnTo>
                      <a:pt x="77" y="123"/>
                    </a:lnTo>
                    <a:lnTo>
                      <a:pt x="77" y="121"/>
                    </a:lnTo>
                    <a:lnTo>
                      <a:pt x="77" y="119"/>
                    </a:lnTo>
                    <a:lnTo>
                      <a:pt x="75" y="121"/>
                    </a:lnTo>
                    <a:lnTo>
                      <a:pt x="75" y="119"/>
                    </a:lnTo>
                    <a:lnTo>
                      <a:pt x="75" y="121"/>
                    </a:lnTo>
                    <a:lnTo>
                      <a:pt x="75" y="119"/>
                    </a:lnTo>
                    <a:lnTo>
                      <a:pt x="73" y="119"/>
                    </a:lnTo>
                    <a:lnTo>
                      <a:pt x="71" y="119"/>
                    </a:lnTo>
                    <a:lnTo>
                      <a:pt x="71" y="121"/>
                    </a:lnTo>
                    <a:lnTo>
                      <a:pt x="73" y="121"/>
                    </a:lnTo>
                    <a:lnTo>
                      <a:pt x="71" y="121"/>
                    </a:lnTo>
                    <a:lnTo>
                      <a:pt x="71" y="123"/>
                    </a:lnTo>
                    <a:lnTo>
                      <a:pt x="71" y="121"/>
                    </a:lnTo>
                    <a:lnTo>
                      <a:pt x="71" y="123"/>
                    </a:lnTo>
                    <a:lnTo>
                      <a:pt x="71" y="121"/>
                    </a:lnTo>
                    <a:lnTo>
                      <a:pt x="71" y="123"/>
                    </a:lnTo>
                    <a:lnTo>
                      <a:pt x="71" y="121"/>
                    </a:lnTo>
                    <a:lnTo>
                      <a:pt x="69" y="123"/>
                    </a:lnTo>
                    <a:lnTo>
                      <a:pt x="67" y="123"/>
                    </a:lnTo>
                    <a:lnTo>
                      <a:pt x="67" y="121"/>
                    </a:lnTo>
                    <a:lnTo>
                      <a:pt x="65" y="121"/>
                    </a:lnTo>
                    <a:lnTo>
                      <a:pt x="65" y="119"/>
                    </a:lnTo>
                    <a:lnTo>
                      <a:pt x="65" y="121"/>
                    </a:lnTo>
                    <a:lnTo>
                      <a:pt x="63" y="121"/>
                    </a:lnTo>
                    <a:lnTo>
                      <a:pt x="61" y="121"/>
                    </a:lnTo>
                    <a:lnTo>
                      <a:pt x="61" y="119"/>
                    </a:lnTo>
                    <a:lnTo>
                      <a:pt x="59" y="119"/>
                    </a:lnTo>
                    <a:lnTo>
                      <a:pt x="57" y="119"/>
                    </a:lnTo>
                    <a:lnTo>
                      <a:pt x="57" y="121"/>
                    </a:lnTo>
                    <a:lnTo>
                      <a:pt x="57" y="123"/>
                    </a:lnTo>
                    <a:lnTo>
                      <a:pt x="55" y="125"/>
                    </a:lnTo>
                    <a:lnTo>
                      <a:pt x="55" y="123"/>
                    </a:lnTo>
                    <a:lnTo>
                      <a:pt x="55" y="121"/>
                    </a:lnTo>
                    <a:lnTo>
                      <a:pt x="54" y="123"/>
                    </a:lnTo>
                    <a:lnTo>
                      <a:pt x="54" y="121"/>
                    </a:lnTo>
                    <a:lnTo>
                      <a:pt x="52" y="121"/>
                    </a:lnTo>
                    <a:lnTo>
                      <a:pt x="52" y="123"/>
                    </a:lnTo>
                    <a:lnTo>
                      <a:pt x="50" y="121"/>
                    </a:lnTo>
                    <a:lnTo>
                      <a:pt x="48" y="123"/>
                    </a:lnTo>
                    <a:lnTo>
                      <a:pt x="48" y="125"/>
                    </a:lnTo>
                    <a:lnTo>
                      <a:pt x="46" y="123"/>
                    </a:lnTo>
                    <a:lnTo>
                      <a:pt x="48" y="123"/>
                    </a:lnTo>
                    <a:lnTo>
                      <a:pt x="48" y="121"/>
                    </a:lnTo>
                    <a:lnTo>
                      <a:pt x="46" y="121"/>
                    </a:lnTo>
                    <a:lnTo>
                      <a:pt x="46" y="123"/>
                    </a:lnTo>
                    <a:lnTo>
                      <a:pt x="44" y="123"/>
                    </a:lnTo>
                    <a:lnTo>
                      <a:pt x="46" y="123"/>
                    </a:lnTo>
                    <a:lnTo>
                      <a:pt x="44" y="125"/>
                    </a:lnTo>
                    <a:lnTo>
                      <a:pt x="44" y="127"/>
                    </a:lnTo>
                    <a:lnTo>
                      <a:pt x="42" y="127"/>
                    </a:lnTo>
                    <a:lnTo>
                      <a:pt x="40" y="127"/>
                    </a:lnTo>
                    <a:lnTo>
                      <a:pt x="38" y="127"/>
                    </a:lnTo>
                    <a:lnTo>
                      <a:pt x="38" y="129"/>
                    </a:lnTo>
                    <a:lnTo>
                      <a:pt x="38" y="131"/>
                    </a:lnTo>
                    <a:lnTo>
                      <a:pt x="36" y="131"/>
                    </a:lnTo>
                    <a:lnTo>
                      <a:pt x="38" y="129"/>
                    </a:lnTo>
                    <a:lnTo>
                      <a:pt x="36" y="129"/>
                    </a:lnTo>
                    <a:lnTo>
                      <a:pt x="36" y="131"/>
                    </a:lnTo>
                    <a:lnTo>
                      <a:pt x="34" y="131"/>
                    </a:lnTo>
                    <a:lnTo>
                      <a:pt x="34" y="132"/>
                    </a:lnTo>
                    <a:lnTo>
                      <a:pt x="32" y="132"/>
                    </a:lnTo>
                    <a:lnTo>
                      <a:pt x="32" y="134"/>
                    </a:lnTo>
                    <a:lnTo>
                      <a:pt x="30" y="134"/>
                    </a:lnTo>
                    <a:lnTo>
                      <a:pt x="29" y="134"/>
                    </a:lnTo>
                    <a:lnTo>
                      <a:pt x="30" y="136"/>
                    </a:lnTo>
                    <a:lnTo>
                      <a:pt x="29" y="136"/>
                    </a:lnTo>
                    <a:lnTo>
                      <a:pt x="30" y="136"/>
                    </a:lnTo>
                    <a:lnTo>
                      <a:pt x="29" y="136"/>
                    </a:lnTo>
                    <a:lnTo>
                      <a:pt x="29" y="138"/>
                    </a:lnTo>
                    <a:lnTo>
                      <a:pt x="27" y="138"/>
                    </a:lnTo>
                    <a:lnTo>
                      <a:pt x="27" y="140"/>
                    </a:lnTo>
                    <a:lnTo>
                      <a:pt x="25" y="140"/>
                    </a:lnTo>
                    <a:lnTo>
                      <a:pt x="25" y="142"/>
                    </a:lnTo>
                    <a:lnTo>
                      <a:pt x="25" y="144"/>
                    </a:lnTo>
                    <a:lnTo>
                      <a:pt x="23" y="144"/>
                    </a:lnTo>
                    <a:lnTo>
                      <a:pt x="23" y="142"/>
                    </a:lnTo>
                    <a:lnTo>
                      <a:pt x="23" y="144"/>
                    </a:lnTo>
                    <a:lnTo>
                      <a:pt x="21" y="144"/>
                    </a:lnTo>
                    <a:lnTo>
                      <a:pt x="21" y="146"/>
                    </a:lnTo>
                    <a:lnTo>
                      <a:pt x="21" y="144"/>
                    </a:lnTo>
                    <a:lnTo>
                      <a:pt x="19" y="144"/>
                    </a:lnTo>
                    <a:lnTo>
                      <a:pt x="19" y="142"/>
                    </a:lnTo>
                    <a:lnTo>
                      <a:pt x="19" y="140"/>
                    </a:lnTo>
                    <a:lnTo>
                      <a:pt x="17" y="140"/>
                    </a:lnTo>
                    <a:lnTo>
                      <a:pt x="15" y="140"/>
                    </a:lnTo>
                    <a:lnTo>
                      <a:pt x="13" y="140"/>
                    </a:lnTo>
                    <a:lnTo>
                      <a:pt x="11" y="140"/>
                    </a:lnTo>
                    <a:lnTo>
                      <a:pt x="11" y="138"/>
                    </a:lnTo>
                    <a:lnTo>
                      <a:pt x="11" y="136"/>
                    </a:lnTo>
                    <a:lnTo>
                      <a:pt x="9" y="136"/>
                    </a:lnTo>
                    <a:lnTo>
                      <a:pt x="11" y="136"/>
                    </a:lnTo>
                    <a:lnTo>
                      <a:pt x="11" y="134"/>
                    </a:lnTo>
                    <a:lnTo>
                      <a:pt x="9" y="134"/>
                    </a:lnTo>
                    <a:lnTo>
                      <a:pt x="9" y="132"/>
                    </a:lnTo>
                    <a:lnTo>
                      <a:pt x="7" y="134"/>
                    </a:lnTo>
                    <a:lnTo>
                      <a:pt x="7" y="132"/>
                    </a:lnTo>
                    <a:lnTo>
                      <a:pt x="6" y="132"/>
                    </a:lnTo>
                    <a:lnTo>
                      <a:pt x="7" y="132"/>
                    </a:lnTo>
                    <a:lnTo>
                      <a:pt x="6" y="132"/>
                    </a:lnTo>
                    <a:lnTo>
                      <a:pt x="6" y="131"/>
                    </a:lnTo>
                    <a:lnTo>
                      <a:pt x="4" y="132"/>
                    </a:lnTo>
                    <a:lnTo>
                      <a:pt x="2" y="132"/>
                    </a:lnTo>
                    <a:lnTo>
                      <a:pt x="2" y="134"/>
                    </a:lnTo>
                    <a:lnTo>
                      <a:pt x="2" y="132"/>
                    </a:lnTo>
                    <a:lnTo>
                      <a:pt x="2" y="131"/>
                    </a:lnTo>
                    <a:lnTo>
                      <a:pt x="4" y="129"/>
                    </a:lnTo>
                    <a:lnTo>
                      <a:pt x="4" y="127"/>
                    </a:lnTo>
                    <a:lnTo>
                      <a:pt x="4" y="125"/>
                    </a:lnTo>
                    <a:lnTo>
                      <a:pt x="2" y="125"/>
                    </a:lnTo>
                    <a:lnTo>
                      <a:pt x="2" y="123"/>
                    </a:lnTo>
                    <a:lnTo>
                      <a:pt x="2" y="121"/>
                    </a:lnTo>
                    <a:lnTo>
                      <a:pt x="4" y="121"/>
                    </a:lnTo>
                    <a:lnTo>
                      <a:pt x="2" y="121"/>
                    </a:lnTo>
                    <a:lnTo>
                      <a:pt x="0" y="121"/>
                    </a:lnTo>
                    <a:lnTo>
                      <a:pt x="0" y="123"/>
                    </a:lnTo>
                    <a:lnTo>
                      <a:pt x="0" y="121"/>
                    </a:lnTo>
                    <a:lnTo>
                      <a:pt x="0" y="119"/>
                    </a:lnTo>
                    <a:lnTo>
                      <a:pt x="0" y="117"/>
                    </a:lnTo>
                    <a:lnTo>
                      <a:pt x="2" y="117"/>
                    </a:lnTo>
                    <a:lnTo>
                      <a:pt x="2" y="115"/>
                    </a:lnTo>
                    <a:lnTo>
                      <a:pt x="2" y="113"/>
                    </a:lnTo>
                    <a:lnTo>
                      <a:pt x="2" y="111"/>
                    </a:lnTo>
                    <a:lnTo>
                      <a:pt x="4" y="111"/>
                    </a:lnTo>
                    <a:lnTo>
                      <a:pt x="2" y="111"/>
                    </a:lnTo>
                    <a:lnTo>
                      <a:pt x="2" y="109"/>
                    </a:lnTo>
                    <a:lnTo>
                      <a:pt x="0" y="109"/>
                    </a:lnTo>
                    <a:lnTo>
                      <a:pt x="0" y="107"/>
                    </a:lnTo>
                    <a:lnTo>
                      <a:pt x="2" y="107"/>
                    </a:lnTo>
                    <a:lnTo>
                      <a:pt x="2" y="106"/>
                    </a:lnTo>
                    <a:lnTo>
                      <a:pt x="0" y="106"/>
                    </a:lnTo>
                    <a:lnTo>
                      <a:pt x="2" y="106"/>
                    </a:lnTo>
                    <a:lnTo>
                      <a:pt x="4" y="106"/>
                    </a:lnTo>
                    <a:lnTo>
                      <a:pt x="6" y="106"/>
                    </a:lnTo>
                    <a:lnTo>
                      <a:pt x="6" y="104"/>
                    </a:lnTo>
                    <a:lnTo>
                      <a:pt x="7" y="104"/>
                    </a:lnTo>
                    <a:lnTo>
                      <a:pt x="6" y="104"/>
                    </a:lnTo>
                    <a:lnTo>
                      <a:pt x="6" y="102"/>
                    </a:lnTo>
                    <a:lnTo>
                      <a:pt x="7" y="102"/>
                    </a:lnTo>
                    <a:lnTo>
                      <a:pt x="6" y="102"/>
                    </a:lnTo>
                    <a:lnTo>
                      <a:pt x="7" y="100"/>
                    </a:lnTo>
                    <a:lnTo>
                      <a:pt x="7" y="102"/>
                    </a:lnTo>
                    <a:lnTo>
                      <a:pt x="9" y="100"/>
                    </a:lnTo>
                    <a:lnTo>
                      <a:pt x="11" y="100"/>
                    </a:lnTo>
                    <a:lnTo>
                      <a:pt x="11" y="98"/>
                    </a:lnTo>
                    <a:lnTo>
                      <a:pt x="13" y="98"/>
                    </a:lnTo>
                    <a:lnTo>
                      <a:pt x="13" y="96"/>
                    </a:lnTo>
                    <a:lnTo>
                      <a:pt x="11" y="96"/>
                    </a:lnTo>
                    <a:lnTo>
                      <a:pt x="13" y="96"/>
                    </a:lnTo>
                    <a:lnTo>
                      <a:pt x="13" y="94"/>
                    </a:lnTo>
                    <a:lnTo>
                      <a:pt x="13" y="92"/>
                    </a:lnTo>
                    <a:lnTo>
                      <a:pt x="15" y="92"/>
                    </a:lnTo>
                    <a:lnTo>
                      <a:pt x="15" y="90"/>
                    </a:lnTo>
                    <a:lnTo>
                      <a:pt x="13" y="90"/>
                    </a:lnTo>
                    <a:lnTo>
                      <a:pt x="13" y="88"/>
                    </a:lnTo>
                    <a:lnTo>
                      <a:pt x="15" y="88"/>
                    </a:lnTo>
                    <a:lnTo>
                      <a:pt x="15" y="86"/>
                    </a:lnTo>
                    <a:lnTo>
                      <a:pt x="17" y="86"/>
                    </a:lnTo>
                    <a:lnTo>
                      <a:pt x="19" y="86"/>
                    </a:lnTo>
                    <a:lnTo>
                      <a:pt x="19" y="88"/>
                    </a:lnTo>
                    <a:lnTo>
                      <a:pt x="19" y="86"/>
                    </a:lnTo>
                    <a:lnTo>
                      <a:pt x="21" y="86"/>
                    </a:lnTo>
                    <a:lnTo>
                      <a:pt x="21" y="88"/>
                    </a:lnTo>
                    <a:lnTo>
                      <a:pt x="21" y="86"/>
                    </a:lnTo>
                    <a:lnTo>
                      <a:pt x="23" y="86"/>
                    </a:lnTo>
                    <a:lnTo>
                      <a:pt x="23" y="84"/>
                    </a:lnTo>
                    <a:lnTo>
                      <a:pt x="25" y="82"/>
                    </a:lnTo>
                    <a:lnTo>
                      <a:pt x="25" y="81"/>
                    </a:lnTo>
                    <a:lnTo>
                      <a:pt x="23" y="81"/>
                    </a:lnTo>
                    <a:lnTo>
                      <a:pt x="21" y="81"/>
                    </a:lnTo>
                    <a:lnTo>
                      <a:pt x="21" y="79"/>
                    </a:lnTo>
                    <a:lnTo>
                      <a:pt x="19" y="81"/>
                    </a:lnTo>
                    <a:lnTo>
                      <a:pt x="17" y="79"/>
                    </a:lnTo>
                    <a:lnTo>
                      <a:pt x="17" y="77"/>
                    </a:lnTo>
                    <a:lnTo>
                      <a:pt x="15" y="77"/>
                    </a:lnTo>
                    <a:lnTo>
                      <a:pt x="15" y="75"/>
                    </a:lnTo>
                    <a:lnTo>
                      <a:pt x="15" y="73"/>
                    </a:lnTo>
                    <a:lnTo>
                      <a:pt x="15" y="71"/>
                    </a:lnTo>
                    <a:lnTo>
                      <a:pt x="15" y="69"/>
                    </a:lnTo>
                    <a:lnTo>
                      <a:pt x="15" y="67"/>
                    </a:lnTo>
                    <a:lnTo>
                      <a:pt x="17" y="67"/>
                    </a:lnTo>
                    <a:lnTo>
                      <a:pt x="17" y="65"/>
                    </a:lnTo>
                    <a:lnTo>
                      <a:pt x="17" y="63"/>
                    </a:lnTo>
                    <a:lnTo>
                      <a:pt x="19" y="63"/>
                    </a:lnTo>
                    <a:lnTo>
                      <a:pt x="19" y="61"/>
                    </a:lnTo>
                    <a:lnTo>
                      <a:pt x="21" y="61"/>
                    </a:lnTo>
                    <a:lnTo>
                      <a:pt x="21" y="59"/>
                    </a:lnTo>
                    <a:lnTo>
                      <a:pt x="21" y="57"/>
                    </a:lnTo>
                    <a:lnTo>
                      <a:pt x="19" y="57"/>
                    </a:lnTo>
                    <a:lnTo>
                      <a:pt x="19" y="56"/>
                    </a:lnTo>
                    <a:lnTo>
                      <a:pt x="19" y="54"/>
                    </a:lnTo>
                    <a:lnTo>
                      <a:pt x="19" y="52"/>
                    </a:lnTo>
                    <a:lnTo>
                      <a:pt x="19" y="50"/>
                    </a:lnTo>
                    <a:lnTo>
                      <a:pt x="19" y="48"/>
                    </a:lnTo>
                    <a:lnTo>
                      <a:pt x="19" y="46"/>
                    </a:lnTo>
                    <a:lnTo>
                      <a:pt x="19" y="44"/>
                    </a:lnTo>
                    <a:lnTo>
                      <a:pt x="19" y="42"/>
                    </a:lnTo>
                    <a:lnTo>
                      <a:pt x="19" y="40"/>
                    </a:lnTo>
                    <a:lnTo>
                      <a:pt x="17" y="40"/>
                    </a:lnTo>
                    <a:lnTo>
                      <a:pt x="17" y="38"/>
                    </a:lnTo>
                    <a:lnTo>
                      <a:pt x="19" y="40"/>
                    </a:lnTo>
                    <a:lnTo>
                      <a:pt x="19" y="38"/>
                    </a:lnTo>
                    <a:lnTo>
                      <a:pt x="21" y="38"/>
                    </a:lnTo>
                    <a:lnTo>
                      <a:pt x="21" y="36"/>
                    </a:lnTo>
                    <a:lnTo>
                      <a:pt x="19" y="36"/>
                    </a:lnTo>
                    <a:lnTo>
                      <a:pt x="19" y="34"/>
                    </a:lnTo>
                    <a:lnTo>
                      <a:pt x="21" y="34"/>
                    </a:lnTo>
                    <a:lnTo>
                      <a:pt x="21" y="36"/>
                    </a:lnTo>
                    <a:lnTo>
                      <a:pt x="21" y="34"/>
                    </a:lnTo>
                    <a:lnTo>
                      <a:pt x="23" y="36"/>
                    </a:lnTo>
                    <a:lnTo>
                      <a:pt x="21" y="34"/>
                    </a:lnTo>
                    <a:lnTo>
                      <a:pt x="23" y="34"/>
                    </a:lnTo>
                    <a:lnTo>
                      <a:pt x="23" y="32"/>
                    </a:lnTo>
                    <a:lnTo>
                      <a:pt x="21" y="32"/>
                    </a:lnTo>
                    <a:lnTo>
                      <a:pt x="21" y="31"/>
                    </a:lnTo>
                    <a:lnTo>
                      <a:pt x="23" y="31"/>
                    </a:lnTo>
                    <a:lnTo>
                      <a:pt x="23" y="29"/>
                    </a:lnTo>
                    <a:lnTo>
                      <a:pt x="23" y="31"/>
                    </a:lnTo>
                    <a:lnTo>
                      <a:pt x="25" y="31"/>
                    </a:lnTo>
                    <a:lnTo>
                      <a:pt x="25" y="32"/>
                    </a:lnTo>
                    <a:lnTo>
                      <a:pt x="27" y="32"/>
                    </a:lnTo>
                    <a:lnTo>
                      <a:pt x="29" y="32"/>
                    </a:lnTo>
                    <a:lnTo>
                      <a:pt x="27" y="32"/>
                    </a:lnTo>
                    <a:lnTo>
                      <a:pt x="29" y="31"/>
                    </a:lnTo>
                    <a:lnTo>
                      <a:pt x="29" y="29"/>
                    </a:lnTo>
                    <a:lnTo>
                      <a:pt x="30" y="31"/>
                    </a:lnTo>
                    <a:lnTo>
                      <a:pt x="30" y="29"/>
                    </a:lnTo>
                    <a:lnTo>
                      <a:pt x="32" y="29"/>
                    </a:lnTo>
                    <a:lnTo>
                      <a:pt x="34" y="31"/>
                    </a:lnTo>
                    <a:lnTo>
                      <a:pt x="36" y="31"/>
                    </a:lnTo>
                    <a:lnTo>
                      <a:pt x="36" y="29"/>
                    </a:lnTo>
                    <a:lnTo>
                      <a:pt x="34" y="29"/>
                    </a:lnTo>
                    <a:lnTo>
                      <a:pt x="34" y="27"/>
                    </a:lnTo>
                    <a:lnTo>
                      <a:pt x="34" y="25"/>
                    </a:lnTo>
                    <a:lnTo>
                      <a:pt x="34" y="23"/>
                    </a:lnTo>
                    <a:lnTo>
                      <a:pt x="34" y="21"/>
                    </a:lnTo>
                    <a:lnTo>
                      <a:pt x="32" y="21"/>
                    </a:lnTo>
                    <a:lnTo>
                      <a:pt x="32" y="19"/>
                    </a:lnTo>
                    <a:lnTo>
                      <a:pt x="32" y="17"/>
                    </a:lnTo>
                    <a:lnTo>
                      <a:pt x="30" y="15"/>
                    </a:lnTo>
                    <a:lnTo>
                      <a:pt x="32" y="15"/>
                    </a:lnTo>
                    <a:lnTo>
                      <a:pt x="34" y="15"/>
                    </a:lnTo>
                    <a:lnTo>
                      <a:pt x="34" y="13"/>
                    </a:lnTo>
                    <a:lnTo>
                      <a:pt x="34" y="15"/>
                    </a:lnTo>
                    <a:lnTo>
                      <a:pt x="36" y="15"/>
                    </a:lnTo>
                    <a:lnTo>
                      <a:pt x="36" y="13"/>
                    </a:lnTo>
                    <a:lnTo>
                      <a:pt x="36" y="11"/>
                    </a:lnTo>
                    <a:lnTo>
                      <a:pt x="36" y="9"/>
                    </a:lnTo>
                    <a:lnTo>
                      <a:pt x="38" y="9"/>
                    </a:lnTo>
                    <a:lnTo>
                      <a:pt x="40" y="9"/>
                    </a:lnTo>
                    <a:lnTo>
                      <a:pt x="40" y="7"/>
                    </a:lnTo>
                    <a:lnTo>
                      <a:pt x="40" y="9"/>
                    </a:lnTo>
                    <a:lnTo>
                      <a:pt x="42" y="9"/>
                    </a:lnTo>
                    <a:lnTo>
                      <a:pt x="44" y="9"/>
                    </a:lnTo>
                    <a:lnTo>
                      <a:pt x="46" y="9"/>
                    </a:lnTo>
                    <a:lnTo>
                      <a:pt x="48" y="9"/>
                    </a:lnTo>
                    <a:lnTo>
                      <a:pt x="48" y="7"/>
                    </a:lnTo>
                    <a:lnTo>
                      <a:pt x="48" y="9"/>
                    </a:lnTo>
                    <a:lnTo>
                      <a:pt x="50" y="7"/>
                    </a:lnTo>
                    <a:lnTo>
                      <a:pt x="52" y="7"/>
                    </a:lnTo>
                    <a:lnTo>
                      <a:pt x="54" y="7"/>
                    </a:lnTo>
                    <a:lnTo>
                      <a:pt x="54" y="6"/>
                    </a:lnTo>
                    <a:lnTo>
                      <a:pt x="54" y="4"/>
                    </a:lnTo>
                    <a:lnTo>
                      <a:pt x="54" y="2"/>
                    </a:lnTo>
                    <a:lnTo>
                      <a:pt x="55" y="0"/>
                    </a:lnTo>
                    <a:lnTo>
                      <a:pt x="57" y="0"/>
                    </a:lnTo>
                    <a:lnTo>
                      <a:pt x="57" y="2"/>
                    </a:lnTo>
                    <a:lnTo>
                      <a:pt x="59" y="2"/>
                    </a:lnTo>
                    <a:lnTo>
                      <a:pt x="59" y="4"/>
                    </a:lnTo>
                    <a:lnTo>
                      <a:pt x="61" y="4"/>
                    </a:lnTo>
                    <a:lnTo>
                      <a:pt x="63" y="2"/>
                    </a:lnTo>
                    <a:lnTo>
                      <a:pt x="65" y="2"/>
                    </a:lnTo>
                    <a:lnTo>
                      <a:pt x="67" y="2"/>
                    </a:lnTo>
                    <a:lnTo>
                      <a:pt x="65" y="2"/>
                    </a:lnTo>
                    <a:lnTo>
                      <a:pt x="65" y="0"/>
                    </a:lnTo>
                    <a:lnTo>
                      <a:pt x="67" y="0"/>
                    </a:lnTo>
                    <a:lnTo>
                      <a:pt x="69" y="0"/>
                    </a:lnTo>
                    <a:lnTo>
                      <a:pt x="79" y="9"/>
                    </a:lnTo>
                    <a:lnTo>
                      <a:pt x="80" y="7"/>
                    </a:lnTo>
                    <a:lnTo>
                      <a:pt x="80" y="9"/>
                    </a:lnTo>
                    <a:lnTo>
                      <a:pt x="80" y="7"/>
                    </a:lnTo>
                    <a:lnTo>
                      <a:pt x="82" y="7"/>
                    </a:lnTo>
                    <a:lnTo>
                      <a:pt x="82" y="6"/>
                    </a:lnTo>
                    <a:lnTo>
                      <a:pt x="84" y="6"/>
                    </a:lnTo>
                    <a:lnTo>
                      <a:pt x="84" y="7"/>
                    </a:lnTo>
                    <a:lnTo>
                      <a:pt x="84" y="9"/>
                    </a:lnTo>
                    <a:lnTo>
                      <a:pt x="86" y="9"/>
                    </a:lnTo>
                    <a:lnTo>
                      <a:pt x="84" y="9"/>
                    </a:lnTo>
                    <a:lnTo>
                      <a:pt x="84" y="11"/>
                    </a:lnTo>
                    <a:lnTo>
                      <a:pt x="86" y="9"/>
                    </a:lnTo>
                    <a:lnTo>
                      <a:pt x="86" y="7"/>
                    </a:lnTo>
                    <a:lnTo>
                      <a:pt x="88" y="7"/>
                    </a:lnTo>
                    <a:lnTo>
                      <a:pt x="88" y="6"/>
                    </a:lnTo>
                    <a:lnTo>
                      <a:pt x="88" y="7"/>
                    </a:lnTo>
                    <a:lnTo>
                      <a:pt x="88" y="9"/>
                    </a:lnTo>
                    <a:lnTo>
                      <a:pt x="86" y="7"/>
                    </a:lnTo>
                    <a:lnTo>
                      <a:pt x="86" y="9"/>
                    </a:lnTo>
                    <a:lnTo>
                      <a:pt x="86" y="11"/>
                    </a:lnTo>
                    <a:lnTo>
                      <a:pt x="90" y="11"/>
                    </a:lnTo>
                    <a:lnTo>
                      <a:pt x="90" y="13"/>
                    </a:lnTo>
                    <a:lnTo>
                      <a:pt x="92" y="15"/>
                    </a:lnTo>
                    <a:lnTo>
                      <a:pt x="92" y="11"/>
                    </a:lnTo>
                    <a:lnTo>
                      <a:pt x="94" y="11"/>
                    </a:lnTo>
                    <a:lnTo>
                      <a:pt x="94" y="9"/>
                    </a:lnTo>
                    <a:lnTo>
                      <a:pt x="94" y="11"/>
                    </a:lnTo>
                    <a:lnTo>
                      <a:pt x="94" y="9"/>
                    </a:lnTo>
                    <a:lnTo>
                      <a:pt x="94" y="11"/>
                    </a:lnTo>
                    <a:lnTo>
                      <a:pt x="94" y="9"/>
                    </a:lnTo>
                    <a:lnTo>
                      <a:pt x="96" y="9"/>
                    </a:lnTo>
                    <a:lnTo>
                      <a:pt x="96" y="11"/>
                    </a:lnTo>
                    <a:lnTo>
                      <a:pt x="96" y="9"/>
                    </a:lnTo>
                    <a:lnTo>
                      <a:pt x="98" y="9"/>
                    </a:lnTo>
                    <a:lnTo>
                      <a:pt x="98" y="7"/>
                    </a:lnTo>
                    <a:lnTo>
                      <a:pt x="98" y="6"/>
                    </a:lnTo>
                    <a:lnTo>
                      <a:pt x="98" y="4"/>
                    </a:lnTo>
                    <a:lnTo>
                      <a:pt x="100" y="4"/>
                    </a:lnTo>
                    <a:lnTo>
                      <a:pt x="102" y="4"/>
                    </a:lnTo>
                    <a:lnTo>
                      <a:pt x="100" y="4"/>
                    </a:lnTo>
                    <a:lnTo>
                      <a:pt x="102" y="6"/>
                    </a:lnTo>
                    <a:lnTo>
                      <a:pt x="104" y="6"/>
                    </a:lnTo>
                    <a:lnTo>
                      <a:pt x="104" y="7"/>
                    </a:lnTo>
                    <a:lnTo>
                      <a:pt x="105" y="7"/>
                    </a:lnTo>
                    <a:lnTo>
                      <a:pt x="104" y="7"/>
                    </a:lnTo>
                    <a:lnTo>
                      <a:pt x="105" y="7"/>
                    </a:lnTo>
                    <a:lnTo>
                      <a:pt x="105" y="9"/>
                    </a:lnTo>
                    <a:lnTo>
                      <a:pt x="105" y="11"/>
                    </a:lnTo>
                    <a:lnTo>
                      <a:pt x="105" y="9"/>
                    </a:lnTo>
                    <a:lnTo>
                      <a:pt x="107" y="9"/>
                    </a:lnTo>
                    <a:lnTo>
                      <a:pt x="109" y="9"/>
                    </a:lnTo>
                    <a:lnTo>
                      <a:pt x="109" y="11"/>
                    </a:lnTo>
                    <a:lnTo>
                      <a:pt x="109" y="13"/>
                    </a:lnTo>
                    <a:lnTo>
                      <a:pt x="111" y="13"/>
                    </a:lnTo>
                    <a:lnTo>
                      <a:pt x="111" y="15"/>
                    </a:lnTo>
                    <a:lnTo>
                      <a:pt x="113" y="17"/>
                    </a:lnTo>
                    <a:lnTo>
                      <a:pt x="115" y="17"/>
                    </a:lnTo>
                    <a:lnTo>
                      <a:pt x="115" y="15"/>
                    </a:lnTo>
                    <a:lnTo>
                      <a:pt x="115" y="17"/>
                    </a:lnTo>
                    <a:lnTo>
                      <a:pt x="115" y="19"/>
                    </a:lnTo>
                    <a:lnTo>
                      <a:pt x="115" y="21"/>
                    </a:lnTo>
                    <a:lnTo>
                      <a:pt x="115" y="23"/>
                    </a:lnTo>
                    <a:lnTo>
                      <a:pt x="117" y="23"/>
                    </a:lnTo>
                    <a:lnTo>
                      <a:pt x="117" y="25"/>
                    </a:lnTo>
                    <a:lnTo>
                      <a:pt x="117" y="27"/>
                    </a:lnTo>
                    <a:lnTo>
                      <a:pt x="117" y="29"/>
                    </a:lnTo>
                    <a:lnTo>
                      <a:pt x="119" y="29"/>
                    </a:lnTo>
                    <a:lnTo>
                      <a:pt x="119" y="31"/>
                    </a:lnTo>
                    <a:lnTo>
                      <a:pt x="119" y="32"/>
                    </a:lnTo>
                    <a:lnTo>
                      <a:pt x="119" y="31"/>
                    </a:lnTo>
                    <a:lnTo>
                      <a:pt x="119" y="32"/>
                    </a:lnTo>
                    <a:lnTo>
                      <a:pt x="121" y="32"/>
                    </a:lnTo>
                    <a:lnTo>
                      <a:pt x="119" y="32"/>
                    </a:lnTo>
                    <a:lnTo>
                      <a:pt x="119" y="34"/>
                    </a:lnTo>
                    <a:lnTo>
                      <a:pt x="119" y="36"/>
                    </a:lnTo>
                    <a:lnTo>
                      <a:pt x="117" y="38"/>
                    </a:lnTo>
                    <a:lnTo>
                      <a:pt x="119" y="38"/>
                    </a:lnTo>
                    <a:lnTo>
                      <a:pt x="119" y="40"/>
                    </a:lnTo>
                    <a:lnTo>
                      <a:pt x="117" y="40"/>
                    </a:lnTo>
                    <a:lnTo>
                      <a:pt x="117" y="42"/>
                    </a:lnTo>
                    <a:lnTo>
                      <a:pt x="119" y="44"/>
                    </a:lnTo>
                    <a:lnTo>
                      <a:pt x="117" y="46"/>
                    </a:lnTo>
                    <a:lnTo>
                      <a:pt x="119" y="46"/>
                    </a:lnTo>
                    <a:lnTo>
                      <a:pt x="121" y="48"/>
                    </a:lnTo>
                    <a:lnTo>
                      <a:pt x="123" y="48"/>
                    </a:lnTo>
                    <a:lnTo>
                      <a:pt x="123" y="50"/>
                    </a:lnTo>
                    <a:lnTo>
                      <a:pt x="125" y="50"/>
                    </a:lnTo>
                    <a:lnTo>
                      <a:pt x="125" y="52"/>
                    </a:lnTo>
                    <a:lnTo>
                      <a:pt x="125" y="50"/>
                    </a:lnTo>
                    <a:lnTo>
                      <a:pt x="125" y="52"/>
                    </a:lnTo>
                    <a:lnTo>
                      <a:pt x="127" y="52"/>
                    </a:lnTo>
                    <a:lnTo>
                      <a:pt x="127" y="50"/>
                    </a:lnTo>
                    <a:lnTo>
                      <a:pt x="128" y="50"/>
                    </a:lnTo>
                    <a:lnTo>
                      <a:pt x="130" y="50"/>
                    </a:lnTo>
                    <a:lnTo>
                      <a:pt x="130" y="52"/>
                    </a:lnTo>
                    <a:lnTo>
                      <a:pt x="130" y="50"/>
                    </a:lnTo>
                    <a:lnTo>
                      <a:pt x="132" y="50"/>
                    </a:lnTo>
                    <a:lnTo>
                      <a:pt x="132" y="52"/>
                    </a:lnTo>
                    <a:lnTo>
                      <a:pt x="134" y="52"/>
                    </a:lnTo>
                    <a:lnTo>
                      <a:pt x="134" y="54"/>
                    </a:lnTo>
                    <a:lnTo>
                      <a:pt x="136" y="54"/>
                    </a:lnTo>
                    <a:lnTo>
                      <a:pt x="136" y="56"/>
                    </a:lnTo>
                    <a:lnTo>
                      <a:pt x="138" y="54"/>
                    </a:lnTo>
                    <a:lnTo>
                      <a:pt x="138" y="56"/>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8" name="Freeform 148"/>
              <p:cNvSpPr>
                <a:spLocks/>
              </p:cNvSpPr>
              <p:nvPr/>
            </p:nvSpPr>
            <p:spPr bwMode="auto">
              <a:xfrm>
                <a:off x="6234829" y="3696547"/>
                <a:ext cx="280462" cy="227123"/>
              </a:xfrm>
              <a:custGeom>
                <a:avLst/>
                <a:gdLst>
                  <a:gd name="T0" fmla="*/ 149 w 163"/>
                  <a:gd name="T1" fmla="*/ 34 h 132"/>
                  <a:gd name="T2" fmla="*/ 142 w 163"/>
                  <a:gd name="T3" fmla="*/ 40 h 132"/>
                  <a:gd name="T4" fmla="*/ 136 w 163"/>
                  <a:gd name="T5" fmla="*/ 46 h 132"/>
                  <a:gd name="T6" fmla="*/ 134 w 163"/>
                  <a:gd name="T7" fmla="*/ 52 h 132"/>
                  <a:gd name="T8" fmla="*/ 128 w 163"/>
                  <a:gd name="T9" fmla="*/ 59 h 132"/>
                  <a:gd name="T10" fmla="*/ 123 w 163"/>
                  <a:gd name="T11" fmla="*/ 69 h 132"/>
                  <a:gd name="T12" fmla="*/ 113 w 163"/>
                  <a:gd name="T13" fmla="*/ 73 h 132"/>
                  <a:gd name="T14" fmla="*/ 105 w 163"/>
                  <a:gd name="T15" fmla="*/ 80 h 132"/>
                  <a:gd name="T16" fmla="*/ 101 w 163"/>
                  <a:gd name="T17" fmla="*/ 88 h 132"/>
                  <a:gd name="T18" fmla="*/ 98 w 163"/>
                  <a:gd name="T19" fmla="*/ 94 h 132"/>
                  <a:gd name="T20" fmla="*/ 99 w 163"/>
                  <a:gd name="T21" fmla="*/ 105 h 132"/>
                  <a:gd name="T22" fmla="*/ 90 w 163"/>
                  <a:gd name="T23" fmla="*/ 109 h 132"/>
                  <a:gd name="T24" fmla="*/ 88 w 163"/>
                  <a:gd name="T25" fmla="*/ 113 h 132"/>
                  <a:gd name="T26" fmla="*/ 78 w 163"/>
                  <a:gd name="T27" fmla="*/ 119 h 132"/>
                  <a:gd name="T28" fmla="*/ 69 w 163"/>
                  <a:gd name="T29" fmla="*/ 121 h 132"/>
                  <a:gd name="T30" fmla="*/ 61 w 163"/>
                  <a:gd name="T31" fmla="*/ 125 h 132"/>
                  <a:gd name="T32" fmla="*/ 50 w 163"/>
                  <a:gd name="T33" fmla="*/ 127 h 132"/>
                  <a:gd name="T34" fmla="*/ 40 w 163"/>
                  <a:gd name="T35" fmla="*/ 130 h 132"/>
                  <a:gd name="T36" fmla="*/ 32 w 163"/>
                  <a:gd name="T37" fmla="*/ 119 h 132"/>
                  <a:gd name="T38" fmla="*/ 21 w 163"/>
                  <a:gd name="T39" fmla="*/ 109 h 132"/>
                  <a:gd name="T40" fmla="*/ 21 w 163"/>
                  <a:gd name="T41" fmla="*/ 98 h 132"/>
                  <a:gd name="T42" fmla="*/ 15 w 163"/>
                  <a:gd name="T43" fmla="*/ 86 h 132"/>
                  <a:gd name="T44" fmla="*/ 7 w 163"/>
                  <a:gd name="T45" fmla="*/ 82 h 132"/>
                  <a:gd name="T46" fmla="*/ 3 w 163"/>
                  <a:gd name="T47" fmla="*/ 73 h 132"/>
                  <a:gd name="T48" fmla="*/ 2 w 163"/>
                  <a:gd name="T49" fmla="*/ 59 h 132"/>
                  <a:gd name="T50" fmla="*/ 3 w 163"/>
                  <a:gd name="T51" fmla="*/ 52 h 132"/>
                  <a:gd name="T52" fmla="*/ 9 w 163"/>
                  <a:gd name="T53" fmla="*/ 48 h 132"/>
                  <a:gd name="T54" fmla="*/ 9 w 163"/>
                  <a:gd name="T55" fmla="*/ 44 h 132"/>
                  <a:gd name="T56" fmla="*/ 9 w 163"/>
                  <a:gd name="T57" fmla="*/ 30 h 132"/>
                  <a:gd name="T58" fmla="*/ 15 w 163"/>
                  <a:gd name="T59" fmla="*/ 29 h 132"/>
                  <a:gd name="T60" fmla="*/ 23 w 163"/>
                  <a:gd name="T61" fmla="*/ 21 h 132"/>
                  <a:gd name="T62" fmla="*/ 30 w 163"/>
                  <a:gd name="T63" fmla="*/ 15 h 132"/>
                  <a:gd name="T64" fmla="*/ 38 w 163"/>
                  <a:gd name="T65" fmla="*/ 17 h 132"/>
                  <a:gd name="T66" fmla="*/ 36 w 163"/>
                  <a:gd name="T67" fmla="*/ 9 h 132"/>
                  <a:gd name="T68" fmla="*/ 38 w 163"/>
                  <a:gd name="T69" fmla="*/ 0 h 132"/>
                  <a:gd name="T70" fmla="*/ 50 w 163"/>
                  <a:gd name="T71" fmla="*/ 4 h 132"/>
                  <a:gd name="T72" fmla="*/ 57 w 163"/>
                  <a:gd name="T73" fmla="*/ 7 h 132"/>
                  <a:gd name="T74" fmla="*/ 61 w 163"/>
                  <a:gd name="T75" fmla="*/ 2 h 132"/>
                  <a:gd name="T76" fmla="*/ 69 w 163"/>
                  <a:gd name="T77" fmla="*/ 5 h 132"/>
                  <a:gd name="T78" fmla="*/ 76 w 163"/>
                  <a:gd name="T79" fmla="*/ 5 h 132"/>
                  <a:gd name="T80" fmla="*/ 82 w 163"/>
                  <a:gd name="T81" fmla="*/ 9 h 132"/>
                  <a:gd name="T82" fmla="*/ 90 w 163"/>
                  <a:gd name="T83" fmla="*/ 19 h 132"/>
                  <a:gd name="T84" fmla="*/ 103 w 163"/>
                  <a:gd name="T85" fmla="*/ 25 h 132"/>
                  <a:gd name="T86" fmla="*/ 111 w 163"/>
                  <a:gd name="T87" fmla="*/ 25 h 132"/>
                  <a:gd name="T88" fmla="*/ 115 w 163"/>
                  <a:gd name="T89" fmla="*/ 25 h 132"/>
                  <a:gd name="T90" fmla="*/ 119 w 163"/>
                  <a:gd name="T91" fmla="*/ 29 h 132"/>
                  <a:gd name="T92" fmla="*/ 121 w 163"/>
                  <a:gd name="T93" fmla="*/ 29 h 132"/>
                  <a:gd name="T94" fmla="*/ 124 w 163"/>
                  <a:gd name="T95" fmla="*/ 29 h 132"/>
                  <a:gd name="T96" fmla="*/ 130 w 163"/>
                  <a:gd name="T97" fmla="*/ 25 h 132"/>
                  <a:gd name="T98" fmla="*/ 132 w 163"/>
                  <a:gd name="T99" fmla="*/ 21 h 132"/>
                  <a:gd name="T100" fmla="*/ 134 w 163"/>
                  <a:gd name="T101" fmla="*/ 17 h 132"/>
                  <a:gd name="T102" fmla="*/ 140 w 163"/>
                  <a:gd name="T103" fmla="*/ 17 h 132"/>
                  <a:gd name="T104" fmla="*/ 146 w 163"/>
                  <a:gd name="T105" fmla="*/ 21 h 132"/>
                  <a:gd name="T106" fmla="*/ 151 w 163"/>
                  <a:gd name="T107" fmla="*/ 21 h 132"/>
                  <a:gd name="T108" fmla="*/ 155 w 163"/>
                  <a:gd name="T109" fmla="*/ 15 h 132"/>
                  <a:gd name="T110" fmla="*/ 163 w 163"/>
                  <a:gd name="T111" fmla="*/ 21 h 132"/>
                  <a:gd name="T112" fmla="*/ 159 w 163"/>
                  <a:gd name="T113" fmla="*/ 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32">
                    <a:moveTo>
                      <a:pt x="159" y="32"/>
                    </a:moveTo>
                    <a:lnTo>
                      <a:pt x="159" y="34"/>
                    </a:lnTo>
                    <a:lnTo>
                      <a:pt x="157" y="34"/>
                    </a:lnTo>
                    <a:lnTo>
                      <a:pt x="155" y="32"/>
                    </a:lnTo>
                    <a:lnTo>
                      <a:pt x="153" y="32"/>
                    </a:lnTo>
                    <a:lnTo>
                      <a:pt x="151" y="34"/>
                    </a:lnTo>
                    <a:lnTo>
                      <a:pt x="149" y="34"/>
                    </a:lnTo>
                    <a:lnTo>
                      <a:pt x="148" y="34"/>
                    </a:lnTo>
                    <a:lnTo>
                      <a:pt x="148" y="36"/>
                    </a:lnTo>
                    <a:lnTo>
                      <a:pt x="146" y="36"/>
                    </a:lnTo>
                    <a:lnTo>
                      <a:pt x="146" y="38"/>
                    </a:lnTo>
                    <a:lnTo>
                      <a:pt x="146" y="40"/>
                    </a:lnTo>
                    <a:lnTo>
                      <a:pt x="144" y="40"/>
                    </a:lnTo>
                    <a:lnTo>
                      <a:pt x="142" y="40"/>
                    </a:lnTo>
                    <a:lnTo>
                      <a:pt x="140" y="42"/>
                    </a:lnTo>
                    <a:lnTo>
                      <a:pt x="138" y="44"/>
                    </a:lnTo>
                    <a:lnTo>
                      <a:pt x="140" y="44"/>
                    </a:lnTo>
                    <a:lnTo>
                      <a:pt x="140" y="46"/>
                    </a:lnTo>
                    <a:lnTo>
                      <a:pt x="138" y="48"/>
                    </a:lnTo>
                    <a:lnTo>
                      <a:pt x="136" y="48"/>
                    </a:lnTo>
                    <a:lnTo>
                      <a:pt x="136" y="46"/>
                    </a:lnTo>
                    <a:lnTo>
                      <a:pt x="134" y="46"/>
                    </a:lnTo>
                    <a:lnTo>
                      <a:pt x="134" y="48"/>
                    </a:lnTo>
                    <a:lnTo>
                      <a:pt x="134" y="50"/>
                    </a:lnTo>
                    <a:lnTo>
                      <a:pt x="136" y="52"/>
                    </a:lnTo>
                    <a:lnTo>
                      <a:pt x="134" y="52"/>
                    </a:lnTo>
                    <a:lnTo>
                      <a:pt x="134" y="54"/>
                    </a:lnTo>
                    <a:lnTo>
                      <a:pt x="134" y="52"/>
                    </a:lnTo>
                    <a:lnTo>
                      <a:pt x="132" y="52"/>
                    </a:lnTo>
                    <a:lnTo>
                      <a:pt x="132" y="54"/>
                    </a:lnTo>
                    <a:lnTo>
                      <a:pt x="132" y="55"/>
                    </a:lnTo>
                    <a:lnTo>
                      <a:pt x="130" y="55"/>
                    </a:lnTo>
                    <a:lnTo>
                      <a:pt x="130" y="57"/>
                    </a:lnTo>
                    <a:lnTo>
                      <a:pt x="128" y="57"/>
                    </a:lnTo>
                    <a:lnTo>
                      <a:pt x="128" y="59"/>
                    </a:lnTo>
                    <a:lnTo>
                      <a:pt x="128" y="61"/>
                    </a:lnTo>
                    <a:lnTo>
                      <a:pt x="126" y="63"/>
                    </a:lnTo>
                    <a:lnTo>
                      <a:pt x="124" y="63"/>
                    </a:lnTo>
                    <a:lnTo>
                      <a:pt x="124" y="65"/>
                    </a:lnTo>
                    <a:lnTo>
                      <a:pt x="123" y="65"/>
                    </a:lnTo>
                    <a:lnTo>
                      <a:pt x="123" y="67"/>
                    </a:lnTo>
                    <a:lnTo>
                      <a:pt x="123" y="69"/>
                    </a:lnTo>
                    <a:lnTo>
                      <a:pt x="121" y="73"/>
                    </a:lnTo>
                    <a:lnTo>
                      <a:pt x="119" y="73"/>
                    </a:lnTo>
                    <a:lnTo>
                      <a:pt x="119" y="71"/>
                    </a:lnTo>
                    <a:lnTo>
                      <a:pt x="117" y="71"/>
                    </a:lnTo>
                    <a:lnTo>
                      <a:pt x="115" y="71"/>
                    </a:lnTo>
                    <a:lnTo>
                      <a:pt x="115" y="73"/>
                    </a:lnTo>
                    <a:lnTo>
                      <a:pt x="113" y="73"/>
                    </a:lnTo>
                    <a:lnTo>
                      <a:pt x="111" y="73"/>
                    </a:lnTo>
                    <a:lnTo>
                      <a:pt x="111" y="75"/>
                    </a:lnTo>
                    <a:lnTo>
                      <a:pt x="109" y="75"/>
                    </a:lnTo>
                    <a:lnTo>
                      <a:pt x="107" y="75"/>
                    </a:lnTo>
                    <a:lnTo>
                      <a:pt x="107" y="77"/>
                    </a:lnTo>
                    <a:lnTo>
                      <a:pt x="105" y="79"/>
                    </a:lnTo>
                    <a:lnTo>
                      <a:pt x="105" y="80"/>
                    </a:lnTo>
                    <a:lnTo>
                      <a:pt x="107" y="80"/>
                    </a:lnTo>
                    <a:lnTo>
                      <a:pt x="107" y="82"/>
                    </a:lnTo>
                    <a:lnTo>
                      <a:pt x="105" y="82"/>
                    </a:lnTo>
                    <a:lnTo>
                      <a:pt x="103" y="82"/>
                    </a:lnTo>
                    <a:lnTo>
                      <a:pt x="103" y="84"/>
                    </a:lnTo>
                    <a:lnTo>
                      <a:pt x="101" y="86"/>
                    </a:lnTo>
                    <a:lnTo>
                      <a:pt x="101" y="88"/>
                    </a:lnTo>
                    <a:lnTo>
                      <a:pt x="101" y="90"/>
                    </a:lnTo>
                    <a:lnTo>
                      <a:pt x="101" y="92"/>
                    </a:lnTo>
                    <a:lnTo>
                      <a:pt x="99" y="92"/>
                    </a:lnTo>
                    <a:lnTo>
                      <a:pt x="98" y="90"/>
                    </a:lnTo>
                    <a:lnTo>
                      <a:pt x="96" y="90"/>
                    </a:lnTo>
                    <a:lnTo>
                      <a:pt x="96" y="92"/>
                    </a:lnTo>
                    <a:lnTo>
                      <a:pt x="98" y="94"/>
                    </a:lnTo>
                    <a:lnTo>
                      <a:pt x="98" y="96"/>
                    </a:lnTo>
                    <a:lnTo>
                      <a:pt x="98" y="98"/>
                    </a:lnTo>
                    <a:lnTo>
                      <a:pt x="99" y="98"/>
                    </a:lnTo>
                    <a:lnTo>
                      <a:pt x="99" y="100"/>
                    </a:lnTo>
                    <a:lnTo>
                      <a:pt x="99" y="102"/>
                    </a:lnTo>
                    <a:lnTo>
                      <a:pt x="98" y="104"/>
                    </a:lnTo>
                    <a:lnTo>
                      <a:pt x="99" y="105"/>
                    </a:lnTo>
                    <a:lnTo>
                      <a:pt x="99" y="107"/>
                    </a:lnTo>
                    <a:lnTo>
                      <a:pt x="98" y="107"/>
                    </a:lnTo>
                    <a:lnTo>
                      <a:pt x="98" y="109"/>
                    </a:lnTo>
                    <a:lnTo>
                      <a:pt x="96" y="109"/>
                    </a:lnTo>
                    <a:lnTo>
                      <a:pt x="94" y="109"/>
                    </a:lnTo>
                    <a:lnTo>
                      <a:pt x="92" y="109"/>
                    </a:lnTo>
                    <a:lnTo>
                      <a:pt x="90" y="109"/>
                    </a:lnTo>
                    <a:lnTo>
                      <a:pt x="90" y="111"/>
                    </a:lnTo>
                    <a:lnTo>
                      <a:pt x="92" y="111"/>
                    </a:lnTo>
                    <a:lnTo>
                      <a:pt x="92" y="113"/>
                    </a:lnTo>
                    <a:lnTo>
                      <a:pt x="90" y="113"/>
                    </a:lnTo>
                    <a:lnTo>
                      <a:pt x="90" y="111"/>
                    </a:lnTo>
                    <a:lnTo>
                      <a:pt x="88" y="111"/>
                    </a:lnTo>
                    <a:lnTo>
                      <a:pt x="88" y="113"/>
                    </a:lnTo>
                    <a:lnTo>
                      <a:pt x="86" y="113"/>
                    </a:lnTo>
                    <a:lnTo>
                      <a:pt x="86" y="115"/>
                    </a:lnTo>
                    <a:lnTo>
                      <a:pt x="84" y="115"/>
                    </a:lnTo>
                    <a:lnTo>
                      <a:pt x="82" y="117"/>
                    </a:lnTo>
                    <a:lnTo>
                      <a:pt x="80" y="117"/>
                    </a:lnTo>
                    <a:lnTo>
                      <a:pt x="78" y="117"/>
                    </a:lnTo>
                    <a:lnTo>
                      <a:pt x="78" y="119"/>
                    </a:lnTo>
                    <a:lnTo>
                      <a:pt x="78" y="121"/>
                    </a:lnTo>
                    <a:lnTo>
                      <a:pt x="76" y="121"/>
                    </a:lnTo>
                    <a:lnTo>
                      <a:pt x="75" y="119"/>
                    </a:lnTo>
                    <a:lnTo>
                      <a:pt x="75" y="121"/>
                    </a:lnTo>
                    <a:lnTo>
                      <a:pt x="73" y="123"/>
                    </a:lnTo>
                    <a:lnTo>
                      <a:pt x="71" y="123"/>
                    </a:lnTo>
                    <a:lnTo>
                      <a:pt x="69" y="121"/>
                    </a:lnTo>
                    <a:lnTo>
                      <a:pt x="67" y="121"/>
                    </a:lnTo>
                    <a:lnTo>
                      <a:pt x="67" y="123"/>
                    </a:lnTo>
                    <a:lnTo>
                      <a:pt x="67" y="125"/>
                    </a:lnTo>
                    <a:lnTo>
                      <a:pt x="65" y="127"/>
                    </a:lnTo>
                    <a:lnTo>
                      <a:pt x="63" y="127"/>
                    </a:lnTo>
                    <a:lnTo>
                      <a:pt x="63" y="125"/>
                    </a:lnTo>
                    <a:lnTo>
                      <a:pt x="61" y="125"/>
                    </a:lnTo>
                    <a:lnTo>
                      <a:pt x="61" y="123"/>
                    </a:lnTo>
                    <a:lnTo>
                      <a:pt x="59" y="123"/>
                    </a:lnTo>
                    <a:lnTo>
                      <a:pt x="57" y="123"/>
                    </a:lnTo>
                    <a:lnTo>
                      <a:pt x="55" y="125"/>
                    </a:lnTo>
                    <a:lnTo>
                      <a:pt x="51" y="125"/>
                    </a:lnTo>
                    <a:lnTo>
                      <a:pt x="51" y="127"/>
                    </a:lnTo>
                    <a:lnTo>
                      <a:pt x="50" y="127"/>
                    </a:lnTo>
                    <a:lnTo>
                      <a:pt x="50" y="128"/>
                    </a:lnTo>
                    <a:lnTo>
                      <a:pt x="48" y="130"/>
                    </a:lnTo>
                    <a:lnTo>
                      <a:pt x="46" y="130"/>
                    </a:lnTo>
                    <a:lnTo>
                      <a:pt x="46" y="132"/>
                    </a:lnTo>
                    <a:lnTo>
                      <a:pt x="44" y="132"/>
                    </a:lnTo>
                    <a:lnTo>
                      <a:pt x="42" y="132"/>
                    </a:lnTo>
                    <a:lnTo>
                      <a:pt x="40" y="130"/>
                    </a:lnTo>
                    <a:lnTo>
                      <a:pt x="40" y="128"/>
                    </a:lnTo>
                    <a:lnTo>
                      <a:pt x="38" y="125"/>
                    </a:lnTo>
                    <a:lnTo>
                      <a:pt x="36" y="123"/>
                    </a:lnTo>
                    <a:lnTo>
                      <a:pt x="34" y="123"/>
                    </a:lnTo>
                    <a:lnTo>
                      <a:pt x="34" y="121"/>
                    </a:lnTo>
                    <a:lnTo>
                      <a:pt x="34" y="119"/>
                    </a:lnTo>
                    <a:lnTo>
                      <a:pt x="32" y="119"/>
                    </a:lnTo>
                    <a:lnTo>
                      <a:pt x="30" y="117"/>
                    </a:lnTo>
                    <a:lnTo>
                      <a:pt x="26" y="115"/>
                    </a:lnTo>
                    <a:lnTo>
                      <a:pt x="25" y="115"/>
                    </a:lnTo>
                    <a:lnTo>
                      <a:pt x="25" y="113"/>
                    </a:lnTo>
                    <a:lnTo>
                      <a:pt x="23" y="113"/>
                    </a:lnTo>
                    <a:lnTo>
                      <a:pt x="21" y="111"/>
                    </a:lnTo>
                    <a:lnTo>
                      <a:pt x="21" y="109"/>
                    </a:lnTo>
                    <a:lnTo>
                      <a:pt x="19" y="107"/>
                    </a:lnTo>
                    <a:lnTo>
                      <a:pt x="21" y="107"/>
                    </a:lnTo>
                    <a:lnTo>
                      <a:pt x="21" y="105"/>
                    </a:lnTo>
                    <a:lnTo>
                      <a:pt x="21" y="104"/>
                    </a:lnTo>
                    <a:lnTo>
                      <a:pt x="21" y="102"/>
                    </a:lnTo>
                    <a:lnTo>
                      <a:pt x="21" y="100"/>
                    </a:lnTo>
                    <a:lnTo>
                      <a:pt x="21" y="98"/>
                    </a:lnTo>
                    <a:lnTo>
                      <a:pt x="21" y="96"/>
                    </a:lnTo>
                    <a:lnTo>
                      <a:pt x="21" y="94"/>
                    </a:lnTo>
                    <a:lnTo>
                      <a:pt x="21" y="92"/>
                    </a:lnTo>
                    <a:lnTo>
                      <a:pt x="19" y="92"/>
                    </a:lnTo>
                    <a:lnTo>
                      <a:pt x="17" y="90"/>
                    </a:lnTo>
                    <a:lnTo>
                      <a:pt x="15" y="88"/>
                    </a:lnTo>
                    <a:lnTo>
                      <a:pt x="15" y="86"/>
                    </a:lnTo>
                    <a:lnTo>
                      <a:pt x="15" y="84"/>
                    </a:lnTo>
                    <a:lnTo>
                      <a:pt x="15" y="82"/>
                    </a:lnTo>
                    <a:lnTo>
                      <a:pt x="13" y="82"/>
                    </a:lnTo>
                    <a:lnTo>
                      <a:pt x="11" y="82"/>
                    </a:lnTo>
                    <a:lnTo>
                      <a:pt x="11" y="84"/>
                    </a:lnTo>
                    <a:lnTo>
                      <a:pt x="9" y="84"/>
                    </a:lnTo>
                    <a:lnTo>
                      <a:pt x="7" y="82"/>
                    </a:lnTo>
                    <a:lnTo>
                      <a:pt x="7" y="80"/>
                    </a:lnTo>
                    <a:lnTo>
                      <a:pt x="7" y="79"/>
                    </a:lnTo>
                    <a:lnTo>
                      <a:pt x="5" y="79"/>
                    </a:lnTo>
                    <a:lnTo>
                      <a:pt x="3" y="79"/>
                    </a:lnTo>
                    <a:lnTo>
                      <a:pt x="2" y="77"/>
                    </a:lnTo>
                    <a:lnTo>
                      <a:pt x="3" y="77"/>
                    </a:lnTo>
                    <a:lnTo>
                      <a:pt x="3" y="73"/>
                    </a:lnTo>
                    <a:lnTo>
                      <a:pt x="2" y="71"/>
                    </a:lnTo>
                    <a:lnTo>
                      <a:pt x="2" y="69"/>
                    </a:lnTo>
                    <a:lnTo>
                      <a:pt x="2" y="67"/>
                    </a:lnTo>
                    <a:lnTo>
                      <a:pt x="2" y="65"/>
                    </a:lnTo>
                    <a:lnTo>
                      <a:pt x="2" y="63"/>
                    </a:lnTo>
                    <a:lnTo>
                      <a:pt x="3" y="61"/>
                    </a:lnTo>
                    <a:lnTo>
                      <a:pt x="2" y="59"/>
                    </a:lnTo>
                    <a:lnTo>
                      <a:pt x="0" y="59"/>
                    </a:lnTo>
                    <a:lnTo>
                      <a:pt x="0" y="57"/>
                    </a:lnTo>
                    <a:lnTo>
                      <a:pt x="0" y="55"/>
                    </a:lnTo>
                    <a:lnTo>
                      <a:pt x="2" y="55"/>
                    </a:lnTo>
                    <a:lnTo>
                      <a:pt x="2" y="54"/>
                    </a:lnTo>
                    <a:lnTo>
                      <a:pt x="3" y="54"/>
                    </a:lnTo>
                    <a:lnTo>
                      <a:pt x="3" y="52"/>
                    </a:lnTo>
                    <a:lnTo>
                      <a:pt x="3" y="50"/>
                    </a:lnTo>
                    <a:lnTo>
                      <a:pt x="5" y="50"/>
                    </a:lnTo>
                    <a:lnTo>
                      <a:pt x="7" y="50"/>
                    </a:lnTo>
                    <a:lnTo>
                      <a:pt x="9" y="50"/>
                    </a:lnTo>
                    <a:lnTo>
                      <a:pt x="9" y="48"/>
                    </a:lnTo>
                    <a:lnTo>
                      <a:pt x="9" y="50"/>
                    </a:lnTo>
                    <a:lnTo>
                      <a:pt x="9" y="48"/>
                    </a:lnTo>
                    <a:lnTo>
                      <a:pt x="11" y="50"/>
                    </a:lnTo>
                    <a:lnTo>
                      <a:pt x="11" y="48"/>
                    </a:lnTo>
                    <a:lnTo>
                      <a:pt x="11" y="50"/>
                    </a:lnTo>
                    <a:lnTo>
                      <a:pt x="11" y="48"/>
                    </a:lnTo>
                    <a:lnTo>
                      <a:pt x="13" y="48"/>
                    </a:lnTo>
                    <a:lnTo>
                      <a:pt x="11" y="46"/>
                    </a:lnTo>
                    <a:lnTo>
                      <a:pt x="9" y="44"/>
                    </a:lnTo>
                    <a:lnTo>
                      <a:pt x="9" y="42"/>
                    </a:lnTo>
                    <a:lnTo>
                      <a:pt x="9" y="40"/>
                    </a:lnTo>
                    <a:lnTo>
                      <a:pt x="9" y="38"/>
                    </a:lnTo>
                    <a:lnTo>
                      <a:pt x="9" y="36"/>
                    </a:lnTo>
                    <a:lnTo>
                      <a:pt x="9" y="34"/>
                    </a:lnTo>
                    <a:lnTo>
                      <a:pt x="9" y="32"/>
                    </a:lnTo>
                    <a:lnTo>
                      <a:pt x="9" y="30"/>
                    </a:lnTo>
                    <a:lnTo>
                      <a:pt x="7" y="30"/>
                    </a:lnTo>
                    <a:lnTo>
                      <a:pt x="9" y="30"/>
                    </a:lnTo>
                    <a:lnTo>
                      <a:pt x="9" y="29"/>
                    </a:lnTo>
                    <a:lnTo>
                      <a:pt x="9" y="30"/>
                    </a:lnTo>
                    <a:lnTo>
                      <a:pt x="11" y="29"/>
                    </a:lnTo>
                    <a:lnTo>
                      <a:pt x="13" y="27"/>
                    </a:lnTo>
                    <a:lnTo>
                      <a:pt x="15" y="29"/>
                    </a:lnTo>
                    <a:lnTo>
                      <a:pt x="15" y="27"/>
                    </a:lnTo>
                    <a:lnTo>
                      <a:pt x="15" y="25"/>
                    </a:lnTo>
                    <a:lnTo>
                      <a:pt x="17" y="25"/>
                    </a:lnTo>
                    <a:lnTo>
                      <a:pt x="19" y="25"/>
                    </a:lnTo>
                    <a:lnTo>
                      <a:pt x="21" y="27"/>
                    </a:lnTo>
                    <a:lnTo>
                      <a:pt x="23" y="25"/>
                    </a:lnTo>
                    <a:lnTo>
                      <a:pt x="23" y="21"/>
                    </a:lnTo>
                    <a:lnTo>
                      <a:pt x="25" y="21"/>
                    </a:lnTo>
                    <a:lnTo>
                      <a:pt x="25" y="19"/>
                    </a:lnTo>
                    <a:lnTo>
                      <a:pt x="25" y="17"/>
                    </a:lnTo>
                    <a:lnTo>
                      <a:pt x="26" y="17"/>
                    </a:lnTo>
                    <a:lnTo>
                      <a:pt x="28" y="17"/>
                    </a:lnTo>
                    <a:lnTo>
                      <a:pt x="28" y="15"/>
                    </a:lnTo>
                    <a:lnTo>
                      <a:pt x="30" y="15"/>
                    </a:lnTo>
                    <a:lnTo>
                      <a:pt x="30" y="13"/>
                    </a:lnTo>
                    <a:lnTo>
                      <a:pt x="30" y="15"/>
                    </a:lnTo>
                    <a:lnTo>
                      <a:pt x="32" y="15"/>
                    </a:lnTo>
                    <a:lnTo>
                      <a:pt x="34" y="15"/>
                    </a:lnTo>
                    <a:lnTo>
                      <a:pt x="34" y="17"/>
                    </a:lnTo>
                    <a:lnTo>
                      <a:pt x="36" y="17"/>
                    </a:lnTo>
                    <a:lnTo>
                      <a:pt x="38" y="17"/>
                    </a:lnTo>
                    <a:lnTo>
                      <a:pt x="38" y="15"/>
                    </a:lnTo>
                    <a:lnTo>
                      <a:pt x="36" y="15"/>
                    </a:lnTo>
                    <a:lnTo>
                      <a:pt x="36" y="13"/>
                    </a:lnTo>
                    <a:lnTo>
                      <a:pt x="36" y="11"/>
                    </a:lnTo>
                    <a:lnTo>
                      <a:pt x="38" y="11"/>
                    </a:lnTo>
                    <a:lnTo>
                      <a:pt x="36" y="11"/>
                    </a:lnTo>
                    <a:lnTo>
                      <a:pt x="36" y="9"/>
                    </a:lnTo>
                    <a:lnTo>
                      <a:pt x="36" y="7"/>
                    </a:lnTo>
                    <a:lnTo>
                      <a:pt x="38" y="7"/>
                    </a:lnTo>
                    <a:lnTo>
                      <a:pt x="36" y="5"/>
                    </a:lnTo>
                    <a:lnTo>
                      <a:pt x="36" y="4"/>
                    </a:lnTo>
                    <a:lnTo>
                      <a:pt x="36" y="2"/>
                    </a:lnTo>
                    <a:lnTo>
                      <a:pt x="36" y="0"/>
                    </a:lnTo>
                    <a:lnTo>
                      <a:pt x="38" y="0"/>
                    </a:lnTo>
                    <a:lnTo>
                      <a:pt x="40" y="0"/>
                    </a:lnTo>
                    <a:lnTo>
                      <a:pt x="42" y="0"/>
                    </a:lnTo>
                    <a:lnTo>
                      <a:pt x="44" y="0"/>
                    </a:lnTo>
                    <a:lnTo>
                      <a:pt x="44" y="2"/>
                    </a:lnTo>
                    <a:lnTo>
                      <a:pt x="46" y="2"/>
                    </a:lnTo>
                    <a:lnTo>
                      <a:pt x="48" y="2"/>
                    </a:lnTo>
                    <a:lnTo>
                      <a:pt x="50" y="4"/>
                    </a:lnTo>
                    <a:lnTo>
                      <a:pt x="50" y="5"/>
                    </a:lnTo>
                    <a:lnTo>
                      <a:pt x="50" y="7"/>
                    </a:lnTo>
                    <a:lnTo>
                      <a:pt x="51" y="9"/>
                    </a:lnTo>
                    <a:lnTo>
                      <a:pt x="51" y="7"/>
                    </a:lnTo>
                    <a:lnTo>
                      <a:pt x="53" y="9"/>
                    </a:lnTo>
                    <a:lnTo>
                      <a:pt x="55" y="7"/>
                    </a:lnTo>
                    <a:lnTo>
                      <a:pt x="57" y="7"/>
                    </a:lnTo>
                    <a:lnTo>
                      <a:pt x="55" y="7"/>
                    </a:lnTo>
                    <a:lnTo>
                      <a:pt x="57" y="5"/>
                    </a:lnTo>
                    <a:lnTo>
                      <a:pt x="59" y="5"/>
                    </a:lnTo>
                    <a:lnTo>
                      <a:pt x="61" y="5"/>
                    </a:lnTo>
                    <a:lnTo>
                      <a:pt x="61" y="4"/>
                    </a:lnTo>
                    <a:lnTo>
                      <a:pt x="63" y="4"/>
                    </a:lnTo>
                    <a:lnTo>
                      <a:pt x="61" y="2"/>
                    </a:lnTo>
                    <a:lnTo>
                      <a:pt x="63" y="2"/>
                    </a:lnTo>
                    <a:lnTo>
                      <a:pt x="63" y="0"/>
                    </a:lnTo>
                    <a:lnTo>
                      <a:pt x="65" y="2"/>
                    </a:lnTo>
                    <a:lnTo>
                      <a:pt x="65" y="4"/>
                    </a:lnTo>
                    <a:lnTo>
                      <a:pt x="67" y="5"/>
                    </a:lnTo>
                    <a:lnTo>
                      <a:pt x="67" y="7"/>
                    </a:lnTo>
                    <a:lnTo>
                      <a:pt x="69" y="5"/>
                    </a:lnTo>
                    <a:lnTo>
                      <a:pt x="71" y="4"/>
                    </a:lnTo>
                    <a:lnTo>
                      <a:pt x="71" y="5"/>
                    </a:lnTo>
                    <a:lnTo>
                      <a:pt x="73" y="5"/>
                    </a:lnTo>
                    <a:lnTo>
                      <a:pt x="75" y="5"/>
                    </a:lnTo>
                    <a:lnTo>
                      <a:pt x="75" y="4"/>
                    </a:lnTo>
                    <a:lnTo>
                      <a:pt x="75" y="5"/>
                    </a:lnTo>
                    <a:lnTo>
                      <a:pt x="76" y="5"/>
                    </a:lnTo>
                    <a:lnTo>
                      <a:pt x="78" y="5"/>
                    </a:lnTo>
                    <a:lnTo>
                      <a:pt x="78" y="7"/>
                    </a:lnTo>
                    <a:lnTo>
                      <a:pt x="80" y="7"/>
                    </a:lnTo>
                    <a:lnTo>
                      <a:pt x="80" y="5"/>
                    </a:lnTo>
                    <a:lnTo>
                      <a:pt x="82" y="5"/>
                    </a:lnTo>
                    <a:lnTo>
                      <a:pt x="82" y="7"/>
                    </a:lnTo>
                    <a:lnTo>
                      <a:pt x="82" y="9"/>
                    </a:lnTo>
                    <a:lnTo>
                      <a:pt x="84" y="9"/>
                    </a:lnTo>
                    <a:lnTo>
                      <a:pt x="86" y="11"/>
                    </a:lnTo>
                    <a:lnTo>
                      <a:pt x="88" y="13"/>
                    </a:lnTo>
                    <a:lnTo>
                      <a:pt x="90" y="13"/>
                    </a:lnTo>
                    <a:lnTo>
                      <a:pt x="90" y="15"/>
                    </a:lnTo>
                    <a:lnTo>
                      <a:pt x="90" y="17"/>
                    </a:lnTo>
                    <a:lnTo>
                      <a:pt x="90" y="19"/>
                    </a:lnTo>
                    <a:lnTo>
                      <a:pt x="92" y="21"/>
                    </a:lnTo>
                    <a:lnTo>
                      <a:pt x="94" y="23"/>
                    </a:lnTo>
                    <a:lnTo>
                      <a:pt x="94" y="25"/>
                    </a:lnTo>
                    <a:lnTo>
                      <a:pt x="99" y="23"/>
                    </a:lnTo>
                    <a:lnTo>
                      <a:pt x="101" y="23"/>
                    </a:lnTo>
                    <a:lnTo>
                      <a:pt x="101" y="25"/>
                    </a:lnTo>
                    <a:lnTo>
                      <a:pt x="103" y="25"/>
                    </a:lnTo>
                    <a:lnTo>
                      <a:pt x="105" y="27"/>
                    </a:lnTo>
                    <a:lnTo>
                      <a:pt x="107" y="27"/>
                    </a:lnTo>
                    <a:lnTo>
                      <a:pt x="107" y="29"/>
                    </a:lnTo>
                    <a:lnTo>
                      <a:pt x="109" y="29"/>
                    </a:lnTo>
                    <a:lnTo>
                      <a:pt x="109" y="27"/>
                    </a:lnTo>
                    <a:lnTo>
                      <a:pt x="111" y="27"/>
                    </a:lnTo>
                    <a:lnTo>
                      <a:pt x="111" y="25"/>
                    </a:lnTo>
                    <a:lnTo>
                      <a:pt x="111" y="27"/>
                    </a:lnTo>
                    <a:lnTo>
                      <a:pt x="113" y="27"/>
                    </a:lnTo>
                    <a:lnTo>
                      <a:pt x="111" y="25"/>
                    </a:lnTo>
                    <a:lnTo>
                      <a:pt x="113" y="25"/>
                    </a:lnTo>
                    <a:lnTo>
                      <a:pt x="115" y="25"/>
                    </a:lnTo>
                    <a:lnTo>
                      <a:pt x="113" y="25"/>
                    </a:lnTo>
                    <a:lnTo>
                      <a:pt x="115" y="25"/>
                    </a:lnTo>
                    <a:lnTo>
                      <a:pt x="115" y="27"/>
                    </a:lnTo>
                    <a:lnTo>
                      <a:pt x="117" y="25"/>
                    </a:lnTo>
                    <a:lnTo>
                      <a:pt x="117" y="27"/>
                    </a:lnTo>
                    <a:lnTo>
                      <a:pt x="117" y="29"/>
                    </a:lnTo>
                    <a:lnTo>
                      <a:pt x="117" y="27"/>
                    </a:lnTo>
                    <a:lnTo>
                      <a:pt x="119" y="27"/>
                    </a:lnTo>
                    <a:lnTo>
                      <a:pt x="119" y="29"/>
                    </a:lnTo>
                    <a:lnTo>
                      <a:pt x="119" y="27"/>
                    </a:lnTo>
                    <a:lnTo>
                      <a:pt x="119" y="29"/>
                    </a:lnTo>
                    <a:lnTo>
                      <a:pt x="121" y="29"/>
                    </a:lnTo>
                    <a:lnTo>
                      <a:pt x="119" y="29"/>
                    </a:lnTo>
                    <a:lnTo>
                      <a:pt x="121" y="29"/>
                    </a:lnTo>
                    <a:lnTo>
                      <a:pt x="119" y="29"/>
                    </a:lnTo>
                    <a:lnTo>
                      <a:pt x="121" y="29"/>
                    </a:lnTo>
                    <a:lnTo>
                      <a:pt x="123" y="29"/>
                    </a:lnTo>
                    <a:lnTo>
                      <a:pt x="123" y="27"/>
                    </a:lnTo>
                    <a:lnTo>
                      <a:pt x="123" y="29"/>
                    </a:lnTo>
                    <a:lnTo>
                      <a:pt x="123" y="27"/>
                    </a:lnTo>
                    <a:lnTo>
                      <a:pt x="124" y="29"/>
                    </a:lnTo>
                    <a:lnTo>
                      <a:pt x="123" y="29"/>
                    </a:lnTo>
                    <a:lnTo>
                      <a:pt x="124" y="29"/>
                    </a:lnTo>
                    <a:lnTo>
                      <a:pt x="124" y="27"/>
                    </a:lnTo>
                    <a:lnTo>
                      <a:pt x="124" y="29"/>
                    </a:lnTo>
                    <a:lnTo>
                      <a:pt x="124" y="27"/>
                    </a:lnTo>
                    <a:lnTo>
                      <a:pt x="126" y="27"/>
                    </a:lnTo>
                    <a:lnTo>
                      <a:pt x="128" y="27"/>
                    </a:lnTo>
                    <a:lnTo>
                      <a:pt x="128" y="25"/>
                    </a:lnTo>
                    <a:lnTo>
                      <a:pt x="130" y="25"/>
                    </a:lnTo>
                    <a:lnTo>
                      <a:pt x="128" y="25"/>
                    </a:lnTo>
                    <a:lnTo>
                      <a:pt x="130" y="25"/>
                    </a:lnTo>
                    <a:lnTo>
                      <a:pt x="130" y="23"/>
                    </a:lnTo>
                    <a:lnTo>
                      <a:pt x="132" y="23"/>
                    </a:lnTo>
                    <a:lnTo>
                      <a:pt x="132" y="25"/>
                    </a:lnTo>
                    <a:lnTo>
                      <a:pt x="132" y="23"/>
                    </a:lnTo>
                    <a:lnTo>
                      <a:pt x="132" y="21"/>
                    </a:lnTo>
                    <a:lnTo>
                      <a:pt x="132" y="23"/>
                    </a:lnTo>
                    <a:lnTo>
                      <a:pt x="134" y="23"/>
                    </a:lnTo>
                    <a:lnTo>
                      <a:pt x="134" y="21"/>
                    </a:lnTo>
                    <a:lnTo>
                      <a:pt x="132" y="21"/>
                    </a:lnTo>
                    <a:lnTo>
                      <a:pt x="132" y="19"/>
                    </a:lnTo>
                    <a:lnTo>
                      <a:pt x="132" y="17"/>
                    </a:lnTo>
                    <a:lnTo>
                      <a:pt x="134" y="17"/>
                    </a:lnTo>
                    <a:lnTo>
                      <a:pt x="136" y="17"/>
                    </a:lnTo>
                    <a:lnTo>
                      <a:pt x="136" y="15"/>
                    </a:lnTo>
                    <a:lnTo>
                      <a:pt x="136" y="17"/>
                    </a:lnTo>
                    <a:lnTo>
                      <a:pt x="138" y="17"/>
                    </a:lnTo>
                    <a:lnTo>
                      <a:pt x="138" y="15"/>
                    </a:lnTo>
                    <a:lnTo>
                      <a:pt x="138" y="17"/>
                    </a:lnTo>
                    <a:lnTo>
                      <a:pt x="140" y="17"/>
                    </a:lnTo>
                    <a:lnTo>
                      <a:pt x="140" y="19"/>
                    </a:lnTo>
                    <a:lnTo>
                      <a:pt x="142" y="19"/>
                    </a:lnTo>
                    <a:lnTo>
                      <a:pt x="142" y="21"/>
                    </a:lnTo>
                    <a:lnTo>
                      <a:pt x="144" y="19"/>
                    </a:lnTo>
                    <a:lnTo>
                      <a:pt x="144" y="21"/>
                    </a:lnTo>
                    <a:lnTo>
                      <a:pt x="146" y="19"/>
                    </a:lnTo>
                    <a:lnTo>
                      <a:pt x="146" y="21"/>
                    </a:lnTo>
                    <a:lnTo>
                      <a:pt x="146" y="23"/>
                    </a:lnTo>
                    <a:lnTo>
                      <a:pt x="146" y="21"/>
                    </a:lnTo>
                    <a:lnTo>
                      <a:pt x="148" y="21"/>
                    </a:lnTo>
                    <a:lnTo>
                      <a:pt x="148" y="19"/>
                    </a:lnTo>
                    <a:lnTo>
                      <a:pt x="149" y="19"/>
                    </a:lnTo>
                    <a:lnTo>
                      <a:pt x="149" y="21"/>
                    </a:lnTo>
                    <a:lnTo>
                      <a:pt x="151" y="21"/>
                    </a:lnTo>
                    <a:lnTo>
                      <a:pt x="153" y="21"/>
                    </a:lnTo>
                    <a:lnTo>
                      <a:pt x="153" y="19"/>
                    </a:lnTo>
                    <a:lnTo>
                      <a:pt x="155" y="19"/>
                    </a:lnTo>
                    <a:lnTo>
                      <a:pt x="153" y="19"/>
                    </a:lnTo>
                    <a:lnTo>
                      <a:pt x="155" y="19"/>
                    </a:lnTo>
                    <a:lnTo>
                      <a:pt x="155" y="17"/>
                    </a:lnTo>
                    <a:lnTo>
                      <a:pt x="155" y="15"/>
                    </a:lnTo>
                    <a:lnTo>
                      <a:pt x="157" y="15"/>
                    </a:lnTo>
                    <a:lnTo>
                      <a:pt x="159" y="15"/>
                    </a:lnTo>
                    <a:lnTo>
                      <a:pt x="161" y="15"/>
                    </a:lnTo>
                    <a:lnTo>
                      <a:pt x="161" y="17"/>
                    </a:lnTo>
                    <a:lnTo>
                      <a:pt x="161" y="19"/>
                    </a:lnTo>
                    <a:lnTo>
                      <a:pt x="163" y="19"/>
                    </a:lnTo>
                    <a:lnTo>
                      <a:pt x="163" y="21"/>
                    </a:lnTo>
                    <a:lnTo>
                      <a:pt x="161" y="23"/>
                    </a:lnTo>
                    <a:lnTo>
                      <a:pt x="161" y="25"/>
                    </a:lnTo>
                    <a:lnTo>
                      <a:pt x="161" y="27"/>
                    </a:lnTo>
                    <a:lnTo>
                      <a:pt x="161" y="29"/>
                    </a:lnTo>
                    <a:lnTo>
                      <a:pt x="161" y="30"/>
                    </a:lnTo>
                    <a:lnTo>
                      <a:pt x="161" y="32"/>
                    </a:lnTo>
                    <a:lnTo>
                      <a:pt x="159" y="3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69" name="Freeform 149"/>
              <p:cNvSpPr>
                <a:spLocks noEditPoints="1"/>
              </p:cNvSpPr>
              <p:nvPr/>
            </p:nvSpPr>
            <p:spPr bwMode="auto">
              <a:xfrm>
                <a:off x="6489482" y="308637"/>
                <a:ext cx="1195836" cy="1051303"/>
              </a:xfrm>
              <a:custGeom>
                <a:avLst/>
                <a:gdLst>
                  <a:gd name="T0" fmla="*/ 426 w 695"/>
                  <a:gd name="T1" fmla="*/ 87 h 611"/>
                  <a:gd name="T2" fmla="*/ 376 w 695"/>
                  <a:gd name="T3" fmla="*/ 88 h 611"/>
                  <a:gd name="T4" fmla="*/ 418 w 695"/>
                  <a:gd name="T5" fmla="*/ 88 h 611"/>
                  <a:gd name="T6" fmla="*/ 420 w 695"/>
                  <a:gd name="T7" fmla="*/ 140 h 611"/>
                  <a:gd name="T8" fmla="*/ 430 w 695"/>
                  <a:gd name="T9" fmla="*/ 121 h 611"/>
                  <a:gd name="T10" fmla="*/ 439 w 695"/>
                  <a:gd name="T11" fmla="*/ 75 h 611"/>
                  <a:gd name="T12" fmla="*/ 463 w 695"/>
                  <a:gd name="T13" fmla="*/ 85 h 611"/>
                  <a:gd name="T14" fmla="*/ 463 w 695"/>
                  <a:gd name="T15" fmla="*/ 92 h 611"/>
                  <a:gd name="T16" fmla="*/ 495 w 695"/>
                  <a:gd name="T17" fmla="*/ 71 h 611"/>
                  <a:gd name="T18" fmla="*/ 501 w 695"/>
                  <a:gd name="T19" fmla="*/ 73 h 611"/>
                  <a:gd name="T20" fmla="*/ 541 w 695"/>
                  <a:gd name="T21" fmla="*/ 90 h 611"/>
                  <a:gd name="T22" fmla="*/ 574 w 695"/>
                  <a:gd name="T23" fmla="*/ 87 h 611"/>
                  <a:gd name="T24" fmla="*/ 528 w 695"/>
                  <a:gd name="T25" fmla="*/ 69 h 611"/>
                  <a:gd name="T26" fmla="*/ 557 w 695"/>
                  <a:gd name="T27" fmla="*/ 48 h 611"/>
                  <a:gd name="T28" fmla="*/ 578 w 695"/>
                  <a:gd name="T29" fmla="*/ 17 h 611"/>
                  <a:gd name="T30" fmla="*/ 624 w 695"/>
                  <a:gd name="T31" fmla="*/ 12 h 611"/>
                  <a:gd name="T32" fmla="*/ 645 w 695"/>
                  <a:gd name="T33" fmla="*/ 8 h 611"/>
                  <a:gd name="T34" fmla="*/ 657 w 695"/>
                  <a:gd name="T35" fmla="*/ 56 h 611"/>
                  <a:gd name="T36" fmla="*/ 628 w 695"/>
                  <a:gd name="T37" fmla="*/ 81 h 611"/>
                  <a:gd name="T38" fmla="*/ 664 w 695"/>
                  <a:gd name="T39" fmla="*/ 113 h 611"/>
                  <a:gd name="T40" fmla="*/ 682 w 695"/>
                  <a:gd name="T41" fmla="*/ 131 h 611"/>
                  <a:gd name="T42" fmla="*/ 670 w 695"/>
                  <a:gd name="T43" fmla="*/ 154 h 611"/>
                  <a:gd name="T44" fmla="*/ 582 w 695"/>
                  <a:gd name="T45" fmla="*/ 160 h 611"/>
                  <a:gd name="T46" fmla="*/ 522 w 695"/>
                  <a:gd name="T47" fmla="*/ 202 h 611"/>
                  <a:gd name="T48" fmla="*/ 489 w 695"/>
                  <a:gd name="T49" fmla="*/ 190 h 611"/>
                  <a:gd name="T50" fmla="*/ 520 w 695"/>
                  <a:gd name="T51" fmla="*/ 242 h 611"/>
                  <a:gd name="T52" fmla="*/ 211 w 695"/>
                  <a:gd name="T53" fmla="*/ 188 h 611"/>
                  <a:gd name="T54" fmla="*/ 219 w 695"/>
                  <a:gd name="T55" fmla="*/ 177 h 611"/>
                  <a:gd name="T56" fmla="*/ 251 w 695"/>
                  <a:gd name="T57" fmla="*/ 142 h 611"/>
                  <a:gd name="T58" fmla="*/ 301 w 695"/>
                  <a:gd name="T59" fmla="*/ 115 h 611"/>
                  <a:gd name="T60" fmla="*/ 341 w 695"/>
                  <a:gd name="T61" fmla="*/ 102 h 611"/>
                  <a:gd name="T62" fmla="*/ 522 w 695"/>
                  <a:gd name="T63" fmla="*/ 310 h 611"/>
                  <a:gd name="T64" fmla="*/ 495 w 695"/>
                  <a:gd name="T65" fmla="*/ 327 h 611"/>
                  <a:gd name="T66" fmla="*/ 441 w 695"/>
                  <a:gd name="T67" fmla="*/ 381 h 611"/>
                  <a:gd name="T68" fmla="*/ 422 w 695"/>
                  <a:gd name="T69" fmla="*/ 385 h 611"/>
                  <a:gd name="T70" fmla="*/ 457 w 695"/>
                  <a:gd name="T71" fmla="*/ 398 h 611"/>
                  <a:gd name="T72" fmla="*/ 487 w 695"/>
                  <a:gd name="T73" fmla="*/ 356 h 611"/>
                  <a:gd name="T74" fmla="*/ 514 w 695"/>
                  <a:gd name="T75" fmla="*/ 333 h 611"/>
                  <a:gd name="T76" fmla="*/ 559 w 695"/>
                  <a:gd name="T77" fmla="*/ 327 h 611"/>
                  <a:gd name="T78" fmla="*/ 585 w 695"/>
                  <a:gd name="T79" fmla="*/ 346 h 611"/>
                  <a:gd name="T80" fmla="*/ 641 w 695"/>
                  <a:gd name="T81" fmla="*/ 394 h 611"/>
                  <a:gd name="T82" fmla="*/ 591 w 695"/>
                  <a:gd name="T83" fmla="*/ 471 h 611"/>
                  <a:gd name="T84" fmla="*/ 553 w 695"/>
                  <a:gd name="T85" fmla="*/ 498 h 611"/>
                  <a:gd name="T86" fmla="*/ 495 w 695"/>
                  <a:gd name="T87" fmla="*/ 552 h 611"/>
                  <a:gd name="T88" fmla="*/ 405 w 695"/>
                  <a:gd name="T89" fmla="*/ 560 h 611"/>
                  <a:gd name="T90" fmla="*/ 284 w 695"/>
                  <a:gd name="T91" fmla="*/ 546 h 611"/>
                  <a:gd name="T92" fmla="*/ 205 w 695"/>
                  <a:gd name="T93" fmla="*/ 602 h 611"/>
                  <a:gd name="T94" fmla="*/ 115 w 695"/>
                  <a:gd name="T95" fmla="*/ 606 h 611"/>
                  <a:gd name="T96" fmla="*/ 42 w 695"/>
                  <a:gd name="T97" fmla="*/ 550 h 611"/>
                  <a:gd name="T98" fmla="*/ 24 w 695"/>
                  <a:gd name="T99" fmla="*/ 477 h 611"/>
                  <a:gd name="T100" fmla="*/ 21 w 695"/>
                  <a:gd name="T101" fmla="*/ 367 h 611"/>
                  <a:gd name="T102" fmla="*/ 105 w 695"/>
                  <a:gd name="T103" fmla="*/ 319 h 611"/>
                  <a:gd name="T104" fmla="*/ 113 w 695"/>
                  <a:gd name="T105" fmla="*/ 292 h 611"/>
                  <a:gd name="T106" fmla="*/ 176 w 695"/>
                  <a:gd name="T107" fmla="*/ 292 h 611"/>
                  <a:gd name="T108" fmla="*/ 201 w 695"/>
                  <a:gd name="T109" fmla="*/ 275 h 611"/>
                  <a:gd name="T110" fmla="*/ 201 w 695"/>
                  <a:gd name="T111" fmla="*/ 258 h 611"/>
                  <a:gd name="T112" fmla="*/ 153 w 695"/>
                  <a:gd name="T113" fmla="*/ 217 h 611"/>
                  <a:gd name="T114" fmla="*/ 117 w 695"/>
                  <a:gd name="T115" fmla="*/ 325 h 611"/>
                  <a:gd name="T116" fmla="*/ 370 w 695"/>
                  <a:gd name="T117" fmla="*/ 336 h 611"/>
                  <a:gd name="T118" fmla="*/ 395 w 695"/>
                  <a:gd name="T119" fmla="*/ 369 h 611"/>
                  <a:gd name="T120" fmla="*/ 391 w 695"/>
                  <a:gd name="T121" fmla="*/ 369 h 611"/>
                  <a:gd name="T122" fmla="*/ 390 w 695"/>
                  <a:gd name="T123" fmla="*/ 429 h 611"/>
                  <a:gd name="T124" fmla="*/ 557 w 695"/>
                  <a:gd name="T125" fmla="*/ 336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95" h="611">
                    <a:moveTo>
                      <a:pt x="520" y="246"/>
                    </a:moveTo>
                    <a:lnTo>
                      <a:pt x="522" y="246"/>
                    </a:lnTo>
                    <a:lnTo>
                      <a:pt x="524" y="246"/>
                    </a:lnTo>
                    <a:lnTo>
                      <a:pt x="524" y="244"/>
                    </a:lnTo>
                    <a:lnTo>
                      <a:pt x="522" y="242"/>
                    </a:lnTo>
                    <a:lnTo>
                      <a:pt x="528" y="237"/>
                    </a:lnTo>
                    <a:lnTo>
                      <a:pt x="530" y="238"/>
                    </a:lnTo>
                    <a:lnTo>
                      <a:pt x="532" y="240"/>
                    </a:lnTo>
                    <a:lnTo>
                      <a:pt x="534" y="242"/>
                    </a:lnTo>
                    <a:lnTo>
                      <a:pt x="534" y="244"/>
                    </a:lnTo>
                    <a:lnTo>
                      <a:pt x="534" y="246"/>
                    </a:lnTo>
                    <a:lnTo>
                      <a:pt x="536" y="246"/>
                    </a:lnTo>
                    <a:lnTo>
                      <a:pt x="536" y="248"/>
                    </a:lnTo>
                    <a:lnTo>
                      <a:pt x="534" y="248"/>
                    </a:lnTo>
                    <a:lnTo>
                      <a:pt x="534" y="250"/>
                    </a:lnTo>
                    <a:lnTo>
                      <a:pt x="534" y="252"/>
                    </a:lnTo>
                    <a:lnTo>
                      <a:pt x="534" y="254"/>
                    </a:lnTo>
                    <a:lnTo>
                      <a:pt x="534" y="256"/>
                    </a:lnTo>
                    <a:lnTo>
                      <a:pt x="534" y="258"/>
                    </a:lnTo>
                    <a:lnTo>
                      <a:pt x="528" y="252"/>
                    </a:lnTo>
                    <a:lnTo>
                      <a:pt x="520" y="246"/>
                    </a:lnTo>
                    <a:close/>
                    <a:moveTo>
                      <a:pt x="528" y="237"/>
                    </a:moveTo>
                    <a:lnTo>
                      <a:pt x="520" y="246"/>
                    </a:lnTo>
                    <a:lnTo>
                      <a:pt x="522" y="244"/>
                    </a:lnTo>
                    <a:lnTo>
                      <a:pt x="522" y="242"/>
                    </a:lnTo>
                    <a:lnTo>
                      <a:pt x="528" y="237"/>
                    </a:lnTo>
                    <a:close/>
                    <a:moveTo>
                      <a:pt x="522" y="244"/>
                    </a:moveTo>
                    <a:lnTo>
                      <a:pt x="520" y="246"/>
                    </a:lnTo>
                    <a:lnTo>
                      <a:pt x="522" y="244"/>
                    </a:lnTo>
                    <a:close/>
                    <a:moveTo>
                      <a:pt x="528" y="237"/>
                    </a:moveTo>
                    <a:lnTo>
                      <a:pt x="522" y="242"/>
                    </a:lnTo>
                    <a:lnTo>
                      <a:pt x="522" y="244"/>
                    </a:lnTo>
                    <a:lnTo>
                      <a:pt x="520" y="244"/>
                    </a:lnTo>
                    <a:lnTo>
                      <a:pt x="518" y="244"/>
                    </a:lnTo>
                    <a:lnTo>
                      <a:pt x="520" y="244"/>
                    </a:lnTo>
                    <a:lnTo>
                      <a:pt x="518" y="242"/>
                    </a:lnTo>
                    <a:lnTo>
                      <a:pt x="520" y="242"/>
                    </a:lnTo>
                    <a:lnTo>
                      <a:pt x="518" y="242"/>
                    </a:lnTo>
                    <a:lnTo>
                      <a:pt x="520" y="242"/>
                    </a:lnTo>
                    <a:lnTo>
                      <a:pt x="520" y="240"/>
                    </a:lnTo>
                    <a:lnTo>
                      <a:pt x="520" y="238"/>
                    </a:lnTo>
                    <a:lnTo>
                      <a:pt x="520" y="237"/>
                    </a:lnTo>
                    <a:lnTo>
                      <a:pt x="522" y="237"/>
                    </a:lnTo>
                    <a:lnTo>
                      <a:pt x="522" y="235"/>
                    </a:lnTo>
                    <a:lnTo>
                      <a:pt x="524" y="235"/>
                    </a:lnTo>
                    <a:lnTo>
                      <a:pt x="526" y="235"/>
                    </a:lnTo>
                    <a:lnTo>
                      <a:pt x="524" y="233"/>
                    </a:lnTo>
                    <a:lnTo>
                      <a:pt x="526" y="233"/>
                    </a:lnTo>
                    <a:lnTo>
                      <a:pt x="524" y="233"/>
                    </a:lnTo>
                    <a:lnTo>
                      <a:pt x="526" y="233"/>
                    </a:lnTo>
                    <a:lnTo>
                      <a:pt x="528" y="235"/>
                    </a:lnTo>
                    <a:lnTo>
                      <a:pt x="528" y="237"/>
                    </a:lnTo>
                    <a:close/>
                    <a:moveTo>
                      <a:pt x="453" y="146"/>
                    </a:moveTo>
                    <a:lnTo>
                      <a:pt x="451" y="146"/>
                    </a:lnTo>
                    <a:lnTo>
                      <a:pt x="453" y="146"/>
                    </a:lnTo>
                    <a:close/>
                    <a:moveTo>
                      <a:pt x="424" y="137"/>
                    </a:moveTo>
                    <a:lnTo>
                      <a:pt x="424" y="135"/>
                    </a:lnTo>
                    <a:lnTo>
                      <a:pt x="424" y="137"/>
                    </a:lnTo>
                    <a:close/>
                    <a:moveTo>
                      <a:pt x="426" y="87"/>
                    </a:moveTo>
                    <a:lnTo>
                      <a:pt x="428" y="87"/>
                    </a:lnTo>
                    <a:lnTo>
                      <a:pt x="430" y="87"/>
                    </a:lnTo>
                    <a:lnTo>
                      <a:pt x="430" y="88"/>
                    </a:lnTo>
                    <a:lnTo>
                      <a:pt x="430" y="87"/>
                    </a:lnTo>
                    <a:lnTo>
                      <a:pt x="430" y="88"/>
                    </a:lnTo>
                    <a:lnTo>
                      <a:pt x="432" y="88"/>
                    </a:lnTo>
                    <a:lnTo>
                      <a:pt x="432" y="87"/>
                    </a:lnTo>
                    <a:lnTo>
                      <a:pt x="432" y="88"/>
                    </a:lnTo>
                    <a:lnTo>
                      <a:pt x="430" y="88"/>
                    </a:lnTo>
                    <a:lnTo>
                      <a:pt x="428" y="88"/>
                    </a:lnTo>
                    <a:lnTo>
                      <a:pt x="428" y="87"/>
                    </a:lnTo>
                    <a:lnTo>
                      <a:pt x="428" y="88"/>
                    </a:lnTo>
                    <a:lnTo>
                      <a:pt x="430" y="88"/>
                    </a:lnTo>
                    <a:lnTo>
                      <a:pt x="428" y="88"/>
                    </a:lnTo>
                    <a:lnTo>
                      <a:pt x="428" y="87"/>
                    </a:lnTo>
                    <a:lnTo>
                      <a:pt x="426" y="87"/>
                    </a:lnTo>
                    <a:close/>
                    <a:moveTo>
                      <a:pt x="426" y="85"/>
                    </a:moveTo>
                    <a:lnTo>
                      <a:pt x="426" y="87"/>
                    </a:lnTo>
                    <a:lnTo>
                      <a:pt x="426" y="85"/>
                    </a:lnTo>
                    <a:lnTo>
                      <a:pt x="426" y="87"/>
                    </a:lnTo>
                    <a:lnTo>
                      <a:pt x="426" y="85"/>
                    </a:lnTo>
                    <a:lnTo>
                      <a:pt x="426" y="87"/>
                    </a:lnTo>
                    <a:lnTo>
                      <a:pt x="424" y="87"/>
                    </a:lnTo>
                    <a:lnTo>
                      <a:pt x="424" y="85"/>
                    </a:lnTo>
                    <a:lnTo>
                      <a:pt x="426" y="85"/>
                    </a:lnTo>
                    <a:lnTo>
                      <a:pt x="424" y="85"/>
                    </a:lnTo>
                    <a:lnTo>
                      <a:pt x="426" y="85"/>
                    </a:lnTo>
                    <a:lnTo>
                      <a:pt x="424" y="85"/>
                    </a:lnTo>
                    <a:lnTo>
                      <a:pt x="426" y="85"/>
                    </a:lnTo>
                    <a:lnTo>
                      <a:pt x="424" y="85"/>
                    </a:lnTo>
                    <a:lnTo>
                      <a:pt x="426" y="85"/>
                    </a:lnTo>
                    <a:lnTo>
                      <a:pt x="426" y="87"/>
                    </a:lnTo>
                    <a:lnTo>
                      <a:pt x="426" y="85"/>
                    </a:lnTo>
                    <a:close/>
                    <a:moveTo>
                      <a:pt x="430" y="88"/>
                    </a:moveTo>
                    <a:lnTo>
                      <a:pt x="428" y="88"/>
                    </a:lnTo>
                    <a:lnTo>
                      <a:pt x="426" y="88"/>
                    </a:lnTo>
                    <a:lnTo>
                      <a:pt x="424" y="88"/>
                    </a:lnTo>
                    <a:lnTo>
                      <a:pt x="424" y="87"/>
                    </a:lnTo>
                    <a:lnTo>
                      <a:pt x="422" y="87"/>
                    </a:lnTo>
                    <a:lnTo>
                      <a:pt x="422" y="85"/>
                    </a:lnTo>
                    <a:lnTo>
                      <a:pt x="422" y="87"/>
                    </a:lnTo>
                    <a:lnTo>
                      <a:pt x="424" y="87"/>
                    </a:lnTo>
                    <a:lnTo>
                      <a:pt x="422" y="85"/>
                    </a:lnTo>
                    <a:lnTo>
                      <a:pt x="424" y="85"/>
                    </a:lnTo>
                    <a:lnTo>
                      <a:pt x="424" y="87"/>
                    </a:lnTo>
                    <a:lnTo>
                      <a:pt x="424" y="85"/>
                    </a:lnTo>
                    <a:lnTo>
                      <a:pt x="424" y="87"/>
                    </a:lnTo>
                    <a:lnTo>
                      <a:pt x="426" y="87"/>
                    </a:lnTo>
                    <a:lnTo>
                      <a:pt x="424" y="87"/>
                    </a:lnTo>
                    <a:lnTo>
                      <a:pt x="426" y="87"/>
                    </a:lnTo>
                    <a:lnTo>
                      <a:pt x="428" y="88"/>
                    </a:lnTo>
                    <a:lnTo>
                      <a:pt x="430" y="88"/>
                    </a:lnTo>
                    <a:lnTo>
                      <a:pt x="432" y="88"/>
                    </a:lnTo>
                    <a:lnTo>
                      <a:pt x="434" y="88"/>
                    </a:lnTo>
                    <a:lnTo>
                      <a:pt x="434" y="90"/>
                    </a:lnTo>
                    <a:lnTo>
                      <a:pt x="432" y="90"/>
                    </a:lnTo>
                    <a:lnTo>
                      <a:pt x="430" y="90"/>
                    </a:lnTo>
                    <a:lnTo>
                      <a:pt x="430" y="88"/>
                    </a:lnTo>
                    <a:lnTo>
                      <a:pt x="430" y="90"/>
                    </a:lnTo>
                    <a:lnTo>
                      <a:pt x="430" y="88"/>
                    </a:lnTo>
                    <a:close/>
                    <a:moveTo>
                      <a:pt x="353" y="100"/>
                    </a:moveTo>
                    <a:lnTo>
                      <a:pt x="353" y="102"/>
                    </a:lnTo>
                    <a:lnTo>
                      <a:pt x="353" y="100"/>
                    </a:lnTo>
                    <a:lnTo>
                      <a:pt x="355" y="100"/>
                    </a:lnTo>
                    <a:lnTo>
                      <a:pt x="357" y="100"/>
                    </a:lnTo>
                    <a:lnTo>
                      <a:pt x="359" y="100"/>
                    </a:lnTo>
                    <a:lnTo>
                      <a:pt x="359" y="98"/>
                    </a:lnTo>
                    <a:lnTo>
                      <a:pt x="361" y="96"/>
                    </a:lnTo>
                    <a:lnTo>
                      <a:pt x="361" y="94"/>
                    </a:lnTo>
                    <a:lnTo>
                      <a:pt x="361" y="92"/>
                    </a:lnTo>
                    <a:lnTo>
                      <a:pt x="361" y="94"/>
                    </a:lnTo>
                    <a:lnTo>
                      <a:pt x="361" y="92"/>
                    </a:lnTo>
                    <a:lnTo>
                      <a:pt x="363" y="92"/>
                    </a:lnTo>
                    <a:lnTo>
                      <a:pt x="365" y="92"/>
                    </a:lnTo>
                    <a:lnTo>
                      <a:pt x="366" y="92"/>
                    </a:lnTo>
                    <a:lnTo>
                      <a:pt x="368" y="92"/>
                    </a:lnTo>
                    <a:lnTo>
                      <a:pt x="366" y="92"/>
                    </a:lnTo>
                    <a:lnTo>
                      <a:pt x="365" y="92"/>
                    </a:lnTo>
                    <a:lnTo>
                      <a:pt x="365" y="94"/>
                    </a:lnTo>
                    <a:lnTo>
                      <a:pt x="366" y="92"/>
                    </a:lnTo>
                    <a:lnTo>
                      <a:pt x="366" y="94"/>
                    </a:lnTo>
                    <a:lnTo>
                      <a:pt x="365" y="94"/>
                    </a:lnTo>
                    <a:lnTo>
                      <a:pt x="366" y="94"/>
                    </a:lnTo>
                    <a:lnTo>
                      <a:pt x="368" y="94"/>
                    </a:lnTo>
                    <a:lnTo>
                      <a:pt x="370" y="94"/>
                    </a:lnTo>
                    <a:lnTo>
                      <a:pt x="370" y="92"/>
                    </a:lnTo>
                    <a:lnTo>
                      <a:pt x="372" y="92"/>
                    </a:lnTo>
                    <a:lnTo>
                      <a:pt x="372" y="90"/>
                    </a:lnTo>
                    <a:lnTo>
                      <a:pt x="374" y="90"/>
                    </a:lnTo>
                    <a:lnTo>
                      <a:pt x="376" y="90"/>
                    </a:lnTo>
                    <a:lnTo>
                      <a:pt x="376" y="88"/>
                    </a:lnTo>
                    <a:lnTo>
                      <a:pt x="376" y="90"/>
                    </a:lnTo>
                    <a:lnTo>
                      <a:pt x="376" y="88"/>
                    </a:lnTo>
                    <a:lnTo>
                      <a:pt x="376" y="90"/>
                    </a:lnTo>
                    <a:lnTo>
                      <a:pt x="376" y="88"/>
                    </a:lnTo>
                    <a:lnTo>
                      <a:pt x="378" y="88"/>
                    </a:lnTo>
                    <a:lnTo>
                      <a:pt x="380" y="88"/>
                    </a:lnTo>
                    <a:lnTo>
                      <a:pt x="378" y="88"/>
                    </a:lnTo>
                    <a:lnTo>
                      <a:pt x="376" y="88"/>
                    </a:lnTo>
                    <a:lnTo>
                      <a:pt x="378" y="88"/>
                    </a:lnTo>
                    <a:lnTo>
                      <a:pt x="380" y="88"/>
                    </a:lnTo>
                    <a:lnTo>
                      <a:pt x="382" y="88"/>
                    </a:lnTo>
                    <a:lnTo>
                      <a:pt x="384" y="88"/>
                    </a:lnTo>
                    <a:lnTo>
                      <a:pt x="386" y="88"/>
                    </a:lnTo>
                    <a:lnTo>
                      <a:pt x="386" y="90"/>
                    </a:lnTo>
                    <a:lnTo>
                      <a:pt x="386" y="88"/>
                    </a:lnTo>
                    <a:lnTo>
                      <a:pt x="386" y="90"/>
                    </a:lnTo>
                    <a:lnTo>
                      <a:pt x="386" y="88"/>
                    </a:lnTo>
                    <a:lnTo>
                      <a:pt x="386" y="90"/>
                    </a:lnTo>
                    <a:lnTo>
                      <a:pt x="388" y="90"/>
                    </a:lnTo>
                    <a:lnTo>
                      <a:pt x="388" y="92"/>
                    </a:lnTo>
                    <a:lnTo>
                      <a:pt x="390" y="92"/>
                    </a:lnTo>
                    <a:lnTo>
                      <a:pt x="390" y="94"/>
                    </a:lnTo>
                    <a:lnTo>
                      <a:pt x="391" y="94"/>
                    </a:lnTo>
                    <a:lnTo>
                      <a:pt x="390" y="94"/>
                    </a:lnTo>
                    <a:lnTo>
                      <a:pt x="391" y="94"/>
                    </a:lnTo>
                    <a:lnTo>
                      <a:pt x="390" y="94"/>
                    </a:lnTo>
                    <a:lnTo>
                      <a:pt x="391" y="92"/>
                    </a:lnTo>
                    <a:lnTo>
                      <a:pt x="393" y="92"/>
                    </a:lnTo>
                    <a:lnTo>
                      <a:pt x="395" y="92"/>
                    </a:lnTo>
                    <a:lnTo>
                      <a:pt x="395" y="90"/>
                    </a:lnTo>
                    <a:lnTo>
                      <a:pt x="397" y="90"/>
                    </a:lnTo>
                    <a:lnTo>
                      <a:pt x="397" y="88"/>
                    </a:lnTo>
                    <a:lnTo>
                      <a:pt x="397" y="90"/>
                    </a:lnTo>
                    <a:lnTo>
                      <a:pt x="399" y="90"/>
                    </a:lnTo>
                    <a:lnTo>
                      <a:pt x="399" y="88"/>
                    </a:lnTo>
                    <a:lnTo>
                      <a:pt x="399" y="90"/>
                    </a:lnTo>
                    <a:lnTo>
                      <a:pt x="397" y="90"/>
                    </a:lnTo>
                    <a:lnTo>
                      <a:pt x="399" y="90"/>
                    </a:lnTo>
                    <a:lnTo>
                      <a:pt x="401" y="90"/>
                    </a:lnTo>
                    <a:lnTo>
                      <a:pt x="401" y="92"/>
                    </a:lnTo>
                    <a:lnTo>
                      <a:pt x="401" y="94"/>
                    </a:lnTo>
                    <a:lnTo>
                      <a:pt x="401" y="96"/>
                    </a:lnTo>
                    <a:lnTo>
                      <a:pt x="401" y="94"/>
                    </a:lnTo>
                    <a:lnTo>
                      <a:pt x="401" y="92"/>
                    </a:lnTo>
                    <a:lnTo>
                      <a:pt x="401" y="90"/>
                    </a:lnTo>
                    <a:lnTo>
                      <a:pt x="401" y="92"/>
                    </a:lnTo>
                    <a:lnTo>
                      <a:pt x="401" y="90"/>
                    </a:lnTo>
                    <a:lnTo>
                      <a:pt x="399" y="90"/>
                    </a:lnTo>
                    <a:lnTo>
                      <a:pt x="399" y="88"/>
                    </a:lnTo>
                    <a:lnTo>
                      <a:pt x="401" y="88"/>
                    </a:lnTo>
                    <a:lnTo>
                      <a:pt x="399" y="88"/>
                    </a:lnTo>
                    <a:lnTo>
                      <a:pt x="401" y="88"/>
                    </a:lnTo>
                    <a:lnTo>
                      <a:pt x="401" y="87"/>
                    </a:lnTo>
                    <a:lnTo>
                      <a:pt x="403" y="87"/>
                    </a:lnTo>
                    <a:lnTo>
                      <a:pt x="405" y="87"/>
                    </a:lnTo>
                    <a:lnTo>
                      <a:pt x="407" y="87"/>
                    </a:lnTo>
                    <a:lnTo>
                      <a:pt x="407" y="85"/>
                    </a:lnTo>
                    <a:lnTo>
                      <a:pt x="409" y="85"/>
                    </a:lnTo>
                    <a:lnTo>
                      <a:pt x="409" y="87"/>
                    </a:lnTo>
                    <a:lnTo>
                      <a:pt x="411" y="87"/>
                    </a:lnTo>
                    <a:lnTo>
                      <a:pt x="411" y="88"/>
                    </a:lnTo>
                    <a:lnTo>
                      <a:pt x="411" y="87"/>
                    </a:lnTo>
                    <a:lnTo>
                      <a:pt x="411" y="88"/>
                    </a:lnTo>
                    <a:lnTo>
                      <a:pt x="413" y="88"/>
                    </a:lnTo>
                    <a:lnTo>
                      <a:pt x="413" y="87"/>
                    </a:lnTo>
                    <a:lnTo>
                      <a:pt x="413" y="88"/>
                    </a:lnTo>
                    <a:lnTo>
                      <a:pt x="414" y="90"/>
                    </a:lnTo>
                    <a:lnTo>
                      <a:pt x="413" y="90"/>
                    </a:lnTo>
                    <a:lnTo>
                      <a:pt x="414" y="92"/>
                    </a:lnTo>
                    <a:lnTo>
                      <a:pt x="414" y="90"/>
                    </a:lnTo>
                    <a:lnTo>
                      <a:pt x="416" y="90"/>
                    </a:lnTo>
                    <a:lnTo>
                      <a:pt x="414" y="90"/>
                    </a:lnTo>
                    <a:lnTo>
                      <a:pt x="416" y="90"/>
                    </a:lnTo>
                    <a:lnTo>
                      <a:pt x="414" y="90"/>
                    </a:lnTo>
                    <a:lnTo>
                      <a:pt x="414" y="88"/>
                    </a:lnTo>
                    <a:lnTo>
                      <a:pt x="416" y="88"/>
                    </a:lnTo>
                    <a:lnTo>
                      <a:pt x="416" y="87"/>
                    </a:lnTo>
                    <a:lnTo>
                      <a:pt x="416" y="85"/>
                    </a:lnTo>
                    <a:lnTo>
                      <a:pt x="416" y="83"/>
                    </a:lnTo>
                    <a:lnTo>
                      <a:pt x="418" y="83"/>
                    </a:lnTo>
                    <a:lnTo>
                      <a:pt x="420" y="83"/>
                    </a:lnTo>
                    <a:lnTo>
                      <a:pt x="420" y="85"/>
                    </a:lnTo>
                    <a:lnTo>
                      <a:pt x="418" y="85"/>
                    </a:lnTo>
                    <a:lnTo>
                      <a:pt x="418" y="87"/>
                    </a:lnTo>
                    <a:lnTo>
                      <a:pt x="418" y="88"/>
                    </a:lnTo>
                    <a:lnTo>
                      <a:pt x="420" y="88"/>
                    </a:lnTo>
                    <a:lnTo>
                      <a:pt x="418" y="88"/>
                    </a:lnTo>
                    <a:lnTo>
                      <a:pt x="420" y="87"/>
                    </a:lnTo>
                    <a:lnTo>
                      <a:pt x="418" y="87"/>
                    </a:lnTo>
                    <a:lnTo>
                      <a:pt x="420" y="87"/>
                    </a:lnTo>
                    <a:lnTo>
                      <a:pt x="418" y="87"/>
                    </a:lnTo>
                    <a:lnTo>
                      <a:pt x="420" y="87"/>
                    </a:lnTo>
                    <a:lnTo>
                      <a:pt x="422" y="87"/>
                    </a:lnTo>
                    <a:lnTo>
                      <a:pt x="422" y="88"/>
                    </a:lnTo>
                    <a:lnTo>
                      <a:pt x="424" y="88"/>
                    </a:lnTo>
                    <a:lnTo>
                      <a:pt x="424" y="90"/>
                    </a:lnTo>
                    <a:lnTo>
                      <a:pt x="426" y="90"/>
                    </a:lnTo>
                    <a:lnTo>
                      <a:pt x="428" y="90"/>
                    </a:lnTo>
                    <a:lnTo>
                      <a:pt x="430" y="90"/>
                    </a:lnTo>
                    <a:lnTo>
                      <a:pt x="432" y="90"/>
                    </a:lnTo>
                    <a:lnTo>
                      <a:pt x="432" y="92"/>
                    </a:lnTo>
                    <a:lnTo>
                      <a:pt x="432" y="90"/>
                    </a:lnTo>
                    <a:lnTo>
                      <a:pt x="434" y="92"/>
                    </a:lnTo>
                    <a:lnTo>
                      <a:pt x="436" y="92"/>
                    </a:lnTo>
                    <a:lnTo>
                      <a:pt x="434" y="92"/>
                    </a:lnTo>
                    <a:lnTo>
                      <a:pt x="436" y="92"/>
                    </a:lnTo>
                    <a:lnTo>
                      <a:pt x="436" y="94"/>
                    </a:lnTo>
                    <a:lnTo>
                      <a:pt x="438" y="94"/>
                    </a:lnTo>
                    <a:lnTo>
                      <a:pt x="436" y="94"/>
                    </a:lnTo>
                    <a:lnTo>
                      <a:pt x="438" y="94"/>
                    </a:lnTo>
                    <a:lnTo>
                      <a:pt x="438" y="96"/>
                    </a:lnTo>
                    <a:lnTo>
                      <a:pt x="436" y="96"/>
                    </a:lnTo>
                    <a:lnTo>
                      <a:pt x="438" y="96"/>
                    </a:lnTo>
                    <a:lnTo>
                      <a:pt x="436" y="96"/>
                    </a:lnTo>
                    <a:lnTo>
                      <a:pt x="436" y="98"/>
                    </a:lnTo>
                    <a:lnTo>
                      <a:pt x="436" y="100"/>
                    </a:lnTo>
                    <a:lnTo>
                      <a:pt x="436" y="102"/>
                    </a:lnTo>
                    <a:lnTo>
                      <a:pt x="436" y="104"/>
                    </a:lnTo>
                    <a:lnTo>
                      <a:pt x="436" y="106"/>
                    </a:lnTo>
                    <a:lnTo>
                      <a:pt x="436" y="104"/>
                    </a:lnTo>
                    <a:lnTo>
                      <a:pt x="436" y="106"/>
                    </a:lnTo>
                    <a:lnTo>
                      <a:pt x="436" y="108"/>
                    </a:lnTo>
                    <a:lnTo>
                      <a:pt x="436" y="106"/>
                    </a:lnTo>
                    <a:lnTo>
                      <a:pt x="436" y="108"/>
                    </a:lnTo>
                    <a:lnTo>
                      <a:pt x="436" y="106"/>
                    </a:lnTo>
                    <a:lnTo>
                      <a:pt x="436" y="108"/>
                    </a:lnTo>
                    <a:lnTo>
                      <a:pt x="436" y="110"/>
                    </a:lnTo>
                    <a:lnTo>
                      <a:pt x="434" y="110"/>
                    </a:lnTo>
                    <a:lnTo>
                      <a:pt x="434" y="112"/>
                    </a:lnTo>
                    <a:lnTo>
                      <a:pt x="434" y="113"/>
                    </a:lnTo>
                    <a:lnTo>
                      <a:pt x="434" y="115"/>
                    </a:lnTo>
                    <a:lnTo>
                      <a:pt x="434" y="117"/>
                    </a:lnTo>
                    <a:lnTo>
                      <a:pt x="432" y="117"/>
                    </a:lnTo>
                    <a:lnTo>
                      <a:pt x="434" y="117"/>
                    </a:lnTo>
                    <a:lnTo>
                      <a:pt x="432" y="117"/>
                    </a:lnTo>
                    <a:lnTo>
                      <a:pt x="432" y="119"/>
                    </a:lnTo>
                    <a:lnTo>
                      <a:pt x="430" y="121"/>
                    </a:lnTo>
                    <a:lnTo>
                      <a:pt x="432" y="121"/>
                    </a:lnTo>
                    <a:lnTo>
                      <a:pt x="432" y="123"/>
                    </a:lnTo>
                    <a:lnTo>
                      <a:pt x="430" y="123"/>
                    </a:lnTo>
                    <a:lnTo>
                      <a:pt x="430" y="125"/>
                    </a:lnTo>
                    <a:lnTo>
                      <a:pt x="430" y="127"/>
                    </a:lnTo>
                    <a:lnTo>
                      <a:pt x="430" y="129"/>
                    </a:lnTo>
                    <a:lnTo>
                      <a:pt x="428" y="129"/>
                    </a:lnTo>
                    <a:lnTo>
                      <a:pt x="428" y="131"/>
                    </a:lnTo>
                    <a:lnTo>
                      <a:pt x="426" y="131"/>
                    </a:lnTo>
                    <a:lnTo>
                      <a:pt x="428" y="131"/>
                    </a:lnTo>
                    <a:lnTo>
                      <a:pt x="426" y="131"/>
                    </a:lnTo>
                    <a:lnTo>
                      <a:pt x="426" y="133"/>
                    </a:lnTo>
                    <a:lnTo>
                      <a:pt x="426" y="135"/>
                    </a:lnTo>
                    <a:lnTo>
                      <a:pt x="426" y="133"/>
                    </a:lnTo>
                    <a:lnTo>
                      <a:pt x="426" y="135"/>
                    </a:lnTo>
                    <a:lnTo>
                      <a:pt x="424" y="135"/>
                    </a:lnTo>
                    <a:lnTo>
                      <a:pt x="424" y="137"/>
                    </a:lnTo>
                    <a:lnTo>
                      <a:pt x="422" y="137"/>
                    </a:lnTo>
                    <a:lnTo>
                      <a:pt x="422" y="138"/>
                    </a:lnTo>
                    <a:lnTo>
                      <a:pt x="420" y="138"/>
                    </a:lnTo>
                    <a:lnTo>
                      <a:pt x="420" y="140"/>
                    </a:lnTo>
                    <a:lnTo>
                      <a:pt x="418" y="140"/>
                    </a:lnTo>
                    <a:lnTo>
                      <a:pt x="418" y="138"/>
                    </a:lnTo>
                    <a:lnTo>
                      <a:pt x="416" y="138"/>
                    </a:lnTo>
                    <a:lnTo>
                      <a:pt x="414" y="138"/>
                    </a:lnTo>
                    <a:lnTo>
                      <a:pt x="416" y="138"/>
                    </a:lnTo>
                    <a:lnTo>
                      <a:pt x="418" y="138"/>
                    </a:lnTo>
                    <a:lnTo>
                      <a:pt x="418" y="140"/>
                    </a:lnTo>
                    <a:lnTo>
                      <a:pt x="420" y="140"/>
                    </a:lnTo>
                    <a:lnTo>
                      <a:pt x="420" y="138"/>
                    </a:lnTo>
                    <a:lnTo>
                      <a:pt x="422" y="138"/>
                    </a:lnTo>
                    <a:lnTo>
                      <a:pt x="422" y="137"/>
                    </a:lnTo>
                    <a:lnTo>
                      <a:pt x="424" y="137"/>
                    </a:lnTo>
                    <a:lnTo>
                      <a:pt x="426" y="137"/>
                    </a:lnTo>
                    <a:lnTo>
                      <a:pt x="424" y="137"/>
                    </a:lnTo>
                    <a:lnTo>
                      <a:pt x="426" y="137"/>
                    </a:lnTo>
                    <a:lnTo>
                      <a:pt x="426" y="135"/>
                    </a:lnTo>
                    <a:lnTo>
                      <a:pt x="426" y="133"/>
                    </a:lnTo>
                    <a:lnTo>
                      <a:pt x="426" y="131"/>
                    </a:lnTo>
                    <a:lnTo>
                      <a:pt x="428" y="131"/>
                    </a:lnTo>
                    <a:lnTo>
                      <a:pt x="428" y="129"/>
                    </a:lnTo>
                    <a:lnTo>
                      <a:pt x="430" y="129"/>
                    </a:lnTo>
                    <a:lnTo>
                      <a:pt x="428" y="129"/>
                    </a:lnTo>
                    <a:lnTo>
                      <a:pt x="428" y="131"/>
                    </a:lnTo>
                    <a:lnTo>
                      <a:pt x="428" y="129"/>
                    </a:lnTo>
                    <a:lnTo>
                      <a:pt x="430" y="129"/>
                    </a:lnTo>
                    <a:lnTo>
                      <a:pt x="430" y="127"/>
                    </a:lnTo>
                    <a:lnTo>
                      <a:pt x="432" y="127"/>
                    </a:lnTo>
                    <a:lnTo>
                      <a:pt x="432" y="129"/>
                    </a:lnTo>
                    <a:lnTo>
                      <a:pt x="434" y="129"/>
                    </a:lnTo>
                    <a:lnTo>
                      <a:pt x="436" y="129"/>
                    </a:lnTo>
                    <a:lnTo>
                      <a:pt x="436" y="131"/>
                    </a:lnTo>
                    <a:lnTo>
                      <a:pt x="436" y="133"/>
                    </a:lnTo>
                    <a:lnTo>
                      <a:pt x="438" y="133"/>
                    </a:lnTo>
                    <a:lnTo>
                      <a:pt x="438" y="135"/>
                    </a:lnTo>
                    <a:lnTo>
                      <a:pt x="439" y="135"/>
                    </a:lnTo>
                    <a:lnTo>
                      <a:pt x="439" y="137"/>
                    </a:lnTo>
                    <a:lnTo>
                      <a:pt x="441" y="137"/>
                    </a:lnTo>
                    <a:lnTo>
                      <a:pt x="441" y="138"/>
                    </a:lnTo>
                    <a:lnTo>
                      <a:pt x="443" y="138"/>
                    </a:lnTo>
                    <a:lnTo>
                      <a:pt x="445" y="138"/>
                    </a:lnTo>
                    <a:lnTo>
                      <a:pt x="445" y="140"/>
                    </a:lnTo>
                    <a:lnTo>
                      <a:pt x="445" y="142"/>
                    </a:lnTo>
                    <a:lnTo>
                      <a:pt x="447" y="142"/>
                    </a:lnTo>
                    <a:lnTo>
                      <a:pt x="447" y="140"/>
                    </a:lnTo>
                    <a:lnTo>
                      <a:pt x="447" y="142"/>
                    </a:lnTo>
                    <a:lnTo>
                      <a:pt x="449" y="142"/>
                    </a:lnTo>
                    <a:lnTo>
                      <a:pt x="449" y="144"/>
                    </a:lnTo>
                    <a:lnTo>
                      <a:pt x="447" y="144"/>
                    </a:lnTo>
                    <a:lnTo>
                      <a:pt x="449" y="144"/>
                    </a:lnTo>
                    <a:lnTo>
                      <a:pt x="451" y="144"/>
                    </a:lnTo>
                    <a:lnTo>
                      <a:pt x="451" y="146"/>
                    </a:lnTo>
                    <a:lnTo>
                      <a:pt x="453" y="146"/>
                    </a:lnTo>
                    <a:lnTo>
                      <a:pt x="451" y="146"/>
                    </a:lnTo>
                    <a:lnTo>
                      <a:pt x="453" y="146"/>
                    </a:lnTo>
                    <a:lnTo>
                      <a:pt x="451" y="146"/>
                    </a:lnTo>
                    <a:lnTo>
                      <a:pt x="451" y="144"/>
                    </a:lnTo>
                    <a:lnTo>
                      <a:pt x="449" y="144"/>
                    </a:lnTo>
                    <a:lnTo>
                      <a:pt x="449" y="142"/>
                    </a:lnTo>
                    <a:lnTo>
                      <a:pt x="447" y="142"/>
                    </a:lnTo>
                    <a:lnTo>
                      <a:pt x="447" y="140"/>
                    </a:lnTo>
                    <a:lnTo>
                      <a:pt x="447" y="142"/>
                    </a:lnTo>
                    <a:lnTo>
                      <a:pt x="445" y="142"/>
                    </a:lnTo>
                    <a:lnTo>
                      <a:pt x="445" y="140"/>
                    </a:lnTo>
                    <a:lnTo>
                      <a:pt x="445" y="138"/>
                    </a:lnTo>
                    <a:lnTo>
                      <a:pt x="443" y="138"/>
                    </a:lnTo>
                    <a:lnTo>
                      <a:pt x="441" y="138"/>
                    </a:lnTo>
                    <a:lnTo>
                      <a:pt x="441" y="137"/>
                    </a:lnTo>
                    <a:lnTo>
                      <a:pt x="441" y="138"/>
                    </a:lnTo>
                    <a:lnTo>
                      <a:pt x="441" y="137"/>
                    </a:lnTo>
                    <a:lnTo>
                      <a:pt x="439" y="137"/>
                    </a:lnTo>
                    <a:lnTo>
                      <a:pt x="439" y="135"/>
                    </a:lnTo>
                    <a:lnTo>
                      <a:pt x="438" y="135"/>
                    </a:lnTo>
                    <a:lnTo>
                      <a:pt x="438" y="133"/>
                    </a:lnTo>
                    <a:lnTo>
                      <a:pt x="436" y="133"/>
                    </a:lnTo>
                    <a:lnTo>
                      <a:pt x="436" y="131"/>
                    </a:lnTo>
                    <a:lnTo>
                      <a:pt x="436" y="129"/>
                    </a:lnTo>
                    <a:lnTo>
                      <a:pt x="434" y="129"/>
                    </a:lnTo>
                    <a:lnTo>
                      <a:pt x="432" y="129"/>
                    </a:lnTo>
                    <a:lnTo>
                      <a:pt x="432" y="127"/>
                    </a:lnTo>
                    <a:lnTo>
                      <a:pt x="432" y="129"/>
                    </a:lnTo>
                    <a:lnTo>
                      <a:pt x="432" y="127"/>
                    </a:lnTo>
                    <a:lnTo>
                      <a:pt x="430" y="127"/>
                    </a:lnTo>
                    <a:lnTo>
                      <a:pt x="430" y="125"/>
                    </a:lnTo>
                    <a:lnTo>
                      <a:pt x="430" y="123"/>
                    </a:lnTo>
                    <a:lnTo>
                      <a:pt x="432" y="123"/>
                    </a:lnTo>
                    <a:lnTo>
                      <a:pt x="432" y="121"/>
                    </a:lnTo>
                    <a:lnTo>
                      <a:pt x="430" y="121"/>
                    </a:lnTo>
                    <a:lnTo>
                      <a:pt x="432" y="119"/>
                    </a:lnTo>
                    <a:lnTo>
                      <a:pt x="432" y="117"/>
                    </a:lnTo>
                    <a:lnTo>
                      <a:pt x="434" y="117"/>
                    </a:lnTo>
                    <a:lnTo>
                      <a:pt x="434" y="115"/>
                    </a:lnTo>
                    <a:lnTo>
                      <a:pt x="436" y="113"/>
                    </a:lnTo>
                    <a:lnTo>
                      <a:pt x="434" y="113"/>
                    </a:lnTo>
                    <a:lnTo>
                      <a:pt x="434" y="112"/>
                    </a:lnTo>
                    <a:lnTo>
                      <a:pt x="434" y="110"/>
                    </a:lnTo>
                    <a:lnTo>
                      <a:pt x="436" y="110"/>
                    </a:lnTo>
                    <a:lnTo>
                      <a:pt x="436" y="108"/>
                    </a:lnTo>
                    <a:lnTo>
                      <a:pt x="436" y="110"/>
                    </a:lnTo>
                    <a:lnTo>
                      <a:pt x="436" y="108"/>
                    </a:lnTo>
                    <a:lnTo>
                      <a:pt x="436" y="106"/>
                    </a:lnTo>
                    <a:lnTo>
                      <a:pt x="436" y="108"/>
                    </a:lnTo>
                    <a:lnTo>
                      <a:pt x="436" y="106"/>
                    </a:lnTo>
                    <a:lnTo>
                      <a:pt x="436" y="104"/>
                    </a:lnTo>
                    <a:lnTo>
                      <a:pt x="438" y="104"/>
                    </a:lnTo>
                    <a:lnTo>
                      <a:pt x="436" y="104"/>
                    </a:lnTo>
                    <a:lnTo>
                      <a:pt x="436" y="102"/>
                    </a:lnTo>
                    <a:lnTo>
                      <a:pt x="438" y="104"/>
                    </a:lnTo>
                    <a:lnTo>
                      <a:pt x="436" y="102"/>
                    </a:lnTo>
                    <a:lnTo>
                      <a:pt x="436" y="100"/>
                    </a:lnTo>
                    <a:lnTo>
                      <a:pt x="436" y="98"/>
                    </a:lnTo>
                    <a:lnTo>
                      <a:pt x="438" y="98"/>
                    </a:lnTo>
                    <a:lnTo>
                      <a:pt x="438" y="96"/>
                    </a:lnTo>
                    <a:lnTo>
                      <a:pt x="438" y="94"/>
                    </a:lnTo>
                    <a:lnTo>
                      <a:pt x="438" y="92"/>
                    </a:lnTo>
                    <a:lnTo>
                      <a:pt x="436" y="92"/>
                    </a:lnTo>
                    <a:lnTo>
                      <a:pt x="436" y="90"/>
                    </a:lnTo>
                    <a:lnTo>
                      <a:pt x="434" y="90"/>
                    </a:lnTo>
                    <a:lnTo>
                      <a:pt x="434" y="88"/>
                    </a:lnTo>
                    <a:lnTo>
                      <a:pt x="432" y="88"/>
                    </a:lnTo>
                    <a:lnTo>
                      <a:pt x="432" y="87"/>
                    </a:lnTo>
                    <a:lnTo>
                      <a:pt x="430" y="87"/>
                    </a:lnTo>
                    <a:lnTo>
                      <a:pt x="430" y="88"/>
                    </a:lnTo>
                    <a:lnTo>
                      <a:pt x="430" y="87"/>
                    </a:lnTo>
                    <a:lnTo>
                      <a:pt x="428" y="87"/>
                    </a:lnTo>
                    <a:lnTo>
                      <a:pt x="430" y="87"/>
                    </a:lnTo>
                    <a:lnTo>
                      <a:pt x="428" y="87"/>
                    </a:lnTo>
                    <a:lnTo>
                      <a:pt x="426" y="85"/>
                    </a:lnTo>
                    <a:lnTo>
                      <a:pt x="424" y="85"/>
                    </a:lnTo>
                    <a:lnTo>
                      <a:pt x="426" y="85"/>
                    </a:lnTo>
                    <a:lnTo>
                      <a:pt x="424" y="85"/>
                    </a:lnTo>
                    <a:lnTo>
                      <a:pt x="424" y="83"/>
                    </a:lnTo>
                    <a:lnTo>
                      <a:pt x="424" y="81"/>
                    </a:lnTo>
                    <a:lnTo>
                      <a:pt x="426" y="81"/>
                    </a:lnTo>
                    <a:lnTo>
                      <a:pt x="424" y="81"/>
                    </a:lnTo>
                    <a:lnTo>
                      <a:pt x="424" y="79"/>
                    </a:lnTo>
                    <a:lnTo>
                      <a:pt x="426" y="79"/>
                    </a:lnTo>
                    <a:lnTo>
                      <a:pt x="428" y="79"/>
                    </a:lnTo>
                    <a:lnTo>
                      <a:pt x="430" y="77"/>
                    </a:lnTo>
                    <a:lnTo>
                      <a:pt x="430" y="79"/>
                    </a:lnTo>
                    <a:lnTo>
                      <a:pt x="432" y="79"/>
                    </a:lnTo>
                    <a:lnTo>
                      <a:pt x="432" y="81"/>
                    </a:lnTo>
                    <a:lnTo>
                      <a:pt x="434" y="81"/>
                    </a:lnTo>
                    <a:lnTo>
                      <a:pt x="434" y="79"/>
                    </a:lnTo>
                    <a:lnTo>
                      <a:pt x="436" y="81"/>
                    </a:lnTo>
                    <a:lnTo>
                      <a:pt x="436" y="79"/>
                    </a:lnTo>
                    <a:lnTo>
                      <a:pt x="436" y="81"/>
                    </a:lnTo>
                    <a:lnTo>
                      <a:pt x="438" y="81"/>
                    </a:lnTo>
                    <a:lnTo>
                      <a:pt x="438" y="83"/>
                    </a:lnTo>
                    <a:lnTo>
                      <a:pt x="438" y="85"/>
                    </a:lnTo>
                    <a:lnTo>
                      <a:pt x="438" y="83"/>
                    </a:lnTo>
                    <a:lnTo>
                      <a:pt x="438" y="85"/>
                    </a:lnTo>
                    <a:lnTo>
                      <a:pt x="438" y="83"/>
                    </a:lnTo>
                    <a:lnTo>
                      <a:pt x="438" y="85"/>
                    </a:lnTo>
                    <a:lnTo>
                      <a:pt x="438" y="83"/>
                    </a:lnTo>
                    <a:lnTo>
                      <a:pt x="439" y="83"/>
                    </a:lnTo>
                    <a:lnTo>
                      <a:pt x="439" y="85"/>
                    </a:lnTo>
                    <a:lnTo>
                      <a:pt x="439" y="83"/>
                    </a:lnTo>
                    <a:lnTo>
                      <a:pt x="438" y="83"/>
                    </a:lnTo>
                    <a:lnTo>
                      <a:pt x="438" y="85"/>
                    </a:lnTo>
                    <a:lnTo>
                      <a:pt x="438" y="83"/>
                    </a:lnTo>
                    <a:lnTo>
                      <a:pt x="438" y="81"/>
                    </a:lnTo>
                    <a:lnTo>
                      <a:pt x="436" y="81"/>
                    </a:lnTo>
                    <a:lnTo>
                      <a:pt x="436" y="79"/>
                    </a:lnTo>
                    <a:lnTo>
                      <a:pt x="436" y="77"/>
                    </a:lnTo>
                    <a:lnTo>
                      <a:pt x="436" y="75"/>
                    </a:lnTo>
                    <a:lnTo>
                      <a:pt x="439" y="75"/>
                    </a:lnTo>
                    <a:lnTo>
                      <a:pt x="439" y="77"/>
                    </a:lnTo>
                    <a:lnTo>
                      <a:pt x="439" y="75"/>
                    </a:lnTo>
                    <a:lnTo>
                      <a:pt x="441" y="75"/>
                    </a:lnTo>
                    <a:lnTo>
                      <a:pt x="443" y="75"/>
                    </a:lnTo>
                    <a:lnTo>
                      <a:pt x="445" y="75"/>
                    </a:lnTo>
                    <a:lnTo>
                      <a:pt x="445" y="77"/>
                    </a:lnTo>
                    <a:lnTo>
                      <a:pt x="447" y="77"/>
                    </a:lnTo>
                    <a:lnTo>
                      <a:pt x="445" y="79"/>
                    </a:lnTo>
                    <a:lnTo>
                      <a:pt x="443" y="79"/>
                    </a:lnTo>
                    <a:lnTo>
                      <a:pt x="445" y="79"/>
                    </a:lnTo>
                    <a:lnTo>
                      <a:pt x="443" y="81"/>
                    </a:lnTo>
                    <a:lnTo>
                      <a:pt x="445" y="81"/>
                    </a:lnTo>
                    <a:lnTo>
                      <a:pt x="445" y="79"/>
                    </a:lnTo>
                    <a:lnTo>
                      <a:pt x="447" y="79"/>
                    </a:lnTo>
                    <a:lnTo>
                      <a:pt x="449" y="77"/>
                    </a:lnTo>
                    <a:lnTo>
                      <a:pt x="451" y="77"/>
                    </a:lnTo>
                    <a:lnTo>
                      <a:pt x="453" y="77"/>
                    </a:lnTo>
                    <a:lnTo>
                      <a:pt x="453" y="75"/>
                    </a:lnTo>
                    <a:lnTo>
                      <a:pt x="455" y="75"/>
                    </a:lnTo>
                    <a:lnTo>
                      <a:pt x="453" y="75"/>
                    </a:lnTo>
                    <a:lnTo>
                      <a:pt x="453" y="77"/>
                    </a:lnTo>
                    <a:lnTo>
                      <a:pt x="455" y="77"/>
                    </a:lnTo>
                    <a:lnTo>
                      <a:pt x="453" y="77"/>
                    </a:lnTo>
                    <a:lnTo>
                      <a:pt x="455" y="77"/>
                    </a:lnTo>
                    <a:lnTo>
                      <a:pt x="455" y="75"/>
                    </a:lnTo>
                    <a:lnTo>
                      <a:pt x="455" y="77"/>
                    </a:lnTo>
                    <a:lnTo>
                      <a:pt x="455" y="75"/>
                    </a:lnTo>
                    <a:lnTo>
                      <a:pt x="457" y="75"/>
                    </a:lnTo>
                    <a:lnTo>
                      <a:pt x="457" y="73"/>
                    </a:lnTo>
                    <a:lnTo>
                      <a:pt x="457" y="71"/>
                    </a:lnTo>
                    <a:lnTo>
                      <a:pt x="459" y="71"/>
                    </a:lnTo>
                    <a:lnTo>
                      <a:pt x="459" y="69"/>
                    </a:lnTo>
                    <a:lnTo>
                      <a:pt x="457" y="69"/>
                    </a:lnTo>
                    <a:lnTo>
                      <a:pt x="457" y="71"/>
                    </a:lnTo>
                    <a:lnTo>
                      <a:pt x="455" y="71"/>
                    </a:lnTo>
                    <a:lnTo>
                      <a:pt x="453" y="71"/>
                    </a:lnTo>
                    <a:lnTo>
                      <a:pt x="451" y="71"/>
                    </a:lnTo>
                    <a:lnTo>
                      <a:pt x="451" y="73"/>
                    </a:lnTo>
                    <a:lnTo>
                      <a:pt x="449" y="73"/>
                    </a:lnTo>
                    <a:lnTo>
                      <a:pt x="449" y="71"/>
                    </a:lnTo>
                    <a:lnTo>
                      <a:pt x="451" y="71"/>
                    </a:lnTo>
                    <a:lnTo>
                      <a:pt x="453" y="71"/>
                    </a:lnTo>
                    <a:lnTo>
                      <a:pt x="457" y="69"/>
                    </a:lnTo>
                    <a:lnTo>
                      <a:pt x="461" y="69"/>
                    </a:lnTo>
                    <a:lnTo>
                      <a:pt x="463" y="67"/>
                    </a:lnTo>
                    <a:lnTo>
                      <a:pt x="464" y="67"/>
                    </a:lnTo>
                    <a:lnTo>
                      <a:pt x="466" y="65"/>
                    </a:lnTo>
                    <a:lnTo>
                      <a:pt x="468" y="65"/>
                    </a:lnTo>
                    <a:lnTo>
                      <a:pt x="466" y="63"/>
                    </a:lnTo>
                    <a:lnTo>
                      <a:pt x="466" y="65"/>
                    </a:lnTo>
                    <a:lnTo>
                      <a:pt x="466" y="63"/>
                    </a:lnTo>
                    <a:lnTo>
                      <a:pt x="468" y="63"/>
                    </a:lnTo>
                    <a:lnTo>
                      <a:pt x="468" y="65"/>
                    </a:lnTo>
                    <a:lnTo>
                      <a:pt x="466" y="65"/>
                    </a:lnTo>
                    <a:lnTo>
                      <a:pt x="468" y="65"/>
                    </a:lnTo>
                    <a:lnTo>
                      <a:pt x="466" y="65"/>
                    </a:lnTo>
                    <a:lnTo>
                      <a:pt x="464" y="67"/>
                    </a:lnTo>
                    <a:lnTo>
                      <a:pt x="464" y="69"/>
                    </a:lnTo>
                    <a:lnTo>
                      <a:pt x="464" y="71"/>
                    </a:lnTo>
                    <a:lnTo>
                      <a:pt x="464" y="73"/>
                    </a:lnTo>
                    <a:lnTo>
                      <a:pt x="466" y="73"/>
                    </a:lnTo>
                    <a:lnTo>
                      <a:pt x="468" y="73"/>
                    </a:lnTo>
                    <a:lnTo>
                      <a:pt x="470" y="73"/>
                    </a:lnTo>
                    <a:lnTo>
                      <a:pt x="468" y="73"/>
                    </a:lnTo>
                    <a:lnTo>
                      <a:pt x="468" y="75"/>
                    </a:lnTo>
                    <a:lnTo>
                      <a:pt x="466" y="77"/>
                    </a:lnTo>
                    <a:lnTo>
                      <a:pt x="466" y="79"/>
                    </a:lnTo>
                    <a:lnTo>
                      <a:pt x="466" y="81"/>
                    </a:lnTo>
                    <a:lnTo>
                      <a:pt x="464" y="83"/>
                    </a:lnTo>
                    <a:lnTo>
                      <a:pt x="466" y="83"/>
                    </a:lnTo>
                    <a:lnTo>
                      <a:pt x="466" y="81"/>
                    </a:lnTo>
                    <a:lnTo>
                      <a:pt x="466" y="83"/>
                    </a:lnTo>
                    <a:lnTo>
                      <a:pt x="466" y="81"/>
                    </a:lnTo>
                    <a:lnTo>
                      <a:pt x="466" y="83"/>
                    </a:lnTo>
                    <a:lnTo>
                      <a:pt x="464" y="83"/>
                    </a:lnTo>
                    <a:lnTo>
                      <a:pt x="466" y="83"/>
                    </a:lnTo>
                    <a:lnTo>
                      <a:pt x="464" y="83"/>
                    </a:lnTo>
                    <a:lnTo>
                      <a:pt x="464" y="85"/>
                    </a:lnTo>
                    <a:lnTo>
                      <a:pt x="463" y="85"/>
                    </a:lnTo>
                    <a:lnTo>
                      <a:pt x="461" y="85"/>
                    </a:lnTo>
                    <a:lnTo>
                      <a:pt x="459" y="87"/>
                    </a:lnTo>
                    <a:lnTo>
                      <a:pt x="459" y="88"/>
                    </a:lnTo>
                    <a:lnTo>
                      <a:pt x="459" y="90"/>
                    </a:lnTo>
                    <a:lnTo>
                      <a:pt x="457" y="90"/>
                    </a:lnTo>
                    <a:lnTo>
                      <a:pt x="457" y="92"/>
                    </a:lnTo>
                    <a:lnTo>
                      <a:pt x="457" y="94"/>
                    </a:lnTo>
                    <a:lnTo>
                      <a:pt x="457" y="92"/>
                    </a:lnTo>
                    <a:lnTo>
                      <a:pt x="455" y="94"/>
                    </a:lnTo>
                    <a:lnTo>
                      <a:pt x="457" y="92"/>
                    </a:lnTo>
                    <a:lnTo>
                      <a:pt x="457" y="94"/>
                    </a:lnTo>
                    <a:lnTo>
                      <a:pt x="457" y="92"/>
                    </a:lnTo>
                    <a:lnTo>
                      <a:pt x="457" y="90"/>
                    </a:lnTo>
                    <a:lnTo>
                      <a:pt x="459" y="90"/>
                    </a:lnTo>
                    <a:lnTo>
                      <a:pt x="461" y="90"/>
                    </a:lnTo>
                    <a:lnTo>
                      <a:pt x="459" y="90"/>
                    </a:lnTo>
                    <a:lnTo>
                      <a:pt x="461" y="90"/>
                    </a:lnTo>
                    <a:lnTo>
                      <a:pt x="461" y="92"/>
                    </a:lnTo>
                    <a:lnTo>
                      <a:pt x="463" y="92"/>
                    </a:lnTo>
                    <a:lnTo>
                      <a:pt x="464" y="92"/>
                    </a:lnTo>
                    <a:lnTo>
                      <a:pt x="464" y="94"/>
                    </a:lnTo>
                    <a:lnTo>
                      <a:pt x="464" y="92"/>
                    </a:lnTo>
                    <a:lnTo>
                      <a:pt x="464" y="94"/>
                    </a:lnTo>
                    <a:lnTo>
                      <a:pt x="466" y="94"/>
                    </a:lnTo>
                    <a:lnTo>
                      <a:pt x="464" y="94"/>
                    </a:lnTo>
                    <a:lnTo>
                      <a:pt x="466" y="94"/>
                    </a:lnTo>
                    <a:lnTo>
                      <a:pt x="464" y="96"/>
                    </a:lnTo>
                    <a:lnTo>
                      <a:pt x="466" y="96"/>
                    </a:lnTo>
                    <a:lnTo>
                      <a:pt x="466" y="98"/>
                    </a:lnTo>
                    <a:lnTo>
                      <a:pt x="468" y="98"/>
                    </a:lnTo>
                    <a:lnTo>
                      <a:pt x="466" y="98"/>
                    </a:lnTo>
                    <a:lnTo>
                      <a:pt x="468" y="98"/>
                    </a:lnTo>
                    <a:lnTo>
                      <a:pt x="466" y="98"/>
                    </a:lnTo>
                    <a:lnTo>
                      <a:pt x="466" y="100"/>
                    </a:lnTo>
                    <a:lnTo>
                      <a:pt x="468" y="100"/>
                    </a:lnTo>
                    <a:lnTo>
                      <a:pt x="466" y="100"/>
                    </a:lnTo>
                    <a:lnTo>
                      <a:pt x="466" y="102"/>
                    </a:lnTo>
                    <a:lnTo>
                      <a:pt x="466" y="100"/>
                    </a:lnTo>
                    <a:lnTo>
                      <a:pt x="466" y="102"/>
                    </a:lnTo>
                    <a:lnTo>
                      <a:pt x="468" y="102"/>
                    </a:lnTo>
                    <a:lnTo>
                      <a:pt x="468" y="104"/>
                    </a:lnTo>
                    <a:lnTo>
                      <a:pt x="466" y="104"/>
                    </a:lnTo>
                    <a:lnTo>
                      <a:pt x="468" y="104"/>
                    </a:lnTo>
                    <a:lnTo>
                      <a:pt x="466" y="104"/>
                    </a:lnTo>
                    <a:lnTo>
                      <a:pt x="466" y="106"/>
                    </a:lnTo>
                    <a:lnTo>
                      <a:pt x="468" y="106"/>
                    </a:lnTo>
                    <a:lnTo>
                      <a:pt x="468" y="108"/>
                    </a:lnTo>
                    <a:lnTo>
                      <a:pt x="468" y="110"/>
                    </a:lnTo>
                    <a:lnTo>
                      <a:pt x="470" y="110"/>
                    </a:lnTo>
                    <a:lnTo>
                      <a:pt x="468" y="110"/>
                    </a:lnTo>
                    <a:lnTo>
                      <a:pt x="468" y="112"/>
                    </a:lnTo>
                    <a:lnTo>
                      <a:pt x="470" y="112"/>
                    </a:lnTo>
                    <a:lnTo>
                      <a:pt x="468" y="112"/>
                    </a:lnTo>
                    <a:lnTo>
                      <a:pt x="470" y="112"/>
                    </a:lnTo>
                    <a:lnTo>
                      <a:pt x="468" y="112"/>
                    </a:lnTo>
                    <a:lnTo>
                      <a:pt x="468" y="110"/>
                    </a:lnTo>
                    <a:lnTo>
                      <a:pt x="470" y="110"/>
                    </a:lnTo>
                    <a:lnTo>
                      <a:pt x="468" y="110"/>
                    </a:lnTo>
                    <a:lnTo>
                      <a:pt x="468" y="108"/>
                    </a:lnTo>
                    <a:lnTo>
                      <a:pt x="468" y="106"/>
                    </a:lnTo>
                    <a:lnTo>
                      <a:pt x="466" y="106"/>
                    </a:lnTo>
                    <a:lnTo>
                      <a:pt x="466" y="104"/>
                    </a:lnTo>
                    <a:lnTo>
                      <a:pt x="468" y="104"/>
                    </a:lnTo>
                    <a:lnTo>
                      <a:pt x="468" y="102"/>
                    </a:lnTo>
                    <a:lnTo>
                      <a:pt x="466" y="102"/>
                    </a:lnTo>
                    <a:lnTo>
                      <a:pt x="466" y="100"/>
                    </a:lnTo>
                    <a:lnTo>
                      <a:pt x="468" y="100"/>
                    </a:lnTo>
                    <a:lnTo>
                      <a:pt x="466" y="100"/>
                    </a:lnTo>
                    <a:lnTo>
                      <a:pt x="466" y="98"/>
                    </a:lnTo>
                    <a:lnTo>
                      <a:pt x="468" y="98"/>
                    </a:lnTo>
                    <a:lnTo>
                      <a:pt x="466" y="98"/>
                    </a:lnTo>
                    <a:lnTo>
                      <a:pt x="466" y="96"/>
                    </a:lnTo>
                    <a:lnTo>
                      <a:pt x="464" y="96"/>
                    </a:lnTo>
                    <a:lnTo>
                      <a:pt x="466" y="94"/>
                    </a:lnTo>
                    <a:lnTo>
                      <a:pt x="464" y="94"/>
                    </a:lnTo>
                    <a:lnTo>
                      <a:pt x="464" y="92"/>
                    </a:lnTo>
                    <a:lnTo>
                      <a:pt x="464" y="94"/>
                    </a:lnTo>
                    <a:lnTo>
                      <a:pt x="464" y="92"/>
                    </a:lnTo>
                    <a:lnTo>
                      <a:pt x="463" y="92"/>
                    </a:lnTo>
                    <a:lnTo>
                      <a:pt x="461" y="92"/>
                    </a:lnTo>
                    <a:lnTo>
                      <a:pt x="461" y="90"/>
                    </a:lnTo>
                    <a:lnTo>
                      <a:pt x="459" y="90"/>
                    </a:lnTo>
                    <a:lnTo>
                      <a:pt x="461" y="90"/>
                    </a:lnTo>
                    <a:lnTo>
                      <a:pt x="459" y="90"/>
                    </a:lnTo>
                    <a:lnTo>
                      <a:pt x="459" y="88"/>
                    </a:lnTo>
                    <a:lnTo>
                      <a:pt x="459" y="87"/>
                    </a:lnTo>
                    <a:lnTo>
                      <a:pt x="461" y="87"/>
                    </a:lnTo>
                    <a:lnTo>
                      <a:pt x="459" y="87"/>
                    </a:lnTo>
                    <a:lnTo>
                      <a:pt x="461" y="87"/>
                    </a:lnTo>
                    <a:lnTo>
                      <a:pt x="461" y="85"/>
                    </a:lnTo>
                    <a:lnTo>
                      <a:pt x="463" y="85"/>
                    </a:lnTo>
                    <a:lnTo>
                      <a:pt x="461" y="87"/>
                    </a:lnTo>
                    <a:lnTo>
                      <a:pt x="463" y="85"/>
                    </a:lnTo>
                    <a:lnTo>
                      <a:pt x="464" y="85"/>
                    </a:lnTo>
                    <a:lnTo>
                      <a:pt x="464" y="83"/>
                    </a:lnTo>
                    <a:lnTo>
                      <a:pt x="464" y="85"/>
                    </a:lnTo>
                    <a:lnTo>
                      <a:pt x="466" y="85"/>
                    </a:lnTo>
                    <a:lnTo>
                      <a:pt x="466" y="83"/>
                    </a:lnTo>
                    <a:lnTo>
                      <a:pt x="468" y="81"/>
                    </a:lnTo>
                    <a:lnTo>
                      <a:pt x="468" y="79"/>
                    </a:lnTo>
                    <a:lnTo>
                      <a:pt x="470" y="79"/>
                    </a:lnTo>
                    <a:lnTo>
                      <a:pt x="472" y="79"/>
                    </a:lnTo>
                    <a:lnTo>
                      <a:pt x="474" y="79"/>
                    </a:lnTo>
                    <a:lnTo>
                      <a:pt x="474" y="77"/>
                    </a:lnTo>
                    <a:lnTo>
                      <a:pt x="476" y="75"/>
                    </a:lnTo>
                    <a:lnTo>
                      <a:pt x="476" y="73"/>
                    </a:lnTo>
                    <a:lnTo>
                      <a:pt x="478" y="73"/>
                    </a:lnTo>
                    <a:lnTo>
                      <a:pt x="478" y="75"/>
                    </a:lnTo>
                    <a:lnTo>
                      <a:pt x="480" y="75"/>
                    </a:lnTo>
                    <a:lnTo>
                      <a:pt x="480" y="73"/>
                    </a:lnTo>
                    <a:lnTo>
                      <a:pt x="482" y="73"/>
                    </a:lnTo>
                    <a:lnTo>
                      <a:pt x="484" y="73"/>
                    </a:lnTo>
                    <a:lnTo>
                      <a:pt x="484" y="71"/>
                    </a:lnTo>
                    <a:lnTo>
                      <a:pt x="484" y="73"/>
                    </a:lnTo>
                    <a:lnTo>
                      <a:pt x="486" y="73"/>
                    </a:lnTo>
                    <a:lnTo>
                      <a:pt x="486" y="71"/>
                    </a:lnTo>
                    <a:lnTo>
                      <a:pt x="487" y="71"/>
                    </a:lnTo>
                    <a:lnTo>
                      <a:pt x="489" y="71"/>
                    </a:lnTo>
                    <a:lnTo>
                      <a:pt x="489" y="69"/>
                    </a:lnTo>
                    <a:lnTo>
                      <a:pt x="491" y="69"/>
                    </a:lnTo>
                    <a:lnTo>
                      <a:pt x="493" y="69"/>
                    </a:lnTo>
                    <a:lnTo>
                      <a:pt x="493" y="71"/>
                    </a:lnTo>
                    <a:lnTo>
                      <a:pt x="495" y="71"/>
                    </a:lnTo>
                    <a:lnTo>
                      <a:pt x="495" y="73"/>
                    </a:lnTo>
                    <a:lnTo>
                      <a:pt x="495" y="75"/>
                    </a:lnTo>
                    <a:lnTo>
                      <a:pt x="495" y="77"/>
                    </a:lnTo>
                    <a:lnTo>
                      <a:pt x="493" y="77"/>
                    </a:lnTo>
                    <a:lnTo>
                      <a:pt x="493" y="79"/>
                    </a:lnTo>
                    <a:lnTo>
                      <a:pt x="493" y="81"/>
                    </a:lnTo>
                    <a:lnTo>
                      <a:pt x="493" y="83"/>
                    </a:lnTo>
                    <a:lnTo>
                      <a:pt x="493" y="85"/>
                    </a:lnTo>
                    <a:lnTo>
                      <a:pt x="491" y="87"/>
                    </a:lnTo>
                    <a:lnTo>
                      <a:pt x="493" y="87"/>
                    </a:lnTo>
                    <a:lnTo>
                      <a:pt x="491" y="87"/>
                    </a:lnTo>
                    <a:lnTo>
                      <a:pt x="491" y="88"/>
                    </a:lnTo>
                    <a:lnTo>
                      <a:pt x="491" y="90"/>
                    </a:lnTo>
                    <a:lnTo>
                      <a:pt x="489" y="90"/>
                    </a:lnTo>
                    <a:lnTo>
                      <a:pt x="491" y="90"/>
                    </a:lnTo>
                    <a:lnTo>
                      <a:pt x="489" y="90"/>
                    </a:lnTo>
                    <a:lnTo>
                      <a:pt x="491" y="90"/>
                    </a:lnTo>
                    <a:lnTo>
                      <a:pt x="491" y="88"/>
                    </a:lnTo>
                    <a:lnTo>
                      <a:pt x="491" y="87"/>
                    </a:lnTo>
                    <a:lnTo>
                      <a:pt x="493" y="87"/>
                    </a:lnTo>
                    <a:lnTo>
                      <a:pt x="493" y="85"/>
                    </a:lnTo>
                    <a:lnTo>
                      <a:pt x="493" y="83"/>
                    </a:lnTo>
                    <a:lnTo>
                      <a:pt x="493" y="85"/>
                    </a:lnTo>
                    <a:lnTo>
                      <a:pt x="495" y="85"/>
                    </a:lnTo>
                    <a:lnTo>
                      <a:pt x="493" y="85"/>
                    </a:lnTo>
                    <a:lnTo>
                      <a:pt x="495" y="85"/>
                    </a:lnTo>
                    <a:lnTo>
                      <a:pt x="493" y="85"/>
                    </a:lnTo>
                    <a:lnTo>
                      <a:pt x="493" y="83"/>
                    </a:lnTo>
                    <a:lnTo>
                      <a:pt x="493" y="81"/>
                    </a:lnTo>
                    <a:lnTo>
                      <a:pt x="493" y="79"/>
                    </a:lnTo>
                    <a:lnTo>
                      <a:pt x="493" y="77"/>
                    </a:lnTo>
                    <a:lnTo>
                      <a:pt x="495" y="77"/>
                    </a:lnTo>
                    <a:lnTo>
                      <a:pt x="495" y="75"/>
                    </a:lnTo>
                    <a:lnTo>
                      <a:pt x="495" y="73"/>
                    </a:lnTo>
                    <a:lnTo>
                      <a:pt x="495" y="71"/>
                    </a:lnTo>
                    <a:lnTo>
                      <a:pt x="493" y="71"/>
                    </a:lnTo>
                    <a:lnTo>
                      <a:pt x="493" y="69"/>
                    </a:lnTo>
                    <a:lnTo>
                      <a:pt x="491" y="69"/>
                    </a:lnTo>
                    <a:lnTo>
                      <a:pt x="489" y="69"/>
                    </a:lnTo>
                    <a:lnTo>
                      <a:pt x="489" y="71"/>
                    </a:lnTo>
                    <a:lnTo>
                      <a:pt x="487" y="71"/>
                    </a:lnTo>
                    <a:lnTo>
                      <a:pt x="489" y="71"/>
                    </a:lnTo>
                    <a:lnTo>
                      <a:pt x="487" y="71"/>
                    </a:lnTo>
                    <a:lnTo>
                      <a:pt x="487" y="69"/>
                    </a:lnTo>
                    <a:lnTo>
                      <a:pt x="487" y="67"/>
                    </a:lnTo>
                    <a:lnTo>
                      <a:pt x="487" y="69"/>
                    </a:lnTo>
                    <a:lnTo>
                      <a:pt x="487" y="67"/>
                    </a:lnTo>
                    <a:lnTo>
                      <a:pt x="487" y="69"/>
                    </a:lnTo>
                    <a:lnTo>
                      <a:pt x="487" y="71"/>
                    </a:lnTo>
                    <a:lnTo>
                      <a:pt x="486" y="71"/>
                    </a:lnTo>
                    <a:lnTo>
                      <a:pt x="486" y="73"/>
                    </a:lnTo>
                    <a:lnTo>
                      <a:pt x="486" y="71"/>
                    </a:lnTo>
                    <a:lnTo>
                      <a:pt x="484" y="71"/>
                    </a:lnTo>
                    <a:lnTo>
                      <a:pt x="482" y="71"/>
                    </a:lnTo>
                    <a:lnTo>
                      <a:pt x="482" y="73"/>
                    </a:lnTo>
                    <a:lnTo>
                      <a:pt x="482" y="71"/>
                    </a:lnTo>
                    <a:lnTo>
                      <a:pt x="482" y="69"/>
                    </a:lnTo>
                    <a:lnTo>
                      <a:pt x="480" y="69"/>
                    </a:lnTo>
                    <a:lnTo>
                      <a:pt x="480" y="71"/>
                    </a:lnTo>
                    <a:lnTo>
                      <a:pt x="480" y="69"/>
                    </a:lnTo>
                    <a:lnTo>
                      <a:pt x="478" y="69"/>
                    </a:lnTo>
                    <a:lnTo>
                      <a:pt x="478" y="71"/>
                    </a:lnTo>
                    <a:lnTo>
                      <a:pt x="476" y="71"/>
                    </a:lnTo>
                    <a:lnTo>
                      <a:pt x="476" y="73"/>
                    </a:lnTo>
                    <a:lnTo>
                      <a:pt x="476" y="71"/>
                    </a:lnTo>
                    <a:lnTo>
                      <a:pt x="474" y="71"/>
                    </a:lnTo>
                    <a:lnTo>
                      <a:pt x="474" y="69"/>
                    </a:lnTo>
                    <a:lnTo>
                      <a:pt x="472" y="69"/>
                    </a:lnTo>
                    <a:lnTo>
                      <a:pt x="472" y="71"/>
                    </a:lnTo>
                    <a:lnTo>
                      <a:pt x="470" y="71"/>
                    </a:lnTo>
                    <a:lnTo>
                      <a:pt x="470" y="73"/>
                    </a:lnTo>
                    <a:lnTo>
                      <a:pt x="470" y="71"/>
                    </a:lnTo>
                    <a:lnTo>
                      <a:pt x="470" y="69"/>
                    </a:lnTo>
                    <a:lnTo>
                      <a:pt x="470" y="67"/>
                    </a:lnTo>
                    <a:lnTo>
                      <a:pt x="470" y="65"/>
                    </a:lnTo>
                    <a:lnTo>
                      <a:pt x="472" y="65"/>
                    </a:lnTo>
                    <a:lnTo>
                      <a:pt x="470" y="65"/>
                    </a:lnTo>
                    <a:lnTo>
                      <a:pt x="468" y="65"/>
                    </a:lnTo>
                    <a:lnTo>
                      <a:pt x="470" y="65"/>
                    </a:lnTo>
                    <a:lnTo>
                      <a:pt x="472" y="65"/>
                    </a:lnTo>
                    <a:lnTo>
                      <a:pt x="474" y="63"/>
                    </a:lnTo>
                    <a:lnTo>
                      <a:pt x="480" y="62"/>
                    </a:lnTo>
                    <a:lnTo>
                      <a:pt x="484" y="62"/>
                    </a:lnTo>
                    <a:lnTo>
                      <a:pt x="484" y="60"/>
                    </a:lnTo>
                    <a:lnTo>
                      <a:pt x="486" y="60"/>
                    </a:lnTo>
                    <a:lnTo>
                      <a:pt x="486" y="62"/>
                    </a:lnTo>
                    <a:lnTo>
                      <a:pt x="487" y="63"/>
                    </a:lnTo>
                    <a:lnTo>
                      <a:pt x="489" y="63"/>
                    </a:lnTo>
                    <a:lnTo>
                      <a:pt x="491" y="63"/>
                    </a:lnTo>
                    <a:lnTo>
                      <a:pt x="493" y="63"/>
                    </a:lnTo>
                    <a:lnTo>
                      <a:pt x="497" y="63"/>
                    </a:lnTo>
                    <a:lnTo>
                      <a:pt x="495" y="63"/>
                    </a:lnTo>
                    <a:lnTo>
                      <a:pt x="493" y="63"/>
                    </a:lnTo>
                    <a:lnTo>
                      <a:pt x="493" y="65"/>
                    </a:lnTo>
                    <a:lnTo>
                      <a:pt x="493" y="63"/>
                    </a:lnTo>
                    <a:lnTo>
                      <a:pt x="493" y="65"/>
                    </a:lnTo>
                    <a:lnTo>
                      <a:pt x="495" y="63"/>
                    </a:lnTo>
                    <a:lnTo>
                      <a:pt x="495" y="65"/>
                    </a:lnTo>
                    <a:lnTo>
                      <a:pt x="497" y="67"/>
                    </a:lnTo>
                    <a:lnTo>
                      <a:pt x="497" y="69"/>
                    </a:lnTo>
                    <a:lnTo>
                      <a:pt x="499" y="69"/>
                    </a:lnTo>
                    <a:lnTo>
                      <a:pt x="499" y="71"/>
                    </a:lnTo>
                    <a:lnTo>
                      <a:pt x="499" y="73"/>
                    </a:lnTo>
                    <a:lnTo>
                      <a:pt x="499" y="71"/>
                    </a:lnTo>
                    <a:lnTo>
                      <a:pt x="501" y="71"/>
                    </a:lnTo>
                    <a:lnTo>
                      <a:pt x="499" y="73"/>
                    </a:lnTo>
                    <a:lnTo>
                      <a:pt x="499" y="71"/>
                    </a:lnTo>
                    <a:lnTo>
                      <a:pt x="499" y="73"/>
                    </a:lnTo>
                    <a:lnTo>
                      <a:pt x="501" y="73"/>
                    </a:lnTo>
                    <a:lnTo>
                      <a:pt x="499" y="73"/>
                    </a:lnTo>
                    <a:lnTo>
                      <a:pt x="501" y="71"/>
                    </a:lnTo>
                    <a:lnTo>
                      <a:pt x="501" y="73"/>
                    </a:lnTo>
                    <a:lnTo>
                      <a:pt x="501" y="71"/>
                    </a:lnTo>
                    <a:lnTo>
                      <a:pt x="501" y="73"/>
                    </a:lnTo>
                    <a:lnTo>
                      <a:pt x="501" y="71"/>
                    </a:lnTo>
                    <a:lnTo>
                      <a:pt x="503" y="69"/>
                    </a:lnTo>
                    <a:lnTo>
                      <a:pt x="503" y="67"/>
                    </a:lnTo>
                    <a:lnTo>
                      <a:pt x="503" y="65"/>
                    </a:lnTo>
                    <a:lnTo>
                      <a:pt x="501" y="65"/>
                    </a:lnTo>
                    <a:lnTo>
                      <a:pt x="501" y="63"/>
                    </a:lnTo>
                    <a:lnTo>
                      <a:pt x="501" y="62"/>
                    </a:lnTo>
                    <a:lnTo>
                      <a:pt x="499" y="62"/>
                    </a:lnTo>
                    <a:lnTo>
                      <a:pt x="501" y="62"/>
                    </a:lnTo>
                    <a:lnTo>
                      <a:pt x="499" y="62"/>
                    </a:lnTo>
                    <a:lnTo>
                      <a:pt x="499" y="63"/>
                    </a:lnTo>
                    <a:lnTo>
                      <a:pt x="497" y="63"/>
                    </a:lnTo>
                    <a:lnTo>
                      <a:pt x="499" y="63"/>
                    </a:lnTo>
                    <a:lnTo>
                      <a:pt x="497" y="63"/>
                    </a:lnTo>
                    <a:lnTo>
                      <a:pt x="499" y="62"/>
                    </a:lnTo>
                    <a:lnTo>
                      <a:pt x="501" y="62"/>
                    </a:lnTo>
                    <a:lnTo>
                      <a:pt x="503" y="62"/>
                    </a:lnTo>
                    <a:lnTo>
                      <a:pt x="505" y="62"/>
                    </a:lnTo>
                    <a:lnTo>
                      <a:pt x="507" y="62"/>
                    </a:lnTo>
                    <a:lnTo>
                      <a:pt x="509" y="62"/>
                    </a:lnTo>
                    <a:lnTo>
                      <a:pt x="511" y="63"/>
                    </a:lnTo>
                    <a:lnTo>
                      <a:pt x="512" y="63"/>
                    </a:lnTo>
                    <a:lnTo>
                      <a:pt x="514" y="65"/>
                    </a:lnTo>
                    <a:lnTo>
                      <a:pt x="512" y="65"/>
                    </a:lnTo>
                    <a:lnTo>
                      <a:pt x="514" y="65"/>
                    </a:lnTo>
                    <a:lnTo>
                      <a:pt x="512" y="65"/>
                    </a:lnTo>
                    <a:lnTo>
                      <a:pt x="511" y="65"/>
                    </a:lnTo>
                    <a:lnTo>
                      <a:pt x="512" y="65"/>
                    </a:lnTo>
                    <a:lnTo>
                      <a:pt x="512" y="63"/>
                    </a:lnTo>
                    <a:lnTo>
                      <a:pt x="512" y="65"/>
                    </a:lnTo>
                    <a:lnTo>
                      <a:pt x="512" y="63"/>
                    </a:lnTo>
                    <a:lnTo>
                      <a:pt x="511" y="63"/>
                    </a:lnTo>
                    <a:lnTo>
                      <a:pt x="509" y="63"/>
                    </a:lnTo>
                    <a:lnTo>
                      <a:pt x="509" y="65"/>
                    </a:lnTo>
                    <a:lnTo>
                      <a:pt x="511" y="65"/>
                    </a:lnTo>
                    <a:lnTo>
                      <a:pt x="511" y="67"/>
                    </a:lnTo>
                    <a:lnTo>
                      <a:pt x="512" y="67"/>
                    </a:lnTo>
                    <a:lnTo>
                      <a:pt x="512" y="69"/>
                    </a:lnTo>
                    <a:lnTo>
                      <a:pt x="514" y="69"/>
                    </a:lnTo>
                    <a:lnTo>
                      <a:pt x="514" y="71"/>
                    </a:lnTo>
                    <a:lnTo>
                      <a:pt x="516" y="71"/>
                    </a:lnTo>
                    <a:lnTo>
                      <a:pt x="516" y="73"/>
                    </a:lnTo>
                    <a:lnTo>
                      <a:pt x="518" y="73"/>
                    </a:lnTo>
                    <a:lnTo>
                      <a:pt x="518" y="75"/>
                    </a:lnTo>
                    <a:lnTo>
                      <a:pt x="520" y="75"/>
                    </a:lnTo>
                    <a:lnTo>
                      <a:pt x="520" y="77"/>
                    </a:lnTo>
                    <a:lnTo>
                      <a:pt x="522" y="77"/>
                    </a:lnTo>
                    <a:lnTo>
                      <a:pt x="522" y="75"/>
                    </a:lnTo>
                    <a:lnTo>
                      <a:pt x="522" y="77"/>
                    </a:lnTo>
                    <a:lnTo>
                      <a:pt x="522" y="75"/>
                    </a:lnTo>
                    <a:lnTo>
                      <a:pt x="522" y="77"/>
                    </a:lnTo>
                    <a:lnTo>
                      <a:pt x="522" y="75"/>
                    </a:lnTo>
                    <a:lnTo>
                      <a:pt x="522" y="77"/>
                    </a:lnTo>
                    <a:lnTo>
                      <a:pt x="524" y="77"/>
                    </a:lnTo>
                    <a:lnTo>
                      <a:pt x="526" y="77"/>
                    </a:lnTo>
                    <a:lnTo>
                      <a:pt x="528" y="77"/>
                    </a:lnTo>
                    <a:lnTo>
                      <a:pt x="530" y="77"/>
                    </a:lnTo>
                    <a:lnTo>
                      <a:pt x="530" y="79"/>
                    </a:lnTo>
                    <a:lnTo>
                      <a:pt x="532" y="79"/>
                    </a:lnTo>
                    <a:lnTo>
                      <a:pt x="534" y="79"/>
                    </a:lnTo>
                    <a:lnTo>
                      <a:pt x="534" y="81"/>
                    </a:lnTo>
                    <a:lnTo>
                      <a:pt x="536" y="81"/>
                    </a:lnTo>
                    <a:lnTo>
                      <a:pt x="537" y="83"/>
                    </a:lnTo>
                    <a:lnTo>
                      <a:pt x="539" y="83"/>
                    </a:lnTo>
                    <a:lnTo>
                      <a:pt x="539" y="85"/>
                    </a:lnTo>
                    <a:lnTo>
                      <a:pt x="539" y="83"/>
                    </a:lnTo>
                    <a:lnTo>
                      <a:pt x="537" y="83"/>
                    </a:lnTo>
                    <a:lnTo>
                      <a:pt x="537" y="85"/>
                    </a:lnTo>
                    <a:lnTo>
                      <a:pt x="537" y="87"/>
                    </a:lnTo>
                    <a:lnTo>
                      <a:pt x="537" y="88"/>
                    </a:lnTo>
                    <a:lnTo>
                      <a:pt x="537" y="90"/>
                    </a:lnTo>
                    <a:lnTo>
                      <a:pt x="539" y="90"/>
                    </a:lnTo>
                    <a:lnTo>
                      <a:pt x="537" y="90"/>
                    </a:lnTo>
                    <a:lnTo>
                      <a:pt x="537" y="92"/>
                    </a:lnTo>
                    <a:lnTo>
                      <a:pt x="537" y="90"/>
                    </a:lnTo>
                    <a:lnTo>
                      <a:pt x="539" y="90"/>
                    </a:lnTo>
                    <a:lnTo>
                      <a:pt x="541" y="90"/>
                    </a:lnTo>
                    <a:lnTo>
                      <a:pt x="543" y="90"/>
                    </a:lnTo>
                    <a:lnTo>
                      <a:pt x="541" y="90"/>
                    </a:lnTo>
                    <a:lnTo>
                      <a:pt x="543" y="90"/>
                    </a:lnTo>
                    <a:lnTo>
                      <a:pt x="543" y="92"/>
                    </a:lnTo>
                    <a:lnTo>
                      <a:pt x="543" y="90"/>
                    </a:lnTo>
                    <a:lnTo>
                      <a:pt x="543" y="92"/>
                    </a:lnTo>
                    <a:lnTo>
                      <a:pt x="543" y="90"/>
                    </a:lnTo>
                    <a:lnTo>
                      <a:pt x="545" y="90"/>
                    </a:lnTo>
                    <a:lnTo>
                      <a:pt x="545" y="88"/>
                    </a:lnTo>
                    <a:lnTo>
                      <a:pt x="547" y="88"/>
                    </a:lnTo>
                    <a:lnTo>
                      <a:pt x="549" y="87"/>
                    </a:lnTo>
                    <a:lnTo>
                      <a:pt x="551" y="87"/>
                    </a:lnTo>
                    <a:lnTo>
                      <a:pt x="551" y="85"/>
                    </a:lnTo>
                    <a:lnTo>
                      <a:pt x="553" y="87"/>
                    </a:lnTo>
                    <a:lnTo>
                      <a:pt x="553" y="85"/>
                    </a:lnTo>
                    <a:lnTo>
                      <a:pt x="553" y="87"/>
                    </a:lnTo>
                    <a:lnTo>
                      <a:pt x="555" y="87"/>
                    </a:lnTo>
                    <a:lnTo>
                      <a:pt x="557" y="87"/>
                    </a:lnTo>
                    <a:lnTo>
                      <a:pt x="557" y="88"/>
                    </a:lnTo>
                    <a:lnTo>
                      <a:pt x="557" y="90"/>
                    </a:lnTo>
                    <a:lnTo>
                      <a:pt x="559" y="90"/>
                    </a:lnTo>
                    <a:lnTo>
                      <a:pt x="559" y="92"/>
                    </a:lnTo>
                    <a:lnTo>
                      <a:pt x="560" y="92"/>
                    </a:lnTo>
                    <a:lnTo>
                      <a:pt x="562" y="92"/>
                    </a:lnTo>
                    <a:lnTo>
                      <a:pt x="562" y="90"/>
                    </a:lnTo>
                    <a:lnTo>
                      <a:pt x="562" y="92"/>
                    </a:lnTo>
                    <a:lnTo>
                      <a:pt x="562" y="94"/>
                    </a:lnTo>
                    <a:lnTo>
                      <a:pt x="564" y="94"/>
                    </a:lnTo>
                    <a:lnTo>
                      <a:pt x="566" y="94"/>
                    </a:lnTo>
                    <a:lnTo>
                      <a:pt x="566" y="92"/>
                    </a:lnTo>
                    <a:lnTo>
                      <a:pt x="566" y="90"/>
                    </a:lnTo>
                    <a:lnTo>
                      <a:pt x="564" y="90"/>
                    </a:lnTo>
                    <a:lnTo>
                      <a:pt x="562" y="92"/>
                    </a:lnTo>
                    <a:lnTo>
                      <a:pt x="562" y="90"/>
                    </a:lnTo>
                    <a:lnTo>
                      <a:pt x="564" y="90"/>
                    </a:lnTo>
                    <a:lnTo>
                      <a:pt x="564" y="88"/>
                    </a:lnTo>
                    <a:lnTo>
                      <a:pt x="562" y="88"/>
                    </a:lnTo>
                    <a:lnTo>
                      <a:pt x="564" y="88"/>
                    </a:lnTo>
                    <a:lnTo>
                      <a:pt x="562" y="88"/>
                    </a:lnTo>
                    <a:lnTo>
                      <a:pt x="562" y="87"/>
                    </a:lnTo>
                    <a:lnTo>
                      <a:pt x="562" y="85"/>
                    </a:lnTo>
                    <a:lnTo>
                      <a:pt x="562" y="83"/>
                    </a:lnTo>
                    <a:lnTo>
                      <a:pt x="560" y="83"/>
                    </a:lnTo>
                    <a:lnTo>
                      <a:pt x="559" y="83"/>
                    </a:lnTo>
                    <a:lnTo>
                      <a:pt x="560" y="83"/>
                    </a:lnTo>
                    <a:lnTo>
                      <a:pt x="562" y="81"/>
                    </a:lnTo>
                    <a:lnTo>
                      <a:pt x="562" y="79"/>
                    </a:lnTo>
                    <a:lnTo>
                      <a:pt x="564" y="79"/>
                    </a:lnTo>
                    <a:lnTo>
                      <a:pt x="564" y="81"/>
                    </a:lnTo>
                    <a:lnTo>
                      <a:pt x="566" y="81"/>
                    </a:lnTo>
                    <a:lnTo>
                      <a:pt x="568" y="81"/>
                    </a:lnTo>
                    <a:lnTo>
                      <a:pt x="570" y="81"/>
                    </a:lnTo>
                    <a:lnTo>
                      <a:pt x="570" y="83"/>
                    </a:lnTo>
                    <a:lnTo>
                      <a:pt x="570" y="85"/>
                    </a:lnTo>
                    <a:lnTo>
                      <a:pt x="570" y="83"/>
                    </a:lnTo>
                    <a:lnTo>
                      <a:pt x="570" y="85"/>
                    </a:lnTo>
                    <a:lnTo>
                      <a:pt x="570" y="87"/>
                    </a:lnTo>
                    <a:lnTo>
                      <a:pt x="572" y="87"/>
                    </a:lnTo>
                    <a:lnTo>
                      <a:pt x="572" y="88"/>
                    </a:lnTo>
                    <a:lnTo>
                      <a:pt x="574" y="88"/>
                    </a:lnTo>
                    <a:lnTo>
                      <a:pt x="574" y="87"/>
                    </a:lnTo>
                    <a:lnTo>
                      <a:pt x="572" y="87"/>
                    </a:lnTo>
                    <a:lnTo>
                      <a:pt x="574" y="87"/>
                    </a:lnTo>
                    <a:lnTo>
                      <a:pt x="572" y="87"/>
                    </a:lnTo>
                    <a:lnTo>
                      <a:pt x="574" y="87"/>
                    </a:lnTo>
                    <a:lnTo>
                      <a:pt x="574" y="88"/>
                    </a:lnTo>
                    <a:lnTo>
                      <a:pt x="576" y="88"/>
                    </a:lnTo>
                    <a:lnTo>
                      <a:pt x="578" y="88"/>
                    </a:lnTo>
                    <a:lnTo>
                      <a:pt x="580" y="88"/>
                    </a:lnTo>
                    <a:lnTo>
                      <a:pt x="578" y="88"/>
                    </a:lnTo>
                    <a:lnTo>
                      <a:pt x="580" y="88"/>
                    </a:lnTo>
                    <a:lnTo>
                      <a:pt x="580" y="90"/>
                    </a:lnTo>
                    <a:lnTo>
                      <a:pt x="582" y="90"/>
                    </a:lnTo>
                    <a:lnTo>
                      <a:pt x="580" y="90"/>
                    </a:lnTo>
                    <a:lnTo>
                      <a:pt x="580" y="88"/>
                    </a:lnTo>
                    <a:lnTo>
                      <a:pt x="578" y="88"/>
                    </a:lnTo>
                    <a:lnTo>
                      <a:pt x="576" y="88"/>
                    </a:lnTo>
                    <a:lnTo>
                      <a:pt x="576" y="87"/>
                    </a:lnTo>
                    <a:lnTo>
                      <a:pt x="576" y="88"/>
                    </a:lnTo>
                    <a:lnTo>
                      <a:pt x="574" y="88"/>
                    </a:lnTo>
                    <a:lnTo>
                      <a:pt x="574" y="87"/>
                    </a:lnTo>
                    <a:lnTo>
                      <a:pt x="576" y="87"/>
                    </a:lnTo>
                    <a:lnTo>
                      <a:pt x="574" y="87"/>
                    </a:lnTo>
                    <a:lnTo>
                      <a:pt x="574" y="85"/>
                    </a:lnTo>
                    <a:lnTo>
                      <a:pt x="574" y="83"/>
                    </a:lnTo>
                    <a:lnTo>
                      <a:pt x="574" y="81"/>
                    </a:lnTo>
                    <a:lnTo>
                      <a:pt x="572" y="81"/>
                    </a:lnTo>
                    <a:lnTo>
                      <a:pt x="572" y="83"/>
                    </a:lnTo>
                    <a:lnTo>
                      <a:pt x="572" y="81"/>
                    </a:lnTo>
                    <a:lnTo>
                      <a:pt x="570" y="81"/>
                    </a:lnTo>
                    <a:lnTo>
                      <a:pt x="572" y="81"/>
                    </a:lnTo>
                    <a:lnTo>
                      <a:pt x="570" y="81"/>
                    </a:lnTo>
                    <a:lnTo>
                      <a:pt x="572" y="81"/>
                    </a:lnTo>
                    <a:lnTo>
                      <a:pt x="572" y="79"/>
                    </a:lnTo>
                    <a:lnTo>
                      <a:pt x="572" y="77"/>
                    </a:lnTo>
                    <a:lnTo>
                      <a:pt x="570" y="75"/>
                    </a:lnTo>
                    <a:lnTo>
                      <a:pt x="570" y="73"/>
                    </a:lnTo>
                    <a:lnTo>
                      <a:pt x="568" y="73"/>
                    </a:lnTo>
                    <a:lnTo>
                      <a:pt x="566" y="73"/>
                    </a:lnTo>
                    <a:lnTo>
                      <a:pt x="566" y="75"/>
                    </a:lnTo>
                    <a:lnTo>
                      <a:pt x="564" y="75"/>
                    </a:lnTo>
                    <a:lnTo>
                      <a:pt x="564" y="73"/>
                    </a:lnTo>
                    <a:lnTo>
                      <a:pt x="564" y="75"/>
                    </a:lnTo>
                    <a:lnTo>
                      <a:pt x="562" y="73"/>
                    </a:lnTo>
                    <a:lnTo>
                      <a:pt x="562" y="75"/>
                    </a:lnTo>
                    <a:lnTo>
                      <a:pt x="560" y="75"/>
                    </a:lnTo>
                    <a:lnTo>
                      <a:pt x="560" y="77"/>
                    </a:lnTo>
                    <a:lnTo>
                      <a:pt x="559" y="77"/>
                    </a:lnTo>
                    <a:lnTo>
                      <a:pt x="559" y="79"/>
                    </a:lnTo>
                    <a:lnTo>
                      <a:pt x="557" y="79"/>
                    </a:lnTo>
                    <a:lnTo>
                      <a:pt x="555" y="79"/>
                    </a:lnTo>
                    <a:lnTo>
                      <a:pt x="553" y="81"/>
                    </a:lnTo>
                    <a:lnTo>
                      <a:pt x="555" y="81"/>
                    </a:lnTo>
                    <a:lnTo>
                      <a:pt x="557" y="81"/>
                    </a:lnTo>
                    <a:lnTo>
                      <a:pt x="557" y="83"/>
                    </a:lnTo>
                    <a:lnTo>
                      <a:pt x="555" y="81"/>
                    </a:lnTo>
                    <a:lnTo>
                      <a:pt x="553" y="81"/>
                    </a:lnTo>
                    <a:lnTo>
                      <a:pt x="555" y="79"/>
                    </a:lnTo>
                    <a:lnTo>
                      <a:pt x="553" y="79"/>
                    </a:lnTo>
                    <a:lnTo>
                      <a:pt x="553" y="77"/>
                    </a:lnTo>
                    <a:lnTo>
                      <a:pt x="555" y="75"/>
                    </a:lnTo>
                    <a:lnTo>
                      <a:pt x="555" y="73"/>
                    </a:lnTo>
                    <a:lnTo>
                      <a:pt x="555" y="71"/>
                    </a:lnTo>
                    <a:lnTo>
                      <a:pt x="555" y="69"/>
                    </a:lnTo>
                    <a:lnTo>
                      <a:pt x="553" y="69"/>
                    </a:lnTo>
                    <a:lnTo>
                      <a:pt x="551" y="67"/>
                    </a:lnTo>
                    <a:lnTo>
                      <a:pt x="549" y="67"/>
                    </a:lnTo>
                    <a:lnTo>
                      <a:pt x="549" y="65"/>
                    </a:lnTo>
                    <a:lnTo>
                      <a:pt x="547" y="65"/>
                    </a:lnTo>
                    <a:lnTo>
                      <a:pt x="545" y="65"/>
                    </a:lnTo>
                    <a:lnTo>
                      <a:pt x="545" y="63"/>
                    </a:lnTo>
                    <a:lnTo>
                      <a:pt x="543" y="63"/>
                    </a:lnTo>
                    <a:lnTo>
                      <a:pt x="541" y="63"/>
                    </a:lnTo>
                    <a:lnTo>
                      <a:pt x="539" y="62"/>
                    </a:lnTo>
                    <a:lnTo>
                      <a:pt x="537" y="62"/>
                    </a:lnTo>
                    <a:lnTo>
                      <a:pt x="536" y="62"/>
                    </a:lnTo>
                    <a:lnTo>
                      <a:pt x="536" y="63"/>
                    </a:lnTo>
                    <a:lnTo>
                      <a:pt x="536" y="62"/>
                    </a:lnTo>
                    <a:lnTo>
                      <a:pt x="536" y="63"/>
                    </a:lnTo>
                    <a:lnTo>
                      <a:pt x="536" y="62"/>
                    </a:lnTo>
                    <a:lnTo>
                      <a:pt x="536" y="63"/>
                    </a:lnTo>
                    <a:lnTo>
                      <a:pt x="534" y="63"/>
                    </a:lnTo>
                    <a:lnTo>
                      <a:pt x="536" y="63"/>
                    </a:lnTo>
                    <a:lnTo>
                      <a:pt x="534" y="63"/>
                    </a:lnTo>
                    <a:lnTo>
                      <a:pt x="536" y="63"/>
                    </a:lnTo>
                    <a:lnTo>
                      <a:pt x="534" y="65"/>
                    </a:lnTo>
                    <a:lnTo>
                      <a:pt x="534" y="63"/>
                    </a:lnTo>
                    <a:lnTo>
                      <a:pt x="534" y="62"/>
                    </a:lnTo>
                    <a:lnTo>
                      <a:pt x="532" y="62"/>
                    </a:lnTo>
                    <a:lnTo>
                      <a:pt x="530" y="63"/>
                    </a:lnTo>
                    <a:lnTo>
                      <a:pt x="532" y="63"/>
                    </a:lnTo>
                    <a:lnTo>
                      <a:pt x="532" y="62"/>
                    </a:lnTo>
                    <a:lnTo>
                      <a:pt x="530" y="62"/>
                    </a:lnTo>
                    <a:lnTo>
                      <a:pt x="530" y="63"/>
                    </a:lnTo>
                    <a:lnTo>
                      <a:pt x="530" y="65"/>
                    </a:lnTo>
                    <a:lnTo>
                      <a:pt x="530" y="63"/>
                    </a:lnTo>
                    <a:lnTo>
                      <a:pt x="530" y="65"/>
                    </a:lnTo>
                    <a:lnTo>
                      <a:pt x="528" y="65"/>
                    </a:lnTo>
                    <a:lnTo>
                      <a:pt x="528" y="67"/>
                    </a:lnTo>
                    <a:lnTo>
                      <a:pt x="528" y="69"/>
                    </a:lnTo>
                    <a:lnTo>
                      <a:pt x="526" y="69"/>
                    </a:lnTo>
                    <a:lnTo>
                      <a:pt x="528" y="69"/>
                    </a:lnTo>
                    <a:lnTo>
                      <a:pt x="528" y="67"/>
                    </a:lnTo>
                    <a:lnTo>
                      <a:pt x="528" y="65"/>
                    </a:lnTo>
                    <a:lnTo>
                      <a:pt x="528" y="63"/>
                    </a:lnTo>
                    <a:lnTo>
                      <a:pt x="530" y="62"/>
                    </a:lnTo>
                    <a:lnTo>
                      <a:pt x="530" y="60"/>
                    </a:lnTo>
                    <a:lnTo>
                      <a:pt x="528" y="62"/>
                    </a:lnTo>
                    <a:lnTo>
                      <a:pt x="528" y="63"/>
                    </a:lnTo>
                    <a:lnTo>
                      <a:pt x="528" y="65"/>
                    </a:lnTo>
                    <a:lnTo>
                      <a:pt x="526" y="65"/>
                    </a:lnTo>
                    <a:lnTo>
                      <a:pt x="526" y="67"/>
                    </a:lnTo>
                    <a:lnTo>
                      <a:pt x="526" y="69"/>
                    </a:lnTo>
                    <a:lnTo>
                      <a:pt x="524" y="69"/>
                    </a:lnTo>
                    <a:lnTo>
                      <a:pt x="524" y="67"/>
                    </a:lnTo>
                    <a:lnTo>
                      <a:pt x="526" y="65"/>
                    </a:lnTo>
                    <a:lnTo>
                      <a:pt x="526" y="63"/>
                    </a:lnTo>
                    <a:lnTo>
                      <a:pt x="528" y="63"/>
                    </a:lnTo>
                    <a:lnTo>
                      <a:pt x="528" y="62"/>
                    </a:lnTo>
                    <a:lnTo>
                      <a:pt x="530" y="60"/>
                    </a:lnTo>
                    <a:lnTo>
                      <a:pt x="530" y="58"/>
                    </a:lnTo>
                    <a:lnTo>
                      <a:pt x="532" y="56"/>
                    </a:lnTo>
                    <a:lnTo>
                      <a:pt x="534" y="56"/>
                    </a:lnTo>
                    <a:lnTo>
                      <a:pt x="536" y="54"/>
                    </a:lnTo>
                    <a:lnTo>
                      <a:pt x="536" y="52"/>
                    </a:lnTo>
                    <a:lnTo>
                      <a:pt x="537" y="50"/>
                    </a:lnTo>
                    <a:lnTo>
                      <a:pt x="537" y="48"/>
                    </a:lnTo>
                    <a:lnTo>
                      <a:pt x="536" y="48"/>
                    </a:lnTo>
                    <a:lnTo>
                      <a:pt x="537" y="48"/>
                    </a:lnTo>
                    <a:lnTo>
                      <a:pt x="537" y="46"/>
                    </a:lnTo>
                    <a:lnTo>
                      <a:pt x="539" y="46"/>
                    </a:lnTo>
                    <a:lnTo>
                      <a:pt x="541" y="44"/>
                    </a:lnTo>
                    <a:lnTo>
                      <a:pt x="543" y="42"/>
                    </a:lnTo>
                    <a:lnTo>
                      <a:pt x="547" y="39"/>
                    </a:lnTo>
                    <a:lnTo>
                      <a:pt x="549" y="39"/>
                    </a:lnTo>
                    <a:lnTo>
                      <a:pt x="551" y="39"/>
                    </a:lnTo>
                    <a:lnTo>
                      <a:pt x="549" y="39"/>
                    </a:lnTo>
                    <a:lnTo>
                      <a:pt x="549" y="40"/>
                    </a:lnTo>
                    <a:lnTo>
                      <a:pt x="547" y="40"/>
                    </a:lnTo>
                    <a:lnTo>
                      <a:pt x="549" y="40"/>
                    </a:lnTo>
                    <a:lnTo>
                      <a:pt x="547" y="40"/>
                    </a:lnTo>
                    <a:lnTo>
                      <a:pt x="547" y="42"/>
                    </a:lnTo>
                    <a:lnTo>
                      <a:pt x="545" y="42"/>
                    </a:lnTo>
                    <a:lnTo>
                      <a:pt x="547" y="40"/>
                    </a:lnTo>
                    <a:lnTo>
                      <a:pt x="545" y="42"/>
                    </a:lnTo>
                    <a:lnTo>
                      <a:pt x="545" y="40"/>
                    </a:lnTo>
                    <a:lnTo>
                      <a:pt x="545" y="42"/>
                    </a:lnTo>
                    <a:lnTo>
                      <a:pt x="543" y="42"/>
                    </a:lnTo>
                    <a:lnTo>
                      <a:pt x="545" y="42"/>
                    </a:lnTo>
                    <a:lnTo>
                      <a:pt x="547" y="42"/>
                    </a:lnTo>
                    <a:lnTo>
                      <a:pt x="549" y="42"/>
                    </a:lnTo>
                    <a:lnTo>
                      <a:pt x="551" y="42"/>
                    </a:lnTo>
                    <a:lnTo>
                      <a:pt x="549" y="42"/>
                    </a:lnTo>
                    <a:lnTo>
                      <a:pt x="551" y="42"/>
                    </a:lnTo>
                    <a:lnTo>
                      <a:pt x="549" y="42"/>
                    </a:lnTo>
                    <a:lnTo>
                      <a:pt x="551" y="42"/>
                    </a:lnTo>
                    <a:lnTo>
                      <a:pt x="549" y="42"/>
                    </a:lnTo>
                    <a:lnTo>
                      <a:pt x="551" y="42"/>
                    </a:lnTo>
                    <a:lnTo>
                      <a:pt x="549" y="42"/>
                    </a:lnTo>
                    <a:lnTo>
                      <a:pt x="549" y="44"/>
                    </a:lnTo>
                    <a:lnTo>
                      <a:pt x="547" y="44"/>
                    </a:lnTo>
                    <a:lnTo>
                      <a:pt x="549" y="46"/>
                    </a:lnTo>
                    <a:lnTo>
                      <a:pt x="549" y="48"/>
                    </a:lnTo>
                    <a:lnTo>
                      <a:pt x="551" y="48"/>
                    </a:lnTo>
                    <a:lnTo>
                      <a:pt x="553" y="48"/>
                    </a:lnTo>
                    <a:lnTo>
                      <a:pt x="553" y="50"/>
                    </a:lnTo>
                    <a:lnTo>
                      <a:pt x="555" y="50"/>
                    </a:lnTo>
                    <a:lnTo>
                      <a:pt x="557" y="50"/>
                    </a:lnTo>
                    <a:lnTo>
                      <a:pt x="555" y="50"/>
                    </a:lnTo>
                    <a:lnTo>
                      <a:pt x="555" y="52"/>
                    </a:lnTo>
                    <a:lnTo>
                      <a:pt x="555" y="50"/>
                    </a:lnTo>
                    <a:lnTo>
                      <a:pt x="557" y="50"/>
                    </a:lnTo>
                    <a:lnTo>
                      <a:pt x="557" y="52"/>
                    </a:lnTo>
                    <a:lnTo>
                      <a:pt x="555" y="52"/>
                    </a:lnTo>
                    <a:lnTo>
                      <a:pt x="557" y="52"/>
                    </a:lnTo>
                    <a:lnTo>
                      <a:pt x="557" y="50"/>
                    </a:lnTo>
                    <a:lnTo>
                      <a:pt x="559" y="50"/>
                    </a:lnTo>
                    <a:lnTo>
                      <a:pt x="557" y="50"/>
                    </a:lnTo>
                    <a:lnTo>
                      <a:pt x="557" y="48"/>
                    </a:lnTo>
                    <a:lnTo>
                      <a:pt x="559" y="48"/>
                    </a:lnTo>
                    <a:lnTo>
                      <a:pt x="559" y="46"/>
                    </a:lnTo>
                    <a:lnTo>
                      <a:pt x="557" y="46"/>
                    </a:lnTo>
                    <a:lnTo>
                      <a:pt x="555" y="46"/>
                    </a:lnTo>
                    <a:lnTo>
                      <a:pt x="555" y="44"/>
                    </a:lnTo>
                    <a:lnTo>
                      <a:pt x="553" y="46"/>
                    </a:lnTo>
                    <a:lnTo>
                      <a:pt x="553" y="44"/>
                    </a:lnTo>
                    <a:lnTo>
                      <a:pt x="551" y="44"/>
                    </a:lnTo>
                    <a:lnTo>
                      <a:pt x="551" y="42"/>
                    </a:lnTo>
                    <a:lnTo>
                      <a:pt x="551" y="40"/>
                    </a:lnTo>
                    <a:lnTo>
                      <a:pt x="553" y="40"/>
                    </a:lnTo>
                    <a:lnTo>
                      <a:pt x="553" y="42"/>
                    </a:lnTo>
                    <a:lnTo>
                      <a:pt x="555" y="42"/>
                    </a:lnTo>
                    <a:lnTo>
                      <a:pt x="557" y="42"/>
                    </a:lnTo>
                    <a:lnTo>
                      <a:pt x="557" y="40"/>
                    </a:lnTo>
                    <a:lnTo>
                      <a:pt x="559" y="39"/>
                    </a:lnTo>
                    <a:lnTo>
                      <a:pt x="560" y="39"/>
                    </a:lnTo>
                    <a:lnTo>
                      <a:pt x="560" y="37"/>
                    </a:lnTo>
                    <a:lnTo>
                      <a:pt x="562" y="37"/>
                    </a:lnTo>
                    <a:lnTo>
                      <a:pt x="562" y="35"/>
                    </a:lnTo>
                    <a:lnTo>
                      <a:pt x="562" y="33"/>
                    </a:lnTo>
                    <a:lnTo>
                      <a:pt x="560" y="33"/>
                    </a:lnTo>
                    <a:lnTo>
                      <a:pt x="562" y="33"/>
                    </a:lnTo>
                    <a:lnTo>
                      <a:pt x="564" y="33"/>
                    </a:lnTo>
                    <a:lnTo>
                      <a:pt x="564" y="31"/>
                    </a:lnTo>
                    <a:lnTo>
                      <a:pt x="564" y="29"/>
                    </a:lnTo>
                    <a:lnTo>
                      <a:pt x="564" y="27"/>
                    </a:lnTo>
                    <a:lnTo>
                      <a:pt x="564" y="29"/>
                    </a:lnTo>
                    <a:lnTo>
                      <a:pt x="562" y="29"/>
                    </a:lnTo>
                    <a:lnTo>
                      <a:pt x="560" y="29"/>
                    </a:lnTo>
                    <a:lnTo>
                      <a:pt x="559" y="29"/>
                    </a:lnTo>
                    <a:lnTo>
                      <a:pt x="559" y="31"/>
                    </a:lnTo>
                    <a:lnTo>
                      <a:pt x="557" y="33"/>
                    </a:lnTo>
                    <a:lnTo>
                      <a:pt x="555" y="33"/>
                    </a:lnTo>
                    <a:lnTo>
                      <a:pt x="555" y="35"/>
                    </a:lnTo>
                    <a:lnTo>
                      <a:pt x="557" y="33"/>
                    </a:lnTo>
                    <a:lnTo>
                      <a:pt x="555" y="35"/>
                    </a:lnTo>
                    <a:lnTo>
                      <a:pt x="553" y="37"/>
                    </a:lnTo>
                    <a:lnTo>
                      <a:pt x="551" y="37"/>
                    </a:lnTo>
                    <a:lnTo>
                      <a:pt x="551" y="39"/>
                    </a:lnTo>
                    <a:lnTo>
                      <a:pt x="549" y="39"/>
                    </a:lnTo>
                    <a:lnTo>
                      <a:pt x="551" y="37"/>
                    </a:lnTo>
                    <a:lnTo>
                      <a:pt x="553" y="35"/>
                    </a:lnTo>
                    <a:lnTo>
                      <a:pt x="553" y="33"/>
                    </a:lnTo>
                    <a:lnTo>
                      <a:pt x="555" y="33"/>
                    </a:lnTo>
                    <a:lnTo>
                      <a:pt x="555" y="31"/>
                    </a:lnTo>
                    <a:lnTo>
                      <a:pt x="557" y="31"/>
                    </a:lnTo>
                    <a:lnTo>
                      <a:pt x="557" y="29"/>
                    </a:lnTo>
                    <a:lnTo>
                      <a:pt x="560" y="27"/>
                    </a:lnTo>
                    <a:lnTo>
                      <a:pt x="562" y="27"/>
                    </a:lnTo>
                    <a:lnTo>
                      <a:pt x="566" y="23"/>
                    </a:lnTo>
                    <a:lnTo>
                      <a:pt x="564" y="23"/>
                    </a:lnTo>
                    <a:lnTo>
                      <a:pt x="564" y="25"/>
                    </a:lnTo>
                    <a:lnTo>
                      <a:pt x="562" y="25"/>
                    </a:lnTo>
                    <a:lnTo>
                      <a:pt x="562" y="27"/>
                    </a:lnTo>
                    <a:lnTo>
                      <a:pt x="560" y="27"/>
                    </a:lnTo>
                    <a:lnTo>
                      <a:pt x="562" y="27"/>
                    </a:lnTo>
                    <a:lnTo>
                      <a:pt x="562" y="25"/>
                    </a:lnTo>
                    <a:lnTo>
                      <a:pt x="564" y="25"/>
                    </a:lnTo>
                    <a:lnTo>
                      <a:pt x="566" y="23"/>
                    </a:lnTo>
                    <a:lnTo>
                      <a:pt x="568" y="21"/>
                    </a:lnTo>
                    <a:lnTo>
                      <a:pt x="566" y="21"/>
                    </a:lnTo>
                    <a:lnTo>
                      <a:pt x="566" y="23"/>
                    </a:lnTo>
                    <a:lnTo>
                      <a:pt x="566" y="21"/>
                    </a:lnTo>
                    <a:lnTo>
                      <a:pt x="566" y="23"/>
                    </a:lnTo>
                    <a:lnTo>
                      <a:pt x="568" y="21"/>
                    </a:lnTo>
                    <a:lnTo>
                      <a:pt x="570" y="19"/>
                    </a:lnTo>
                    <a:lnTo>
                      <a:pt x="568" y="19"/>
                    </a:lnTo>
                    <a:lnTo>
                      <a:pt x="570" y="19"/>
                    </a:lnTo>
                    <a:lnTo>
                      <a:pt x="570" y="17"/>
                    </a:lnTo>
                    <a:lnTo>
                      <a:pt x="568" y="17"/>
                    </a:lnTo>
                    <a:lnTo>
                      <a:pt x="570" y="17"/>
                    </a:lnTo>
                    <a:lnTo>
                      <a:pt x="572" y="15"/>
                    </a:lnTo>
                    <a:lnTo>
                      <a:pt x="572" y="14"/>
                    </a:lnTo>
                    <a:lnTo>
                      <a:pt x="574" y="14"/>
                    </a:lnTo>
                    <a:lnTo>
                      <a:pt x="576" y="14"/>
                    </a:lnTo>
                    <a:lnTo>
                      <a:pt x="576" y="15"/>
                    </a:lnTo>
                    <a:lnTo>
                      <a:pt x="578" y="15"/>
                    </a:lnTo>
                    <a:lnTo>
                      <a:pt x="578" y="17"/>
                    </a:lnTo>
                    <a:lnTo>
                      <a:pt x="580" y="17"/>
                    </a:lnTo>
                    <a:lnTo>
                      <a:pt x="580" y="15"/>
                    </a:lnTo>
                    <a:lnTo>
                      <a:pt x="582" y="15"/>
                    </a:lnTo>
                    <a:lnTo>
                      <a:pt x="584" y="15"/>
                    </a:lnTo>
                    <a:lnTo>
                      <a:pt x="585" y="15"/>
                    </a:lnTo>
                    <a:lnTo>
                      <a:pt x="587" y="14"/>
                    </a:lnTo>
                    <a:lnTo>
                      <a:pt x="589" y="14"/>
                    </a:lnTo>
                    <a:lnTo>
                      <a:pt x="589" y="15"/>
                    </a:lnTo>
                    <a:lnTo>
                      <a:pt x="591" y="15"/>
                    </a:lnTo>
                    <a:lnTo>
                      <a:pt x="593" y="15"/>
                    </a:lnTo>
                    <a:lnTo>
                      <a:pt x="595" y="15"/>
                    </a:lnTo>
                    <a:lnTo>
                      <a:pt x="597" y="15"/>
                    </a:lnTo>
                    <a:lnTo>
                      <a:pt x="599" y="15"/>
                    </a:lnTo>
                    <a:lnTo>
                      <a:pt x="601" y="15"/>
                    </a:lnTo>
                    <a:lnTo>
                      <a:pt x="603" y="14"/>
                    </a:lnTo>
                    <a:lnTo>
                      <a:pt x="603" y="15"/>
                    </a:lnTo>
                    <a:lnTo>
                      <a:pt x="603" y="17"/>
                    </a:lnTo>
                    <a:lnTo>
                      <a:pt x="603" y="19"/>
                    </a:lnTo>
                    <a:lnTo>
                      <a:pt x="605" y="19"/>
                    </a:lnTo>
                    <a:lnTo>
                      <a:pt x="603" y="19"/>
                    </a:lnTo>
                    <a:lnTo>
                      <a:pt x="605" y="19"/>
                    </a:lnTo>
                    <a:lnTo>
                      <a:pt x="605" y="21"/>
                    </a:lnTo>
                    <a:lnTo>
                      <a:pt x="603" y="19"/>
                    </a:lnTo>
                    <a:lnTo>
                      <a:pt x="603" y="21"/>
                    </a:lnTo>
                    <a:lnTo>
                      <a:pt x="603" y="19"/>
                    </a:lnTo>
                    <a:lnTo>
                      <a:pt x="603" y="21"/>
                    </a:lnTo>
                    <a:lnTo>
                      <a:pt x="601" y="21"/>
                    </a:lnTo>
                    <a:lnTo>
                      <a:pt x="601" y="23"/>
                    </a:lnTo>
                    <a:lnTo>
                      <a:pt x="601" y="25"/>
                    </a:lnTo>
                    <a:lnTo>
                      <a:pt x="603" y="25"/>
                    </a:lnTo>
                    <a:lnTo>
                      <a:pt x="603" y="27"/>
                    </a:lnTo>
                    <a:lnTo>
                      <a:pt x="603" y="29"/>
                    </a:lnTo>
                    <a:lnTo>
                      <a:pt x="605" y="29"/>
                    </a:lnTo>
                    <a:lnTo>
                      <a:pt x="605" y="31"/>
                    </a:lnTo>
                    <a:lnTo>
                      <a:pt x="605" y="29"/>
                    </a:lnTo>
                    <a:lnTo>
                      <a:pt x="603" y="29"/>
                    </a:lnTo>
                    <a:lnTo>
                      <a:pt x="605" y="29"/>
                    </a:lnTo>
                    <a:lnTo>
                      <a:pt x="603" y="29"/>
                    </a:lnTo>
                    <a:lnTo>
                      <a:pt x="603" y="27"/>
                    </a:lnTo>
                    <a:lnTo>
                      <a:pt x="603" y="25"/>
                    </a:lnTo>
                    <a:lnTo>
                      <a:pt x="601" y="25"/>
                    </a:lnTo>
                    <a:lnTo>
                      <a:pt x="601" y="23"/>
                    </a:lnTo>
                    <a:lnTo>
                      <a:pt x="601" y="21"/>
                    </a:lnTo>
                    <a:lnTo>
                      <a:pt x="603" y="21"/>
                    </a:lnTo>
                    <a:lnTo>
                      <a:pt x="601" y="21"/>
                    </a:lnTo>
                    <a:lnTo>
                      <a:pt x="603" y="21"/>
                    </a:lnTo>
                    <a:lnTo>
                      <a:pt x="603" y="19"/>
                    </a:lnTo>
                    <a:lnTo>
                      <a:pt x="603" y="21"/>
                    </a:lnTo>
                    <a:lnTo>
                      <a:pt x="605" y="21"/>
                    </a:lnTo>
                    <a:lnTo>
                      <a:pt x="605" y="19"/>
                    </a:lnTo>
                    <a:lnTo>
                      <a:pt x="603" y="19"/>
                    </a:lnTo>
                    <a:lnTo>
                      <a:pt x="603" y="17"/>
                    </a:lnTo>
                    <a:lnTo>
                      <a:pt x="603" y="15"/>
                    </a:lnTo>
                    <a:lnTo>
                      <a:pt x="603" y="14"/>
                    </a:lnTo>
                    <a:lnTo>
                      <a:pt x="605" y="14"/>
                    </a:lnTo>
                    <a:lnTo>
                      <a:pt x="607" y="14"/>
                    </a:lnTo>
                    <a:lnTo>
                      <a:pt x="607" y="12"/>
                    </a:lnTo>
                    <a:lnTo>
                      <a:pt x="609" y="12"/>
                    </a:lnTo>
                    <a:lnTo>
                      <a:pt x="610" y="12"/>
                    </a:lnTo>
                    <a:lnTo>
                      <a:pt x="612" y="12"/>
                    </a:lnTo>
                    <a:lnTo>
                      <a:pt x="614" y="12"/>
                    </a:lnTo>
                    <a:lnTo>
                      <a:pt x="616" y="12"/>
                    </a:lnTo>
                    <a:lnTo>
                      <a:pt x="618" y="12"/>
                    </a:lnTo>
                    <a:lnTo>
                      <a:pt x="620" y="12"/>
                    </a:lnTo>
                    <a:lnTo>
                      <a:pt x="622" y="10"/>
                    </a:lnTo>
                    <a:lnTo>
                      <a:pt x="622" y="12"/>
                    </a:lnTo>
                    <a:lnTo>
                      <a:pt x="622" y="10"/>
                    </a:lnTo>
                    <a:lnTo>
                      <a:pt x="624" y="10"/>
                    </a:lnTo>
                    <a:lnTo>
                      <a:pt x="626" y="8"/>
                    </a:lnTo>
                    <a:lnTo>
                      <a:pt x="624" y="10"/>
                    </a:lnTo>
                    <a:lnTo>
                      <a:pt x="626" y="10"/>
                    </a:lnTo>
                    <a:lnTo>
                      <a:pt x="626" y="8"/>
                    </a:lnTo>
                    <a:lnTo>
                      <a:pt x="626" y="10"/>
                    </a:lnTo>
                    <a:lnTo>
                      <a:pt x="624" y="10"/>
                    </a:lnTo>
                    <a:lnTo>
                      <a:pt x="626" y="10"/>
                    </a:lnTo>
                    <a:lnTo>
                      <a:pt x="626" y="12"/>
                    </a:lnTo>
                    <a:lnTo>
                      <a:pt x="624" y="12"/>
                    </a:lnTo>
                    <a:lnTo>
                      <a:pt x="626" y="12"/>
                    </a:lnTo>
                    <a:lnTo>
                      <a:pt x="624" y="12"/>
                    </a:lnTo>
                    <a:lnTo>
                      <a:pt x="624" y="14"/>
                    </a:lnTo>
                    <a:lnTo>
                      <a:pt x="626" y="14"/>
                    </a:lnTo>
                    <a:lnTo>
                      <a:pt x="628" y="14"/>
                    </a:lnTo>
                    <a:lnTo>
                      <a:pt x="626" y="15"/>
                    </a:lnTo>
                    <a:lnTo>
                      <a:pt x="628" y="15"/>
                    </a:lnTo>
                    <a:lnTo>
                      <a:pt x="628" y="14"/>
                    </a:lnTo>
                    <a:lnTo>
                      <a:pt x="628" y="15"/>
                    </a:lnTo>
                    <a:lnTo>
                      <a:pt x="626" y="15"/>
                    </a:lnTo>
                    <a:lnTo>
                      <a:pt x="624" y="17"/>
                    </a:lnTo>
                    <a:lnTo>
                      <a:pt x="624" y="15"/>
                    </a:lnTo>
                    <a:lnTo>
                      <a:pt x="626" y="15"/>
                    </a:lnTo>
                    <a:lnTo>
                      <a:pt x="624" y="17"/>
                    </a:lnTo>
                    <a:lnTo>
                      <a:pt x="624" y="19"/>
                    </a:lnTo>
                    <a:lnTo>
                      <a:pt x="622" y="19"/>
                    </a:lnTo>
                    <a:lnTo>
                      <a:pt x="620" y="19"/>
                    </a:lnTo>
                    <a:lnTo>
                      <a:pt x="622" y="19"/>
                    </a:lnTo>
                    <a:lnTo>
                      <a:pt x="624" y="19"/>
                    </a:lnTo>
                    <a:lnTo>
                      <a:pt x="624" y="17"/>
                    </a:lnTo>
                    <a:lnTo>
                      <a:pt x="626" y="17"/>
                    </a:lnTo>
                    <a:lnTo>
                      <a:pt x="626" y="15"/>
                    </a:lnTo>
                    <a:lnTo>
                      <a:pt x="626" y="17"/>
                    </a:lnTo>
                    <a:lnTo>
                      <a:pt x="626" y="15"/>
                    </a:lnTo>
                    <a:lnTo>
                      <a:pt x="626" y="17"/>
                    </a:lnTo>
                    <a:lnTo>
                      <a:pt x="626" y="15"/>
                    </a:lnTo>
                    <a:lnTo>
                      <a:pt x="626" y="17"/>
                    </a:lnTo>
                    <a:lnTo>
                      <a:pt x="628" y="17"/>
                    </a:lnTo>
                    <a:lnTo>
                      <a:pt x="626" y="17"/>
                    </a:lnTo>
                    <a:lnTo>
                      <a:pt x="628" y="17"/>
                    </a:lnTo>
                    <a:lnTo>
                      <a:pt x="628" y="15"/>
                    </a:lnTo>
                    <a:lnTo>
                      <a:pt x="628" y="14"/>
                    </a:lnTo>
                    <a:lnTo>
                      <a:pt x="628" y="12"/>
                    </a:lnTo>
                    <a:lnTo>
                      <a:pt x="626" y="12"/>
                    </a:lnTo>
                    <a:lnTo>
                      <a:pt x="628" y="10"/>
                    </a:lnTo>
                    <a:lnTo>
                      <a:pt x="626" y="10"/>
                    </a:lnTo>
                    <a:lnTo>
                      <a:pt x="626" y="8"/>
                    </a:lnTo>
                    <a:lnTo>
                      <a:pt x="628" y="8"/>
                    </a:lnTo>
                    <a:lnTo>
                      <a:pt x="628" y="10"/>
                    </a:lnTo>
                    <a:lnTo>
                      <a:pt x="628" y="8"/>
                    </a:lnTo>
                    <a:lnTo>
                      <a:pt x="628" y="6"/>
                    </a:lnTo>
                    <a:lnTo>
                      <a:pt x="630" y="6"/>
                    </a:lnTo>
                    <a:lnTo>
                      <a:pt x="632" y="6"/>
                    </a:lnTo>
                    <a:lnTo>
                      <a:pt x="633" y="6"/>
                    </a:lnTo>
                    <a:lnTo>
                      <a:pt x="635" y="6"/>
                    </a:lnTo>
                    <a:lnTo>
                      <a:pt x="635" y="8"/>
                    </a:lnTo>
                    <a:lnTo>
                      <a:pt x="635" y="10"/>
                    </a:lnTo>
                    <a:lnTo>
                      <a:pt x="633" y="10"/>
                    </a:lnTo>
                    <a:lnTo>
                      <a:pt x="635" y="10"/>
                    </a:lnTo>
                    <a:lnTo>
                      <a:pt x="633" y="10"/>
                    </a:lnTo>
                    <a:lnTo>
                      <a:pt x="633" y="12"/>
                    </a:lnTo>
                    <a:lnTo>
                      <a:pt x="632" y="12"/>
                    </a:lnTo>
                    <a:lnTo>
                      <a:pt x="633" y="12"/>
                    </a:lnTo>
                    <a:lnTo>
                      <a:pt x="635" y="12"/>
                    </a:lnTo>
                    <a:lnTo>
                      <a:pt x="635" y="10"/>
                    </a:lnTo>
                    <a:lnTo>
                      <a:pt x="637" y="10"/>
                    </a:lnTo>
                    <a:lnTo>
                      <a:pt x="637" y="8"/>
                    </a:lnTo>
                    <a:lnTo>
                      <a:pt x="637" y="10"/>
                    </a:lnTo>
                    <a:lnTo>
                      <a:pt x="637" y="8"/>
                    </a:lnTo>
                    <a:lnTo>
                      <a:pt x="637" y="6"/>
                    </a:lnTo>
                    <a:lnTo>
                      <a:pt x="639" y="6"/>
                    </a:lnTo>
                    <a:lnTo>
                      <a:pt x="639" y="4"/>
                    </a:lnTo>
                    <a:lnTo>
                      <a:pt x="641" y="4"/>
                    </a:lnTo>
                    <a:lnTo>
                      <a:pt x="643" y="4"/>
                    </a:lnTo>
                    <a:lnTo>
                      <a:pt x="641" y="4"/>
                    </a:lnTo>
                    <a:lnTo>
                      <a:pt x="643" y="4"/>
                    </a:lnTo>
                    <a:lnTo>
                      <a:pt x="641" y="2"/>
                    </a:lnTo>
                    <a:lnTo>
                      <a:pt x="643" y="2"/>
                    </a:lnTo>
                    <a:lnTo>
                      <a:pt x="643" y="0"/>
                    </a:lnTo>
                    <a:lnTo>
                      <a:pt x="645" y="0"/>
                    </a:lnTo>
                    <a:lnTo>
                      <a:pt x="647" y="0"/>
                    </a:lnTo>
                    <a:lnTo>
                      <a:pt x="649" y="0"/>
                    </a:lnTo>
                    <a:lnTo>
                      <a:pt x="649" y="2"/>
                    </a:lnTo>
                    <a:lnTo>
                      <a:pt x="649" y="4"/>
                    </a:lnTo>
                    <a:lnTo>
                      <a:pt x="651" y="4"/>
                    </a:lnTo>
                    <a:lnTo>
                      <a:pt x="649" y="4"/>
                    </a:lnTo>
                    <a:lnTo>
                      <a:pt x="651" y="4"/>
                    </a:lnTo>
                    <a:lnTo>
                      <a:pt x="651" y="6"/>
                    </a:lnTo>
                    <a:lnTo>
                      <a:pt x="649" y="8"/>
                    </a:lnTo>
                    <a:lnTo>
                      <a:pt x="647" y="8"/>
                    </a:lnTo>
                    <a:lnTo>
                      <a:pt x="645" y="8"/>
                    </a:lnTo>
                    <a:lnTo>
                      <a:pt x="645" y="10"/>
                    </a:lnTo>
                    <a:lnTo>
                      <a:pt x="645" y="12"/>
                    </a:lnTo>
                    <a:lnTo>
                      <a:pt x="645" y="14"/>
                    </a:lnTo>
                    <a:lnTo>
                      <a:pt x="645" y="15"/>
                    </a:lnTo>
                    <a:lnTo>
                      <a:pt x="643" y="15"/>
                    </a:lnTo>
                    <a:lnTo>
                      <a:pt x="645" y="15"/>
                    </a:lnTo>
                    <a:lnTo>
                      <a:pt x="645" y="17"/>
                    </a:lnTo>
                    <a:lnTo>
                      <a:pt x="645" y="19"/>
                    </a:lnTo>
                    <a:lnTo>
                      <a:pt x="645" y="21"/>
                    </a:lnTo>
                    <a:lnTo>
                      <a:pt x="645" y="23"/>
                    </a:lnTo>
                    <a:lnTo>
                      <a:pt x="645" y="25"/>
                    </a:lnTo>
                    <a:lnTo>
                      <a:pt x="645" y="27"/>
                    </a:lnTo>
                    <a:lnTo>
                      <a:pt x="647" y="27"/>
                    </a:lnTo>
                    <a:lnTo>
                      <a:pt x="647" y="29"/>
                    </a:lnTo>
                    <a:lnTo>
                      <a:pt x="647" y="31"/>
                    </a:lnTo>
                    <a:lnTo>
                      <a:pt x="647" y="29"/>
                    </a:lnTo>
                    <a:lnTo>
                      <a:pt x="647" y="27"/>
                    </a:lnTo>
                    <a:lnTo>
                      <a:pt x="649" y="27"/>
                    </a:lnTo>
                    <a:lnTo>
                      <a:pt x="649" y="29"/>
                    </a:lnTo>
                    <a:lnTo>
                      <a:pt x="651" y="29"/>
                    </a:lnTo>
                    <a:lnTo>
                      <a:pt x="651" y="31"/>
                    </a:lnTo>
                    <a:lnTo>
                      <a:pt x="653" y="31"/>
                    </a:lnTo>
                    <a:lnTo>
                      <a:pt x="653" y="33"/>
                    </a:lnTo>
                    <a:lnTo>
                      <a:pt x="655" y="33"/>
                    </a:lnTo>
                    <a:lnTo>
                      <a:pt x="655" y="35"/>
                    </a:lnTo>
                    <a:lnTo>
                      <a:pt x="657" y="35"/>
                    </a:lnTo>
                    <a:lnTo>
                      <a:pt x="657" y="33"/>
                    </a:lnTo>
                    <a:lnTo>
                      <a:pt x="657" y="35"/>
                    </a:lnTo>
                    <a:lnTo>
                      <a:pt x="658" y="37"/>
                    </a:lnTo>
                    <a:lnTo>
                      <a:pt x="658" y="39"/>
                    </a:lnTo>
                    <a:lnTo>
                      <a:pt x="658" y="40"/>
                    </a:lnTo>
                    <a:lnTo>
                      <a:pt x="657" y="40"/>
                    </a:lnTo>
                    <a:lnTo>
                      <a:pt x="658" y="40"/>
                    </a:lnTo>
                    <a:lnTo>
                      <a:pt x="657" y="40"/>
                    </a:lnTo>
                    <a:lnTo>
                      <a:pt x="657" y="42"/>
                    </a:lnTo>
                    <a:lnTo>
                      <a:pt x="655" y="42"/>
                    </a:lnTo>
                    <a:lnTo>
                      <a:pt x="653" y="42"/>
                    </a:lnTo>
                    <a:lnTo>
                      <a:pt x="651" y="42"/>
                    </a:lnTo>
                    <a:lnTo>
                      <a:pt x="651" y="44"/>
                    </a:lnTo>
                    <a:lnTo>
                      <a:pt x="649" y="44"/>
                    </a:lnTo>
                    <a:lnTo>
                      <a:pt x="647" y="46"/>
                    </a:lnTo>
                    <a:lnTo>
                      <a:pt x="645" y="46"/>
                    </a:lnTo>
                    <a:lnTo>
                      <a:pt x="645" y="48"/>
                    </a:lnTo>
                    <a:lnTo>
                      <a:pt x="645" y="46"/>
                    </a:lnTo>
                    <a:lnTo>
                      <a:pt x="643" y="46"/>
                    </a:lnTo>
                    <a:lnTo>
                      <a:pt x="641" y="46"/>
                    </a:lnTo>
                    <a:lnTo>
                      <a:pt x="639" y="46"/>
                    </a:lnTo>
                    <a:lnTo>
                      <a:pt x="637" y="46"/>
                    </a:lnTo>
                    <a:lnTo>
                      <a:pt x="637" y="48"/>
                    </a:lnTo>
                    <a:lnTo>
                      <a:pt x="635" y="48"/>
                    </a:lnTo>
                    <a:lnTo>
                      <a:pt x="633" y="48"/>
                    </a:lnTo>
                    <a:lnTo>
                      <a:pt x="633" y="50"/>
                    </a:lnTo>
                    <a:lnTo>
                      <a:pt x="633" y="48"/>
                    </a:lnTo>
                    <a:lnTo>
                      <a:pt x="633" y="50"/>
                    </a:lnTo>
                    <a:lnTo>
                      <a:pt x="633" y="48"/>
                    </a:lnTo>
                    <a:lnTo>
                      <a:pt x="633" y="50"/>
                    </a:lnTo>
                    <a:lnTo>
                      <a:pt x="633" y="48"/>
                    </a:lnTo>
                    <a:lnTo>
                      <a:pt x="635" y="48"/>
                    </a:lnTo>
                    <a:lnTo>
                      <a:pt x="635" y="50"/>
                    </a:lnTo>
                    <a:lnTo>
                      <a:pt x="637" y="50"/>
                    </a:lnTo>
                    <a:lnTo>
                      <a:pt x="639" y="50"/>
                    </a:lnTo>
                    <a:lnTo>
                      <a:pt x="641" y="50"/>
                    </a:lnTo>
                    <a:lnTo>
                      <a:pt x="641" y="48"/>
                    </a:lnTo>
                    <a:lnTo>
                      <a:pt x="643" y="48"/>
                    </a:lnTo>
                    <a:lnTo>
                      <a:pt x="641" y="50"/>
                    </a:lnTo>
                    <a:lnTo>
                      <a:pt x="643" y="50"/>
                    </a:lnTo>
                    <a:lnTo>
                      <a:pt x="645" y="50"/>
                    </a:lnTo>
                    <a:lnTo>
                      <a:pt x="647" y="50"/>
                    </a:lnTo>
                    <a:lnTo>
                      <a:pt x="647" y="48"/>
                    </a:lnTo>
                    <a:lnTo>
                      <a:pt x="649" y="48"/>
                    </a:lnTo>
                    <a:lnTo>
                      <a:pt x="651" y="48"/>
                    </a:lnTo>
                    <a:lnTo>
                      <a:pt x="653" y="48"/>
                    </a:lnTo>
                    <a:lnTo>
                      <a:pt x="655" y="48"/>
                    </a:lnTo>
                    <a:lnTo>
                      <a:pt x="657" y="50"/>
                    </a:lnTo>
                    <a:lnTo>
                      <a:pt x="658" y="50"/>
                    </a:lnTo>
                    <a:lnTo>
                      <a:pt x="658" y="52"/>
                    </a:lnTo>
                    <a:lnTo>
                      <a:pt x="658" y="54"/>
                    </a:lnTo>
                    <a:lnTo>
                      <a:pt x="657" y="54"/>
                    </a:lnTo>
                    <a:lnTo>
                      <a:pt x="657" y="56"/>
                    </a:lnTo>
                    <a:lnTo>
                      <a:pt x="657" y="54"/>
                    </a:lnTo>
                    <a:lnTo>
                      <a:pt x="655" y="56"/>
                    </a:lnTo>
                    <a:lnTo>
                      <a:pt x="655" y="54"/>
                    </a:lnTo>
                    <a:lnTo>
                      <a:pt x="655" y="56"/>
                    </a:lnTo>
                    <a:lnTo>
                      <a:pt x="653" y="56"/>
                    </a:lnTo>
                    <a:lnTo>
                      <a:pt x="653" y="54"/>
                    </a:lnTo>
                    <a:lnTo>
                      <a:pt x="653" y="56"/>
                    </a:lnTo>
                    <a:lnTo>
                      <a:pt x="651" y="56"/>
                    </a:lnTo>
                    <a:lnTo>
                      <a:pt x="651" y="58"/>
                    </a:lnTo>
                    <a:lnTo>
                      <a:pt x="651" y="60"/>
                    </a:lnTo>
                    <a:lnTo>
                      <a:pt x="649" y="60"/>
                    </a:lnTo>
                    <a:lnTo>
                      <a:pt x="649" y="62"/>
                    </a:lnTo>
                    <a:lnTo>
                      <a:pt x="649" y="63"/>
                    </a:lnTo>
                    <a:lnTo>
                      <a:pt x="647" y="63"/>
                    </a:lnTo>
                    <a:lnTo>
                      <a:pt x="647" y="65"/>
                    </a:lnTo>
                    <a:lnTo>
                      <a:pt x="647" y="67"/>
                    </a:lnTo>
                    <a:lnTo>
                      <a:pt x="645" y="71"/>
                    </a:lnTo>
                    <a:lnTo>
                      <a:pt x="645" y="73"/>
                    </a:lnTo>
                    <a:lnTo>
                      <a:pt x="643" y="73"/>
                    </a:lnTo>
                    <a:lnTo>
                      <a:pt x="643" y="75"/>
                    </a:lnTo>
                    <a:lnTo>
                      <a:pt x="643" y="73"/>
                    </a:lnTo>
                    <a:lnTo>
                      <a:pt x="645" y="73"/>
                    </a:lnTo>
                    <a:lnTo>
                      <a:pt x="645" y="71"/>
                    </a:lnTo>
                    <a:lnTo>
                      <a:pt x="645" y="69"/>
                    </a:lnTo>
                    <a:lnTo>
                      <a:pt x="647" y="69"/>
                    </a:lnTo>
                    <a:lnTo>
                      <a:pt x="647" y="67"/>
                    </a:lnTo>
                    <a:lnTo>
                      <a:pt x="645" y="67"/>
                    </a:lnTo>
                    <a:lnTo>
                      <a:pt x="643" y="67"/>
                    </a:lnTo>
                    <a:lnTo>
                      <a:pt x="643" y="69"/>
                    </a:lnTo>
                    <a:lnTo>
                      <a:pt x="643" y="71"/>
                    </a:lnTo>
                    <a:lnTo>
                      <a:pt x="641" y="71"/>
                    </a:lnTo>
                    <a:lnTo>
                      <a:pt x="639" y="71"/>
                    </a:lnTo>
                    <a:lnTo>
                      <a:pt x="637" y="73"/>
                    </a:lnTo>
                    <a:lnTo>
                      <a:pt x="637" y="75"/>
                    </a:lnTo>
                    <a:lnTo>
                      <a:pt x="635" y="75"/>
                    </a:lnTo>
                    <a:lnTo>
                      <a:pt x="635" y="77"/>
                    </a:lnTo>
                    <a:lnTo>
                      <a:pt x="635" y="75"/>
                    </a:lnTo>
                    <a:lnTo>
                      <a:pt x="635" y="73"/>
                    </a:lnTo>
                    <a:lnTo>
                      <a:pt x="633" y="73"/>
                    </a:lnTo>
                    <a:lnTo>
                      <a:pt x="633" y="75"/>
                    </a:lnTo>
                    <a:lnTo>
                      <a:pt x="633" y="73"/>
                    </a:lnTo>
                    <a:lnTo>
                      <a:pt x="633" y="75"/>
                    </a:lnTo>
                    <a:lnTo>
                      <a:pt x="632" y="75"/>
                    </a:lnTo>
                    <a:lnTo>
                      <a:pt x="630" y="73"/>
                    </a:lnTo>
                    <a:lnTo>
                      <a:pt x="632" y="73"/>
                    </a:lnTo>
                    <a:lnTo>
                      <a:pt x="630" y="73"/>
                    </a:lnTo>
                    <a:lnTo>
                      <a:pt x="628" y="73"/>
                    </a:lnTo>
                    <a:lnTo>
                      <a:pt x="630" y="73"/>
                    </a:lnTo>
                    <a:lnTo>
                      <a:pt x="628" y="73"/>
                    </a:lnTo>
                    <a:lnTo>
                      <a:pt x="630" y="73"/>
                    </a:lnTo>
                    <a:lnTo>
                      <a:pt x="628" y="73"/>
                    </a:lnTo>
                    <a:lnTo>
                      <a:pt x="628" y="75"/>
                    </a:lnTo>
                    <a:lnTo>
                      <a:pt x="628" y="73"/>
                    </a:lnTo>
                    <a:lnTo>
                      <a:pt x="628" y="75"/>
                    </a:lnTo>
                    <a:lnTo>
                      <a:pt x="628" y="73"/>
                    </a:lnTo>
                    <a:lnTo>
                      <a:pt x="626" y="75"/>
                    </a:lnTo>
                    <a:lnTo>
                      <a:pt x="626" y="77"/>
                    </a:lnTo>
                    <a:lnTo>
                      <a:pt x="624" y="77"/>
                    </a:lnTo>
                    <a:lnTo>
                      <a:pt x="626" y="77"/>
                    </a:lnTo>
                    <a:lnTo>
                      <a:pt x="624" y="79"/>
                    </a:lnTo>
                    <a:lnTo>
                      <a:pt x="626" y="79"/>
                    </a:lnTo>
                    <a:lnTo>
                      <a:pt x="624" y="79"/>
                    </a:lnTo>
                    <a:lnTo>
                      <a:pt x="624" y="77"/>
                    </a:lnTo>
                    <a:lnTo>
                      <a:pt x="624" y="79"/>
                    </a:lnTo>
                    <a:lnTo>
                      <a:pt x="622" y="79"/>
                    </a:lnTo>
                    <a:lnTo>
                      <a:pt x="622" y="81"/>
                    </a:lnTo>
                    <a:lnTo>
                      <a:pt x="622" y="83"/>
                    </a:lnTo>
                    <a:lnTo>
                      <a:pt x="620" y="83"/>
                    </a:lnTo>
                    <a:lnTo>
                      <a:pt x="622" y="83"/>
                    </a:lnTo>
                    <a:lnTo>
                      <a:pt x="622" y="81"/>
                    </a:lnTo>
                    <a:lnTo>
                      <a:pt x="624" y="81"/>
                    </a:lnTo>
                    <a:lnTo>
                      <a:pt x="626" y="81"/>
                    </a:lnTo>
                    <a:lnTo>
                      <a:pt x="626" y="83"/>
                    </a:lnTo>
                    <a:lnTo>
                      <a:pt x="626" y="81"/>
                    </a:lnTo>
                    <a:lnTo>
                      <a:pt x="626" y="83"/>
                    </a:lnTo>
                    <a:lnTo>
                      <a:pt x="626" y="81"/>
                    </a:lnTo>
                    <a:lnTo>
                      <a:pt x="626" y="83"/>
                    </a:lnTo>
                    <a:lnTo>
                      <a:pt x="626" y="81"/>
                    </a:lnTo>
                    <a:lnTo>
                      <a:pt x="628" y="81"/>
                    </a:lnTo>
                    <a:lnTo>
                      <a:pt x="628" y="79"/>
                    </a:lnTo>
                    <a:lnTo>
                      <a:pt x="630" y="79"/>
                    </a:lnTo>
                    <a:lnTo>
                      <a:pt x="632" y="79"/>
                    </a:lnTo>
                    <a:lnTo>
                      <a:pt x="632" y="77"/>
                    </a:lnTo>
                    <a:lnTo>
                      <a:pt x="633" y="77"/>
                    </a:lnTo>
                    <a:lnTo>
                      <a:pt x="633" y="79"/>
                    </a:lnTo>
                    <a:lnTo>
                      <a:pt x="635" y="79"/>
                    </a:lnTo>
                    <a:lnTo>
                      <a:pt x="637" y="79"/>
                    </a:lnTo>
                    <a:lnTo>
                      <a:pt x="639" y="79"/>
                    </a:lnTo>
                    <a:lnTo>
                      <a:pt x="639" y="81"/>
                    </a:lnTo>
                    <a:lnTo>
                      <a:pt x="637" y="81"/>
                    </a:lnTo>
                    <a:lnTo>
                      <a:pt x="637" y="83"/>
                    </a:lnTo>
                    <a:lnTo>
                      <a:pt x="639" y="83"/>
                    </a:lnTo>
                    <a:lnTo>
                      <a:pt x="637" y="83"/>
                    </a:lnTo>
                    <a:lnTo>
                      <a:pt x="639" y="83"/>
                    </a:lnTo>
                    <a:lnTo>
                      <a:pt x="641" y="83"/>
                    </a:lnTo>
                    <a:lnTo>
                      <a:pt x="641" y="81"/>
                    </a:lnTo>
                    <a:lnTo>
                      <a:pt x="643" y="79"/>
                    </a:lnTo>
                    <a:lnTo>
                      <a:pt x="643" y="77"/>
                    </a:lnTo>
                    <a:lnTo>
                      <a:pt x="641" y="75"/>
                    </a:lnTo>
                    <a:lnTo>
                      <a:pt x="643" y="75"/>
                    </a:lnTo>
                    <a:lnTo>
                      <a:pt x="643" y="77"/>
                    </a:lnTo>
                    <a:lnTo>
                      <a:pt x="643" y="79"/>
                    </a:lnTo>
                    <a:lnTo>
                      <a:pt x="645" y="79"/>
                    </a:lnTo>
                    <a:lnTo>
                      <a:pt x="645" y="81"/>
                    </a:lnTo>
                    <a:lnTo>
                      <a:pt x="647" y="83"/>
                    </a:lnTo>
                    <a:lnTo>
                      <a:pt x="649" y="85"/>
                    </a:lnTo>
                    <a:lnTo>
                      <a:pt x="651" y="85"/>
                    </a:lnTo>
                    <a:lnTo>
                      <a:pt x="653" y="85"/>
                    </a:lnTo>
                    <a:lnTo>
                      <a:pt x="651" y="85"/>
                    </a:lnTo>
                    <a:lnTo>
                      <a:pt x="651" y="87"/>
                    </a:lnTo>
                    <a:lnTo>
                      <a:pt x="653" y="87"/>
                    </a:lnTo>
                    <a:lnTo>
                      <a:pt x="655" y="87"/>
                    </a:lnTo>
                    <a:lnTo>
                      <a:pt x="655" y="88"/>
                    </a:lnTo>
                    <a:lnTo>
                      <a:pt x="653" y="87"/>
                    </a:lnTo>
                    <a:lnTo>
                      <a:pt x="653" y="88"/>
                    </a:lnTo>
                    <a:lnTo>
                      <a:pt x="653" y="87"/>
                    </a:lnTo>
                    <a:lnTo>
                      <a:pt x="651" y="87"/>
                    </a:lnTo>
                    <a:lnTo>
                      <a:pt x="649" y="88"/>
                    </a:lnTo>
                    <a:lnTo>
                      <a:pt x="649" y="90"/>
                    </a:lnTo>
                    <a:lnTo>
                      <a:pt x="647" y="92"/>
                    </a:lnTo>
                    <a:lnTo>
                      <a:pt x="647" y="94"/>
                    </a:lnTo>
                    <a:lnTo>
                      <a:pt x="645" y="94"/>
                    </a:lnTo>
                    <a:lnTo>
                      <a:pt x="645" y="96"/>
                    </a:lnTo>
                    <a:lnTo>
                      <a:pt x="645" y="98"/>
                    </a:lnTo>
                    <a:lnTo>
                      <a:pt x="645" y="96"/>
                    </a:lnTo>
                    <a:lnTo>
                      <a:pt x="645" y="98"/>
                    </a:lnTo>
                    <a:lnTo>
                      <a:pt x="647" y="98"/>
                    </a:lnTo>
                    <a:lnTo>
                      <a:pt x="647" y="96"/>
                    </a:lnTo>
                    <a:lnTo>
                      <a:pt x="649" y="96"/>
                    </a:lnTo>
                    <a:lnTo>
                      <a:pt x="649" y="94"/>
                    </a:lnTo>
                    <a:lnTo>
                      <a:pt x="649" y="92"/>
                    </a:lnTo>
                    <a:lnTo>
                      <a:pt x="651" y="92"/>
                    </a:lnTo>
                    <a:lnTo>
                      <a:pt x="653" y="90"/>
                    </a:lnTo>
                    <a:lnTo>
                      <a:pt x="653" y="88"/>
                    </a:lnTo>
                    <a:lnTo>
                      <a:pt x="655" y="88"/>
                    </a:lnTo>
                    <a:lnTo>
                      <a:pt x="657" y="88"/>
                    </a:lnTo>
                    <a:lnTo>
                      <a:pt x="660" y="88"/>
                    </a:lnTo>
                    <a:lnTo>
                      <a:pt x="662" y="88"/>
                    </a:lnTo>
                    <a:lnTo>
                      <a:pt x="662" y="90"/>
                    </a:lnTo>
                    <a:lnTo>
                      <a:pt x="664" y="92"/>
                    </a:lnTo>
                    <a:lnTo>
                      <a:pt x="664" y="94"/>
                    </a:lnTo>
                    <a:lnTo>
                      <a:pt x="664" y="96"/>
                    </a:lnTo>
                    <a:lnTo>
                      <a:pt x="666" y="98"/>
                    </a:lnTo>
                    <a:lnTo>
                      <a:pt x="666" y="100"/>
                    </a:lnTo>
                    <a:lnTo>
                      <a:pt x="666" y="102"/>
                    </a:lnTo>
                    <a:lnTo>
                      <a:pt x="666" y="104"/>
                    </a:lnTo>
                    <a:lnTo>
                      <a:pt x="664" y="104"/>
                    </a:lnTo>
                    <a:lnTo>
                      <a:pt x="664" y="106"/>
                    </a:lnTo>
                    <a:lnTo>
                      <a:pt x="664" y="108"/>
                    </a:lnTo>
                    <a:lnTo>
                      <a:pt x="664" y="110"/>
                    </a:lnTo>
                    <a:lnTo>
                      <a:pt x="664" y="108"/>
                    </a:lnTo>
                    <a:lnTo>
                      <a:pt x="664" y="110"/>
                    </a:lnTo>
                    <a:lnTo>
                      <a:pt x="664" y="108"/>
                    </a:lnTo>
                    <a:lnTo>
                      <a:pt x="664" y="106"/>
                    </a:lnTo>
                    <a:lnTo>
                      <a:pt x="664" y="108"/>
                    </a:lnTo>
                    <a:lnTo>
                      <a:pt x="664" y="110"/>
                    </a:lnTo>
                    <a:lnTo>
                      <a:pt x="664" y="112"/>
                    </a:lnTo>
                    <a:lnTo>
                      <a:pt x="664" y="113"/>
                    </a:lnTo>
                    <a:lnTo>
                      <a:pt x="662" y="113"/>
                    </a:lnTo>
                    <a:lnTo>
                      <a:pt x="662" y="115"/>
                    </a:lnTo>
                    <a:lnTo>
                      <a:pt x="660" y="115"/>
                    </a:lnTo>
                    <a:lnTo>
                      <a:pt x="660" y="117"/>
                    </a:lnTo>
                    <a:lnTo>
                      <a:pt x="660" y="119"/>
                    </a:lnTo>
                    <a:lnTo>
                      <a:pt x="660" y="121"/>
                    </a:lnTo>
                    <a:lnTo>
                      <a:pt x="662" y="121"/>
                    </a:lnTo>
                    <a:lnTo>
                      <a:pt x="662" y="123"/>
                    </a:lnTo>
                    <a:lnTo>
                      <a:pt x="660" y="123"/>
                    </a:lnTo>
                    <a:lnTo>
                      <a:pt x="660" y="125"/>
                    </a:lnTo>
                    <a:lnTo>
                      <a:pt x="662" y="125"/>
                    </a:lnTo>
                    <a:lnTo>
                      <a:pt x="662" y="123"/>
                    </a:lnTo>
                    <a:lnTo>
                      <a:pt x="662" y="125"/>
                    </a:lnTo>
                    <a:lnTo>
                      <a:pt x="662" y="123"/>
                    </a:lnTo>
                    <a:lnTo>
                      <a:pt x="662" y="121"/>
                    </a:lnTo>
                    <a:lnTo>
                      <a:pt x="662" y="119"/>
                    </a:lnTo>
                    <a:lnTo>
                      <a:pt x="662" y="117"/>
                    </a:lnTo>
                    <a:lnTo>
                      <a:pt x="664" y="117"/>
                    </a:lnTo>
                    <a:lnTo>
                      <a:pt x="666" y="115"/>
                    </a:lnTo>
                    <a:lnTo>
                      <a:pt x="668" y="115"/>
                    </a:lnTo>
                    <a:lnTo>
                      <a:pt x="668" y="117"/>
                    </a:lnTo>
                    <a:lnTo>
                      <a:pt x="670" y="117"/>
                    </a:lnTo>
                    <a:lnTo>
                      <a:pt x="670" y="119"/>
                    </a:lnTo>
                    <a:lnTo>
                      <a:pt x="668" y="119"/>
                    </a:lnTo>
                    <a:lnTo>
                      <a:pt x="670" y="119"/>
                    </a:lnTo>
                    <a:lnTo>
                      <a:pt x="670" y="121"/>
                    </a:lnTo>
                    <a:lnTo>
                      <a:pt x="670" y="123"/>
                    </a:lnTo>
                    <a:lnTo>
                      <a:pt x="668" y="123"/>
                    </a:lnTo>
                    <a:lnTo>
                      <a:pt x="668" y="125"/>
                    </a:lnTo>
                    <a:lnTo>
                      <a:pt x="668" y="127"/>
                    </a:lnTo>
                    <a:lnTo>
                      <a:pt x="670" y="127"/>
                    </a:lnTo>
                    <a:lnTo>
                      <a:pt x="670" y="125"/>
                    </a:lnTo>
                    <a:lnTo>
                      <a:pt x="670" y="123"/>
                    </a:lnTo>
                    <a:lnTo>
                      <a:pt x="672" y="123"/>
                    </a:lnTo>
                    <a:lnTo>
                      <a:pt x="672" y="121"/>
                    </a:lnTo>
                    <a:lnTo>
                      <a:pt x="672" y="123"/>
                    </a:lnTo>
                    <a:lnTo>
                      <a:pt x="674" y="123"/>
                    </a:lnTo>
                    <a:lnTo>
                      <a:pt x="674" y="125"/>
                    </a:lnTo>
                    <a:lnTo>
                      <a:pt x="674" y="127"/>
                    </a:lnTo>
                    <a:lnTo>
                      <a:pt x="674" y="129"/>
                    </a:lnTo>
                    <a:lnTo>
                      <a:pt x="676" y="129"/>
                    </a:lnTo>
                    <a:lnTo>
                      <a:pt x="676" y="127"/>
                    </a:lnTo>
                    <a:lnTo>
                      <a:pt x="676" y="125"/>
                    </a:lnTo>
                    <a:lnTo>
                      <a:pt x="674" y="125"/>
                    </a:lnTo>
                    <a:lnTo>
                      <a:pt x="674" y="123"/>
                    </a:lnTo>
                    <a:lnTo>
                      <a:pt x="676" y="123"/>
                    </a:lnTo>
                    <a:lnTo>
                      <a:pt x="676" y="121"/>
                    </a:lnTo>
                    <a:lnTo>
                      <a:pt x="678" y="121"/>
                    </a:lnTo>
                    <a:lnTo>
                      <a:pt x="680" y="121"/>
                    </a:lnTo>
                    <a:lnTo>
                      <a:pt x="680" y="119"/>
                    </a:lnTo>
                    <a:lnTo>
                      <a:pt x="682" y="121"/>
                    </a:lnTo>
                    <a:lnTo>
                      <a:pt x="682" y="119"/>
                    </a:lnTo>
                    <a:lnTo>
                      <a:pt x="683" y="119"/>
                    </a:lnTo>
                    <a:lnTo>
                      <a:pt x="685" y="117"/>
                    </a:lnTo>
                    <a:lnTo>
                      <a:pt x="683" y="117"/>
                    </a:lnTo>
                    <a:lnTo>
                      <a:pt x="685" y="117"/>
                    </a:lnTo>
                    <a:lnTo>
                      <a:pt x="687" y="117"/>
                    </a:lnTo>
                    <a:lnTo>
                      <a:pt x="689" y="119"/>
                    </a:lnTo>
                    <a:lnTo>
                      <a:pt x="691" y="119"/>
                    </a:lnTo>
                    <a:lnTo>
                      <a:pt x="695" y="117"/>
                    </a:lnTo>
                    <a:lnTo>
                      <a:pt x="693" y="121"/>
                    </a:lnTo>
                    <a:lnTo>
                      <a:pt x="691" y="123"/>
                    </a:lnTo>
                    <a:lnTo>
                      <a:pt x="691" y="125"/>
                    </a:lnTo>
                    <a:lnTo>
                      <a:pt x="691" y="127"/>
                    </a:lnTo>
                    <a:lnTo>
                      <a:pt x="689" y="127"/>
                    </a:lnTo>
                    <a:lnTo>
                      <a:pt x="689" y="129"/>
                    </a:lnTo>
                    <a:lnTo>
                      <a:pt x="687" y="129"/>
                    </a:lnTo>
                    <a:lnTo>
                      <a:pt x="685" y="129"/>
                    </a:lnTo>
                    <a:lnTo>
                      <a:pt x="685" y="127"/>
                    </a:lnTo>
                    <a:lnTo>
                      <a:pt x="683" y="127"/>
                    </a:lnTo>
                    <a:lnTo>
                      <a:pt x="682" y="127"/>
                    </a:lnTo>
                    <a:lnTo>
                      <a:pt x="682" y="125"/>
                    </a:lnTo>
                    <a:lnTo>
                      <a:pt x="682" y="127"/>
                    </a:lnTo>
                    <a:lnTo>
                      <a:pt x="680" y="127"/>
                    </a:lnTo>
                    <a:lnTo>
                      <a:pt x="680" y="129"/>
                    </a:lnTo>
                    <a:lnTo>
                      <a:pt x="680" y="131"/>
                    </a:lnTo>
                    <a:lnTo>
                      <a:pt x="680" y="129"/>
                    </a:lnTo>
                    <a:lnTo>
                      <a:pt x="682" y="129"/>
                    </a:lnTo>
                    <a:lnTo>
                      <a:pt x="682" y="131"/>
                    </a:lnTo>
                    <a:lnTo>
                      <a:pt x="680" y="131"/>
                    </a:lnTo>
                    <a:lnTo>
                      <a:pt x="680" y="133"/>
                    </a:lnTo>
                    <a:lnTo>
                      <a:pt x="680" y="135"/>
                    </a:lnTo>
                    <a:lnTo>
                      <a:pt x="680" y="133"/>
                    </a:lnTo>
                    <a:lnTo>
                      <a:pt x="680" y="135"/>
                    </a:lnTo>
                    <a:lnTo>
                      <a:pt x="682" y="135"/>
                    </a:lnTo>
                    <a:lnTo>
                      <a:pt x="682" y="133"/>
                    </a:lnTo>
                    <a:lnTo>
                      <a:pt x="682" y="131"/>
                    </a:lnTo>
                    <a:lnTo>
                      <a:pt x="682" y="129"/>
                    </a:lnTo>
                    <a:lnTo>
                      <a:pt x="683" y="129"/>
                    </a:lnTo>
                    <a:lnTo>
                      <a:pt x="685" y="129"/>
                    </a:lnTo>
                    <a:lnTo>
                      <a:pt x="685" y="131"/>
                    </a:lnTo>
                    <a:lnTo>
                      <a:pt x="687" y="133"/>
                    </a:lnTo>
                    <a:lnTo>
                      <a:pt x="689" y="133"/>
                    </a:lnTo>
                    <a:lnTo>
                      <a:pt x="689" y="135"/>
                    </a:lnTo>
                    <a:lnTo>
                      <a:pt x="691" y="135"/>
                    </a:lnTo>
                    <a:lnTo>
                      <a:pt x="691" y="137"/>
                    </a:lnTo>
                    <a:lnTo>
                      <a:pt x="689" y="137"/>
                    </a:lnTo>
                    <a:lnTo>
                      <a:pt x="689" y="138"/>
                    </a:lnTo>
                    <a:lnTo>
                      <a:pt x="691" y="138"/>
                    </a:lnTo>
                    <a:lnTo>
                      <a:pt x="691" y="140"/>
                    </a:lnTo>
                    <a:lnTo>
                      <a:pt x="689" y="140"/>
                    </a:lnTo>
                    <a:lnTo>
                      <a:pt x="689" y="142"/>
                    </a:lnTo>
                    <a:lnTo>
                      <a:pt x="689" y="144"/>
                    </a:lnTo>
                    <a:lnTo>
                      <a:pt x="687" y="144"/>
                    </a:lnTo>
                    <a:lnTo>
                      <a:pt x="685" y="144"/>
                    </a:lnTo>
                    <a:lnTo>
                      <a:pt x="685" y="146"/>
                    </a:lnTo>
                    <a:lnTo>
                      <a:pt x="683" y="146"/>
                    </a:lnTo>
                    <a:lnTo>
                      <a:pt x="683" y="148"/>
                    </a:lnTo>
                    <a:lnTo>
                      <a:pt x="682" y="148"/>
                    </a:lnTo>
                    <a:lnTo>
                      <a:pt x="682" y="146"/>
                    </a:lnTo>
                    <a:lnTo>
                      <a:pt x="680" y="146"/>
                    </a:lnTo>
                    <a:lnTo>
                      <a:pt x="680" y="144"/>
                    </a:lnTo>
                    <a:lnTo>
                      <a:pt x="678" y="144"/>
                    </a:lnTo>
                    <a:lnTo>
                      <a:pt x="680" y="144"/>
                    </a:lnTo>
                    <a:lnTo>
                      <a:pt x="680" y="142"/>
                    </a:lnTo>
                    <a:lnTo>
                      <a:pt x="678" y="142"/>
                    </a:lnTo>
                    <a:lnTo>
                      <a:pt x="678" y="140"/>
                    </a:lnTo>
                    <a:lnTo>
                      <a:pt x="680" y="140"/>
                    </a:lnTo>
                    <a:lnTo>
                      <a:pt x="680" y="138"/>
                    </a:lnTo>
                    <a:lnTo>
                      <a:pt x="678" y="138"/>
                    </a:lnTo>
                    <a:lnTo>
                      <a:pt x="678" y="137"/>
                    </a:lnTo>
                    <a:lnTo>
                      <a:pt x="678" y="138"/>
                    </a:lnTo>
                    <a:lnTo>
                      <a:pt x="678" y="140"/>
                    </a:lnTo>
                    <a:lnTo>
                      <a:pt x="676" y="138"/>
                    </a:lnTo>
                    <a:lnTo>
                      <a:pt x="676" y="137"/>
                    </a:lnTo>
                    <a:lnTo>
                      <a:pt x="674" y="137"/>
                    </a:lnTo>
                    <a:lnTo>
                      <a:pt x="674" y="135"/>
                    </a:lnTo>
                    <a:lnTo>
                      <a:pt x="672" y="135"/>
                    </a:lnTo>
                    <a:lnTo>
                      <a:pt x="672" y="137"/>
                    </a:lnTo>
                    <a:lnTo>
                      <a:pt x="670" y="135"/>
                    </a:lnTo>
                    <a:lnTo>
                      <a:pt x="668" y="137"/>
                    </a:lnTo>
                    <a:lnTo>
                      <a:pt x="668" y="135"/>
                    </a:lnTo>
                    <a:lnTo>
                      <a:pt x="668" y="137"/>
                    </a:lnTo>
                    <a:lnTo>
                      <a:pt x="668" y="135"/>
                    </a:lnTo>
                    <a:lnTo>
                      <a:pt x="666" y="135"/>
                    </a:lnTo>
                    <a:lnTo>
                      <a:pt x="668" y="135"/>
                    </a:lnTo>
                    <a:lnTo>
                      <a:pt x="668" y="137"/>
                    </a:lnTo>
                    <a:lnTo>
                      <a:pt x="670" y="137"/>
                    </a:lnTo>
                    <a:lnTo>
                      <a:pt x="672" y="137"/>
                    </a:lnTo>
                    <a:lnTo>
                      <a:pt x="672" y="138"/>
                    </a:lnTo>
                    <a:lnTo>
                      <a:pt x="674" y="138"/>
                    </a:lnTo>
                    <a:lnTo>
                      <a:pt x="676" y="138"/>
                    </a:lnTo>
                    <a:lnTo>
                      <a:pt x="676" y="140"/>
                    </a:lnTo>
                    <a:lnTo>
                      <a:pt x="676" y="142"/>
                    </a:lnTo>
                    <a:lnTo>
                      <a:pt x="678" y="142"/>
                    </a:lnTo>
                    <a:lnTo>
                      <a:pt x="678" y="144"/>
                    </a:lnTo>
                    <a:lnTo>
                      <a:pt x="678" y="146"/>
                    </a:lnTo>
                    <a:lnTo>
                      <a:pt x="678" y="148"/>
                    </a:lnTo>
                    <a:lnTo>
                      <a:pt x="678" y="150"/>
                    </a:lnTo>
                    <a:lnTo>
                      <a:pt x="676" y="150"/>
                    </a:lnTo>
                    <a:lnTo>
                      <a:pt x="676" y="152"/>
                    </a:lnTo>
                    <a:lnTo>
                      <a:pt x="678" y="152"/>
                    </a:lnTo>
                    <a:lnTo>
                      <a:pt x="676" y="152"/>
                    </a:lnTo>
                    <a:lnTo>
                      <a:pt x="678" y="152"/>
                    </a:lnTo>
                    <a:lnTo>
                      <a:pt x="676" y="152"/>
                    </a:lnTo>
                    <a:lnTo>
                      <a:pt x="674" y="152"/>
                    </a:lnTo>
                    <a:lnTo>
                      <a:pt x="672" y="154"/>
                    </a:lnTo>
                    <a:lnTo>
                      <a:pt x="670" y="154"/>
                    </a:lnTo>
                    <a:lnTo>
                      <a:pt x="668" y="156"/>
                    </a:lnTo>
                    <a:lnTo>
                      <a:pt x="666" y="156"/>
                    </a:lnTo>
                    <a:lnTo>
                      <a:pt x="664" y="156"/>
                    </a:lnTo>
                    <a:lnTo>
                      <a:pt x="662" y="156"/>
                    </a:lnTo>
                    <a:lnTo>
                      <a:pt x="662" y="154"/>
                    </a:lnTo>
                    <a:lnTo>
                      <a:pt x="660" y="154"/>
                    </a:lnTo>
                    <a:lnTo>
                      <a:pt x="658" y="152"/>
                    </a:lnTo>
                    <a:lnTo>
                      <a:pt x="658" y="154"/>
                    </a:lnTo>
                    <a:lnTo>
                      <a:pt x="657" y="154"/>
                    </a:lnTo>
                    <a:lnTo>
                      <a:pt x="655" y="154"/>
                    </a:lnTo>
                    <a:lnTo>
                      <a:pt x="653" y="154"/>
                    </a:lnTo>
                    <a:lnTo>
                      <a:pt x="649" y="156"/>
                    </a:lnTo>
                    <a:lnTo>
                      <a:pt x="647" y="156"/>
                    </a:lnTo>
                    <a:lnTo>
                      <a:pt x="645" y="158"/>
                    </a:lnTo>
                    <a:lnTo>
                      <a:pt x="643" y="158"/>
                    </a:lnTo>
                    <a:lnTo>
                      <a:pt x="641" y="160"/>
                    </a:lnTo>
                    <a:lnTo>
                      <a:pt x="639" y="160"/>
                    </a:lnTo>
                    <a:lnTo>
                      <a:pt x="637" y="160"/>
                    </a:lnTo>
                    <a:lnTo>
                      <a:pt x="635" y="160"/>
                    </a:lnTo>
                    <a:lnTo>
                      <a:pt x="633" y="162"/>
                    </a:lnTo>
                    <a:lnTo>
                      <a:pt x="632" y="162"/>
                    </a:lnTo>
                    <a:lnTo>
                      <a:pt x="632" y="163"/>
                    </a:lnTo>
                    <a:lnTo>
                      <a:pt x="632" y="165"/>
                    </a:lnTo>
                    <a:lnTo>
                      <a:pt x="630" y="165"/>
                    </a:lnTo>
                    <a:lnTo>
                      <a:pt x="630" y="167"/>
                    </a:lnTo>
                    <a:lnTo>
                      <a:pt x="628" y="167"/>
                    </a:lnTo>
                    <a:lnTo>
                      <a:pt x="628" y="169"/>
                    </a:lnTo>
                    <a:lnTo>
                      <a:pt x="626" y="169"/>
                    </a:lnTo>
                    <a:lnTo>
                      <a:pt x="626" y="171"/>
                    </a:lnTo>
                    <a:lnTo>
                      <a:pt x="624" y="171"/>
                    </a:lnTo>
                    <a:lnTo>
                      <a:pt x="624" y="173"/>
                    </a:lnTo>
                    <a:lnTo>
                      <a:pt x="622" y="173"/>
                    </a:lnTo>
                    <a:lnTo>
                      <a:pt x="622" y="171"/>
                    </a:lnTo>
                    <a:lnTo>
                      <a:pt x="624" y="171"/>
                    </a:lnTo>
                    <a:lnTo>
                      <a:pt x="624" y="169"/>
                    </a:lnTo>
                    <a:lnTo>
                      <a:pt x="622" y="169"/>
                    </a:lnTo>
                    <a:lnTo>
                      <a:pt x="620" y="169"/>
                    </a:lnTo>
                    <a:lnTo>
                      <a:pt x="622" y="171"/>
                    </a:lnTo>
                    <a:lnTo>
                      <a:pt x="620" y="171"/>
                    </a:lnTo>
                    <a:lnTo>
                      <a:pt x="618" y="171"/>
                    </a:lnTo>
                    <a:lnTo>
                      <a:pt x="616" y="171"/>
                    </a:lnTo>
                    <a:lnTo>
                      <a:pt x="614" y="171"/>
                    </a:lnTo>
                    <a:lnTo>
                      <a:pt x="614" y="173"/>
                    </a:lnTo>
                    <a:lnTo>
                      <a:pt x="612" y="171"/>
                    </a:lnTo>
                    <a:lnTo>
                      <a:pt x="612" y="173"/>
                    </a:lnTo>
                    <a:lnTo>
                      <a:pt x="610" y="175"/>
                    </a:lnTo>
                    <a:lnTo>
                      <a:pt x="610" y="173"/>
                    </a:lnTo>
                    <a:lnTo>
                      <a:pt x="609" y="173"/>
                    </a:lnTo>
                    <a:lnTo>
                      <a:pt x="607" y="173"/>
                    </a:lnTo>
                    <a:lnTo>
                      <a:pt x="605" y="175"/>
                    </a:lnTo>
                    <a:lnTo>
                      <a:pt x="605" y="173"/>
                    </a:lnTo>
                    <a:lnTo>
                      <a:pt x="605" y="171"/>
                    </a:lnTo>
                    <a:lnTo>
                      <a:pt x="605" y="169"/>
                    </a:lnTo>
                    <a:lnTo>
                      <a:pt x="603" y="169"/>
                    </a:lnTo>
                    <a:lnTo>
                      <a:pt x="603" y="167"/>
                    </a:lnTo>
                    <a:lnTo>
                      <a:pt x="601" y="167"/>
                    </a:lnTo>
                    <a:lnTo>
                      <a:pt x="601" y="165"/>
                    </a:lnTo>
                    <a:lnTo>
                      <a:pt x="599" y="165"/>
                    </a:lnTo>
                    <a:lnTo>
                      <a:pt x="597" y="165"/>
                    </a:lnTo>
                    <a:lnTo>
                      <a:pt x="595" y="165"/>
                    </a:lnTo>
                    <a:lnTo>
                      <a:pt x="593" y="163"/>
                    </a:lnTo>
                    <a:lnTo>
                      <a:pt x="591" y="163"/>
                    </a:lnTo>
                    <a:lnTo>
                      <a:pt x="589" y="163"/>
                    </a:lnTo>
                    <a:lnTo>
                      <a:pt x="589" y="162"/>
                    </a:lnTo>
                    <a:lnTo>
                      <a:pt x="587" y="162"/>
                    </a:lnTo>
                    <a:lnTo>
                      <a:pt x="585" y="162"/>
                    </a:lnTo>
                    <a:lnTo>
                      <a:pt x="584" y="162"/>
                    </a:lnTo>
                    <a:lnTo>
                      <a:pt x="585" y="162"/>
                    </a:lnTo>
                    <a:lnTo>
                      <a:pt x="587" y="162"/>
                    </a:lnTo>
                    <a:lnTo>
                      <a:pt x="589" y="162"/>
                    </a:lnTo>
                    <a:lnTo>
                      <a:pt x="589" y="163"/>
                    </a:lnTo>
                    <a:lnTo>
                      <a:pt x="591" y="163"/>
                    </a:lnTo>
                    <a:lnTo>
                      <a:pt x="591" y="162"/>
                    </a:lnTo>
                    <a:lnTo>
                      <a:pt x="589" y="162"/>
                    </a:lnTo>
                    <a:lnTo>
                      <a:pt x="587" y="162"/>
                    </a:lnTo>
                    <a:lnTo>
                      <a:pt x="587" y="160"/>
                    </a:lnTo>
                    <a:lnTo>
                      <a:pt x="585" y="160"/>
                    </a:lnTo>
                    <a:lnTo>
                      <a:pt x="584" y="160"/>
                    </a:lnTo>
                    <a:lnTo>
                      <a:pt x="582" y="160"/>
                    </a:lnTo>
                    <a:lnTo>
                      <a:pt x="580" y="160"/>
                    </a:lnTo>
                    <a:lnTo>
                      <a:pt x="580" y="158"/>
                    </a:lnTo>
                    <a:lnTo>
                      <a:pt x="580" y="160"/>
                    </a:lnTo>
                    <a:lnTo>
                      <a:pt x="580" y="162"/>
                    </a:lnTo>
                    <a:lnTo>
                      <a:pt x="580" y="160"/>
                    </a:lnTo>
                    <a:lnTo>
                      <a:pt x="582" y="160"/>
                    </a:lnTo>
                    <a:lnTo>
                      <a:pt x="580" y="160"/>
                    </a:lnTo>
                    <a:lnTo>
                      <a:pt x="580" y="162"/>
                    </a:lnTo>
                    <a:lnTo>
                      <a:pt x="574" y="163"/>
                    </a:lnTo>
                    <a:lnTo>
                      <a:pt x="570" y="165"/>
                    </a:lnTo>
                    <a:lnTo>
                      <a:pt x="566" y="167"/>
                    </a:lnTo>
                    <a:lnTo>
                      <a:pt x="564" y="169"/>
                    </a:lnTo>
                    <a:lnTo>
                      <a:pt x="562" y="169"/>
                    </a:lnTo>
                    <a:lnTo>
                      <a:pt x="562" y="171"/>
                    </a:lnTo>
                    <a:lnTo>
                      <a:pt x="559" y="171"/>
                    </a:lnTo>
                    <a:lnTo>
                      <a:pt x="559" y="173"/>
                    </a:lnTo>
                    <a:lnTo>
                      <a:pt x="557" y="173"/>
                    </a:lnTo>
                    <a:lnTo>
                      <a:pt x="557" y="175"/>
                    </a:lnTo>
                    <a:lnTo>
                      <a:pt x="557" y="177"/>
                    </a:lnTo>
                    <a:lnTo>
                      <a:pt x="557" y="179"/>
                    </a:lnTo>
                    <a:lnTo>
                      <a:pt x="557" y="177"/>
                    </a:lnTo>
                    <a:lnTo>
                      <a:pt x="557" y="175"/>
                    </a:lnTo>
                    <a:lnTo>
                      <a:pt x="557" y="173"/>
                    </a:lnTo>
                    <a:lnTo>
                      <a:pt x="559" y="173"/>
                    </a:lnTo>
                    <a:lnTo>
                      <a:pt x="559" y="171"/>
                    </a:lnTo>
                    <a:lnTo>
                      <a:pt x="560" y="171"/>
                    </a:lnTo>
                    <a:lnTo>
                      <a:pt x="560" y="169"/>
                    </a:lnTo>
                    <a:lnTo>
                      <a:pt x="559" y="171"/>
                    </a:lnTo>
                    <a:lnTo>
                      <a:pt x="557" y="171"/>
                    </a:lnTo>
                    <a:lnTo>
                      <a:pt x="557" y="173"/>
                    </a:lnTo>
                    <a:lnTo>
                      <a:pt x="557" y="171"/>
                    </a:lnTo>
                    <a:lnTo>
                      <a:pt x="555" y="171"/>
                    </a:lnTo>
                    <a:lnTo>
                      <a:pt x="557" y="171"/>
                    </a:lnTo>
                    <a:lnTo>
                      <a:pt x="557" y="169"/>
                    </a:lnTo>
                    <a:lnTo>
                      <a:pt x="555" y="169"/>
                    </a:lnTo>
                    <a:lnTo>
                      <a:pt x="555" y="171"/>
                    </a:lnTo>
                    <a:lnTo>
                      <a:pt x="555" y="173"/>
                    </a:lnTo>
                    <a:lnTo>
                      <a:pt x="557" y="173"/>
                    </a:lnTo>
                    <a:lnTo>
                      <a:pt x="557" y="175"/>
                    </a:lnTo>
                    <a:lnTo>
                      <a:pt x="557" y="177"/>
                    </a:lnTo>
                    <a:lnTo>
                      <a:pt x="557" y="179"/>
                    </a:lnTo>
                    <a:lnTo>
                      <a:pt x="557" y="181"/>
                    </a:lnTo>
                    <a:lnTo>
                      <a:pt x="557" y="183"/>
                    </a:lnTo>
                    <a:lnTo>
                      <a:pt x="557" y="185"/>
                    </a:lnTo>
                    <a:lnTo>
                      <a:pt x="557" y="187"/>
                    </a:lnTo>
                    <a:lnTo>
                      <a:pt x="557" y="188"/>
                    </a:lnTo>
                    <a:lnTo>
                      <a:pt x="557" y="190"/>
                    </a:lnTo>
                    <a:lnTo>
                      <a:pt x="555" y="190"/>
                    </a:lnTo>
                    <a:lnTo>
                      <a:pt x="555" y="192"/>
                    </a:lnTo>
                    <a:lnTo>
                      <a:pt x="553" y="192"/>
                    </a:lnTo>
                    <a:lnTo>
                      <a:pt x="553" y="194"/>
                    </a:lnTo>
                    <a:lnTo>
                      <a:pt x="553" y="196"/>
                    </a:lnTo>
                    <a:lnTo>
                      <a:pt x="551" y="196"/>
                    </a:lnTo>
                    <a:lnTo>
                      <a:pt x="549" y="196"/>
                    </a:lnTo>
                    <a:lnTo>
                      <a:pt x="549" y="198"/>
                    </a:lnTo>
                    <a:lnTo>
                      <a:pt x="549" y="200"/>
                    </a:lnTo>
                    <a:lnTo>
                      <a:pt x="547" y="200"/>
                    </a:lnTo>
                    <a:lnTo>
                      <a:pt x="547" y="202"/>
                    </a:lnTo>
                    <a:lnTo>
                      <a:pt x="545" y="202"/>
                    </a:lnTo>
                    <a:lnTo>
                      <a:pt x="545" y="204"/>
                    </a:lnTo>
                    <a:lnTo>
                      <a:pt x="543" y="204"/>
                    </a:lnTo>
                    <a:lnTo>
                      <a:pt x="543" y="206"/>
                    </a:lnTo>
                    <a:lnTo>
                      <a:pt x="541" y="208"/>
                    </a:lnTo>
                    <a:lnTo>
                      <a:pt x="539" y="208"/>
                    </a:lnTo>
                    <a:lnTo>
                      <a:pt x="537" y="210"/>
                    </a:lnTo>
                    <a:lnTo>
                      <a:pt x="536" y="210"/>
                    </a:lnTo>
                    <a:lnTo>
                      <a:pt x="536" y="208"/>
                    </a:lnTo>
                    <a:lnTo>
                      <a:pt x="536" y="206"/>
                    </a:lnTo>
                    <a:lnTo>
                      <a:pt x="534" y="206"/>
                    </a:lnTo>
                    <a:lnTo>
                      <a:pt x="534" y="204"/>
                    </a:lnTo>
                    <a:lnTo>
                      <a:pt x="532" y="204"/>
                    </a:lnTo>
                    <a:lnTo>
                      <a:pt x="532" y="202"/>
                    </a:lnTo>
                    <a:lnTo>
                      <a:pt x="530" y="200"/>
                    </a:lnTo>
                    <a:lnTo>
                      <a:pt x="530" y="198"/>
                    </a:lnTo>
                    <a:lnTo>
                      <a:pt x="528" y="198"/>
                    </a:lnTo>
                    <a:lnTo>
                      <a:pt x="526" y="198"/>
                    </a:lnTo>
                    <a:lnTo>
                      <a:pt x="524" y="200"/>
                    </a:lnTo>
                    <a:lnTo>
                      <a:pt x="524" y="202"/>
                    </a:lnTo>
                    <a:lnTo>
                      <a:pt x="522" y="202"/>
                    </a:lnTo>
                    <a:lnTo>
                      <a:pt x="522" y="200"/>
                    </a:lnTo>
                    <a:lnTo>
                      <a:pt x="522" y="202"/>
                    </a:lnTo>
                    <a:lnTo>
                      <a:pt x="524" y="202"/>
                    </a:lnTo>
                    <a:lnTo>
                      <a:pt x="522" y="200"/>
                    </a:lnTo>
                    <a:lnTo>
                      <a:pt x="520" y="200"/>
                    </a:lnTo>
                    <a:lnTo>
                      <a:pt x="522" y="200"/>
                    </a:lnTo>
                    <a:lnTo>
                      <a:pt x="520" y="200"/>
                    </a:lnTo>
                    <a:lnTo>
                      <a:pt x="520" y="198"/>
                    </a:lnTo>
                    <a:lnTo>
                      <a:pt x="520" y="200"/>
                    </a:lnTo>
                    <a:lnTo>
                      <a:pt x="518" y="200"/>
                    </a:lnTo>
                    <a:lnTo>
                      <a:pt x="516" y="200"/>
                    </a:lnTo>
                    <a:lnTo>
                      <a:pt x="512" y="200"/>
                    </a:lnTo>
                    <a:lnTo>
                      <a:pt x="511" y="200"/>
                    </a:lnTo>
                    <a:lnTo>
                      <a:pt x="512" y="200"/>
                    </a:lnTo>
                    <a:lnTo>
                      <a:pt x="512" y="198"/>
                    </a:lnTo>
                    <a:lnTo>
                      <a:pt x="511" y="198"/>
                    </a:lnTo>
                    <a:lnTo>
                      <a:pt x="509" y="196"/>
                    </a:lnTo>
                    <a:lnTo>
                      <a:pt x="507" y="196"/>
                    </a:lnTo>
                    <a:lnTo>
                      <a:pt x="505" y="196"/>
                    </a:lnTo>
                    <a:lnTo>
                      <a:pt x="507" y="196"/>
                    </a:lnTo>
                    <a:lnTo>
                      <a:pt x="509" y="196"/>
                    </a:lnTo>
                    <a:lnTo>
                      <a:pt x="509" y="194"/>
                    </a:lnTo>
                    <a:lnTo>
                      <a:pt x="511" y="194"/>
                    </a:lnTo>
                    <a:lnTo>
                      <a:pt x="511" y="192"/>
                    </a:lnTo>
                    <a:lnTo>
                      <a:pt x="511" y="190"/>
                    </a:lnTo>
                    <a:lnTo>
                      <a:pt x="509" y="190"/>
                    </a:lnTo>
                    <a:lnTo>
                      <a:pt x="507" y="190"/>
                    </a:lnTo>
                    <a:lnTo>
                      <a:pt x="507" y="188"/>
                    </a:lnTo>
                    <a:lnTo>
                      <a:pt x="507" y="187"/>
                    </a:lnTo>
                    <a:lnTo>
                      <a:pt x="507" y="188"/>
                    </a:lnTo>
                    <a:lnTo>
                      <a:pt x="507" y="187"/>
                    </a:lnTo>
                    <a:lnTo>
                      <a:pt x="509" y="187"/>
                    </a:lnTo>
                    <a:lnTo>
                      <a:pt x="507" y="187"/>
                    </a:lnTo>
                    <a:lnTo>
                      <a:pt x="507" y="185"/>
                    </a:lnTo>
                    <a:lnTo>
                      <a:pt x="507" y="183"/>
                    </a:lnTo>
                    <a:lnTo>
                      <a:pt x="505" y="183"/>
                    </a:lnTo>
                    <a:lnTo>
                      <a:pt x="505" y="181"/>
                    </a:lnTo>
                    <a:lnTo>
                      <a:pt x="503" y="181"/>
                    </a:lnTo>
                    <a:lnTo>
                      <a:pt x="503" y="179"/>
                    </a:lnTo>
                    <a:lnTo>
                      <a:pt x="501" y="179"/>
                    </a:lnTo>
                    <a:lnTo>
                      <a:pt x="501" y="177"/>
                    </a:lnTo>
                    <a:lnTo>
                      <a:pt x="499" y="177"/>
                    </a:lnTo>
                    <a:lnTo>
                      <a:pt x="499" y="175"/>
                    </a:lnTo>
                    <a:lnTo>
                      <a:pt x="497" y="175"/>
                    </a:lnTo>
                    <a:lnTo>
                      <a:pt x="497" y="173"/>
                    </a:lnTo>
                    <a:lnTo>
                      <a:pt x="495" y="173"/>
                    </a:lnTo>
                    <a:lnTo>
                      <a:pt x="493" y="173"/>
                    </a:lnTo>
                    <a:lnTo>
                      <a:pt x="495" y="173"/>
                    </a:lnTo>
                    <a:lnTo>
                      <a:pt x="493" y="173"/>
                    </a:lnTo>
                    <a:lnTo>
                      <a:pt x="495" y="173"/>
                    </a:lnTo>
                    <a:lnTo>
                      <a:pt x="495" y="175"/>
                    </a:lnTo>
                    <a:lnTo>
                      <a:pt x="495" y="177"/>
                    </a:lnTo>
                    <a:lnTo>
                      <a:pt x="495" y="179"/>
                    </a:lnTo>
                    <a:lnTo>
                      <a:pt x="497" y="179"/>
                    </a:lnTo>
                    <a:lnTo>
                      <a:pt x="497" y="181"/>
                    </a:lnTo>
                    <a:lnTo>
                      <a:pt x="497" y="183"/>
                    </a:lnTo>
                    <a:lnTo>
                      <a:pt x="499" y="183"/>
                    </a:lnTo>
                    <a:lnTo>
                      <a:pt x="499" y="185"/>
                    </a:lnTo>
                    <a:lnTo>
                      <a:pt x="501" y="187"/>
                    </a:lnTo>
                    <a:lnTo>
                      <a:pt x="499" y="187"/>
                    </a:lnTo>
                    <a:lnTo>
                      <a:pt x="501" y="187"/>
                    </a:lnTo>
                    <a:lnTo>
                      <a:pt x="499" y="187"/>
                    </a:lnTo>
                    <a:lnTo>
                      <a:pt x="499" y="188"/>
                    </a:lnTo>
                    <a:lnTo>
                      <a:pt x="499" y="190"/>
                    </a:lnTo>
                    <a:lnTo>
                      <a:pt x="497" y="192"/>
                    </a:lnTo>
                    <a:lnTo>
                      <a:pt x="495" y="192"/>
                    </a:lnTo>
                    <a:lnTo>
                      <a:pt x="495" y="190"/>
                    </a:lnTo>
                    <a:lnTo>
                      <a:pt x="493" y="190"/>
                    </a:lnTo>
                    <a:lnTo>
                      <a:pt x="491" y="190"/>
                    </a:lnTo>
                    <a:lnTo>
                      <a:pt x="491" y="188"/>
                    </a:lnTo>
                    <a:lnTo>
                      <a:pt x="489" y="188"/>
                    </a:lnTo>
                    <a:lnTo>
                      <a:pt x="489" y="187"/>
                    </a:lnTo>
                    <a:lnTo>
                      <a:pt x="487" y="187"/>
                    </a:lnTo>
                    <a:lnTo>
                      <a:pt x="487" y="185"/>
                    </a:lnTo>
                    <a:lnTo>
                      <a:pt x="486" y="185"/>
                    </a:lnTo>
                    <a:lnTo>
                      <a:pt x="486" y="187"/>
                    </a:lnTo>
                    <a:lnTo>
                      <a:pt x="487" y="188"/>
                    </a:lnTo>
                    <a:lnTo>
                      <a:pt x="489" y="188"/>
                    </a:lnTo>
                    <a:lnTo>
                      <a:pt x="489" y="190"/>
                    </a:lnTo>
                    <a:lnTo>
                      <a:pt x="489" y="192"/>
                    </a:lnTo>
                    <a:lnTo>
                      <a:pt x="487" y="192"/>
                    </a:lnTo>
                    <a:lnTo>
                      <a:pt x="486" y="192"/>
                    </a:lnTo>
                    <a:lnTo>
                      <a:pt x="484" y="192"/>
                    </a:lnTo>
                    <a:lnTo>
                      <a:pt x="484" y="194"/>
                    </a:lnTo>
                    <a:lnTo>
                      <a:pt x="486" y="194"/>
                    </a:lnTo>
                    <a:lnTo>
                      <a:pt x="487" y="194"/>
                    </a:lnTo>
                    <a:lnTo>
                      <a:pt x="489" y="194"/>
                    </a:lnTo>
                    <a:lnTo>
                      <a:pt x="491" y="194"/>
                    </a:lnTo>
                    <a:lnTo>
                      <a:pt x="491" y="196"/>
                    </a:lnTo>
                    <a:lnTo>
                      <a:pt x="491" y="194"/>
                    </a:lnTo>
                    <a:lnTo>
                      <a:pt x="493" y="196"/>
                    </a:lnTo>
                    <a:lnTo>
                      <a:pt x="493" y="198"/>
                    </a:lnTo>
                    <a:lnTo>
                      <a:pt x="493" y="200"/>
                    </a:lnTo>
                    <a:lnTo>
                      <a:pt x="493" y="202"/>
                    </a:lnTo>
                    <a:lnTo>
                      <a:pt x="491" y="204"/>
                    </a:lnTo>
                    <a:lnTo>
                      <a:pt x="491" y="206"/>
                    </a:lnTo>
                    <a:lnTo>
                      <a:pt x="489" y="206"/>
                    </a:lnTo>
                    <a:lnTo>
                      <a:pt x="489" y="208"/>
                    </a:lnTo>
                    <a:lnTo>
                      <a:pt x="487" y="208"/>
                    </a:lnTo>
                    <a:lnTo>
                      <a:pt x="489" y="206"/>
                    </a:lnTo>
                    <a:lnTo>
                      <a:pt x="489" y="204"/>
                    </a:lnTo>
                    <a:lnTo>
                      <a:pt x="487" y="204"/>
                    </a:lnTo>
                    <a:lnTo>
                      <a:pt x="486" y="204"/>
                    </a:lnTo>
                    <a:lnTo>
                      <a:pt x="486" y="206"/>
                    </a:lnTo>
                    <a:lnTo>
                      <a:pt x="487" y="206"/>
                    </a:lnTo>
                    <a:lnTo>
                      <a:pt x="486" y="206"/>
                    </a:lnTo>
                    <a:lnTo>
                      <a:pt x="487" y="206"/>
                    </a:lnTo>
                    <a:lnTo>
                      <a:pt x="487" y="208"/>
                    </a:lnTo>
                    <a:lnTo>
                      <a:pt x="487" y="210"/>
                    </a:lnTo>
                    <a:lnTo>
                      <a:pt x="489" y="212"/>
                    </a:lnTo>
                    <a:lnTo>
                      <a:pt x="491" y="212"/>
                    </a:lnTo>
                    <a:lnTo>
                      <a:pt x="491" y="213"/>
                    </a:lnTo>
                    <a:lnTo>
                      <a:pt x="491" y="215"/>
                    </a:lnTo>
                    <a:lnTo>
                      <a:pt x="493" y="215"/>
                    </a:lnTo>
                    <a:lnTo>
                      <a:pt x="493" y="217"/>
                    </a:lnTo>
                    <a:lnTo>
                      <a:pt x="495" y="217"/>
                    </a:lnTo>
                    <a:lnTo>
                      <a:pt x="497" y="219"/>
                    </a:lnTo>
                    <a:lnTo>
                      <a:pt x="499" y="219"/>
                    </a:lnTo>
                    <a:lnTo>
                      <a:pt x="501" y="219"/>
                    </a:lnTo>
                    <a:lnTo>
                      <a:pt x="503" y="221"/>
                    </a:lnTo>
                    <a:lnTo>
                      <a:pt x="501" y="221"/>
                    </a:lnTo>
                    <a:lnTo>
                      <a:pt x="503" y="221"/>
                    </a:lnTo>
                    <a:lnTo>
                      <a:pt x="503" y="223"/>
                    </a:lnTo>
                    <a:lnTo>
                      <a:pt x="503" y="221"/>
                    </a:lnTo>
                    <a:lnTo>
                      <a:pt x="505" y="221"/>
                    </a:lnTo>
                    <a:lnTo>
                      <a:pt x="507" y="221"/>
                    </a:lnTo>
                    <a:lnTo>
                      <a:pt x="509" y="221"/>
                    </a:lnTo>
                    <a:lnTo>
                      <a:pt x="511" y="221"/>
                    </a:lnTo>
                    <a:lnTo>
                      <a:pt x="512" y="221"/>
                    </a:lnTo>
                    <a:lnTo>
                      <a:pt x="514" y="221"/>
                    </a:lnTo>
                    <a:lnTo>
                      <a:pt x="512" y="221"/>
                    </a:lnTo>
                    <a:lnTo>
                      <a:pt x="514" y="221"/>
                    </a:lnTo>
                    <a:lnTo>
                      <a:pt x="512" y="221"/>
                    </a:lnTo>
                    <a:lnTo>
                      <a:pt x="514" y="221"/>
                    </a:lnTo>
                    <a:lnTo>
                      <a:pt x="514" y="223"/>
                    </a:lnTo>
                    <a:lnTo>
                      <a:pt x="514" y="221"/>
                    </a:lnTo>
                    <a:lnTo>
                      <a:pt x="516" y="219"/>
                    </a:lnTo>
                    <a:lnTo>
                      <a:pt x="518" y="219"/>
                    </a:lnTo>
                    <a:lnTo>
                      <a:pt x="518" y="221"/>
                    </a:lnTo>
                    <a:lnTo>
                      <a:pt x="520" y="223"/>
                    </a:lnTo>
                    <a:lnTo>
                      <a:pt x="522" y="223"/>
                    </a:lnTo>
                    <a:lnTo>
                      <a:pt x="524" y="225"/>
                    </a:lnTo>
                    <a:lnTo>
                      <a:pt x="524" y="227"/>
                    </a:lnTo>
                    <a:lnTo>
                      <a:pt x="524" y="229"/>
                    </a:lnTo>
                    <a:lnTo>
                      <a:pt x="524" y="231"/>
                    </a:lnTo>
                    <a:lnTo>
                      <a:pt x="524" y="233"/>
                    </a:lnTo>
                    <a:lnTo>
                      <a:pt x="524" y="231"/>
                    </a:lnTo>
                    <a:lnTo>
                      <a:pt x="524" y="233"/>
                    </a:lnTo>
                    <a:lnTo>
                      <a:pt x="524" y="235"/>
                    </a:lnTo>
                    <a:lnTo>
                      <a:pt x="522" y="235"/>
                    </a:lnTo>
                    <a:lnTo>
                      <a:pt x="522" y="237"/>
                    </a:lnTo>
                    <a:lnTo>
                      <a:pt x="522" y="235"/>
                    </a:lnTo>
                    <a:lnTo>
                      <a:pt x="522" y="237"/>
                    </a:lnTo>
                    <a:lnTo>
                      <a:pt x="520" y="237"/>
                    </a:lnTo>
                    <a:lnTo>
                      <a:pt x="520" y="238"/>
                    </a:lnTo>
                    <a:lnTo>
                      <a:pt x="518" y="240"/>
                    </a:lnTo>
                    <a:lnTo>
                      <a:pt x="520" y="240"/>
                    </a:lnTo>
                    <a:lnTo>
                      <a:pt x="520" y="242"/>
                    </a:lnTo>
                    <a:lnTo>
                      <a:pt x="518" y="242"/>
                    </a:lnTo>
                    <a:lnTo>
                      <a:pt x="518" y="244"/>
                    </a:lnTo>
                    <a:lnTo>
                      <a:pt x="349" y="102"/>
                    </a:lnTo>
                    <a:lnTo>
                      <a:pt x="351" y="100"/>
                    </a:lnTo>
                    <a:lnTo>
                      <a:pt x="351" y="102"/>
                    </a:lnTo>
                    <a:lnTo>
                      <a:pt x="351" y="100"/>
                    </a:lnTo>
                    <a:lnTo>
                      <a:pt x="353" y="100"/>
                    </a:lnTo>
                    <a:close/>
                    <a:moveTo>
                      <a:pt x="453" y="146"/>
                    </a:moveTo>
                    <a:lnTo>
                      <a:pt x="453" y="148"/>
                    </a:lnTo>
                    <a:lnTo>
                      <a:pt x="453" y="146"/>
                    </a:lnTo>
                    <a:lnTo>
                      <a:pt x="453" y="148"/>
                    </a:lnTo>
                    <a:lnTo>
                      <a:pt x="453" y="146"/>
                    </a:lnTo>
                    <a:lnTo>
                      <a:pt x="451" y="146"/>
                    </a:lnTo>
                    <a:lnTo>
                      <a:pt x="453" y="146"/>
                    </a:lnTo>
                    <a:lnTo>
                      <a:pt x="451" y="146"/>
                    </a:lnTo>
                    <a:lnTo>
                      <a:pt x="453" y="146"/>
                    </a:lnTo>
                    <a:close/>
                    <a:moveTo>
                      <a:pt x="522" y="242"/>
                    </a:moveTo>
                    <a:lnTo>
                      <a:pt x="522" y="244"/>
                    </a:lnTo>
                    <a:lnTo>
                      <a:pt x="522" y="242"/>
                    </a:lnTo>
                    <a:close/>
                    <a:moveTo>
                      <a:pt x="564" y="331"/>
                    </a:moveTo>
                    <a:lnTo>
                      <a:pt x="562" y="331"/>
                    </a:lnTo>
                    <a:lnTo>
                      <a:pt x="564" y="331"/>
                    </a:lnTo>
                    <a:lnTo>
                      <a:pt x="562" y="331"/>
                    </a:lnTo>
                    <a:lnTo>
                      <a:pt x="564" y="331"/>
                    </a:lnTo>
                    <a:close/>
                    <a:moveTo>
                      <a:pt x="501" y="363"/>
                    </a:moveTo>
                    <a:lnTo>
                      <a:pt x="501" y="361"/>
                    </a:lnTo>
                    <a:lnTo>
                      <a:pt x="503" y="361"/>
                    </a:lnTo>
                    <a:lnTo>
                      <a:pt x="505" y="363"/>
                    </a:lnTo>
                    <a:lnTo>
                      <a:pt x="505" y="365"/>
                    </a:lnTo>
                    <a:lnTo>
                      <a:pt x="503" y="365"/>
                    </a:lnTo>
                    <a:lnTo>
                      <a:pt x="501" y="365"/>
                    </a:lnTo>
                    <a:lnTo>
                      <a:pt x="501" y="363"/>
                    </a:lnTo>
                    <a:lnTo>
                      <a:pt x="501" y="365"/>
                    </a:lnTo>
                    <a:lnTo>
                      <a:pt x="499" y="365"/>
                    </a:lnTo>
                    <a:lnTo>
                      <a:pt x="499" y="363"/>
                    </a:lnTo>
                    <a:lnTo>
                      <a:pt x="501" y="363"/>
                    </a:lnTo>
                    <a:close/>
                    <a:moveTo>
                      <a:pt x="491" y="360"/>
                    </a:moveTo>
                    <a:lnTo>
                      <a:pt x="491" y="361"/>
                    </a:lnTo>
                    <a:lnTo>
                      <a:pt x="489" y="361"/>
                    </a:lnTo>
                    <a:lnTo>
                      <a:pt x="489" y="360"/>
                    </a:lnTo>
                    <a:lnTo>
                      <a:pt x="489" y="358"/>
                    </a:lnTo>
                    <a:lnTo>
                      <a:pt x="491" y="360"/>
                    </a:lnTo>
                    <a:close/>
                    <a:moveTo>
                      <a:pt x="105" y="310"/>
                    </a:moveTo>
                    <a:lnTo>
                      <a:pt x="105" y="308"/>
                    </a:lnTo>
                    <a:lnTo>
                      <a:pt x="107" y="308"/>
                    </a:lnTo>
                    <a:lnTo>
                      <a:pt x="109" y="306"/>
                    </a:lnTo>
                    <a:lnTo>
                      <a:pt x="109" y="308"/>
                    </a:lnTo>
                    <a:lnTo>
                      <a:pt x="107" y="308"/>
                    </a:lnTo>
                    <a:lnTo>
                      <a:pt x="109" y="308"/>
                    </a:lnTo>
                    <a:lnTo>
                      <a:pt x="107" y="308"/>
                    </a:lnTo>
                    <a:lnTo>
                      <a:pt x="107" y="310"/>
                    </a:lnTo>
                    <a:lnTo>
                      <a:pt x="105" y="310"/>
                    </a:lnTo>
                    <a:lnTo>
                      <a:pt x="105" y="308"/>
                    </a:lnTo>
                    <a:lnTo>
                      <a:pt x="105" y="310"/>
                    </a:lnTo>
                    <a:lnTo>
                      <a:pt x="105" y="308"/>
                    </a:lnTo>
                    <a:lnTo>
                      <a:pt x="105" y="310"/>
                    </a:lnTo>
                    <a:close/>
                    <a:moveTo>
                      <a:pt x="217" y="175"/>
                    </a:moveTo>
                    <a:lnTo>
                      <a:pt x="219" y="175"/>
                    </a:lnTo>
                    <a:lnTo>
                      <a:pt x="217" y="175"/>
                    </a:lnTo>
                    <a:close/>
                    <a:moveTo>
                      <a:pt x="240" y="148"/>
                    </a:moveTo>
                    <a:lnTo>
                      <a:pt x="240" y="146"/>
                    </a:lnTo>
                    <a:lnTo>
                      <a:pt x="240" y="148"/>
                    </a:lnTo>
                    <a:close/>
                    <a:moveTo>
                      <a:pt x="209" y="190"/>
                    </a:moveTo>
                    <a:lnTo>
                      <a:pt x="211" y="190"/>
                    </a:lnTo>
                    <a:lnTo>
                      <a:pt x="209" y="190"/>
                    </a:lnTo>
                    <a:lnTo>
                      <a:pt x="207" y="190"/>
                    </a:lnTo>
                    <a:lnTo>
                      <a:pt x="209" y="190"/>
                    </a:lnTo>
                    <a:lnTo>
                      <a:pt x="211" y="190"/>
                    </a:lnTo>
                    <a:lnTo>
                      <a:pt x="209" y="190"/>
                    </a:lnTo>
                    <a:lnTo>
                      <a:pt x="207" y="190"/>
                    </a:lnTo>
                    <a:lnTo>
                      <a:pt x="207" y="188"/>
                    </a:lnTo>
                    <a:lnTo>
                      <a:pt x="209" y="188"/>
                    </a:lnTo>
                    <a:lnTo>
                      <a:pt x="209" y="190"/>
                    </a:lnTo>
                    <a:lnTo>
                      <a:pt x="209" y="188"/>
                    </a:lnTo>
                    <a:lnTo>
                      <a:pt x="207" y="188"/>
                    </a:lnTo>
                    <a:lnTo>
                      <a:pt x="207" y="187"/>
                    </a:lnTo>
                    <a:lnTo>
                      <a:pt x="209" y="187"/>
                    </a:lnTo>
                    <a:lnTo>
                      <a:pt x="209" y="188"/>
                    </a:lnTo>
                    <a:lnTo>
                      <a:pt x="211" y="188"/>
                    </a:lnTo>
                    <a:lnTo>
                      <a:pt x="209" y="188"/>
                    </a:lnTo>
                    <a:lnTo>
                      <a:pt x="209" y="187"/>
                    </a:lnTo>
                    <a:lnTo>
                      <a:pt x="209" y="185"/>
                    </a:lnTo>
                    <a:lnTo>
                      <a:pt x="209" y="187"/>
                    </a:lnTo>
                    <a:lnTo>
                      <a:pt x="209" y="185"/>
                    </a:lnTo>
                    <a:lnTo>
                      <a:pt x="207" y="183"/>
                    </a:lnTo>
                    <a:lnTo>
                      <a:pt x="209" y="183"/>
                    </a:lnTo>
                    <a:lnTo>
                      <a:pt x="207" y="183"/>
                    </a:lnTo>
                    <a:lnTo>
                      <a:pt x="207" y="185"/>
                    </a:lnTo>
                    <a:lnTo>
                      <a:pt x="207" y="183"/>
                    </a:lnTo>
                    <a:lnTo>
                      <a:pt x="207" y="185"/>
                    </a:lnTo>
                    <a:lnTo>
                      <a:pt x="205" y="185"/>
                    </a:lnTo>
                    <a:lnTo>
                      <a:pt x="205" y="183"/>
                    </a:lnTo>
                    <a:lnTo>
                      <a:pt x="205" y="185"/>
                    </a:lnTo>
                    <a:lnTo>
                      <a:pt x="205" y="183"/>
                    </a:lnTo>
                    <a:lnTo>
                      <a:pt x="205" y="185"/>
                    </a:lnTo>
                    <a:lnTo>
                      <a:pt x="205" y="183"/>
                    </a:lnTo>
                    <a:lnTo>
                      <a:pt x="205" y="185"/>
                    </a:lnTo>
                    <a:lnTo>
                      <a:pt x="203" y="185"/>
                    </a:lnTo>
                    <a:lnTo>
                      <a:pt x="201" y="185"/>
                    </a:lnTo>
                    <a:lnTo>
                      <a:pt x="201" y="183"/>
                    </a:lnTo>
                    <a:lnTo>
                      <a:pt x="201" y="185"/>
                    </a:lnTo>
                    <a:lnTo>
                      <a:pt x="201" y="183"/>
                    </a:lnTo>
                    <a:lnTo>
                      <a:pt x="201" y="185"/>
                    </a:lnTo>
                    <a:lnTo>
                      <a:pt x="201" y="187"/>
                    </a:lnTo>
                    <a:lnTo>
                      <a:pt x="203" y="188"/>
                    </a:lnTo>
                    <a:lnTo>
                      <a:pt x="201" y="188"/>
                    </a:lnTo>
                    <a:lnTo>
                      <a:pt x="201" y="187"/>
                    </a:lnTo>
                    <a:lnTo>
                      <a:pt x="201" y="185"/>
                    </a:lnTo>
                    <a:lnTo>
                      <a:pt x="201" y="183"/>
                    </a:lnTo>
                    <a:lnTo>
                      <a:pt x="201" y="181"/>
                    </a:lnTo>
                    <a:lnTo>
                      <a:pt x="203" y="179"/>
                    </a:lnTo>
                    <a:lnTo>
                      <a:pt x="205" y="179"/>
                    </a:lnTo>
                    <a:lnTo>
                      <a:pt x="207" y="179"/>
                    </a:lnTo>
                    <a:lnTo>
                      <a:pt x="209" y="179"/>
                    </a:lnTo>
                    <a:lnTo>
                      <a:pt x="209" y="177"/>
                    </a:lnTo>
                    <a:lnTo>
                      <a:pt x="209" y="179"/>
                    </a:lnTo>
                    <a:lnTo>
                      <a:pt x="209" y="177"/>
                    </a:lnTo>
                    <a:lnTo>
                      <a:pt x="211" y="177"/>
                    </a:lnTo>
                    <a:lnTo>
                      <a:pt x="209" y="179"/>
                    </a:lnTo>
                    <a:lnTo>
                      <a:pt x="211" y="179"/>
                    </a:lnTo>
                    <a:lnTo>
                      <a:pt x="213" y="179"/>
                    </a:lnTo>
                    <a:lnTo>
                      <a:pt x="211" y="179"/>
                    </a:lnTo>
                    <a:lnTo>
                      <a:pt x="213" y="179"/>
                    </a:lnTo>
                    <a:lnTo>
                      <a:pt x="211" y="179"/>
                    </a:lnTo>
                    <a:lnTo>
                      <a:pt x="211" y="177"/>
                    </a:lnTo>
                    <a:lnTo>
                      <a:pt x="211" y="175"/>
                    </a:lnTo>
                    <a:lnTo>
                      <a:pt x="211" y="177"/>
                    </a:lnTo>
                    <a:lnTo>
                      <a:pt x="211" y="175"/>
                    </a:lnTo>
                    <a:lnTo>
                      <a:pt x="213" y="175"/>
                    </a:lnTo>
                    <a:lnTo>
                      <a:pt x="213" y="177"/>
                    </a:lnTo>
                    <a:lnTo>
                      <a:pt x="215" y="177"/>
                    </a:lnTo>
                    <a:lnTo>
                      <a:pt x="213" y="177"/>
                    </a:lnTo>
                    <a:lnTo>
                      <a:pt x="213" y="175"/>
                    </a:lnTo>
                    <a:lnTo>
                      <a:pt x="215" y="175"/>
                    </a:lnTo>
                    <a:lnTo>
                      <a:pt x="217" y="175"/>
                    </a:lnTo>
                    <a:lnTo>
                      <a:pt x="215" y="175"/>
                    </a:lnTo>
                    <a:lnTo>
                      <a:pt x="213" y="175"/>
                    </a:lnTo>
                    <a:lnTo>
                      <a:pt x="211" y="175"/>
                    </a:lnTo>
                    <a:lnTo>
                      <a:pt x="213" y="175"/>
                    </a:lnTo>
                    <a:lnTo>
                      <a:pt x="211" y="173"/>
                    </a:lnTo>
                    <a:lnTo>
                      <a:pt x="213" y="173"/>
                    </a:lnTo>
                    <a:lnTo>
                      <a:pt x="213" y="175"/>
                    </a:lnTo>
                    <a:lnTo>
                      <a:pt x="213" y="173"/>
                    </a:lnTo>
                    <a:lnTo>
                      <a:pt x="215" y="173"/>
                    </a:lnTo>
                    <a:lnTo>
                      <a:pt x="215" y="175"/>
                    </a:lnTo>
                    <a:lnTo>
                      <a:pt x="215" y="173"/>
                    </a:lnTo>
                    <a:lnTo>
                      <a:pt x="215" y="175"/>
                    </a:lnTo>
                    <a:lnTo>
                      <a:pt x="217" y="175"/>
                    </a:lnTo>
                    <a:lnTo>
                      <a:pt x="219" y="175"/>
                    </a:lnTo>
                    <a:lnTo>
                      <a:pt x="217" y="175"/>
                    </a:lnTo>
                    <a:lnTo>
                      <a:pt x="219" y="175"/>
                    </a:lnTo>
                    <a:lnTo>
                      <a:pt x="219" y="177"/>
                    </a:lnTo>
                    <a:lnTo>
                      <a:pt x="220" y="177"/>
                    </a:lnTo>
                    <a:lnTo>
                      <a:pt x="220" y="179"/>
                    </a:lnTo>
                    <a:lnTo>
                      <a:pt x="220" y="177"/>
                    </a:lnTo>
                    <a:lnTo>
                      <a:pt x="222" y="177"/>
                    </a:lnTo>
                    <a:lnTo>
                      <a:pt x="220" y="177"/>
                    </a:lnTo>
                    <a:lnTo>
                      <a:pt x="219" y="177"/>
                    </a:lnTo>
                    <a:lnTo>
                      <a:pt x="220" y="177"/>
                    </a:lnTo>
                    <a:lnTo>
                      <a:pt x="219" y="177"/>
                    </a:lnTo>
                    <a:lnTo>
                      <a:pt x="219" y="175"/>
                    </a:lnTo>
                    <a:lnTo>
                      <a:pt x="217" y="175"/>
                    </a:lnTo>
                    <a:lnTo>
                      <a:pt x="219" y="175"/>
                    </a:lnTo>
                    <a:lnTo>
                      <a:pt x="217" y="175"/>
                    </a:lnTo>
                    <a:lnTo>
                      <a:pt x="215" y="175"/>
                    </a:lnTo>
                    <a:lnTo>
                      <a:pt x="217" y="175"/>
                    </a:lnTo>
                    <a:lnTo>
                      <a:pt x="215" y="175"/>
                    </a:lnTo>
                    <a:lnTo>
                      <a:pt x="215" y="173"/>
                    </a:lnTo>
                    <a:lnTo>
                      <a:pt x="217" y="173"/>
                    </a:lnTo>
                    <a:lnTo>
                      <a:pt x="215" y="173"/>
                    </a:lnTo>
                    <a:lnTo>
                      <a:pt x="215" y="171"/>
                    </a:lnTo>
                    <a:lnTo>
                      <a:pt x="215" y="173"/>
                    </a:lnTo>
                    <a:lnTo>
                      <a:pt x="215" y="171"/>
                    </a:lnTo>
                    <a:lnTo>
                      <a:pt x="217" y="171"/>
                    </a:lnTo>
                    <a:lnTo>
                      <a:pt x="217" y="173"/>
                    </a:lnTo>
                    <a:lnTo>
                      <a:pt x="217" y="171"/>
                    </a:lnTo>
                    <a:lnTo>
                      <a:pt x="215" y="171"/>
                    </a:lnTo>
                    <a:lnTo>
                      <a:pt x="217" y="171"/>
                    </a:lnTo>
                    <a:lnTo>
                      <a:pt x="217" y="169"/>
                    </a:lnTo>
                    <a:lnTo>
                      <a:pt x="217" y="171"/>
                    </a:lnTo>
                    <a:lnTo>
                      <a:pt x="217" y="169"/>
                    </a:lnTo>
                    <a:lnTo>
                      <a:pt x="219" y="169"/>
                    </a:lnTo>
                    <a:lnTo>
                      <a:pt x="219" y="167"/>
                    </a:lnTo>
                    <a:lnTo>
                      <a:pt x="219" y="169"/>
                    </a:lnTo>
                    <a:lnTo>
                      <a:pt x="219" y="167"/>
                    </a:lnTo>
                    <a:lnTo>
                      <a:pt x="220" y="167"/>
                    </a:lnTo>
                    <a:lnTo>
                      <a:pt x="222" y="165"/>
                    </a:lnTo>
                    <a:lnTo>
                      <a:pt x="224" y="165"/>
                    </a:lnTo>
                    <a:lnTo>
                      <a:pt x="224" y="163"/>
                    </a:lnTo>
                    <a:lnTo>
                      <a:pt x="226" y="163"/>
                    </a:lnTo>
                    <a:lnTo>
                      <a:pt x="228" y="162"/>
                    </a:lnTo>
                    <a:lnTo>
                      <a:pt x="228" y="160"/>
                    </a:lnTo>
                    <a:lnTo>
                      <a:pt x="230" y="160"/>
                    </a:lnTo>
                    <a:lnTo>
                      <a:pt x="232" y="158"/>
                    </a:lnTo>
                    <a:lnTo>
                      <a:pt x="232" y="156"/>
                    </a:lnTo>
                    <a:lnTo>
                      <a:pt x="234" y="156"/>
                    </a:lnTo>
                    <a:lnTo>
                      <a:pt x="234" y="154"/>
                    </a:lnTo>
                    <a:lnTo>
                      <a:pt x="236" y="152"/>
                    </a:lnTo>
                    <a:lnTo>
                      <a:pt x="238" y="150"/>
                    </a:lnTo>
                    <a:lnTo>
                      <a:pt x="238" y="148"/>
                    </a:lnTo>
                    <a:lnTo>
                      <a:pt x="238" y="150"/>
                    </a:lnTo>
                    <a:lnTo>
                      <a:pt x="238" y="152"/>
                    </a:lnTo>
                    <a:lnTo>
                      <a:pt x="236" y="152"/>
                    </a:lnTo>
                    <a:lnTo>
                      <a:pt x="236" y="154"/>
                    </a:lnTo>
                    <a:lnTo>
                      <a:pt x="236" y="152"/>
                    </a:lnTo>
                    <a:lnTo>
                      <a:pt x="236" y="154"/>
                    </a:lnTo>
                    <a:lnTo>
                      <a:pt x="236" y="152"/>
                    </a:lnTo>
                    <a:lnTo>
                      <a:pt x="238" y="152"/>
                    </a:lnTo>
                    <a:lnTo>
                      <a:pt x="238" y="150"/>
                    </a:lnTo>
                    <a:lnTo>
                      <a:pt x="240" y="150"/>
                    </a:lnTo>
                    <a:lnTo>
                      <a:pt x="240" y="148"/>
                    </a:lnTo>
                    <a:lnTo>
                      <a:pt x="240" y="150"/>
                    </a:lnTo>
                    <a:lnTo>
                      <a:pt x="240" y="148"/>
                    </a:lnTo>
                    <a:lnTo>
                      <a:pt x="240" y="146"/>
                    </a:lnTo>
                    <a:lnTo>
                      <a:pt x="240" y="148"/>
                    </a:lnTo>
                    <a:lnTo>
                      <a:pt x="240" y="146"/>
                    </a:lnTo>
                    <a:lnTo>
                      <a:pt x="242" y="146"/>
                    </a:lnTo>
                    <a:lnTo>
                      <a:pt x="242" y="144"/>
                    </a:lnTo>
                    <a:lnTo>
                      <a:pt x="242" y="142"/>
                    </a:lnTo>
                    <a:lnTo>
                      <a:pt x="244" y="142"/>
                    </a:lnTo>
                    <a:lnTo>
                      <a:pt x="245" y="142"/>
                    </a:lnTo>
                    <a:lnTo>
                      <a:pt x="245" y="140"/>
                    </a:lnTo>
                    <a:lnTo>
                      <a:pt x="245" y="142"/>
                    </a:lnTo>
                    <a:lnTo>
                      <a:pt x="244" y="142"/>
                    </a:lnTo>
                    <a:lnTo>
                      <a:pt x="244" y="144"/>
                    </a:lnTo>
                    <a:lnTo>
                      <a:pt x="245" y="144"/>
                    </a:lnTo>
                    <a:lnTo>
                      <a:pt x="245" y="146"/>
                    </a:lnTo>
                    <a:lnTo>
                      <a:pt x="245" y="144"/>
                    </a:lnTo>
                    <a:lnTo>
                      <a:pt x="245" y="146"/>
                    </a:lnTo>
                    <a:lnTo>
                      <a:pt x="245" y="144"/>
                    </a:lnTo>
                    <a:lnTo>
                      <a:pt x="245" y="142"/>
                    </a:lnTo>
                    <a:lnTo>
                      <a:pt x="247" y="144"/>
                    </a:lnTo>
                    <a:lnTo>
                      <a:pt x="249" y="144"/>
                    </a:lnTo>
                    <a:lnTo>
                      <a:pt x="247" y="142"/>
                    </a:lnTo>
                    <a:lnTo>
                      <a:pt x="249" y="142"/>
                    </a:lnTo>
                    <a:lnTo>
                      <a:pt x="249" y="144"/>
                    </a:lnTo>
                    <a:lnTo>
                      <a:pt x="251" y="142"/>
                    </a:lnTo>
                    <a:lnTo>
                      <a:pt x="251" y="140"/>
                    </a:lnTo>
                    <a:lnTo>
                      <a:pt x="253" y="140"/>
                    </a:lnTo>
                    <a:lnTo>
                      <a:pt x="253" y="138"/>
                    </a:lnTo>
                    <a:lnTo>
                      <a:pt x="251" y="137"/>
                    </a:lnTo>
                    <a:lnTo>
                      <a:pt x="249" y="137"/>
                    </a:lnTo>
                    <a:lnTo>
                      <a:pt x="247" y="137"/>
                    </a:lnTo>
                    <a:lnTo>
                      <a:pt x="247" y="138"/>
                    </a:lnTo>
                    <a:lnTo>
                      <a:pt x="247" y="140"/>
                    </a:lnTo>
                    <a:lnTo>
                      <a:pt x="249" y="142"/>
                    </a:lnTo>
                    <a:lnTo>
                      <a:pt x="247" y="142"/>
                    </a:lnTo>
                    <a:lnTo>
                      <a:pt x="247" y="140"/>
                    </a:lnTo>
                    <a:lnTo>
                      <a:pt x="247" y="142"/>
                    </a:lnTo>
                    <a:lnTo>
                      <a:pt x="247" y="140"/>
                    </a:lnTo>
                    <a:lnTo>
                      <a:pt x="245" y="140"/>
                    </a:lnTo>
                    <a:lnTo>
                      <a:pt x="244" y="142"/>
                    </a:lnTo>
                    <a:lnTo>
                      <a:pt x="242" y="142"/>
                    </a:lnTo>
                    <a:lnTo>
                      <a:pt x="242" y="144"/>
                    </a:lnTo>
                    <a:lnTo>
                      <a:pt x="240" y="146"/>
                    </a:lnTo>
                    <a:lnTo>
                      <a:pt x="240" y="148"/>
                    </a:lnTo>
                    <a:lnTo>
                      <a:pt x="238" y="148"/>
                    </a:lnTo>
                    <a:lnTo>
                      <a:pt x="240" y="148"/>
                    </a:lnTo>
                    <a:lnTo>
                      <a:pt x="238" y="148"/>
                    </a:lnTo>
                    <a:lnTo>
                      <a:pt x="240" y="148"/>
                    </a:lnTo>
                    <a:lnTo>
                      <a:pt x="240" y="146"/>
                    </a:lnTo>
                    <a:lnTo>
                      <a:pt x="242" y="144"/>
                    </a:lnTo>
                    <a:lnTo>
                      <a:pt x="242" y="142"/>
                    </a:lnTo>
                    <a:lnTo>
                      <a:pt x="244" y="142"/>
                    </a:lnTo>
                    <a:lnTo>
                      <a:pt x="245" y="140"/>
                    </a:lnTo>
                    <a:lnTo>
                      <a:pt x="247" y="138"/>
                    </a:lnTo>
                    <a:lnTo>
                      <a:pt x="247" y="137"/>
                    </a:lnTo>
                    <a:lnTo>
                      <a:pt x="249" y="137"/>
                    </a:lnTo>
                    <a:lnTo>
                      <a:pt x="253" y="137"/>
                    </a:lnTo>
                    <a:lnTo>
                      <a:pt x="255" y="137"/>
                    </a:lnTo>
                    <a:lnTo>
                      <a:pt x="257" y="137"/>
                    </a:lnTo>
                    <a:lnTo>
                      <a:pt x="255" y="137"/>
                    </a:lnTo>
                    <a:lnTo>
                      <a:pt x="255" y="138"/>
                    </a:lnTo>
                    <a:lnTo>
                      <a:pt x="257" y="138"/>
                    </a:lnTo>
                    <a:lnTo>
                      <a:pt x="257" y="137"/>
                    </a:lnTo>
                    <a:lnTo>
                      <a:pt x="259" y="137"/>
                    </a:lnTo>
                    <a:lnTo>
                      <a:pt x="261" y="137"/>
                    </a:lnTo>
                    <a:lnTo>
                      <a:pt x="261" y="135"/>
                    </a:lnTo>
                    <a:lnTo>
                      <a:pt x="263" y="135"/>
                    </a:lnTo>
                    <a:lnTo>
                      <a:pt x="265" y="135"/>
                    </a:lnTo>
                    <a:lnTo>
                      <a:pt x="267" y="133"/>
                    </a:lnTo>
                    <a:lnTo>
                      <a:pt x="268" y="133"/>
                    </a:lnTo>
                    <a:lnTo>
                      <a:pt x="270" y="133"/>
                    </a:lnTo>
                    <a:lnTo>
                      <a:pt x="270" y="131"/>
                    </a:lnTo>
                    <a:lnTo>
                      <a:pt x="272" y="131"/>
                    </a:lnTo>
                    <a:lnTo>
                      <a:pt x="274" y="131"/>
                    </a:lnTo>
                    <a:lnTo>
                      <a:pt x="274" y="129"/>
                    </a:lnTo>
                    <a:lnTo>
                      <a:pt x="276" y="129"/>
                    </a:lnTo>
                    <a:lnTo>
                      <a:pt x="278" y="127"/>
                    </a:lnTo>
                    <a:lnTo>
                      <a:pt x="280" y="125"/>
                    </a:lnTo>
                    <a:lnTo>
                      <a:pt x="282" y="125"/>
                    </a:lnTo>
                    <a:lnTo>
                      <a:pt x="282" y="123"/>
                    </a:lnTo>
                    <a:lnTo>
                      <a:pt x="282" y="125"/>
                    </a:lnTo>
                    <a:lnTo>
                      <a:pt x="280" y="125"/>
                    </a:lnTo>
                    <a:lnTo>
                      <a:pt x="282" y="125"/>
                    </a:lnTo>
                    <a:lnTo>
                      <a:pt x="282" y="123"/>
                    </a:lnTo>
                    <a:lnTo>
                      <a:pt x="284" y="123"/>
                    </a:lnTo>
                    <a:lnTo>
                      <a:pt x="286" y="123"/>
                    </a:lnTo>
                    <a:lnTo>
                      <a:pt x="286" y="121"/>
                    </a:lnTo>
                    <a:lnTo>
                      <a:pt x="288" y="121"/>
                    </a:lnTo>
                    <a:lnTo>
                      <a:pt x="288" y="123"/>
                    </a:lnTo>
                    <a:lnTo>
                      <a:pt x="290" y="123"/>
                    </a:lnTo>
                    <a:lnTo>
                      <a:pt x="290" y="121"/>
                    </a:lnTo>
                    <a:lnTo>
                      <a:pt x="288" y="121"/>
                    </a:lnTo>
                    <a:lnTo>
                      <a:pt x="290" y="121"/>
                    </a:lnTo>
                    <a:lnTo>
                      <a:pt x="292" y="121"/>
                    </a:lnTo>
                    <a:lnTo>
                      <a:pt x="292" y="119"/>
                    </a:lnTo>
                    <a:lnTo>
                      <a:pt x="293" y="119"/>
                    </a:lnTo>
                    <a:lnTo>
                      <a:pt x="295" y="119"/>
                    </a:lnTo>
                    <a:lnTo>
                      <a:pt x="297" y="119"/>
                    </a:lnTo>
                    <a:lnTo>
                      <a:pt x="297" y="117"/>
                    </a:lnTo>
                    <a:lnTo>
                      <a:pt x="299" y="117"/>
                    </a:lnTo>
                    <a:lnTo>
                      <a:pt x="299" y="115"/>
                    </a:lnTo>
                    <a:lnTo>
                      <a:pt x="301" y="115"/>
                    </a:lnTo>
                    <a:lnTo>
                      <a:pt x="301" y="113"/>
                    </a:lnTo>
                    <a:lnTo>
                      <a:pt x="301" y="115"/>
                    </a:lnTo>
                    <a:lnTo>
                      <a:pt x="303" y="115"/>
                    </a:lnTo>
                    <a:lnTo>
                      <a:pt x="301" y="115"/>
                    </a:lnTo>
                    <a:lnTo>
                      <a:pt x="303" y="115"/>
                    </a:lnTo>
                    <a:lnTo>
                      <a:pt x="303" y="113"/>
                    </a:lnTo>
                    <a:lnTo>
                      <a:pt x="301" y="113"/>
                    </a:lnTo>
                    <a:lnTo>
                      <a:pt x="301" y="115"/>
                    </a:lnTo>
                    <a:lnTo>
                      <a:pt x="301" y="113"/>
                    </a:lnTo>
                    <a:lnTo>
                      <a:pt x="303" y="113"/>
                    </a:lnTo>
                    <a:lnTo>
                      <a:pt x="303" y="112"/>
                    </a:lnTo>
                    <a:lnTo>
                      <a:pt x="305" y="112"/>
                    </a:lnTo>
                    <a:lnTo>
                      <a:pt x="305" y="110"/>
                    </a:lnTo>
                    <a:lnTo>
                      <a:pt x="307" y="110"/>
                    </a:lnTo>
                    <a:lnTo>
                      <a:pt x="309" y="110"/>
                    </a:lnTo>
                    <a:lnTo>
                      <a:pt x="309" y="108"/>
                    </a:lnTo>
                    <a:lnTo>
                      <a:pt x="311" y="108"/>
                    </a:lnTo>
                    <a:lnTo>
                      <a:pt x="313" y="108"/>
                    </a:lnTo>
                    <a:lnTo>
                      <a:pt x="315" y="106"/>
                    </a:lnTo>
                    <a:lnTo>
                      <a:pt x="317" y="106"/>
                    </a:lnTo>
                    <a:lnTo>
                      <a:pt x="318" y="106"/>
                    </a:lnTo>
                    <a:lnTo>
                      <a:pt x="320" y="104"/>
                    </a:lnTo>
                    <a:lnTo>
                      <a:pt x="324" y="104"/>
                    </a:lnTo>
                    <a:lnTo>
                      <a:pt x="328" y="102"/>
                    </a:lnTo>
                    <a:lnTo>
                      <a:pt x="330" y="102"/>
                    </a:lnTo>
                    <a:lnTo>
                      <a:pt x="328" y="102"/>
                    </a:lnTo>
                    <a:lnTo>
                      <a:pt x="324" y="104"/>
                    </a:lnTo>
                    <a:lnTo>
                      <a:pt x="322" y="104"/>
                    </a:lnTo>
                    <a:lnTo>
                      <a:pt x="320" y="104"/>
                    </a:lnTo>
                    <a:lnTo>
                      <a:pt x="320" y="106"/>
                    </a:lnTo>
                    <a:lnTo>
                      <a:pt x="318" y="106"/>
                    </a:lnTo>
                    <a:lnTo>
                      <a:pt x="317" y="106"/>
                    </a:lnTo>
                    <a:lnTo>
                      <a:pt x="318" y="106"/>
                    </a:lnTo>
                    <a:lnTo>
                      <a:pt x="320" y="106"/>
                    </a:lnTo>
                    <a:lnTo>
                      <a:pt x="320" y="104"/>
                    </a:lnTo>
                    <a:lnTo>
                      <a:pt x="320" y="106"/>
                    </a:lnTo>
                    <a:lnTo>
                      <a:pt x="320" y="108"/>
                    </a:lnTo>
                    <a:lnTo>
                      <a:pt x="318" y="108"/>
                    </a:lnTo>
                    <a:lnTo>
                      <a:pt x="320" y="108"/>
                    </a:lnTo>
                    <a:lnTo>
                      <a:pt x="318" y="108"/>
                    </a:lnTo>
                    <a:lnTo>
                      <a:pt x="318" y="106"/>
                    </a:lnTo>
                    <a:lnTo>
                      <a:pt x="317" y="106"/>
                    </a:lnTo>
                    <a:lnTo>
                      <a:pt x="317" y="108"/>
                    </a:lnTo>
                    <a:lnTo>
                      <a:pt x="315" y="108"/>
                    </a:lnTo>
                    <a:lnTo>
                      <a:pt x="315" y="110"/>
                    </a:lnTo>
                    <a:lnTo>
                      <a:pt x="315" y="108"/>
                    </a:lnTo>
                    <a:lnTo>
                      <a:pt x="313" y="108"/>
                    </a:lnTo>
                    <a:lnTo>
                      <a:pt x="313" y="110"/>
                    </a:lnTo>
                    <a:lnTo>
                      <a:pt x="315" y="110"/>
                    </a:lnTo>
                    <a:lnTo>
                      <a:pt x="313" y="110"/>
                    </a:lnTo>
                    <a:lnTo>
                      <a:pt x="315" y="110"/>
                    </a:lnTo>
                    <a:lnTo>
                      <a:pt x="315" y="112"/>
                    </a:lnTo>
                    <a:lnTo>
                      <a:pt x="317" y="113"/>
                    </a:lnTo>
                    <a:lnTo>
                      <a:pt x="318" y="112"/>
                    </a:lnTo>
                    <a:lnTo>
                      <a:pt x="318" y="110"/>
                    </a:lnTo>
                    <a:lnTo>
                      <a:pt x="320" y="110"/>
                    </a:lnTo>
                    <a:lnTo>
                      <a:pt x="320" y="108"/>
                    </a:lnTo>
                    <a:lnTo>
                      <a:pt x="322" y="108"/>
                    </a:lnTo>
                    <a:lnTo>
                      <a:pt x="322" y="106"/>
                    </a:lnTo>
                    <a:lnTo>
                      <a:pt x="324" y="106"/>
                    </a:lnTo>
                    <a:lnTo>
                      <a:pt x="324" y="104"/>
                    </a:lnTo>
                    <a:lnTo>
                      <a:pt x="326" y="104"/>
                    </a:lnTo>
                    <a:lnTo>
                      <a:pt x="328" y="104"/>
                    </a:lnTo>
                    <a:lnTo>
                      <a:pt x="328" y="102"/>
                    </a:lnTo>
                    <a:lnTo>
                      <a:pt x="328" y="104"/>
                    </a:lnTo>
                    <a:lnTo>
                      <a:pt x="328" y="102"/>
                    </a:lnTo>
                    <a:lnTo>
                      <a:pt x="328" y="104"/>
                    </a:lnTo>
                    <a:lnTo>
                      <a:pt x="328" y="102"/>
                    </a:lnTo>
                    <a:lnTo>
                      <a:pt x="330" y="102"/>
                    </a:lnTo>
                    <a:lnTo>
                      <a:pt x="330" y="104"/>
                    </a:lnTo>
                    <a:lnTo>
                      <a:pt x="330" y="102"/>
                    </a:lnTo>
                    <a:lnTo>
                      <a:pt x="330" y="104"/>
                    </a:lnTo>
                    <a:lnTo>
                      <a:pt x="330" y="102"/>
                    </a:lnTo>
                    <a:lnTo>
                      <a:pt x="330" y="104"/>
                    </a:lnTo>
                    <a:lnTo>
                      <a:pt x="330" y="102"/>
                    </a:lnTo>
                    <a:lnTo>
                      <a:pt x="332" y="102"/>
                    </a:lnTo>
                    <a:lnTo>
                      <a:pt x="334" y="102"/>
                    </a:lnTo>
                    <a:lnTo>
                      <a:pt x="336" y="102"/>
                    </a:lnTo>
                    <a:lnTo>
                      <a:pt x="338" y="102"/>
                    </a:lnTo>
                    <a:lnTo>
                      <a:pt x="340" y="102"/>
                    </a:lnTo>
                    <a:lnTo>
                      <a:pt x="341" y="102"/>
                    </a:lnTo>
                    <a:lnTo>
                      <a:pt x="343" y="102"/>
                    </a:lnTo>
                    <a:lnTo>
                      <a:pt x="345" y="102"/>
                    </a:lnTo>
                    <a:lnTo>
                      <a:pt x="343" y="102"/>
                    </a:lnTo>
                    <a:lnTo>
                      <a:pt x="341" y="102"/>
                    </a:lnTo>
                    <a:lnTo>
                      <a:pt x="340" y="102"/>
                    </a:lnTo>
                    <a:lnTo>
                      <a:pt x="338" y="102"/>
                    </a:lnTo>
                    <a:lnTo>
                      <a:pt x="336" y="102"/>
                    </a:lnTo>
                    <a:lnTo>
                      <a:pt x="334" y="102"/>
                    </a:lnTo>
                    <a:lnTo>
                      <a:pt x="332" y="102"/>
                    </a:lnTo>
                    <a:lnTo>
                      <a:pt x="330" y="102"/>
                    </a:lnTo>
                    <a:lnTo>
                      <a:pt x="332" y="102"/>
                    </a:lnTo>
                    <a:lnTo>
                      <a:pt x="334" y="102"/>
                    </a:lnTo>
                    <a:lnTo>
                      <a:pt x="336" y="102"/>
                    </a:lnTo>
                    <a:lnTo>
                      <a:pt x="338" y="102"/>
                    </a:lnTo>
                    <a:lnTo>
                      <a:pt x="341" y="102"/>
                    </a:lnTo>
                    <a:lnTo>
                      <a:pt x="343" y="102"/>
                    </a:lnTo>
                    <a:lnTo>
                      <a:pt x="347" y="102"/>
                    </a:lnTo>
                    <a:lnTo>
                      <a:pt x="349" y="102"/>
                    </a:lnTo>
                    <a:lnTo>
                      <a:pt x="518" y="244"/>
                    </a:lnTo>
                    <a:lnTo>
                      <a:pt x="518" y="246"/>
                    </a:lnTo>
                    <a:lnTo>
                      <a:pt x="518" y="248"/>
                    </a:lnTo>
                    <a:lnTo>
                      <a:pt x="520" y="248"/>
                    </a:lnTo>
                    <a:lnTo>
                      <a:pt x="518" y="248"/>
                    </a:lnTo>
                    <a:lnTo>
                      <a:pt x="520" y="248"/>
                    </a:lnTo>
                    <a:lnTo>
                      <a:pt x="518" y="248"/>
                    </a:lnTo>
                    <a:lnTo>
                      <a:pt x="520" y="248"/>
                    </a:lnTo>
                    <a:lnTo>
                      <a:pt x="520" y="250"/>
                    </a:lnTo>
                    <a:lnTo>
                      <a:pt x="520" y="248"/>
                    </a:lnTo>
                    <a:lnTo>
                      <a:pt x="520" y="246"/>
                    </a:lnTo>
                    <a:lnTo>
                      <a:pt x="522" y="248"/>
                    </a:lnTo>
                    <a:lnTo>
                      <a:pt x="528" y="252"/>
                    </a:lnTo>
                    <a:lnTo>
                      <a:pt x="534" y="258"/>
                    </a:lnTo>
                    <a:lnTo>
                      <a:pt x="534" y="260"/>
                    </a:lnTo>
                    <a:lnTo>
                      <a:pt x="534" y="262"/>
                    </a:lnTo>
                    <a:lnTo>
                      <a:pt x="534" y="263"/>
                    </a:lnTo>
                    <a:lnTo>
                      <a:pt x="534" y="265"/>
                    </a:lnTo>
                    <a:lnTo>
                      <a:pt x="534" y="267"/>
                    </a:lnTo>
                    <a:lnTo>
                      <a:pt x="536" y="267"/>
                    </a:lnTo>
                    <a:lnTo>
                      <a:pt x="536" y="269"/>
                    </a:lnTo>
                    <a:lnTo>
                      <a:pt x="536" y="271"/>
                    </a:lnTo>
                    <a:lnTo>
                      <a:pt x="536" y="273"/>
                    </a:lnTo>
                    <a:lnTo>
                      <a:pt x="536" y="275"/>
                    </a:lnTo>
                    <a:lnTo>
                      <a:pt x="537" y="277"/>
                    </a:lnTo>
                    <a:lnTo>
                      <a:pt x="537" y="279"/>
                    </a:lnTo>
                    <a:lnTo>
                      <a:pt x="536" y="279"/>
                    </a:lnTo>
                    <a:lnTo>
                      <a:pt x="536" y="281"/>
                    </a:lnTo>
                    <a:lnTo>
                      <a:pt x="534" y="281"/>
                    </a:lnTo>
                    <a:lnTo>
                      <a:pt x="534" y="283"/>
                    </a:lnTo>
                    <a:lnTo>
                      <a:pt x="534" y="285"/>
                    </a:lnTo>
                    <a:lnTo>
                      <a:pt x="532" y="287"/>
                    </a:lnTo>
                    <a:lnTo>
                      <a:pt x="532" y="288"/>
                    </a:lnTo>
                    <a:lnTo>
                      <a:pt x="532" y="290"/>
                    </a:lnTo>
                    <a:lnTo>
                      <a:pt x="532" y="292"/>
                    </a:lnTo>
                    <a:lnTo>
                      <a:pt x="532" y="296"/>
                    </a:lnTo>
                    <a:lnTo>
                      <a:pt x="532" y="298"/>
                    </a:lnTo>
                    <a:lnTo>
                      <a:pt x="532" y="300"/>
                    </a:lnTo>
                    <a:lnTo>
                      <a:pt x="532" y="302"/>
                    </a:lnTo>
                    <a:lnTo>
                      <a:pt x="532" y="304"/>
                    </a:lnTo>
                    <a:lnTo>
                      <a:pt x="532" y="306"/>
                    </a:lnTo>
                    <a:lnTo>
                      <a:pt x="532" y="308"/>
                    </a:lnTo>
                    <a:lnTo>
                      <a:pt x="530" y="308"/>
                    </a:lnTo>
                    <a:lnTo>
                      <a:pt x="530" y="306"/>
                    </a:lnTo>
                    <a:lnTo>
                      <a:pt x="532" y="306"/>
                    </a:lnTo>
                    <a:lnTo>
                      <a:pt x="532" y="304"/>
                    </a:lnTo>
                    <a:lnTo>
                      <a:pt x="532" y="302"/>
                    </a:lnTo>
                    <a:lnTo>
                      <a:pt x="532" y="300"/>
                    </a:lnTo>
                    <a:lnTo>
                      <a:pt x="532" y="298"/>
                    </a:lnTo>
                    <a:lnTo>
                      <a:pt x="530" y="298"/>
                    </a:lnTo>
                    <a:lnTo>
                      <a:pt x="530" y="300"/>
                    </a:lnTo>
                    <a:lnTo>
                      <a:pt x="528" y="300"/>
                    </a:lnTo>
                    <a:lnTo>
                      <a:pt x="528" y="302"/>
                    </a:lnTo>
                    <a:lnTo>
                      <a:pt x="528" y="304"/>
                    </a:lnTo>
                    <a:lnTo>
                      <a:pt x="526" y="304"/>
                    </a:lnTo>
                    <a:lnTo>
                      <a:pt x="526" y="306"/>
                    </a:lnTo>
                    <a:lnTo>
                      <a:pt x="524" y="308"/>
                    </a:lnTo>
                    <a:lnTo>
                      <a:pt x="526" y="308"/>
                    </a:lnTo>
                    <a:lnTo>
                      <a:pt x="524" y="308"/>
                    </a:lnTo>
                    <a:lnTo>
                      <a:pt x="524" y="310"/>
                    </a:lnTo>
                    <a:lnTo>
                      <a:pt x="522" y="310"/>
                    </a:lnTo>
                    <a:lnTo>
                      <a:pt x="524" y="310"/>
                    </a:lnTo>
                    <a:lnTo>
                      <a:pt x="524" y="308"/>
                    </a:lnTo>
                    <a:lnTo>
                      <a:pt x="524" y="310"/>
                    </a:lnTo>
                    <a:lnTo>
                      <a:pt x="524" y="308"/>
                    </a:lnTo>
                    <a:lnTo>
                      <a:pt x="522" y="308"/>
                    </a:lnTo>
                    <a:lnTo>
                      <a:pt x="522" y="310"/>
                    </a:lnTo>
                    <a:lnTo>
                      <a:pt x="520" y="310"/>
                    </a:lnTo>
                    <a:lnTo>
                      <a:pt x="518" y="311"/>
                    </a:lnTo>
                    <a:lnTo>
                      <a:pt x="518" y="313"/>
                    </a:lnTo>
                    <a:lnTo>
                      <a:pt x="518" y="315"/>
                    </a:lnTo>
                    <a:lnTo>
                      <a:pt x="518" y="313"/>
                    </a:lnTo>
                    <a:lnTo>
                      <a:pt x="516" y="313"/>
                    </a:lnTo>
                    <a:lnTo>
                      <a:pt x="514" y="313"/>
                    </a:lnTo>
                    <a:lnTo>
                      <a:pt x="514" y="315"/>
                    </a:lnTo>
                    <a:lnTo>
                      <a:pt x="512" y="317"/>
                    </a:lnTo>
                    <a:lnTo>
                      <a:pt x="511" y="317"/>
                    </a:lnTo>
                    <a:lnTo>
                      <a:pt x="511" y="319"/>
                    </a:lnTo>
                    <a:lnTo>
                      <a:pt x="509" y="319"/>
                    </a:lnTo>
                    <a:lnTo>
                      <a:pt x="505" y="317"/>
                    </a:lnTo>
                    <a:lnTo>
                      <a:pt x="505" y="319"/>
                    </a:lnTo>
                    <a:lnTo>
                      <a:pt x="503" y="319"/>
                    </a:lnTo>
                    <a:lnTo>
                      <a:pt x="503" y="317"/>
                    </a:lnTo>
                    <a:lnTo>
                      <a:pt x="501" y="317"/>
                    </a:lnTo>
                    <a:lnTo>
                      <a:pt x="501" y="319"/>
                    </a:lnTo>
                    <a:lnTo>
                      <a:pt x="499" y="319"/>
                    </a:lnTo>
                    <a:lnTo>
                      <a:pt x="499" y="317"/>
                    </a:lnTo>
                    <a:lnTo>
                      <a:pt x="493" y="317"/>
                    </a:lnTo>
                    <a:lnTo>
                      <a:pt x="491" y="317"/>
                    </a:lnTo>
                    <a:lnTo>
                      <a:pt x="489" y="317"/>
                    </a:lnTo>
                    <a:lnTo>
                      <a:pt x="489" y="315"/>
                    </a:lnTo>
                    <a:lnTo>
                      <a:pt x="486" y="315"/>
                    </a:lnTo>
                    <a:lnTo>
                      <a:pt x="489" y="315"/>
                    </a:lnTo>
                    <a:lnTo>
                      <a:pt x="487" y="315"/>
                    </a:lnTo>
                    <a:lnTo>
                      <a:pt x="486" y="315"/>
                    </a:lnTo>
                    <a:lnTo>
                      <a:pt x="484" y="317"/>
                    </a:lnTo>
                    <a:lnTo>
                      <a:pt x="482" y="317"/>
                    </a:lnTo>
                    <a:lnTo>
                      <a:pt x="476" y="323"/>
                    </a:lnTo>
                    <a:lnTo>
                      <a:pt x="482" y="317"/>
                    </a:lnTo>
                    <a:lnTo>
                      <a:pt x="476" y="323"/>
                    </a:lnTo>
                    <a:lnTo>
                      <a:pt x="476" y="325"/>
                    </a:lnTo>
                    <a:lnTo>
                      <a:pt x="476" y="327"/>
                    </a:lnTo>
                    <a:lnTo>
                      <a:pt x="474" y="327"/>
                    </a:lnTo>
                    <a:lnTo>
                      <a:pt x="470" y="329"/>
                    </a:lnTo>
                    <a:lnTo>
                      <a:pt x="470" y="331"/>
                    </a:lnTo>
                    <a:lnTo>
                      <a:pt x="470" y="333"/>
                    </a:lnTo>
                    <a:lnTo>
                      <a:pt x="470" y="331"/>
                    </a:lnTo>
                    <a:lnTo>
                      <a:pt x="470" y="329"/>
                    </a:lnTo>
                    <a:lnTo>
                      <a:pt x="472" y="329"/>
                    </a:lnTo>
                    <a:lnTo>
                      <a:pt x="474" y="329"/>
                    </a:lnTo>
                    <a:lnTo>
                      <a:pt x="474" y="331"/>
                    </a:lnTo>
                    <a:lnTo>
                      <a:pt x="474" y="329"/>
                    </a:lnTo>
                    <a:lnTo>
                      <a:pt x="474" y="331"/>
                    </a:lnTo>
                    <a:lnTo>
                      <a:pt x="476" y="331"/>
                    </a:lnTo>
                    <a:lnTo>
                      <a:pt x="476" y="329"/>
                    </a:lnTo>
                    <a:lnTo>
                      <a:pt x="478" y="329"/>
                    </a:lnTo>
                    <a:lnTo>
                      <a:pt x="478" y="327"/>
                    </a:lnTo>
                    <a:lnTo>
                      <a:pt x="478" y="325"/>
                    </a:lnTo>
                    <a:lnTo>
                      <a:pt x="480" y="325"/>
                    </a:lnTo>
                    <a:lnTo>
                      <a:pt x="480" y="323"/>
                    </a:lnTo>
                    <a:lnTo>
                      <a:pt x="480" y="321"/>
                    </a:lnTo>
                    <a:lnTo>
                      <a:pt x="482" y="319"/>
                    </a:lnTo>
                    <a:lnTo>
                      <a:pt x="482" y="317"/>
                    </a:lnTo>
                    <a:lnTo>
                      <a:pt x="482" y="319"/>
                    </a:lnTo>
                    <a:lnTo>
                      <a:pt x="484" y="319"/>
                    </a:lnTo>
                    <a:lnTo>
                      <a:pt x="486" y="319"/>
                    </a:lnTo>
                    <a:lnTo>
                      <a:pt x="487" y="319"/>
                    </a:lnTo>
                    <a:lnTo>
                      <a:pt x="489" y="319"/>
                    </a:lnTo>
                    <a:lnTo>
                      <a:pt x="491" y="319"/>
                    </a:lnTo>
                    <a:lnTo>
                      <a:pt x="491" y="317"/>
                    </a:lnTo>
                    <a:lnTo>
                      <a:pt x="493" y="319"/>
                    </a:lnTo>
                    <a:lnTo>
                      <a:pt x="493" y="321"/>
                    </a:lnTo>
                    <a:lnTo>
                      <a:pt x="495" y="321"/>
                    </a:lnTo>
                    <a:lnTo>
                      <a:pt x="497" y="321"/>
                    </a:lnTo>
                    <a:lnTo>
                      <a:pt x="499" y="321"/>
                    </a:lnTo>
                    <a:lnTo>
                      <a:pt x="499" y="323"/>
                    </a:lnTo>
                    <a:lnTo>
                      <a:pt x="497" y="323"/>
                    </a:lnTo>
                    <a:lnTo>
                      <a:pt x="497" y="325"/>
                    </a:lnTo>
                    <a:lnTo>
                      <a:pt x="497" y="327"/>
                    </a:lnTo>
                    <a:lnTo>
                      <a:pt x="495" y="327"/>
                    </a:lnTo>
                    <a:lnTo>
                      <a:pt x="495" y="329"/>
                    </a:lnTo>
                    <a:lnTo>
                      <a:pt x="493" y="329"/>
                    </a:lnTo>
                    <a:lnTo>
                      <a:pt x="493" y="331"/>
                    </a:lnTo>
                    <a:lnTo>
                      <a:pt x="491" y="329"/>
                    </a:lnTo>
                    <a:lnTo>
                      <a:pt x="489" y="329"/>
                    </a:lnTo>
                    <a:lnTo>
                      <a:pt x="487" y="329"/>
                    </a:lnTo>
                    <a:lnTo>
                      <a:pt x="487" y="331"/>
                    </a:lnTo>
                    <a:lnTo>
                      <a:pt x="486" y="331"/>
                    </a:lnTo>
                    <a:lnTo>
                      <a:pt x="486" y="333"/>
                    </a:lnTo>
                    <a:lnTo>
                      <a:pt x="484" y="333"/>
                    </a:lnTo>
                    <a:lnTo>
                      <a:pt x="484" y="335"/>
                    </a:lnTo>
                    <a:lnTo>
                      <a:pt x="484" y="336"/>
                    </a:lnTo>
                    <a:lnTo>
                      <a:pt x="484" y="338"/>
                    </a:lnTo>
                    <a:lnTo>
                      <a:pt x="482" y="338"/>
                    </a:lnTo>
                    <a:lnTo>
                      <a:pt x="482" y="340"/>
                    </a:lnTo>
                    <a:lnTo>
                      <a:pt x="482" y="338"/>
                    </a:lnTo>
                    <a:lnTo>
                      <a:pt x="480" y="338"/>
                    </a:lnTo>
                    <a:lnTo>
                      <a:pt x="480" y="336"/>
                    </a:lnTo>
                    <a:lnTo>
                      <a:pt x="480" y="338"/>
                    </a:lnTo>
                    <a:lnTo>
                      <a:pt x="478" y="338"/>
                    </a:lnTo>
                    <a:lnTo>
                      <a:pt x="476" y="338"/>
                    </a:lnTo>
                    <a:lnTo>
                      <a:pt x="474" y="338"/>
                    </a:lnTo>
                    <a:lnTo>
                      <a:pt x="474" y="340"/>
                    </a:lnTo>
                    <a:lnTo>
                      <a:pt x="472" y="338"/>
                    </a:lnTo>
                    <a:lnTo>
                      <a:pt x="472" y="340"/>
                    </a:lnTo>
                    <a:lnTo>
                      <a:pt x="470" y="340"/>
                    </a:lnTo>
                    <a:lnTo>
                      <a:pt x="468" y="340"/>
                    </a:lnTo>
                    <a:lnTo>
                      <a:pt x="468" y="342"/>
                    </a:lnTo>
                    <a:lnTo>
                      <a:pt x="468" y="344"/>
                    </a:lnTo>
                    <a:lnTo>
                      <a:pt x="470" y="344"/>
                    </a:lnTo>
                    <a:lnTo>
                      <a:pt x="470" y="346"/>
                    </a:lnTo>
                    <a:lnTo>
                      <a:pt x="470" y="348"/>
                    </a:lnTo>
                    <a:lnTo>
                      <a:pt x="470" y="350"/>
                    </a:lnTo>
                    <a:lnTo>
                      <a:pt x="472" y="350"/>
                    </a:lnTo>
                    <a:lnTo>
                      <a:pt x="472" y="352"/>
                    </a:lnTo>
                    <a:lnTo>
                      <a:pt x="472" y="354"/>
                    </a:lnTo>
                    <a:lnTo>
                      <a:pt x="470" y="356"/>
                    </a:lnTo>
                    <a:lnTo>
                      <a:pt x="472" y="356"/>
                    </a:lnTo>
                    <a:lnTo>
                      <a:pt x="470" y="356"/>
                    </a:lnTo>
                    <a:lnTo>
                      <a:pt x="470" y="358"/>
                    </a:lnTo>
                    <a:lnTo>
                      <a:pt x="468" y="358"/>
                    </a:lnTo>
                    <a:lnTo>
                      <a:pt x="466" y="358"/>
                    </a:lnTo>
                    <a:lnTo>
                      <a:pt x="466" y="360"/>
                    </a:lnTo>
                    <a:lnTo>
                      <a:pt x="466" y="361"/>
                    </a:lnTo>
                    <a:lnTo>
                      <a:pt x="466" y="363"/>
                    </a:lnTo>
                    <a:lnTo>
                      <a:pt x="466" y="361"/>
                    </a:lnTo>
                    <a:lnTo>
                      <a:pt x="466" y="363"/>
                    </a:lnTo>
                    <a:lnTo>
                      <a:pt x="464" y="363"/>
                    </a:lnTo>
                    <a:lnTo>
                      <a:pt x="466" y="363"/>
                    </a:lnTo>
                    <a:lnTo>
                      <a:pt x="464" y="363"/>
                    </a:lnTo>
                    <a:lnTo>
                      <a:pt x="464" y="365"/>
                    </a:lnTo>
                    <a:lnTo>
                      <a:pt x="463" y="365"/>
                    </a:lnTo>
                    <a:lnTo>
                      <a:pt x="463" y="367"/>
                    </a:lnTo>
                    <a:lnTo>
                      <a:pt x="461" y="367"/>
                    </a:lnTo>
                    <a:lnTo>
                      <a:pt x="461" y="369"/>
                    </a:lnTo>
                    <a:lnTo>
                      <a:pt x="459" y="369"/>
                    </a:lnTo>
                    <a:lnTo>
                      <a:pt x="459" y="371"/>
                    </a:lnTo>
                    <a:lnTo>
                      <a:pt x="459" y="373"/>
                    </a:lnTo>
                    <a:lnTo>
                      <a:pt x="459" y="375"/>
                    </a:lnTo>
                    <a:lnTo>
                      <a:pt x="459" y="377"/>
                    </a:lnTo>
                    <a:lnTo>
                      <a:pt x="459" y="379"/>
                    </a:lnTo>
                    <a:lnTo>
                      <a:pt x="457" y="379"/>
                    </a:lnTo>
                    <a:lnTo>
                      <a:pt x="457" y="381"/>
                    </a:lnTo>
                    <a:lnTo>
                      <a:pt x="455" y="383"/>
                    </a:lnTo>
                    <a:lnTo>
                      <a:pt x="455" y="381"/>
                    </a:lnTo>
                    <a:lnTo>
                      <a:pt x="457" y="381"/>
                    </a:lnTo>
                    <a:lnTo>
                      <a:pt x="455" y="381"/>
                    </a:lnTo>
                    <a:lnTo>
                      <a:pt x="455" y="383"/>
                    </a:lnTo>
                    <a:lnTo>
                      <a:pt x="453" y="383"/>
                    </a:lnTo>
                    <a:lnTo>
                      <a:pt x="451" y="383"/>
                    </a:lnTo>
                    <a:lnTo>
                      <a:pt x="449" y="383"/>
                    </a:lnTo>
                    <a:lnTo>
                      <a:pt x="447" y="385"/>
                    </a:lnTo>
                    <a:lnTo>
                      <a:pt x="445" y="385"/>
                    </a:lnTo>
                    <a:lnTo>
                      <a:pt x="445" y="383"/>
                    </a:lnTo>
                    <a:lnTo>
                      <a:pt x="443" y="383"/>
                    </a:lnTo>
                    <a:lnTo>
                      <a:pt x="443" y="381"/>
                    </a:lnTo>
                    <a:lnTo>
                      <a:pt x="443" y="383"/>
                    </a:lnTo>
                    <a:lnTo>
                      <a:pt x="441" y="383"/>
                    </a:lnTo>
                    <a:lnTo>
                      <a:pt x="441" y="381"/>
                    </a:lnTo>
                    <a:lnTo>
                      <a:pt x="441" y="379"/>
                    </a:lnTo>
                    <a:lnTo>
                      <a:pt x="441" y="377"/>
                    </a:lnTo>
                    <a:lnTo>
                      <a:pt x="443" y="377"/>
                    </a:lnTo>
                    <a:lnTo>
                      <a:pt x="443" y="375"/>
                    </a:lnTo>
                    <a:lnTo>
                      <a:pt x="443" y="373"/>
                    </a:lnTo>
                    <a:lnTo>
                      <a:pt x="441" y="373"/>
                    </a:lnTo>
                    <a:lnTo>
                      <a:pt x="441" y="371"/>
                    </a:lnTo>
                    <a:lnTo>
                      <a:pt x="441" y="369"/>
                    </a:lnTo>
                    <a:lnTo>
                      <a:pt x="441" y="367"/>
                    </a:lnTo>
                    <a:lnTo>
                      <a:pt x="441" y="365"/>
                    </a:lnTo>
                    <a:lnTo>
                      <a:pt x="441" y="363"/>
                    </a:lnTo>
                    <a:lnTo>
                      <a:pt x="443" y="363"/>
                    </a:lnTo>
                    <a:lnTo>
                      <a:pt x="443" y="361"/>
                    </a:lnTo>
                    <a:lnTo>
                      <a:pt x="443" y="363"/>
                    </a:lnTo>
                    <a:lnTo>
                      <a:pt x="443" y="361"/>
                    </a:lnTo>
                    <a:lnTo>
                      <a:pt x="443" y="363"/>
                    </a:lnTo>
                    <a:lnTo>
                      <a:pt x="443" y="361"/>
                    </a:lnTo>
                    <a:lnTo>
                      <a:pt x="441" y="360"/>
                    </a:lnTo>
                    <a:lnTo>
                      <a:pt x="441" y="361"/>
                    </a:lnTo>
                    <a:lnTo>
                      <a:pt x="443" y="361"/>
                    </a:lnTo>
                    <a:lnTo>
                      <a:pt x="441" y="361"/>
                    </a:lnTo>
                    <a:lnTo>
                      <a:pt x="443" y="361"/>
                    </a:lnTo>
                    <a:lnTo>
                      <a:pt x="443" y="363"/>
                    </a:lnTo>
                    <a:lnTo>
                      <a:pt x="441" y="363"/>
                    </a:lnTo>
                    <a:lnTo>
                      <a:pt x="441" y="365"/>
                    </a:lnTo>
                    <a:lnTo>
                      <a:pt x="441" y="367"/>
                    </a:lnTo>
                    <a:lnTo>
                      <a:pt x="441" y="369"/>
                    </a:lnTo>
                    <a:lnTo>
                      <a:pt x="441" y="371"/>
                    </a:lnTo>
                    <a:lnTo>
                      <a:pt x="441" y="373"/>
                    </a:lnTo>
                    <a:lnTo>
                      <a:pt x="443" y="375"/>
                    </a:lnTo>
                    <a:lnTo>
                      <a:pt x="443" y="373"/>
                    </a:lnTo>
                    <a:lnTo>
                      <a:pt x="443" y="375"/>
                    </a:lnTo>
                    <a:lnTo>
                      <a:pt x="443" y="377"/>
                    </a:lnTo>
                    <a:lnTo>
                      <a:pt x="441" y="377"/>
                    </a:lnTo>
                    <a:lnTo>
                      <a:pt x="441" y="379"/>
                    </a:lnTo>
                    <a:lnTo>
                      <a:pt x="441" y="381"/>
                    </a:lnTo>
                    <a:lnTo>
                      <a:pt x="441" y="383"/>
                    </a:lnTo>
                    <a:lnTo>
                      <a:pt x="443" y="383"/>
                    </a:lnTo>
                    <a:lnTo>
                      <a:pt x="445" y="383"/>
                    </a:lnTo>
                    <a:lnTo>
                      <a:pt x="445" y="385"/>
                    </a:lnTo>
                    <a:lnTo>
                      <a:pt x="443" y="385"/>
                    </a:lnTo>
                    <a:lnTo>
                      <a:pt x="441" y="386"/>
                    </a:lnTo>
                    <a:lnTo>
                      <a:pt x="439" y="386"/>
                    </a:lnTo>
                    <a:lnTo>
                      <a:pt x="439" y="385"/>
                    </a:lnTo>
                    <a:lnTo>
                      <a:pt x="438" y="385"/>
                    </a:lnTo>
                    <a:lnTo>
                      <a:pt x="439" y="385"/>
                    </a:lnTo>
                    <a:lnTo>
                      <a:pt x="438" y="385"/>
                    </a:lnTo>
                    <a:lnTo>
                      <a:pt x="436" y="385"/>
                    </a:lnTo>
                    <a:lnTo>
                      <a:pt x="438" y="383"/>
                    </a:lnTo>
                    <a:lnTo>
                      <a:pt x="438" y="381"/>
                    </a:lnTo>
                    <a:lnTo>
                      <a:pt x="438" y="383"/>
                    </a:lnTo>
                    <a:lnTo>
                      <a:pt x="439" y="381"/>
                    </a:lnTo>
                    <a:lnTo>
                      <a:pt x="438" y="383"/>
                    </a:lnTo>
                    <a:lnTo>
                      <a:pt x="438" y="381"/>
                    </a:lnTo>
                    <a:lnTo>
                      <a:pt x="438" y="383"/>
                    </a:lnTo>
                    <a:lnTo>
                      <a:pt x="436" y="383"/>
                    </a:lnTo>
                    <a:lnTo>
                      <a:pt x="436" y="385"/>
                    </a:lnTo>
                    <a:lnTo>
                      <a:pt x="436" y="383"/>
                    </a:lnTo>
                    <a:lnTo>
                      <a:pt x="434" y="383"/>
                    </a:lnTo>
                    <a:lnTo>
                      <a:pt x="432" y="381"/>
                    </a:lnTo>
                    <a:lnTo>
                      <a:pt x="430" y="381"/>
                    </a:lnTo>
                    <a:lnTo>
                      <a:pt x="428" y="381"/>
                    </a:lnTo>
                    <a:lnTo>
                      <a:pt x="426" y="383"/>
                    </a:lnTo>
                    <a:lnTo>
                      <a:pt x="424" y="383"/>
                    </a:lnTo>
                    <a:lnTo>
                      <a:pt x="424" y="385"/>
                    </a:lnTo>
                    <a:lnTo>
                      <a:pt x="424" y="383"/>
                    </a:lnTo>
                    <a:lnTo>
                      <a:pt x="424" y="385"/>
                    </a:lnTo>
                    <a:lnTo>
                      <a:pt x="422" y="385"/>
                    </a:lnTo>
                    <a:lnTo>
                      <a:pt x="420" y="385"/>
                    </a:lnTo>
                    <a:lnTo>
                      <a:pt x="418" y="385"/>
                    </a:lnTo>
                    <a:lnTo>
                      <a:pt x="420" y="385"/>
                    </a:lnTo>
                    <a:lnTo>
                      <a:pt x="420" y="386"/>
                    </a:lnTo>
                    <a:lnTo>
                      <a:pt x="418" y="385"/>
                    </a:lnTo>
                    <a:lnTo>
                      <a:pt x="418" y="386"/>
                    </a:lnTo>
                    <a:lnTo>
                      <a:pt x="418" y="385"/>
                    </a:lnTo>
                    <a:lnTo>
                      <a:pt x="418" y="386"/>
                    </a:lnTo>
                    <a:lnTo>
                      <a:pt x="420" y="386"/>
                    </a:lnTo>
                    <a:lnTo>
                      <a:pt x="422" y="386"/>
                    </a:lnTo>
                    <a:lnTo>
                      <a:pt x="422" y="385"/>
                    </a:lnTo>
                    <a:lnTo>
                      <a:pt x="424" y="385"/>
                    </a:lnTo>
                    <a:lnTo>
                      <a:pt x="424" y="383"/>
                    </a:lnTo>
                    <a:lnTo>
                      <a:pt x="426" y="383"/>
                    </a:lnTo>
                    <a:lnTo>
                      <a:pt x="428" y="383"/>
                    </a:lnTo>
                    <a:lnTo>
                      <a:pt x="430" y="383"/>
                    </a:lnTo>
                    <a:lnTo>
                      <a:pt x="432" y="383"/>
                    </a:lnTo>
                    <a:lnTo>
                      <a:pt x="434" y="385"/>
                    </a:lnTo>
                    <a:lnTo>
                      <a:pt x="436" y="385"/>
                    </a:lnTo>
                    <a:lnTo>
                      <a:pt x="438" y="385"/>
                    </a:lnTo>
                    <a:lnTo>
                      <a:pt x="439" y="386"/>
                    </a:lnTo>
                    <a:lnTo>
                      <a:pt x="441" y="386"/>
                    </a:lnTo>
                    <a:lnTo>
                      <a:pt x="439" y="386"/>
                    </a:lnTo>
                    <a:lnTo>
                      <a:pt x="441" y="386"/>
                    </a:lnTo>
                    <a:lnTo>
                      <a:pt x="443" y="386"/>
                    </a:lnTo>
                    <a:lnTo>
                      <a:pt x="443" y="388"/>
                    </a:lnTo>
                    <a:lnTo>
                      <a:pt x="441" y="388"/>
                    </a:lnTo>
                    <a:lnTo>
                      <a:pt x="439" y="390"/>
                    </a:lnTo>
                    <a:lnTo>
                      <a:pt x="439" y="392"/>
                    </a:lnTo>
                    <a:lnTo>
                      <a:pt x="438" y="392"/>
                    </a:lnTo>
                    <a:lnTo>
                      <a:pt x="436" y="392"/>
                    </a:lnTo>
                    <a:lnTo>
                      <a:pt x="438" y="390"/>
                    </a:lnTo>
                    <a:lnTo>
                      <a:pt x="436" y="390"/>
                    </a:lnTo>
                    <a:lnTo>
                      <a:pt x="434" y="390"/>
                    </a:lnTo>
                    <a:lnTo>
                      <a:pt x="434" y="392"/>
                    </a:lnTo>
                    <a:lnTo>
                      <a:pt x="434" y="390"/>
                    </a:lnTo>
                    <a:lnTo>
                      <a:pt x="436" y="390"/>
                    </a:lnTo>
                    <a:lnTo>
                      <a:pt x="436" y="392"/>
                    </a:lnTo>
                    <a:lnTo>
                      <a:pt x="438" y="392"/>
                    </a:lnTo>
                    <a:lnTo>
                      <a:pt x="439" y="392"/>
                    </a:lnTo>
                    <a:lnTo>
                      <a:pt x="439" y="390"/>
                    </a:lnTo>
                    <a:lnTo>
                      <a:pt x="441" y="390"/>
                    </a:lnTo>
                    <a:lnTo>
                      <a:pt x="441" y="388"/>
                    </a:lnTo>
                    <a:lnTo>
                      <a:pt x="443" y="388"/>
                    </a:lnTo>
                    <a:lnTo>
                      <a:pt x="443" y="386"/>
                    </a:lnTo>
                    <a:lnTo>
                      <a:pt x="443" y="385"/>
                    </a:lnTo>
                    <a:lnTo>
                      <a:pt x="445" y="385"/>
                    </a:lnTo>
                    <a:lnTo>
                      <a:pt x="445" y="386"/>
                    </a:lnTo>
                    <a:lnTo>
                      <a:pt x="447" y="385"/>
                    </a:lnTo>
                    <a:lnTo>
                      <a:pt x="449" y="385"/>
                    </a:lnTo>
                    <a:lnTo>
                      <a:pt x="449" y="386"/>
                    </a:lnTo>
                    <a:lnTo>
                      <a:pt x="451" y="386"/>
                    </a:lnTo>
                    <a:lnTo>
                      <a:pt x="451" y="388"/>
                    </a:lnTo>
                    <a:lnTo>
                      <a:pt x="453" y="388"/>
                    </a:lnTo>
                    <a:lnTo>
                      <a:pt x="453" y="390"/>
                    </a:lnTo>
                    <a:lnTo>
                      <a:pt x="455" y="390"/>
                    </a:lnTo>
                    <a:lnTo>
                      <a:pt x="457" y="390"/>
                    </a:lnTo>
                    <a:lnTo>
                      <a:pt x="457" y="388"/>
                    </a:lnTo>
                    <a:lnTo>
                      <a:pt x="457" y="390"/>
                    </a:lnTo>
                    <a:lnTo>
                      <a:pt x="455" y="390"/>
                    </a:lnTo>
                    <a:lnTo>
                      <a:pt x="455" y="392"/>
                    </a:lnTo>
                    <a:lnTo>
                      <a:pt x="453" y="392"/>
                    </a:lnTo>
                    <a:lnTo>
                      <a:pt x="453" y="394"/>
                    </a:lnTo>
                    <a:lnTo>
                      <a:pt x="451" y="394"/>
                    </a:lnTo>
                    <a:lnTo>
                      <a:pt x="451" y="396"/>
                    </a:lnTo>
                    <a:lnTo>
                      <a:pt x="451" y="398"/>
                    </a:lnTo>
                    <a:lnTo>
                      <a:pt x="453" y="398"/>
                    </a:lnTo>
                    <a:lnTo>
                      <a:pt x="453" y="400"/>
                    </a:lnTo>
                    <a:lnTo>
                      <a:pt x="453" y="402"/>
                    </a:lnTo>
                    <a:lnTo>
                      <a:pt x="453" y="400"/>
                    </a:lnTo>
                    <a:lnTo>
                      <a:pt x="455" y="400"/>
                    </a:lnTo>
                    <a:lnTo>
                      <a:pt x="457" y="400"/>
                    </a:lnTo>
                    <a:lnTo>
                      <a:pt x="455" y="400"/>
                    </a:lnTo>
                    <a:lnTo>
                      <a:pt x="455" y="402"/>
                    </a:lnTo>
                    <a:lnTo>
                      <a:pt x="457" y="402"/>
                    </a:lnTo>
                    <a:lnTo>
                      <a:pt x="455" y="404"/>
                    </a:lnTo>
                    <a:lnTo>
                      <a:pt x="457" y="404"/>
                    </a:lnTo>
                    <a:lnTo>
                      <a:pt x="455" y="404"/>
                    </a:lnTo>
                    <a:lnTo>
                      <a:pt x="457" y="402"/>
                    </a:lnTo>
                    <a:lnTo>
                      <a:pt x="455" y="402"/>
                    </a:lnTo>
                    <a:lnTo>
                      <a:pt x="457" y="400"/>
                    </a:lnTo>
                    <a:lnTo>
                      <a:pt x="455" y="400"/>
                    </a:lnTo>
                    <a:lnTo>
                      <a:pt x="457" y="400"/>
                    </a:lnTo>
                    <a:lnTo>
                      <a:pt x="455" y="400"/>
                    </a:lnTo>
                    <a:lnTo>
                      <a:pt x="457" y="400"/>
                    </a:lnTo>
                    <a:lnTo>
                      <a:pt x="457" y="398"/>
                    </a:lnTo>
                    <a:lnTo>
                      <a:pt x="457" y="400"/>
                    </a:lnTo>
                    <a:lnTo>
                      <a:pt x="457" y="398"/>
                    </a:lnTo>
                    <a:lnTo>
                      <a:pt x="457" y="400"/>
                    </a:lnTo>
                    <a:lnTo>
                      <a:pt x="457" y="398"/>
                    </a:lnTo>
                    <a:lnTo>
                      <a:pt x="457" y="400"/>
                    </a:lnTo>
                    <a:lnTo>
                      <a:pt x="459" y="400"/>
                    </a:lnTo>
                    <a:lnTo>
                      <a:pt x="461" y="400"/>
                    </a:lnTo>
                    <a:lnTo>
                      <a:pt x="461" y="398"/>
                    </a:lnTo>
                    <a:lnTo>
                      <a:pt x="461" y="400"/>
                    </a:lnTo>
                    <a:lnTo>
                      <a:pt x="461" y="398"/>
                    </a:lnTo>
                    <a:lnTo>
                      <a:pt x="461" y="400"/>
                    </a:lnTo>
                    <a:lnTo>
                      <a:pt x="461" y="398"/>
                    </a:lnTo>
                    <a:lnTo>
                      <a:pt x="461" y="400"/>
                    </a:lnTo>
                    <a:lnTo>
                      <a:pt x="461" y="398"/>
                    </a:lnTo>
                    <a:lnTo>
                      <a:pt x="463" y="398"/>
                    </a:lnTo>
                    <a:lnTo>
                      <a:pt x="464" y="396"/>
                    </a:lnTo>
                    <a:lnTo>
                      <a:pt x="464" y="394"/>
                    </a:lnTo>
                    <a:lnTo>
                      <a:pt x="466" y="394"/>
                    </a:lnTo>
                    <a:lnTo>
                      <a:pt x="466" y="392"/>
                    </a:lnTo>
                    <a:lnTo>
                      <a:pt x="466" y="394"/>
                    </a:lnTo>
                    <a:lnTo>
                      <a:pt x="466" y="392"/>
                    </a:lnTo>
                    <a:lnTo>
                      <a:pt x="466" y="390"/>
                    </a:lnTo>
                    <a:lnTo>
                      <a:pt x="466" y="388"/>
                    </a:lnTo>
                    <a:lnTo>
                      <a:pt x="464" y="388"/>
                    </a:lnTo>
                    <a:lnTo>
                      <a:pt x="464" y="386"/>
                    </a:lnTo>
                    <a:lnTo>
                      <a:pt x="464" y="385"/>
                    </a:lnTo>
                    <a:lnTo>
                      <a:pt x="463" y="383"/>
                    </a:lnTo>
                    <a:lnTo>
                      <a:pt x="461" y="381"/>
                    </a:lnTo>
                    <a:lnTo>
                      <a:pt x="461" y="379"/>
                    </a:lnTo>
                    <a:lnTo>
                      <a:pt x="459" y="379"/>
                    </a:lnTo>
                    <a:lnTo>
                      <a:pt x="459" y="381"/>
                    </a:lnTo>
                    <a:lnTo>
                      <a:pt x="459" y="379"/>
                    </a:lnTo>
                    <a:lnTo>
                      <a:pt x="459" y="377"/>
                    </a:lnTo>
                    <a:lnTo>
                      <a:pt x="459" y="375"/>
                    </a:lnTo>
                    <a:lnTo>
                      <a:pt x="459" y="373"/>
                    </a:lnTo>
                    <a:lnTo>
                      <a:pt x="461" y="373"/>
                    </a:lnTo>
                    <a:lnTo>
                      <a:pt x="461" y="375"/>
                    </a:lnTo>
                    <a:lnTo>
                      <a:pt x="461" y="373"/>
                    </a:lnTo>
                    <a:lnTo>
                      <a:pt x="461" y="371"/>
                    </a:lnTo>
                    <a:lnTo>
                      <a:pt x="461" y="369"/>
                    </a:lnTo>
                    <a:lnTo>
                      <a:pt x="463" y="369"/>
                    </a:lnTo>
                    <a:lnTo>
                      <a:pt x="463" y="367"/>
                    </a:lnTo>
                    <a:lnTo>
                      <a:pt x="464" y="367"/>
                    </a:lnTo>
                    <a:lnTo>
                      <a:pt x="464" y="365"/>
                    </a:lnTo>
                    <a:lnTo>
                      <a:pt x="466" y="365"/>
                    </a:lnTo>
                    <a:lnTo>
                      <a:pt x="466" y="363"/>
                    </a:lnTo>
                    <a:lnTo>
                      <a:pt x="466" y="361"/>
                    </a:lnTo>
                    <a:lnTo>
                      <a:pt x="468" y="361"/>
                    </a:lnTo>
                    <a:lnTo>
                      <a:pt x="466" y="361"/>
                    </a:lnTo>
                    <a:lnTo>
                      <a:pt x="468" y="361"/>
                    </a:lnTo>
                    <a:lnTo>
                      <a:pt x="468" y="360"/>
                    </a:lnTo>
                    <a:lnTo>
                      <a:pt x="470" y="360"/>
                    </a:lnTo>
                    <a:lnTo>
                      <a:pt x="470" y="358"/>
                    </a:lnTo>
                    <a:lnTo>
                      <a:pt x="472" y="358"/>
                    </a:lnTo>
                    <a:lnTo>
                      <a:pt x="472" y="356"/>
                    </a:lnTo>
                    <a:lnTo>
                      <a:pt x="472" y="354"/>
                    </a:lnTo>
                    <a:lnTo>
                      <a:pt x="472" y="352"/>
                    </a:lnTo>
                    <a:lnTo>
                      <a:pt x="472" y="350"/>
                    </a:lnTo>
                    <a:lnTo>
                      <a:pt x="472" y="348"/>
                    </a:lnTo>
                    <a:lnTo>
                      <a:pt x="472" y="346"/>
                    </a:lnTo>
                    <a:lnTo>
                      <a:pt x="470" y="346"/>
                    </a:lnTo>
                    <a:lnTo>
                      <a:pt x="470" y="344"/>
                    </a:lnTo>
                    <a:lnTo>
                      <a:pt x="470" y="342"/>
                    </a:lnTo>
                    <a:lnTo>
                      <a:pt x="472" y="342"/>
                    </a:lnTo>
                    <a:lnTo>
                      <a:pt x="472" y="340"/>
                    </a:lnTo>
                    <a:lnTo>
                      <a:pt x="474" y="340"/>
                    </a:lnTo>
                    <a:lnTo>
                      <a:pt x="476" y="340"/>
                    </a:lnTo>
                    <a:lnTo>
                      <a:pt x="476" y="342"/>
                    </a:lnTo>
                    <a:lnTo>
                      <a:pt x="478" y="342"/>
                    </a:lnTo>
                    <a:lnTo>
                      <a:pt x="480" y="342"/>
                    </a:lnTo>
                    <a:lnTo>
                      <a:pt x="482" y="344"/>
                    </a:lnTo>
                    <a:lnTo>
                      <a:pt x="484" y="344"/>
                    </a:lnTo>
                    <a:lnTo>
                      <a:pt x="486" y="344"/>
                    </a:lnTo>
                    <a:lnTo>
                      <a:pt x="487" y="344"/>
                    </a:lnTo>
                    <a:lnTo>
                      <a:pt x="487" y="346"/>
                    </a:lnTo>
                    <a:lnTo>
                      <a:pt x="487" y="348"/>
                    </a:lnTo>
                    <a:lnTo>
                      <a:pt x="487" y="350"/>
                    </a:lnTo>
                    <a:lnTo>
                      <a:pt x="486" y="350"/>
                    </a:lnTo>
                    <a:lnTo>
                      <a:pt x="487" y="352"/>
                    </a:lnTo>
                    <a:lnTo>
                      <a:pt x="486" y="352"/>
                    </a:lnTo>
                    <a:lnTo>
                      <a:pt x="487" y="352"/>
                    </a:lnTo>
                    <a:lnTo>
                      <a:pt x="487" y="354"/>
                    </a:lnTo>
                    <a:lnTo>
                      <a:pt x="487" y="356"/>
                    </a:lnTo>
                    <a:lnTo>
                      <a:pt x="487" y="358"/>
                    </a:lnTo>
                    <a:lnTo>
                      <a:pt x="489" y="358"/>
                    </a:lnTo>
                    <a:lnTo>
                      <a:pt x="489" y="360"/>
                    </a:lnTo>
                    <a:lnTo>
                      <a:pt x="489" y="361"/>
                    </a:lnTo>
                    <a:lnTo>
                      <a:pt x="491" y="361"/>
                    </a:lnTo>
                    <a:lnTo>
                      <a:pt x="491" y="363"/>
                    </a:lnTo>
                    <a:lnTo>
                      <a:pt x="493" y="363"/>
                    </a:lnTo>
                    <a:lnTo>
                      <a:pt x="493" y="365"/>
                    </a:lnTo>
                    <a:lnTo>
                      <a:pt x="493" y="367"/>
                    </a:lnTo>
                    <a:lnTo>
                      <a:pt x="495" y="367"/>
                    </a:lnTo>
                    <a:lnTo>
                      <a:pt x="495" y="365"/>
                    </a:lnTo>
                    <a:lnTo>
                      <a:pt x="497" y="365"/>
                    </a:lnTo>
                    <a:lnTo>
                      <a:pt x="499" y="365"/>
                    </a:lnTo>
                    <a:lnTo>
                      <a:pt x="501" y="365"/>
                    </a:lnTo>
                    <a:lnTo>
                      <a:pt x="501" y="363"/>
                    </a:lnTo>
                    <a:lnTo>
                      <a:pt x="501" y="365"/>
                    </a:lnTo>
                    <a:lnTo>
                      <a:pt x="503" y="365"/>
                    </a:lnTo>
                    <a:lnTo>
                      <a:pt x="505" y="365"/>
                    </a:lnTo>
                    <a:lnTo>
                      <a:pt x="505" y="363"/>
                    </a:lnTo>
                    <a:lnTo>
                      <a:pt x="505" y="361"/>
                    </a:lnTo>
                    <a:lnTo>
                      <a:pt x="503" y="361"/>
                    </a:lnTo>
                    <a:lnTo>
                      <a:pt x="501" y="361"/>
                    </a:lnTo>
                    <a:lnTo>
                      <a:pt x="501" y="363"/>
                    </a:lnTo>
                    <a:lnTo>
                      <a:pt x="499" y="363"/>
                    </a:lnTo>
                    <a:lnTo>
                      <a:pt x="497" y="363"/>
                    </a:lnTo>
                    <a:lnTo>
                      <a:pt x="495" y="365"/>
                    </a:lnTo>
                    <a:lnTo>
                      <a:pt x="493" y="365"/>
                    </a:lnTo>
                    <a:lnTo>
                      <a:pt x="493" y="363"/>
                    </a:lnTo>
                    <a:lnTo>
                      <a:pt x="491" y="363"/>
                    </a:lnTo>
                    <a:lnTo>
                      <a:pt x="491" y="361"/>
                    </a:lnTo>
                    <a:lnTo>
                      <a:pt x="491" y="360"/>
                    </a:lnTo>
                    <a:lnTo>
                      <a:pt x="491" y="358"/>
                    </a:lnTo>
                    <a:lnTo>
                      <a:pt x="489" y="358"/>
                    </a:lnTo>
                    <a:lnTo>
                      <a:pt x="489" y="356"/>
                    </a:lnTo>
                    <a:lnTo>
                      <a:pt x="487" y="354"/>
                    </a:lnTo>
                    <a:lnTo>
                      <a:pt x="487" y="352"/>
                    </a:lnTo>
                    <a:lnTo>
                      <a:pt x="489" y="352"/>
                    </a:lnTo>
                    <a:lnTo>
                      <a:pt x="489" y="350"/>
                    </a:lnTo>
                    <a:lnTo>
                      <a:pt x="489" y="348"/>
                    </a:lnTo>
                    <a:lnTo>
                      <a:pt x="491" y="348"/>
                    </a:lnTo>
                    <a:lnTo>
                      <a:pt x="489" y="346"/>
                    </a:lnTo>
                    <a:lnTo>
                      <a:pt x="489" y="344"/>
                    </a:lnTo>
                    <a:lnTo>
                      <a:pt x="489" y="342"/>
                    </a:lnTo>
                    <a:lnTo>
                      <a:pt x="491" y="342"/>
                    </a:lnTo>
                    <a:lnTo>
                      <a:pt x="493" y="342"/>
                    </a:lnTo>
                    <a:lnTo>
                      <a:pt x="495" y="342"/>
                    </a:lnTo>
                    <a:lnTo>
                      <a:pt x="497" y="342"/>
                    </a:lnTo>
                    <a:lnTo>
                      <a:pt x="499" y="344"/>
                    </a:lnTo>
                    <a:lnTo>
                      <a:pt x="501" y="344"/>
                    </a:lnTo>
                    <a:lnTo>
                      <a:pt x="501" y="346"/>
                    </a:lnTo>
                    <a:lnTo>
                      <a:pt x="499" y="346"/>
                    </a:lnTo>
                    <a:lnTo>
                      <a:pt x="501" y="346"/>
                    </a:lnTo>
                    <a:lnTo>
                      <a:pt x="501" y="344"/>
                    </a:lnTo>
                    <a:lnTo>
                      <a:pt x="501" y="342"/>
                    </a:lnTo>
                    <a:lnTo>
                      <a:pt x="501" y="340"/>
                    </a:lnTo>
                    <a:lnTo>
                      <a:pt x="499" y="340"/>
                    </a:lnTo>
                    <a:lnTo>
                      <a:pt x="499" y="338"/>
                    </a:lnTo>
                    <a:lnTo>
                      <a:pt x="499" y="336"/>
                    </a:lnTo>
                    <a:lnTo>
                      <a:pt x="499" y="335"/>
                    </a:lnTo>
                    <a:lnTo>
                      <a:pt x="499" y="333"/>
                    </a:lnTo>
                    <a:lnTo>
                      <a:pt x="499" y="331"/>
                    </a:lnTo>
                    <a:lnTo>
                      <a:pt x="499" y="329"/>
                    </a:lnTo>
                    <a:lnTo>
                      <a:pt x="501" y="329"/>
                    </a:lnTo>
                    <a:lnTo>
                      <a:pt x="501" y="327"/>
                    </a:lnTo>
                    <a:lnTo>
                      <a:pt x="501" y="325"/>
                    </a:lnTo>
                    <a:lnTo>
                      <a:pt x="501" y="323"/>
                    </a:lnTo>
                    <a:lnTo>
                      <a:pt x="503" y="323"/>
                    </a:lnTo>
                    <a:lnTo>
                      <a:pt x="503" y="321"/>
                    </a:lnTo>
                    <a:lnTo>
                      <a:pt x="505" y="321"/>
                    </a:lnTo>
                    <a:lnTo>
                      <a:pt x="507" y="323"/>
                    </a:lnTo>
                    <a:lnTo>
                      <a:pt x="507" y="325"/>
                    </a:lnTo>
                    <a:lnTo>
                      <a:pt x="509" y="325"/>
                    </a:lnTo>
                    <a:lnTo>
                      <a:pt x="509" y="327"/>
                    </a:lnTo>
                    <a:lnTo>
                      <a:pt x="511" y="329"/>
                    </a:lnTo>
                    <a:lnTo>
                      <a:pt x="512" y="331"/>
                    </a:lnTo>
                    <a:lnTo>
                      <a:pt x="512" y="333"/>
                    </a:lnTo>
                    <a:lnTo>
                      <a:pt x="512" y="331"/>
                    </a:lnTo>
                    <a:lnTo>
                      <a:pt x="512" y="333"/>
                    </a:lnTo>
                    <a:lnTo>
                      <a:pt x="514" y="333"/>
                    </a:lnTo>
                    <a:lnTo>
                      <a:pt x="516" y="333"/>
                    </a:lnTo>
                    <a:lnTo>
                      <a:pt x="514" y="333"/>
                    </a:lnTo>
                    <a:lnTo>
                      <a:pt x="516" y="333"/>
                    </a:lnTo>
                    <a:lnTo>
                      <a:pt x="516" y="335"/>
                    </a:lnTo>
                    <a:lnTo>
                      <a:pt x="518" y="335"/>
                    </a:lnTo>
                    <a:lnTo>
                      <a:pt x="520" y="335"/>
                    </a:lnTo>
                    <a:lnTo>
                      <a:pt x="522" y="335"/>
                    </a:lnTo>
                    <a:lnTo>
                      <a:pt x="524" y="335"/>
                    </a:lnTo>
                    <a:lnTo>
                      <a:pt x="526" y="336"/>
                    </a:lnTo>
                    <a:lnTo>
                      <a:pt x="528" y="336"/>
                    </a:lnTo>
                    <a:lnTo>
                      <a:pt x="526" y="336"/>
                    </a:lnTo>
                    <a:lnTo>
                      <a:pt x="526" y="335"/>
                    </a:lnTo>
                    <a:lnTo>
                      <a:pt x="524" y="335"/>
                    </a:lnTo>
                    <a:lnTo>
                      <a:pt x="526" y="335"/>
                    </a:lnTo>
                    <a:lnTo>
                      <a:pt x="524" y="335"/>
                    </a:lnTo>
                    <a:lnTo>
                      <a:pt x="526" y="335"/>
                    </a:lnTo>
                    <a:lnTo>
                      <a:pt x="528" y="335"/>
                    </a:lnTo>
                    <a:lnTo>
                      <a:pt x="526" y="335"/>
                    </a:lnTo>
                    <a:lnTo>
                      <a:pt x="528" y="335"/>
                    </a:lnTo>
                    <a:lnTo>
                      <a:pt x="530" y="335"/>
                    </a:lnTo>
                    <a:lnTo>
                      <a:pt x="532" y="335"/>
                    </a:lnTo>
                    <a:lnTo>
                      <a:pt x="530" y="335"/>
                    </a:lnTo>
                    <a:lnTo>
                      <a:pt x="532" y="335"/>
                    </a:lnTo>
                    <a:lnTo>
                      <a:pt x="534" y="335"/>
                    </a:lnTo>
                    <a:lnTo>
                      <a:pt x="536" y="335"/>
                    </a:lnTo>
                    <a:lnTo>
                      <a:pt x="537" y="335"/>
                    </a:lnTo>
                    <a:lnTo>
                      <a:pt x="537" y="333"/>
                    </a:lnTo>
                    <a:lnTo>
                      <a:pt x="539" y="333"/>
                    </a:lnTo>
                    <a:lnTo>
                      <a:pt x="541" y="333"/>
                    </a:lnTo>
                    <a:lnTo>
                      <a:pt x="541" y="331"/>
                    </a:lnTo>
                    <a:lnTo>
                      <a:pt x="543" y="331"/>
                    </a:lnTo>
                    <a:lnTo>
                      <a:pt x="543" y="329"/>
                    </a:lnTo>
                    <a:lnTo>
                      <a:pt x="545" y="329"/>
                    </a:lnTo>
                    <a:lnTo>
                      <a:pt x="545" y="331"/>
                    </a:lnTo>
                    <a:lnTo>
                      <a:pt x="545" y="329"/>
                    </a:lnTo>
                    <a:lnTo>
                      <a:pt x="547" y="329"/>
                    </a:lnTo>
                    <a:lnTo>
                      <a:pt x="547" y="331"/>
                    </a:lnTo>
                    <a:lnTo>
                      <a:pt x="547" y="333"/>
                    </a:lnTo>
                    <a:lnTo>
                      <a:pt x="547" y="335"/>
                    </a:lnTo>
                    <a:lnTo>
                      <a:pt x="549" y="335"/>
                    </a:lnTo>
                    <a:lnTo>
                      <a:pt x="549" y="336"/>
                    </a:lnTo>
                    <a:lnTo>
                      <a:pt x="549" y="335"/>
                    </a:lnTo>
                    <a:lnTo>
                      <a:pt x="547" y="335"/>
                    </a:lnTo>
                    <a:lnTo>
                      <a:pt x="547" y="333"/>
                    </a:lnTo>
                    <a:lnTo>
                      <a:pt x="547" y="331"/>
                    </a:lnTo>
                    <a:lnTo>
                      <a:pt x="547" y="329"/>
                    </a:lnTo>
                    <a:lnTo>
                      <a:pt x="545" y="329"/>
                    </a:lnTo>
                    <a:lnTo>
                      <a:pt x="547" y="329"/>
                    </a:lnTo>
                    <a:lnTo>
                      <a:pt x="545" y="329"/>
                    </a:lnTo>
                    <a:lnTo>
                      <a:pt x="545" y="331"/>
                    </a:lnTo>
                    <a:lnTo>
                      <a:pt x="545" y="329"/>
                    </a:lnTo>
                    <a:lnTo>
                      <a:pt x="543" y="329"/>
                    </a:lnTo>
                    <a:lnTo>
                      <a:pt x="543" y="331"/>
                    </a:lnTo>
                    <a:lnTo>
                      <a:pt x="541" y="331"/>
                    </a:lnTo>
                    <a:lnTo>
                      <a:pt x="539" y="331"/>
                    </a:lnTo>
                    <a:lnTo>
                      <a:pt x="539" y="329"/>
                    </a:lnTo>
                    <a:lnTo>
                      <a:pt x="539" y="327"/>
                    </a:lnTo>
                    <a:lnTo>
                      <a:pt x="539" y="325"/>
                    </a:lnTo>
                    <a:lnTo>
                      <a:pt x="539" y="323"/>
                    </a:lnTo>
                    <a:lnTo>
                      <a:pt x="539" y="321"/>
                    </a:lnTo>
                    <a:lnTo>
                      <a:pt x="537" y="321"/>
                    </a:lnTo>
                    <a:lnTo>
                      <a:pt x="536" y="321"/>
                    </a:lnTo>
                    <a:lnTo>
                      <a:pt x="536" y="319"/>
                    </a:lnTo>
                    <a:lnTo>
                      <a:pt x="534" y="319"/>
                    </a:lnTo>
                    <a:lnTo>
                      <a:pt x="534" y="321"/>
                    </a:lnTo>
                    <a:lnTo>
                      <a:pt x="534" y="319"/>
                    </a:lnTo>
                    <a:lnTo>
                      <a:pt x="532" y="319"/>
                    </a:lnTo>
                    <a:lnTo>
                      <a:pt x="534" y="319"/>
                    </a:lnTo>
                    <a:lnTo>
                      <a:pt x="536" y="319"/>
                    </a:lnTo>
                    <a:lnTo>
                      <a:pt x="537" y="321"/>
                    </a:lnTo>
                    <a:lnTo>
                      <a:pt x="539" y="321"/>
                    </a:lnTo>
                    <a:lnTo>
                      <a:pt x="541" y="321"/>
                    </a:lnTo>
                    <a:lnTo>
                      <a:pt x="543" y="323"/>
                    </a:lnTo>
                    <a:lnTo>
                      <a:pt x="545" y="323"/>
                    </a:lnTo>
                    <a:lnTo>
                      <a:pt x="547" y="325"/>
                    </a:lnTo>
                    <a:lnTo>
                      <a:pt x="551" y="325"/>
                    </a:lnTo>
                    <a:lnTo>
                      <a:pt x="553" y="327"/>
                    </a:lnTo>
                    <a:lnTo>
                      <a:pt x="557" y="327"/>
                    </a:lnTo>
                    <a:lnTo>
                      <a:pt x="559" y="327"/>
                    </a:lnTo>
                    <a:lnTo>
                      <a:pt x="559" y="329"/>
                    </a:lnTo>
                    <a:lnTo>
                      <a:pt x="557" y="329"/>
                    </a:lnTo>
                    <a:lnTo>
                      <a:pt x="557" y="327"/>
                    </a:lnTo>
                    <a:lnTo>
                      <a:pt x="557" y="329"/>
                    </a:lnTo>
                    <a:lnTo>
                      <a:pt x="557" y="327"/>
                    </a:lnTo>
                    <a:lnTo>
                      <a:pt x="555" y="327"/>
                    </a:lnTo>
                    <a:lnTo>
                      <a:pt x="555" y="329"/>
                    </a:lnTo>
                    <a:lnTo>
                      <a:pt x="555" y="331"/>
                    </a:lnTo>
                    <a:lnTo>
                      <a:pt x="555" y="333"/>
                    </a:lnTo>
                    <a:lnTo>
                      <a:pt x="555" y="335"/>
                    </a:lnTo>
                    <a:lnTo>
                      <a:pt x="555" y="336"/>
                    </a:lnTo>
                    <a:lnTo>
                      <a:pt x="553" y="336"/>
                    </a:lnTo>
                    <a:lnTo>
                      <a:pt x="555" y="338"/>
                    </a:lnTo>
                    <a:lnTo>
                      <a:pt x="553" y="338"/>
                    </a:lnTo>
                    <a:lnTo>
                      <a:pt x="555" y="338"/>
                    </a:lnTo>
                    <a:lnTo>
                      <a:pt x="555" y="340"/>
                    </a:lnTo>
                    <a:lnTo>
                      <a:pt x="555" y="342"/>
                    </a:lnTo>
                    <a:lnTo>
                      <a:pt x="553" y="342"/>
                    </a:lnTo>
                    <a:lnTo>
                      <a:pt x="553" y="344"/>
                    </a:lnTo>
                    <a:lnTo>
                      <a:pt x="553" y="346"/>
                    </a:lnTo>
                    <a:lnTo>
                      <a:pt x="553" y="344"/>
                    </a:lnTo>
                    <a:lnTo>
                      <a:pt x="553" y="346"/>
                    </a:lnTo>
                    <a:lnTo>
                      <a:pt x="553" y="348"/>
                    </a:lnTo>
                    <a:lnTo>
                      <a:pt x="555" y="348"/>
                    </a:lnTo>
                    <a:lnTo>
                      <a:pt x="553" y="348"/>
                    </a:lnTo>
                    <a:lnTo>
                      <a:pt x="555" y="348"/>
                    </a:lnTo>
                    <a:lnTo>
                      <a:pt x="555" y="350"/>
                    </a:lnTo>
                    <a:lnTo>
                      <a:pt x="555" y="352"/>
                    </a:lnTo>
                    <a:lnTo>
                      <a:pt x="553" y="352"/>
                    </a:lnTo>
                    <a:lnTo>
                      <a:pt x="553" y="354"/>
                    </a:lnTo>
                    <a:lnTo>
                      <a:pt x="553" y="352"/>
                    </a:lnTo>
                    <a:lnTo>
                      <a:pt x="555" y="352"/>
                    </a:lnTo>
                    <a:lnTo>
                      <a:pt x="555" y="350"/>
                    </a:lnTo>
                    <a:lnTo>
                      <a:pt x="555" y="348"/>
                    </a:lnTo>
                    <a:lnTo>
                      <a:pt x="553" y="348"/>
                    </a:lnTo>
                    <a:lnTo>
                      <a:pt x="553" y="346"/>
                    </a:lnTo>
                    <a:lnTo>
                      <a:pt x="553" y="344"/>
                    </a:lnTo>
                    <a:lnTo>
                      <a:pt x="553" y="342"/>
                    </a:lnTo>
                    <a:lnTo>
                      <a:pt x="555" y="342"/>
                    </a:lnTo>
                    <a:lnTo>
                      <a:pt x="555" y="340"/>
                    </a:lnTo>
                    <a:lnTo>
                      <a:pt x="555" y="338"/>
                    </a:lnTo>
                    <a:lnTo>
                      <a:pt x="557" y="338"/>
                    </a:lnTo>
                    <a:lnTo>
                      <a:pt x="557" y="336"/>
                    </a:lnTo>
                    <a:lnTo>
                      <a:pt x="555" y="336"/>
                    </a:lnTo>
                    <a:lnTo>
                      <a:pt x="555" y="335"/>
                    </a:lnTo>
                    <a:lnTo>
                      <a:pt x="555" y="336"/>
                    </a:lnTo>
                    <a:lnTo>
                      <a:pt x="555" y="335"/>
                    </a:lnTo>
                    <a:lnTo>
                      <a:pt x="557" y="335"/>
                    </a:lnTo>
                    <a:lnTo>
                      <a:pt x="557" y="333"/>
                    </a:lnTo>
                    <a:lnTo>
                      <a:pt x="559" y="333"/>
                    </a:lnTo>
                    <a:lnTo>
                      <a:pt x="557" y="333"/>
                    </a:lnTo>
                    <a:lnTo>
                      <a:pt x="557" y="335"/>
                    </a:lnTo>
                    <a:lnTo>
                      <a:pt x="559" y="335"/>
                    </a:lnTo>
                    <a:lnTo>
                      <a:pt x="557" y="335"/>
                    </a:lnTo>
                    <a:lnTo>
                      <a:pt x="559" y="335"/>
                    </a:lnTo>
                    <a:lnTo>
                      <a:pt x="559" y="333"/>
                    </a:lnTo>
                    <a:lnTo>
                      <a:pt x="560" y="333"/>
                    </a:lnTo>
                    <a:lnTo>
                      <a:pt x="562" y="331"/>
                    </a:lnTo>
                    <a:lnTo>
                      <a:pt x="564" y="331"/>
                    </a:lnTo>
                    <a:lnTo>
                      <a:pt x="562" y="331"/>
                    </a:lnTo>
                    <a:lnTo>
                      <a:pt x="562" y="329"/>
                    </a:lnTo>
                    <a:lnTo>
                      <a:pt x="560" y="329"/>
                    </a:lnTo>
                    <a:lnTo>
                      <a:pt x="559" y="329"/>
                    </a:lnTo>
                    <a:lnTo>
                      <a:pt x="560" y="329"/>
                    </a:lnTo>
                    <a:lnTo>
                      <a:pt x="562" y="329"/>
                    </a:lnTo>
                    <a:lnTo>
                      <a:pt x="564" y="331"/>
                    </a:lnTo>
                    <a:lnTo>
                      <a:pt x="566" y="331"/>
                    </a:lnTo>
                    <a:lnTo>
                      <a:pt x="568" y="333"/>
                    </a:lnTo>
                    <a:lnTo>
                      <a:pt x="570" y="335"/>
                    </a:lnTo>
                    <a:lnTo>
                      <a:pt x="572" y="335"/>
                    </a:lnTo>
                    <a:lnTo>
                      <a:pt x="574" y="336"/>
                    </a:lnTo>
                    <a:lnTo>
                      <a:pt x="576" y="336"/>
                    </a:lnTo>
                    <a:lnTo>
                      <a:pt x="576" y="338"/>
                    </a:lnTo>
                    <a:lnTo>
                      <a:pt x="578" y="338"/>
                    </a:lnTo>
                    <a:lnTo>
                      <a:pt x="580" y="340"/>
                    </a:lnTo>
                    <a:lnTo>
                      <a:pt x="582" y="342"/>
                    </a:lnTo>
                    <a:lnTo>
                      <a:pt x="584" y="342"/>
                    </a:lnTo>
                    <a:lnTo>
                      <a:pt x="585" y="344"/>
                    </a:lnTo>
                    <a:lnTo>
                      <a:pt x="585" y="346"/>
                    </a:lnTo>
                    <a:lnTo>
                      <a:pt x="587" y="346"/>
                    </a:lnTo>
                    <a:lnTo>
                      <a:pt x="589" y="346"/>
                    </a:lnTo>
                    <a:lnTo>
                      <a:pt x="591" y="348"/>
                    </a:lnTo>
                    <a:lnTo>
                      <a:pt x="593" y="348"/>
                    </a:lnTo>
                    <a:lnTo>
                      <a:pt x="595" y="348"/>
                    </a:lnTo>
                    <a:lnTo>
                      <a:pt x="597" y="350"/>
                    </a:lnTo>
                    <a:lnTo>
                      <a:pt x="599" y="350"/>
                    </a:lnTo>
                    <a:lnTo>
                      <a:pt x="601" y="350"/>
                    </a:lnTo>
                    <a:lnTo>
                      <a:pt x="603" y="350"/>
                    </a:lnTo>
                    <a:lnTo>
                      <a:pt x="605" y="350"/>
                    </a:lnTo>
                    <a:lnTo>
                      <a:pt x="607" y="350"/>
                    </a:lnTo>
                    <a:lnTo>
                      <a:pt x="609" y="350"/>
                    </a:lnTo>
                    <a:lnTo>
                      <a:pt x="609" y="348"/>
                    </a:lnTo>
                    <a:lnTo>
                      <a:pt x="609" y="350"/>
                    </a:lnTo>
                    <a:lnTo>
                      <a:pt x="610" y="348"/>
                    </a:lnTo>
                    <a:lnTo>
                      <a:pt x="612" y="348"/>
                    </a:lnTo>
                    <a:lnTo>
                      <a:pt x="614" y="348"/>
                    </a:lnTo>
                    <a:lnTo>
                      <a:pt x="614" y="350"/>
                    </a:lnTo>
                    <a:lnTo>
                      <a:pt x="614" y="348"/>
                    </a:lnTo>
                    <a:lnTo>
                      <a:pt x="614" y="350"/>
                    </a:lnTo>
                    <a:lnTo>
                      <a:pt x="616" y="350"/>
                    </a:lnTo>
                    <a:lnTo>
                      <a:pt x="618" y="350"/>
                    </a:lnTo>
                    <a:lnTo>
                      <a:pt x="620" y="350"/>
                    </a:lnTo>
                    <a:lnTo>
                      <a:pt x="620" y="352"/>
                    </a:lnTo>
                    <a:lnTo>
                      <a:pt x="618" y="354"/>
                    </a:lnTo>
                    <a:lnTo>
                      <a:pt x="618" y="356"/>
                    </a:lnTo>
                    <a:lnTo>
                      <a:pt x="620" y="356"/>
                    </a:lnTo>
                    <a:lnTo>
                      <a:pt x="620" y="358"/>
                    </a:lnTo>
                    <a:lnTo>
                      <a:pt x="620" y="360"/>
                    </a:lnTo>
                    <a:lnTo>
                      <a:pt x="620" y="358"/>
                    </a:lnTo>
                    <a:lnTo>
                      <a:pt x="620" y="360"/>
                    </a:lnTo>
                    <a:lnTo>
                      <a:pt x="620" y="358"/>
                    </a:lnTo>
                    <a:lnTo>
                      <a:pt x="620" y="360"/>
                    </a:lnTo>
                    <a:lnTo>
                      <a:pt x="622" y="360"/>
                    </a:lnTo>
                    <a:lnTo>
                      <a:pt x="624" y="360"/>
                    </a:lnTo>
                    <a:lnTo>
                      <a:pt x="626" y="361"/>
                    </a:lnTo>
                    <a:lnTo>
                      <a:pt x="628" y="361"/>
                    </a:lnTo>
                    <a:lnTo>
                      <a:pt x="628" y="360"/>
                    </a:lnTo>
                    <a:lnTo>
                      <a:pt x="630" y="360"/>
                    </a:lnTo>
                    <a:lnTo>
                      <a:pt x="632" y="360"/>
                    </a:lnTo>
                    <a:lnTo>
                      <a:pt x="632" y="358"/>
                    </a:lnTo>
                    <a:lnTo>
                      <a:pt x="632" y="360"/>
                    </a:lnTo>
                    <a:lnTo>
                      <a:pt x="633" y="358"/>
                    </a:lnTo>
                    <a:lnTo>
                      <a:pt x="633" y="360"/>
                    </a:lnTo>
                    <a:lnTo>
                      <a:pt x="635" y="360"/>
                    </a:lnTo>
                    <a:lnTo>
                      <a:pt x="637" y="361"/>
                    </a:lnTo>
                    <a:lnTo>
                      <a:pt x="639" y="361"/>
                    </a:lnTo>
                    <a:lnTo>
                      <a:pt x="641" y="363"/>
                    </a:lnTo>
                    <a:lnTo>
                      <a:pt x="643" y="363"/>
                    </a:lnTo>
                    <a:lnTo>
                      <a:pt x="643" y="365"/>
                    </a:lnTo>
                    <a:lnTo>
                      <a:pt x="643" y="367"/>
                    </a:lnTo>
                    <a:lnTo>
                      <a:pt x="645" y="367"/>
                    </a:lnTo>
                    <a:lnTo>
                      <a:pt x="643" y="369"/>
                    </a:lnTo>
                    <a:lnTo>
                      <a:pt x="643" y="371"/>
                    </a:lnTo>
                    <a:lnTo>
                      <a:pt x="643" y="373"/>
                    </a:lnTo>
                    <a:lnTo>
                      <a:pt x="645" y="373"/>
                    </a:lnTo>
                    <a:lnTo>
                      <a:pt x="647" y="375"/>
                    </a:lnTo>
                    <a:lnTo>
                      <a:pt x="647" y="377"/>
                    </a:lnTo>
                    <a:lnTo>
                      <a:pt x="647" y="379"/>
                    </a:lnTo>
                    <a:lnTo>
                      <a:pt x="645" y="379"/>
                    </a:lnTo>
                    <a:lnTo>
                      <a:pt x="645" y="381"/>
                    </a:lnTo>
                    <a:lnTo>
                      <a:pt x="643" y="381"/>
                    </a:lnTo>
                    <a:lnTo>
                      <a:pt x="643" y="383"/>
                    </a:lnTo>
                    <a:lnTo>
                      <a:pt x="645" y="385"/>
                    </a:lnTo>
                    <a:lnTo>
                      <a:pt x="645" y="386"/>
                    </a:lnTo>
                    <a:lnTo>
                      <a:pt x="647" y="386"/>
                    </a:lnTo>
                    <a:lnTo>
                      <a:pt x="649" y="386"/>
                    </a:lnTo>
                    <a:lnTo>
                      <a:pt x="649" y="388"/>
                    </a:lnTo>
                    <a:lnTo>
                      <a:pt x="651" y="388"/>
                    </a:lnTo>
                    <a:lnTo>
                      <a:pt x="653" y="388"/>
                    </a:lnTo>
                    <a:lnTo>
                      <a:pt x="653" y="390"/>
                    </a:lnTo>
                    <a:lnTo>
                      <a:pt x="653" y="392"/>
                    </a:lnTo>
                    <a:lnTo>
                      <a:pt x="651" y="392"/>
                    </a:lnTo>
                    <a:lnTo>
                      <a:pt x="649" y="392"/>
                    </a:lnTo>
                    <a:lnTo>
                      <a:pt x="647" y="392"/>
                    </a:lnTo>
                    <a:lnTo>
                      <a:pt x="645" y="392"/>
                    </a:lnTo>
                    <a:lnTo>
                      <a:pt x="645" y="394"/>
                    </a:lnTo>
                    <a:lnTo>
                      <a:pt x="643" y="394"/>
                    </a:lnTo>
                    <a:lnTo>
                      <a:pt x="641" y="394"/>
                    </a:lnTo>
                    <a:lnTo>
                      <a:pt x="641" y="396"/>
                    </a:lnTo>
                    <a:lnTo>
                      <a:pt x="639" y="396"/>
                    </a:lnTo>
                    <a:lnTo>
                      <a:pt x="637" y="396"/>
                    </a:lnTo>
                    <a:lnTo>
                      <a:pt x="637" y="398"/>
                    </a:lnTo>
                    <a:lnTo>
                      <a:pt x="635" y="398"/>
                    </a:lnTo>
                    <a:lnTo>
                      <a:pt x="633" y="398"/>
                    </a:lnTo>
                    <a:lnTo>
                      <a:pt x="633" y="400"/>
                    </a:lnTo>
                    <a:lnTo>
                      <a:pt x="632" y="400"/>
                    </a:lnTo>
                    <a:lnTo>
                      <a:pt x="630" y="400"/>
                    </a:lnTo>
                    <a:lnTo>
                      <a:pt x="630" y="402"/>
                    </a:lnTo>
                    <a:lnTo>
                      <a:pt x="628" y="402"/>
                    </a:lnTo>
                    <a:lnTo>
                      <a:pt x="626" y="402"/>
                    </a:lnTo>
                    <a:lnTo>
                      <a:pt x="624" y="404"/>
                    </a:lnTo>
                    <a:lnTo>
                      <a:pt x="622" y="404"/>
                    </a:lnTo>
                    <a:lnTo>
                      <a:pt x="620" y="404"/>
                    </a:lnTo>
                    <a:lnTo>
                      <a:pt x="618" y="406"/>
                    </a:lnTo>
                    <a:lnTo>
                      <a:pt x="616" y="408"/>
                    </a:lnTo>
                    <a:lnTo>
                      <a:pt x="614" y="410"/>
                    </a:lnTo>
                    <a:lnTo>
                      <a:pt x="612" y="410"/>
                    </a:lnTo>
                    <a:lnTo>
                      <a:pt x="612" y="411"/>
                    </a:lnTo>
                    <a:lnTo>
                      <a:pt x="610" y="411"/>
                    </a:lnTo>
                    <a:lnTo>
                      <a:pt x="610" y="410"/>
                    </a:lnTo>
                    <a:lnTo>
                      <a:pt x="610" y="411"/>
                    </a:lnTo>
                    <a:lnTo>
                      <a:pt x="609" y="411"/>
                    </a:lnTo>
                    <a:lnTo>
                      <a:pt x="610" y="411"/>
                    </a:lnTo>
                    <a:lnTo>
                      <a:pt x="610" y="413"/>
                    </a:lnTo>
                    <a:lnTo>
                      <a:pt x="609" y="413"/>
                    </a:lnTo>
                    <a:lnTo>
                      <a:pt x="609" y="415"/>
                    </a:lnTo>
                    <a:lnTo>
                      <a:pt x="607" y="417"/>
                    </a:lnTo>
                    <a:lnTo>
                      <a:pt x="605" y="419"/>
                    </a:lnTo>
                    <a:lnTo>
                      <a:pt x="603" y="421"/>
                    </a:lnTo>
                    <a:lnTo>
                      <a:pt x="603" y="423"/>
                    </a:lnTo>
                    <a:lnTo>
                      <a:pt x="601" y="425"/>
                    </a:lnTo>
                    <a:lnTo>
                      <a:pt x="601" y="427"/>
                    </a:lnTo>
                    <a:lnTo>
                      <a:pt x="601" y="425"/>
                    </a:lnTo>
                    <a:lnTo>
                      <a:pt x="601" y="427"/>
                    </a:lnTo>
                    <a:lnTo>
                      <a:pt x="601" y="425"/>
                    </a:lnTo>
                    <a:lnTo>
                      <a:pt x="601" y="423"/>
                    </a:lnTo>
                    <a:lnTo>
                      <a:pt x="601" y="425"/>
                    </a:lnTo>
                    <a:lnTo>
                      <a:pt x="603" y="423"/>
                    </a:lnTo>
                    <a:lnTo>
                      <a:pt x="605" y="421"/>
                    </a:lnTo>
                    <a:lnTo>
                      <a:pt x="605" y="419"/>
                    </a:lnTo>
                    <a:lnTo>
                      <a:pt x="603" y="421"/>
                    </a:lnTo>
                    <a:lnTo>
                      <a:pt x="603" y="423"/>
                    </a:lnTo>
                    <a:lnTo>
                      <a:pt x="601" y="423"/>
                    </a:lnTo>
                    <a:lnTo>
                      <a:pt x="601" y="425"/>
                    </a:lnTo>
                    <a:lnTo>
                      <a:pt x="599" y="429"/>
                    </a:lnTo>
                    <a:lnTo>
                      <a:pt x="599" y="427"/>
                    </a:lnTo>
                    <a:lnTo>
                      <a:pt x="601" y="427"/>
                    </a:lnTo>
                    <a:lnTo>
                      <a:pt x="601" y="429"/>
                    </a:lnTo>
                    <a:lnTo>
                      <a:pt x="599" y="431"/>
                    </a:lnTo>
                    <a:lnTo>
                      <a:pt x="599" y="433"/>
                    </a:lnTo>
                    <a:lnTo>
                      <a:pt x="599" y="435"/>
                    </a:lnTo>
                    <a:lnTo>
                      <a:pt x="597" y="436"/>
                    </a:lnTo>
                    <a:lnTo>
                      <a:pt x="597" y="438"/>
                    </a:lnTo>
                    <a:lnTo>
                      <a:pt x="597" y="440"/>
                    </a:lnTo>
                    <a:lnTo>
                      <a:pt x="597" y="442"/>
                    </a:lnTo>
                    <a:lnTo>
                      <a:pt x="597" y="444"/>
                    </a:lnTo>
                    <a:lnTo>
                      <a:pt x="597" y="446"/>
                    </a:lnTo>
                    <a:lnTo>
                      <a:pt x="597" y="448"/>
                    </a:lnTo>
                    <a:lnTo>
                      <a:pt x="597" y="450"/>
                    </a:lnTo>
                    <a:lnTo>
                      <a:pt x="599" y="450"/>
                    </a:lnTo>
                    <a:lnTo>
                      <a:pt x="599" y="452"/>
                    </a:lnTo>
                    <a:lnTo>
                      <a:pt x="597" y="452"/>
                    </a:lnTo>
                    <a:lnTo>
                      <a:pt x="599" y="452"/>
                    </a:lnTo>
                    <a:lnTo>
                      <a:pt x="597" y="452"/>
                    </a:lnTo>
                    <a:lnTo>
                      <a:pt x="599" y="452"/>
                    </a:lnTo>
                    <a:lnTo>
                      <a:pt x="597" y="452"/>
                    </a:lnTo>
                    <a:lnTo>
                      <a:pt x="597" y="454"/>
                    </a:lnTo>
                    <a:lnTo>
                      <a:pt x="597" y="456"/>
                    </a:lnTo>
                    <a:lnTo>
                      <a:pt x="595" y="456"/>
                    </a:lnTo>
                    <a:lnTo>
                      <a:pt x="595" y="458"/>
                    </a:lnTo>
                    <a:lnTo>
                      <a:pt x="595" y="460"/>
                    </a:lnTo>
                    <a:lnTo>
                      <a:pt x="593" y="460"/>
                    </a:lnTo>
                    <a:lnTo>
                      <a:pt x="593" y="461"/>
                    </a:lnTo>
                    <a:lnTo>
                      <a:pt x="593" y="463"/>
                    </a:lnTo>
                    <a:lnTo>
                      <a:pt x="593" y="465"/>
                    </a:lnTo>
                    <a:lnTo>
                      <a:pt x="591" y="469"/>
                    </a:lnTo>
                    <a:lnTo>
                      <a:pt x="591" y="471"/>
                    </a:lnTo>
                    <a:lnTo>
                      <a:pt x="591" y="473"/>
                    </a:lnTo>
                    <a:lnTo>
                      <a:pt x="591" y="475"/>
                    </a:lnTo>
                    <a:lnTo>
                      <a:pt x="591" y="477"/>
                    </a:lnTo>
                    <a:lnTo>
                      <a:pt x="589" y="477"/>
                    </a:lnTo>
                    <a:lnTo>
                      <a:pt x="591" y="477"/>
                    </a:lnTo>
                    <a:lnTo>
                      <a:pt x="589" y="477"/>
                    </a:lnTo>
                    <a:lnTo>
                      <a:pt x="589" y="479"/>
                    </a:lnTo>
                    <a:lnTo>
                      <a:pt x="589" y="481"/>
                    </a:lnTo>
                    <a:lnTo>
                      <a:pt x="589" y="485"/>
                    </a:lnTo>
                    <a:lnTo>
                      <a:pt x="589" y="483"/>
                    </a:lnTo>
                    <a:lnTo>
                      <a:pt x="589" y="479"/>
                    </a:lnTo>
                    <a:lnTo>
                      <a:pt x="589" y="481"/>
                    </a:lnTo>
                    <a:lnTo>
                      <a:pt x="587" y="481"/>
                    </a:lnTo>
                    <a:lnTo>
                      <a:pt x="585" y="481"/>
                    </a:lnTo>
                    <a:lnTo>
                      <a:pt x="585" y="479"/>
                    </a:lnTo>
                    <a:lnTo>
                      <a:pt x="584" y="479"/>
                    </a:lnTo>
                    <a:lnTo>
                      <a:pt x="585" y="479"/>
                    </a:lnTo>
                    <a:lnTo>
                      <a:pt x="585" y="481"/>
                    </a:lnTo>
                    <a:lnTo>
                      <a:pt x="587" y="481"/>
                    </a:lnTo>
                    <a:lnTo>
                      <a:pt x="587" y="483"/>
                    </a:lnTo>
                    <a:lnTo>
                      <a:pt x="589" y="483"/>
                    </a:lnTo>
                    <a:lnTo>
                      <a:pt x="589" y="485"/>
                    </a:lnTo>
                    <a:lnTo>
                      <a:pt x="591" y="485"/>
                    </a:lnTo>
                    <a:lnTo>
                      <a:pt x="591" y="486"/>
                    </a:lnTo>
                    <a:lnTo>
                      <a:pt x="591" y="488"/>
                    </a:lnTo>
                    <a:lnTo>
                      <a:pt x="589" y="488"/>
                    </a:lnTo>
                    <a:lnTo>
                      <a:pt x="589" y="490"/>
                    </a:lnTo>
                    <a:lnTo>
                      <a:pt x="589" y="492"/>
                    </a:lnTo>
                    <a:lnTo>
                      <a:pt x="589" y="494"/>
                    </a:lnTo>
                    <a:lnTo>
                      <a:pt x="587" y="494"/>
                    </a:lnTo>
                    <a:lnTo>
                      <a:pt x="587" y="496"/>
                    </a:lnTo>
                    <a:lnTo>
                      <a:pt x="587" y="500"/>
                    </a:lnTo>
                    <a:lnTo>
                      <a:pt x="587" y="502"/>
                    </a:lnTo>
                    <a:lnTo>
                      <a:pt x="587" y="500"/>
                    </a:lnTo>
                    <a:lnTo>
                      <a:pt x="587" y="498"/>
                    </a:lnTo>
                    <a:lnTo>
                      <a:pt x="585" y="498"/>
                    </a:lnTo>
                    <a:lnTo>
                      <a:pt x="585" y="500"/>
                    </a:lnTo>
                    <a:lnTo>
                      <a:pt x="584" y="500"/>
                    </a:lnTo>
                    <a:lnTo>
                      <a:pt x="582" y="500"/>
                    </a:lnTo>
                    <a:lnTo>
                      <a:pt x="582" y="502"/>
                    </a:lnTo>
                    <a:lnTo>
                      <a:pt x="584" y="502"/>
                    </a:lnTo>
                    <a:lnTo>
                      <a:pt x="585" y="502"/>
                    </a:lnTo>
                    <a:lnTo>
                      <a:pt x="587" y="502"/>
                    </a:lnTo>
                    <a:lnTo>
                      <a:pt x="587" y="504"/>
                    </a:lnTo>
                    <a:lnTo>
                      <a:pt x="589" y="504"/>
                    </a:lnTo>
                    <a:lnTo>
                      <a:pt x="587" y="504"/>
                    </a:lnTo>
                    <a:lnTo>
                      <a:pt x="587" y="506"/>
                    </a:lnTo>
                    <a:lnTo>
                      <a:pt x="587" y="508"/>
                    </a:lnTo>
                    <a:lnTo>
                      <a:pt x="587" y="510"/>
                    </a:lnTo>
                    <a:lnTo>
                      <a:pt x="585" y="510"/>
                    </a:lnTo>
                    <a:lnTo>
                      <a:pt x="585" y="511"/>
                    </a:lnTo>
                    <a:lnTo>
                      <a:pt x="584" y="511"/>
                    </a:lnTo>
                    <a:lnTo>
                      <a:pt x="584" y="510"/>
                    </a:lnTo>
                    <a:lnTo>
                      <a:pt x="585" y="510"/>
                    </a:lnTo>
                    <a:lnTo>
                      <a:pt x="584" y="510"/>
                    </a:lnTo>
                    <a:lnTo>
                      <a:pt x="584" y="508"/>
                    </a:lnTo>
                    <a:lnTo>
                      <a:pt x="582" y="508"/>
                    </a:lnTo>
                    <a:lnTo>
                      <a:pt x="580" y="508"/>
                    </a:lnTo>
                    <a:lnTo>
                      <a:pt x="580" y="506"/>
                    </a:lnTo>
                    <a:lnTo>
                      <a:pt x="578" y="506"/>
                    </a:lnTo>
                    <a:lnTo>
                      <a:pt x="578" y="504"/>
                    </a:lnTo>
                    <a:lnTo>
                      <a:pt x="576" y="504"/>
                    </a:lnTo>
                    <a:lnTo>
                      <a:pt x="576" y="502"/>
                    </a:lnTo>
                    <a:lnTo>
                      <a:pt x="574" y="502"/>
                    </a:lnTo>
                    <a:lnTo>
                      <a:pt x="572" y="504"/>
                    </a:lnTo>
                    <a:lnTo>
                      <a:pt x="570" y="502"/>
                    </a:lnTo>
                    <a:lnTo>
                      <a:pt x="568" y="502"/>
                    </a:lnTo>
                    <a:lnTo>
                      <a:pt x="568" y="504"/>
                    </a:lnTo>
                    <a:lnTo>
                      <a:pt x="568" y="506"/>
                    </a:lnTo>
                    <a:lnTo>
                      <a:pt x="566" y="506"/>
                    </a:lnTo>
                    <a:lnTo>
                      <a:pt x="564" y="504"/>
                    </a:lnTo>
                    <a:lnTo>
                      <a:pt x="562" y="504"/>
                    </a:lnTo>
                    <a:lnTo>
                      <a:pt x="560" y="502"/>
                    </a:lnTo>
                    <a:lnTo>
                      <a:pt x="560" y="500"/>
                    </a:lnTo>
                    <a:lnTo>
                      <a:pt x="559" y="500"/>
                    </a:lnTo>
                    <a:lnTo>
                      <a:pt x="557" y="500"/>
                    </a:lnTo>
                    <a:lnTo>
                      <a:pt x="555" y="500"/>
                    </a:lnTo>
                    <a:lnTo>
                      <a:pt x="553" y="500"/>
                    </a:lnTo>
                    <a:lnTo>
                      <a:pt x="553" y="498"/>
                    </a:lnTo>
                    <a:lnTo>
                      <a:pt x="553" y="496"/>
                    </a:lnTo>
                    <a:lnTo>
                      <a:pt x="553" y="494"/>
                    </a:lnTo>
                    <a:lnTo>
                      <a:pt x="555" y="492"/>
                    </a:lnTo>
                    <a:lnTo>
                      <a:pt x="553" y="492"/>
                    </a:lnTo>
                    <a:lnTo>
                      <a:pt x="553" y="490"/>
                    </a:lnTo>
                    <a:lnTo>
                      <a:pt x="551" y="490"/>
                    </a:lnTo>
                    <a:lnTo>
                      <a:pt x="549" y="490"/>
                    </a:lnTo>
                    <a:lnTo>
                      <a:pt x="549" y="488"/>
                    </a:lnTo>
                    <a:lnTo>
                      <a:pt x="547" y="488"/>
                    </a:lnTo>
                    <a:lnTo>
                      <a:pt x="545" y="492"/>
                    </a:lnTo>
                    <a:lnTo>
                      <a:pt x="545" y="494"/>
                    </a:lnTo>
                    <a:lnTo>
                      <a:pt x="543" y="494"/>
                    </a:lnTo>
                    <a:lnTo>
                      <a:pt x="541" y="494"/>
                    </a:lnTo>
                    <a:lnTo>
                      <a:pt x="541" y="492"/>
                    </a:lnTo>
                    <a:lnTo>
                      <a:pt x="539" y="492"/>
                    </a:lnTo>
                    <a:lnTo>
                      <a:pt x="539" y="494"/>
                    </a:lnTo>
                    <a:lnTo>
                      <a:pt x="537" y="494"/>
                    </a:lnTo>
                    <a:lnTo>
                      <a:pt x="537" y="496"/>
                    </a:lnTo>
                    <a:lnTo>
                      <a:pt x="537" y="494"/>
                    </a:lnTo>
                    <a:lnTo>
                      <a:pt x="536" y="494"/>
                    </a:lnTo>
                    <a:lnTo>
                      <a:pt x="536" y="498"/>
                    </a:lnTo>
                    <a:lnTo>
                      <a:pt x="534" y="498"/>
                    </a:lnTo>
                    <a:lnTo>
                      <a:pt x="532" y="498"/>
                    </a:lnTo>
                    <a:lnTo>
                      <a:pt x="532" y="500"/>
                    </a:lnTo>
                    <a:lnTo>
                      <a:pt x="532" y="502"/>
                    </a:lnTo>
                    <a:lnTo>
                      <a:pt x="532" y="504"/>
                    </a:lnTo>
                    <a:lnTo>
                      <a:pt x="532" y="506"/>
                    </a:lnTo>
                    <a:lnTo>
                      <a:pt x="532" y="508"/>
                    </a:lnTo>
                    <a:lnTo>
                      <a:pt x="530" y="508"/>
                    </a:lnTo>
                    <a:lnTo>
                      <a:pt x="530" y="510"/>
                    </a:lnTo>
                    <a:lnTo>
                      <a:pt x="530" y="511"/>
                    </a:lnTo>
                    <a:lnTo>
                      <a:pt x="530" y="513"/>
                    </a:lnTo>
                    <a:lnTo>
                      <a:pt x="530" y="515"/>
                    </a:lnTo>
                    <a:lnTo>
                      <a:pt x="528" y="515"/>
                    </a:lnTo>
                    <a:lnTo>
                      <a:pt x="528" y="517"/>
                    </a:lnTo>
                    <a:lnTo>
                      <a:pt x="528" y="519"/>
                    </a:lnTo>
                    <a:lnTo>
                      <a:pt x="526" y="521"/>
                    </a:lnTo>
                    <a:lnTo>
                      <a:pt x="524" y="521"/>
                    </a:lnTo>
                    <a:lnTo>
                      <a:pt x="524" y="519"/>
                    </a:lnTo>
                    <a:lnTo>
                      <a:pt x="522" y="519"/>
                    </a:lnTo>
                    <a:lnTo>
                      <a:pt x="522" y="521"/>
                    </a:lnTo>
                    <a:lnTo>
                      <a:pt x="520" y="521"/>
                    </a:lnTo>
                    <a:lnTo>
                      <a:pt x="518" y="521"/>
                    </a:lnTo>
                    <a:lnTo>
                      <a:pt x="516" y="523"/>
                    </a:lnTo>
                    <a:lnTo>
                      <a:pt x="516" y="525"/>
                    </a:lnTo>
                    <a:lnTo>
                      <a:pt x="516" y="529"/>
                    </a:lnTo>
                    <a:lnTo>
                      <a:pt x="516" y="531"/>
                    </a:lnTo>
                    <a:lnTo>
                      <a:pt x="514" y="531"/>
                    </a:lnTo>
                    <a:lnTo>
                      <a:pt x="512" y="531"/>
                    </a:lnTo>
                    <a:lnTo>
                      <a:pt x="512" y="529"/>
                    </a:lnTo>
                    <a:lnTo>
                      <a:pt x="511" y="529"/>
                    </a:lnTo>
                    <a:lnTo>
                      <a:pt x="509" y="529"/>
                    </a:lnTo>
                    <a:lnTo>
                      <a:pt x="507" y="531"/>
                    </a:lnTo>
                    <a:lnTo>
                      <a:pt x="505" y="533"/>
                    </a:lnTo>
                    <a:lnTo>
                      <a:pt x="507" y="533"/>
                    </a:lnTo>
                    <a:lnTo>
                      <a:pt x="507" y="535"/>
                    </a:lnTo>
                    <a:lnTo>
                      <a:pt x="507" y="536"/>
                    </a:lnTo>
                    <a:lnTo>
                      <a:pt x="505" y="536"/>
                    </a:lnTo>
                    <a:lnTo>
                      <a:pt x="505" y="538"/>
                    </a:lnTo>
                    <a:lnTo>
                      <a:pt x="507" y="538"/>
                    </a:lnTo>
                    <a:lnTo>
                      <a:pt x="509" y="538"/>
                    </a:lnTo>
                    <a:lnTo>
                      <a:pt x="507" y="540"/>
                    </a:lnTo>
                    <a:lnTo>
                      <a:pt x="507" y="542"/>
                    </a:lnTo>
                    <a:lnTo>
                      <a:pt x="505" y="542"/>
                    </a:lnTo>
                    <a:lnTo>
                      <a:pt x="505" y="544"/>
                    </a:lnTo>
                    <a:lnTo>
                      <a:pt x="503" y="544"/>
                    </a:lnTo>
                    <a:lnTo>
                      <a:pt x="505" y="546"/>
                    </a:lnTo>
                    <a:lnTo>
                      <a:pt x="505" y="548"/>
                    </a:lnTo>
                    <a:lnTo>
                      <a:pt x="503" y="548"/>
                    </a:lnTo>
                    <a:lnTo>
                      <a:pt x="503" y="550"/>
                    </a:lnTo>
                    <a:lnTo>
                      <a:pt x="501" y="550"/>
                    </a:lnTo>
                    <a:lnTo>
                      <a:pt x="501" y="552"/>
                    </a:lnTo>
                    <a:lnTo>
                      <a:pt x="499" y="550"/>
                    </a:lnTo>
                    <a:lnTo>
                      <a:pt x="497" y="550"/>
                    </a:lnTo>
                    <a:lnTo>
                      <a:pt x="497" y="552"/>
                    </a:lnTo>
                    <a:lnTo>
                      <a:pt x="499" y="552"/>
                    </a:lnTo>
                    <a:lnTo>
                      <a:pt x="497" y="554"/>
                    </a:lnTo>
                    <a:lnTo>
                      <a:pt x="495" y="554"/>
                    </a:lnTo>
                    <a:lnTo>
                      <a:pt x="495" y="552"/>
                    </a:lnTo>
                    <a:lnTo>
                      <a:pt x="495" y="550"/>
                    </a:lnTo>
                    <a:lnTo>
                      <a:pt x="493" y="550"/>
                    </a:lnTo>
                    <a:lnTo>
                      <a:pt x="493" y="552"/>
                    </a:lnTo>
                    <a:lnTo>
                      <a:pt x="495" y="554"/>
                    </a:lnTo>
                    <a:lnTo>
                      <a:pt x="493" y="554"/>
                    </a:lnTo>
                    <a:lnTo>
                      <a:pt x="493" y="556"/>
                    </a:lnTo>
                    <a:lnTo>
                      <a:pt x="493" y="558"/>
                    </a:lnTo>
                    <a:lnTo>
                      <a:pt x="495" y="558"/>
                    </a:lnTo>
                    <a:lnTo>
                      <a:pt x="495" y="560"/>
                    </a:lnTo>
                    <a:lnTo>
                      <a:pt x="493" y="561"/>
                    </a:lnTo>
                    <a:lnTo>
                      <a:pt x="491" y="561"/>
                    </a:lnTo>
                    <a:lnTo>
                      <a:pt x="491" y="563"/>
                    </a:lnTo>
                    <a:lnTo>
                      <a:pt x="491" y="565"/>
                    </a:lnTo>
                    <a:lnTo>
                      <a:pt x="489" y="567"/>
                    </a:lnTo>
                    <a:lnTo>
                      <a:pt x="487" y="567"/>
                    </a:lnTo>
                    <a:lnTo>
                      <a:pt x="486" y="569"/>
                    </a:lnTo>
                    <a:lnTo>
                      <a:pt x="484" y="569"/>
                    </a:lnTo>
                    <a:lnTo>
                      <a:pt x="484" y="571"/>
                    </a:lnTo>
                    <a:lnTo>
                      <a:pt x="482" y="571"/>
                    </a:lnTo>
                    <a:lnTo>
                      <a:pt x="480" y="571"/>
                    </a:lnTo>
                    <a:lnTo>
                      <a:pt x="480" y="573"/>
                    </a:lnTo>
                    <a:lnTo>
                      <a:pt x="478" y="575"/>
                    </a:lnTo>
                    <a:lnTo>
                      <a:pt x="476" y="575"/>
                    </a:lnTo>
                    <a:lnTo>
                      <a:pt x="474" y="573"/>
                    </a:lnTo>
                    <a:lnTo>
                      <a:pt x="474" y="575"/>
                    </a:lnTo>
                    <a:lnTo>
                      <a:pt x="472" y="575"/>
                    </a:lnTo>
                    <a:lnTo>
                      <a:pt x="472" y="573"/>
                    </a:lnTo>
                    <a:lnTo>
                      <a:pt x="470" y="573"/>
                    </a:lnTo>
                    <a:lnTo>
                      <a:pt x="470" y="571"/>
                    </a:lnTo>
                    <a:lnTo>
                      <a:pt x="468" y="571"/>
                    </a:lnTo>
                    <a:lnTo>
                      <a:pt x="468" y="573"/>
                    </a:lnTo>
                    <a:lnTo>
                      <a:pt x="466" y="573"/>
                    </a:lnTo>
                    <a:lnTo>
                      <a:pt x="466" y="571"/>
                    </a:lnTo>
                    <a:lnTo>
                      <a:pt x="466" y="569"/>
                    </a:lnTo>
                    <a:lnTo>
                      <a:pt x="464" y="569"/>
                    </a:lnTo>
                    <a:lnTo>
                      <a:pt x="463" y="569"/>
                    </a:lnTo>
                    <a:lnTo>
                      <a:pt x="463" y="567"/>
                    </a:lnTo>
                    <a:lnTo>
                      <a:pt x="463" y="569"/>
                    </a:lnTo>
                    <a:lnTo>
                      <a:pt x="461" y="569"/>
                    </a:lnTo>
                    <a:lnTo>
                      <a:pt x="461" y="567"/>
                    </a:lnTo>
                    <a:lnTo>
                      <a:pt x="459" y="563"/>
                    </a:lnTo>
                    <a:lnTo>
                      <a:pt x="459" y="561"/>
                    </a:lnTo>
                    <a:lnTo>
                      <a:pt x="455" y="561"/>
                    </a:lnTo>
                    <a:lnTo>
                      <a:pt x="455" y="563"/>
                    </a:lnTo>
                    <a:lnTo>
                      <a:pt x="453" y="563"/>
                    </a:lnTo>
                    <a:lnTo>
                      <a:pt x="453" y="565"/>
                    </a:lnTo>
                    <a:lnTo>
                      <a:pt x="451" y="565"/>
                    </a:lnTo>
                    <a:lnTo>
                      <a:pt x="447" y="565"/>
                    </a:lnTo>
                    <a:lnTo>
                      <a:pt x="447" y="567"/>
                    </a:lnTo>
                    <a:lnTo>
                      <a:pt x="445" y="567"/>
                    </a:lnTo>
                    <a:lnTo>
                      <a:pt x="443" y="567"/>
                    </a:lnTo>
                    <a:lnTo>
                      <a:pt x="443" y="565"/>
                    </a:lnTo>
                    <a:lnTo>
                      <a:pt x="441" y="565"/>
                    </a:lnTo>
                    <a:lnTo>
                      <a:pt x="438" y="565"/>
                    </a:lnTo>
                    <a:lnTo>
                      <a:pt x="436" y="565"/>
                    </a:lnTo>
                    <a:lnTo>
                      <a:pt x="434" y="565"/>
                    </a:lnTo>
                    <a:lnTo>
                      <a:pt x="432" y="565"/>
                    </a:lnTo>
                    <a:lnTo>
                      <a:pt x="430" y="565"/>
                    </a:lnTo>
                    <a:lnTo>
                      <a:pt x="426" y="565"/>
                    </a:lnTo>
                    <a:lnTo>
                      <a:pt x="424" y="565"/>
                    </a:lnTo>
                    <a:lnTo>
                      <a:pt x="422" y="565"/>
                    </a:lnTo>
                    <a:lnTo>
                      <a:pt x="422" y="571"/>
                    </a:lnTo>
                    <a:lnTo>
                      <a:pt x="420" y="569"/>
                    </a:lnTo>
                    <a:lnTo>
                      <a:pt x="418" y="571"/>
                    </a:lnTo>
                    <a:lnTo>
                      <a:pt x="413" y="571"/>
                    </a:lnTo>
                    <a:lnTo>
                      <a:pt x="411" y="571"/>
                    </a:lnTo>
                    <a:lnTo>
                      <a:pt x="411" y="573"/>
                    </a:lnTo>
                    <a:lnTo>
                      <a:pt x="409" y="573"/>
                    </a:lnTo>
                    <a:lnTo>
                      <a:pt x="405" y="573"/>
                    </a:lnTo>
                    <a:lnTo>
                      <a:pt x="405" y="571"/>
                    </a:lnTo>
                    <a:lnTo>
                      <a:pt x="405" y="567"/>
                    </a:lnTo>
                    <a:lnTo>
                      <a:pt x="405" y="565"/>
                    </a:lnTo>
                    <a:lnTo>
                      <a:pt x="405" y="563"/>
                    </a:lnTo>
                    <a:lnTo>
                      <a:pt x="407" y="563"/>
                    </a:lnTo>
                    <a:lnTo>
                      <a:pt x="407" y="561"/>
                    </a:lnTo>
                    <a:lnTo>
                      <a:pt x="405" y="561"/>
                    </a:lnTo>
                    <a:lnTo>
                      <a:pt x="403" y="561"/>
                    </a:lnTo>
                    <a:lnTo>
                      <a:pt x="403" y="560"/>
                    </a:lnTo>
                    <a:lnTo>
                      <a:pt x="405" y="560"/>
                    </a:lnTo>
                    <a:lnTo>
                      <a:pt x="405" y="558"/>
                    </a:lnTo>
                    <a:lnTo>
                      <a:pt x="403" y="556"/>
                    </a:lnTo>
                    <a:lnTo>
                      <a:pt x="403" y="554"/>
                    </a:lnTo>
                    <a:lnTo>
                      <a:pt x="403" y="552"/>
                    </a:lnTo>
                    <a:lnTo>
                      <a:pt x="403" y="546"/>
                    </a:lnTo>
                    <a:lnTo>
                      <a:pt x="403" y="544"/>
                    </a:lnTo>
                    <a:lnTo>
                      <a:pt x="403" y="540"/>
                    </a:lnTo>
                    <a:lnTo>
                      <a:pt x="401" y="538"/>
                    </a:lnTo>
                    <a:lnTo>
                      <a:pt x="403" y="536"/>
                    </a:lnTo>
                    <a:lnTo>
                      <a:pt x="403" y="535"/>
                    </a:lnTo>
                    <a:lnTo>
                      <a:pt x="403" y="533"/>
                    </a:lnTo>
                    <a:lnTo>
                      <a:pt x="405" y="531"/>
                    </a:lnTo>
                    <a:lnTo>
                      <a:pt x="405" y="529"/>
                    </a:lnTo>
                    <a:lnTo>
                      <a:pt x="405" y="527"/>
                    </a:lnTo>
                    <a:lnTo>
                      <a:pt x="403" y="525"/>
                    </a:lnTo>
                    <a:lnTo>
                      <a:pt x="403" y="523"/>
                    </a:lnTo>
                    <a:lnTo>
                      <a:pt x="401" y="523"/>
                    </a:lnTo>
                    <a:lnTo>
                      <a:pt x="401" y="521"/>
                    </a:lnTo>
                    <a:lnTo>
                      <a:pt x="399" y="521"/>
                    </a:lnTo>
                    <a:lnTo>
                      <a:pt x="399" y="519"/>
                    </a:lnTo>
                    <a:lnTo>
                      <a:pt x="397" y="519"/>
                    </a:lnTo>
                    <a:lnTo>
                      <a:pt x="397" y="517"/>
                    </a:lnTo>
                    <a:lnTo>
                      <a:pt x="395" y="517"/>
                    </a:lnTo>
                    <a:lnTo>
                      <a:pt x="391" y="517"/>
                    </a:lnTo>
                    <a:lnTo>
                      <a:pt x="390" y="517"/>
                    </a:lnTo>
                    <a:lnTo>
                      <a:pt x="388" y="515"/>
                    </a:lnTo>
                    <a:lnTo>
                      <a:pt x="386" y="515"/>
                    </a:lnTo>
                    <a:lnTo>
                      <a:pt x="384" y="515"/>
                    </a:lnTo>
                    <a:lnTo>
                      <a:pt x="382" y="517"/>
                    </a:lnTo>
                    <a:lnTo>
                      <a:pt x="382" y="519"/>
                    </a:lnTo>
                    <a:lnTo>
                      <a:pt x="380" y="519"/>
                    </a:lnTo>
                    <a:lnTo>
                      <a:pt x="378" y="519"/>
                    </a:lnTo>
                    <a:lnTo>
                      <a:pt x="376" y="521"/>
                    </a:lnTo>
                    <a:lnTo>
                      <a:pt x="374" y="521"/>
                    </a:lnTo>
                    <a:lnTo>
                      <a:pt x="372" y="521"/>
                    </a:lnTo>
                    <a:lnTo>
                      <a:pt x="372" y="519"/>
                    </a:lnTo>
                    <a:lnTo>
                      <a:pt x="370" y="519"/>
                    </a:lnTo>
                    <a:lnTo>
                      <a:pt x="368" y="517"/>
                    </a:lnTo>
                    <a:lnTo>
                      <a:pt x="365" y="515"/>
                    </a:lnTo>
                    <a:lnTo>
                      <a:pt x="361" y="517"/>
                    </a:lnTo>
                    <a:lnTo>
                      <a:pt x="355" y="515"/>
                    </a:lnTo>
                    <a:lnTo>
                      <a:pt x="353" y="513"/>
                    </a:lnTo>
                    <a:lnTo>
                      <a:pt x="351" y="513"/>
                    </a:lnTo>
                    <a:lnTo>
                      <a:pt x="349" y="517"/>
                    </a:lnTo>
                    <a:lnTo>
                      <a:pt x="345" y="517"/>
                    </a:lnTo>
                    <a:lnTo>
                      <a:pt x="345" y="519"/>
                    </a:lnTo>
                    <a:lnTo>
                      <a:pt x="347" y="521"/>
                    </a:lnTo>
                    <a:lnTo>
                      <a:pt x="345" y="521"/>
                    </a:lnTo>
                    <a:lnTo>
                      <a:pt x="343" y="525"/>
                    </a:lnTo>
                    <a:lnTo>
                      <a:pt x="338" y="525"/>
                    </a:lnTo>
                    <a:lnTo>
                      <a:pt x="334" y="527"/>
                    </a:lnTo>
                    <a:lnTo>
                      <a:pt x="330" y="525"/>
                    </a:lnTo>
                    <a:lnTo>
                      <a:pt x="326" y="525"/>
                    </a:lnTo>
                    <a:lnTo>
                      <a:pt x="324" y="525"/>
                    </a:lnTo>
                    <a:lnTo>
                      <a:pt x="322" y="527"/>
                    </a:lnTo>
                    <a:lnTo>
                      <a:pt x="322" y="525"/>
                    </a:lnTo>
                    <a:lnTo>
                      <a:pt x="320" y="525"/>
                    </a:lnTo>
                    <a:lnTo>
                      <a:pt x="318" y="523"/>
                    </a:lnTo>
                    <a:lnTo>
                      <a:pt x="317" y="523"/>
                    </a:lnTo>
                    <a:lnTo>
                      <a:pt x="315" y="521"/>
                    </a:lnTo>
                    <a:lnTo>
                      <a:pt x="313" y="525"/>
                    </a:lnTo>
                    <a:lnTo>
                      <a:pt x="313" y="531"/>
                    </a:lnTo>
                    <a:lnTo>
                      <a:pt x="311" y="531"/>
                    </a:lnTo>
                    <a:lnTo>
                      <a:pt x="311" y="533"/>
                    </a:lnTo>
                    <a:lnTo>
                      <a:pt x="309" y="533"/>
                    </a:lnTo>
                    <a:lnTo>
                      <a:pt x="309" y="535"/>
                    </a:lnTo>
                    <a:lnTo>
                      <a:pt x="307" y="535"/>
                    </a:lnTo>
                    <a:lnTo>
                      <a:pt x="305" y="536"/>
                    </a:lnTo>
                    <a:lnTo>
                      <a:pt x="299" y="538"/>
                    </a:lnTo>
                    <a:lnTo>
                      <a:pt x="295" y="540"/>
                    </a:lnTo>
                    <a:lnTo>
                      <a:pt x="293" y="542"/>
                    </a:lnTo>
                    <a:lnTo>
                      <a:pt x="293" y="544"/>
                    </a:lnTo>
                    <a:lnTo>
                      <a:pt x="293" y="546"/>
                    </a:lnTo>
                    <a:lnTo>
                      <a:pt x="292" y="548"/>
                    </a:lnTo>
                    <a:lnTo>
                      <a:pt x="290" y="550"/>
                    </a:lnTo>
                    <a:lnTo>
                      <a:pt x="288" y="550"/>
                    </a:lnTo>
                    <a:lnTo>
                      <a:pt x="288" y="548"/>
                    </a:lnTo>
                    <a:lnTo>
                      <a:pt x="288" y="546"/>
                    </a:lnTo>
                    <a:lnTo>
                      <a:pt x="284" y="546"/>
                    </a:lnTo>
                    <a:lnTo>
                      <a:pt x="282" y="546"/>
                    </a:lnTo>
                    <a:lnTo>
                      <a:pt x="280" y="546"/>
                    </a:lnTo>
                    <a:lnTo>
                      <a:pt x="280" y="544"/>
                    </a:lnTo>
                    <a:lnTo>
                      <a:pt x="276" y="544"/>
                    </a:lnTo>
                    <a:lnTo>
                      <a:pt x="274" y="546"/>
                    </a:lnTo>
                    <a:lnTo>
                      <a:pt x="274" y="548"/>
                    </a:lnTo>
                    <a:lnTo>
                      <a:pt x="272" y="548"/>
                    </a:lnTo>
                    <a:lnTo>
                      <a:pt x="268" y="550"/>
                    </a:lnTo>
                    <a:lnTo>
                      <a:pt x="268" y="548"/>
                    </a:lnTo>
                    <a:lnTo>
                      <a:pt x="265" y="546"/>
                    </a:lnTo>
                    <a:lnTo>
                      <a:pt x="263" y="548"/>
                    </a:lnTo>
                    <a:lnTo>
                      <a:pt x="261" y="550"/>
                    </a:lnTo>
                    <a:lnTo>
                      <a:pt x="261" y="552"/>
                    </a:lnTo>
                    <a:lnTo>
                      <a:pt x="263" y="554"/>
                    </a:lnTo>
                    <a:lnTo>
                      <a:pt x="263" y="556"/>
                    </a:lnTo>
                    <a:lnTo>
                      <a:pt x="265" y="556"/>
                    </a:lnTo>
                    <a:lnTo>
                      <a:pt x="265" y="558"/>
                    </a:lnTo>
                    <a:lnTo>
                      <a:pt x="267" y="560"/>
                    </a:lnTo>
                    <a:lnTo>
                      <a:pt x="265" y="560"/>
                    </a:lnTo>
                    <a:lnTo>
                      <a:pt x="265" y="561"/>
                    </a:lnTo>
                    <a:lnTo>
                      <a:pt x="263" y="561"/>
                    </a:lnTo>
                    <a:lnTo>
                      <a:pt x="261" y="560"/>
                    </a:lnTo>
                    <a:lnTo>
                      <a:pt x="259" y="560"/>
                    </a:lnTo>
                    <a:lnTo>
                      <a:pt x="257" y="560"/>
                    </a:lnTo>
                    <a:lnTo>
                      <a:pt x="255" y="560"/>
                    </a:lnTo>
                    <a:lnTo>
                      <a:pt x="253" y="560"/>
                    </a:lnTo>
                    <a:lnTo>
                      <a:pt x="249" y="560"/>
                    </a:lnTo>
                    <a:lnTo>
                      <a:pt x="247" y="560"/>
                    </a:lnTo>
                    <a:lnTo>
                      <a:pt x="244" y="561"/>
                    </a:lnTo>
                    <a:lnTo>
                      <a:pt x="240" y="561"/>
                    </a:lnTo>
                    <a:lnTo>
                      <a:pt x="238" y="561"/>
                    </a:lnTo>
                    <a:lnTo>
                      <a:pt x="238" y="563"/>
                    </a:lnTo>
                    <a:lnTo>
                      <a:pt x="240" y="563"/>
                    </a:lnTo>
                    <a:lnTo>
                      <a:pt x="240" y="565"/>
                    </a:lnTo>
                    <a:lnTo>
                      <a:pt x="238" y="565"/>
                    </a:lnTo>
                    <a:lnTo>
                      <a:pt x="238" y="567"/>
                    </a:lnTo>
                    <a:lnTo>
                      <a:pt x="238" y="569"/>
                    </a:lnTo>
                    <a:lnTo>
                      <a:pt x="236" y="571"/>
                    </a:lnTo>
                    <a:lnTo>
                      <a:pt x="232" y="569"/>
                    </a:lnTo>
                    <a:lnTo>
                      <a:pt x="232" y="571"/>
                    </a:lnTo>
                    <a:lnTo>
                      <a:pt x="230" y="573"/>
                    </a:lnTo>
                    <a:lnTo>
                      <a:pt x="228" y="573"/>
                    </a:lnTo>
                    <a:lnTo>
                      <a:pt x="226" y="571"/>
                    </a:lnTo>
                    <a:lnTo>
                      <a:pt x="226" y="573"/>
                    </a:lnTo>
                    <a:lnTo>
                      <a:pt x="226" y="575"/>
                    </a:lnTo>
                    <a:lnTo>
                      <a:pt x="226" y="577"/>
                    </a:lnTo>
                    <a:lnTo>
                      <a:pt x="226" y="579"/>
                    </a:lnTo>
                    <a:lnTo>
                      <a:pt x="226" y="581"/>
                    </a:lnTo>
                    <a:lnTo>
                      <a:pt x="226" y="583"/>
                    </a:lnTo>
                    <a:lnTo>
                      <a:pt x="224" y="584"/>
                    </a:lnTo>
                    <a:lnTo>
                      <a:pt x="222" y="584"/>
                    </a:lnTo>
                    <a:lnTo>
                      <a:pt x="222" y="586"/>
                    </a:lnTo>
                    <a:lnTo>
                      <a:pt x="224" y="588"/>
                    </a:lnTo>
                    <a:lnTo>
                      <a:pt x="224" y="590"/>
                    </a:lnTo>
                    <a:lnTo>
                      <a:pt x="226" y="590"/>
                    </a:lnTo>
                    <a:lnTo>
                      <a:pt x="226" y="592"/>
                    </a:lnTo>
                    <a:lnTo>
                      <a:pt x="226" y="594"/>
                    </a:lnTo>
                    <a:lnTo>
                      <a:pt x="228" y="594"/>
                    </a:lnTo>
                    <a:lnTo>
                      <a:pt x="226" y="594"/>
                    </a:lnTo>
                    <a:lnTo>
                      <a:pt x="226" y="596"/>
                    </a:lnTo>
                    <a:lnTo>
                      <a:pt x="224" y="596"/>
                    </a:lnTo>
                    <a:lnTo>
                      <a:pt x="222" y="598"/>
                    </a:lnTo>
                    <a:lnTo>
                      <a:pt x="220" y="598"/>
                    </a:lnTo>
                    <a:lnTo>
                      <a:pt x="220" y="600"/>
                    </a:lnTo>
                    <a:lnTo>
                      <a:pt x="219" y="600"/>
                    </a:lnTo>
                    <a:lnTo>
                      <a:pt x="217" y="600"/>
                    </a:lnTo>
                    <a:lnTo>
                      <a:pt x="217" y="598"/>
                    </a:lnTo>
                    <a:lnTo>
                      <a:pt x="215" y="598"/>
                    </a:lnTo>
                    <a:lnTo>
                      <a:pt x="213" y="598"/>
                    </a:lnTo>
                    <a:lnTo>
                      <a:pt x="211" y="600"/>
                    </a:lnTo>
                    <a:lnTo>
                      <a:pt x="209" y="600"/>
                    </a:lnTo>
                    <a:lnTo>
                      <a:pt x="209" y="602"/>
                    </a:lnTo>
                    <a:lnTo>
                      <a:pt x="209" y="604"/>
                    </a:lnTo>
                    <a:lnTo>
                      <a:pt x="207" y="602"/>
                    </a:lnTo>
                    <a:lnTo>
                      <a:pt x="207" y="604"/>
                    </a:lnTo>
                    <a:lnTo>
                      <a:pt x="207" y="602"/>
                    </a:lnTo>
                    <a:lnTo>
                      <a:pt x="207" y="604"/>
                    </a:lnTo>
                    <a:lnTo>
                      <a:pt x="205" y="604"/>
                    </a:lnTo>
                    <a:lnTo>
                      <a:pt x="205" y="602"/>
                    </a:lnTo>
                    <a:lnTo>
                      <a:pt x="203" y="604"/>
                    </a:lnTo>
                    <a:lnTo>
                      <a:pt x="201" y="604"/>
                    </a:lnTo>
                    <a:lnTo>
                      <a:pt x="201" y="606"/>
                    </a:lnTo>
                    <a:lnTo>
                      <a:pt x="199" y="606"/>
                    </a:lnTo>
                    <a:lnTo>
                      <a:pt x="197" y="606"/>
                    </a:lnTo>
                    <a:lnTo>
                      <a:pt x="195" y="606"/>
                    </a:lnTo>
                    <a:lnTo>
                      <a:pt x="195" y="608"/>
                    </a:lnTo>
                    <a:lnTo>
                      <a:pt x="194" y="608"/>
                    </a:lnTo>
                    <a:lnTo>
                      <a:pt x="194" y="606"/>
                    </a:lnTo>
                    <a:lnTo>
                      <a:pt x="192" y="606"/>
                    </a:lnTo>
                    <a:lnTo>
                      <a:pt x="192" y="604"/>
                    </a:lnTo>
                    <a:lnTo>
                      <a:pt x="190" y="604"/>
                    </a:lnTo>
                    <a:lnTo>
                      <a:pt x="188" y="604"/>
                    </a:lnTo>
                    <a:lnTo>
                      <a:pt x="188" y="602"/>
                    </a:lnTo>
                    <a:lnTo>
                      <a:pt x="186" y="602"/>
                    </a:lnTo>
                    <a:lnTo>
                      <a:pt x="186" y="600"/>
                    </a:lnTo>
                    <a:lnTo>
                      <a:pt x="184" y="600"/>
                    </a:lnTo>
                    <a:lnTo>
                      <a:pt x="182" y="600"/>
                    </a:lnTo>
                    <a:lnTo>
                      <a:pt x="182" y="602"/>
                    </a:lnTo>
                    <a:lnTo>
                      <a:pt x="180" y="600"/>
                    </a:lnTo>
                    <a:lnTo>
                      <a:pt x="180" y="602"/>
                    </a:lnTo>
                    <a:lnTo>
                      <a:pt x="178" y="602"/>
                    </a:lnTo>
                    <a:lnTo>
                      <a:pt x="176" y="602"/>
                    </a:lnTo>
                    <a:lnTo>
                      <a:pt x="176" y="600"/>
                    </a:lnTo>
                    <a:lnTo>
                      <a:pt x="174" y="600"/>
                    </a:lnTo>
                    <a:lnTo>
                      <a:pt x="172" y="600"/>
                    </a:lnTo>
                    <a:lnTo>
                      <a:pt x="170" y="600"/>
                    </a:lnTo>
                    <a:lnTo>
                      <a:pt x="170" y="602"/>
                    </a:lnTo>
                    <a:lnTo>
                      <a:pt x="169" y="602"/>
                    </a:lnTo>
                    <a:lnTo>
                      <a:pt x="167" y="602"/>
                    </a:lnTo>
                    <a:lnTo>
                      <a:pt x="167" y="604"/>
                    </a:lnTo>
                    <a:lnTo>
                      <a:pt x="165" y="604"/>
                    </a:lnTo>
                    <a:lnTo>
                      <a:pt x="165" y="606"/>
                    </a:lnTo>
                    <a:lnTo>
                      <a:pt x="163" y="606"/>
                    </a:lnTo>
                    <a:lnTo>
                      <a:pt x="163" y="608"/>
                    </a:lnTo>
                    <a:lnTo>
                      <a:pt x="161" y="608"/>
                    </a:lnTo>
                    <a:lnTo>
                      <a:pt x="161" y="609"/>
                    </a:lnTo>
                    <a:lnTo>
                      <a:pt x="159" y="609"/>
                    </a:lnTo>
                    <a:lnTo>
                      <a:pt x="159" y="611"/>
                    </a:lnTo>
                    <a:lnTo>
                      <a:pt x="157" y="611"/>
                    </a:lnTo>
                    <a:lnTo>
                      <a:pt x="155" y="611"/>
                    </a:lnTo>
                    <a:lnTo>
                      <a:pt x="153" y="611"/>
                    </a:lnTo>
                    <a:lnTo>
                      <a:pt x="151" y="609"/>
                    </a:lnTo>
                    <a:lnTo>
                      <a:pt x="151" y="611"/>
                    </a:lnTo>
                    <a:lnTo>
                      <a:pt x="149" y="611"/>
                    </a:lnTo>
                    <a:lnTo>
                      <a:pt x="149" y="609"/>
                    </a:lnTo>
                    <a:lnTo>
                      <a:pt x="147" y="609"/>
                    </a:lnTo>
                    <a:lnTo>
                      <a:pt x="147" y="608"/>
                    </a:lnTo>
                    <a:lnTo>
                      <a:pt x="147" y="609"/>
                    </a:lnTo>
                    <a:lnTo>
                      <a:pt x="146" y="609"/>
                    </a:lnTo>
                    <a:lnTo>
                      <a:pt x="146" y="608"/>
                    </a:lnTo>
                    <a:lnTo>
                      <a:pt x="146" y="609"/>
                    </a:lnTo>
                    <a:lnTo>
                      <a:pt x="146" y="608"/>
                    </a:lnTo>
                    <a:lnTo>
                      <a:pt x="144" y="608"/>
                    </a:lnTo>
                    <a:lnTo>
                      <a:pt x="142" y="608"/>
                    </a:lnTo>
                    <a:lnTo>
                      <a:pt x="140" y="608"/>
                    </a:lnTo>
                    <a:lnTo>
                      <a:pt x="138" y="606"/>
                    </a:lnTo>
                    <a:lnTo>
                      <a:pt x="138" y="604"/>
                    </a:lnTo>
                    <a:lnTo>
                      <a:pt x="136" y="604"/>
                    </a:lnTo>
                    <a:lnTo>
                      <a:pt x="134" y="602"/>
                    </a:lnTo>
                    <a:lnTo>
                      <a:pt x="134" y="604"/>
                    </a:lnTo>
                    <a:lnTo>
                      <a:pt x="132" y="604"/>
                    </a:lnTo>
                    <a:lnTo>
                      <a:pt x="132" y="602"/>
                    </a:lnTo>
                    <a:lnTo>
                      <a:pt x="130" y="602"/>
                    </a:lnTo>
                    <a:lnTo>
                      <a:pt x="128" y="604"/>
                    </a:lnTo>
                    <a:lnTo>
                      <a:pt x="126" y="606"/>
                    </a:lnTo>
                    <a:lnTo>
                      <a:pt x="124" y="606"/>
                    </a:lnTo>
                    <a:lnTo>
                      <a:pt x="122" y="606"/>
                    </a:lnTo>
                    <a:lnTo>
                      <a:pt x="122" y="604"/>
                    </a:lnTo>
                    <a:lnTo>
                      <a:pt x="122" y="606"/>
                    </a:lnTo>
                    <a:lnTo>
                      <a:pt x="121" y="604"/>
                    </a:lnTo>
                    <a:lnTo>
                      <a:pt x="121" y="606"/>
                    </a:lnTo>
                    <a:lnTo>
                      <a:pt x="119" y="606"/>
                    </a:lnTo>
                    <a:lnTo>
                      <a:pt x="119" y="604"/>
                    </a:lnTo>
                    <a:lnTo>
                      <a:pt x="119" y="606"/>
                    </a:lnTo>
                    <a:lnTo>
                      <a:pt x="117" y="606"/>
                    </a:lnTo>
                    <a:lnTo>
                      <a:pt x="117" y="604"/>
                    </a:lnTo>
                    <a:lnTo>
                      <a:pt x="117" y="606"/>
                    </a:lnTo>
                    <a:lnTo>
                      <a:pt x="115" y="606"/>
                    </a:lnTo>
                    <a:lnTo>
                      <a:pt x="113" y="606"/>
                    </a:lnTo>
                    <a:lnTo>
                      <a:pt x="113" y="608"/>
                    </a:lnTo>
                    <a:lnTo>
                      <a:pt x="111" y="608"/>
                    </a:lnTo>
                    <a:lnTo>
                      <a:pt x="109" y="608"/>
                    </a:lnTo>
                    <a:lnTo>
                      <a:pt x="107" y="608"/>
                    </a:lnTo>
                    <a:lnTo>
                      <a:pt x="105" y="609"/>
                    </a:lnTo>
                    <a:lnTo>
                      <a:pt x="105" y="608"/>
                    </a:lnTo>
                    <a:lnTo>
                      <a:pt x="103" y="608"/>
                    </a:lnTo>
                    <a:lnTo>
                      <a:pt x="103" y="609"/>
                    </a:lnTo>
                    <a:lnTo>
                      <a:pt x="101" y="609"/>
                    </a:lnTo>
                    <a:lnTo>
                      <a:pt x="99" y="609"/>
                    </a:lnTo>
                    <a:lnTo>
                      <a:pt x="97" y="609"/>
                    </a:lnTo>
                    <a:lnTo>
                      <a:pt x="97" y="608"/>
                    </a:lnTo>
                    <a:lnTo>
                      <a:pt x="96" y="608"/>
                    </a:lnTo>
                    <a:lnTo>
                      <a:pt x="96" y="606"/>
                    </a:lnTo>
                    <a:lnTo>
                      <a:pt x="96" y="604"/>
                    </a:lnTo>
                    <a:lnTo>
                      <a:pt x="94" y="604"/>
                    </a:lnTo>
                    <a:lnTo>
                      <a:pt x="94" y="602"/>
                    </a:lnTo>
                    <a:lnTo>
                      <a:pt x="94" y="600"/>
                    </a:lnTo>
                    <a:lnTo>
                      <a:pt x="94" y="598"/>
                    </a:lnTo>
                    <a:lnTo>
                      <a:pt x="92" y="598"/>
                    </a:lnTo>
                    <a:lnTo>
                      <a:pt x="94" y="598"/>
                    </a:lnTo>
                    <a:lnTo>
                      <a:pt x="92" y="598"/>
                    </a:lnTo>
                    <a:lnTo>
                      <a:pt x="92" y="596"/>
                    </a:lnTo>
                    <a:lnTo>
                      <a:pt x="92" y="594"/>
                    </a:lnTo>
                    <a:lnTo>
                      <a:pt x="92" y="592"/>
                    </a:lnTo>
                    <a:lnTo>
                      <a:pt x="90" y="592"/>
                    </a:lnTo>
                    <a:lnTo>
                      <a:pt x="90" y="590"/>
                    </a:lnTo>
                    <a:lnTo>
                      <a:pt x="92" y="590"/>
                    </a:lnTo>
                    <a:lnTo>
                      <a:pt x="90" y="590"/>
                    </a:lnTo>
                    <a:lnTo>
                      <a:pt x="92" y="588"/>
                    </a:lnTo>
                    <a:lnTo>
                      <a:pt x="90" y="588"/>
                    </a:lnTo>
                    <a:lnTo>
                      <a:pt x="90" y="586"/>
                    </a:lnTo>
                    <a:lnTo>
                      <a:pt x="90" y="584"/>
                    </a:lnTo>
                    <a:lnTo>
                      <a:pt x="90" y="583"/>
                    </a:lnTo>
                    <a:lnTo>
                      <a:pt x="88" y="583"/>
                    </a:lnTo>
                    <a:lnTo>
                      <a:pt x="86" y="581"/>
                    </a:lnTo>
                    <a:lnTo>
                      <a:pt x="84" y="583"/>
                    </a:lnTo>
                    <a:lnTo>
                      <a:pt x="82" y="583"/>
                    </a:lnTo>
                    <a:lnTo>
                      <a:pt x="80" y="584"/>
                    </a:lnTo>
                    <a:lnTo>
                      <a:pt x="78" y="584"/>
                    </a:lnTo>
                    <a:lnTo>
                      <a:pt x="76" y="584"/>
                    </a:lnTo>
                    <a:lnTo>
                      <a:pt x="74" y="584"/>
                    </a:lnTo>
                    <a:lnTo>
                      <a:pt x="73" y="584"/>
                    </a:lnTo>
                    <a:lnTo>
                      <a:pt x="71" y="584"/>
                    </a:lnTo>
                    <a:lnTo>
                      <a:pt x="69" y="584"/>
                    </a:lnTo>
                    <a:lnTo>
                      <a:pt x="69" y="586"/>
                    </a:lnTo>
                    <a:lnTo>
                      <a:pt x="65" y="584"/>
                    </a:lnTo>
                    <a:lnTo>
                      <a:pt x="63" y="584"/>
                    </a:lnTo>
                    <a:lnTo>
                      <a:pt x="61" y="583"/>
                    </a:lnTo>
                    <a:lnTo>
                      <a:pt x="63" y="583"/>
                    </a:lnTo>
                    <a:lnTo>
                      <a:pt x="63" y="581"/>
                    </a:lnTo>
                    <a:lnTo>
                      <a:pt x="61" y="579"/>
                    </a:lnTo>
                    <a:lnTo>
                      <a:pt x="61" y="577"/>
                    </a:lnTo>
                    <a:lnTo>
                      <a:pt x="61" y="575"/>
                    </a:lnTo>
                    <a:lnTo>
                      <a:pt x="61" y="573"/>
                    </a:lnTo>
                    <a:lnTo>
                      <a:pt x="61" y="571"/>
                    </a:lnTo>
                    <a:lnTo>
                      <a:pt x="61" y="569"/>
                    </a:lnTo>
                    <a:lnTo>
                      <a:pt x="59" y="565"/>
                    </a:lnTo>
                    <a:lnTo>
                      <a:pt x="57" y="565"/>
                    </a:lnTo>
                    <a:lnTo>
                      <a:pt x="59" y="563"/>
                    </a:lnTo>
                    <a:lnTo>
                      <a:pt x="59" y="561"/>
                    </a:lnTo>
                    <a:lnTo>
                      <a:pt x="59" y="560"/>
                    </a:lnTo>
                    <a:lnTo>
                      <a:pt x="61" y="560"/>
                    </a:lnTo>
                    <a:lnTo>
                      <a:pt x="61" y="558"/>
                    </a:lnTo>
                    <a:lnTo>
                      <a:pt x="59" y="558"/>
                    </a:lnTo>
                    <a:lnTo>
                      <a:pt x="57" y="558"/>
                    </a:lnTo>
                    <a:lnTo>
                      <a:pt x="55" y="556"/>
                    </a:lnTo>
                    <a:lnTo>
                      <a:pt x="55" y="554"/>
                    </a:lnTo>
                    <a:lnTo>
                      <a:pt x="53" y="556"/>
                    </a:lnTo>
                    <a:lnTo>
                      <a:pt x="51" y="556"/>
                    </a:lnTo>
                    <a:lnTo>
                      <a:pt x="51" y="554"/>
                    </a:lnTo>
                    <a:lnTo>
                      <a:pt x="51" y="552"/>
                    </a:lnTo>
                    <a:lnTo>
                      <a:pt x="49" y="550"/>
                    </a:lnTo>
                    <a:lnTo>
                      <a:pt x="48" y="550"/>
                    </a:lnTo>
                    <a:lnTo>
                      <a:pt x="46" y="548"/>
                    </a:lnTo>
                    <a:lnTo>
                      <a:pt x="44" y="548"/>
                    </a:lnTo>
                    <a:lnTo>
                      <a:pt x="44" y="550"/>
                    </a:lnTo>
                    <a:lnTo>
                      <a:pt x="42" y="550"/>
                    </a:lnTo>
                    <a:lnTo>
                      <a:pt x="40" y="550"/>
                    </a:lnTo>
                    <a:lnTo>
                      <a:pt x="38" y="550"/>
                    </a:lnTo>
                    <a:lnTo>
                      <a:pt x="36" y="550"/>
                    </a:lnTo>
                    <a:lnTo>
                      <a:pt x="34" y="550"/>
                    </a:lnTo>
                    <a:lnTo>
                      <a:pt x="32" y="550"/>
                    </a:lnTo>
                    <a:lnTo>
                      <a:pt x="30" y="550"/>
                    </a:lnTo>
                    <a:lnTo>
                      <a:pt x="28" y="550"/>
                    </a:lnTo>
                    <a:lnTo>
                      <a:pt x="26" y="550"/>
                    </a:lnTo>
                    <a:lnTo>
                      <a:pt x="24" y="550"/>
                    </a:lnTo>
                    <a:lnTo>
                      <a:pt x="23" y="550"/>
                    </a:lnTo>
                    <a:lnTo>
                      <a:pt x="21" y="550"/>
                    </a:lnTo>
                    <a:lnTo>
                      <a:pt x="19" y="550"/>
                    </a:lnTo>
                    <a:lnTo>
                      <a:pt x="17" y="550"/>
                    </a:lnTo>
                    <a:lnTo>
                      <a:pt x="17" y="548"/>
                    </a:lnTo>
                    <a:lnTo>
                      <a:pt x="15" y="548"/>
                    </a:lnTo>
                    <a:lnTo>
                      <a:pt x="17" y="546"/>
                    </a:lnTo>
                    <a:lnTo>
                      <a:pt x="15" y="544"/>
                    </a:lnTo>
                    <a:lnTo>
                      <a:pt x="15" y="542"/>
                    </a:lnTo>
                    <a:lnTo>
                      <a:pt x="13" y="542"/>
                    </a:lnTo>
                    <a:lnTo>
                      <a:pt x="11" y="542"/>
                    </a:lnTo>
                    <a:lnTo>
                      <a:pt x="11" y="540"/>
                    </a:lnTo>
                    <a:lnTo>
                      <a:pt x="9" y="540"/>
                    </a:lnTo>
                    <a:lnTo>
                      <a:pt x="7" y="540"/>
                    </a:lnTo>
                    <a:lnTo>
                      <a:pt x="7" y="538"/>
                    </a:lnTo>
                    <a:lnTo>
                      <a:pt x="5" y="536"/>
                    </a:lnTo>
                    <a:lnTo>
                      <a:pt x="5" y="535"/>
                    </a:lnTo>
                    <a:lnTo>
                      <a:pt x="5" y="533"/>
                    </a:lnTo>
                    <a:lnTo>
                      <a:pt x="5" y="531"/>
                    </a:lnTo>
                    <a:lnTo>
                      <a:pt x="3" y="531"/>
                    </a:lnTo>
                    <a:lnTo>
                      <a:pt x="5" y="529"/>
                    </a:lnTo>
                    <a:lnTo>
                      <a:pt x="5" y="527"/>
                    </a:lnTo>
                    <a:lnTo>
                      <a:pt x="7" y="527"/>
                    </a:lnTo>
                    <a:lnTo>
                      <a:pt x="7" y="525"/>
                    </a:lnTo>
                    <a:lnTo>
                      <a:pt x="9" y="525"/>
                    </a:lnTo>
                    <a:lnTo>
                      <a:pt x="11" y="523"/>
                    </a:lnTo>
                    <a:lnTo>
                      <a:pt x="13" y="521"/>
                    </a:lnTo>
                    <a:lnTo>
                      <a:pt x="11" y="519"/>
                    </a:lnTo>
                    <a:lnTo>
                      <a:pt x="9" y="519"/>
                    </a:lnTo>
                    <a:lnTo>
                      <a:pt x="7" y="517"/>
                    </a:lnTo>
                    <a:lnTo>
                      <a:pt x="7" y="519"/>
                    </a:lnTo>
                    <a:lnTo>
                      <a:pt x="5" y="519"/>
                    </a:lnTo>
                    <a:lnTo>
                      <a:pt x="3" y="519"/>
                    </a:lnTo>
                    <a:lnTo>
                      <a:pt x="1" y="517"/>
                    </a:lnTo>
                    <a:lnTo>
                      <a:pt x="1" y="515"/>
                    </a:lnTo>
                    <a:lnTo>
                      <a:pt x="1" y="513"/>
                    </a:lnTo>
                    <a:lnTo>
                      <a:pt x="3" y="513"/>
                    </a:lnTo>
                    <a:lnTo>
                      <a:pt x="1" y="511"/>
                    </a:lnTo>
                    <a:lnTo>
                      <a:pt x="1" y="510"/>
                    </a:lnTo>
                    <a:lnTo>
                      <a:pt x="1" y="508"/>
                    </a:lnTo>
                    <a:lnTo>
                      <a:pt x="0" y="506"/>
                    </a:lnTo>
                    <a:lnTo>
                      <a:pt x="1" y="502"/>
                    </a:lnTo>
                    <a:lnTo>
                      <a:pt x="1" y="500"/>
                    </a:lnTo>
                    <a:lnTo>
                      <a:pt x="3" y="500"/>
                    </a:lnTo>
                    <a:lnTo>
                      <a:pt x="3" y="498"/>
                    </a:lnTo>
                    <a:lnTo>
                      <a:pt x="5" y="496"/>
                    </a:lnTo>
                    <a:lnTo>
                      <a:pt x="7" y="496"/>
                    </a:lnTo>
                    <a:lnTo>
                      <a:pt x="7" y="494"/>
                    </a:lnTo>
                    <a:lnTo>
                      <a:pt x="11" y="494"/>
                    </a:lnTo>
                    <a:lnTo>
                      <a:pt x="11" y="492"/>
                    </a:lnTo>
                    <a:lnTo>
                      <a:pt x="11" y="490"/>
                    </a:lnTo>
                    <a:lnTo>
                      <a:pt x="11" y="488"/>
                    </a:lnTo>
                    <a:lnTo>
                      <a:pt x="13" y="488"/>
                    </a:lnTo>
                    <a:lnTo>
                      <a:pt x="13" y="486"/>
                    </a:lnTo>
                    <a:lnTo>
                      <a:pt x="15" y="486"/>
                    </a:lnTo>
                    <a:lnTo>
                      <a:pt x="13" y="486"/>
                    </a:lnTo>
                    <a:lnTo>
                      <a:pt x="13" y="485"/>
                    </a:lnTo>
                    <a:lnTo>
                      <a:pt x="15" y="485"/>
                    </a:lnTo>
                    <a:lnTo>
                      <a:pt x="15" y="483"/>
                    </a:lnTo>
                    <a:lnTo>
                      <a:pt x="17" y="483"/>
                    </a:lnTo>
                    <a:lnTo>
                      <a:pt x="17" y="481"/>
                    </a:lnTo>
                    <a:lnTo>
                      <a:pt x="19" y="481"/>
                    </a:lnTo>
                    <a:lnTo>
                      <a:pt x="19" y="479"/>
                    </a:lnTo>
                    <a:lnTo>
                      <a:pt x="21" y="479"/>
                    </a:lnTo>
                    <a:lnTo>
                      <a:pt x="21" y="477"/>
                    </a:lnTo>
                    <a:lnTo>
                      <a:pt x="21" y="479"/>
                    </a:lnTo>
                    <a:lnTo>
                      <a:pt x="23" y="479"/>
                    </a:lnTo>
                    <a:lnTo>
                      <a:pt x="23" y="477"/>
                    </a:lnTo>
                    <a:lnTo>
                      <a:pt x="24" y="479"/>
                    </a:lnTo>
                    <a:lnTo>
                      <a:pt x="24" y="477"/>
                    </a:lnTo>
                    <a:lnTo>
                      <a:pt x="24" y="475"/>
                    </a:lnTo>
                    <a:lnTo>
                      <a:pt x="23" y="475"/>
                    </a:lnTo>
                    <a:lnTo>
                      <a:pt x="23" y="473"/>
                    </a:lnTo>
                    <a:lnTo>
                      <a:pt x="24" y="473"/>
                    </a:lnTo>
                    <a:lnTo>
                      <a:pt x="24" y="471"/>
                    </a:lnTo>
                    <a:lnTo>
                      <a:pt x="26" y="471"/>
                    </a:lnTo>
                    <a:lnTo>
                      <a:pt x="26" y="469"/>
                    </a:lnTo>
                    <a:lnTo>
                      <a:pt x="28" y="469"/>
                    </a:lnTo>
                    <a:lnTo>
                      <a:pt x="28" y="467"/>
                    </a:lnTo>
                    <a:lnTo>
                      <a:pt x="30" y="467"/>
                    </a:lnTo>
                    <a:lnTo>
                      <a:pt x="32" y="465"/>
                    </a:lnTo>
                    <a:lnTo>
                      <a:pt x="34" y="465"/>
                    </a:lnTo>
                    <a:lnTo>
                      <a:pt x="36" y="465"/>
                    </a:lnTo>
                    <a:lnTo>
                      <a:pt x="36" y="463"/>
                    </a:lnTo>
                    <a:lnTo>
                      <a:pt x="38" y="461"/>
                    </a:lnTo>
                    <a:lnTo>
                      <a:pt x="40" y="460"/>
                    </a:lnTo>
                    <a:lnTo>
                      <a:pt x="42" y="458"/>
                    </a:lnTo>
                    <a:lnTo>
                      <a:pt x="44" y="456"/>
                    </a:lnTo>
                    <a:lnTo>
                      <a:pt x="44" y="454"/>
                    </a:lnTo>
                    <a:lnTo>
                      <a:pt x="46" y="452"/>
                    </a:lnTo>
                    <a:lnTo>
                      <a:pt x="46" y="450"/>
                    </a:lnTo>
                    <a:lnTo>
                      <a:pt x="46" y="448"/>
                    </a:lnTo>
                    <a:lnTo>
                      <a:pt x="48" y="446"/>
                    </a:lnTo>
                    <a:lnTo>
                      <a:pt x="48" y="444"/>
                    </a:lnTo>
                    <a:lnTo>
                      <a:pt x="49" y="442"/>
                    </a:lnTo>
                    <a:lnTo>
                      <a:pt x="51" y="442"/>
                    </a:lnTo>
                    <a:lnTo>
                      <a:pt x="51" y="440"/>
                    </a:lnTo>
                    <a:lnTo>
                      <a:pt x="53" y="440"/>
                    </a:lnTo>
                    <a:lnTo>
                      <a:pt x="55" y="440"/>
                    </a:lnTo>
                    <a:lnTo>
                      <a:pt x="59" y="436"/>
                    </a:lnTo>
                    <a:lnTo>
                      <a:pt x="61" y="435"/>
                    </a:lnTo>
                    <a:lnTo>
                      <a:pt x="63" y="435"/>
                    </a:lnTo>
                    <a:lnTo>
                      <a:pt x="65" y="435"/>
                    </a:lnTo>
                    <a:lnTo>
                      <a:pt x="67" y="433"/>
                    </a:lnTo>
                    <a:lnTo>
                      <a:pt x="69" y="433"/>
                    </a:lnTo>
                    <a:lnTo>
                      <a:pt x="71" y="431"/>
                    </a:lnTo>
                    <a:lnTo>
                      <a:pt x="71" y="429"/>
                    </a:lnTo>
                    <a:lnTo>
                      <a:pt x="71" y="427"/>
                    </a:lnTo>
                    <a:lnTo>
                      <a:pt x="71" y="425"/>
                    </a:lnTo>
                    <a:lnTo>
                      <a:pt x="69" y="421"/>
                    </a:lnTo>
                    <a:lnTo>
                      <a:pt x="67" y="421"/>
                    </a:lnTo>
                    <a:lnTo>
                      <a:pt x="67" y="419"/>
                    </a:lnTo>
                    <a:lnTo>
                      <a:pt x="67" y="417"/>
                    </a:lnTo>
                    <a:lnTo>
                      <a:pt x="67" y="415"/>
                    </a:lnTo>
                    <a:lnTo>
                      <a:pt x="67" y="413"/>
                    </a:lnTo>
                    <a:lnTo>
                      <a:pt x="65" y="411"/>
                    </a:lnTo>
                    <a:lnTo>
                      <a:pt x="63" y="410"/>
                    </a:lnTo>
                    <a:lnTo>
                      <a:pt x="59" y="410"/>
                    </a:lnTo>
                    <a:lnTo>
                      <a:pt x="55" y="406"/>
                    </a:lnTo>
                    <a:lnTo>
                      <a:pt x="59" y="406"/>
                    </a:lnTo>
                    <a:lnTo>
                      <a:pt x="59" y="404"/>
                    </a:lnTo>
                    <a:lnTo>
                      <a:pt x="57" y="400"/>
                    </a:lnTo>
                    <a:lnTo>
                      <a:pt x="57" y="398"/>
                    </a:lnTo>
                    <a:lnTo>
                      <a:pt x="55" y="398"/>
                    </a:lnTo>
                    <a:lnTo>
                      <a:pt x="53" y="396"/>
                    </a:lnTo>
                    <a:lnTo>
                      <a:pt x="49" y="396"/>
                    </a:lnTo>
                    <a:lnTo>
                      <a:pt x="48" y="396"/>
                    </a:lnTo>
                    <a:lnTo>
                      <a:pt x="46" y="394"/>
                    </a:lnTo>
                    <a:lnTo>
                      <a:pt x="44" y="394"/>
                    </a:lnTo>
                    <a:lnTo>
                      <a:pt x="42" y="392"/>
                    </a:lnTo>
                    <a:lnTo>
                      <a:pt x="44" y="390"/>
                    </a:lnTo>
                    <a:lnTo>
                      <a:pt x="46" y="386"/>
                    </a:lnTo>
                    <a:lnTo>
                      <a:pt x="44" y="385"/>
                    </a:lnTo>
                    <a:lnTo>
                      <a:pt x="38" y="383"/>
                    </a:lnTo>
                    <a:lnTo>
                      <a:pt x="36" y="383"/>
                    </a:lnTo>
                    <a:lnTo>
                      <a:pt x="34" y="383"/>
                    </a:lnTo>
                    <a:lnTo>
                      <a:pt x="32" y="381"/>
                    </a:lnTo>
                    <a:lnTo>
                      <a:pt x="30" y="381"/>
                    </a:lnTo>
                    <a:lnTo>
                      <a:pt x="28" y="381"/>
                    </a:lnTo>
                    <a:lnTo>
                      <a:pt x="28" y="379"/>
                    </a:lnTo>
                    <a:lnTo>
                      <a:pt x="23" y="375"/>
                    </a:lnTo>
                    <a:lnTo>
                      <a:pt x="23" y="373"/>
                    </a:lnTo>
                    <a:lnTo>
                      <a:pt x="21" y="371"/>
                    </a:lnTo>
                    <a:lnTo>
                      <a:pt x="21" y="369"/>
                    </a:lnTo>
                    <a:lnTo>
                      <a:pt x="21" y="367"/>
                    </a:lnTo>
                    <a:lnTo>
                      <a:pt x="21" y="369"/>
                    </a:lnTo>
                    <a:lnTo>
                      <a:pt x="23" y="369"/>
                    </a:lnTo>
                    <a:lnTo>
                      <a:pt x="23" y="367"/>
                    </a:lnTo>
                    <a:lnTo>
                      <a:pt x="21" y="367"/>
                    </a:lnTo>
                    <a:lnTo>
                      <a:pt x="23" y="367"/>
                    </a:lnTo>
                    <a:lnTo>
                      <a:pt x="23" y="365"/>
                    </a:lnTo>
                    <a:lnTo>
                      <a:pt x="24" y="365"/>
                    </a:lnTo>
                    <a:lnTo>
                      <a:pt x="26" y="365"/>
                    </a:lnTo>
                    <a:lnTo>
                      <a:pt x="28" y="365"/>
                    </a:lnTo>
                    <a:lnTo>
                      <a:pt x="28" y="363"/>
                    </a:lnTo>
                    <a:lnTo>
                      <a:pt x="30" y="363"/>
                    </a:lnTo>
                    <a:lnTo>
                      <a:pt x="30" y="361"/>
                    </a:lnTo>
                    <a:lnTo>
                      <a:pt x="30" y="360"/>
                    </a:lnTo>
                    <a:lnTo>
                      <a:pt x="32" y="360"/>
                    </a:lnTo>
                    <a:lnTo>
                      <a:pt x="32" y="358"/>
                    </a:lnTo>
                    <a:lnTo>
                      <a:pt x="32" y="356"/>
                    </a:lnTo>
                    <a:lnTo>
                      <a:pt x="34" y="356"/>
                    </a:lnTo>
                    <a:lnTo>
                      <a:pt x="34" y="354"/>
                    </a:lnTo>
                    <a:lnTo>
                      <a:pt x="36" y="354"/>
                    </a:lnTo>
                    <a:lnTo>
                      <a:pt x="36" y="352"/>
                    </a:lnTo>
                    <a:lnTo>
                      <a:pt x="38" y="352"/>
                    </a:lnTo>
                    <a:lnTo>
                      <a:pt x="40" y="352"/>
                    </a:lnTo>
                    <a:lnTo>
                      <a:pt x="42" y="350"/>
                    </a:lnTo>
                    <a:lnTo>
                      <a:pt x="44" y="348"/>
                    </a:lnTo>
                    <a:lnTo>
                      <a:pt x="46" y="346"/>
                    </a:lnTo>
                    <a:lnTo>
                      <a:pt x="46" y="344"/>
                    </a:lnTo>
                    <a:lnTo>
                      <a:pt x="46" y="342"/>
                    </a:lnTo>
                    <a:lnTo>
                      <a:pt x="46" y="340"/>
                    </a:lnTo>
                    <a:lnTo>
                      <a:pt x="48" y="340"/>
                    </a:lnTo>
                    <a:lnTo>
                      <a:pt x="48" y="338"/>
                    </a:lnTo>
                    <a:lnTo>
                      <a:pt x="49" y="338"/>
                    </a:lnTo>
                    <a:lnTo>
                      <a:pt x="51" y="340"/>
                    </a:lnTo>
                    <a:lnTo>
                      <a:pt x="53" y="340"/>
                    </a:lnTo>
                    <a:lnTo>
                      <a:pt x="51" y="340"/>
                    </a:lnTo>
                    <a:lnTo>
                      <a:pt x="53" y="340"/>
                    </a:lnTo>
                    <a:lnTo>
                      <a:pt x="55" y="340"/>
                    </a:lnTo>
                    <a:lnTo>
                      <a:pt x="57" y="340"/>
                    </a:lnTo>
                    <a:lnTo>
                      <a:pt x="59" y="340"/>
                    </a:lnTo>
                    <a:lnTo>
                      <a:pt x="61" y="340"/>
                    </a:lnTo>
                    <a:lnTo>
                      <a:pt x="63" y="338"/>
                    </a:lnTo>
                    <a:lnTo>
                      <a:pt x="65" y="338"/>
                    </a:lnTo>
                    <a:lnTo>
                      <a:pt x="67" y="336"/>
                    </a:lnTo>
                    <a:lnTo>
                      <a:pt x="69" y="336"/>
                    </a:lnTo>
                    <a:lnTo>
                      <a:pt x="69" y="335"/>
                    </a:lnTo>
                    <a:lnTo>
                      <a:pt x="71" y="335"/>
                    </a:lnTo>
                    <a:lnTo>
                      <a:pt x="71" y="333"/>
                    </a:lnTo>
                    <a:lnTo>
                      <a:pt x="73" y="333"/>
                    </a:lnTo>
                    <a:lnTo>
                      <a:pt x="73" y="331"/>
                    </a:lnTo>
                    <a:lnTo>
                      <a:pt x="74" y="329"/>
                    </a:lnTo>
                    <a:lnTo>
                      <a:pt x="76" y="327"/>
                    </a:lnTo>
                    <a:lnTo>
                      <a:pt x="78" y="327"/>
                    </a:lnTo>
                    <a:lnTo>
                      <a:pt x="78" y="325"/>
                    </a:lnTo>
                    <a:lnTo>
                      <a:pt x="80" y="325"/>
                    </a:lnTo>
                    <a:lnTo>
                      <a:pt x="82" y="323"/>
                    </a:lnTo>
                    <a:lnTo>
                      <a:pt x="84" y="321"/>
                    </a:lnTo>
                    <a:lnTo>
                      <a:pt x="86" y="321"/>
                    </a:lnTo>
                    <a:lnTo>
                      <a:pt x="86" y="319"/>
                    </a:lnTo>
                    <a:lnTo>
                      <a:pt x="88" y="319"/>
                    </a:lnTo>
                    <a:lnTo>
                      <a:pt x="92" y="319"/>
                    </a:lnTo>
                    <a:lnTo>
                      <a:pt x="92" y="317"/>
                    </a:lnTo>
                    <a:lnTo>
                      <a:pt x="94" y="317"/>
                    </a:lnTo>
                    <a:lnTo>
                      <a:pt x="96" y="317"/>
                    </a:lnTo>
                    <a:lnTo>
                      <a:pt x="96" y="315"/>
                    </a:lnTo>
                    <a:lnTo>
                      <a:pt x="97" y="313"/>
                    </a:lnTo>
                    <a:lnTo>
                      <a:pt x="99" y="313"/>
                    </a:lnTo>
                    <a:lnTo>
                      <a:pt x="101" y="313"/>
                    </a:lnTo>
                    <a:lnTo>
                      <a:pt x="101" y="311"/>
                    </a:lnTo>
                    <a:lnTo>
                      <a:pt x="103" y="310"/>
                    </a:lnTo>
                    <a:lnTo>
                      <a:pt x="103" y="308"/>
                    </a:lnTo>
                    <a:lnTo>
                      <a:pt x="105" y="308"/>
                    </a:lnTo>
                    <a:lnTo>
                      <a:pt x="103" y="308"/>
                    </a:lnTo>
                    <a:lnTo>
                      <a:pt x="103" y="310"/>
                    </a:lnTo>
                    <a:lnTo>
                      <a:pt x="103" y="311"/>
                    </a:lnTo>
                    <a:lnTo>
                      <a:pt x="101" y="311"/>
                    </a:lnTo>
                    <a:lnTo>
                      <a:pt x="103" y="311"/>
                    </a:lnTo>
                    <a:lnTo>
                      <a:pt x="103" y="313"/>
                    </a:lnTo>
                    <a:lnTo>
                      <a:pt x="101" y="313"/>
                    </a:lnTo>
                    <a:lnTo>
                      <a:pt x="103" y="315"/>
                    </a:lnTo>
                    <a:lnTo>
                      <a:pt x="103" y="317"/>
                    </a:lnTo>
                    <a:lnTo>
                      <a:pt x="105" y="317"/>
                    </a:lnTo>
                    <a:lnTo>
                      <a:pt x="103" y="317"/>
                    </a:lnTo>
                    <a:lnTo>
                      <a:pt x="105" y="317"/>
                    </a:lnTo>
                    <a:lnTo>
                      <a:pt x="105" y="319"/>
                    </a:lnTo>
                    <a:lnTo>
                      <a:pt x="107" y="319"/>
                    </a:lnTo>
                    <a:lnTo>
                      <a:pt x="109" y="319"/>
                    </a:lnTo>
                    <a:lnTo>
                      <a:pt x="109" y="321"/>
                    </a:lnTo>
                    <a:lnTo>
                      <a:pt x="111" y="321"/>
                    </a:lnTo>
                    <a:lnTo>
                      <a:pt x="111" y="323"/>
                    </a:lnTo>
                    <a:lnTo>
                      <a:pt x="111" y="321"/>
                    </a:lnTo>
                    <a:lnTo>
                      <a:pt x="111" y="323"/>
                    </a:lnTo>
                    <a:lnTo>
                      <a:pt x="113" y="323"/>
                    </a:lnTo>
                    <a:lnTo>
                      <a:pt x="113" y="325"/>
                    </a:lnTo>
                    <a:lnTo>
                      <a:pt x="115" y="325"/>
                    </a:lnTo>
                    <a:lnTo>
                      <a:pt x="115" y="323"/>
                    </a:lnTo>
                    <a:lnTo>
                      <a:pt x="115" y="325"/>
                    </a:lnTo>
                    <a:lnTo>
                      <a:pt x="117" y="325"/>
                    </a:lnTo>
                    <a:lnTo>
                      <a:pt x="115" y="325"/>
                    </a:lnTo>
                    <a:lnTo>
                      <a:pt x="115" y="323"/>
                    </a:lnTo>
                    <a:lnTo>
                      <a:pt x="115" y="325"/>
                    </a:lnTo>
                    <a:lnTo>
                      <a:pt x="115" y="323"/>
                    </a:lnTo>
                    <a:lnTo>
                      <a:pt x="113" y="323"/>
                    </a:lnTo>
                    <a:lnTo>
                      <a:pt x="111" y="323"/>
                    </a:lnTo>
                    <a:lnTo>
                      <a:pt x="111" y="321"/>
                    </a:lnTo>
                    <a:lnTo>
                      <a:pt x="109" y="321"/>
                    </a:lnTo>
                    <a:lnTo>
                      <a:pt x="111" y="321"/>
                    </a:lnTo>
                    <a:lnTo>
                      <a:pt x="109" y="321"/>
                    </a:lnTo>
                    <a:lnTo>
                      <a:pt x="109" y="319"/>
                    </a:lnTo>
                    <a:lnTo>
                      <a:pt x="107" y="319"/>
                    </a:lnTo>
                    <a:lnTo>
                      <a:pt x="105" y="319"/>
                    </a:lnTo>
                    <a:lnTo>
                      <a:pt x="105" y="317"/>
                    </a:lnTo>
                    <a:lnTo>
                      <a:pt x="107" y="317"/>
                    </a:lnTo>
                    <a:lnTo>
                      <a:pt x="105" y="317"/>
                    </a:lnTo>
                    <a:lnTo>
                      <a:pt x="105" y="319"/>
                    </a:lnTo>
                    <a:lnTo>
                      <a:pt x="105" y="317"/>
                    </a:lnTo>
                    <a:lnTo>
                      <a:pt x="103" y="317"/>
                    </a:lnTo>
                    <a:lnTo>
                      <a:pt x="105" y="317"/>
                    </a:lnTo>
                    <a:lnTo>
                      <a:pt x="103" y="317"/>
                    </a:lnTo>
                    <a:lnTo>
                      <a:pt x="103" y="315"/>
                    </a:lnTo>
                    <a:lnTo>
                      <a:pt x="103" y="313"/>
                    </a:lnTo>
                    <a:lnTo>
                      <a:pt x="103" y="315"/>
                    </a:lnTo>
                    <a:lnTo>
                      <a:pt x="101" y="313"/>
                    </a:lnTo>
                    <a:lnTo>
                      <a:pt x="103" y="313"/>
                    </a:lnTo>
                    <a:lnTo>
                      <a:pt x="101" y="313"/>
                    </a:lnTo>
                    <a:lnTo>
                      <a:pt x="103" y="313"/>
                    </a:lnTo>
                    <a:lnTo>
                      <a:pt x="103" y="311"/>
                    </a:lnTo>
                    <a:lnTo>
                      <a:pt x="105" y="311"/>
                    </a:lnTo>
                    <a:lnTo>
                      <a:pt x="105" y="313"/>
                    </a:lnTo>
                    <a:lnTo>
                      <a:pt x="105" y="311"/>
                    </a:lnTo>
                    <a:lnTo>
                      <a:pt x="105" y="310"/>
                    </a:lnTo>
                    <a:lnTo>
                      <a:pt x="107" y="310"/>
                    </a:lnTo>
                    <a:lnTo>
                      <a:pt x="107" y="308"/>
                    </a:lnTo>
                    <a:lnTo>
                      <a:pt x="109" y="308"/>
                    </a:lnTo>
                    <a:lnTo>
                      <a:pt x="109" y="306"/>
                    </a:lnTo>
                    <a:lnTo>
                      <a:pt x="109" y="304"/>
                    </a:lnTo>
                    <a:lnTo>
                      <a:pt x="111" y="304"/>
                    </a:lnTo>
                    <a:lnTo>
                      <a:pt x="111" y="302"/>
                    </a:lnTo>
                    <a:lnTo>
                      <a:pt x="111" y="300"/>
                    </a:lnTo>
                    <a:lnTo>
                      <a:pt x="111" y="302"/>
                    </a:lnTo>
                    <a:lnTo>
                      <a:pt x="111" y="300"/>
                    </a:lnTo>
                    <a:lnTo>
                      <a:pt x="111" y="298"/>
                    </a:lnTo>
                    <a:lnTo>
                      <a:pt x="111" y="300"/>
                    </a:lnTo>
                    <a:lnTo>
                      <a:pt x="113" y="300"/>
                    </a:lnTo>
                    <a:lnTo>
                      <a:pt x="115" y="300"/>
                    </a:lnTo>
                    <a:lnTo>
                      <a:pt x="115" y="302"/>
                    </a:lnTo>
                    <a:lnTo>
                      <a:pt x="117" y="302"/>
                    </a:lnTo>
                    <a:lnTo>
                      <a:pt x="115" y="302"/>
                    </a:lnTo>
                    <a:lnTo>
                      <a:pt x="117" y="302"/>
                    </a:lnTo>
                    <a:lnTo>
                      <a:pt x="117" y="304"/>
                    </a:lnTo>
                    <a:lnTo>
                      <a:pt x="117" y="302"/>
                    </a:lnTo>
                    <a:lnTo>
                      <a:pt x="117" y="304"/>
                    </a:lnTo>
                    <a:lnTo>
                      <a:pt x="117" y="302"/>
                    </a:lnTo>
                    <a:lnTo>
                      <a:pt x="115" y="302"/>
                    </a:lnTo>
                    <a:lnTo>
                      <a:pt x="115" y="300"/>
                    </a:lnTo>
                    <a:lnTo>
                      <a:pt x="113" y="300"/>
                    </a:lnTo>
                    <a:lnTo>
                      <a:pt x="111" y="300"/>
                    </a:lnTo>
                    <a:lnTo>
                      <a:pt x="111" y="298"/>
                    </a:lnTo>
                    <a:lnTo>
                      <a:pt x="111" y="296"/>
                    </a:lnTo>
                    <a:lnTo>
                      <a:pt x="111" y="298"/>
                    </a:lnTo>
                    <a:lnTo>
                      <a:pt x="111" y="296"/>
                    </a:lnTo>
                    <a:lnTo>
                      <a:pt x="111" y="294"/>
                    </a:lnTo>
                    <a:lnTo>
                      <a:pt x="111" y="292"/>
                    </a:lnTo>
                    <a:lnTo>
                      <a:pt x="113" y="292"/>
                    </a:lnTo>
                    <a:lnTo>
                      <a:pt x="111" y="292"/>
                    </a:lnTo>
                    <a:lnTo>
                      <a:pt x="111" y="290"/>
                    </a:lnTo>
                    <a:lnTo>
                      <a:pt x="111" y="288"/>
                    </a:lnTo>
                    <a:lnTo>
                      <a:pt x="111" y="285"/>
                    </a:lnTo>
                    <a:lnTo>
                      <a:pt x="113" y="285"/>
                    </a:lnTo>
                    <a:lnTo>
                      <a:pt x="111" y="285"/>
                    </a:lnTo>
                    <a:lnTo>
                      <a:pt x="111" y="283"/>
                    </a:lnTo>
                    <a:lnTo>
                      <a:pt x="113" y="283"/>
                    </a:lnTo>
                    <a:lnTo>
                      <a:pt x="111" y="283"/>
                    </a:lnTo>
                    <a:lnTo>
                      <a:pt x="113" y="283"/>
                    </a:lnTo>
                    <a:lnTo>
                      <a:pt x="111" y="283"/>
                    </a:lnTo>
                    <a:lnTo>
                      <a:pt x="111" y="281"/>
                    </a:lnTo>
                    <a:lnTo>
                      <a:pt x="113" y="281"/>
                    </a:lnTo>
                    <a:lnTo>
                      <a:pt x="113" y="279"/>
                    </a:lnTo>
                    <a:lnTo>
                      <a:pt x="115" y="279"/>
                    </a:lnTo>
                    <a:lnTo>
                      <a:pt x="115" y="277"/>
                    </a:lnTo>
                    <a:lnTo>
                      <a:pt x="117" y="277"/>
                    </a:lnTo>
                    <a:lnTo>
                      <a:pt x="115" y="277"/>
                    </a:lnTo>
                    <a:lnTo>
                      <a:pt x="117" y="277"/>
                    </a:lnTo>
                    <a:lnTo>
                      <a:pt x="119" y="277"/>
                    </a:lnTo>
                    <a:lnTo>
                      <a:pt x="121" y="277"/>
                    </a:lnTo>
                    <a:lnTo>
                      <a:pt x="119" y="277"/>
                    </a:lnTo>
                    <a:lnTo>
                      <a:pt x="121" y="277"/>
                    </a:lnTo>
                    <a:lnTo>
                      <a:pt x="121" y="279"/>
                    </a:lnTo>
                    <a:lnTo>
                      <a:pt x="122" y="279"/>
                    </a:lnTo>
                    <a:lnTo>
                      <a:pt x="122" y="281"/>
                    </a:lnTo>
                    <a:lnTo>
                      <a:pt x="122" y="279"/>
                    </a:lnTo>
                    <a:lnTo>
                      <a:pt x="121" y="279"/>
                    </a:lnTo>
                    <a:lnTo>
                      <a:pt x="121" y="281"/>
                    </a:lnTo>
                    <a:lnTo>
                      <a:pt x="121" y="283"/>
                    </a:lnTo>
                    <a:lnTo>
                      <a:pt x="122" y="283"/>
                    </a:lnTo>
                    <a:lnTo>
                      <a:pt x="124" y="283"/>
                    </a:lnTo>
                    <a:lnTo>
                      <a:pt x="126" y="283"/>
                    </a:lnTo>
                    <a:lnTo>
                      <a:pt x="128" y="283"/>
                    </a:lnTo>
                    <a:lnTo>
                      <a:pt x="130" y="281"/>
                    </a:lnTo>
                    <a:lnTo>
                      <a:pt x="130" y="283"/>
                    </a:lnTo>
                    <a:lnTo>
                      <a:pt x="132" y="283"/>
                    </a:lnTo>
                    <a:lnTo>
                      <a:pt x="132" y="285"/>
                    </a:lnTo>
                    <a:lnTo>
                      <a:pt x="134" y="285"/>
                    </a:lnTo>
                    <a:lnTo>
                      <a:pt x="132" y="285"/>
                    </a:lnTo>
                    <a:lnTo>
                      <a:pt x="134" y="285"/>
                    </a:lnTo>
                    <a:lnTo>
                      <a:pt x="134" y="287"/>
                    </a:lnTo>
                    <a:lnTo>
                      <a:pt x="134" y="288"/>
                    </a:lnTo>
                    <a:lnTo>
                      <a:pt x="136" y="288"/>
                    </a:lnTo>
                    <a:lnTo>
                      <a:pt x="136" y="290"/>
                    </a:lnTo>
                    <a:lnTo>
                      <a:pt x="138" y="290"/>
                    </a:lnTo>
                    <a:lnTo>
                      <a:pt x="138" y="292"/>
                    </a:lnTo>
                    <a:lnTo>
                      <a:pt x="140" y="292"/>
                    </a:lnTo>
                    <a:lnTo>
                      <a:pt x="140" y="294"/>
                    </a:lnTo>
                    <a:lnTo>
                      <a:pt x="142" y="294"/>
                    </a:lnTo>
                    <a:lnTo>
                      <a:pt x="144" y="294"/>
                    </a:lnTo>
                    <a:lnTo>
                      <a:pt x="144" y="296"/>
                    </a:lnTo>
                    <a:lnTo>
                      <a:pt x="144" y="294"/>
                    </a:lnTo>
                    <a:lnTo>
                      <a:pt x="144" y="296"/>
                    </a:lnTo>
                    <a:lnTo>
                      <a:pt x="146" y="296"/>
                    </a:lnTo>
                    <a:lnTo>
                      <a:pt x="146" y="294"/>
                    </a:lnTo>
                    <a:lnTo>
                      <a:pt x="147" y="294"/>
                    </a:lnTo>
                    <a:lnTo>
                      <a:pt x="147" y="292"/>
                    </a:lnTo>
                    <a:lnTo>
                      <a:pt x="149" y="292"/>
                    </a:lnTo>
                    <a:lnTo>
                      <a:pt x="151" y="290"/>
                    </a:lnTo>
                    <a:lnTo>
                      <a:pt x="153" y="290"/>
                    </a:lnTo>
                    <a:lnTo>
                      <a:pt x="153" y="288"/>
                    </a:lnTo>
                    <a:lnTo>
                      <a:pt x="155" y="288"/>
                    </a:lnTo>
                    <a:lnTo>
                      <a:pt x="157" y="288"/>
                    </a:lnTo>
                    <a:lnTo>
                      <a:pt x="159" y="288"/>
                    </a:lnTo>
                    <a:lnTo>
                      <a:pt x="161" y="288"/>
                    </a:lnTo>
                    <a:lnTo>
                      <a:pt x="163" y="288"/>
                    </a:lnTo>
                    <a:lnTo>
                      <a:pt x="165" y="288"/>
                    </a:lnTo>
                    <a:lnTo>
                      <a:pt x="165" y="287"/>
                    </a:lnTo>
                    <a:lnTo>
                      <a:pt x="167" y="287"/>
                    </a:lnTo>
                    <a:lnTo>
                      <a:pt x="167" y="285"/>
                    </a:lnTo>
                    <a:lnTo>
                      <a:pt x="169" y="285"/>
                    </a:lnTo>
                    <a:lnTo>
                      <a:pt x="170" y="285"/>
                    </a:lnTo>
                    <a:lnTo>
                      <a:pt x="172" y="287"/>
                    </a:lnTo>
                    <a:lnTo>
                      <a:pt x="174" y="287"/>
                    </a:lnTo>
                    <a:lnTo>
                      <a:pt x="174" y="288"/>
                    </a:lnTo>
                    <a:lnTo>
                      <a:pt x="176" y="288"/>
                    </a:lnTo>
                    <a:lnTo>
                      <a:pt x="176" y="290"/>
                    </a:lnTo>
                    <a:lnTo>
                      <a:pt x="176" y="292"/>
                    </a:lnTo>
                    <a:lnTo>
                      <a:pt x="178" y="292"/>
                    </a:lnTo>
                    <a:lnTo>
                      <a:pt x="176" y="292"/>
                    </a:lnTo>
                    <a:lnTo>
                      <a:pt x="178" y="292"/>
                    </a:lnTo>
                    <a:lnTo>
                      <a:pt x="180" y="292"/>
                    </a:lnTo>
                    <a:lnTo>
                      <a:pt x="180" y="294"/>
                    </a:lnTo>
                    <a:lnTo>
                      <a:pt x="182" y="294"/>
                    </a:lnTo>
                    <a:lnTo>
                      <a:pt x="184" y="294"/>
                    </a:lnTo>
                    <a:lnTo>
                      <a:pt x="186" y="292"/>
                    </a:lnTo>
                    <a:lnTo>
                      <a:pt x="188" y="290"/>
                    </a:lnTo>
                    <a:lnTo>
                      <a:pt x="190" y="288"/>
                    </a:lnTo>
                    <a:lnTo>
                      <a:pt x="190" y="287"/>
                    </a:lnTo>
                    <a:lnTo>
                      <a:pt x="192" y="287"/>
                    </a:lnTo>
                    <a:lnTo>
                      <a:pt x="192" y="285"/>
                    </a:lnTo>
                    <a:lnTo>
                      <a:pt x="192" y="287"/>
                    </a:lnTo>
                    <a:lnTo>
                      <a:pt x="192" y="285"/>
                    </a:lnTo>
                    <a:lnTo>
                      <a:pt x="194" y="283"/>
                    </a:lnTo>
                    <a:lnTo>
                      <a:pt x="194" y="281"/>
                    </a:lnTo>
                    <a:lnTo>
                      <a:pt x="194" y="279"/>
                    </a:lnTo>
                    <a:lnTo>
                      <a:pt x="195" y="279"/>
                    </a:lnTo>
                    <a:lnTo>
                      <a:pt x="195" y="277"/>
                    </a:lnTo>
                    <a:lnTo>
                      <a:pt x="195" y="279"/>
                    </a:lnTo>
                    <a:lnTo>
                      <a:pt x="197" y="279"/>
                    </a:lnTo>
                    <a:lnTo>
                      <a:pt x="199" y="279"/>
                    </a:lnTo>
                    <a:lnTo>
                      <a:pt x="201" y="279"/>
                    </a:lnTo>
                    <a:lnTo>
                      <a:pt x="201" y="281"/>
                    </a:lnTo>
                    <a:lnTo>
                      <a:pt x="201" y="279"/>
                    </a:lnTo>
                    <a:lnTo>
                      <a:pt x="201" y="281"/>
                    </a:lnTo>
                    <a:lnTo>
                      <a:pt x="201" y="279"/>
                    </a:lnTo>
                    <a:lnTo>
                      <a:pt x="199" y="279"/>
                    </a:lnTo>
                    <a:lnTo>
                      <a:pt x="199" y="277"/>
                    </a:lnTo>
                    <a:lnTo>
                      <a:pt x="201" y="277"/>
                    </a:lnTo>
                    <a:lnTo>
                      <a:pt x="201" y="279"/>
                    </a:lnTo>
                    <a:lnTo>
                      <a:pt x="201" y="277"/>
                    </a:lnTo>
                    <a:lnTo>
                      <a:pt x="203" y="277"/>
                    </a:lnTo>
                    <a:lnTo>
                      <a:pt x="203" y="279"/>
                    </a:lnTo>
                    <a:lnTo>
                      <a:pt x="203" y="277"/>
                    </a:lnTo>
                    <a:lnTo>
                      <a:pt x="205" y="277"/>
                    </a:lnTo>
                    <a:lnTo>
                      <a:pt x="205" y="279"/>
                    </a:lnTo>
                    <a:lnTo>
                      <a:pt x="205" y="281"/>
                    </a:lnTo>
                    <a:lnTo>
                      <a:pt x="207" y="281"/>
                    </a:lnTo>
                    <a:lnTo>
                      <a:pt x="205" y="281"/>
                    </a:lnTo>
                    <a:lnTo>
                      <a:pt x="205" y="283"/>
                    </a:lnTo>
                    <a:lnTo>
                      <a:pt x="207" y="283"/>
                    </a:lnTo>
                    <a:lnTo>
                      <a:pt x="207" y="281"/>
                    </a:lnTo>
                    <a:lnTo>
                      <a:pt x="209" y="281"/>
                    </a:lnTo>
                    <a:lnTo>
                      <a:pt x="207" y="281"/>
                    </a:lnTo>
                    <a:lnTo>
                      <a:pt x="209" y="281"/>
                    </a:lnTo>
                    <a:lnTo>
                      <a:pt x="207" y="281"/>
                    </a:lnTo>
                    <a:lnTo>
                      <a:pt x="207" y="283"/>
                    </a:lnTo>
                    <a:lnTo>
                      <a:pt x="205" y="281"/>
                    </a:lnTo>
                    <a:lnTo>
                      <a:pt x="207" y="281"/>
                    </a:lnTo>
                    <a:lnTo>
                      <a:pt x="205" y="281"/>
                    </a:lnTo>
                    <a:lnTo>
                      <a:pt x="205" y="279"/>
                    </a:lnTo>
                    <a:lnTo>
                      <a:pt x="205" y="277"/>
                    </a:lnTo>
                    <a:lnTo>
                      <a:pt x="203" y="277"/>
                    </a:lnTo>
                    <a:lnTo>
                      <a:pt x="205" y="277"/>
                    </a:lnTo>
                    <a:lnTo>
                      <a:pt x="205" y="275"/>
                    </a:lnTo>
                    <a:lnTo>
                      <a:pt x="205" y="277"/>
                    </a:lnTo>
                    <a:lnTo>
                      <a:pt x="205" y="275"/>
                    </a:lnTo>
                    <a:lnTo>
                      <a:pt x="203" y="275"/>
                    </a:lnTo>
                    <a:lnTo>
                      <a:pt x="203" y="277"/>
                    </a:lnTo>
                    <a:lnTo>
                      <a:pt x="205" y="277"/>
                    </a:lnTo>
                    <a:lnTo>
                      <a:pt x="203" y="277"/>
                    </a:lnTo>
                    <a:lnTo>
                      <a:pt x="201" y="277"/>
                    </a:lnTo>
                    <a:lnTo>
                      <a:pt x="199" y="277"/>
                    </a:lnTo>
                    <a:lnTo>
                      <a:pt x="199" y="275"/>
                    </a:lnTo>
                    <a:lnTo>
                      <a:pt x="201" y="275"/>
                    </a:lnTo>
                    <a:lnTo>
                      <a:pt x="199" y="275"/>
                    </a:lnTo>
                    <a:lnTo>
                      <a:pt x="199" y="277"/>
                    </a:lnTo>
                    <a:lnTo>
                      <a:pt x="197" y="277"/>
                    </a:lnTo>
                    <a:lnTo>
                      <a:pt x="195" y="277"/>
                    </a:lnTo>
                    <a:lnTo>
                      <a:pt x="195" y="275"/>
                    </a:lnTo>
                    <a:lnTo>
                      <a:pt x="195" y="273"/>
                    </a:lnTo>
                    <a:lnTo>
                      <a:pt x="197" y="273"/>
                    </a:lnTo>
                    <a:lnTo>
                      <a:pt x="197" y="271"/>
                    </a:lnTo>
                    <a:lnTo>
                      <a:pt x="197" y="269"/>
                    </a:lnTo>
                    <a:lnTo>
                      <a:pt x="199" y="271"/>
                    </a:lnTo>
                    <a:lnTo>
                      <a:pt x="201" y="273"/>
                    </a:lnTo>
                    <a:lnTo>
                      <a:pt x="201" y="275"/>
                    </a:lnTo>
                    <a:lnTo>
                      <a:pt x="203" y="275"/>
                    </a:lnTo>
                    <a:lnTo>
                      <a:pt x="205" y="275"/>
                    </a:lnTo>
                    <a:lnTo>
                      <a:pt x="207" y="275"/>
                    </a:lnTo>
                    <a:lnTo>
                      <a:pt x="207" y="273"/>
                    </a:lnTo>
                    <a:lnTo>
                      <a:pt x="207" y="275"/>
                    </a:lnTo>
                    <a:lnTo>
                      <a:pt x="209" y="275"/>
                    </a:lnTo>
                    <a:lnTo>
                      <a:pt x="207" y="275"/>
                    </a:lnTo>
                    <a:lnTo>
                      <a:pt x="209" y="275"/>
                    </a:lnTo>
                    <a:lnTo>
                      <a:pt x="209" y="277"/>
                    </a:lnTo>
                    <a:lnTo>
                      <a:pt x="209" y="275"/>
                    </a:lnTo>
                    <a:lnTo>
                      <a:pt x="209" y="273"/>
                    </a:lnTo>
                    <a:lnTo>
                      <a:pt x="207" y="273"/>
                    </a:lnTo>
                    <a:lnTo>
                      <a:pt x="209" y="273"/>
                    </a:lnTo>
                    <a:lnTo>
                      <a:pt x="211" y="273"/>
                    </a:lnTo>
                    <a:lnTo>
                      <a:pt x="213" y="273"/>
                    </a:lnTo>
                    <a:lnTo>
                      <a:pt x="211" y="273"/>
                    </a:lnTo>
                    <a:lnTo>
                      <a:pt x="209" y="273"/>
                    </a:lnTo>
                    <a:lnTo>
                      <a:pt x="211" y="273"/>
                    </a:lnTo>
                    <a:lnTo>
                      <a:pt x="211" y="271"/>
                    </a:lnTo>
                    <a:lnTo>
                      <a:pt x="213" y="271"/>
                    </a:lnTo>
                    <a:lnTo>
                      <a:pt x="213" y="273"/>
                    </a:lnTo>
                    <a:lnTo>
                      <a:pt x="213" y="271"/>
                    </a:lnTo>
                    <a:lnTo>
                      <a:pt x="211" y="271"/>
                    </a:lnTo>
                    <a:lnTo>
                      <a:pt x="213" y="271"/>
                    </a:lnTo>
                    <a:lnTo>
                      <a:pt x="211" y="271"/>
                    </a:lnTo>
                    <a:lnTo>
                      <a:pt x="211" y="273"/>
                    </a:lnTo>
                    <a:lnTo>
                      <a:pt x="209" y="273"/>
                    </a:lnTo>
                    <a:lnTo>
                      <a:pt x="207" y="273"/>
                    </a:lnTo>
                    <a:lnTo>
                      <a:pt x="209" y="273"/>
                    </a:lnTo>
                    <a:lnTo>
                      <a:pt x="209" y="275"/>
                    </a:lnTo>
                    <a:lnTo>
                      <a:pt x="207" y="275"/>
                    </a:lnTo>
                    <a:lnTo>
                      <a:pt x="207" y="273"/>
                    </a:lnTo>
                    <a:lnTo>
                      <a:pt x="207" y="275"/>
                    </a:lnTo>
                    <a:lnTo>
                      <a:pt x="205" y="275"/>
                    </a:lnTo>
                    <a:lnTo>
                      <a:pt x="203" y="275"/>
                    </a:lnTo>
                    <a:lnTo>
                      <a:pt x="203" y="273"/>
                    </a:lnTo>
                    <a:lnTo>
                      <a:pt x="203" y="271"/>
                    </a:lnTo>
                    <a:lnTo>
                      <a:pt x="203" y="273"/>
                    </a:lnTo>
                    <a:lnTo>
                      <a:pt x="205" y="273"/>
                    </a:lnTo>
                    <a:lnTo>
                      <a:pt x="205" y="271"/>
                    </a:lnTo>
                    <a:lnTo>
                      <a:pt x="205" y="273"/>
                    </a:lnTo>
                    <a:lnTo>
                      <a:pt x="205" y="271"/>
                    </a:lnTo>
                    <a:lnTo>
                      <a:pt x="205" y="273"/>
                    </a:lnTo>
                    <a:lnTo>
                      <a:pt x="203" y="273"/>
                    </a:lnTo>
                    <a:lnTo>
                      <a:pt x="203" y="271"/>
                    </a:lnTo>
                    <a:lnTo>
                      <a:pt x="203" y="273"/>
                    </a:lnTo>
                    <a:lnTo>
                      <a:pt x="203" y="271"/>
                    </a:lnTo>
                    <a:lnTo>
                      <a:pt x="201" y="271"/>
                    </a:lnTo>
                    <a:lnTo>
                      <a:pt x="199" y="271"/>
                    </a:lnTo>
                    <a:lnTo>
                      <a:pt x="199" y="269"/>
                    </a:lnTo>
                    <a:lnTo>
                      <a:pt x="201" y="269"/>
                    </a:lnTo>
                    <a:lnTo>
                      <a:pt x="199" y="269"/>
                    </a:lnTo>
                    <a:lnTo>
                      <a:pt x="201" y="269"/>
                    </a:lnTo>
                    <a:lnTo>
                      <a:pt x="201" y="267"/>
                    </a:lnTo>
                    <a:lnTo>
                      <a:pt x="203" y="265"/>
                    </a:lnTo>
                    <a:lnTo>
                      <a:pt x="201" y="265"/>
                    </a:lnTo>
                    <a:lnTo>
                      <a:pt x="201" y="267"/>
                    </a:lnTo>
                    <a:lnTo>
                      <a:pt x="201" y="269"/>
                    </a:lnTo>
                    <a:lnTo>
                      <a:pt x="199" y="269"/>
                    </a:lnTo>
                    <a:lnTo>
                      <a:pt x="197" y="269"/>
                    </a:lnTo>
                    <a:lnTo>
                      <a:pt x="197" y="267"/>
                    </a:lnTo>
                    <a:lnTo>
                      <a:pt x="197" y="265"/>
                    </a:lnTo>
                    <a:lnTo>
                      <a:pt x="197" y="263"/>
                    </a:lnTo>
                    <a:lnTo>
                      <a:pt x="197" y="262"/>
                    </a:lnTo>
                    <a:lnTo>
                      <a:pt x="199" y="260"/>
                    </a:lnTo>
                    <a:lnTo>
                      <a:pt x="197" y="260"/>
                    </a:lnTo>
                    <a:lnTo>
                      <a:pt x="199" y="260"/>
                    </a:lnTo>
                    <a:lnTo>
                      <a:pt x="197" y="260"/>
                    </a:lnTo>
                    <a:lnTo>
                      <a:pt x="199" y="260"/>
                    </a:lnTo>
                    <a:lnTo>
                      <a:pt x="197" y="260"/>
                    </a:lnTo>
                    <a:lnTo>
                      <a:pt x="199" y="260"/>
                    </a:lnTo>
                    <a:lnTo>
                      <a:pt x="197" y="260"/>
                    </a:lnTo>
                    <a:lnTo>
                      <a:pt x="199" y="260"/>
                    </a:lnTo>
                    <a:lnTo>
                      <a:pt x="197" y="260"/>
                    </a:lnTo>
                    <a:lnTo>
                      <a:pt x="197" y="258"/>
                    </a:lnTo>
                    <a:lnTo>
                      <a:pt x="199" y="258"/>
                    </a:lnTo>
                    <a:lnTo>
                      <a:pt x="199" y="260"/>
                    </a:lnTo>
                    <a:lnTo>
                      <a:pt x="199" y="258"/>
                    </a:lnTo>
                    <a:lnTo>
                      <a:pt x="201" y="258"/>
                    </a:lnTo>
                    <a:lnTo>
                      <a:pt x="201" y="256"/>
                    </a:lnTo>
                    <a:lnTo>
                      <a:pt x="203" y="256"/>
                    </a:lnTo>
                    <a:lnTo>
                      <a:pt x="205" y="256"/>
                    </a:lnTo>
                    <a:lnTo>
                      <a:pt x="203" y="256"/>
                    </a:lnTo>
                    <a:lnTo>
                      <a:pt x="201" y="256"/>
                    </a:lnTo>
                    <a:lnTo>
                      <a:pt x="199" y="256"/>
                    </a:lnTo>
                    <a:lnTo>
                      <a:pt x="199" y="258"/>
                    </a:lnTo>
                    <a:lnTo>
                      <a:pt x="197" y="258"/>
                    </a:lnTo>
                    <a:lnTo>
                      <a:pt x="197" y="256"/>
                    </a:lnTo>
                    <a:lnTo>
                      <a:pt x="195" y="256"/>
                    </a:lnTo>
                    <a:lnTo>
                      <a:pt x="195" y="254"/>
                    </a:lnTo>
                    <a:lnTo>
                      <a:pt x="194" y="254"/>
                    </a:lnTo>
                    <a:lnTo>
                      <a:pt x="192" y="254"/>
                    </a:lnTo>
                    <a:lnTo>
                      <a:pt x="190" y="254"/>
                    </a:lnTo>
                    <a:lnTo>
                      <a:pt x="190" y="252"/>
                    </a:lnTo>
                    <a:lnTo>
                      <a:pt x="190" y="250"/>
                    </a:lnTo>
                    <a:lnTo>
                      <a:pt x="188" y="250"/>
                    </a:lnTo>
                    <a:lnTo>
                      <a:pt x="186" y="248"/>
                    </a:lnTo>
                    <a:lnTo>
                      <a:pt x="184" y="248"/>
                    </a:lnTo>
                    <a:lnTo>
                      <a:pt x="182" y="248"/>
                    </a:lnTo>
                    <a:lnTo>
                      <a:pt x="180" y="248"/>
                    </a:lnTo>
                    <a:lnTo>
                      <a:pt x="182" y="248"/>
                    </a:lnTo>
                    <a:lnTo>
                      <a:pt x="180" y="248"/>
                    </a:lnTo>
                    <a:lnTo>
                      <a:pt x="182" y="248"/>
                    </a:lnTo>
                    <a:lnTo>
                      <a:pt x="182" y="246"/>
                    </a:lnTo>
                    <a:lnTo>
                      <a:pt x="182" y="248"/>
                    </a:lnTo>
                    <a:lnTo>
                      <a:pt x="180" y="248"/>
                    </a:lnTo>
                    <a:lnTo>
                      <a:pt x="178" y="246"/>
                    </a:lnTo>
                    <a:lnTo>
                      <a:pt x="178" y="244"/>
                    </a:lnTo>
                    <a:lnTo>
                      <a:pt x="176" y="244"/>
                    </a:lnTo>
                    <a:lnTo>
                      <a:pt x="176" y="246"/>
                    </a:lnTo>
                    <a:lnTo>
                      <a:pt x="174" y="244"/>
                    </a:lnTo>
                    <a:lnTo>
                      <a:pt x="174" y="242"/>
                    </a:lnTo>
                    <a:lnTo>
                      <a:pt x="172" y="242"/>
                    </a:lnTo>
                    <a:lnTo>
                      <a:pt x="170" y="242"/>
                    </a:lnTo>
                    <a:lnTo>
                      <a:pt x="169" y="242"/>
                    </a:lnTo>
                    <a:lnTo>
                      <a:pt x="167" y="242"/>
                    </a:lnTo>
                    <a:lnTo>
                      <a:pt x="167" y="244"/>
                    </a:lnTo>
                    <a:lnTo>
                      <a:pt x="165" y="244"/>
                    </a:lnTo>
                    <a:lnTo>
                      <a:pt x="165" y="246"/>
                    </a:lnTo>
                    <a:lnTo>
                      <a:pt x="163" y="248"/>
                    </a:lnTo>
                    <a:lnTo>
                      <a:pt x="161" y="248"/>
                    </a:lnTo>
                    <a:lnTo>
                      <a:pt x="159" y="246"/>
                    </a:lnTo>
                    <a:lnTo>
                      <a:pt x="159" y="244"/>
                    </a:lnTo>
                    <a:lnTo>
                      <a:pt x="159" y="242"/>
                    </a:lnTo>
                    <a:lnTo>
                      <a:pt x="159" y="240"/>
                    </a:lnTo>
                    <a:lnTo>
                      <a:pt x="159" y="238"/>
                    </a:lnTo>
                    <a:lnTo>
                      <a:pt x="161" y="238"/>
                    </a:lnTo>
                    <a:lnTo>
                      <a:pt x="161" y="237"/>
                    </a:lnTo>
                    <a:lnTo>
                      <a:pt x="163" y="237"/>
                    </a:lnTo>
                    <a:lnTo>
                      <a:pt x="163" y="235"/>
                    </a:lnTo>
                    <a:lnTo>
                      <a:pt x="163" y="237"/>
                    </a:lnTo>
                    <a:lnTo>
                      <a:pt x="163" y="235"/>
                    </a:lnTo>
                    <a:lnTo>
                      <a:pt x="161" y="235"/>
                    </a:lnTo>
                    <a:lnTo>
                      <a:pt x="161" y="233"/>
                    </a:lnTo>
                    <a:lnTo>
                      <a:pt x="161" y="235"/>
                    </a:lnTo>
                    <a:lnTo>
                      <a:pt x="163" y="235"/>
                    </a:lnTo>
                    <a:lnTo>
                      <a:pt x="161" y="235"/>
                    </a:lnTo>
                    <a:lnTo>
                      <a:pt x="161" y="233"/>
                    </a:lnTo>
                    <a:lnTo>
                      <a:pt x="159" y="233"/>
                    </a:lnTo>
                    <a:lnTo>
                      <a:pt x="159" y="231"/>
                    </a:lnTo>
                    <a:lnTo>
                      <a:pt x="157" y="231"/>
                    </a:lnTo>
                    <a:lnTo>
                      <a:pt x="155" y="229"/>
                    </a:lnTo>
                    <a:lnTo>
                      <a:pt x="153" y="229"/>
                    </a:lnTo>
                    <a:lnTo>
                      <a:pt x="153" y="227"/>
                    </a:lnTo>
                    <a:lnTo>
                      <a:pt x="151" y="227"/>
                    </a:lnTo>
                    <a:lnTo>
                      <a:pt x="151" y="225"/>
                    </a:lnTo>
                    <a:lnTo>
                      <a:pt x="151" y="223"/>
                    </a:lnTo>
                    <a:lnTo>
                      <a:pt x="149" y="223"/>
                    </a:lnTo>
                    <a:lnTo>
                      <a:pt x="149" y="221"/>
                    </a:lnTo>
                    <a:lnTo>
                      <a:pt x="147" y="221"/>
                    </a:lnTo>
                    <a:lnTo>
                      <a:pt x="147" y="223"/>
                    </a:lnTo>
                    <a:lnTo>
                      <a:pt x="146" y="223"/>
                    </a:lnTo>
                    <a:lnTo>
                      <a:pt x="146" y="221"/>
                    </a:lnTo>
                    <a:lnTo>
                      <a:pt x="147" y="219"/>
                    </a:lnTo>
                    <a:lnTo>
                      <a:pt x="149" y="219"/>
                    </a:lnTo>
                    <a:lnTo>
                      <a:pt x="151" y="219"/>
                    </a:lnTo>
                    <a:lnTo>
                      <a:pt x="151" y="217"/>
                    </a:lnTo>
                    <a:lnTo>
                      <a:pt x="153" y="217"/>
                    </a:lnTo>
                    <a:lnTo>
                      <a:pt x="153" y="215"/>
                    </a:lnTo>
                    <a:lnTo>
                      <a:pt x="155" y="215"/>
                    </a:lnTo>
                    <a:lnTo>
                      <a:pt x="155" y="213"/>
                    </a:lnTo>
                    <a:lnTo>
                      <a:pt x="157" y="213"/>
                    </a:lnTo>
                    <a:lnTo>
                      <a:pt x="159" y="213"/>
                    </a:lnTo>
                    <a:lnTo>
                      <a:pt x="159" y="212"/>
                    </a:lnTo>
                    <a:lnTo>
                      <a:pt x="161" y="212"/>
                    </a:lnTo>
                    <a:lnTo>
                      <a:pt x="163" y="210"/>
                    </a:lnTo>
                    <a:lnTo>
                      <a:pt x="165" y="210"/>
                    </a:lnTo>
                    <a:lnTo>
                      <a:pt x="165" y="208"/>
                    </a:lnTo>
                    <a:lnTo>
                      <a:pt x="167" y="208"/>
                    </a:lnTo>
                    <a:lnTo>
                      <a:pt x="169" y="208"/>
                    </a:lnTo>
                    <a:lnTo>
                      <a:pt x="169" y="206"/>
                    </a:lnTo>
                    <a:lnTo>
                      <a:pt x="170" y="206"/>
                    </a:lnTo>
                    <a:lnTo>
                      <a:pt x="172" y="204"/>
                    </a:lnTo>
                    <a:lnTo>
                      <a:pt x="174" y="204"/>
                    </a:lnTo>
                    <a:lnTo>
                      <a:pt x="176" y="202"/>
                    </a:lnTo>
                    <a:lnTo>
                      <a:pt x="178" y="202"/>
                    </a:lnTo>
                    <a:lnTo>
                      <a:pt x="178" y="200"/>
                    </a:lnTo>
                    <a:lnTo>
                      <a:pt x="180" y="200"/>
                    </a:lnTo>
                    <a:lnTo>
                      <a:pt x="180" y="198"/>
                    </a:lnTo>
                    <a:lnTo>
                      <a:pt x="180" y="200"/>
                    </a:lnTo>
                    <a:lnTo>
                      <a:pt x="180" y="198"/>
                    </a:lnTo>
                    <a:lnTo>
                      <a:pt x="182" y="198"/>
                    </a:lnTo>
                    <a:lnTo>
                      <a:pt x="184" y="198"/>
                    </a:lnTo>
                    <a:lnTo>
                      <a:pt x="184" y="196"/>
                    </a:lnTo>
                    <a:lnTo>
                      <a:pt x="186" y="196"/>
                    </a:lnTo>
                    <a:lnTo>
                      <a:pt x="188" y="194"/>
                    </a:lnTo>
                    <a:lnTo>
                      <a:pt x="188" y="192"/>
                    </a:lnTo>
                    <a:lnTo>
                      <a:pt x="190" y="192"/>
                    </a:lnTo>
                    <a:lnTo>
                      <a:pt x="190" y="190"/>
                    </a:lnTo>
                    <a:lnTo>
                      <a:pt x="192" y="190"/>
                    </a:lnTo>
                    <a:lnTo>
                      <a:pt x="192" y="192"/>
                    </a:lnTo>
                    <a:lnTo>
                      <a:pt x="194" y="192"/>
                    </a:lnTo>
                    <a:lnTo>
                      <a:pt x="194" y="190"/>
                    </a:lnTo>
                    <a:lnTo>
                      <a:pt x="195" y="190"/>
                    </a:lnTo>
                    <a:lnTo>
                      <a:pt x="197" y="190"/>
                    </a:lnTo>
                    <a:lnTo>
                      <a:pt x="199" y="190"/>
                    </a:lnTo>
                    <a:lnTo>
                      <a:pt x="201" y="190"/>
                    </a:lnTo>
                    <a:lnTo>
                      <a:pt x="201" y="188"/>
                    </a:lnTo>
                    <a:lnTo>
                      <a:pt x="203" y="188"/>
                    </a:lnTo>
                    <a:lnTo>
                      <a:pt x="205" y="188"/>
                    </a:lnTo>
                    <a:lnTo>
                      <a:pt x="205" y="190"/>
                    </a:lnTo>
                    <a:lnTo>
                      <a:pt x="207" y="190"/>
                    </a:lnTo>
                    <a:lnTo>
                      <a:pt x="209" y="190"/>
                    </a:lnTo>
                    <a:lnTo>
                      <a:pt x="207" y="192"/>
                    </a:lnTo>
                    <a:lnTo>
                      <a:pt x="209" y="190"/>
                    </a:lnTo>
                    <a:close/>
                    <a:moveTo>
                      <a:pt x="224" y="179"/>
                    </a:moveTo>
                    <a:lnTo>
                      <a:pt x="222" y="179"/>
                    </a:lnTo>
                    <a:lnTo>
                      <a:pt x="220" y="179"/>
                    </a:lnTo>
                    <a:lnTo>
                      <a:pt x="222" y="179"/>
                    </a:lnTo>
                    <a:lnTo>
                      <a:pt x="224" y="179"/>
                    </a:lnTo>
                    <a:close/>
                    <a:moveTo>
                      <a:pt x="280" y="125"/>
                    </a:moveTo>
                    <a:lnTo>
                      <a:pt x="280" y="127"/>
                    </a:lnTo>
                    <a:lnTo>
                      <a:pt x="280" y="125"/>
                    </a:lnTo>
                    <a:close/>
                    <a:moveTo>
                      <a:pt x="209" y="277"/>
                    </a:moveTo>
                    <a:lnTo>
                      <a:pt x="211" y="277"/>
                    </a:lnTo>
                    <a:lnTo>
                      <a:pt x="209" y="277"/>
                    </a:lnTo>
                    <a:close/>
                    <a:moveTo>
                      <a:pt x="122" y="323"/>
                    </a:moveTo>
                    <a:lnTo>
                      <a:pt x="124" y="323"/>
                    </a:lnTo>
                    <a:lnTo>
                      <a:pt x="124" y="321"/>
                    </a:lnTo>
                    <a:lnTo>
                      <a:pt x="126" y="321"/>
                    </a:lnTo>
                    <a:lnTo>
                      <a:pt x="126" y="319"/>
                    </a:lnTo>
                    <a:lnTo>
                      <a:pt x="126" y="321"/>
                    </a:lnTo>
                    <a:lnTo>
                      <a:pt x="124" y="321"/>
                    </a:lnTo>
                    <a:lnTo>
                      <a:pt x="126" y="321"/>
                    </a:lnTo>
                    <a:lnTo>
                      <a:pt x="124" y="321"/>
                    </a:lnTo>
                    <a:lnTo>
                      <a:pt x="124" y="323"/>
                    </a:lnTo>
                    <a:lnTo>
                      <a:pt x="122" y="323"/>
                    </a:lnTo>
                    <a:lnTo>
                      <a:pt x="122" y="325"/>
                    </a:lnTo>
                    <a:lnTo>
                      <a:pt x="122" y="323"/>
                    </a:lnTo>
                    <a:lnTo>
                      <a:pt x="122" y="325"/>
                    </a:lnTo>
                    <a:lnTo>
                      <a:pt x="121" y="325"/>
                    </a:lnTo>
                    <a:lnTo>
                      <a:pt x="121" y="323"/>
                    </a:lnTo>
                    <a:lnTo>
                      <a:pt x="119" y="323"/>
                    </a:lnTo>
                    <a:lnTo>
                      <a:pt x="121" y="323"/>
                    </a:lnTo>
                    <a:lnTo>
                      <a:pt x="119" y="323"/>
                    </a:lnTo>
                    <a:lnTo>
                      <a:pt x="117" y="323"/>
                    </a:lnTo>
                    <a:lnTo>
                      <a:pt x="117" y="325"/>
                    </a:lnTo>
                    <a:lnTo>
                      <a:pt x="117" y="323"/>
                    </a:lnTo>
                    <a:lnTo>
                      <a:pt x="119" y="323"/>
                    </a:lnTo>
                    <a:lnTo>
                      <a:pt x="121" y="323"/>
                    </a:lnTo>
                    <a:lnTo>
                      <a:pt x="121" y="325"/>
                    </a:lnTo>
                    <a:lnTo>
                      <a:pt x="122" y="325"/>
                    </a:lnTo>
                    <a:lnTo>
                      <a:pt x="122" y="323"/>
                    </a:lnTo>
                    <a:lnTo>
                      <a:pt x="122" y="325"/>
                    </a:lnTo>
                    <a:lnTo>
                      <a:pt x="122" y="323"/>
                    </a:lnTo>
                    <a:close/>
                    <a:moveTo>
                      <a:pt x="361" y="317"/>
                    </a:moveTo>
                    <a:lnTo>
                      <a:pt x="361" y="319"/>
                    </a:lnTo>
                    <a:lnTo>
                      <a:pt x="361" y="321"/>
                    </a:lnTo>
                    <a:lnTo>
                      <a:pt x="361" y="319"/>
                    </a:lnTo>
                    <a:lnTo>
                      <a:pt x="361" y="321"/>
                    </a:lnTo>
                    <a:lnTo>
                      <a:pt x="361" y="319"/>
                    </a:lnTo>
                    <a:lnTo>
                      <a:pt x="361" y="317"/>
                    </a:lnTo>
                    <a:close/>
                    <a:moveTo>
                      <a:pt x="370" y="336"/>
                    </a:moveTo>
                    <a:lnTo>
                      <a:pt x="368" y="336"/>
                    </a:lnTo>
                    <a:lnTo>
                      <a:pt x="368" y="335"/>
                    </a:lnTo>
                    <a:lnTo>
                      <a:pt x="366" y="335"/>
                    </a:lnTo>
                    <a:lnTo>
                      <a:pt x="365" y="335"/>
                    </a:lnTo>
                    <a:lnTo>
                      <a:pt x="365" y="333"/>
                    </a:lnTo>
                    <a:lnTo>
                      <a:pt x="363" y="333"/>
                    </a:lnTo>
                    <a:lnTo>
                      <a:pt x="365" y="333"/>
                    </a:lnTo>
                    <a:lnTo>
                      <a:pt x="363" y="333"/>
                    </a:lnTo>
                    <a:lnTo>
                      <a:pt x="363" y="331"/>
                    </a:lnTo>
                    <a:lnTo>
                      <a:pt x="361" y="331"/>
                    </a:lnTo>
                    <a:lnTo>
                      <a:pt x="363" y="329"/>
                    </a:lnTo>
                    <a:lnTo>
                      <a:pt x="361" y="329"/>
                    </a:lnTo>
                    <a:lnTo>
                      <a:pt x="361" y="327"/>
                    </a:lnTo>
                    <a:lnTo>
                      <a:pt x="363" y="327"/>
                    </a:lnTo>
                    <a:lnTo>
                      <a:pt x="363" y="325"/>
                    </a:lnTo>
                    <a:lnTo>
                      <a:pt x="361" y="323"/>
                    </a:lnTo>
                    <a:lnTo>
                      <a:pt x="363" y="323"/>
                    </a:lnTo>
                    <a:lnTo>
                      <a:pt x="361" y="323"/>
                    </a:lnTo>
                    <a:lnTo>
                      <a:pt x="361" y="321"/>
                    </a:lnTo>
                    <a:lnTo>
                      <a:pt x="361" y="323"/>
                    </a:lnTo>
                    <a:lnTo>
                      <a:pt x="361" y="325"/>
                    </a:lnTo>
                    <a:lnTo>
                      <a:pt x="361" y="323"/>
                    </a:lnTo>
                    <a:lnTo>
                      <a:pt x="361" y="325"/>
                    </a:lnTo>
                    <a:lnTo>
                      <a:pt x="363" y="325"/>
                    </a:lnTo>
                    <a:lnTo>
                      <a:pt x="363" y="327"/>
                    </a:lnTo>
                    <a:lnTo>
                      <a:pt x="361" y="327"/>
                    </a:lnTo>
                    <a:lnTo>
                      <a:pt x="361" y="329"/>
                    </a:lnTo>
                    <a:lnTo>
                      <a:pt x="363" y="331"/>
                    </a:lnTo>
                    <a:lnTo>
                      <a:pt x="363" y="333"/>
                    </a:lnTo>
                    <a:lnTo>
                      <a:pt x="365" y="333"/>
                    </a:lnTo>
                    <a:lnTo>
                      <a:pt x="363" y="333"/>
                    </a:lnTo>
                    <a:lnTo>
                      <a:pt x="365" y="333"/>
                    </a:lnTo>
                    <a:lnTo>
                      <a:pt x="365" y="335"/>
                    </a:lnTo>
                    <a:lnTo>
                      <a:pt x="366" y="335"/>
                    </a:lnTo>
                    <a:lnTo>
                      <a:pt x="368" y="335"/>
                    </a:lnTo>
                    <a:lnTo>
                      <a:pt x="368" y="336"/>
                    </a:lnTo>
                    <a:lnTo>
                      <a:pt x="370" y="336"/>
                    </a:lnTo>
                    <a:lnTo>
                      <a:pt x="368" y="336"/>
                    </a:lnTo>
                    <a:lnTo>
                      <a:pt x="370" y="336"/>
                    </a:lnTo>
                    <a:lnTo>
                      <a:pt x="368" y="336"/>
                    </a:lnTo>
                    <a:lnTo>
                      <a:pt x="370" y="336"/>
                    </a:lnTo>
                    <a:close/>
                    <a:moveTo>
                      <a:pt x="368" y="336"/>
                    </a:moveTo>
                    <a:lnTo>
                      <a:pt x="370" y="336"/>
                    </a:lnTo>
                    <a:lnTo>
                      <a:pt x="370" y="338"/>
                    </a:lnTo>
                    <a:lnTo>
                      <a:pt x="370" y="340"/>
                    </a:lnTo>
                    <a:lnTo>
                      <a:pt x="370" y="342"/>
                    </a:lnTo>
                    <a:lnTo>
                      <a:pt x="372" y="342"/>
                    </a:lnTo>
                    <a:lnTo>
                      <a:pt x="374" y="342"/>
                    </a:lnTo>
                    <a:lnTo>
                      <a:pt x="372" y="342"/>
                    </a:lnTo>
                    <a:lnTo>
                      <a:pt x="374" y="342"/>
                    </a:lnTo>
                    <a:lnTo>
                      <a:pt x="374" y="344"/>
                    </a:lnTo>
                    <a:lnTo>
                      <a:pt x="376" y="344"/>
                    </a:lnTo>
                    <a:lnTo>
                      <a:pt x="376" y="346"/>
                    </a:lnTo>
                    <a:lnTo>
                      <a:pt x="376" y="344"/>
                    </a:lnTo>
                    <a:lnTo>
                      <a:pt x="376" y="346"/>
                    </a:lnTo>
                    <a:lnTo>
                      <a:pt x="376" y="344"/>
                    </a:lnTo>
                    <a:lnTo>
                      <a:pt x="374" y="344"/>
                    </a:lnTo>
                    <a:lnTo>
                      <a:pt x="374" y="342"/>
                    </a:lnTo>
                    <a:lnTo>
                      <a:pt x="372" y="342"/>
                    </a:lnTo>
                    <a:lnTo>
                      <a:pt x="372" y="340"/>
                    </a:lnTo>
                    <a:lnTo>
                      <a:pt x="370" y="340"/>
                    </a:lnTo>
                    <a:lnTo>
                      <a:pt x="370" y="338"/>
                    </a:lnTo>
                    <a:lnTo>
                      <a:pt x="370" y="336"/>
                    </a:lnTo>
                    <a:lnTo>
                      <a:pt x="368" y="336"/>
                    </a:lnTo>
                    <a:close/>
                    <a:moveTo>
                      <a:pt x="376" y="346"/>
                    </a:moveTo>
                    <a:lnTo>
                      <a:pt x="376" y="348"/>
                    </a:lnTo>
                    <a:lnTo>
                      <a:pt x="376" y="350"/>
                    </a:lnTo>
                    <a:lnTo>
                      <a:pt x="376" y="348"/>
                    </a:lnTo>
                    <a:lnTo>
                      <a:pt x="376" y="346"/>
                    </a:lnTo>
                    <a:close/>
                    <a:moveTo>
                      <a:pt x="376" y="348"/>
                    </a:moveTo>
                    <a:lnTo>
                      <a:pt x="378" y="350"/>
                    </a:lnTo>
                    <a:lnTo>
                      <a:pt x="376" y="348"/>
                    </a:lnTo>
                    <a:close/>
                    <a:moveTo>
                      <a:pt x="378" y="350"/>
                    </a:moveTo>
                    <a:lnTo>
                      <a:pt x="376" y="350"/>
                    </a:lnTo>
                    <a:lnTo>
                      <a:pt x="378" y="350"/>
                    </a:lnTo>
                    <a:lnTo>
                      <a:pt x="376" y="350"/>
                    </a:lnTo>
                    <a:lnTo>
                      <a:pt x="378" y="350"/>
                    </a:lnTo>
                    <a:close/>
                    <a:moveTo>
                      <a:pt x="378" y="354"/>
                    </a:moveTo>
                    <a:lnTo>
                      <a:pt x="380" y="354"/>
                    </a:lnTo>
                    <a:lnTo>
                      <a:pt x="380" y="356"/>
                    </a:lnTo>
                    <a:lnTo>
                      <a:pt x="380" y="358"/>
                    </a:lnTo>
                    <a:lnTo>
                      <a:pt x="380" y="356"/>
                    </a:lnTo>
                    <a:lnTo>
                      <a:pt x="380" y="358"/>
                    </a:lnTo>
                    <a:lnTo>
                      <a:pt x="382" y="358"/>
                    </a:lnTo>
                    <a:lnTo>
                      <a:pt x="382" y="360"/>
                    </a:lnTo>
                    <a:lnTo>
                      <a:pt x="384" y="360"/>
                    </a:lnTo>
                    <a:lnTo>
                      <a:pt x="384" y="361"/>
                    </a:lnTo>
                    <a:lnTo>
                      <a:pt x="384" y="360"/>
                    </a:lnTo>
                    <a:lnTo>
                      <a:pt x="384" y="361"/>
                    </a:lnTo>
                    <a:lnTo>
                      <a:pt x="386" y="361"/>
                    </a:lnTo>
                    <a:lnTo>
                      <a:pt x="388" y="361"/>
                    </a:lnTo>
                    <a:lnTo>
                      <a:pt x="388" y="363"/>
                    </a:lnTo>
                    <a:lnTo>
                      <a:pt x="388" y="365"/>
                    </a:lnTo>
                    <a:lnTo>
                      <a:pt x="390" y="365"/>
                    </a:lnTo>
                    <a:lnTo>
                      <a:pt x="388" y="365"/>
                    </a:lnTo>
                    <a:lnTo>
                      <a:pt x="390" y="367"/>
                    </a:lnTo>
                    <a:lnTo>
                      <a:pt x="390" y="369"/>
                    </a:lnTo>
                    <a:lnTo>
                      <a:pt x="391" y="369"/>
                    </a:lnTo>
                    <a:lnTo>
                      <a:pt x="391" y="371"/>
                    </a:lnTo>
                    <a:lnTo>
                      <a:pt x="390" y="371"/>
                    </a:lnTo>
                    <a:lnTo>
                      <a:pt x="390" y="373"/>
                    </a:lnTo>
                    <a:lnTo>
                      <a:pt x="390" y="371"/>
                    </a:lnTo>
                    <a:lnTo>
                      <a:pt x="390" y="373"/>
                    </a:lnTo>
                    <a:lnTo>
                      <a:pt x="390" y="371"/>
                    </a:lnTo>
                    <a:lnTo>
                      <a:pt x="390" y="373"/>
                    </a:lnTo>
                    <a:lnTo>
                      <a:pt x="390" y="371"/>
                    </a:lnTo>
                    <a:lnTo>
                      <a:pt x="390" y="373"/>
                    </a:lnTo>
                    <a:lnTo>
                      <a:pt x="388" y="375"/>
                    </a:lnTo>
                    <a:lnTo>
                      <a:pt x="388" y="377"/>
                    </a:lnTo>
                    <a:lnTo>
                      <a:pt x="388" y="379"/>
                    </a:lnTo>
                    <a:lnTo>
                      <a:pt x="388" y="381"/>
                    </a:lnTo>
                    <a:lnTo>
                      <a:pt x="390" y="381"/>
                    </a:lnTo>
                    <a:lnTo>
                      <a:pt x="390" y="383"/>
                    </a:lnTo>
                    <a:lnTo>
                      <a:pt x="391" y="383"/>
                    </a:lnTo>
                    <a:lnTo>
                      <a:pt x="391" y="385"/>
                    </a:lnTo>
                    <a:lnTo>
                      <a:pt x="391" y="386"/>
                    </a:lnTo>
                    <a:lnTo>
                      <a:pt x="391" y="388"/>
                    </a:lnTo>
                    <a:lnTo>
                      <a:pt x="391" y="386"/>
                    </a:lnTo>
                    <a:lnTo>
                      <a:pt x="391" y="388"/>
                    </a:lnTo>
                    <a:lnTo>
                      <a:pt x="391" y="386"/>
                    </a:lnTo>
                    <a:lnTo>
                      <a:pt x="391" y="385"/>
                    </a:lnTo>
                    <a:lnTo>
                      <a:pt x="391" y="383"/>
                    </a:lnTo>
                    <a:lnTo>
                      <a:pt x="390" y="383"/>
                    </a:lnTo>
                    <a:lnTo>
                      <a:pt x="391" y="383"/>
                    </a:lnTo>
                    <a:lnTo>
                      <a:pt x="390" y="383"/>
                    </a:lnTo>
                    <a:lnTo>
                      <a:pt x="390" y="381"/>
                    </a:lnTo>
                    <a:lnTo>
                      <a:pt x="390" y="379"/>
                    </a:lnTo>
                    <a:lnTo>
                      <a:pt x="388" y="379"/>
                    </a:lnTo>
                    <a:lnTo>
                      <a:pt x="388" y="377"/>
                    </a:lnTo>
                    <a:lnTo>
                      <a:pt x="388" y="375"/>
                    </a:lnTo>
                    <a:lnTo>
                      <a:pt x="388" y="377"/>
                    </a:lnTo>
                    <a:lnTo>
                      <a:pt x="388" y="375"/>
                    </a:lnTo>
                    <a:lnTo>
                      <a:pt x="390" y="375"/>
                    </a:lnTo>
                    <a:lnTo>
                      <a:pt x="390" y="373"/>
                    </a:lnTo>
                    <a:lnTo>
                      <a:pt x="390" y="375"/>
                    </a:lnTo>
                    <a:lnTo>
                      <a:pt x="390" y="373"/>
                    </a:lnTo>
                    <a:lnTo>
                      <a:pt x="391" y="371"/>
                    </a:lnTo>
                    <a:lnTo>
                      <a:pt x="390" y="371"/>
                    </a:lnTo>
                    <a:lnTo>
                      <a:pt x="391" y="371"/>
                    </a:lnTo>
                    <a:lnTo>
                      <a:pt x="391" y="369"/>
                    </a:lnTo>
                    <a:lnTo>
                      <a:pt x="393" y="369"/>
                    </a:lnTo>
                    <a:lnTo>
                      <a:pt x="395" y="369"/>
                    </a:lnTo>
                    <a:lnTo>
                      <a:pt x="397" y="369"/>
                    </a:lnTo>
                    <a:lnTo>
                      <a:pt x="395" y="369"/>
                    </a:lnTo>
                    <a:lnTo>
                      <a:pt x="397" y="369"/>
                    </a:lnTo>
                    <a:lnTo>
                      <a:pt x="397" y="371"/>
                    </a:lnTo>
                    <a:lnTo>
                      <a:pt x="399" y="371"/>
                    </a:lnTo>
                    <a:lnTo>
                      <a:pt x="401" y="371"/>
                    </a:lnTo>
                    <a:lnTo>
                      <a:pt x="401" y="373"/>
                    </a:lnTo>
                    <a:lnTo>
                      <a:pt x="403" y="373"/>
                    </a:lnTo>
                    <a:lnTo>
                      <a:pt x="405" y="371"/>
                    </a:lnTo>
                    <a:lnTo>
                      <a:pt x="405" y="373"/>
                    </a:lnTo>
                    <a:lnTo>
                      <a:pt x="407" y="373"/>
                    </a:lnTo>
                    <a:lnTo>
                      <a:pt x="405" y="373"/>
                    </a:lnTo>
                    <a:lnTo>
                      <a:pt x="405" y="371"/>
                    </a:lnTo>
                    <a:lnTo>
                      <a:pt x="403" y="371"/>
                    </a:lnTo>
                    <a:lnTo>
                      <a:pt x="403" y="373"/>
                    </a:lnTo>
                    <a:lnTo>
                      <a:pt x="401" y="373"/>
                    </a:lnTo>
                    <a:lnTo>
                      <a:pt x="401" y="371"/>
                    </a:lnTo>
                    <a:lnTo>
                      <a:pt x="403" y="371"/>
                    </a:lnTo>
                    <a:lnTo>
                      <a:pt x="403" y="369"/>
                    </a:lnTo>
                    <a:lnTo>
                      <a:pt x="405" y="369"/>
                    </a:lnTo>
                    <a:lnTo>
                      <a:pt x="403" y="369"/>
                    </a:lnTo>
                    <a:lnTo>
                      <a:pt x="405" y="371"/>
                    </a:lnTo>
                    <a:lnTo>
                      <a:pt x="407" y="371"/>
                    </a:lnTo>
                    <a:lnTo>
                      <a:pt x="407" y="373"/>
                    </a:lnTo>
                    <a:lnTo>
                      <a:pt x="407" y="371"/>
                    </a:lnTo>
                    <a:lnTo>
                      <a:pt x="409" y="371"/>
                    </a:lnTo>
                    <a:lnTo>
                      <a:pt x="409" y="369"/>
                    </a:lnTo>
                    <a:lnTo>
                      <a:pt x="409" y="371"/>
                    </a:lnTo>
                    <a:lnTo>
                      <a:pt x="407" y="371"/>
                    </a:lnTo>
                    <a:lnTo>
                      <a:pt x="405" y="371"/>
                    </a:lnTo>
                    <a:lnTo>
                      <a:pt x="405" y="369"/>
                    </a:lnTo>
                    <a:lnTo>
                      <a:pt x="403" y="369"/>
                    </a:lnTo>
                    <a:lnTo>
                      <a:pt x="405" y="369"/>
                    </a:lnTo>
                    <a:lnTo>
                      <a:pt x="403" y="369"/>
                    </a:lnTo>
                    <a:lnTo>
                      <a:pt x="403" y="371"/>
                    </a:lnTo>
                    <a:lnTo>
                      <a:pt x="401" y="371"/>
                    </a:lnTo>
                    <a:lnTo>
                      <a:pt x="401" y="369"/>
                    </a:lnTo>
                    <a:lnTo>
                      <a:pt x="399" y="369"/>
                    </a:lnTo>
                    <a:lnTo>
                      <a:pt x="399" y="371"/>
                    </a:lnTo>
                    <a:lnTo>
                      <a:pt x="397" y="371"/>
                    </a:lnTo>
                    <a:lnTo>
                      <a:pt x="397" y="369"/>
                    </a:lnTo>
                    <a:lnTo>
                      <a:pt x="395" y="369"/>
                    </a:lnTo>
                    <a:lnTo>
                      <a:pt x="393" y="369"/>
                    </a:lnTo>
                    <a:lnTo>
                      <a:pt x="391" y="369"/>
                    </a:lnTo>
                    <a:lnTo>
                      <a:pt x="391" y="367"/>
                    </a:lnTo>
                    <a:lnTo>
                      <a:pt x="390" y="367"/>
                    </a:lnTo>
                    <a:lnTo>
                      <a:pt x="390" y="365"/>
                    </a:lnTo>
                    <a:lnTo>
                      <a:pt x="388" y="365"/>
                    </a:lnTo>
                    <a:lnTo>
                      <a:pt x="390" y="365"/>
                    </a:lnTo>
                    <a:lnTo>
                      <a:pt x="388" y="365"/>
                    </a:lnTo>
                    <a:lnTo>
                      <a:pt x="388" y="363"/>
                    </a:lnTo>
                    <a:lnTo>
                      <a:pt x="388" y="365"/>
                    </a:lnTo>
                    <a:lnTo>
                      <a:pt x="388" y="363"/>
                    </a:lnTo>
                    <a:lnTo>
                      <a:pt x="388" y="361"/>
                    </a:lnTo>
                    <a:lnTo>
                      <a:pt x="386" y="361"/>
                    </a:lnTo>
                    <a:lnTo>
                      <a:pt x="384" y="361"/>
                    </a:lnTo>
                    <a:lnTo>
                      <a:pt x="384" y="360"/>
                    </a:lnTo>
                    <a:lnTo>
                      <a:pt x="382" y="360"/>
                    </a:lnTo>
                    <a:lnTo>
                      <a:pt x="382" y="358"/>
                    </a:lnTo>
                    <a:lnTo>
                      <a:pt x="380" y="358"/>
                    </a:lnTo>
                    <a:lnTo>
                      <a:pt x="380" y="356"/>
                    </a:lnTo>
                    <a:lnTo>
                      <a:pt x="380" y="358"/>
                    </a:lnTo>
                    <a:lnTo>
                      <a:pt x="380" y="356"/>
                    </a:lnTo>
                    <a:lnTo>
                      <a:pt x="380" y="354"/>
                    </a:lnTo>
                    <a:lnTo>
                      <a:pt x="378" y="354"/>
                    </a:lnTo>
                    <a:lnTo>
                      <a:pt x="378" y="352"/>
                    </a:lnTo>
                    <a:lnTo>
                      <a:pt x="378" y="354"/>
                    </a:lnTo>
                    <a:lnTo>
                      <a:pt x="378" y="352"/>
                    </a:lnTo>
                    <a:lnTo>
                      <a:pt x="378" y="350"/>
                    </a:lnTo>
                    <a:lnTo>
                      <a:pt x="376" y="350"/>
                    </a:lnTo>
                    <a:lnTo>
                      <a:pt x="378" y="350"/>
                    </a:lnTo>
                    <a:lnTo>
                      <a:pt x="378" y="352"/>
                    </a:lnTo>
                    <a:lnTo>
                      <a:pt x="376" y="352"/>
                    </a:lnTo>
                    <a:lnTo>
                      <a:pt x="378" y="352"/>
                    </a:lnTo>
                    <a:lnTo>
                      <a:pt x="378" y="354"/>
                    </a:lnTo>
                    <a:close/>
                    <a:moveTo>
                      <a:pt x="395" y="371"/>
                    </a:moveTo>
                    <a:lnTo>
                      <a:pt x="395" y="369"/>
                    </a:lnTo>
                    <a:lnTo>
                      <a:pt x="393" y="369"/>
                    </a:lnTo>
                    <a:lnTo>
                      <a:pt x="391" y="369"/>
                    </a:lnTo>
                    <a:lnTo>
                      <a:pt x="393" y="369"/>
                    </a:lnTo>
                    <a:lnTo>
                      <a:pt x="395" y="369"/>
                    </a:lnTo>
                    <a:lnTo>
                      <a:pt x="395" y="371"/>
                    </a:lnTo>
                    <a:lnTo>
                      <a:pt x="397" y="371"/>
                    </a:lnTo>
                    <a:lnTo>
                      <a:pt x="395" y="371"/>
                    </a:lnTo>
                    <a:close/>
                    <a:moveTo>
                      <a:pt x="388" y="367"/>
                    </a:moveTo>
                    <a:lnTo>
                      <a:pt x="388" y="365"/>
                    </a:lnTo>
                    <a:lnTo>
                      <a:pt x="388" y="367"/>
                    </a:lnTo>
                    <a:close/>
                    <a:moveTo>
                      <a:pt x="518" y="250"/>
                    </a:moveTo>
                    <a:lnTo>
                      <a:pt x="520" y="250"/>
                    </a:lnTo>
                    <a:lnTo>
                      <a:pt x="518" y="250"/>
                    </a:lnTo>
                    <a:close/>
                    <a:moveTo>
                      <a:pt x="520" y="250"/>
                    </a:moveTo>
                    <a:lnTo>
                      <a:pt x="518" y="250"/>
                    </a:lnTo>
                    <a:lnTo>
                      <a:pt x="520" y="250"/>
                    </a:lnTo>
                    <a:lnTo>
                      <a:pt x="520" y="252"/>
                    </a:lnTo>
                    <a:lnTo>
                      <a:pt x="520" y="250"/>
                    </a:lnTo>
                    <a:close/>
                    <a:moveTo>
                      <a:pt x="520" y="250"/>
                    </a:moveTo>
                    <a:lnTo>
                      <a:pt x="520" y="252"/>
                    </a:lnTo>
                    <a:lnTo>
                      <a:pt x="518" y="252"/>
                    </a:lnTo>
                    <a:lnTo>
                      <a:pt x="520" y="252"/>
                    </a:lnTo>
                    <a:lnTo>
                      <a:pt x="518" y="252"/>
                    </a:lnTo>
                    <a:lnTo>
                      <a:pt x="518" y="254"/>
                    </a:lnTo>
                    <a:lnTo>
                      <a:pt x="518" y="252"/>
                    </a:lnTo>
                    <a:lnTo>
                      <a:pt x="520" y="252"/>
                    </a:lnTo>
                    <a:lnTo>
                      <a:pt x="520" y="250"/>
                    </a:lnTo>
                    <a:close/>
                    <a:moveTo>
                      <a:pt x="411" y="373"/>
                    </a:moveTo>
                    <a:lnTo>
                      <a:pt x="411" y="371"/>
                    </a:lnTo>
                    <a:lnTo>
                      <a:pt x="413" y="373"/>
                    </a:lnTo>
                    <a:lnTo>
                      <a:pt x="411" y="373"/>
                    </a:lnTo>
                    <a:close/>
                    <a:moveTo>
                      <a:pt x="391" y="394"/>
                    </a:moveTo>
                    <a:lnTo>
                      <a:pt x="391" y="392"/>
                    </a:lnTo>
                    <a:lnTo>
                      <a:pt x="390" y="392"/>
                    </a:lnTo>
                    <a:lnTo>
                      <a:pt x="391" y="394"/>
                    </a:lnTo>
                    <a:close/>
                    <a:moveTo>
                      <a:pt x="407" y="373"/>
                    </a:moveTo>
                    <a:lnTo>
                      <a:pt x="407" y="375"/>
                    </a:lnTo>
                    <a:lnTo>
                      <a:pt x="407" y="373"/>
                    </a:lnTo>
                    <a:close/>
                    <a:moveTo>
                      <a:pt x="413" y="373"/>
                    </a:moveTo>
                    <a:lnTo>
                      <a:pt x="413" y="375"/>
                    </a:lnTo>
                    <a:lnTo>
                      <a:pt x="413" y="373"/>
                    </a:lnTo>
                    <a:close/>
                    <a:moveTo>
                      <a:pt x="391" y="396"/>
                    </a:moveTo>
                    <a:lnTo>
                      <a:pt x="391" y="398"/>
                    </a:lnTo>
                    <a:lnTo>
                      <a:pt x="391" y="396"/>
                    </a:lnTo>
                    <a:close/>
                    <a:moveTo>
                      <a:pt x="390" y="413"/>
                    </a:moveTo>
                    <a:lnTo>
                      <a:pt x="391" y="411"/>
                    </a:lnTo>
                    <a:lnTo>
                      <a:pt x="391" y="410"/>
                    </a:lnTo>
                    <a:lnTo>
                      <a:pt x="391" y="408"/>
                    </a:lnTo>
                    <a:lnTo>
                      <a:pt x="390" y="408"/>
                    </a:lnTo>
                    <a:lnTo>
                      <a:pt x="390" y="406"/>
                    </a:lnTo>
                    <a:lnTo>
                      <a:pt x="391" y="406"/>
                    </a:lnTo>
                    <a:lnTo>
                      <a:pt x="391" y="404"/>
                    </a:lnTo>
                    <a:lnTo>
                      <a:pt x="390" y="404"/>
                    </a:lnTo>
                    <a:lnTo>
                      <a:pt x="391" y="404"/>
                    </a:lnTo>
                    <a:lnTo>
                      <a:pt x="390" y="404"/>
                    </a:lnTo>
                    <a:lnTo>
                      <a:pt x="390" y="402"/>
                    </a:lnTo>
                    <a:lnTo>
                      <a:pt x="390" y="400"/>
                    </a:lnTo>
                    <a:lnTo>
                      <a:pt x="388" y="400"/>
                    </a:lnTo>
                    <a:lnTo>
                      <a:pt x="390" y="400"/>
                    </a:lnTo>
                    <a:lnTo>
                      <a:pt x="388" y="400"/>
                    </a:lnTo>
                    <a:lnTo>
                      <a:pt x="388" y="402"/>
                    </a:lnTo>
                    <a:lnTo>
                      <a:pt x="390" y="404"/>
                    </a:lnTo>
                    <a:lnTo>
                      <a:pt x="391" y="406"/>
                    </a:lnTo>
                    <a:lnTo>
                      <a:pt x="390" y="406"/>
                    </a:lnTo>
                    <a:lnTo>
                      <a:pt x="390" y="408"/>
                    </a:lnTo>
                    <a:lnTo>
                      <a:pt x="388" y="408"/>
                    </a:lnTo>
                    <a:lnTo>
                      <a:pt x="390" y="408"/>
                    </a:lnTo>
                    <a:lnTo>
                      <a:pt x="391" y="408"/>
                    </a:lnTo>
                    <a:lnTo>
                      <a:pt x="391" y="410"/>
                    </a:lnTo>
                    <a:lnTo>
                      <a:pt x="391" y="411"/>
                    </a:lnTo>
                    <a:lnTo>
                      <a:pt x="390" y="411"/>
                    </a:lnTo>
                    <a:lnTo>
                      <a:pt x="390" y="413"/>
                    </a:lnTo>
                    <a:lnTo>
                      <a:pt x="390" y="415"/>
                    </a:lnTo>
                    <a:lnTo>
                      <a:pt x="391" y="417"/>
                    </a:lnTo>
                    <a:lnTo>
                      <a:pt x="390" y="417"/>
                    </a:lnTo>
                    <a:lnTo>
                      <a:pt x="390" y="419"/>
                    </a:lnTo>
                    <a:lnTo>
                      <a:pt x="390" y="421"/>
                    </a:lnTo>
                    <a:lnTo>
                      <a:pt x="390" y="423"/>
                    </a:lnTo>
                    <a:lnTo>
                      <a:pt x="390" y="425"/>
                    </a:lnTo>
                    <a:lnTo>
                      <a:pt x="390" y="427"/>
                    </a:lnTo>
                    <a:lnTo>
                      <a:pt x="390" y="429"/>
                    </a:lnTo>
                    <a:lnTo>
                      <a:pt x="388" y="429"/>
                    </a:lnTo>
                    <a:lnTo>
                      <a:pt x="390" y="429"/>
                    </a:lnTo>
                    <a:lnTo>
                      <a:pt x="388" y="429"/>
                    </a:lnTo>
                    <a:lnTo>
                      <a:pt x="388" y="431"/>
                    </a:lnTo>
                    <a:lnTo>
                      <a:pt x="390" y="431"/>
                    </a:lnTo>
                    <a:lnTo>
                      <a:pt x="390" y="433"/>
                    </a:lnTo>
                    <a:lnTo>
                      <a:pt x="388" y="433"/>
                    </a:lnTo>
                    <a:lnTo>
                      <a:pt x="388" y="435"/>
                    </a:lnTo>
                    <a:lnTo>
                      <a:pt x="390" y="435"/>
                    </a:lnTo>
                    <a:lnTo>
                      <a:pt x="390" y="433"/>
                    </a:lnTo>
                    <a:lnTo>
                      <a:pt x="391" y="435"/>
                    </a:lnTo>
                    <a:lnTo>
                      <a:pt x="390" y="435"/>
                    </a:lnTo>
                    <a:lnTo>
                      <a:pt x="390" y="436"/>
                    </a:lnTo>
                    <a:lnTo>
                      <a:pt x="390" y="438"/>
                    </a:lnTo>
                    <a:lnTo>
                      <a:pt x="390" y="440"/>
                    </a:lnTo>
                    <a:lnTo>
                      <a:pt x="390" y="442"/>
                    </a:lnTo>
                    <a:lnTo>
                      <a:pt x="388" y="442"/>
                    </a:lnTo>
                    <a:lnTo>
                      <a:pt x="388" y="444"/>
                    </a:lnTo>
                    <a:lnTo>
                      <a:pt x="390" y="444"/>
                    </a:lnTo>
                    <a:lnTo>
                      <a:pt x="388" y="444"/>
                    </a:lnTo>
                    <a:lnTo>
                      <a:pt x="390" y="446"/>
                    </a:lnTo>
                    <a:lnTo>
                      <a:pt x="388" y="446"/>
                    </a:lnTo>
                    <a:lnTo>
                      <a:pt x="390" y="446"/>
                    </a:lnTo>
                    <a:lnTo>
                      <a:pt x="390" y="444"/>
                    </a:lnTo>
                    <a:lnTo>
                      <a:pt x="390" y="446"/>
                    </a:lnTo>
                    <a:lnTo>
                      <a:pt x="390" y="444"/>
                    </a:lnTo>
                    <a:lnTo>
                      <a:pt x="388" y="444"/>
                    </a:lnTo>
                    <a:lnTo>
                      <a:pt x="388" y="442"/>
                    </a:lnTo>
                    <a:lnTo>
                      <a:pt x="390" y="442"/>
                    </a:lnTo>
                    <a:lnTo>
                      <a:pt x="390" y="440"/>
                    </a:lnTo>
                    <a:lnTo>
                      <a:pt x="390" y="438"/>
                    </a:lnTo>
                    <a:lnTo>
                      <a:pt x="390" y="436"/>
                    </a:lnTo>
                    <a:lnTo>
                      <a:pt x="390" y="435"/>
                    </a:lnTo>
                    <a:lnTo>
                      <a:pt x="391" y="435"/>
                    </a:lnTo>
                    <a:lnTo>
                      <a:pt x="391" y="433"/>
                    </a:lnTo>
                    <a:lnTo>
                      <a:pt x="390" y="433"/>
                    </a:lnTo>
                    <a:lnTo>
                      <a:pt x="390" y="435"/>
                    </a:lnTo>
                    <a:lnTo>
                      <a:pt x="388" y="435"/>
                    </a:lnTo>
                    <a:lnTo>
                      <a:pt x="388" y="433"/>
                    </a:lnTo>
                    <a:lnTo>
                      <a:pt x="390" y="433"/>
                    </a:lnTo>
                    <a:lnTo>
                      <a:pt x="390" y="431"/>
                    </a:lnTo>
                    <a:lnTo>
                      <a:pt x="388" y="431"/>
                    </a:lnTo>
                    <a:lnTo>
                      <a:pt x="388" y="429"/>
                    </a:lnTo>
                    <a:lnTo>
                      <a:pt x="390" y="429"/>
                    </a:lnTo>
                    <a:lnTo>
                      <a:pt x="390" y="427"/>
                    </a:lnTo>
                    <a:lnTo>
                      <a:pt x="391" y="427"/>
                    </a:lnTo>
                    <a:lnTo>
                      <a:pt x="390" y="425"/>
                    </a:lnTo>
                    <a:lnTo>
                      <a:pt x="391" y="423"/>
                    </a:lnTo>
                    <a:lnTo>
                      <a:pt x="390" y="423"/>
                    </a:lnTo>
                    <a:lnTo>
                      <a:pt x="391" y="423"/>
                    </a:lnTo>
                    <a:lnTo>
                      <a:pt x="390" y="423"/>
                    </a:lnTo>
                    <a:lnTo>
                      <a:pt x="390" y="421"/>
                    </a:lnTo>
                    <a:lnTo>
                      <a:pt x="391" y="421"/>
                    </a:lnTo>
                    <a:lnTo>
                      <a:pt x="391" y="423"/>
                    </a:lnTo>
                    <a:lnTo>
                      <a:pt x="391" y="421"/>
                    </a:lnTo>
                    <a:lnTo>
                      <a:pt x="390" y="421"/>
                    </a:lnTo>
                    <a:lnTo>
                      <a:pt x="390" y="419"/>
                    </a:lnTo>
                    <a:lnTo>
                      <a:pt x="391" y="419"/>
                    </a:lnTo>
                    <a:lnTo>
                      <a:pt x="390" y="419"/>
                    </a:lnTo>
                    <a:lnTo>
                      <a:pt x="391" y="417"/>
                    </a:lnTo>
                    <a:lnTo>
                      <a:pt x="391" y="415"/>
                    </a:lnTo>
                    <a:lnTo>
                      <a:pt x="390" y="415"/>
                    </a:lnTo>
                    <a:lnTo>
                      <a:pt x="390" y="413"/>
                    </a:lnTo>
                    <a:close/>
                    <a:moveTo>
                      <a:pt x="478" y="321"/>
                    </a:moveTo>
                    <a:lnTo>
                      <a:pt x="476" y="321"/>
                    </a:lnTo>
                    <a:lnTo>
                      <a:pt x="476" y="323"/>
                    </a:lnTo>
                    <a:lnTo>
                      <a:pt x="476" y="321"/>
                    </a:lnTo>
                    <a:lnTo>
                      <a:pt x="476" y="323"/>
                    </a:lnTo>
                    <a:lnTo>
                      <a:pt x="482" y="317"/>
                    </a:lnTo>
                    <a:lnTo>
                      <a:pt x="480" y="317"/>
                    </a:lnTo>
                    <a:lnTo>
                      <a:pt x="478" y="317"/>
                    </a:lnTo>
                    <a:lnTo>
                      <a:pt x="478" y="319"/>
                    </a:lnTo>
                    <a:lnTo>
                      <a:pt x="478" y="321"/>
                    </a:lnTo>
                    <a:close/>
                    <a:moveTo>
                      <a:pt x="557" y="338"/>
                    </a:moveTo>
                    <a:lnTo>
                      <a:pt x="557" y="336"/>
                    </a:lnTo>
                    <a:lnTo>
                      <a:pt x="557" y="338"/>
                    </a:lnTo>
                    <a:close/>
                    <a:moveTo>
                      <a:pt x="557" y="336"/>
                    </a:moveTo>
                    <a:lnTo>
                      <a:pt x="557" y="335"/>
                    </a:lnTo>
                    <a:lnTo>
                      <a:pt x="557" y="336"/>
                    </a:lnTo>
                    <a:close/>
                    <a:moveTo>
                      <a:pt x="520" y="336"/>
                    </a:moveTo>
                    <a:lnTo>
                      <a:pt x="520" y="335"/>
                    </a:lnTo>
                    <a:lnTo>
                      <a:pt x="520" y="336"/>
                    </a:lnTo>
                    <a:close/>
                    <a:moveTo>
                      <a:pt x="441" y="377"/>
                    </a:moveTo>
                    <a:lnTo>
                      <a:pt x="441" y="379"/>
                    </a:lnTo>
                    <a:lnTo>
                      <a:pt x="441" y="377"/>
                    </a:lnTo>
                    <a:close/>
                    <a:moveTo>
                      <a:pt x="443" y="383"/>
                    </a:moveTo>
                    <a:lnTo>
                      <a:pt x="441" y="383"/>
                    </a:lnTo>
                    <a:lnTo>
                      <a:pt x="443" y="383"/>
                    </a:lnTo>
                    <a:close/>
                    <a:moveTo>
                      <a:pt x="493" y="317"/>
                    </a:moveTo>
                    <a:lnTo>
                      <a:pt x="499" y="317"/>
                    </a:lnTo>
                    <a:lnTo>
                      <a:pt x="501" y="317"/>
                    </a:lnTo>
                    <a:lnTo>
                      <a:pt x="499" y="315"/>
                    </a:lnTo>
                    <a:lnTo>
                      <a:pt x="501" y="315"/>
                    </a:lnTo>
                    <a:lnTo>
                      <a:pt x="499" y="315"/>
                    </a:lnTo>
                    <a:lnTo>
                      <a:pt x="499" y="317"/>
                    </a:lnTo>
                    <a:lnTo>
                      <a:pt x="499" y="315"/>
                    </a:lnTo>
                    <a:lnTo>
                      <a:pt x="497" y="315"/>
                    </a:lnTo>
                    <a:lnTo>
                      <a:pt x="497" y="313"/>
                    </a:lnTo>
                    <a:lnTo>
                      <a:pt x="495" y="313"/>
                    </a:lnTo>
                    <a:lnTo>
                      <a:pt x="495" y="311"/>
                    </a:lnTo>
                    <a:lnTo>
                      <a:pt x="497" y="311"/>
                    </a:lnTo>
                    <a:lnTo>
                      <a:pt x="495" y="311"/>
                    </a:lnTo>
                    <a:lnTo>
                      <a:pt x="495" y="313"/>
                    </a:lnTo>
                    <a:lnTo>
                      <a:pt x="495" y="315"/>
                    </a:lnTo>
                    <a:lnTo>
                      <a:pt x="493" y="315"/>
                    </a:lnTo>
                    <a:lnTo>
                      <a:pt x="493" y="317"/>
                    </a:lnTo>
                    <a:close/>
                    <a:moveTo>
                      <a:pt x="503" y="317"/>
                    </a:moveTo>
                    <a:lnTo>
                      <a:pt x="501" y="317"/>
                    </a:lnTo>
                    <a:lnTo>
                      <a:pt x="503" y="317"/>
                    </a:lnTo>
                    <a:close/>
                    <a:moveTo>
                      <a:pt x="505" y="317"/>
                    </a:moveTo>
                    <a:lnTo>
                      <a:pt x="507" y="319"/>
                    </a:lnTo>
                    <a:lnTo>
                      <a:pt x="507" y="317"/>
                    </a:lnTo>
                    <a:lnTo>
                      <a:pt x="505" y="317"/>
                    </a:lnTo>
                    <a:close/>
                    <a:moveTo>
                      <a:pt x="507" y="319"/>
                    </a:moveTo>
                    <a:lnTo>
                      <a:pt x="509" y="319"/>
                    </a:lnTo>
                    <a:lnTo>
                      <a:pt x="507" y="319"/>
                    </a:lnTo>
                    <a:close/>
                    <a:moveTo>
                      <a:pt x="334" y="102"/>
                    </a:moveTo>
                    <a:lnTo>
                      <a:pt x="332" y="102"/>
                    </a:lnTo>
                    <a:lnTo>
                      <a:pt x="334" y="102"/>
                    </a:lnTo>
                    <a:close/>
                    <a:moveTo>
                      <a:pt x="209" y="190"/>
                    </a:moveTo>
                    <a:lnTo>
                      <a:pt x="209" y="188"/>
                    </a:lnTo>
                    <a:lnTo>
                      <a:pt x="209" y="190"/>
                    </a:lnTo>
                    <a:close/>
                    <a:moveTo>
                      <a:pt x="213" y="177"/>
                    </a:moveTo>
                    <a:lnTo>
                      <a:pt x="211" y="177"/>
                    </a:lnTo>
                    <a:lnTo>
                      <a:pt x="213" y="177"/>
                    </a:lnTo>
                    <a:lnTo>
                      <a:pt x="211" y="177"/>
                    </a:lnTo>
                    <a:lnTo>
                      <a:pt x="213" y="177"/>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70" name="Freeform 150"/>
              <p:cNvSpPr>
                <a:spLocks noEditPoints="1"/>
              </p:cNvSpPr>
              <p:nvPr/>
            </p:nvSpPr>
            <p:spPr bwMode="auto">
              <a:xfrm>
                <a:off x="6663264" y="262179"/>
                <a:ext cx="1001404" cy="751913"/>
              </a:xfrm>
              <a:custGeom>
                <a:avLst/>
                <a:gdLst>
                  <a:gd name="T0" fmla="*/ 581 w 582"/>
                  <a:gd name="T1" fmla="*/ 144 h 437"/>
                  <a:gd name="T2" fmla="*/ 563 w 582"/>
                  <a:gd name="T3" fmla="*/ 140 h 437"/>
                  <a:gd name="T4" fmla="*/ 579 w 582"/>
                  <a:gd name="T5" fmla="*/ 129 h 437"/>
                  <a:gd name="T6" fmla="*/ 571 w 582"/>
                  <a:gd name="T7" fmla="*/ 140 h 437"/>
                  <a:gd name="T8" fmla="*/ 546 w 582"/>
                  <a:gd name="T9" fmla="*/ 125 h 437"/>
                  <a:gd name="T10" fmla="*/ 575 w 582"/>
                  <a:gd name="T11" fmla="*/ 23 h 437"/>
                  <a:gd name="T12" fmla="*/ 534 w 582"/>
                  <a:gd name="T13" fmla="*/ 37 h 437"/>
                  <a:gd name="T14" fmla="*/ 425 w 582"/>
                  <a:gd name="T15" fmla="*/ 100 h 437"/>
                  <a:gd name="T16" fmla="*/ 417 w 582"/>
                  <a:gd name="T17" fmla="*/ 94 h 437"/>
                  <a:gd name="T18" fmla="*/ 362 w 582"/>
                  <a:gd name="T19" fmla="*/ 119 h 437"/>
                  <a:gd name="T20" fmla="*/ 335 w 582"/>
                  <a:gd name="T21" fmla="*/ 131 h 437"/>
                  <a:gd name="T22" fmla="*/ 337 w 582"/>
                  <a:gd name="T23" fmla="*/ 123 h 437"/>
                  <a:gd name="T24" fmla="*/ 337 w 582"/>
                  <a:gd name="T25" fmla="*/ 119 h 437"/>
                  <a:gd name="T26" fmla="*/ 335 w 582"/>
                  <a:gd name="T27" fmla="*/ 119 h 437"/>
                  <a:gd name="T28" fmla="*/ 333 w 582"/>
                  <a:gd name="T29" fmla="*/ 119 h 437"/>
                  <a:gd name="T30" fmla="*/ 333 w 582"/>
                  <a:gd name="T31" fmla="*/ 119 h 437"/>
                  <a:gd name="T32" fmla="*/ 344 w 582"/>
                  <a:gd name="T33" fmla="*/ 100 h 437"/>
                  <a:gd name="T34" fmla="*/ 327 w 582"/>
                  <a:gd name="T35" fmla="*/ 117 h 437"/>
                  <a:gd name="T36" fmla="*/ 325 w 582"/>
                  <a:gd name="T37" fmla="*/ 117 h 437"/>
                  <a:gd name="T38" fmla="*/ 333 w 582"/>
                  <a:gd name="T39" fmla="*/ 104 h 437"/>
                  <a:gd name="T40" fmla="*/ 329 w 582"/>
                  <a:gd name="T41" fmla="*/ 104 h 437"/>
                  <a:gd name="T42" fmla="*/ 321 w 582"/>
                  <a:gd name="T43" fmla="*/ 112 h 437"/>
                  <a:gd name="T44" fmla="*/ 315 w 582"/>
                  <a:gd name="T45" fmla="*/ 108 h 437"/>
                  <a:gd name="T46" fmla="*/ 298 w 582"/>
                  <a:gd name="T47" fmla="*/ 112 h 437"/>
                  <a:gd name="T48" fmla="*/ 306 w 582"/>
                  <a:gd name="T49" fmla="*/ 112 h 437"/>
                  <a:gd name="T50" fmla="*/ 298 w 582"/>
                  <a:gd name="T51" fmla="*/ 114 h 437"/>
                  <a:gd name="T52" fmla="*/ 292 w 582"/>
                  <a:gd name="T53" fmla="*/ 114 h 437"/>
                  <a:gd name="T54" fmla="*/ 271 w 582"/>
                  <a:gd name="T55" fmla="*/ 117 h 437"/>
                  <a:gd name="T56" fmla="*/ 173 w 582"/>
                  <a:gd name="T57" fmla="*/ 46 h 437"/>
                  <a:gd name="T58" fmla="*/ 169 w 582"/>
                  <a:gd name="T59" fmla="*/ 0 h 437"/>
                  <a:gd name="T60" fmla="*/ 143 w 582"/>
                  <a:gd name="T61" fmla="*/ 21 h 437"/>
                  <a:gd name="T62" fmla="*/ 146 w 582"/>
                  <a:gd name="T63" fmla="*/ 16 h 437"/>
                  <a:gd name="T64" fmla="*/ 454 w 582"/>
                  <a:gd name="T65" fmla="*/ 363 h 437"/>
                  <a:gd name="T66" fmla="*/ 398 w 582"/>
                  <a:gd name="T67" fmla="*/ 390 h 437"/>
                  <a:gd name="T68" fmla="*/ 392 w 582"/>
                  <a:gd name="T69" fmla="*/ 392 h 437"/>
                  <a:gd name="T70" fmla="*/ 360 w 582"/>
                  <a:gd name="T71" fmla="*/ 410 h 437"/>
                  <a:gd name="T72" fmla="*/ 358 w 582"/>
                  <a:gd name="T73" fmla="*/ 408 h 437"/>
                  <a:gd name="T74" fmla="*/ 354 w 582"/>
                  <a:gd name="T75" fmla="*/ 412 h 437"/>
                  <a:gd name="T76" fmla="*/ 360 w 582"/>
                  <a:gd name="T77" fmla="*/ 412 h 437"/>
                  <a:gd name="T78" fmla="*/ 348 w 582"/>
                  <a:gd name="T79" fmla="*/ 412 h 437"/>
                  <a:gd name="T80" fmla="*/ 360 w 582"/>
                  <a:gd name="T81" fmla="*/ 396 h 437"/>
                  <a:gd name="T82" fmla="*/ 333 w 582"/>
                  <a:gd name="T83" fmla="*/ 412 h 437"/>
                  <a:gd name="T84" fmla="*/ 331 w 582"/>
                  <a:gd name="T85" fmla="*/ 410 h 437"/>
                  <a:gd name="T86" fmla="*/ 329 w 582"/>
                  <a:gd name="T87" fmla="*/ 408 h 437"/>
                  <a:gd name="T88" fmla="*/ 287 w 582"/>
                  <a:gd name="T89" fmla="*/ 429 h 437"/>
                  <a:gd name="T90" fmla="*/ 300 w 582"/>
                  <a:gd name="T91" fmla="*/ 398 h 437"/>
                  <a:gd name="T92" fmla="*/ 296 w 582"/>
                  <a:gd name="T93" fmla="*/ 398 h 437"/>
                  <a:gd name="T94" fmla="*/ 98 w 582"/>
                  <a:gd name="T95" fmla="*/ 304 h 437"/>
                  <a:gd name="T96" fmla="*/ 98 w 582"/>
                  <a:gd name="T97" fmla="*/ 296 h 437"/>
                  <a:gd name="T98" fmla="*/ 96 w 582"/>
                  <a:gd name="T99" fmla="*/ 285 h 437"/>
                  <a:gd name="T100" fmla="*/ 2 w 582"/>
                  <a:gd name="T101" fmla="*/ 338 h 437"/>
                  <a:gd name="T102" fmla="*/ 25 w 582"/>
                  <a:gd name="T103" fmla="*/ 306 h 437"/>
                  <a:gd name="T104" fmla="*/ 106 w 582"/>
                  <a:gd name="T105" fmla="*/ 217 h 437"/>
                  <a:gd name="T106" fmla="*/ 54 w 582"/>
                  <a:gd name="T107" fmla="*/ 271 h 437"/>
                  <a:gd name="T108" fmla="*/ 12 w 582"/>
                  <a:gd name="T109" fmla="*/ 306 h 437"/>
                  <a:gd name="T110" fmla="*/ 118 w 582"/>
                  <a:gd name="T111" fmla="*/ 194 h 437"/>
                  <a:gd name="T112" fmla="*/ 116 w 582"/>
                  <a:gd name="T113" fmla="*/ 196 h 437"/>
                  <a:gd name="T114" fmla="*/ 114 w 582"/>
                  <a:gd name="T115" fmla="*/ 196 h 437"/>
                  <a:gd name="T116" fmla="*/ 25 w 582"/>
                  <a:gd name="T117" fmla="*/ 279 h 437"/>
                  <a:gd name="T118" fmla="*/ 35 w 582"/>
                  <a:gd name="T119" fmla="*/ 277 h 437"/>
                  <a:gd name="T120" fmla="*/ 25 w 582"/>
                  <a:gd name="T121" fmla="*/ 279 h 437"/>
                  <a:gd name="T122" fmla="*/ 10 w 582"/>
                  <a:gd name="T123" fmla="*/ 290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2" h="437">
                    <a:moveTo>
                      <a:pt x="582" y="140"/>
                    </a:moveTo>
                    <a:lnTo>
                      <a:pt x="581" y="140"/>
                    </a:lnTo>
                    <a:lnTo>
                      <a:pt x="581" y="139"/>
                    </a:lnTo>
                    <a:lnTo>
                      <a:pt x="582" y="139"/>
                    </a:lnTo>
                    <a:lnTo>
                      <a:pt x="582" y="140"/>
                    </a:lnTo>
                    <a:close/>
                    <a:moveTo>
                      <a:pt x="575" y="146"/>
                    </a:moveTo>
                    <a:lnTo>
                      <a:pt x="575" y="144"/>
                    </a:lnTo>
                    <a:lnTo>
                      <a:pt x="577" y="144"/>
                    </a:lnTo>
                    <a:lnTo>
                      <a:pt x="577" y="142"/>
                    </a:lnTo>
                    <a:lnTo>
                      <a:pt x="579" y="142"/>
                    </a:lnTo>
                    <a:lnTo>
                      <a:pt x="581" y="142"/>
                    </a:lnTo>
                    <a:lnTo>
                      <a:pt x="581" y="144"/>
                    </a:lnTo>
                    <a:lnTo>
                      <a:pt x="579" y="144"/>
                    </a:lnTo>
                    <a:lnTo>
                      <a:pt x="579" y="146"/>
                    </a:lnTo>
                    <a:lnTo>
                      <a:pt x="577" y="146"/>
                    </a:lnTo>
                    <a:lnTo>
                      <a:pt x="577" y="148"/>
                    </a:lnTo>
                    <a:lnTo>
                      <a:pt x="577" y="146"/>
                    </a:lnTo>
                    <a:lnTo>
                      <a:pt x="575" y="146"/>
                    </a:lnTo>
                    <a:lnTo>
                      <a:pt x="575" y="148"/>
                    </a:lnTo>
                    <a:lnTo>
                      <a:pt x="575" y="146"/>
                    </a:lnTo>
                    <a:lnTo>
                      <a:pt x="573" y="146"/>
                    </a:lnTo>
                    <a:lnTo>
                      <a:pt x="575" y="146"/>
                    </a:lnTo>
                    <a:close/>
                    <a:moveTo>
                      <a:pt x="565" y="140"/>
                    </a:moveTo>
                    <a:lnTo>
                      <a:pt x="563" y="140"/>
                    </a:lnTo>
                    <a:lnTo>
                      <a:pt x="563" y="142"/>
                    </a:lnTo>
                    <a:lnTo>
                      <a:pt x="563" y="140"/>
                    </a:lnTo>
                    <a:lnTo>
                      <a:pt x="565" y="140"/>
                    </a:lnTo>
                    <a:close/>
                    <a:moveTo>
                      <a:pt x="569" y="135"/>
                    </a:moveTo>
                    <a:lnTo>
                      <a:pt x="569" y="133"/>
                    </a:lnTo>
                    <a:lnTo>
                      <a:pt x="569" y="135"/>
                    </a:lnTo>
                    <a:close/>
                    <a:moveTo>
                      <a:pt x="571" y="131"/>
                    </a:moveTo>
                    <a:lnTo>
                      <a:pt x="573" y="131"/>
                    </a:lnTo>
                    <a:lnTo>
                      <a:pt x="573" y="129"/>
                    </a:lnTo>
                    <a:lnTo>
                      <a:pt x="575" y="129"/>
                    </a:lnTo>
                    <a:lnTo>
                      <a:pt x="577" y="129"/>
                    </a:lnTo>
                    <a:lnTo>
                      <a:pt x="579" y="129"/>
                    </a:lnTo>
                    <a:lnTo>
                      <a:pt x="579" y="131"/>
                    </a:lnTo>
                    <a:lnTo>
                      <a:pt x="577" y="131"/>
                    </a:lnTo>
                    <a:lnTo>
                      <a:pt x="577" y="133"/>
                    </a:lnTo>
                    <a:lnTo>
                      <a:pt x="577" y="135"/>
                    </a:lnTo>
                    <a:lnTo>
                      <a:pt x="577" y="137"/>
                    </a:lnTo>
                    <a:lnTo>
                      <a:pt x="577" y="139"/>
                    </a:lnTo>
                    <a:lnTo>
                      <a:pt x="575" y="139"/>
                    </a:lnTo>
                    <a:lnTo>
                      <a:pt x="575" y="140"/>
                    </a:lnTo>
                    <a:lnTo>
                      <a:pt x="575" y="142"/>
                    </a:lnTo>
                    <a:lnTo>
                      <a:pt x="573" y="142"/>
                    </a:lnTo>
                    <a:lnTo>
                      <a:pt x="571" y="142"/>
                    </a:lnTo>
                    <a:lnTo>
                      <a:pt x="571" y="140"/>
                    </a:lnTo>
                    <a:lnTo>
                      <a:pt x="571" y="139"/>
                    </a:lnTo>
                    <a:lnTo>
                      <a:pt x="569" y="139"/>
                    </a:lnTo>
                    <a:lnTo>
                      <a:pt x="569" y="137"/>
                    </a:lnTo>
                    <a:lnTo>
                      <a:pt x="569" y="135"/>
                    </a:lnTo>
                    <a:lnTo>
                      <a:pt x="569" y="133"/>
                    </a:lnTo>
                    <a:lnTo>
                      <a:pt x="571" y="131"/>
                    </a:lnTo>
                    <a:close/>
                    <a:moveTo>
                      <a:pt x="563" y="142"/>
                    </a:moveTo>
                    <a:lnTo>
                      <a:pt x="561" y="142"/>
                    </a:lnTo>
                    <a:lnTo>
                      <a:pt x="563" y="142"/>
                    </a:lnTo>
                    <a:close/>
                    <a:moveTo>
                      <a:pt x="546" y="125"/>
                    </a:moveTo>
                    <a:lnTo>
                      <a:pt x="544" y="125"/>
                    </a:lnTo>
                    <a:lnTo>
                      <a:pt x="546" y="125"/>
                    </a:lnTo>
                    <a:close/>
                    <a:moveTo>
                      <a:pt x="538" y="108"/>
                    </a:moveTo>
                    <a:lnTo>
                      <a:pt x="540" y="108"/>
                    </a:lnTo>
                    <a:lnTo>
                      <a:pt x="538" y="108"/>
                    </a:lnTo>
                    <a:lnTo>
                      <a:pt x="538" y="106"/>
                    </a:lnTo>
                    <a:lnTo>
                      <a:pt x="538" y="108"/>
                    </a:lnTo>
                    <a:close/>
                    <a:moveTo>
                      <a:pt x="538" y="106"/>
                    </a:moveTo>
                    <a:lnTo>
                      <a:pt x="538" y="104"/>
                    </a:lnTo>
                    <a:lnTo>
                      <a:pt x="538" y="106"/>
                    </a:lnTo>
                    <a:close/>
                    <a:moveTo>
                      <a:pt x="540" y="75"/>
                    </a:moveTo>
                    <a:lnTo>
                      <a:pt x="538" y="75"/>
                    </a:lnTo>
                    <a:lnTo>
                      <a:pt x="540" y="75"/>
                    </a:lnTo>
                    <a:close/>
                    <a:moveTo>
                      <a:pt x="575" y="23"/>
                    </a:moveTo>
                    <a:lnTo>
                      <a:pt x="575" y="25"/>
                    </a:lnTo>
                    <a:lnTo>
                      <a:pt x="575" y="23"/>
                    </a:lnTo>
                    <a:close/>
                    <a:moveTo>
                      <a:pt x="569" y="25"/>
                    </a:moveTo>
                    <a:lnTo>
                      <a:pt x="569" y="23"/>
                    </a:lnTo>
                    <a:lnTo>
                      <a:pt x="571" y="23"/>
                    </a:lnTo>
                    <a:lnTo>
                      <a:pt x="571" y="25"/>
                    </a:lnTo>
                    <a:lnTo>
                      <a:pt x="573" y="25"/>
                    </a:lnTo>
                    <a:lnTo>
                      <a:pt x="573" y="27"/>
                    </a:lnTo>
                    <a:lnTo>
                      <a:pt x="571" y="27"/>
                    </a:lnTo>
                    <a:lnTo>
                      <a:pt x="569" y="25"/>
                    </a:lnTo>
                    <a:close/>
                    <a:moveTo>
                      <a:pt x="532" y="37"/>
                    </a:moveTo>
                    <a:lnTo>
                      <a:pt x="534" y="37"/>
                    </a:lnTo>
                    <a:lnTo>
                      <a:pt x="532" y="37"/>
                    </a:lnTo>
                    <a:close/>
                    <a:moveTo>
                      <a:pt x="538" y="31"/>
                    </a:moveTo>
                    <a:lnTo>
                      <a:pt x="536" y="31"/>
                    </a:lnTo>
                    <a:lnTo>
                      <a:pt x="538" y="31"/>
                    </a:lnTo>
                    <a:close/>
                    <a:moveTo>
                      <a:pt x="463" y="119"/>
                    </a:moveTo>
                    <a:lnTo>
                      <a:pt x="461" y="119"/>
                    </a:lnTo>
                    <a:lnTo>
                      <a:pt x="463" y="119"/>
                    </a:lnTo>
                    <a:close/>
                    <a:moveTo>
                      <a:pt x="419" y="96"/>
                    </a:moveTo>
                    <a:lnTo>
                      <a:pt x="421" y="96"/>
                    </a:lnTo>
                    <a:lnTo>
                      <a:pt x="423" y="98"/>
                    </a:lnTo>
                    <a:lnTo>
                      <a:pt x="425" y="98"/>
                    </a:lnTo>
                    <a:lnTo>
                      <a:pt x="425" y="100"/>
                    </a:lnTo>
                    <a:lnTo>
                      <a:pt x="423" y="100"/>
                    </a:lnTo>
                    <a:lnTo>
                      <a:pt x="423" y="98"/>
                    </a:lnTo>
                    <a:lnTo>
                      <a:pt x="421" y="98"/>
                    </a:lnTo>
                    <a:lnTo>
                      <a:pt x="419" y="96"/>
                    </a:lnTo>
                    <a:close/>
                    <a:moveTo>
                      <a:pt x="419" y="96"/>
                    </a:moveTo>
                    <a:lnTo>
                      <a:pt x="417" y="96"/>
                    </a:lnTo>
                    <a:lnTo>
                      <a:pt x="417" y="94"/>
                    </a:lnTo>
                    <a:lnTo>
                      <a:pt x="417" y="96"/>
                    </a:lnTo>
                    <a:lnTo>
                      <a:pt x="419" y="96"/>
                    </a:lnTo>
                    <a:close/>
                    <a:moveTo>
                      <a:pt x="417" y="94"/>
                    </a:moveTo>
                    <a:lnTo>
                      <a:pt x="415" y="94"/>
                    </a:lnTo>
                    <a:lnTo>
                      <a:pt x="417" y="94"/>
                    </a:lnTo>
                    <a:close/>
                    <a:moveTo>
                      <a:pt x="415" y="92"/>
                    </a:moveTo>
                    <a:lnTo>
                      <a:pt x="415" y="94"/>
                    </a:lnTo>
                    <a:lnTo>
                      <a:pt x="415" y="92"/>
                    </a:lnTo>
                    <a:lnTo>
                      <a:pt x="413" y="92"/>
                    </a:lnTo>
                    <a:lnTo>
                      <a:pt x="415" y="92"/>
                    </a:lnTo>
                    <a:close/>
                    <a:moveTo>
                      <a:pt x="413" y="92"/>
                    </a:moveTo>
                    <a:lnTo>
                      <a:pt x="415" y="92"/>
                    </a:lnTo>
                    <a:lnTo>
                      <a:pt x="417" y="94"/>
                    </a:lnTo>
                    <a:lnTo>
                      <a:pt x="415" y="92"/>
                    </a:lnTo>
                    <a:lnTo>
                      <a:pt x="413" y="92"/>
                    </a:lnTo>
                    <a:close/>
                    <a:moveTo>
                      <a:pt x="363" y="119"/>
                    </a:moveTo>
                    <a:lnTo>
                      <a:pt x="362" y="119"/>
                    </a:lnTo>
                    <a:lnTo>
                      <a:pt x="363" y="119"/>
                    </a:lnTo>
                    <a:close/>
                    <a:moveTo>
                      <a:pt x="362" y="119"/>
                    </a:moveTo>
                    <a:lnTo>
                      <a:pt x="363" y="119"/>
                    </a:lnTo>
                    <a:lnTo>
                      <a:pt x="362" y="119"/>
                    </a:lnTo>
                    <a:close/>
                    <a:moveTo>
                      <a:pt x="329" y="152"/>
                    </a:moveTo>
                    <a:lnTo>
                      <a:pt x="329" y="154"/>
                    </a:lnTo>
                    <a:lnTo>
                      <a:pt x="329" y="152"/>
                    </a:lnTo>
                    <a:close/>
                    <a:moveTo>
                      <a:pt x="335" y="133"/>
                    </a:moveTo>
                    <a:lnTo>
                      <a:pt x="335" y="135"/>
                    </a:lnTo>
                    <a:lnTo>
                      <a:pt x="335" y="133"/>
                    </a:lnTo>
                    <a:close/>
                    <a:moveTo>
                      <a:pt x="335" y="133"/>
                    </a:moveTo>
                    <a:lnTo>
                      <a:pt x="335" y="131"/>
                    </a:lnTo>
                    <a:lnTo>
                      <a:pt x="335" y="133"/>
                    </a:lnTo>
                    <a:close/>
                    <a:moveTo>
                      <a:pt x="335" y="131"/>
                    </a:moveTo>
                    <a:lnTo>
                      <a:pt x="337" y="131"/>
                    </a:lnTo>
                    <a:lnTo>
                      <a:pt x="335" y="131"/>
                    </a:lnTo>
                    <a:close/>
                    <a:moveTo>
                      <a:pt x="335" y="127"/>
                    </a:moveTo>
                    <a:lnTo>
                      <a:pt x="335" y="129"/>
                    </a:lnTo>
                    <a:lnTo>
                      <a:pt x="335" y="127"/>
                    </a:lnTo>
                    <a:close/>
                    <a:moveTo>
                      <a:pt x="335" y="123"/>
                    </a:moveTo>
                    <a:lnTo>
                      <a:pt x="335" y="125"/>
                    </a:lnTo>
                    <a:lnTo>
                      <a:pt x="335" y="123"/>
                    </a:lnTo>
                    <a:close/>
                    <a:moveTo>
                      <a:pt x="335" y="123"/>
                    </a:moveTo>
                    <a:lnTo>
                      <a:pt x="337" y="123"/>
                    </a:lnTo>
                    <a:lnTo>
                      <a:pt x="335" y="123"/>
                    </a:lnTo>
                    <a:close/>
                    <a:moveTo>
                      <a:pt x="337" y="123"/>
                    </a:moveTo>
                    <a:lnTo>
                      <a:pt x="337" y="121"/>
                    </a:lnTo>
                    <a:lnTo>
                      <a:pt x="337" y="123"/>
                    </a:lnTo>
                    <a:lnTo>
                      <a:pt x="337" y="121"/>
                    </a:lnTo>
                    <a:lnTo>
                      <a:pt x="337" y="123"/>
                    </a:lnTo>
                    <a:lnTo>
                      <a:pt x="337" y="125"/>
                    </a:lnTo>
                    <a:lnTo>
                      <a:pt x="335" y="125"/>
                    </a:lnTo>
                    <a:lnTo>
                      <a:pt x="337" y="125"/>
                    </a:lnTo>
                    <a:lnTo>
                      <a:pt x="335" y="125"/>
                    </a:lnTo>
                    <a:lnTo>
                      <a:pt x="337" y="123"/>
                    </a:lnTo>
                    <a:close/>
                    <a:moveTo>
                      <a:pt x="337" y="119"/>
                    </a:moveTo>
                    <a:lnTo>
                      <a:pt x="337" y="121"/>
                    </a:lnTo>
                    <a:lnTo>
                      <a:pt x="337" y="119"/>
                    </a:lnTo>
                    <a:close/>
                    <a:moveTo>
                      <a:pt x="335" y="119"/>
                    </a:moveTo>
                    <a:lnTo>
                      <a:pt x="337" y="119"/>
                    </a:lnTo>
                    <a:lnTo>
                      <a:pt x="335" y="119"/>
                    </a:lnTo>
                    <a:close/>
                    <a:moveTo>
                      <a:pt x="335" y="119"/>
                    </a:moveTo>
                    <a:lnTo>
                      <a:pt x="335" y="121"/>
                    </a:lnTo>
                    <a:lnTo>
                      <a:pt x="337" y="121"/>
                    </a:lnTo>
                    <a:lnTo>
                      <a:pt x="335" y="121"/>
                    </a:lnTo>
                    <a:lnTo>
                      <a:pt x="335" y="119"/>
                    </a:lnTo>
                    <a:lnTo>
                      <a:pt x="333" y="119"/>
                    </a:lnTo>
                    <a:lnTo>
                      <a:pt x="335" y="119"/>
                    </a:lnTo>
                    <a:close/>
                    <a:moveTo>
                      <a:pt x="335" y="117"/>
                    </a:moveTo>
                    <a:lnTo>
                      <a:pt x="335" y="119"/>
                    </a:lnTo>
                    <a:lnTo>
                      <a:pt x="335" y="117"/>
                    </a:lnTo>
                    <a:lnTo>
                      <a:pt x="335" y="119"/>
                    </a:lnTo>
                    <a:lnTo>
                      <a:pt x="335" y="117"/>
                    </a:lnTo>
                    <a:close/>
                    <a:moveTo>
                      <a:pt x="335" y="117"/>
                    </a:moveTo>
                    <a:lnTo>
                      <a:pt x="335" y="119"/>
                    </a:lnTo>
                    <a:lnTo>
                      <a:pt x="335" y="117"/>
                    </a:lnTo>
                    <a:close/>
                    <a:moveTo>
                      <a:pt x="333" y="117"/>
                    </a:moveTo>
                    <a:lnTo>
                      <a:pt x="335" y="117"/>
                    </a:lnTo>
                    <a:lnTo>
                      <a:pt x="335" y="119"/>
                    </a:lnTo>
                    <a:lnTo>
                      <a:pt x="333" y="119"/>
                    </a:lnTo>
                    <a:lnTo>
                      <a:pt x="335" y="119"/>
                    </a:lnTo>
                    <a:lnTo>
                      <a:pt x="333" y="119"/>
                    </a:lnTo>
                    <a:lnTo>
                      <a:pt x="333" y="117"/>
                    </a:lnTo>
                    <a:close/>
                    <a:moveTo>
                      <a:pt x="335" y="117"/>
                    </a:moveTo>
                    <a:lnTo>
                      <a:pt x="333" y="117"/>
                    </a:lnTo>
                    <a:lnTo>
                      <a:pt x="335" y="117"/>
                    </a:lnTo>
                    <a:close/>
                    <a:moveTo>
                      <a:pt x="333" y="119"/>
                    </a:moveTo>
                    <a:lnTo>
                      <a:pt x="333" y="117"/>
                    </a:lnTo>
                    <a:lnTo>
                      <a:pt x="333" y="119"/>
                    </a:lnTo>
                    <a:close/>
                    <a:moveTo>
                      <a:pt x="331" y="117"/>
                    </a:moveTo>
                    <a:lnTo>
                      <a:pt x="333" y="117"/>
                    </a:lnTo>
                    <a:lnTo>
                      <a:pt x="333" y="119"/>
                    </a:lnTo>
                    <a:lnTo>
                      <a:pt x="333" y="117"/>
                    </a:lnTo>
                    <a:lnTo>
                      <a:pt x="333" y="119"/>
                    </a:lnTo>
                    <a:lnTo>
                      <a:pt x="333" y="117"/>
                    </a:lnTo>
                    <a:lnTo>
                      <a:pt x="331" y="117"/>
                    </a:lnTo>
                    <a:close/>
                    <a:moveTo>
                      <a:pt x="340" y="102"/>
                    </a:moveTo>
                    <a:lnTo>
                      <a:pt x="342" y="100"/>
                    </a:lnTo>
                    <a:lnTo>
                      <a:pt x="344" y="100"/>
                    </a:lnTo>
                    <a:lnTo>
                      <a:pt x="348" y="98"/>
                    </a:lnTo>
                    <a:lnTo>
                      <a:pt x="352" y="98"/>
                    </a:lnTo>
                    <a:lnTo>
                      <a:pt x="348" y="100"/>
                    </a:lnTo>
                    <a:lnTo>
                      <a:pt x="346" y="100"/>
                    </a:lnTo>
                    <a:lnTo>
                      <a:pt x="344" y="100"/>
                    </a:lnTo>
                    <a:lnTo>
                      <a:pt x="346" y="100"/>
                    </a:lnTo>
                    <a:lnTo>
                      <a:pt x="348" y="100"/>
                    </a:lnTo>
                    <a:lnTo>
                      <a:pt x="346" y="100"/>
                    </a:lnTo>
                    <a:lnTo>
                      <a:pt x="344" y="100"/>
                    </a:lnTo>
                    <a:lnTo>
                      <a:pt x="344" y="102"/>
                    </a:lnTo>
                    <a:lnTo>
                      <a:pt x="342" y="102"/>
                    </a:lnTo>
                    <a:lnTo>
                      <a:pt x="342" y="100"/>
                    </a:lnTo>
                    <a:lnTo>
                      <a:pt x="342" y="102"/>
                    </a:lnTo>
                    <a:lnTo>
                      <a:pt x="340" y="102"/>
                    </a:lnTo>
                    <a:close/>
                    <a:moveTo>
                      <a:pt x="327" y="117"/>
                    </a:moveTo>
                    <a:lnTo>
                      <a:pt x="329" y="117"/>
                    </a:lnTo>
                    <a:lnTo>
                      <a:pt x="327" y="117"/>
                    </a:lnTo>
                    <a:lnTo>
                      <a:pt x="329" y="117"/>
                    </a:lnTo>
                    <a:lnTo>
                      <a:pt x="327" y="117"/>
                    </a:lnTo>
                    <a:close/>
                    <a:moveTo>
                      <a:pt x="327" y="115"/>
                    </a:moveTo>
                    <a:lnTo>
                      <a:pt x="325" y="115"/>
                    </a:lnTo>
                    <a:lnTo>
                      <a:pt x="327" y="115"/>
                    </a:lnTo>
                    <a:lnTo>
                      <a:pt x="325" y="115"/>
                    </a:lnTo>
                    <a:lnTo>
                      <a:pt x="327" y="115"/>
                    </a:lnTo>
                    <a:close/>
                    <a:moveTo>
                      <a:pt x="325" y="115"/>
                    </a:moveTo>
                    <a:lnTo>
                      <a:pt x="325" y="117"/>
                    </a:lnTo>
                    <a:lnTo>
                      <a:pt x="325" y="115"/>
                    </a:lnTo>
                    <a:close/>
                    <a:moveTo>
                      <a:pt x="325" y="115"/>
                    </a:moveTo>
                    <a:lnTo>
                      <a:pt x="325" y="117"/>
                    </a:lnTo>
                    <a:lnTo>
                      <a:pt x="323" y="117"/>
                    </a:lnTo>
                    <a:lnTo>
                      <a:pt x="323" y="115"/>
                    </a:lnTo>
                    <a:lnTo>
                      <a:pt x="325" y="115"/>
                    </a:lnTo>
                    <a:close/>
                    <a:moveTo>
                      <a:pt x="325" y="115"/>
                    </a:moveTo>
                    <a:lnTo>
                      <a:pt x="323" y="115"/>
                    </a:lnTo>
                    <a:lnTo>
                      <a:pt x="325" y="115"/>
                    </a:lnTo>
                    <a:close/>
                    <a:moveTo>
                      <a:pt x="325" y="114"/>
                    </a:moveTo>
                    <a:lnTo>
                      <a:pt x="327" y="114"/>
                    </a:lnTo>
                    <a:lnTo>
                      <a:pt x="325" y="114"/>
                    </a:lnTo>
                    <a:close/>
                    <a:moveTo>
                      <a:pt x="333" y="104"/>
                    </a:moveTo>
                    <a:lnTo>
                      <a:pt x="335" y="104"/>
                    </a:lnTo>
                    <a:lnTo>
                      <a:pt x="333" y="104"/>
                    </a:lnTo>
                    <a:lnTo>
                      <a:pt x="335" y="104"/>
                    </a:lnTo>
                    <a:lnTo>
                      <a:pt x="333" y="104"/>
                    </a:lnTo>
                    <a:close/>
                    <a:moveTo>
                      <a:pt x="323" y="114"/>
                    </a:moveTo>
                    <a:lnTo>
                      <a:pt x="325" y="114"/>
                    </a:lnTo>
                    <a:lnTo>
                      <a:pt x="323" y="114"/>
                    </a:lnTo>
                    <a:close/>
                    <a:moveTo>
                      <a:pt x="323" y="114"/>
                    </a:moveTo>
                    <a:lnTo>
                      <a:pt x="323" y="115"/>
                    </a:lnTo>
                    <a:lnTo>
                      <a:pt x="323" y="114"/>
                    </a:lnTo>
                    <a:close/>
                    <a:moveTo>
                      <a:pt x="331" y="104"/>
                    </a:moveTo>
                    <a:lnTo>
                      <a:pt x="329" y="104"/>
                    </a:lnTo>
                    <a:lnTo>
                      <a:pt x="329" y="106"/>
                    </a:lnTo>
                    <a:lnTo>
                      <a:pt x="329" y="104"/>
                    </a:lnTo>
                    <a:lnTo>
                      <a:pt x="331" y="104"/>
                    </a:lnTo>
                    <a:close/>
                    <a:moveTo>
                      <a:pt x="321" y="114"/>
                    </a:moveTo>
                    <a:lnTo>
                      <a:pt x="321" y="115"/>
                    </a:lnTo>
                    <a:lnTo>
                      <a:pt x="321" y="114"/>
                    </a:lnTo>
                    <a:close/>
                    <a:moveTo>
                      <a:pt x="321" y="115"/>
                    </a:moveTo>
                    <a:lnTo>
                      <a:pt x="321" y="114"/>
                    </a:lnTo>
                    <a:lnTo>
                      <a:pt x="321" y="115"/>
                    </a:lnTo>
                    <a:close/>
                    <a:moveTo>
                      <a:pt x="321" y="112"/>
                    </a:moveTo>
                    <a:lnTo>
                      <a:pt x="321" y="114"/>
                    </a:lnTo>
                    <a:lnTo>
                      <a:pt x="321" y="112"/>
                    </a:lnTo>
                    <a:close/>
                    <a:moveTo>
                      <a:pt x="319" y="112"/>
                    </a:moveTo>
                    <a:lnTo>
                      <a:pt x="321" y="112"/>
                    </a:lnTo>
                    <a:lnTo>
                      <a:pt x="319" y="112"/>
                    </a:lnTo>
                    <a:lnTo>
                      <a:pt x="321" y="112"/>
                    </a:lnTo>
                    <a:lnTo>
                      <a:pt x="319" y="112"/>
                    </a:lnTo>
                    <a:close/>
                    <a:moveTo>
                      <a:pt x="319" y="112"/>
                    </a:moveTo>
                    <a:lnTo>
                      <a:pt x="321" y="114"/>
                    </a:lnTo>
                    <a:lnTo>
                      <a:pt x="319" y="114"/>
                    </a:lnTo>
                    <a:lnTo>
                      <a:pt x="317" y="114"/>
                    </a:lnTo>
                    <a:lnTo>
                      <a:pt x="319" y="114"/>
                    </a:lnTo>
                    <a:lnTo>
                      <a:pt x="319" y="112"/>
                    </a:lnTo>
                    <a:close/>
                    <a:moveTo>
                      <a:pt x="313" y="110"/>
                    </a:moveTo>
                    <a:lnTo>
                      <a:pt x="315" y="110"/>
                    </a:lnTo>
                    <a:lnTo>
                      <a:pt x="315" y="108"/>
                    </a:lnTo>
                    <a:lnTo>
                      <a:pt x="317" y="108"/>
                    </a:lnTo>
                    <a:lnTo>
                      <a:pt x="319" y="108"/>
                    </a:lnTo>
                    <a:lnTo>
                      <a:pt x="321" y="108"/>
                    </a:lnTo>
                    <a:lnTo>
                      <a:pt x="319" y="108"/>
                    </a:lnTo>
                    <a:lnTo>
                      <a:pt x="317" y="108"/>
                    </a:lnTo>
                    <a:lnTo>
                      <a:pt x="315" y="110"/>
                    </a:lnTo>
                    <a:lnTo>
                      <a:pt x="315" y="108"/>
                    </a:lnTo>
                    <a:lnTo>
                      <a:pt x="315" y="110"/>
                    </a:lnTo>
                    <a:lnTo>
                      <a:pt x="313" y="110"/>
                    </a:lnTo>
                    <a:close/>
                    <a:moveTo>
                      <a:pt x="292" y="114"/>
                    </a:moveTo>
                    <a:lnTo>
                      <a:pt x="296" y="114"/>
                    </a:lnTo>
                    <a:lnTo>
                      <a:pt x="298" y="112"/>
                    </a:lnTo>
                    <a:lnTo>
                      <a:pt x="300" y="112"/>
                    </a:lnTo>
                    <a:lnTo>
                      <a:pt x="304" y="112"/>
                    </a:lnTo>
                    <a:lnTo>
                      <a:pt x="306" y="112"/>
                    </a:lnTo>
                    <a:lnTo>
                      <a:pt x="306" y="110"/>
                    </a:lnTo>
                    <a:lnTo>
                      <a:pt x="310" y="110"/>
                    </a:lnTo>
                    <a:lnTo>
                      <a:pt x="313" y="110"/>
                    </a:lnTo>
                    <a:lnTo>
                      <a:pt x="312" y="110"/>
                    </a:lnTo>
                    <a:lnTo>
                      <a:pt x="310" y="110"/>
                    </a:lnTo>
                    <a:lnTo>
                      <a:pt x="308" y="110"/>
                    </a:lnTo>
                    <a:lnTo>
                      <a:pt x="308" y="112"/>
                    </a:lnTo>
                    <a:lnTo>
                      <a:pt x="306" y="110"/>
                    </a:lnTo>
                    <a:lnTo>
                      <a:pt x="306" y="112"/>
                    </a:lnTo>
                    <a:lnTo>
                      <a:pt x="304" y="112"/>
                    </a:lnTo>
                    <a:lnTo>
                      <a:pt x="302" y="112"/>
                    </a:lnTo>
                    <a:lnTo>
                      <a:pt x="304" y="112"/>
                    </a:lnTo>
                    <a:lnTo>
                      <a:pt x="302" y="112"/>
                    </a:lnTo>
                    <a:lnTo>
                      <a:pt x="302" y="114"/>
                    </a:lnTo>
                    <a:lnTo>
                      <a:pt x="300" y="114"/>
                    </a:lnTo>
                    <a:lnTo>
                      <a:pt x="300" y="112"/>
                    </a:lnTo>
                    <a:lnTo>
                      <a:pt x="298" y="114"/>
                    </a:lnTo>
                    <a:lnTo>
                      <a:pt x="296" y="114"/>
                    </a:lnTo>
                    <a:lnTo>
                      <a:pt x="294" y="114"/>
                    </a:lnTo>
                    <a:lnTo>
                      <a:pt x="296" y="114"/>
                    </a:lnTo>
                    <a:lnTo>
                      <a:pt x="298" y="114"/>
                    </a:lnTo>
                    <a:lnTo>
                      <a:pt x="296" y="114"/>
                    </a:lnTo>
                    <a:lnTo>
                      <a:pt x="294" y="114"/>
                    </a:lnTo>
                    <a:lnTo>
                      <a:pt x="292" y="114"/>
                    </a:lnTo>
                    <a:close/>
                    <a:moveTo>
                      <a:pt x="283" y="115"/>
                    </a:moveTo>
                    <a:lnTo>
                      <a:pt x="287" y="115"/>
                    </a:lnTo>
                    <a:lnTo>
                      <a:pt x="289" y="115"/>
                    </a:lnTo>
                    <a:lnTo>
                      <a:pt x="290" y="115"/>
                    </a:lnTo>
                    <a:lnTo>
                      <a:pt x="289" y="115"/>
                    </a:lnTo>
                    <a:lnTo>
                      <a:pt x="290" y="114"/>
                    </a:lnTo>
                    <a:lnTo>
                      <a:pt x="290" y="115"/>
                    </a:lnTo>
                    <a:lnTo>
                      <a:pt x="290" y="114"/>
                    </a:lnTo>
                    <a:lnTo>
                      <a:pt x="292" y="114"/>
                    </a:lnTo>
                    <a:lnTo>
                      <a:pt x="292" y="115"/>
                    </a:lnTo>
                    <a:lnTo>
                      <a:pt x="290" y="115"/>
                    </a:lnTo>
                    <a:lnTo>
                      <a:pt x="289" y="115"/>
                    </a:lnTo>
                    <a:lnTo>
                      <a:pt x="287" y="115"/>
                    </a:lnTo>
                    <a:lnTo>
                      <a:pt x="285" y="115"/>
                    </a:lnTo>
                    <a:lnTo>
                      <a:pt x="283" y="115"/>
                    </a:lnTo>
                    <a:lnTo>
                      <a:pt x="285" y="115"/>
                    </a:lnTo>
                    <a:lnTo>
                      <a:pt x="283" y="115"/>
                    </a:lnTo>
                    <a:lnTo>
                      <a:pt x="281" y="115"/>
                    </a:lnTo>
                    <a:lnTo>
                      <a:pt x="283" y="115"/>
                    </a:lnTo>
                    <a:close/>
                    <a:moveTo>
                      <a:pt x="269" y="117"/>
                    </a:moveTo>
                    <a:lnTo>
                      <a:pt x="271" y="117"/>
                    </a:lnTo>
                    <a:lnTo>
                      <a:pt x="273" y="117"/>
                    </a:lnTo>
                    <a:lnTo>
                      <a:pt x="271" y="117"/>
                    </a:lnTo>
                    <a:lnTo>
                      <a:pt x="269" y="117"/>
                    </a:lnTo>
                    <a:lnTo>
                      <a:pt x="269" y="119"/>
                    </a:lnTo>
                    <a:lnTo>
                      <a:pt x="269" y="117"/>
                    </a:lnTo>
                    <a:lnTo>
                      <a:pt x="269" y="119"/>
                    </a:lnTo>
                    <a:lnTo>
                      <a:pt x="269" y="117"/>
                    </a:lnTo>
                    <a:close/>
                    <a:moveTo>
                      <a:pt x="177" y="42"/>
                    </a:moveTo>
                    <a:lnTo>
                      <a:pt x="175" y="42"/>
                    </a:lnTo>
                    <a:lnTo>
                      <a:pt x="175" y="44"/>
                    </a:lnTo>
                    <a:lnTo>
                      <a:pt x="175" y="46"/>
                    </a:lnTo>
                    <a:lnTo>
                      <a:pt x="173" y="46"/>
                    </a:lnTo>
                    <a:lnTo>
                      <a:pt x="175" y="46"/>
                    </a:lnTo>
                    <a:lnTo>
                      <a:pt x="175" y="44"/>
                    </a:lnTo>
                    <a:lnTo>
                      <a:pt x="175" y="42"/>
                    </a:lnTo>
                    <a:lnTo>
                      <a:pt x="177" y="42"/>
                    </a:lnTo>
                    <a:lnTo>
                      <a:pt x="175" y="42"/>
                    </a:lnTo>
                    <a:lnTo>
                      <a:pt x="177" y="42"/>
                    </a:lnTo>
                    <a:close/>
                    <a:moveTo>
                      <a:pt x="175" y="42"/>
                    </a:moveTo>
                    <a:lnTo>
                      <a:pt x="175" y="44"/>
                    </a:lnTo>
                    <a:lnTo>
                      <a:pt x="175" y="42"/>
                    </a:lnTo>
                    <a:close/>
                    <a:moveTo>
                      <a:pt x="166" y="2"/>
                    </a:moveTo>
                    <a:lnTo>
                      <a:pt x="167" y="0"/>
                    </a:lnTo>
                    <a:lnTo>
                      <a:pt x="169" y="0"/>
                    </a:lnTo>
                    <a:lnTo>
                      <a:pt x="171" y="0"/>
                    </a:lnTo>
                    <a:lnTo>
                      <a:pt x="173" y="0"/>
                    </a:lnTo>
                    <a:lnTo>
                      <a:pt x="175" y="0"/>
                    </a:lnTo>
                    <a:lnTo>
                      <a:pt x="173" y="0"/>
                    </a:lnTo>
                    <a:lnTo>
                      <a:pt x="171" y="0"/>
                    </a:lnTo>
                    <a:lnTo>
                      <a:pt x="169" y="0"/>
                    </a:lnTo>
                    <a:lnTo>
                      <a:pt x="167" y="0"/>
                    </a:lnTo>
                    <a:lnTo>
                      <a:pt x="167" y="2"/>
                    </a:lnTo>
                    <a:lnTo>
                      <a:pt x="166" y="2"/>
                    </a:lnTo>
                    <a:lnTo>
                      <a:pt x="164" y="2"/>
                    </a:lnTo>
                    <a:lnTo>
                      <a:pt x="166" y="2"/>
                    </a:lnTo>
                    <a:close/>
                    <a:moveTo>
                      <a:pt x="143" y="21"/>
                    </a:moveTo>
                    <a:lnTo>
                      <a:pt x="141" y="23"/>
                    </a:lnTo>
                    <a:lnTo>
                      <a:pt x="143" y="21"/>
                    </a:lnTo>
                    <a:close/>
                    <a:moveTo>
                      <a:pt x="144" y="17"/>
                    </a:moveTo>
                    <a:lnTo>
                      <a:pt x="146" y="17"/>
                    </a:lnTo>
                    <a:lnTo>
                      <a:pt x="146" y="16"/>
                    </a:lnTo>
                    <a:lnTo>
                      <a:pt x="148" y="16"/>
                    </a:lnTo>
                    <a:lnTo>
                      <a:pt x="146" y="16"/>
                    </a:lnTo>
                    <a:lnTo>
                      <a:pt x="146" y="17"/>
                    </a:lnTo>
                    <a:lnTo>
                      <a:pt x="144" y="17"/>
                    </a:lnTo>
                    <a:lnTo>
                      <a:pt x="144" y="19"/>
                    </a:lnTo>
                    <a:lnTo>
                      <a:pt x="144" y="17"/>
                    </a:lnTo>
                    <a:close/>
                    <a:moveTo>
                      <a:pt x="146" y="16"/>
                    </a:moveTo>
                    <a:lnTo>
                      <a:pt x="148" y="14"/>
                    </a:lnTo>
                    <a:lnTo>
                      <a:pt x="146" y="16"/>
                    </a:lnTo>
                    <a:lnTo>
                      <a:pt x="146" y="17"/>
                    </a:lnTo>
                    <a:lnTo>
                      <a:pt x="144" y="17"/>
                    </a:lnTo>
                    <a:lnTo>
                      <a:pt x="146" y="16"/>
                    </a:lnTo>
                    <a:close/>
                    <a:moveTo>
                      <a:pt x="452" y="373"/>
                    </a:moveTo>
                    <a:lnTo>
                      <a:pt x="452" y="375"/>
                    </a:lnTo>
                    <a:lnTo>
                      <a:pt x="452" y="373"/>
                    </a:lnTo>
                    <a:close/>
                    <a:moveTo>
                      <a:pt x="452" y="369"/>
                    </a:moveTo>
                    <a:lnTo>
                      <a:pt x="452" y="371"/>
                    </a:lnTo>
                    <a:lnTo>
                      <a:pt x="452" y="369"/>
                    </a:lnTo>
                    <a:close/>
                    <a:moveTo>
                      <a:pt x="454" y="363"/>
                    </a:moveTo>
                    <a:lnTo>
                      <a:pt x="456" y="363"/>
                    </a:lnTo>
                    <a:lnTo>
                      <a:pt x="456" y="365"/>
                    </a:lnTo>
                    <a:lnTo>
                      <a:pt x="454" y="365"/>
                    </a:lnTo>
                    <a:lnTo>
                      <a:pt x="454" y="363"/>
                    </a:lnTo>
                    <a:close/>
                    <a:moveTo>
                      <a:pt x="454" y="363"/>
                    </a:moveTo>
                    <a:lnTo>
                      <a:pt x="454" y="365"/>
                    </a:lnTo>
                    <a:lnTo>
                      <a:pt x="454" y="363"/>
                    </a:lnTo>
                    <a:close/>
                    <a:moveTo>
                      <a:pt x="456" y="360"/>
                    </a:moveTo>
                    <a:lnTo>
                      <a:pt x="454" y="360"/>
                    </a:lnTo>
                    <a:lnTo>
                      <a:pt x="456" y="360"/>
                    </a:lnTo>
                    <a:close/>
                    <a:moveTo>
                      <a:pt x="396" y="390"/>
                    </a:moveTo>
                    <a:lnTo>
                      <a:pt x="398" y="390"/>
                    </a:lnTo>
                    <a:lnTo>
                      <a:pt x="396" y="390"/>
                    </a:lnTo>
                    <a:lnTo>
                      <a:pt x="398" y="390"/>
                    </a:lnTo>
                    <a:lnTo>
                      <a:pt x="396" y="390"/>
                    </a:lnTo>
                    <a:lnTo>
                      <a:pt x="398" y="390"/>
                    </a:lnTo>
                    <a:lnTo>
                      <a:pt x="396" y="390"/>
                    </a:lnTo>
                    <a:close/>
                    <a:moveTo>
                      <a:pt x="396" y="390"/>
                    </a:moveTo>
                    <a:lnTo>
                      <a:pt x="396" y="392"/>
                    </a:lnTo>
                    <a:lnTo>
                      <a:pt x="394" y="392"/>
                    </a:lnTo>
                    <a:lnTo>
                      <a:pt x="396" y="392"/>
                    </a:lnTo>
                    <a:lnTo>
                      <a:pt x="396" y="390"/>
                    </a:lnTo>
                    <a:close/>
                    <a:moveTo>
                      <a:pt x="394" y="392"/>
                    </a:moveTo>
                    <a:lnTo>
                      <a:pt x="392" y="392"/>
                    </a:lnTo>
                    <a:lnTo>
                      <a:pt x="394" y="392"/>
                    </a:lnTo>
                    <a:close/>
                    <a:moveTo>
                      <a:pt x="392" y="392"/>
                    </a:moveTo>
                    <a:lnTo>
                      <a:pt x="394" y="392"/>
                    </a:lnTo>
                    <a:lnTo>
                      <a:pt x="392" y="392"/>
                    </a:lnTo>
                    <a:lnTo>
                      <a:pt x="392" y="390"/>
                    </a:lnTo>
                    <a:lnTo>
                      <a:pt x="392" y="392"/>
                    </a:lnTo>
                    <a:close/>
                    <a:moveTo>
                      <a:pt x="386" y="385"/>
                    </a:moveTo>
                    <a:lnTo>
                      <a:pt x="388" y="385"/>
                    </a:lnTo>
                    <a:lnTo>
                      <a:pt x="386" y="385"/>
                    </a:lnTo>
                    <a:lnTo>
                      <a:pt x="386" y="383"/>
                    </a:lnTo>
                    <a:lnTo>
                      <a:pt x="386" y="385"/>
                    </a:lnTo>
                    <a:close/>
                    <a:moveTo>
                      <a:pt x="360" y="410"/>
                    </a:moveTo>
                    <a:lnTo>
                      <a:pt x="362" y="410"/>
                    </a:lnTo>
                    <a:lnTo>
                      <a:pt x="362" y="412"/>
                    </a:lnTo>
                    <a:lnTo>
                      <a:pt x="360" y="412"/>
                    </a:lnTo>
                    <a:lnTo>
                      <a:pt x="362" y="413"/>
                    </a:lnTo>
                    <a:lnTo>
                      <a:pt x="360" y="413"/>
                    </a:lnTo>
                    <a:lnTo>
                      <a:pt x="360" y="412"/>
                    </a:lnTo>
                    <a:lnTo>
                      <a:pt x="360" y="410"/>
                    </a:lnTo>
                    <a:lnTo>
                      <a:pt x="360" y="408"/>
                    </a:lnTo>
                    <a:lnTo>
                      <a:pt x="360" y="410"/>
                    </a:lnTo>
                    <a:close/>
                    <a:moveTo>
                      <a:pt x="356" y="410"/>
                    </a:moveTo>
                    <a:lnTo>
                      <a:pt x="356" y="408"/>
                    </a:lnTo>
                    <a:lnTo>
                      <a:pt x="358" y="408"/>
                    </a:lnTo>
                    <a:lnTo>
                      <a:pt x="358" y="406"/>
                    </a:lnTo>
                    <a:lnTo>
                      <a:pt x="358" y="408"/>
                    </a:lnTo>
                    <a:lnTo>
                      <a:pt x="360" y="408"/>
                    </a:lnTo>
                    <a:lnTo>
                      <a:pt x="358" y="410"/>
                    </a:lnTo>
                    <a:lnTo>
                      <a:pt x="356" y="410"/>
                    </a:lnTo>
                    <a:lnTo>
                      <a:pt x="354" y="412"/>
                    </a:lnTo>
                    <a:lnTo>
                      <a:pt x="352" y="412"/>
                    </a:lnTo>
                    <a:lnTo>
                      <a:pt x="354" y="412"/>
                    </a:lnTo>
                    <a:lnTo>
                      <a:pt x="354" y="410"/>
                    </a:lnTo>
                    <a:lnTo>
                      <a:pt x="356" y="410"/>
                    </a:lnTo>
                    <a:close/>
                    <a:moveTo>
                      <a:pt x="352" y="412"/>
                    </a:moveTo>
                    <a:lnTo>
                      <a:pt x="354" y="412"/>
                    </a:lnTo>
                    <a:lnTo>
                      <a:pt x="352" y="412"/>
                    </a:lnTo>
                    <a:lnTo>
                      <a:pt x="350" y="412"/>
                    </a:lnTo>
                    <a:lnTo>
                      <a:pt x="352" y="412"/>
                    </a:lnTo>
                    <a:close/>
                    <a:moveTo>
                      <a:pt x="348" y="412"/>
                    </a:moveTo>
                    <a:lnTo>
                      <a:pt x="350" y="412"/>
                    </a:lnTo>
                    <a:lnTo>
                      <a:pt x="352" y="412"/>
                    </a:lnTo>
                    <a:lnTo>
                      <a:pt x="354" y="412"/>
                    </a:lnTo>
                    <a:lnTo>
                      <a:pt x="356" y="412"/>
                    </a:lnTo>
                    <a:lnTo>
                      <a:pt x="356" y="410"/>
                    </a:lnTo>
                    <a:lnTo>
                      <a:pt x="358" y="410"/>
                    </a:lnTo>
                    <a:lnTo>
                      <a:pt x="358" y="412"/>
                    </a:lnTo>
                    <a:lnTo>
                      <a:pt x="360" y="412"/>
                    </a:lnTo>
                    <a:lnTo>
                      <a:pt x="360" y="413"/>
                    </a:lnTo>
                    <a:lnTo>
                      <a:pt x="358" y="413"/>
                    </a:lnTo>
                    <a:lnTo>
                      <a:pt x="356" y="413"/>
                    </a:lnTo>
                    <a:lnTo>
                      <a:pt x="356" y="415"/>
                    </a:lnTo>
                    <a:lnTo>
                      <a:pt x="356" y="417"/>
                    </a:lnTo>
                    <a:lnTo>
                      <a:pt x="354" y="417"/>
                    </a:lnTo>
                    <a:lnTo>
                      <a:pt x="352" y="417"/>
                    </a:lnTo>
                    <a:lnTo>
                      <a:pt x="352" y="415"/>
                    </a:lnTo>
                    <a:lnTo>
                      <a:pt x="350" y="415"/>
                    </a:lnTo>
                    <a:lnTo>
                      <a:pt x="350" y="413"/>
                    </a:lnTo>
                    <a:lnTo>
                      <a:pt x="348" y="413"/>
                    </a:lnTo>
                    <a:lnTo>
                      <a:pt x="348" y="412"/>
                    </a:lnTo>
                    <a:lnTo>
                      <a:pt x="346" y="412"/>
                    </a:lnTo>
                    <a:lnTo>
                      <a:pt x="348" y="412"/>
                    </a:lnTo>
                    <a:close/>
                    <a:moveTo>
                      <a:pt x="346" y="412"/>
                    </a:moveTo>
                    <a:lnTo>
                      <a:pt x="344" y="412"/>
                    </a:lnTo>
                    <a:lnTo>
                      <a:pt x="346" y="412"/>
                    </a:lnTo>
                    <a:close/>
                    <a:moveTo>
                      <a:pt x="360" y="396"/>
                    </a:moveTo>
                    <a:lnTo>
                      <a:pt x="358" y="398"/>
                    </a:lnTo>
                    <a:lnTo>
                      <a:pt x="360" y="396"/>
                    </a:lnTo>
                    <a:close/>
                    <a:moveTo>
                      <a:pt x="365" y="388"/>
                    </a:moveTo>
                    <a:lnTo>
                      <a:pt x="365" y="390"/>
                    </a:lnTo>
                    <a:lnTo>
                      <a:pt x="365" y="388"/>
                    </a:lnTo>
                    <a:close/>
                    <a:moveTo>
                      <a:pt x="360" y="396"/>
                    </a:moveTo>
                    <a:lnTo>
                      <a:pt x="358" y="398"/>
                    </a:lnTo>
                    <a:lnTo>
                      <a:pt x="358" y="396"/>
                    </a:lnTo>
                    <a:lnTo>
                      <a:pt x="360" y="396"/>
                    </a:lnTo>
                    <a:close/>
                    <a:moveTo>
                      <a:pt x="367" y="385"/>
                    </a:moveTo>
                    <a:lnTo>
                      <a:pt x="369" y="385"/>
                    </a:lnTo>
                    <a:lnTo>
                      <a:pt x="367" y="385"/>
                    </a:lnTo>
                    <a:close/>
                    <a:moveTo>
                      <a:pt x="342" y="400"/>
                    </a:moveTo>
                    <a:lnTo>
                      <a:pt x="342" y="402"/>
                    </a:lnTo>
                    <a:lnTo>
                      <a:pt x="340" y="400"/>
                    </a:lnTo>
                    <a:lnTo>
                      <a:pt x="342" y="400"/>
                    </a:lnTo>
                    <a:close/>
                    <a:moveTo>
                      <a:pt x="335" y="412"/>
                    </a:moveTo>
                    <a:lnTo>
                      <a:pt x="333" y="412"/>
                    </a:lnTo>
                    <a:lnTo>
                      <a:pt x="331" y="410"/>
                    </a:lnTo>
                    <a:lnTo>
                      <a:pt x="333" y="410"/>
                    </a:lnTo>
                    <a:lnTo>
                      <a:pt x="333" y="412"/>
                    </a:lnTo>
                    <a:lnTo>
                      <a:pt x="335" y="412"/>
                    </a:lnTo>
                    <a:close/>
                    <a:moveTo>
                      <a:pt x="335" y="412"/>
                    </a:moveTo>
                    <a:lnTo>
                      <a:pt x="337" y="412"/>
                    </a:lnTo>
                    <a:lnTo>
                      <a:pt x="335" y="412"/>
                    </a:lnTo>
                    <a:lnTo>
                      <a:pt x="337" y="412"/>
                    </a:lnTo>
                    <a:lnTo>
                      <a:pt x="335" y="412"/>
                    </a:lnTo>
                    <a:lnTo>
                      <a:pt x="333" y="412"/>
                    </a:lnTo>
                    <a:lnTo>
                      <a:pt x="333" y="410"/>
                    </a:lnTo>
                    <a:lnTo>
                      <a:pt x="331" y="410"/>
                    </a:lnTo>
                    <a:lnTo>
                      <a:pt x="333" y="410"/>
                    </a:lnTo>
                    <a:lnTo>
                      <a:pt x="335" y="410"/>
                    </a:lnTo>
                    <a:lnTo>
                      <a:pt x="335" y="412"/>
                    </a:lnTo>
                    <a:close/>
                    <a:moveTo>
                      <a:pt x="331" y="410"/>
                    </a:moveTo>
                    <a:lnTo>
                      <a:pt x="329" y="410"/>
                    </a:lnTo>
                    <a:lnTo>
                      <a:pt x="331" y="410"/>
                    </a:lnTo>
                    <a:close/>
                    <a:moveTo>
                      <a:pt x="329" y="408"/>
                    </a:moveTo>
                    <a:lnTo>
                      <a:pt x="331" y="408"/>
                    </a:lnTo>
                    <a:lnTo>
                      <a:pt x="329" y="410"/>
                    </a:lnTo>
                    <a:lnTo>
                      <a:pt x="329" y="408"/>
                    </a:lnTo>
                    <a:lnTo>
                      <a:pt x="329" y="410"/>
                    </a:lnTo>
                    <a:lnTo>
                      <a:pt x="329" y="408"/>
                    </a:lnTo>
                    <a:close/>
                    <a:moveTo>
                      <a:pt x="329" y="410"/>
                    </a:moveTo>
                    <a:lnTo>
                      <a:pt x="327" y="410"/>
                    </a:lnTo>
                    <a:lnTo>
                      <a:pt x="325" y="410"/>
                    </a:lnTo>
                    <a:lnTo>
                      <a:pt x="327" y="410"/>
                    </a:lnTo>
                    <a:lnTo>
                      <a:pt x="329" y="410"/>
                    </a:lnTo>
                    <a:close/>
                    <a:moveTo>
                      <a:pt x="290" y="437"/>
                    </a:moveTo>
                    <a:lnTo>
                      <a:pt x="290" y="435"/>
                    </a:lnTo>
                    <a:lnTo>
                      <a:pt x="290" y="437"/>
                    </a:lnTo>
                    <a:close/>
                    <a:moveTo>
                      <a:pt x="287" y="427"/>
                    </a:moveTo>
                    <a:lnTo>
                      <a:pt x="289" y="429"/>
                    </a:lnTo>
                    <a:lnTo>
                      <a:pt x="289" y="431"/>
                    </a:lnTo>
                    <a:lnTo>
                      <a:pt x="287" y="429"/>
                    </a:lnTo>
                    <a:lnTo>
                      <a:pt x="287" y="427"/>
                    </a:lnTo>
                    <a:close/>
                    <a:moveTo>
                      <a:pt x="290" y="412"/>
                    </a:moveTo>
                    <a:lnTo>
                      <a:pt x="290" y="413"/>
                    </a:lnTo>
                    <a:lnTo>
                      <a:pt x="290" y="412"/>
                    </a:lnTo>
                    <a:lnTo>
                      <a:pt x="290" y="413"/>
                    </a:lnTo>
                    <a:lnTo>
                      <a:pt x="290" y="412"/>
                    </a:lnTo>
                    <a:close/>
                    <a:moveTo>
                      <a:pt x="302" y="396"/>
                    </a:moveTo>
                    <a:lnTo>
                      <a:pt x="304" y="396"/>
                    </a:lnTo>
                    <a:lnTo>
                      <a:pt x="304" y="398"/>
                    </a:lnTo>
                    <a:lnTo>
                      <a:pt x="302" y="396"/>
                    </a:lnTo>
                    <a:close/>
                    <a:moveTo>
                      <a:pt x="300" y="396"/>
                    </a:moveTo>
                    <a:lnTo>
                      <a:pt x="300" y="398"/>
                    </a:lnTo>
                    <a:lnTo>
                      <a:pt x="300" y="396"/>
                    </a:lnTo>
                    <a:lnTo>
                      <a:pt x="300" y="398"/>
                    </a:lnTo>
                    <a:lnTo>
                      <a:pt x="298" y="398"/>
                    </a:lnTo>
                    <a:lnTo>
                      <a:pt x="300" y="396"/>
                    </a:lnTo>
                    <a:close/>
                    <a:moveTo>
                      <a:pt x="298" y="398"/>
                    </a:moveTo>
                    <a:lnTo>
                      <a:pt x="296" y="398"/>
                    </a:lnTo>
                    <a:lnTo>
                      <a:pt x="298" y="398"/>
                    </a:lnTo>
                    <a:lnTo>
                      <a:pt x="296" y="398"/>
                    </a:lnTo>
                    <a:lnTo>
                      <a:pt x="298" y="398"/>
                    </a:lnTo>
                    <a:close/>
                    <a:moveTo>
                      <a:pt x="296" y="398"/>
                    </a:moveTo>
                    <a:lnTo>
                      <a:pt x="298" y="398"/>
                    </a:lnTo>
                    <a:lnTo>
                      <a:pt x="296" y="398"/>
                    </a:lnTo>
                    <a:close/>
                    <a:moveTo>
                      <a:pt x="289" y="406"/>
                    </a:moveTo>
                    <a:lnTo>
                      <a:pt x="287" y="406"/>
                    </a:lnTo>
                    <a:lnTo>
                      <a:pt x="289" y="406"/>
                    </a:lnTo>
                    <a:close/>
                    <a:moveTo>
                      <a:pt x="290" y="396"/>
                    </a:moveTo>
                    <a:lnTo>
                      <a:pt x="289" y="396"/>
                    </a:lnTo>
                    <a:lnTo>
                      <a:pt x="289" y="394"/>
                    </a:lnTo>
                    <a:lnTo>
                      <a:pt x="290" y="394"/>
                    </a:lnTo>
                    <a:lnTo>
                      <a:pt x="290" y="396"/>
                    </a:lnTo>
                    <a:close/>
                    <a:moveTo>
                      <a:pt x="104" y="306"/>
                    </a:moveTo>
                    <a:lnTo>
                      <a:pt x="104" y="308"/>
                    </a:lnTo>
                    <a:lnTo>
                      <a:pt x="104" y="306"/>
                    </a:lnTo>
                    <a:close/>
                    <a:moveTo>
                      <a:pt x="98" y="304"/>
                    </a:moveTo>
                    <a:lnTo>
                      <a:pt x="96" y="304"/>
                    </a:lnTo>
                    <a:lnTo>
                      <a:pt x="98" y="304"/>
                    </a:lnTo>
                    <a:close/>
                    <a:moveTo>
                      <a:pt x="100" y="298"/>
                    </a:moveTo>
                    <a:lnTo>
                      <a:pt x="102" y="300"/>
                    </a:lnTo>
                    <a:lnTo>
                      <a:pt x="102" y="302"/>
                    </a:lnTo>
                    <a:lnTo>
                      <a:pt x="100" y="302"/>
                    </a:lnTo>
                    <a:lnTo>
                      <a:pt x="100" y="300"/>
                    </a:lnTo>
                    <a:lnTo>
                      <a:pt x="100" y="298"/>
                    </a:lnTo>
                    <a:close/>
                    <a:moveTo>
                      <a:pt x="100" y="298"/>
                    </a:moveTo>
                    <a:lnTo>
                      <a:pt x="98" y="298"/>
                    </a:lnTo>
                    <a:lnTo>
                      <a:pt x="100" y="298"/>
                    </a:lnTo>
                    <a:close/>
                    <a:moveTo>
                      <a:pt x="98" y="296"/>
                    </a:moveTo>
                    <a:lnTo>
                      <a:pt x="98" y="298"/>
                    </a:lnTo>
                    <a:lnTo>
                      <a:pt x="100" y="298"/>
                    </a:lnTo>
                    <a:lnTo>
                      <a:pt x="98" y="298"/>
                    </a:lnTo>
                    <a:lnTo>
                      <a:pt x="98" y="296"/>
                    </a:lnTo>
                    <a:close/>
                    <a:moveTo>
                      <a:pt x="100" y="283"/>
                    </a:moveTo>
                    <a:lnTo>
                      <a:pt x="100" y="285"/>
                    </a:lnTo>
                    <a:lnTo>
                      <a:pt x="98" y="285"/>
                    </a:lnTo>
                    <a:lnTo>
                      <a:pt x="100" y="285"/>
                    </a:lnTo>
                    <a:lnTo>
                      <a:pt x="98" y="285"/>
                    </a:lnTo>
                    <a:lnTo>
                      <a:pt x="98" y="283"/>
                    </a:lnTo>
                    <a:lnTo>
                      <a:pt x="100" y="283"/>
                    </a:lnTo>
                    <a:close/>
                    <a:moveTo>
                      <a:pt x="96" y="285"/>
                    </a:moveTo>
                    <a:lnTo>
                      <a:pt x="96" y="287"/>
                    </a:lnTo>
                    <a:lnTo>
                      <a:pt x="96" y="285"/>
                    </a:lnTo>
                    <a:close/>
                    <a:moveTo>
                      <a:pt x="81" y="275"/>
                    </a:moveTo>
                    <a:lnTo>
                      <a:pt x="79" y="275"/>
                    </a:lnTo>
                    <a:lnTo>
                      <a:pt x="81" y="275"/>
                    </a:lnTo>
                    <a:close/>
                    <a:moveTo>
                      <a:pt x="2" y="338"/>
                    </a:moveTo>
                    <a:lnTo>
                      <a:pt x="4" y="338"/>
                    </a:lnTo>
                    <a:lnTo>
                      <a:pt x="2" y="338"/>
                    </a:lnTo>
                    <a:lnTo>
                      <a:pt x="2" y="340"/>
                    </a:lnTo>
                    <a:lnTo>
                      <a:pt x="2" y="338"/>
                    </a:lnTo>
                    <a:lnTo>
                      <a:pt x="0" y="338"/>
                    </a:lnTo>
                    <a:lnTo>
                      <a:pt x="2" y="338"/>
                    </a:lnTo>
                    <a:close/>
                    <a:moveTo>
                      <a:pt x="2" y="337"/>
                    </a:moveTo>
                    <a:lnTo>
                      <a:pt x="2" y="338"/>
                    </a:lnTo>
                    <a:lnTo>
                      <a:pt x="2" y="337"/>
                    </a:lnTo>
                    <a:close/>
                    <a:moveTo>
                      <a:pt x="4" y="337"/>
                    </a:moveTo>
                    <a:lnTo>
                      <a:pt x="2" y="337"/>
                    </a:lnTo>
                    <a:lnTo>
                      <a:pt x="4" y="337"/>
                    </a:lnTo>
                    <a:lnTo>
                      <a:pt x="4" y="335"/>
                    </a:lnTo>
                    <a:lnTo>
                      <a:pt x="4" y="337"/>
                    </a:lnTo>
                    <a:close/>
                    <a:moveTo>
                      <a:pt x="25" y="304"/>
                    </a:moveTo>
                    <a:lnTo>
                      <a:pt x="25" y="306"/>
                    </a:lnTo>
                    <a:lnTo>
                      <a:pt x="25" y="304"/>
                    </a:lnTo>
                    <a:lnTo>
                      <a:pt x="25" y="306"/>
                    </a:lnTo>
                    <a:lnTo>
                      <a:pt x="23" y="306"/>
                    </a:lnTo>
                    <a:lnTo>
                      <a:pt x="23" y="304"/>
                    </a:lnTo>
                    <a:lnTo>
                      <a:pt x="25" y="304"/>
                    </a:lnTo>
                    <a:close/>
                    <a:moveTo>
                      <a:pt x="56" y="273"/>
                    </a:moveTo>
                    <a:lnTo>
                      <a:pt x="54" y="273"/>
                    </a:lnTo>
                    <a:lnTo>
                      <a:pt x="56" y="273"/>
                    </a:lnTo>
                    <a:close/>
                    <a:moveTo>
                      <a:pt x="52" y="273"/>
                    </a:moveTo>
                    <a:lnTo>
                      <a:pt x="50" y="273"/>
                    </a:lnTo>
                    <a:lnTo>
                      <a:pt x="52" y="271"/>
                    </a:lnTo>
                    <a:lnTo>
                      <a:pt x="52" y="273"/>
                    </a:lnTo>
                    <a:close/>
                    <a:moveTo>
                      <a:pt x="106" y="215"/>
                    </a:moveTo>
                    <a:lnTo>
                      <a:pt x="106" y="217"/>
                    </a:lnTo>
                    <a:lnTo>
                      <a:pt x="108" y="217"/>
                    </a:lnTo>
                    <a:lnTo>
                      <a:pt x="106" y="217"/>
                    </a:lnTo>
                    <a:lnTo>
                      <a:pt x="106" y="215"/>
                    </a:lnTo>
                    <a:close/>
                    <a:moveTo>
                      <a:pt x="54" y="267"/>
                    </a:moveTo>
                    <a:lnTo>
                      <a:pt x="54" y="265"/>
                    </a:lnTo>
                    <a:lnTo>
                      <a:pt x="54" y="267"/>
                    </a:lnTo>
                    <a:lnTo>
                      <a:pt x="54" y="269"/>
                    </a:lnTo>
                    <a:lnTo>
                      <a:pt x="54" y="271"/>
                    </a:lnTo>
                    <a:lnTo>
                      <a:pt x="56" y="271"/>
                    </a:lnTo>
                    <a:lnTo>
                      <a:pt x="54" y="271"/>
                    </a:lnTo>
                    <a:lnTo>
                      <a:pt x="52" y="271"/>
                    </a:lnTo>
                    <a:lnTo>
                      <a:pt x="54" y="271"/>
                    </a:lnTo>
                    <a:lnTo>
                      <a:pt x="52" y="271"/>
                    </a:lnTo>
                    <a:lnTo>
                      <a:pt x="52" y="273"/>
                    </a:lnTo>
                    <a:lnTo>
                      <a:pt x="52" y="271"/>
                    </a:lnTo>
                    <a:lnTo>
                      <a:pt x="52" y="269"/>
                    </a:lnTo>
                    <a:lnTo>
                      <a:pt x="52" y="267"/>
                    </a:lnTo>
                    <a:lnTo>
                      <a:pt x="54" y="267"/>
                    </a:lnTo>
                    <a:close/>
                    <a:moveTo>
                      <a:pt x="106" y="214"/>
                    </a:moveTo>
                    <a:lnTo>
                      <a:pt x="108" y="214"/>
                    </a:lnTo>
                    <a:lnTo>
                      <a:pt x="106" y="214"/>
                    </a:lnTo>
                    <a:close/>
                    <a:moveTo>
                      <a:pt x="10" y="308"/>
                    </a:moveTo>
                    <a:lnTo>
                      <a:pt x="10" y="306"/>
                    </a:lnTo>
                    <a:lnTo>
                      <a:pt x="12" y="306"/>
                    </a:lnTo>
                    <a:lnTo>
                      <a:pt x="10" y="308"/>
                    </a:lnTo>
                    <a:close/>
                    <a:moveTo>
                      <a:pt x="114" y="198"/>
                    </a:moveTo>
                    <a:lnTo>
                      <a:pt x="116" y="198"/>
                    </a:lnTo>
                    <a:lnTo>
                      <a:pt x="114" y="198"/>
                    </a:lnTo>
                    <a:close/>
                    <a:moveTo>
                      <a:pt x="114" y="200"/>
                    </a:moveTo>
                    <a:lnTo>
                      <a:pt x="112" y="200"/>
                    </a:lnTo>
                    <a:lnTo>
                      <a:pt x="114" y="200"/>
                    </a:lnTo>
                    <a:lnTo>
                      <a:pt x="112" y="200"/>
                    </a:lnTo>
                    <a:lnTo>
                      <a:pt x="114" y="200"/>
                    </a:lnTo>
                    <a:close/>
                    <a:moveTo>
                      <a:pt x="118" y="194"/>
                    </a:moveTo>
                    <a:lnTo>
                      <a:pt x="116" y="194"/>
                    </a:lnTo>
                    <a:lnTo>
                      <a:pt x="118" y="194"/>
                    </a:lnTo>
                    <a:close/>
                    <a:moveTo>
                      <a:pt x="112" y="198"/>
                    </a:moveTo>
                    <a:lnTo>
                      <a:pt x="114" y="200"/>
                    </a:lnTo>
                    <a:lnTo>
                      <a:pt x="112" y="198"/>
                    </a:lnTo>
                    <a:lnTo>
                      <a:pt x="114" y="198"/>
                    </a:lnTo>
                    <a:lnTo>
                      <a:pt x="114" y="200"/>
                    </a:lnTo>
                    <a:lnTo>
                      <a:pt x="114" y="198"/>
                    </a:lnTo>
                    <a:lnTo>
                      <a:pt x="114" y="200"/>
                    </a:lnTo>
                    <a:lnTo>
                      <a:pt x="112" y="200"/>
                    </a:lnTo>
                    <a:lnTo>
                      <a:pt x="112" y="198"/>
                    </a:lnTo>
                    <a:close/>
                    <a:moveTo>
                      <a:pt x="116" y="196"/>
                    </a:moveTo>
                    <a:lnTo>
                      <a:pt x="116" y="194"/>
                    </a:lnTo>
                    <a:lnTo>
                      <a:pt x="116" y="196"/>
                    </a:lnTo>
                    <a:close/>
                    <a:moveTo>
                      <a:pt x="112" y="200"/>
                    </a:moveTo>
                    <a:lnTo>
                      <a:pt x="112" y="198"/>
                    </a:lnTo>
                    <a:lnTo>
                      <a:pt x="112" y="200"/>
                    </a:lnTo>
                    <a:lnTo>
                      <a:pt x="114" y="200"/>
                    </a:lnTo>
                    <a:lnTo>
                      <a:pt x="112" y="200"/>
                    </a:lnTo>
                    <a:close/>
                    <a:moveTo>
                      <a:pt x="116" y="196"/>
                    </a:moveTo>
                    <a:lnTo>
                      <a:pt x="114" y="196"/>
                    </a:lnTo>
                    <a:lnTo>
                      <a:pt x="116" y="196"/>
                    </a:lnTo>
                    <a:close/>
                    <a:moveTo>
                      <a:pt x="108" y="204"/>
                    </a:moveTo>
                    <a:lnTo>
                      <a:pt x="108" y="202"/>
                    </a:lnTo>
                    <a:lnTo>
                      <a:pt x="108" y="204"/>
                    </a:lnTo>
                    <a:close/>
                    <a:moveTo>
                      <a:pt x="114" y="196"/>
                    </a:moveTo>
                    <a:lnTo>
                      <a:pt x="112" y="198"/>
                    </a:lnTo>
                    <a:lnTo>
                      <a:pt x="114" y="196"/>
                    </a:lnTo>
                    <a:close/>
                    <a:moveTo>
                      <a:pt x="27" y="279"/>
                    </a:moveTo>
                    <a:lnTo>
                      <a:pt x="27" y="281"/>
                    </a:lnTo>
                    <a:lnTo>
                      <a:pt x="27" y="279"/>
                    </a:lnTo>
                    <a:lnTo>
                      <a:pt x="27" y="281"/>
                    </a:lnTo>
                    <a:lnTo>
                      <a:pt x="27" y="279"/>
                    </a:lnTo>
                    <a:close/>
                    <a:moveTo>
                      <a:pt x="27" y="281"/>
                    </a:moveTo>
                    <a:lnTo>
                      <a:pt x="27" y="279"/>
                    </a:lnTo>
                    <a:lnTo>
                      <a:pt x="27" y="281"/>
                    </a:lnTo>
                    <a:close/>
                    <a:moveTo>
                      <a:pt x="27" y="279"/>
                    </a:moveTo>
                    <a:lnTo>
                      <a:pt x="25" y="279"/>
                    </a:lnTo>
                    <a:lnTo>
                      <a:pt x="27" y="281"/>
                    </a:lnTo>
                    <a:lnTo>
                      <a:pt x="25" y="281"/>
                    </a:lnTo>
                    <a:lnTo>
                      <a:pt x="27" y="281"/>
                    </a:lnTo>
                    <a:lnTo>
                      <a:pt x="25" y="281"/>
                    </a:lnTo>
                    <a:lnTo>
                      <a:pt x="25" y="279"/>
                    </a:lnTo>
                    <a:lnTo>
                      <a:pt x="27" y="279"/>
                    </a:lnTo>
                    <a:close/>
                    <a:moveTo>
                      <a:pt x="29" y="277"/>
                    </a:moveTo>
                    <a:lnTo>
                      <a:pt x="31" y="277"/>
                    </a:lnTo>
                    <a:lnTo>
                      <a:pt x="33" y="275"/>
                    </a:lnTo>
                    <a:lnTo>
                      <a:pt x="35" y="275"/>
                    </a:lnTo>
                    <a:lnTo>
                      <a:pt x="37" y="277"/>
                    </a:lnTo>
                    <a:lnTo>
                      <a:pt x="35" y="277"/>
                    </a:lnTo>
                    <a:lnTo>
                      <a:pt x="35" y="275"/>
                    </a:lnTo>
                    <a:lnTo>
                      <a:pt x="35" y="277"/>
                    </a:lnTo>
                    <a:lnTo>
                      <a:pt x="35" y="275"/>
                    </a:lnTo>
                    <a:lnTo>
                      <a:pt x="33" y="275"/>
                    </a:lnTo>
                    <a:lnTo>
                      <a:pt x="33" y="277"/>
                    </a:lnTo>
                    <a:lnTo>
                      <a:pt x="31" y="277"/>
                    </a:lnTo>
                    <a:lnTo>
                      <a:pt x="29" y="277"/>
                    </a:lnTo>
                    <a:lnTo>
                      <a:pt x="29" y="279"/>
                    </a:lnTo>
                    <a:lnTo>
                      <a:pt x="27" y="279"/>
                    </a:lnTo>
                    <a:lnTo>
                      <a:pt x="29" y="277"/>
                    </a:lnTo>
                    <a:close/>
                    <a:moveTo>
                      <a:pt x="27" y="279"/>
                    </a:moveTo>
                    <a:lnTo>
                      <a:pt x="25" y="279"/>
                    </a:lnTo>
                    <a:lnTo>
                      <a:pt x="27" y="279"/>
                    </a:lnTo>
                    <a:close/>
                    <a:moveTo>
                      <a:pt x="25" y="279"/>
                    </a:moveTo>
                    <a:lnTo>
                      <a:pt x="25" y="281"/>
                    </a:lnTo>
                    <a:lnTo>
                      <a:pt x="25" y="279"/>
                    </a:lnTo>
                    <a:close/>
                    <a:moveTo>
                      <a:pt x="23" y="281"/>
                    </a:moveTo>
                    <a:lnTo>
                      <a:pt x="21" y="281"/>
                    </a:lnTo>
                    <a:lnTo>
                      <a:pt x="23" y="281"/>
                    </a:lnTo>
                    <a:close/>
                    <a:moveTo>
                      <a:pt x="21" y="281"/>
                    </a:moveTo>
                    <a:lnTo>
                      <a:pt x="21" y="283"/>
                    </a:lnTo>
                    <a:lnTo>
                      <a:pt x="21" y="281"/>
                    </a:lnTo>
                    <a:close/>
                    <a:moveTo>
                      <a:pt x="12" y="289"/>
                    </a:moveTo>
                    <a:lnTo>
                      <a:pt x="10" y="290"/>
                    </a:lnTo>
                    <a:lnTo>
                      <a:pt x="12" y="289"/>
                    </a:lnTo>
                    <a:lnTo>
                      <a:pt x="12" y="287"/>
                    </a:lnTo>
                    <a:lnTo>
                      <a:pt x="12" y="289"/>
                    </a:lnTo>
                    <a:close/>
                    <a:moveTo>
                      <a:pt x="14" y="285"/>
                    </a:moveTo>
                    <a:lnTo>
                      <a:pt x="14" y="287"/>
                    </a:lnTo>
                    <a:lnTo>
                      <a:pt x="14" y="285"/>
                    </a:lnTo>
                    <a:close/>
                    <a:moveTo>
                      <a:pt x="14" y="285"/>
                    </a:moveTo>
                    <a:lnTo>
                      <a:pt x="14" y="287"/>
                    </a:lnTo>
                    <a:lnTo>
                      <a:pt x="12" y="287"/>
                    </a:lnTo>
                    <a:lnTo>
                      <a:pt x="14" y="285"/>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71" name="Freeform 151"/>
              <p:cNvSpPr>
                <a:spLocks noEditPoints="1"/>
              </p:cNvSpPr>
              <p:nvPr/>
            </p:nvSpPr>
            <p:spPr bwMode="auto">
              <a:xfrm>
                <a:off x="6529056" y="301754"/>
                <a:ext cx="1139054" cy="874078"/>
              </a:xfrm>
              <a:custGeom>
                <a:avLst/>
                <a:gdLst>
                  <a:gd name="T0" fmla="*/ 632 w 662"/>
                  <a:gd name="T1" fmla="*/ 92 h 508"/>
                  <a:gd name="T2" fmla="*/ 624 w 662"/>
                  <a:gd name="T3" fmla="*/ 69 h 508"/>
                  <a:gd name="T4" fmla="*/ 599 w 662"/>
                  <a:gd name="T5" fmla="*/ 85 h 508"/>
                  <a:gd name="T6" fmla="*/ 603 w 662"/>
                  <a:gd name="T7" fmla="*/ 81 h 508"/>
                  <a:gd name="T8" fmla="*/ 614 w 662"/>
                  <a:gd name="T9" fmla="*/ 54 h 508"/>
                  <a:gd name="T10" fmla="*/ 464 w 662"/>
                  <a:gd name="T11" fmla="*/ 210 h 508"/>
                  <a:gd name="T12" fmla="*/ 614 w 662"/>
                  <a:gd name="T13" fmla="*/ 8 h 508"/>
                  <a:gd name="T14" fmla="*/ 610 w 662"/>
                  <a:gd name="T15" fmla="*/ 16 h 508"/>
                  <a:gd name="T16" fmla="*/ 551 w 662"/>
                  <a:gd name="T17" fmla="*/ 91 h 508"/>
                  <a:gd name="T18" fmla="*/ 536 w 662"/>
                  <a:gd name="T19" fmla="*/ 81 h 508"/>
                  <a:gd name="T20" fmla="*/ 513 w 662"/>
                  <a:gd name="T21" fmla="*/ 58 h 508"/>
                  <a:gd name="T22" fmla="*/ 470 w 662"/>
                  <a:gd name="T23" fmla="*/ 87 h 508"/>
                  <a:gd name="T24" fmla="*/ 445 w 662"/>
                  <a:gd name="T25" fmla="*/ 102 h 508"/>
                  <a:gd name="T26" fmla="*/ 440 w 662"/>
                  <a:gd name="T27" fmla="*/ 89 h 508"/>
                  <a:gd name="T28" fmla="*/ 413 w 662"/>
                  <a:gd name="T29" fmla="*/ 108 h 508"/>
                  <a:gd name="T30" fmla="*/ 415 w 662"/>
                  <a:gd name="T31" fmla="*/ 98 h 508"/>
                  <a:gd name="T32" fmla="*/ 413 w 662"/>
                  <a:gd name="T33" fmla="*/ 96 h 508"/>
                  <a:gd name="T34" fmla="*/ 413 w 662"/>
                  <a:gd name="T35" fmla="*/ 96 h 508"/>
                  <a:gd name="T36" fmla="*/ 411 w 662"/>
                  <a:gd name="T37" fmla="*/ 92 h 508"/>
                  <a:gd name="T38" fmla="*/ 416 w 662"/>
                  <a:gd name="T39" fmla="*/ 79 h 508"/>
                  <a:gd name="T40" fmla="*/ 405 w 662"/>
                  <a:gd name="T41" fmla="*/ 91 h 508"/>
                  <a:gd name="T42" fmla="*/ 413 w 662"/>
                  <a:gd name="T43" fmla="*/ 81 h 508"/>
                  <a:gd name="T44" fmla="*/ 401 w 662"/>
                  <a:gd name="T45" fmla="*/ 92 h 508"/>
                  <a:gd name="T46" fmla="*/ 399 w 662"/>
                  <a:gd name="T47" fmla="*/ 91 h 508"/>
                  <a:gd name="T48" fmla="*/ 386 w 662"/>
                  <a:gd name="T49" fmla="*/ 87 h 508"/>
                  <a:gd name="T50" fmla="*/ 376 w 662"/>
                  <a:gd name="T51" fmla="*/ 89 h 508"/>
                  <a:gd name="T52" fmla="*/ 359 w 662"/>
                  <a:gd name="T53" fmla="*/ 92 h 508"/>
                  <a:gd name="T54" fmla="*/ 351 w 662"/>
                  <a:gd name="T55" fmla="*/ 92 h 508"/>
                  <a:gd name="T56" fmla="*/ 347 w 662"/>
                  <a:gd name="T57" fmla="*/ 96 h 508"/>
                  <a:gd name="T58" fmla="*/ 332 w 662"/>
                  <a:gd name="T59" fmla="*/ 104 h 508"/>
                  <a:gd name="T60" fmla="*/ 566 w 662"/>
                  <a:gd name="T61" fmla="*/ 508 h 508"/>
                  <a:gd name="T62" fmla="*/ 576 w 662"/>
                  <a:gd name="T63" fmla="*/ 454 h 508"/>
                  <a:gd name="T64" fmla="*/ 549 w 662"/>
                  <a:gd name="T65" fmla="*/ 327 h 508"/>
                  <a:gd name="T66" fmla="*/ 534 w 662"/>
                  <a:gd name="T67" fmla="*/ 331 h 508"/>
                  <a:gd name="T68" fmla="*/ 505 w 662"/>
                  <a:gd name="T69" fmla="*/ 339 h 508"/>
                  <a:gd name="T70" fmla="*/ 495 w 662"/>
                  <a:gd name="T71" fmla="*/ 339 h 508"/>
                  <a:gd name="T72" fmla="*/ 434 w 662"/>
                  <a:gd name="T73" fmla="*/ 404 h 508"/>
                  <a:gd name="T74" fmla="*/ 432 w 662"/>
                  <a:gd name="T75" fmla="*/ 404 h 508"/>
                  <a:gd name="T76" fmla="*/ 434 w 662"/>
                  <a:gd name="T77" fmla="*/ 383 h 508"/>
                  <a:gd name="T78" fmla="*/ 447 w 662"/>
                  <a:gd name="T79" fmla="*/ 362 h 508"/>
                  <a:gd name="T80" fmla="*/ 411 w 662"/>
                  <a:gd name="T81" fmla="*/ 389 h 508"/>
                  <a:gd name="T82" fmla="*/ 386 w 662"/>
                  <a:gd name="T83" fmla="*/ 375 h 508"/>
                  <a:gd name="T84" fmla="*/ 338 w 662"/>
                  <a:gd name="T85" fmla="*/ 323 h 508"/>
                  <a:gd name="T86" fmla="*/ 174 w 662"/>
                  <a:gd name="T87" fmla="*/ 264 h 508"/>
                  <a:gd name="T88" fmla="*/ 121 w 662"/>
                  <a:gd name="T89" fmla="*/ 300 h 508"/>
                  <a:gd name="T90" fmla="*/ 303 w 662"/>
                  <a:gd name="T91" fmla="*/ 106 h 508"/>
                  <a:gd name="T92" fmla="*/ 82 w 662"/>
                  <a:gd name="T93" fmla="*/ 315 h 508"/>
                  <a:gd name="T94" fmla="*/ 46 w 662"/>
                  <a:gd name="T95" fmla="*/ 339 h 508"/>
                  <a:gd name="T96" fmla="*/ 0 w 662"/>
                  <a:gd name="T97" fmla="*/ 373 h 508"/>
                  <a:gd name="T98" fmla="*/ 21 w 662"/>
                  <a:gd name="T99" fmla="*/ 350 h 508"/>
                  <a:gd name="T100" fmla="*/ 140 w 662"/>
                  <a:gd name="T101" fmla="*/ 239 h 508"/>
                  <a:gd name="T102" fmla="*/ 92 w 662"/>
                  <a:gd name="T103" fmla="*/ 283 h 508"/>
                  <a:gd name="T104" fmla="*/ 117 w 662"/>
                  <a:gd name="T105" fmla="*/ 254 h 508"/>
                  <a:gd name="T106" fmla="*/ 180 w 662"/>
                  <a:gd name="T107" fmla="*/ 191 h 508"/>
                  <a:gd name="T108" fmla="*/ 215 w 662"/>
                  <a:gd name="T109" fmla="*/ 154 h 508"/>
                  <a:gd name="T110" fmla="*/ 188 w 662"/>
                  <a:gd name="T111" fmla="*/ 181 h 508"/>
                  <a:gd name="T112" fmla="*/ 194 w 662"/>
                  <a:gd name="T113" fmla="*/ 175 h 508"/>
                  <a:gd name="T114" fmla="*/ 192 w 662"/>
                  <a:gd name="T115" fmla="*/ 175 h 508"/>
                  <a:gd name="T116" fmla="*/ 194 w 662"/>
                  <a:gd name="T117" fmla="*/ 173 h 508"/>
                  <a:gd name="T118" fmla="*/ 105 w 662"/>
                  <a:gd name="T119" fmla="*/ 256 h 508"/>
                  <a:gd name="T120" fmla="*/ 86 w 662"/>
                  <a:gd name="T121" fmla="*/ 273 h 508"/>
                  <a:gd name="T122" fmla="*/ 88 w 662"/>
                  <a:gd name="T123" fmla="*/ 267 h 508"/>
                  <a:gd name="T124" fmla="*/ 90 w 662"/>
                  <a:gd name="T125" fmla="*/ 266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2" h="508">
                    <a:moveTo>
                      <a:pt x="601" y="173"/>
                    </a:moveTo>
                    <a:lnTo>
                      <a:pt x="599" y="173"/>
                    </a:lnTo>
                    <a:lnTo>
                      <a:pt x="601" y="173"/>
                    </a:lnTo>
                    <a:close/>
                    <a:moveTo>
                      <a:pt x="632" y="92"/>
                    </a:moveTo>
                    <a:lnTo>
                      <a:pt x="630" y="92"/>
                    </a:lnTo>
                    <a:lnTo>
                      <a:pt x="632" y="92"/>
                    </a:lnTo>
                    <a:close/>
                    <a:moveTo>
                      <a:pt x="632" y="92"/>
                    </a:moveTo>
                    <a:lnTo>
                      <a:pt x="630" y="92"/>
                    </a:lnTo>
                    <a:lnTo>
                      <a:pt x="632" y="92"/>
                    </a:lnTo>
                    <a:close/>
                    <a:moveTo>
                      <a:pt x="499" y="252"/>
                    </a:moveTo>
                    <a:lnTo>
                      <a:pt x="505" y="256"/>
                    </a:lnTo>
                    <a:lnTo>
                      <a:pt x="499" y="252"/>
                    </a:lnTo>
                    <a:close/>
                    <a:moveTo>
                      <a:pt x="624" y="67"/>
                    </a:moveTo>
                    <a:lnTo>
                      <a:pt x="624" y="69"/>
                    </a:lnTo>
                    <a:lnTo>
                      <a:pt x="624" y="67"/>
                    </a:lnTo>
                    <a:close/>
                    <a:moveTo>
                      <a:pt x="662" y="2"/>
                    </a:moveTo>
                    <a:lnTo>
                      <a:pt x="662" y="0"/>
                    </a:lnTo>
                    <a:lnTo>
                      <a:pt x="662" y="2"/>
                    </a:lnTo>
                    <a:close/>
                    <a:moveTo>
                      <a:pt x="599" y="85"/>
                    </a:moveTo>
                    <a:lnTo>
                      <a:pt x="599" y="87"/>
                    </a:lnTo>
                    <a:lnTo>
                      <a:pt x="599" y="85"/>
                    </a:lnTo>
                    <a:close/>
                    <a:moveTo>
                      <a:pt x="599" y="87"/>
                    </a:moveTo>
                    <a:lnTo>
                      <a:pt x="599" y="85"/>
                    </a:lnTo>
                    <a:lnTo>
                      <a:pt x="599" y="87"/>
                    </a:lnTo>
                    <a:close/>
                    <a:moveTo>
                      <a:pt x="603" y="81"/>
                    </a:moveTo>
                    <a:lnTo>
                      <a:pt x="603" y="83"/>
                    </a:lnTo>
                    <a:lnTo>
                      <a:pt x="603" y="81"/>
                    </a:lnTo>
                    <a:close/>
                    <a:moveTo>
                      <a:pt x="603" y="81"/>
                    </a:moveTo>
                    <a:lnTo>
                      <a:pt x="603" y="83"/>
                    </a:lnTo>
                    <a:lnTo>
                      <a:pt x="603" y="81"/>
                    </a:lnTo>
                    <a:close/>
                    <a:moveTo>
                      <a:pt x="603" y="81"/>
                    </a:moveTo>
                    <a:lnTo>
                      <a:pt x="601" y="81"/>
                    </a:lnTo>
                    <a:lnTo>
                      <a:pt x="603" y="81"/>
                    </a:lnTo>
                    <a:close/>
                    <a:moveTo>
                      <a:pt x="614" y="52"/>
                    </a:moveTo>
                    <a:lnTo>
                      <a:pt x="614" y="54"/>
                    </a:lnTo>
                    <a:lnTo>
                      <a:pt x="614" y="52"/>
                    </a:lnTo>
                    <a:close/>
                    <a:moveTo>
                      <a:pt x="484" y="192"/>
                    </a:moveTo>
                    <a:lnTo>
                      <a:pt x="484" y="194"/>
                    </a:lnTo>
                    <a:lnTo>
                      <a:pt x="484" y="192"/>
                    </a:lnTo>
                    <a:close/>
                    <a:moveTo>
                      <a:pt x="464" y="210"/>
                    </a:moveTo>
                    <a:lnTo>
                      <a:pt x="464" y="212"/>
                    </a:lnTo>
                    <a:lnTo>
                      <a:pt x="464" y="210"/>
                    </a:lnTo>
                    <a:close/>
                    <a:moveTo>
                      <a:pt x="612" y="14"/>
                    </a:moveTo>
                    <a:lnTo>
                      <a:pt x="612" y="16"/>
                    </a:lnTo>
                    <a:lnTo>
                      <a:pt x="612" y="14"/>
                    </a:lnTo>
                    <a:close/>
                    <a:moveTo>
                      <a:pt x="612" y="16"/>
                    </a:moveTo>
                    <a:lnTo>
                      <a:pt x="610" y="16"/>
                    </a:lnTo>
                    <a:lnTo>
                      <a:pt x="612" y="16"/>
                    </a:lnTo>
                    <a:close/>
                    <a:moveTo>
                      <a:pt x="614" y="8"/>
                    </a:moveTo>
                    <a:lnTo>
                      <a:pt x="614" y="10"/>
                    </a:lnTo>
                    <a:lnTo>
                      <a:pt x="614" y="8"/>
                    </a:lnTo>
                    <a:close/>
                    <a:moveTo>
                      <a:pt x="610" y="14"/>
                    </a:moveTo>
                    <a:lnTo>
                      <a:pt x="610" y="16"/>
                    </a:lnTo>
                    <a:lnTo>
                      <a:pt x="610" y="14"/>
                    </a:lnTo>
                    <a:close/>
                    <a:moveTo>
                      <a:pt x="610" y="14"/>
                    </a:moveTo>
                    <a:lnTo>
                      <a:pt x="610" y="16"/>
                    </a:lnTo>
                    <a:lnTo>
                      <a:pt x="610" y="14"/>
                    </a:lnTo>
                    <a:close/>
                    <a:moveTo>
                      <a:pt x="551" y="92"/>
                    </a:moveTo>
                    <a:lnTo>
                      <a:pt x="553" y="92"/>
                    </a:lnTo>
                    <a:lnTo>
                      <a:pt x="551" y="92"/>
                    </a:lnTo>
                    <a:close/>
                    <a:moveTo>
                      <a:pt x="551" y="91"/>
                    </a:moveTo>
                    <a:lnTo>
                      <a:pt x="551" y="92"/>
                    </a:lnTo>
                    <a:lnTo>
                      <a:pt x="551" y="91"/>
                    </a:lnTo>
                    <a:close/>
                    <a:moveTo>
                      <a:pt x="605" y="12"/>
                    </a:moveTo>
                    <a:lnTo>
                      <a:pt x="603" y="12"/>
                    </a:lnTo>
                    <a:lnTo>
                      <a:pt x="605" y="12"/>
                    </a:lnTo>
                    <a:close/>
                    <a:moveTo>
                      <a:pt x="536" y="91"/>
                    </a:moveTo>
                    <a:lnTo>
                      <a:pt x="534" y="91"/>
                    </a:lnTo>
                    <a:lnTo>
                      <a:pt x="536" y="91"/>
                    </a:lnTo>
                    <a:close/>
                    <a:moveTo>
                      <a:pt x="536" y="81"/>
                    </a:moveTo>
                    <a:lnTo>
                      <a:pt x="536" y="83"/>
                    </a:lnTo>
                    <a:lnTo>
                      <a:pt x="536" y="81"/>
                    </a:lnTo>
                    <a:close/>
                    <a:moveTo>
                      <a:pt x="528" y="81"/>
                    </a:moveTo>
                    <a:lnTo>
                      <a:pt x="530" y="81"/>
                    </a:lnTo>
                    <a:lnTo>
                      <a:pt x="528" y="81"/>
                    </a:lnTo>
                    <a:close/>
                    <a:moveTo>
                      <a:pt x="513" y="56"/>
                    </a:moveTo>
                    <a:lnTo>
                      <a:pt x="513" y="58"/>
                    </a:lnTo>
                    <a:lnTo>
                      <a:pt x="513" y="56"/>
                    </a:lnTo>
                    <a:close/>
                    <a:moveTo>
                      <a:pt x="488" y="67"/>
                    </a:moveTo>
                    <a:lnTo>
                      <a:pt x="488" y="69"/>
                    </a:lnTo>
                    <a:lnTo>
                      <a:pt x="488" y="67"/>
                    </a:lnTo>
                    <a:close/>
                    <a:moveTo>
                      <a:pt x="470" y="87"/>
                    </a:moveTo>
                    <a:lnTo>
                      <a:pt x="470" y="85"/>
                    </a:lnTo>
                    <a:lnTo>
                      <a:pt x="470" y="87"/>
                    </a:lnTo>
                    <a:close/>
                    <a:moveTo>
                      <a:pt x="476" y="75"/>
                    </a:moveTo>
                    <a:lnTo>
                      <a:pt x="476" y="73"/>
                    </a:lnTo>
                    <a:lnTo>
                      <a:pt x="476" y="75"/>
                    </a:lnTo>
                    <a:close/>
                    <a:moveTo>
                      <a:pt x="472" y="69"/>
                    </a:moveTo>
                    <a:lnTo>
                      <a:pt x="472" y="67"/>
                    </a:lnTo>
                    <a:lnTo>
                      <a:pt x="472" y="69"/>
                    </a:lnTo>
                    <a:close/>
                    <a:moveTo>
                      <a:pt x="445" y="102"/>
                    </a:moveTo>
                    <a:lnTo>
                      <a:pt x="443" y="102"/>
                    </a:lnTo>
                    <a:lnTo>
                      <a:pt x="445" y="102"/>
                    </a:lnTo>
                    <a:close/>
                    <a:moveTo>
                      <a:pt x="403" y="139"/>
                    </a:moveTo>
                    <a:lnTo>
                      <a:pt x="401" y="139"/>
                    </a:lnTo>
                    <a:lnTo>
                      <a:pt x="403" y="139"/>
                    </a:lnTo>
                    <a:close/>
                    <a:moveTo>
                      <a:pt x="438" y="89"/>
                    </a:moveTo>
                    <a:lnTo>
                      <a:pt x="440" y="89"/>
                    </a:lnTo>
                    <a:lnTo>
                      <a:pt x="438" y="89"/>
                    </a:lnTo>
                    <a:close/>
                    <a:moveTo>
                      <a:pt x="436" y="91"/>
                    </a:moveTo>
                    <a:lnTo>
                      <a:pt x="436" y="92"/>
                    </a:lnTo>
                    <a:lnTo>
                      <a:pt x="436" y="91"/>
                    </a:lnTo>
                    <a:close/>
                    <a:moveTo>
                      <a:pt x="413" y="108"/>
                    </a:moveTo>
                    <a:lnTo>
                      <a:pt x="413" y="110"/>
                    </a:lnTo>
                    <a:lnTo>
                      <a:pt x="413" y="108"/>
                    </a:lnTo>
                    <a:close/>
                    <a:moveTo>
                      <a:pt x="413" y="100"/>
                    </a:moveTo>
                    <a:lnTo>
                      <a:pt x="413" y="102"/>
                    </a:lnTo>
                    <a:lnTo>
                      <a:pt x="413" y="100"/>
                    </a:lnTo>
                    <a:close/>
                    <a:moveTo>
                      <a:pt x="413" y="102"/>
                    </a:moveTo>
                    <a:lnTo>
                      <a:pt x="413" y="100"/>
                    </a:lnTo>
                    <a:lnTo>
                      <a:pt x="413" y="102"/>
                    </a:lnTo>
                    <a:close/>
                    <a:moveTo>
                      <a:pt x="415" y="98"/>
                    </a:moveTo>
                    <a:lnTo>
                      <a:pt x="413" y="98"/>
                    </a:lnTo>
                    <a:lnTo>
                      <a:pt x="415" y="98"/>
                    </a:lnTo>
                    <a:close/>
                    <a:moveTo>
                      <a:pt x="415" y="96"/>
                    </a:moveTo>
                    <a:lnTo>
                      <a:pt x="415" y="98"/>
                    </a:lnTo>
                    <a:lnTo>
                      <a:pt x="415" y="96"/>
                    </a:lnTo>
                    <a:close/>
                    <a:moveTo>
                      <a:pt x="415" y="96"/>
                    </a:moveTo>
                    <a:lnTo>
                      <a:pt x="413" y="96"/>
                    </a:lnTo>
                    <a:lnTo>
                      <a:pt x="415" y="96"/>
                    </a:lnTo>
                    <a:close/>
                    <a:moveTo>
                      <a:pt x="413" y="96"/>
                    </a:moveTo>
                    <a:lnTo>
                      <a:pt x="415" y="96"/>
                    </a:lnTo>
                    <a:lnTo>
                      <a:pt x="413" y="96"/>
                    </a:lnTo>
                    <a:lnTo>
                      <a:pt x="415" y="96"/>
                    </a:lnTo>
                    <a:lnTo>
                      <a:pt x="413" y="96"/>
                    </a:lnTo>
                    <a:close/>
                    <a:moveTo>
                      <a:pt x="413" y="96"/>
                    </a:moveTo>
                    <a:lnTo>
                      <a:pt x="413" y="98"/>
                    </a:lnTo>
                    <a:lnTo>
                      <a:pt x="413" y="96"/>
                    </a:lnTo>
                    <a:close/>
                    <a:moveTo>
                      <a:pt x="411" y="94"/>
                    </a:moveTo>
                    <a:lnTo>
                      <a:pt x="413" y="94"/>
                    </a:lnTo>
                    <a:lnTo>
                      <a:pt x="411" y="94"/>
                    </a:lnTo>
                    <a:close/>
                    <a:moveTo>
                      <a:pt x="411" y="94"/>
                    </a:moveTo>
                    <a:lnTo>
                      <a:pt x="411" y="92"/>
                    </a:lnTo>
                    <a:lnTo>
                      <a:pt x="409" y="92"/>
                    </a:lnTo>
                    <a:lnTo>
                      <a:pt x="411" y="92"/>
                    </a:lnTo>
                    <a:lnTo>
                      <a:pt x="411" y="94"/>
                    </a:lnTo>
                    <a:close/>
                    <a:moveTo>
                      <a:pt x="407" y="94"/>
                    </a:moveTo>
                    <a:lnTo>
                      <a:pt x="405" y="94"/>
                    </a:lnTo>
                    <a:lnTo>
                      <a:pt x="407" y="94"/>
                    </a:lnTo>
                    <a:close/>
                    <a:moveTo>
                      <a:pt x="416" y="79"/>
                    </a:moveTo>
                    <a:lnTo>
                      <a:pt x="418" y="79"/>
                    </a:lnTo>
                    <a:lnTo>
                      <a:pt x="416" y="79"/>
                    </a:lnTo>
                    <a:close/>
                    <a:moveTo>
                      <a:pt x="405" y="94"/>
                    </a:moveTo>
                    <a:lnTo>
                      <a:pt x="403" y="94"/>
                    </a:lnTo>
                    <a:lnTo>
                      <a:pt x="405" y="94"/>
                    </a:lnTo>
                    <a:close/>
                    <a:moveTo>
                      <a:pt x="407" y="91"/>
                    </a:moveTo>
                    <a:lnTo>
                      <a:pt x="405" y="91"/>
                    </a:lnTo>
                    <a:lnTo>
                      <a:pt x="407" y="91"/>
                    </a:lnTo>
                    <a:close/>
                    <a:moveTo>
                      <a:pt x="413" y="81"/>
                    </a:moveTo>
                    <a:lnTo>
                      <a:pt x="411" y="81"/>
                    </a:lnTo>
                    <a:lnTo>
                      <a:pt x="413" y="81"/>
                    </a:lnTo>
                    <a:close/>
                    <a:moveTo>
                      <a:pt x="413" y="81"/>
                    </a:moveTo>
                    <a:lnTo>
                      <a:pt x="411" y="81"/>
                    </a:lnTo>
                    <a:lnTo>
                      <a:pt x="413" y="81"/>
                    </a:lnTo>
                    <a:close/>
                    <a:moveTo>
                      <a:pt x="403" y="92"/>
                    </a:moveTo>
                    <a:lnTo>
                      <a:pt x="401" y="92"/>
                    </a:lnTo>
                    <a:lnTo>
                      <a:pt x="403" y="92"/>
                    </a:lnTo>
                    <a:close/>
                    <a:moveTo>
                      <a:pt x="409" y="81"/>
                    </a:moveTo>
                    <a:lnTo>
                      <a:pt x="411" y="81"/>
                    </a:lnTo>
                    <a:lnTo>
                      <a:pt x="409" y="81"/>
                    </a:lnTo>
                    <a:close/>
                    <a:moveTo>
                      <a:pt x="401" y="92"/>
                    </a:moveTo>
                    <a:lnTo>
                      <a:pt x="399" y="92"/>
                    </a:lnTo>
                    <a:lnTo>
                      <a:pt x="401" y="92"/>
                    </a:lnTo>
                    <a:close/>
                    <a:moveTo>
                      <a:pt x="401" y="91"/>
                    </a:moveTo>
                    <a:lnTo>
                      <a:pt x="401" y="92"/>
                    </a:lnTo>
                    <a:lnTo>
                      <a:pt x="399" y="91"/>
                    </a:lnTo>
                    <a:lnTo>
                      <a:pt x="401" y="91"/>
                    </a:lnTo>
                    <a:close/>
                    <a:moveTo>
                      <a:pt x="399" y="91"/>
                    </a:moveTo>
                    <a:lnTo>
                      <a:pt x="401" y="91"/>
                    </a:lnTo>
                    <a:lnTo>
                      <a:pt x="399" y="91"/>
                    </a:lnTo>
                    <a:close/>
                    <a:moveTo>
                      <a:pt x="399" y="91"/>
                    </a:moveTo>
                    <a:lnTo>
                      <a:pt x="401" y="91"/>
                    </a:lnTo>
                    <a:lnTo>
                      <a:pt x="399" y="91"/>
                    </a:lnTo>
                    <a:close/>
                    <a:moveTo>
                      <a:pt x="386" y="89"/>
                    </a:moveTo>
                    <a:lnTo>
                      <a:pt x="386" y="87"/>
                    </a:lnTo>
                    <a:lnTo>
                      <a:pt x="386" y="89"/>
                    </a:lnTo>
                    <a:close/>
                    <a:moveTo>
                      <a:pt x="378" y="91"/>
                    </a:moveTo>
                    <a:lnTo>
                      <a:pt x="376" y="91"/>
                    </a:lnTo>
                    <a:lnTo>
                      <a:pt x="378" y="91"/>
                    </a:lnTo>
                    <a:close/>
                    <a:moveTo>
                      <a:pt x="376" y="89"/>
                    </a:moveTo>
                    <a:lnTo>
                      <a:pt x="376" y="91"/>
                    </a:lnTo>
                    <a:lnTo>
                      <a:pt x="376" y="89"/>
                    </a:lnTo>
                    <a:close/>
                    <a:moveTo>
                      <a:pt x="372" y="91"/>
                    </a:moveTo>
                    <a:lnTo>
                      <a:pt x="370" y="91"/>
                    </a:lnTo>
                    <a:lnTo>
                      <a:pt x="372" y="91"/>
                    </a:lnTo>
                    <a:close/>
                    <a:moveTo>
                      <a:pt x="370" y="92"/>
                    </a:moveTo>
                    <a:lnTo>
                      <a:pt x="370" y="91"/>
                    </a:lnTo>
                    <a:lnTo>
                      <a:pt x="370" y="92"/>
                    </a:lnTo>
                    <a:close/>
                    <a:moveTo>
                      <a:pt x="359" y="92"/>
                    </a:moveTo>
                    <a:lnTo>
                      <a:pt x="357" y="92"/>
                    </a:lnTo>
                    <a:lnTo>
                      <a:pt x="359" y="92"/>
                    </a:lnTo>
                    <a:close/>
                    <a:moveTo>
                      <a:pt x="353" y="92"/>
                    </a:moveTo>
                    <a:lnTo>
                      <a:pt x="351" y="92"/>
                    </a:lnTo>
                    <a:lnTo>
                      <a:pt x="353" y="92"/>
                    </a:lnTo>
                    <a:close/>
                    <a:moveTo>
                      <a:pt x="351" y="94"/>
                    </a:moveTo>
                    <a:lnTo>
                      <a:pt x="351" y="92"/>
                    </a:lnTo>
                    <a:lnTo>
                      <a:pt x="351" y="94"/>
                    </a:lnTo>
                    <a:close/>
                    <a:moveTo>
                      <a:pt x="345" y="96"/>
                    </a:moveTo>
                    <a:lnTo>
                      <a:pt x="347" y="96"/>
                    </a:lnTo>
                    <a:lnTo>
                      <a:pt x="345" y="96"/>
                    </a:lnTo>
                    <a:close/>
                    <a:moveTo>
                      <a:pt x="347" y="96"/>
                    </a:moveTo>
                    <a:lnTo>
                      <a:pt x="345" y="96"/>
                    </a:lnTo>
                    <a:lnTo>
                      <a:pt x="347" y="96"/>
                    </a:lnTo>
                    <a:close/>
                    <a:moveTo>
                      <a:pt x="334" y="102"/>
                    </a:moveTo>
                    <a:lnTo>
                      <a:pt x="334" y="104"/>
                    </a:lnTo>
                    <a:lnTo>
                      <a:pt x="334" y="102"/>
                    </a:lnTo>
                    <a:close/>
                    <a:moveTo>
                      <a:pt x="334" y="102"/>
                    </a:moveTo>
                    <a:lnTo>
                      <a:pt x="334" y="104"/>
                    </a:lnTo>
                    <a:lnTo>
                      <a:pt x="334" y="102"/>
                    </a:lnTo>
                    <a:close/>
                    <a:moveTo>
                      <a:pt x="332" y="104"/>
                    </a:moveTo>
                    <a:lnTo>
                      <a:pt x="334" y="104"/>
                    </a:lnTo>
                    <a:lnTo>
                      <a:pt x="332" y="104"/>
                    </a:lnTo>
                    <a:close/>
                    <a:moveTo>
                      <a:pt x="330" y="104"/>
                    </a:moveTo>
                    <a:lnTo>
                      <a:pt x="332" y="104"/>
                    </a:lnTo>
                    <a:lnTo>
                      <a:pt x="330" y="104"/>
                    </a:lnTo>
                    <a:close/>
                    <a:moveTo>
                      <a:pt x="564" y="508"/>
                    </a:moveTo>
                    <a:lnTo>
                      <a:pt x="566" y="508"/>
                    </a:lnTo>
                    <a:lnTo>
                      <a:pt x="564" y="508"/>
                    </a:lnTo>
                    <a:close/>
                    <a:moveTo>
                      <a:pt x="564" y="504"/>
                    </a:moveTo>
                    <a:lnTo>
                      <a:pt x="564" y="506"/>
                    </a:lnTo>
                    <a:lnTo>
                      <a:pt x="564" y="504"/>
                    </a:lnTo>
                    <a:close/>
                    <a:moveTo>
                      <a:pt x="576" y="454"/>
                    </a:moveTo>
                    <a:lnTo>
                      <a:pt x="576" y="456"/>
                    </a:lnTo>
                    <a:lnTo>
                      <a:pt x="576" y="454"/>
                    </a:lnTo>
                    <a:close/>
                    <a:moveTo>
                      <a:pt x="576" y="440"/>
                    </a:moveTo>
                    <a:lnTo>
                      <a:pt x="574" y="440"/>
                    </a:lnTo>
                    <a:lnTo>
                      <a:pt x="576" y="440"/>
                    </a:lnTo>
                    <a:close/>
                    <a:moveTo>
                      <a:pt x="576" y="440"/>
                    </a:moveTo>
                    <a:lnTo>
                      <a:pt x="574" y="440"/>
                    </a:lnTo>
                    <a:lnTo>
                      <a:pt x="576" y="440"/>
                    </a:lnTo>
                    <a:close/>
                    <a:moveTo>
                      <a:pt x="549" y="327"/>
                    </a:moveTo>
                    <a:lnTo>
                      <a:pt x="547" y="327"/>
                    </a:lnTo>
                    <a:lnTo>
                      <a:pt x="549" y="327"/>
                    </a:lnTo>
                    <a:close/>
                    <a:moveTo>
                      <a:pt x="532" y="346"/>
                    </a:moveTo>
                    <a:lnTo>
                      <a:pt x="532" y="344"/>
                    </a:lnTo>
                    <a:lnTo>
                      <a:pt x="532" y="346"/>
                    </a:lnTo>
                    <a:close/>
                    <a:moveTo>
                      <a:pt x="534" y="333"/>
                    </a:moveTo>
                    <a:lnTo>
                      <a:pt x="534" y="331"/>
                    </a:lnTo>
                    <a:lnTo>
                      <a:pt x="534" y="333"/>
                    </a:lnTo>
                    <a:close/>
                    <a:moveTo>
                      <a:pt x="505" y="339"/>
                    </a:moveTo>
                    <a:lnTo>
                      <a:pt x="503" y="339"/>
                    </a:lnTo>
                    <a:lnTo>
                      <a:pt x="505" y="339"/>
                    </a:lnTo>
                    <a:close/>
                    <a:moveTo>
                      <a:pt x="505" y="339"/>
                    </a:moveTo>
                    <a:lnTo>
                      <a:pt x="503" y="339"/>
                    </a:lnTo>
                    <a:lnTo>
                      <a:pt x="505" y="339"/>
                    </a:lnTo>
                    <a:close/>
                    <a:moveTo>
                      <a:pt x="472" y="369"/>
                    </a:moveTo>
                    <a:lnTo>
                      <a:pt x="470" y="369"/>
                    </a:lnTo>
                    <a:lnTo>
                      <a:pt x="472" y="369"/>
                    </a:lnTo>
                    <a:close/>
                    <a:moveTo>
                      <a:pt x="438" y="402"/>
                    </a:moveTo>
                    <a:lnTo>
                      <a:pt x="438" y="404"/>
                    </a:lnTo>
                    <a:lnTo>
                      <a:pt x="438" y="402"/>
                    </a:lnTo>
                    <a:close/>
                    <a:moveTo>
                      <a:pt x="495" y="339"/>
                    </a:moveTo>
                    <a:lnTo>
                      <a:pt x="493" y="339"/>
                    </a:lnTo>
                    <a:lnTo>
                      <a:pt x="495" y="339"/>
                    </a:lnTo>
                    <a:close/>
                    <a:moveTo>
                      <a:pt x="434" y="402"/>
                    </a:moveTo>
                    <a:lnTo>
                      <a:pt x="434" y="404"/>
                    </a:lnTo>
                    <a:lnTo>
                      <a:pt x="434" y="402"/>
                    </a:lnTo>
                    <a:close/>
                    <a:moveTo>
                      <a:pt x="434" y="402"/>
                    </a:moveTo>
                    <a:lnTo>
                      <a:pt x="434" y="404"/>
                    </a:lnTo>
                    <a:lnTo>
                      <a:pt x="434" y="402"/>
                    </a:lnTo>
                    <a:close/>
                    <a:moveTo>
                      <a:pt x="432" y="402"/>
                    </a:moveTo>
                    <a:lnTo>
                      <a:pt x="434" y="404"/>
                    </a:lnTo>
                    <a:lnTo>
                      <a:pt x="432" y="404"/>
                    </a:lnTo>
                    <a:lnTo>
                      <a:pt x="432" y="402"/>
                    </a:lnTo>
                    <a:close/>
                    <a:moveTo>
                      <a:pt x="432" y="402"/>
                    </a:moveTo>
                    <a:lnTo>
                      <a:pt x="432" y="404"/>
                    </a:lnTo>
                    <a:lnTo>
                      <a:pt x="432" y="402"/>
                    </a:lnTo>
                    <a:close/>
                    <a:moveTo>
                      <a:pt x="466" y="362"/>
                    </a:moveTo>
                    <a:lnTo>
                      <a:pt x="466" y="364"/>
                    </a:lnTo>
                    <a:lnTo>
                      <a:pt x="466" y="362"/>
                    </a:lnTo>
                    <a:close/>
                    <a:moveTo>
                      <a:pt x="434" y="383"/>
                    </a:moveTo>
                    <a:lnTo>
                      <a:pt x="434" y="385"/>
                    </a:lnTo>
                    <a:lnTo>
                      <a:pt x="434" y="383"/>
                    </a:lnTo>
                    <a:close/>
                    <a:moveTo>
                      <a:pt x="434" y="383"/>
                    </a:moveTo>
                    <a:lnTo>
                      <a:pt x="434" y="385"/>
                    </a:lnTo>
                    <a:lnTo>
                      <a:pt x="434" y="383"/>
                    </a:lnTo>
                    <a:close/>
                    <a:moveTo>
                      <a:pt x="438" y="375"/>
                    </a:moveTo>
                    <a:lnTo>
                      <a:pt x="438" y="373"/>
                    </a:lnTo>
                    <a:lnTo>
                      <a:pt x="438" y="375"/>
                    </a:lnTo>
                    <a:close/>
                    <a:moveTo>
                      <a:pt x="447" y="362"/>
                    </a:moveTo>
                    <a:lnTo>
                      <a:pt x="445" y="362"/>
                    </a:lnTo>
                    <a:lnTo>
                      <a:pt x="447" y="362"/>
                    </a:lnTo>
                    <a:close/>
                    <a:moveTo>
                      <a:pt x="449" y="352"/>
                    </a:moveTo>
                    <a:lnTo>
                      <a:pt x="447" y="352"/>
                    </a:lnTo>
                    <a:lnTo>
                      <a:pt x="449" y="352"/>
                    </a:lnTo>
                    <a:close/>
                    <a:moveTo>
                      <a:pt x="411" y="387"/>
                    </a:moveTo>
                    <a:lnTo>
                      <a:pt x="411" y="389"/>
                    </a:lnTo>
                    <a:lnTo>
                      <a:pt x="411" y="387"/>
                    </a:lnTo>
                    <a:close/>
                    <a:moveTo>
                      <a:pt x="401" y="389"/>
                    </a:moveTo>
                    <a:lnTo>
                      <a:pt x="399" y="389"/>
                    </a:lnTo>
                    <a:lnTo>
                      <a:pt x="401" y="389"/>
                    </a:lnTo>
                    <a:close/>
                    <a:moveTo>
                      <a:pt x="386" y="375"/>
                    </a:moveTo>
                    <a:lnTo>
                      <a:pt x="384" y="375"/>
                    </a:lnTo>
                    <a:lnTo>
                      <a:pt x="386" y="375"/>
                    </a:lnTo>
                    <a:close/>
                    <a:moveTo>
                      <a:pt x="380" y="375"/>
                    </a:moveTo>
                    <a:lnTo>
                      <a:pt x="382" y="375"/>
                    </a:lnTo>
                    <a:lnTo>
                      <a:pt x="380" y="375"/>
                    </a:lnTo>
                    <a:close/>
                    <a:moveTo>
                      <a:pt x="495" y="248"/>
                    </a:moveTo>
                    <a:lnTo>
                      <a:pt x="495" y="250"/>
                    </a:lnTo>
                    <a:lnTo>
                      <a:pt x="495" y="248"/>
                    </a:lnTo>
                    <a:close/>
                    <a:moveTo>
                      <a:pt x="338" y="323"/>
                    </a:moveTo>
                    <a:lnTo>
                      <a:pt x="338" y="321"/>
                    </a:lnTo>
                    <a:lnTo>
                      <a:pt x="338" y="323"/>
                    </a:lnTo>
                    <a:close/>
                    <a:moveTo>
                      <a:pt x="174" y="281"/>
                    </a:moveTo>
                    <a:lnTo>
                      <a:pt x="172" y="281"/>
                    </a:lnTo>
                    <a:lnTo>
                      <a:pt x="174" y="281"/>
                    </a:lnTo>
                    <a:close/>
                    <a:moveTo>
                      <a:pt x="176" y="264"/>
                    </a:moveTo>
                    <a:lnTo>
                      <a:pt x="174" y="264"/>
                    </a:lnTo>
                    <a:lnTo>
                      <a:pt x="176" y="264"/>
                    </a:lnTo>
                    <a:close/>
                    <a:moveTo>
                      <a:pt x="92" y="329"/>
                    </a:moveTo>
                    <a:lnTo>
                      <a:pt x="90" y="329"/>
                    </a:lnTo>
                    <a:lnTo>
                      <a:pt x="90" y="327"/>
                    </a:lnTo>
                    <a:lnTo>
                      <a:pt x="92" y="329"/>
                    </a:lnTo>
                    <a:close/>
                    <a:moveTo>
                      <a:pt x="121" y="298"/>
                    </a:moveTo>
                    <a:lnTo>
                      <a:pt x="121" y="300"/>
                    </a:lnTo>
                    <a:lnTo>
                      <a:pt x="121" y="298"/>
                    </a:lnTo>
                    <a:close/>
                    <a:moveTo>
                      <a:pt x="121" y="298"/>
                    </a:moveTo>
                    <a:lnTo>
                      <a:pt x="121" y="300"/>
                    </a:lnTo>
                    <a:lnTo>
                      <a:pt x="121" y="298"/>
                    </a:lnTo>
                    <a:close/>
                    <a:moveTo>
                      <a:pt x="305" y="106"/>
                    </a:moveTo>
                    <a:lnTo>
                      <a:pt x="303" y="108"/>
                    </a:lnTo>
                    <a:lnTo>
                      <a:pt x="303" y="106"/>
                    </a:lnTo>
                    <a:lnTo>
                      <a:pt x="305" y="106"/>
                    </a:lnTo>
                    <a:close/>
                    <a:moveTo>
                      <a:pt x="280" y="117"/>
                    </a:moveTo>
                    <a:lnTo>
                      <a:pt x="280" y="119"/>
                    </a:lnTo>
                    <a:lnTo>
                      <a:pt x="280" y="117"/>
                    </a:lnTo>
                    <a:close/>
                    <a:moveTo>
                      <a:pt x="82" y="315"/>
                    </a:moveTo>
                    <a:lnTo>
                      <a:pt x="80" y="315"/>
                    </a:lnTo>
                    <a:lnTo>
                      <a:pt x="82" y="315"/>
                    </a:lnTo>
                    <a:close/>
                    <a:moveTo>
                      <a:pt x="82" y="315"/>
                    </a:moveTo>
                    <a:lnTo>
                      <a:pt x="80" y="315"/>
                    </a:lnTo>
                    <a:lnTo>
                      <a:pt x="82" y="315"/>
                    </a:lnTo>
                    <a:close/>
                    <a:moveTo>
                      <a:pt x="121" y="271"/>
                    </a:moveTo>
                    <a:lnTo>
                      <a:pt x="121" y="273"/>
                    </a:lnTo>
                    <a:lnTo>
                      <a:pt x="121" y="271"/>
                    </a:lnTo>
                    <a:close/>
                    <a:moveTo>
                      <a:pt x="46" y="339"/>
                    </a:moveTo>
                    <a:lnTo>
                      <a:pt x="48" y="339"/>
                    </a:lnTo>
                    <a:lnTo>
                      <a:pt x="46" y="339"/>
                    </a:lnTo>
                    <a:close/>
                    <a:moveTo>
                      <a:pt x="57" y="329"/>
                    </a:moveTo>
                    <a:lnTo>
                      <a:pt x="55" y="329"/>
                    </a:lnTo>
                    <a:lnTo>
                      <a:pt x="57" y="329"/>
                    </a:lnTo>
                    <a:close/>
                    <a:moveTo>
                      <a:pt x="0" y="371"/>
                    </a:moveTo>
                    <a:lnTo>
                      <a:pt x="0" y="373"/>
                    </a:lnTo>
                    <a:lnTo>
                      <a:pt x="0" y="371"/>
                    </a:lnTo>
                    <a:close/>
                    <a:moveTo>
                      <a:pt x="0" y="369"/>
                    </a:moveTo>
                    <a:lnTo>
                      <a:pt x="1" y="369"/>
                    </a:lnTo>
                    <a:lnTo>
                      <a:pt x="0" y="369"/>
                    </a:lnTo>
                    <a:close/>
                    <a:moveTo>
                      <a:pt x="21" y="350"/>
                    </a:moveTo>
                    <a:lnTo>
                      <a:pt x="21" y="352"/>
                    </a:lnTo>
                    <a:lnTo>
                      <a:pt x="21" y="350"/>
                    </a:lnTo>
                    <a:close/>
                    <a:moveTo>
                      <a:pt x="98" y="281"/>
                    </a:moveTo>
                    <a:lnTo>
                      <a:pt x="99" y="281"/>
                    </a:lnTo>
                    <a:lnTo>
                      <a:pt x="98" y="281"/>
                    </a:lnTo>
                    <a:close/>
                    <a:moveTo>
                      <a:pt x="140" y="239"/>
                    </a:moveTo>
                    <a:lnTo>
                      <a:pt x="138" y="239"/>
                    </a:lnTo>
                    <a:lnTo>
                      <a:pt x="140" y="239"/>
                    </a:lnTo>
                    <a:close/>
                    <a:moveTo>
                      <a:pt x="140" y="239"/>
                    </a:moveTo>
                    <a:lnTo>
                      <a:pt x="138" y="239"/>
                    </a:lnTo>
                    <a:lnTo>
                      <a:pt x="140" y="239"/>
                    </a:lnTo>
                    <a:close/>
                    <a:moveTo>
                      <a:pt x="132" y="242"/>
                    </a:moveTo>
                    <a:lnTo>
                      <a:pt x="134" y="242"/>
                    </a:lnTo>
                    <a:lnTo>
                      <a:pt x="132" y="242"/>
                    </a:lnTo>
                    <a:close/>
                    <a:moveTo>
                      <a:pt x="90" y="283"/>
                    </a:moveTo>
                    <a:lnTo>
                      <a:pt x="92" y="283"/>
                    </a:lnTo>
                    <a:lnTo>
                      <a:pt x="90" y="283"/>
                    </a:lnTo>
                    <a:close/>
                    <a:moveTo>
                      <a:pt x="90" y="285"/>
                    </a:moveTo>
                    <a:lnTo>
                      <a:pt x="88" y="285"/>
                    </a:lnTo>
                    <a:lnTo>
                      <a:pt x="90" y="285"/>
                    </a:lnTo>
                    <a:close/>
                    <a:moveTo>
                      <a:pt x="117" y="254"/>
                    </a:moveTo>
                    <a:lnTo>
                      <a:pt x="115" y="254"/>
                    </a:lnTo>
                    <a:lnTo>
                      <a:pt x="117" y="254"/>
                    </a:lnTo>
                    <a:close/>
                    <a:moveTo>
                      <a:pt x="190" y="179"/>
                    </a:moveTo>
                    <a:lnTo>
                      <a:pt x="190" y="181"/>
                    </a:lnTo>
                    <a:lnTo>
                      <a:pt x="190" y="179"/>
                    </a:lnTo>
                    <a:close/>
                    <a:moveTo>
                      <a:pt x="117" y="254"/>
                    </a:moveTo>
                    <a:lnTo>
                      <a:pt x="115" y="254"/>
                    </a:lnTo>
                    <a:lnTo>
                      <a:pt x="117" y="254"/>
                    </a:lnTo>
                    <a:close/>
                    <a:moveTo>
                      <a:pt x="180" y="191"/>
                    </a:moveTo>
                    <a:lnTo>
                      <a:pt x="178" y="191"/>
                    </a:lnTo>
                    <a:lnTo>
                      <a:pt x="180" y="191"/>
                    </a:lnTo>
                    <a:close/>
                    <a:moveTo>
                      <a:pt x="224" y="144"/>
                    </a:moveTo>
                    <a:lnTo>
                      <a:pt x="222" y="144"/>
                    </a:lnTo>
                    <a:lnTo>
                      <a:pt x="224" y="144"/>
                    </a:lnTo>
                    <a:close/>
                    <a:moveTo>
                      <a:pt x="215" y="152"/>
                    </a:moveTo>
                    <a:lnTo>
                      <a:pt x="215" y="154"/>
                    </a:lnTo>
                    <a:lnTo>
                      <a:pt x="215" y="152"/>
                    </a:lnTo>
                    <a:close/>
                    <a:moveTo>
                      <a:pt x="215" y="152"/>
                    </a:moveTo>
                    <a:lnTo>
                      <a:pt x="217" y="152"/>
                    </a:lnTo>
                    <a:lnTo>
                      <a:pt x="215" y="152"/>
                    </a:lnTo>
                    <a:close/>
                    <a:moveTo>
                      <a:pt x="188" y="181"/>
                    </a:moveTo>
                    <a:lnTo>
                      <a:pt x="188" y="183"/>
                    </a:lnTo>
                    <a:lnTo>
                      <a:pt x="188" y="181"/>
                    </a:lnTo>
                    <a:close/>
                    <a:moveTo>
                      <a:pt x="217" y="150"/>
                    </a:moveTo>
                    <a:lnTo>
                      <a:pt x="217" y="152"/>
                    </a:lnTo>
                    <a:lnTo>
                      <a:pt x="217" y="150"/>
                    </a:lnTo>
                    <a:close/>
                    <a:moveTo>
                      <a:pt x="196" y="171"/>
                    </a:moveTo>
                    <a:lnTo>
                      <a:pt x="196" y="173"/>
                    </a:lnTo>
                    <a:lnTo>
                      <a:pt x="196" y="171"/>
                    </a:lnTo>
                    <a:close/>
                    <a:moveTo>
                      <a:pt x="194" y="175"/>
                    </a:moveTo>
                    <a:lnTo>
                      <a:pt x="192" y="175"/>
                    </a:lnTo>
                    <a:lnTo>
                      <a:pt x="194" y="175"/>
                    </a:lnTo>
                    <a:close/>
                    <a:moveTo>
                      <a:pt x="192" y="175"/>
                    </a:moveTo>
                    <a:lnTo>
                      <a:pt x="190" y="175"/>
                    </a:lnTo>
                    <a:lnTo>
                      <a:pt x="192" y="175"/>
                    </a:lnTo>
                    <a:close/>
                    <a:moveTo>
                      <a:pt x="190" y="175"/>
                    </a:moveTo>
                    <a:lnTo>
                      <a:pt x="192" y="175"/>
                    </a:lnTo>
                    <a:lnTo>
                      <a:pt x="190" y="175"/>
                    </a:lnTo>
                    <a:close/>
                    <a:moveTo>
                      <a:pt x="111" y="256"/>
                    </a:moveTo>
                    <a:lnTo>
                      <a:pt x="109" y="256"/>
                    </a:lnTo>
                    <a:lnTo>
                      <a:pt x="111" y="256"/>
                    </a:lnTo>
                    <a:close/>
                    <a:moveTo>
                      <a:pt x="194" y="173"/>
                    </a:moveTo>
                    <a:lnTo>
                      <a:pt x="192" y="173"/>
                    </a:lnTo>
                    <a:lnTo>
                      <a:pt x="194" y="173"/>
                    </a:lnTo>
                    <a:close/>
                    <a:moveTo>
                      <a:pt x="190" y="175"/>
                    </a:moveTo>
                    <a:lnTo>
                      <a:pt x="190" y="177"/>
                    </a:lnTo>
                    <a:lnTo>
                      <a:pt x="190" y="175"/>
                    </a:lnTo>
                    <a:close/>
                    <a:moveTo>
                      <a:pt x="105" y="258"/>
                    </a:moveTo>
                    <a:lnTo>
                      <a:pt x="103" y="258"/>
                    </a:lnTo>
                    <a:lnTo>
                      <a:pt x="105" y="258"/>
                    </a:lnTo>
                    <a:close/>
                    <a:moveTo>
                      <a:pt x="105" y="256"/>
                    </a:moveTo>
                    <a:lnTo>
                      <a:pt x="105" y="258"/>
                    </a:lnTo>
                    <a:lnTo>
                      <a:pt x="105" y="256"/>
                    </a:lnTo>
                    <a:close/>
                    <a:moveTo>
                      <a:pt x="103" y="256"/>
                    </a:moveTo>
                    <a:lnTo>
                      <a:pt x="105" y="256"/>
                    </a:lnTo>
                    <a:lnTo>
                      <a:pt x="103" y="256"/>
                    </a:lnTo>
                    <a:close/>
                    <a:moveTo>
                      <a:pt x="86" y="271"/>
                    </a:moveTo>
                    <a:lnTo>
                      <a:pt x="86" y="273"/>
                    </a:lnTo>
                    <a:lnTo>
                      <a:pt x="86" y="271"/>
                    </a:lnTo>
                    <a:close/>
                    <a:moveTo>
                      <a:pt x="101" y="258"/>
                    </a:moveTo>
                    <a:lnTo>
                      <a:pt x="103" y="258"/>
                    </a:lnTo>
                    <a:lnTo>
                      <a:pt x="101" y="258"/>
                    </a:lnTo>
                    <a:close/>
                    <a:moveTo>
                      <a:pt x="88" y="267"/>
                    </a:moveTo>
                    <a:lnTo>
                      <a:pt x="88" y="269"/>
                    </a:lnTo>
                    <a:lnTo>
                      <a:pt x="88" y="267"/>
                    </a:lnTo>
                    <a:close/>
                    <a:moveTo>
                      <a:pt x="96" y="262"/>
                    </a:moveTo>
                    <a:lnTo>
                      <a:pt x="96" y="260"/>
                    </a:lnTo>
                    <a:lnTo>
                      <a:pt x="96" y="262"/>
                    </a:lnTo>
                    <a:close/>
                    <a:moveTo>
                      <a:pt x="96" y="262"/>
                    </a:moveTo>
                    <a:lnTo>
                      <a:pt x="94" y="262"/>
                    </a:lnTo>
                    <a:lnTo>
                      <a:pt x="96" y="262"/>
                    </a:lnTo>
                    <a:close/>
                    <a:moveTo>
                      <a:pt x="90" y="266"/>
                    </a:moveTo>
                    <a:lnTo>
                      <a:pt x="88" y="266"/>
                    </a:lnTo>
                    <a:lnTo>
                      <a:pt x="90" y="266"/>
                    </a:lnTo>
                    <a:close/>
                    <a:moveTo>
                      <a:pt x="142" y="212"/>
                    </a:moveTo>
                    <a:lnTo>
                      <a:pt x="142" y="214"/>
                    </a:lnTo>
                    <a:lnTo>
                      <a:pt x="142" y="212"/>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sp>
            <p:nvSpPr>
              <p:cNvPr id="472" name="Freeform 110"/>
              <p:cNvSpPr>
                <a:spLocks/>
              </p:cNvSpPr>
              <p:nvPr/>
            </p:nvSpPr>
            <p:spPr bwMode="auto">
              <a:xfrm rot="19256728">
                <a:off x="0" y="3382988"/>
                <a:ext cx="166386" cy="145760"/>
              </a:xfrm>
              <a:custGeom>
                <a:avLst/>
                <a:gdLst>
                  <a:gd name="T0" fmla="*/ 163 w 242"/>
                  <a:gd name="T1" fmla="*/ 60 h 212"/>
                  <a:gd name="T2" fmla="*/ 175 w 242"/>
                  <a:gd name="T3" fmla="*/ 64 h 212"/>
                  <a:gd name="T4" fmla="*/ 183 w 242"/>
                  <a:gd name="T5" fmla="*/ 71 h 212"/>
                  <a:gd name="T6" fmla="*/ 190 w 242"/>
                  <a:gd name="T7" fmla="*/ 66 h 212"/>
                  <a:gd name="T8" fmla="*/ 202 w 242"/>
                  <a:gd name="T9" fmla="*/ 73 h 212"/>
                  <a:gd name="T10" fmla="*/ 213 w 242"/>
                  <a:gd name="T11" fmla="*/ 69 h 212"/>
                  <a:gd name="T12" fmla="*/ 212 w 242"/>
                  <a:gd name="T13" fmla="*/ 58 h 212"/>
                  <a:gd name="T14" fmla="*/ 223 w 242"/>
                  <a:gd name="T15" fmla="*/ 48 h 212"/>
                  <a:gd name="T16" fmla="*/ 223 w 242"/>
                  <a:gd name="T17" fmla="*/ 58 h 212"/>
                  <a:gd name="T18" fmla="*/ 217 w 242"/>
                  <a:gd name="T19" fmla="*/ 68 h 212"/>
                  <a:gd name="T20" fmla="*/ 221 w 242"/>
                  <a:gd name="T21" fmla="*/ 75 h 212"/>
                  <a:gd name="T22" fmla="*/ 231 w 242"/>
                  <a:gd name="T23" fmla="*/ 69 h 212"/>
                  <a:gd name="T24" fmla="*/ 229 w 242"/>
                  <a:gd name="T25" fmla="*/ 81 h 212"/>
                  <a:gd name="T26" fmla="*/ 217 w 242"/>
                  <a:gd name="T27" fmla="*/ 91 h 212"/>
                  <a:gd name="T28" fmla="*/ 235 w 242"/>
                  <a:gd name="T29" fmla="*/ 100 h 212"/>
                  <a:gd name="T30" fmla="*/ 236 w 242"/>
                  <a:gd name="T31" fmla="*/ 110 h 212"/>
                  <a:gd name="T32" fmla="*/ 238 w 242"/>
                  <a:gd name="T33" fmla="*/ 118 h 212"/>
                  <a:gd name="T34" fmla="*/ 221 w 242"/>
                  <a:gd name="T35" fmla="*/ 129 h 212"/>
                  <a:gd name="T36" fmla="*/ 202 w 242"/>
                  <a:gd name="T37" fmla="*/ 135 h 212"/>
                  <a:gd name="T38" fmla="*/ 196 w 242"/>
                  <a:gd name="T39" fmla="*/ 146 h 212"/>
                  <a:gd name="T40" fmla="*/ 200 w 242"/>
                  <a:gd name="T41" fmla="*/ 158 h 212"/>
                  <a:gd name="T42" fmla="*/ 192 w 242"/>
                  <a:gd name="T43" fmla="*/ 171 h 212"/>
                  <a:gd name="T44" fmla="*/ 181 w 242"/>
                  <a:gd name="T45" fmla="*/ 181 h 212"/>
                  <a:gd name="T46" fmla="*/ 175 w 242"/>
                  <a:gd name="T47" fmla="*/ 202 h 212"/>
                  <a:gd name="T48" fmla="*/ 165 w 242"/>
                  <a:gd name="T49" fmla="*/ 200 h 212"/>
                  <a:gd name="T50" fmla="*/ 162 w 242"/>
                  <a:gd name="T51" fmla="*/ 189 h 212"/>
                  <a:gd name="T52" fmla="*/ 165 w 242"/>
                  <a:gd name="T53" fmla="*/ 187 h 212"/>
                  <a:gd name="T54" fmla="*/ 150 w 242"/>
                  <a:gd name="T55" fmla="*/ 173 h 212"/>
                  <a:gd name="T56" fmla="*/ 142 w 242"/>
                  <a:gd name="T57" fmla="*/ 169 h 212"/>
                  <a:gd name="T58" fmla="*/ 135 w 242"/>
                  <a:gd name="T59" fmla="*/ 164 h 212"/>
                  <a:gd name="T60" fmla="*/ 133 w 242"/>
                  <a:gd name="T61" fmla="*/ 152 h 212"/>
                  <a:gd name="T62" fmla="*/ 125 w 242"/>
                  <a:gd name="T63" fmla="*/ 141 h 212"/>
                  <a:gd name="T64" fmla="*/ 106 w 242"/>
                  <a:gd name="T65" fmla="*/ 148 h 212"/>
                  <a:gd name="T66" fmla="*/ 90 w 242"/>
                  <a:gd name="T67" fmla="*/ 148 h 212"/>
                  <a:gd name="T68" fmla="*/ 81 w 242"/>
                  <a:gd name="T69" fmla="*/ 131 h 212"/>
                  <a:gd name="T70" fmla="*/ 69 w 242"/>
                  <a:gd name="T71" fmla="*/ 112 h 212"/>
                  <a:gd name="T72" fmla="*/ 69 w 242"/>
                  <a:gd name="T73" fmla="*/ 98 h 212"/>
                  <a:gd name="T74" fmla="*/ 48 w 242"/>
                  <a:gd name="T75" fmla="*/ 106 h 212"/>
                  <a:gd name="T76" fmla="*/ 27 w 242"/>
                  <a:gd name="T77" fmla="*/ 87 h 212"/>
                  <a:gd name="T78" fmla="*/ 16 w 242"/>
                  <a:gd name="T79" fmla="*/ 81 h 212"/>
                  <a:gd name="T80" fmla="*/ 0 w 242"/>
                  <a:gd name="T81" fmla="*/ 87 h 212"/>
                  <a:gd name="T82" fmla="*/ 12 w 242"/>
                  <a:gd name="T83" fmla="*/ 69 h 212"/>
                  <a:gd name="T84" fmla="*/ 21 w 242"/>
                  <a:gd name="T85" fmla="*/ 73 h 212"/>
                  <a:gd name="T86" fmla="*/ 31 w 242"/>
                  <a:gd name="T87" fmla="*/ 71 h 212"/>
                  <a:gd name="T88" fmla="*/ 39 w 242"/>
                  <a:gd name="T89" fmla="*/ 62 h 212"/>
                  <a:gd name="T90" fmla="*/ 37 w 242"/>
                  <a:gd name="T91" fmla="*/ 52 h 212"/>
                  <a:gd name="T92" fmla="*/ 37 w 242"/>
                  <a:gd name="T93" fmla="*/ 43 h 212"/>
                  <a:gd name="T94" fmla="*/ 50 w 242"/>
                  <a:gd name="T95" fmla="*/ 37 h 212"/>
                  <a:gd name="T96" fmla="*/ 58 w 242"/>
                  <a:gd name="T97" fmla="*/ 29 h 212"/>
                  <a:gd name="T98" fmla="*/ 71 w 242"/>
                  <a:gd name="T99" fmla="*/ 25 h 212"/>
                  <a:gd name="T100" fmla="*/ 87 w 242"/>
                  <a:gd name="T101" fmla="*/ 16 h 212"/>
                  <a:gd name="T102" fmla="*/ 100 w 242"/>
                  <a:gd name="T103" fmla="*/ 8 h 212"/>
                  <a:gd name="T104" fmla="*/ 114 w 242"/>
                  <a:gd name="T105" fmla="*/ 6 h 212"/>
                  <a:gd name="T106" fmla="*/ 121 w 242"/>
                  <a:gd name="T107" fmla="*/ 2 h 212"/>
                  <a:gd name="T108" fmla="*/ 133 w 242"/>
                  <a:gd name="T109" fmla="*/ 10 h 212"/>
                  <a:gd name="T110" fmla="*/ 144 w 242"/>
                  <a:gd name="T111" fmla="*/ 8 h 212"/>
                  <a:gd name="T112" fmla="*/ 154 w 242"/>
                  <a:gd name="T113" fmla="*/ 2 h 212"/>
                  <a:gd name="T114" fmla="*/ 154 w 242"/>
                  <a:gd name="T115" fmla="*/ 14 h 212"/>
                  <a:gd name="T116" fmla="*/ 158 w 242"/>
                  <a:gd name="T117" fmla="*/ 27 h 212"/>
                  <a:gd name="T118" fmla="*/ 158 w 242"/>
                  <a:gd name="T119" fmla="*/ 43 h 212"/>
                  <a:gd name="T120" fmla="*/ 167 w 242"/>
                  <a:gd name="T121" fmla="*/ 5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2" h="212">
                    <a:moveTo>
                      <a:pt x="169" y="50"/>
                    </a:moveTo>
                    <a:lnTo>
                      <a:pt x="173" y="52"/>
                    </a:lnTo>
                    <a:lnTo>
                      <a:pt x="175" y="52"/>
                    </a:lnTo>
                    <a:lnTo>
                      <a:pt x="175" y="54"/>
                    </a:lnTo>
                    <a:lnTo>
                      <a:pt x="175" y="56"/>
                    </a:lnTo>
                    <a:lnTo>
                      <a:pt x="173" y="56"/>
                    </a:lnTo>
                    <a:lnTo>
                      <a:pt x="171" y="56"/>
                    </a:lnTo>
                    <a:lnTo>
                      <a:pt x="171" y="54"/>
                    </a:lnTo>
                    <a:lnTo>
                      <a:pt x="171" y="56"/>
                    </a:lnTo>
                    <a:lnTo>
                      <a:pt x="169" y="54"/>
                    </a:lnTo>
                    <a:lnTo>
                      <a:pt x="169" y="56"/>
                    </a:lnTo>
                    <a:lnTo>
                      <a:pt x="167" y="56"/>
                    </a:lnTo>
                    <a:lnTo>
                      <a:pt x="165" y="56"/>
                    </a:lnTo>
                    <a:lnTo>
                      <a:pt x="165" y="58"/>
                    </a:lnTo>
                    <a:lnTo>
                      <a:pt x="165" y="60"/>
                    </a:lnTo>
                    <a:lnTo>
                      <a:pt x="163" y="60"/>
                    </a:lnTo>
                    <a:lnTo>
                      <a:pt x="163" y="62"/>
                    </a:lnTo>
                    <a:lnTo>
                      <a:pt x="165" y="62"/>
                    </a:lnTo>
                    <a:lnTo>
                      <a:pt x="165" y="64"/>
                    </a:lnTo>
                    <a:lnTo>
                      <a:pt x="167" y="64"/>
                    </a:lnTo>
                    <a:lnTo>
                      <a:pt x="167" y="62"/>
                    </a:lnTo>
                    <a:lnTo>
                      <a:pt x="169" y="62"/>
                    </a:lnTo>
                    <a:lnTo>
                      <a:pt x="169" y="64"/>
                    </a:lnTo>
                    <a:lnTo>
                      <a:pt x="171" y="64"/>
                    </a:lnTo>
                    <a:lnTo>
                      <a:pt x="171" y="62"/>
                    </a:lnTo>
                    <a:lnTo>
                      <a:pt x="171" y="64"/>
                    </a:lnTo>
                    <a:lnTo>
                      <a:pt x="171" y="62"/>
                    </a:lnTo>
                    <a:lnTo>
                      <a:pt x="171" y="64"/>
                    </a:lnTo>
                    <a:lnTo>
                      <a:pt x="171" y="66"/>
                    </a:lnTo>
                    <a:lnTo>
                      <a:pt x="173" y="66"/>
                    </a:lnTo>
                    <a:lnTo>
                      <a:pt x="173" y="64"/>
                    </a:lnTo>
                    <a:lnTo>
                      <a:pt x="175" y="64"/>
                    </a:lnTo>
                    <a:lnTo>
                      <a:pt x="175" y="66"/>
                    </a:lnTo>
                    <a:lnTo>
                      <a:pt x="173" y="66"/>
                    </a:lnTo>
                    <a:lnTo>
                      <a:pt x="173" y="68"/>
                    </a:lnTo>
                    <a:lnTo>
                      <a:pt x="175" y="68"/>
                    </a:lnTo>
                    <a:lnTo>
                      <a:pt x="173" y="68"/>
                    </a:lnTo>
                    <a:lnTo>
                      <a:pt x="173" y="69"/>
                    </a:lnTo>
                    <a:lnTo>
                      <a:pt x="175" y="69"/>
                    </a:lnTo>
                    <a:lnTo>
                      <a:pt x="175" y="68"/>
                    </a:lnTo>
                    <a:lnTo>
                      <a:pt x="177" y="68"/>
                    </a:lnTo>
                    <a:lnTo>
                      <a:pt x="177" y="69"/>
                    </a:lnTo>
                    <a:lnTo>
                      <a:pt x="179" y="68"/>
                    </a:lnTo>
                    <a:lnTo>
                      <a:pt x="181" y="66"/>
                    </a:lnTo>
                    <a:lnTo>
                      <a:pt x="181" y="68"/>
                    </a:lnTo>
                    <a:lnTo>
                      <a:pt x="183" y="68"/>
                    </a:lnTo>
                    <a:lnTo>
                      <a:pt x="183" y="69"/>
                    </a:lnTo>
                    <a:lnTo>
                      <a:pt x="183" y="71"/>
                    </a:lnTo>
                    <a:lnTo>
                      <a:pt x="181" y="73"/>
                    </a:lnTo>
                    <a:lnTo>
                      <a:pt x="183" y="73"/>
                    </a:lnTo>
                    <a:lnTo>
                      <a:pt x="185" y="75"/>
                    </a:lnTo>
                    <a:lnTo>
                      <a:pt x="185" y="73"/>
                    </a:lnTo>
                    <a:lnTo>
                      <a:pt x="187" y="73"/>
                    </a:lnTo>
                    <a:lnTo>
                      <a:pt x="187" y="71"/>
                    </a:lnTo>
                    <a:lnTo>
                      <a:pt x="188" y="73"/>
                    </a:lnTo>
                    <a:lnTo>
                      <a:pt x="188" y="71"/>
                    </a:lnTo>
                    <a:lnTo>
                      <a:pt x="188" y="69"/>
                    </a:lnTo>
                    <a:lnTo>
                      <a:pt x="188" y="68"/>
                    </a:lnTo>
                    <a:lnTo>
                      <a:pt x="190" y="68"/>
                    </a:lnTo>
                    <a:lnTo>
                      <a:pt x="192" y="68"/>
                    </a:lnTo>
                    <a:lnTo>
                      <a:pt x="190" y="68"/>
                    </a:lnTo>
                    <a:lnTo>
                      <a:pt x="192" y="68"/>
                    </a:lnTo>
                    <a:lnTo>
                      <a:pt x="192" y="66"/>
                    </a:lnTo>
                    <a:lnTo>
                      <a:pt x="190" y="66"/>
                    </a:lnTo>
                    <a:lnTo>
                      <a:pt x="190" y="64"/>
                    </a:lnTo>
                    <a:lnTo>
                      <a:pt x="190" y="66"/>
                    </a:lnTo>
                    <a:lnTo>
                      <a:pt x="192" y="64"/>
                    </a:lnTo>
                    <a:lnTo>
                      <a:pt x="192" y="66"/>
                    </a:lnTo>
                    <a:lnTo>
                      <a:pt x="194" y="66"/>
                    </a:lnTo>
                    <a:lnTo>
                      <a:pt x="194" y="68"/>
                    </a:lnTo>
                    <a:lnTo>
                      <a:pt x="194" y="69"/>
                    </a:lnTo>
                    <a:lnTo>
                      <a:pt x="196" y="69"/>
                    </a:lnTo>
                    <a:lnTo>
                      <a:pt x="196" y="71"/>
                    </a:lnTo>
                    <a:lnTo>
                      <a:pt x="198" y="71"/>
                    </a:lnTo>
                    <a:lnTo>
                      <a:pt x="198" y="69"/>
                    </a:lnTo>
                    <a:lnTo>
                      <a:pt x="198" y="68"/>
                    </a:lnTo>
                    <a:lnTo>
                      <a:pt x="200" y="68"/>
                    </a:lnTo>
                    <a:lnTo>
                      <a:pt x="200" y="69"/>
                    </a:lnTo>
                    <a:lnTo>
                      <a:pt x="202" y="71"/>
                    </a:lnTo>
                    <a:lnTo>
                      <a:pt x="202" y="73"/>
                    </a:lnTo>
                    <a:lnTo>
                      <a:pt x="204" y="75"/>
                    </a:lnTo>
                    <a:lnTo>
                      <a:pt x="204" y="77"/>
                    </a:lnTo>
                    <a:lnTo>
                      <a:pt x="206" y="77"/>
                    </a:lnTo>
                    <a:lnTo>
                      <a:pt x="206" y="75"/>
                    </a:lnTo>
                    <a:lnTo>
                      <a:pt x="208" y="73"/>
                    </a:lnTo>
                    <a:lnTo>
                      <a:pt x="208" y="71"/>
                    </a:lnTo>
                    <a:lnTo>
                      <a:pt x="208" y="69"/>
                    </a:lnTo>
                    <a:lnTo>
                      <a:pt x="208" y="68"/>
                    </a:lnTo>
                    <a:lnTo>
                      <a:pt x="208" y="69"/>
                    </a:lnTo>
                    <a:lnTo>
                      <a:pt x="210" y="69"/>
                    </a:lnTo>
                    <a:lnTo>
                      <a:pt x="210" y="71"/>
                    </a:lnTo>
                    <a:lnTo>
                      <a:pt x="210" y="73"/>
                    </a:lnTo>
                    <a:lnTo>
                      <a:pt x="212" y="71"/>
                    </a:lnTo>
                    <a:lnTo>
                      <a:pt x="210" y="69"/>
                    </a:lnTo>
                    <a:lnTo>
                      <a:pt x="212" y="69"/>
                    </a:lnTo>
                    <a:lnTo>
                      <a:pt x="213" y="69"/>
                    </a:lnTo>
                    <a:lnTo>
                      <a:pt x="213" y="68"/>
                    </a:lnTo>
                    <a:lnTo>
                      <a:pt x="212" y="68"/>
                    </a:lnTo>
                    <a:lnTo>
                      <a:pt x="212" y="66"/>
                    </a:lnTo>
                    <a:lnTo>
                      <a:pt x="213" y="66"/>
                    </a:lnTo>
                    <a:lnTo>
                      <a:pt x="212" y="64"/>
                    </a:lnTo>
                    <a:lnTo>
                      <a:pt x="212" y="62"/>
                    </a:lnTo>
                    <a:lnTo>
                      <a:pt x="210" y="62"/>
                    </a:lnTo>
                    <a:lnTo>
                      <a:pt x="208" y="62"/>
                    </a:lnTo>
                    <a:lnTo>
                      <a:pt x="206" y="60"/>
                    </a:lnTo>
                    <a:lnTo>
                      <a:pt x="208" y="58"/>
                    </a:lnTo>
                    <a:lnTo>
                      <a:pt x="208" y="56"/>
                    </a:lnTo>
                    <a:lnTo>
                      <a:pt x="210" y="56"/>
                    </a:lnTo>
                    <a:lnTo>
                      <a:pt x="210" y="58"/>
                    </a:lnTo>
                    <a:lnTo>
                      <a:pt x="210" y="56"/>
                    </a:lnTo>
                    <a:lnTo>
                      <a:pt x="212" y="56"/>
                    </a:lnTo>
                    <a:lnTo>
                      <a:pt x="212" y="58"/>
                    </a:lnTo>
                    <a:lnTo>
                      <a:pt x="212" y="56"/>
                    </a:lnTo>
                    <a:lnTo>
                      <a:pt x="213" y="56"/>
                    </a:lnTo>
                    <a:lnTo>
                      <a:pt x="215" y="54"/>
                    </a:lnTo>
                    <a:lnTo>
                      <a:pt x="215" y="52"/>
                    </a:lnTo>
                    <a:lnTo>
                      <a:pt x="217" y="54"/>
                    </a:lnTo>
                    <a:lnTo>
                      <a:pt x="217" y="52"/>
                    </a:lnTo>
                    <a:lnTo>
                      <a:pt x="217" y="54"/>
                    </a:lnTo>
                    <a:lnTo>
                      <a:pt x="219" y="54"/>
                    </a:lnTo>
                    <a:lnTo>
                      <a:pt x="221" y="54"/>
                    </a:lnTo>
                    <a:lnTo>
                      <a:pt x="223" y="52"/>
                    </a:lnTo>
                    <a:lnTo>
                      <a:pt x="225" y="52"/>
                    </a:lnTo>
                    <a:lnTo>
                      <a:pt x="225" y="50"/>
                    </a:lnTo>
                    <a:lnTo>
                      <a:pt x="223" y="50"/>
                    </a:lnTo>
                    <a:lnTo>
                      <a:pt x="225" y="50"/>
                    </a:lnTo>
                    <a:lnTo>
                      <a:pt x="225" y="48"/>
                    </a:lnTo>
                    <a:lnTo>
                      <a:pt x="223" y="48"/>
                    </a:lnTo>
                    <a:lnTo>
                      <a:pt x="223" y="46"/>
                    </a:lnTo>
                    <a:lnTo>
                      <a:pt x="223" y="48"/>
                    </a:lnTo>
                    <a:lnTo>
                      <a:pt x="225" y="48"/>
                    </a:lnTo>
                    <a:lnTo>
                      <a:pt x="227" y="48"/>
                    </a:lnTo>
                    <a:lnTo>
                      <a:pt x="227" y="46"/>
                    </a:lnTo>
                    <a:lnTo>
                      <a:pt x="229" y="48"/>
                    </a:lnTo>
                    <a:lnTo>
                      <a:pt x="231" y="48"/>
                    </a:lnTo>
                    <a:lnTo>
                      <a:pt x="231" y="50"/>
                    </a:lnTo>
                    <a:lnTo>
                      <a:pt x="229" y="50"/>
                    </a:lnTo>
                    <a:lnTo>
                      <a:pt x="229" y="52"/>
                    </a:lnTo>
                    <a:lnTo>
                      <a:pt x="227" y="52"/>
                    </a:lnTo>
                    <a:lnTo>
                      <a:pt x="227" y="54"/>
                    </a:lnTo>
                    <a:lnTo>
                      <a:pt x="225" y="52"/>
                    </a:lnTo>
                    <a:lnTo>
                      <a:pt x="225" y="54"/>
                    </a:lnTo>
                    <a:lnTo>
                      <a:pt x="223" y="56"/>
                    </a:lnTo>
                    <a:lnTo>
                      <a:pt x="223" y="58"/>
                    </a:lnTo>
                    <a:lnTo>
                      <a:pt x="221" y="58"/>
                    </a:lnTo>
                    <a:lnTo>
                      <a:pt x="221" y="60"/>
                    </a:lnTo>
                    <a:lnTo>
                      <a:pt x="219" y="60"/>
                    </a:lnTo>
                    <a:lnTo>
                      <a:pt x="219" y="62"/>
                    </a:lnTo>
                    <a:lnTo>
                      <a:pt x="221" y="62"/>
                    </a:lnTo>
                    <a:lnTo>
                      <a:pt x="219" y="62"/>
                    </a:lnTo>
                    <a:lnTo>
                      <a:pt x="219" y="64"/>
                    </a:lnTo>
                    <a:lnTo>
                      <a:pt x="219" y="62"/>
                    </a:lnTo>
                    <a:lnTo>
                      <a:pt x="219" y="64"/>
                    </a:lnTo>
                    <a:lnTo>
                      <a:pt x="217" y="64"/>
                    </a:lnTo>
                    <a:lnTo>
                      <a:pt x="217" y="66"/>
                    </a:lnTo>
                    <a:lnTo>
                      <a:pt x="219" y="66"/>
                    </a:lnTo>
                    <a:lnTo>
                      <a:pt x="217" y="66"/>
                    </a:lnTo>
                    <a:lnTo>
                      <a:pt x="217" y="68"/>
                    </a:lnTo>
                    <a:lnTo>
                      <a:pt x="219" y="68"/>
                    </a:lnTo>
                    <a:lnTo>
                      <a:pt x="217" y="68"/>
                    </a:lnTo>
                    <a:lnTo>
                      <a:pt x="217" y="69"/>
                    </a:lnTo>
                    <a:lnTo>
                      <a:pt x="219" y="69"/>
                    </a:lnTo>
                    <a:lnTo>
                      <a:pt x="219" y="68"/>
                    </a:lnTo>
                    <a:lnTo>
                      <a:pt x="219" y="69"/>
                    </a:lnTo>
                    <a:lnTo>
                      <a:pt x="221" y="69"/>
                    </a:lnTo>
                    <a:lnTo>
                      <a:pt x="221" y="71"/>
                    </a:lnTo>
                    <a:lnTo>
                      <a:pt x="219" y="71"/>
                    </a:lnTo>
                    <a:lnTo>
                      <a:pt x="217" y="73"/>
                    </a:lnTo>
                    <a:lnTo>
                      <a:pt x="219" y="75"/>
                    </a:lnTo>
                    <a:lnTo>
                      <a:pt x="219" y="73"/>
                    </a:lnTo>
                    <a:lnTo>
                      <a:pt x="221" y="73"/>
                    </a:lnTo>
                    <a:lnTo>
                      <a:pt x="221" y="71"/>
                    </a:lnTo>
                    <a:lnTo>
                      <a:pt x="221" y="73"/>
                    </a:lnTo>
                    <a:lnTo>
                      <a:pt x="221" y="75"/>
                    </a:lnTo>
                    <a:lnTo>
                      <a:pt x="221" y="77"/>
                    </a:lnTo>
                    <a:lnTo>
                      <a:pt x="221" y="75"/>
                    </a:lnTo>
                    <a:lnTo>
                      <a:pt x="221" y="77"/>
                    </a:lnTo>
                    <a:lnTo>
                      <a:pt x="223" y="77"/>
                    </a:lnTo>
                    <a:lnTo>
                      <a:pt x="223" y="79"/>
                    </a:lnTo>
                    <a:lnTo>
                      <a:pt x="225" y="81"/>
                    </a:lnTo>
                    <a:lnTo>
                      <a:pt x="225" y="79"/>
                    </a:lnTo>
                    <a:lnTo>
                      <a:pt x="227" y="79"/>
                    </a:lnTo>
                    <a:lnTo>
                      <a:pt x="225" y="77"/>
                    </a:lnTo>
                    <a:lnTo>
                      <a:pt x="227" y="77"/>
                    </a:lnTo>
                    <a:lnTo>
                      <a:pt x="227" y="75"/>
                    </a:lnTo>
                    <a:lnTo>
                      <a:pt x="227" y="71"/>
                    </a:lnTo>
                    <a:lnTo>
                      <a:pt x="227" y="69"/>
                    </a:lnTo>
                    <a:lnTo>
                      <a:pt x="227" y="68"/>
                    </a:lnTo>
                    <a:lnTo>
                      <a:pt x="229" y="68"/>
                    </a:lnTo>
                    <a:lnTo>
                      <a:pt x="229" y="69"/>
                    </a:lnTo>
                    <a:lnTo>
                      <a:pt x="231" y="68"/>
                    </a:lnTo>
                    <a:lnTo>
                      <a:pt x="231" y="69"/>
                    </a:lnTo>
                    <a:lnTo>
                      <a:pt x="233" y="68"/>
                    </a:lnTo>
                    <a:lnTo>
                      <a:pt x="233" y="69"/>
                    </a:lnTo>
                    <a:lnTo>
                      <a:pt x="235" y="69"/>
                    </a:lnTo>
                    <a:lnTo>
                      <a:pt x="233" y="69"/>
                    </a:lnTo>
                    <a:lnTo>
                      <a:pt x="233" y="71"/>
                    </a:lnTo>
                    <a:lnTo>
                      <a:pt x="235" y="71"/>
                    </a:lnTo>
                    <a:lnTo>
                      <a:pt x="235" y="73"/>
                    </a:lnTo>
                    <a:lnTo>
                      <a:pt x="236" y="73"/>
                    </a:lnTo>
                    <a:lnTo>
                      <a:pt x="235" y="73"/>
                    </a:lnTo>
                    <a:lnTo>
                      <a:pt x="235" y="75"/>
                    </a:lnTo>
                    <a:lnTo>
                      <a:pt x="235" y="77"/>
                    </a:lnTo>
                    <a:lnTo>
                      <a:pt x="233" y="79"/>
                    </a:lnTo>
                    <a:lnTo>
                      <a:pt x="233" y="81"/>
                    </a:lnTo>
                    <a:lnTo>
                      <a:pt x="231" y="79"/>
                    </a:lnTo>
                    <a:lnTo>
                      <a:pt x="229" y="79"/>
                    </a:lnTo>
                    <a:lnTo>
                      <a:pt x="229" y="81"/>
                    </a:lnTo>
                    <a:lnTo>
                      <a:pt x="227" y="81"/>
                    </a:lnTo>
                    <a:lnTo>
                      <a:pt x="227" y="83"/>
                    </a:lnTo>
                    <a:lnTo>
                      <a:pt x="227" y="85"/>
                    </a:lnTo>
                    <a:lnTo>
                      <a:pt x="225" y="85"/>
                    </a:lnTo>
                    <a:lnTo>
                      <a:pt x="223" y="85"/>
                    </a:lnTo>
                    <a:lnTo>
                      <a:pt x="225" y="85"/>
                    </a:lnTo>
                    <a:lnTo>
                      <a:pt x="223" y="85"/>
                    </a:lnTo>
                    <a:lnTo>
                      <a:pt x="223" y="87"/>
                    </a:lnTo>
                    <a:lnTo>
                      <a:pt x="221" y="85"/>
                    </a:lnTo>
                    <a:lnTo>
                      <a:pt x="221" y="87"/>
                    </a:lnTo>
                    <a:lnTo>
                      <a:pt x="219" y="87"/>
                    </a:lnTo>
                    <a:lnTo>
                      <a:pt x="219" y="89"/>
                    </a:lnTo>
                    <a:lnTo>
                      <a:pt x="217" y="87"/>
                    </a:lnTo>
                    <a:lnTo>
                      <a:pt x="215" y="87"/>
                    </a:lnTo>
                    <a:lnTo>
                      <a:pt x="215" y="89"/>
                    </a:lnTo>
                    <a:lnTo>
                      <a:pt x="217" y="91"/>
                    </a:lnTo>
                    <a:lnTo>
                      <a:pt x="215" y="91"/>
                    </a:lnTo>
                    <a:lnTo>
                      <a:pt x="217" y="93"/>
                    </a:lnTo>
                    <a:lnTo>
                      <a:pt x="219" y="94"/>
                    </a:lnTo>
                    <a:lnTo>
                      <a:pt x="221" y="94"/>
                    </a:lnTo>
                    <a:lnTo>
                      <a:pt x="223" y="94"/>
                    </a:lnTo>
                    <a:lnTo>
                      <a:pt x="225" y="94"/>
                    </a:lnTo>
                    <a:lnTo>
                      <a:pt x="227" y="93"/>
                    </a:lnTo>
                    <a:lnTo>
                      <a:pt x="229" y="94"/>
                    </a:lnTo>
                    <a:lnTo>
                      <a:pt x="231" y="94"/>
                    </a:lnTo>
                    <a:lnTo>
                      <a:pt x="233" y="94"/>
                    </a:lnTo>
                    <a:lnTo>
                      <a:pt x="231" y="94"/>
                    </a:lnTo>
                    <a:lnTo>
                      <a:pt x="231" y="96"/>
                    </a:lnTo>
                    <a:lnTo>
                      <a:pt x="233" y="96"/>
                    </a:lnTo>
                    <a:lnTo>
                      <a:pt x="233" y="98"/>
                    </a:lnTo>
                    <a:lnTo>
                      <a:pt x="235" y="98"/>
                    </a:lnTo>
                    <a:lnTo>
                      <a:pt x="235" y="100"/>
                    </a:lnTo>
                    <a:lnTo>
                      <a:pt x="235" y="98"/>
                    </a:lnTo>
                    <a:lnTo>
                      <a:pt x="236" y="98"/>
                    </a:lnTo>
                    <a:lnTo>
                      <a:pt x="236" y="100"/>
                    </a:lnTo>
                    <a:lnTo>
                      <a:pt x="235" y="100"/>
                    </a:lnTo>
                    <a:lnTo>
                      <a:pt x="236" y="102"/>
                    </a:lnTo>
                    <a:lnTo>
                      <a:pt x="238" y="102"/>
                    </a:lnTo>
                    <a:lnTo>
                      <a:pt x="238" y="104"/>
                    </a:lnTo>
                    <a:lnTo>
                      <a:pt x="236" y="104"/>
                    </a:lnTo>
                    <a:lnTo>
                      <a:pt x="235" y="104"/>
                    </a:lnTo>
                    <a:lnTo>
                      <a:pt x="235" y="106"/>
                    </a:lnTo>
                    <a:lnTo>
                      <a:pt x="235" y="108"/>
                    </a:lnTo>
                    <a:lnTo>
                      <a:pt x="236" y="106"/>
                    </a:lnTo>
                    <a:lnTo>
                      <a:pt x="238" y="106"/>
                    </a:lnTo>
                    <a:lnTo>
                      <a:pt x="238" y="108"/>
                    </a:lnTo>
                    <a:lnTo>
                      <a:pt x="236" y="108"/>
                    </a:lnTo>
                    <a:lnTo>
                      <a:pt x="236" y="110"/>
                    </a:lnTo>
                    <a:lnTo>
                      <a:pt x="238" y="108"/>
                    </a:lnTo>
                    <a:lnTo>
                      <a:pt x="238" y="110"/>
                    </a:lnTo>
                    <a:lnTo>
                      <a:pt x="240" y="110"/>
                    </a:lnTo>
                    <a:lnTo>
                      <a:pt x="240" y="108"/>
                    </a:lnTo>
                    <a:lnTo>
                      <a:pt x="240" y="110"/>
                    </a:lnTo>
                    <a:lnTo>
                      <a:pt x="238" y="110"/>
                    </a:lnTo>
                    <a:lnTo>
                      <a:pt x="240" y="112"/>
                    </a:lnTo>
                    <a:lnTo>
                      <a:pt x="240" y="114"/>
                    </a:lnTo>
                    <a:lnTo>
                      <a:pt x="240" y="116"/>
                    </a:lnTo>
                    <a:lnTo>
                      <a:pt x="242" y="116"/>
                    </a:lnTo>
                    <a:lnTo>
                      <a:pt x="242" y="118"/>
                    </a:lnTo>
                    <a:lnTo>
                      <a:pt x="240" y="116"/>
                    </a:lnTo>
                    <a:lnTo>
                      <a:pt x="240" y="118"/>
                    </a:lnTo>
                    <a:lnTo>
                      <a:pt x="240" y="116"/>
                    </a:lnTo>
                    <a:lnTo>
                      <a:pt x="240" y="118"/>
                    </a:lnTo>
                    <a:lnTo>
                      <a:pt x="238" y="118"/>
                    </a:lnTo>
                    <a:lnTo>
                      <a:pt x="238" y="119"/>
                    </a:lnTo>
                    <a:lnTo>
                      <a:pt x="236" y="119"/>
                    </a:lnTo>
                    <a:lnTo>
                      <a:pt x="235" y="119"/>
                    </a:lnTo>
                    <a:lnTo>
                      <a:pt x="235" y="121"/>
                    </a:lnTo>
                    <a:lnTo>
                      <a:pt x="233" y="121"/>
                    </a:lnTo>
                    <a:lnTo>
                      <a:pt x="231" y="121"/>
                    </a:lnTo>
                    <a:lnTo>
                      <a:pt x="229" y="121"/>
                    </a:lnTo>
                    <a:lnTo>
                      <a:pt x="229" y="123"/>
                    </a:lnTo>
                    <a:lnTo>
                      <a:pt x="227" y="125"/>
                    </a:lnTo>
                    <a:lnTo>
                      <a:pt x="229" y="125"/>
                    </a:lnTo>
                    <a:lnTo>
                      <a:pt x="227" y="125"/>
                    </a:lnTo>
                    <a:lnTo>
                      <a:pt x="227" y="127"/>
                    </a:lnTo>
                    <a:lnTo>
                      <a:pt x="225" y="127"/>
                    </a:lnTo>
                    <a:lnTo>
                      <a:pt x="223" y="127"/>
                    </a:lnTo>
                    <a:lnTo>
                      <a:pt x="223" y="129"/>
                    </a:lnTo>
                    <a:lnTo>
                      <a:pt x="221" y="129"/>
                    </a:lnTo>
                    <a:lnTo>
                      <a:pt x="221" y="131"/>
                    </a:lnTo>
                    <a:lnTo>
                      <a:pt x="219" y="131"/>
                    </a:lnTo>
                    <a:lnTo>
                      <a:pt x="217" y="131"/>
                    </a:lnTo>
                    <a:lnTo>
                      <a:pt x="215" y="131"/>
                    </a:lnTo>
                    <a:lnTo>
                      <a:pt x="213" y="133"/>
                    </a:lnTo>
                    <a:lnTo>
                      <a:pt x="212" y="133"/>
                    </a:lnTo>
                    <a:lnTo>
                      <a:pt x="210" y="135"/>
                    </a:lnTo>
                    <a:lnTo>
                      <a:pt x="210" y="137"/>
                    </a:lnTo>
                    <a:lnTo>
                      <a:pt x="208" y="137"/>
                    </a:lnTo>
                    <a:lnTo>
                      <a:pt x="206" y="137"/>
                    </a:lnTo>
                    <a:lnTo>
                      <a:pt x="206" y="135"/>
                    </a:lnTo>
                    <a:lnTo>
                      <a:pt x="204" y="135"/>
                    </a:lnTo>
                    <a:lnTo>
                      <a:pt x="204" y="133"/>
                    </a:lnTo>
                    <a:lnTo>
                      <a:pt x="204" y="135"/>
                    </a:lnTo>
                    <a:lnTo>
                      <a:pt x="204" y="133"/>
                    </a:lnTo>
                    <a:lnTo>
                      <a:pt x="202" y="135"/>
                    </a:lnTo>
                    <a:lnTo>
                      <a:pt x="200" y="135"/>
                    </a:lnTo>
                    <a:lnTo>
                      <a:pt x="202" y="135"/>
                    </a:lnTo>
                    <a:lnTo>
                      <a:pt x="200" y="137"/>
                    </a:lnTo>
                    <a:lnTo>
                      <a:pt x="198" y="137"/>
                    </a:lnTo>
                    <a:lnTo>
                      <a:pt x="198" y="135"/>
                    </a:lnTo>
                    <a:lnTo>
                      <a:pt x="196" y="135"/>
                    </a:lnTo>
                    <a:lnTo>
                      <a:pt x="194" y="135"/>
                    </a:lnTo>
                    <a:lnTo>
                      <a:pt x="192" y="135"/>
                    </a:lnTo>
                    <a:lnTo>
                      <a:pt x="192" y="137"/>
                    </a:lnTo>
                    <a:lnTo>
                      <a:pt x="192" y="139"/>
                    </a:lnTo>
                    <a:lnTo>
                      <a:pt x="194" y="139"/>
                    </a:lnTo>
                    <a:lnTo>
                      <a:pt x="194" y="141"/>
                    </a:lnTo>
                    <a:lnTo>
                      <a:pt x="194" y="143"/>
                    </a:lnTo>
                    <a:lnTo>
                      <a:pt x="194" y="144"/>
                    </a:lnTo>
                    <a:lnTo>
                      <a:pt x="194" y="146"/>
                    </a:lnTo>
                    <a:lnTo>
                      <a:pt x="196" y="146"/>
                    </a:lnTo>
                    <a:lnTo>
                      <a:pt x="196" y="148"/>
                    </a:lnTo>
                    <a:lnTo>
                      <a:pt x="198" y="148"/>
                    </a:lnTo>
                    <a:lnTo>
                      <a:pt x="196" y="148"/>
                    </a:lnTo>
                    <a:lnTo>
                      <a:pt x="196" y="150"/>
                    </a:lnTo>
                    <a:lnTo>
                      <a:pt x="198" y="150"/>
                    </a:lnTo>
                    <a:lnTo>
                      <a:pt x="198" y="152"/>
                    </a:lnTo>
                    <a:lnTo>
                      <a:pt x="198" y="150"/>
                    </a:lnTo>
                    <a:lnTo>
                      <a:pt x="198" y="152"/>
                    </a:lnTo>
                    <a:lnTo>
                      <a:pt x="198" y="154"/>
                    </a:lnTo>
                    <a:lnTo>
                      <a:pt x="198" y="156"/>
                    </a:lnTo>
                    <a:lnTo>
                      <a:pt x="198" y="158"/>
                    </a:lnTo>
                    <a:lnTo>
                      <a:pt x="200" y="158"/>
                    </a:lnTo>
                    <a:lnTo>
                      <a:pt x="200" y="156"/>
                    </a:lnTo>
                    <a:lnTo>
                      <a:pt x="202" y="156"/>
                    </a:lnTo>
                    <a:lnTo>
                      <a:pt x="202" y="158"/>
                    </a:lnTo>
                    <a:lnTo>
                      <a:pt x="200" y="158"/>
                    </a:lnTo>
                    <a:lnTo>
                      <a:pt x="198" y="160"/>
                    </a:lnTo>
                    <a:lnTo>
                      <a:pt x="198" y="162"/>
                    </a:lnTo>
                    <a:lnTo>
                      <a:pt x="196" y="162"/>
                    </a:lnTo>
                    <a:lnTo>
                      <a:pt x="198" y="162"/>
                    </a:lnTo>
                    <a:lnTo>
                      <a:pt x="198" y="164"/>
                    </a:lnTo>
                    <a:lnTo>
                      <a:pt x="196" y="164"/>
                    </a:lnTo>
                    <a:lnTo>
                      <a:pt x="196" y="166"/>
                    </a:lnTo>
                    <a:lnTo>
                      <a:pt x="196" y="167"/>
                    </a:lnTo>
                    <a:lnTo>
                      <a:pt x="196" y="169"/>
                    </a:lnTo>
                    <a:lnTo>
                      <a:pt x="194" y="169"/>
                    </a:lnTo>
                    <a:lnTo>
                      <a:pt x="192" y="169"/>
                    </a:lnTo>
                    <a:lnTo>
                      <a:pt x="192" y="171"/>
                    </a:lnTo>
                    <a:lnTo>
                      <a:pt x="192" y="169"/>
                    </a:lnTo>
                    <a:lnTo>
                      <a:pt x="192" y="171"/>
                    </a:lnTo>
                    <a:lnTo>
                      <a:pt x="192" y="169"/>
                    </a:lnTo>
                    <a:lnTo>
                      <a:pt x="192" y="171"/>
                    </a:lnTo>
                    <a:lnTo>
                      <a:pt x="192" y="173"/>
                    </a:lnTo>
                    <a:lnTo>
                      <a:pt x="190" y="173"/>
                    </a:lnTo>
                    <a:lnTo>
                      <a:pt x="188" y="173"/>
                    </a:lnTo>
                    <a:lnTo>
                      <a:pt x="188" y="175"/>
                    </a:lnTo>
                    <a:lnTo>
                      <a:pt x="187" y="175"/>
                    </a:lnTo>
                    <a:lnTo>
                      <a:pt x="185" y="175"/>
                    </a:lnTo>
                    <a:lnTo>
                      <a:pt x="185" y="177"/>
                    </a:lnTo>
                    <a:lnTo>
                      <a:pt x="183" y="177"/>
                    </a:lnTo>
                    <a:lnTo>
                      <a:pt x="185" y="179"/>
                    </a:lnTo>
                    <a:lnTo>
                      <a:pt x="183" y="179"/>
                    </a:lnTo>
                    <a:lnTo>
                      <a:pt x="183" y="181"/>
                    </a:lnTo>
                    <a:lnTo>
                      <a:pt x="181" y="181"/>
                    </a:lnTo>
                    <a:lnTo>
                      <a:pt x="183" y="181"/>
                    </a:lnTo>
                    <a:lnTo>
                      <a:pt x="183" y="183"/>
                    </a:lnTo>
                    <a:lnTo>
                      <a:pt x="181" y="183"/>
                    </a:lnTo>
                    <a:lnTo>
                      <a:pt x="181" y="181"/>
                    </a:lnTo>
                    <a:lnTo>
                      <a:pt x="181" y="183"/>
                    </a:lnTo>
                    <a:lnTo>
                      <a:pt x="179" y="183"/>
                    </a:lnTo>
                    <a:lnTo>
                      <a:pt x="179" y="185"/>
                    </a:lnTo>
                    <a:lnTo>
                      <a:pt x="179" y="187"/>
                    </a:lnTo>
                    <a:lnTo>
                      <a:pt x="179" y="189"/>
                    </a:lnTo>
                    <a:lnTo>
                      <a:pt x="179" y="191"/>
                    </a:lnTo>
                    <a:lnTo>
                      <a:pt x="179" y="192"/>
                    </a:lnTo>
                    <a:lnTo>
                      <a:pt x="177" y="192"/>
                    </a:lnTo>
                    <a:lnTo>
                      <a:pt x="177" y="194"/>
                    </a:lnTo>
                    <a:lnTo>
                      <a:pt x="175" y="194"/>
                    </a:lnTo>
                    <a:lnTo>
                      <a:pt x="177" y="194"/>
                    </a:lnTo>
                    <a:lnTo>
                      <a:pt x="177" y="196"/>
                    </a:lnTo>
                    <a:lnTo>
                      <a:pt x="175" y="196"/>
                    </a:lnTo>
                    <a:lnTo>
                      <a:pt x="175" y="198"/>
                    </a:lnTo>
                    <a:lnTo>
                      <a:pt x="175" y="200"/>
                    </a:lnTo>
                    <a:lnTo>
                      <a:pt x="175" y="202"/>
                    </a:lnTo>
                    <a:lnTo>
                      <a:pt x="173" y="202"/>
                    </a:lnTo>
                    <a:lnTo>
                      <a:pt x="173" y="204"/>
                    </a:lnTo>
                    <a:lnTo>
                      <a:pt x="173" y="206"/>
                    </a:lnTo>
                    <a:lnTo>
                      <a:pt x="173" y="208"/>
                    </a:lnTo>
                    <a:lnTo>
                      <a:pt x="171" y="208"/>
                    </a:lnTo>
                    <a:lnTo>
                      <a:pt x="169" y="208"/>
                    </a:lnTo>
                    <a:lnTo>
                      <a:pt x="167" y="210"/>
                    </a:lnTo>
                    <a:lnTo>
                      <a:pt x="167" y="212"/>
                    </a:lnTo>
                    <a:lnTo>
                      <a:pt x="165" y="212"/>
                    </a:lnTo>
                    <a:lnTo>
                      <a:pt x="165" y="210"/>
                    </a:lnTo>
                    <a:lnTo>
                      <a:pt x="167" y="210"/>
                    </a:lnTo>
                    <a:lnTo>
                      <a:pt x="165" y="208"/>
                    </a:lnTo>
                    <a:lnTo>
                      <a:pt x="165" y="206"/>
                    </a:lnTo>
                    <a:lnTo>
                      <a:pt x="167" y="204"/>
                    </a:lnTo>
                    <a:lnTo>
                      <a:pt x="165" y="202"/>
                    </a:lnTo>
                    <a:lnTo>
                      <a:pt x="165" y="200"/>
                    </a:lnTo>
                    <a:lnTo>
                      <a:pt x="165" y="202"/>
                    </a:lnTo>
                    <a:lnTo>
                      <a:pt x="163" y="202"/>
                    </a:lnTo>
                    <a:lnTo>
                      <a:pt x="162" y="202"/>
                    </a:lnTo>
                    <a:lnTo>
                      <a:pt x="162" y="200"/>
                    </a:lnTo>
                    <a:lnTo>
                      <a:pt x="160" y="202"/>
                    </a:lnTo>
                    <a:lnTo>
                      <a:pt x="160" y="200"/>
                    </a:lnTo>
                    <a:lnTo>
                      <a:pt x="162" y="200"/>
                    </a:lnTo>
                    <a:lnTo>
                      <a:pt x="162" y="198"/>
                    </a:lnTo>
                    <a:lnTo>
                      <a:pt x="162" y="196"/>
                    </a:lnTo>
                    <a:lnTo>
                      <a:pt x="162" y="194"/>
                    </a:lnTo>
                    <a:lnTo>
                      <a:pt x="160" y="194"/>
                    </a:lnTo>
                    <a:lnTo>
                      <a:pt x="160" y="192"/>
                    </a:lnTo>
                    <a:lnTo>
                      <a:pt x="160" y="191"/>
                    </a:lnTo>
                    <a:lnTo>
                      <a:pt x="162" y="191"/>
                    </a:lnTo>
                    <a:lnTo>
                      <a:pt x="160" y="191"/>
                    </a:lnTo>
                    <a:lnTo>
                      <a:pt x="162" y="189"/>
                    </a:lnTo>
                    <a:lnTo>
                      <a:pt x="162" y="191"/>
                    </a:lnTo>
                    <a:lnTo>
                      <a:pt x="163" y="191"/>
                    </a:lnTo>
                    <a:lnTo>
                      <a:pt x="162" y="191"/>
                    </a:lnTo>
                    <a:lnTo>
                      <a:pt x="163" y="191"/>
                    </a:lnTo>
                    <a:lnTo>
                      <a:pt x="163" y="192"/>
                    </a:lnTo>
                    <a:lnTo>
                      <a:pt x="163" y="191"/>
                    </a:lnTo>
                    <a:lnTo>
                      <a:pt x="165" y="191"/>
                    </a:lnTo>
                    <a:lnTo>
                      <a:pt x="167" y="191"/>
                    </a:lnTo>
                    <a:lnTo>
                      <a:pt x="167" y="189"/>
                    </a:lnTo>
                    <a:lnTo>
                      <a:pt x="169" y="189"/>
                    </a:lnTo>
                    <a:lnTo>
                      <a:pt x="167" y="189"/>
                    </a:lnTo>
                    <a:lnTo>
                      <a:pt x="167" y="187"/>
                    </a:lnTo>
                    <a:lnTo>
                      <a:pt x="167" y="185"/>
                    </a:lnTo>
                    <a:lnTo>
                      <a:pt x="167" y="183"/>
                    </a:lnTo>
                    <a:lnTo>
                      <a:pt x="165" y="185"/>
                    </a:lnTo>
                    <a:lnTo>
                      <a:pt x="165" y="187"/>
                    </a:lnTo>
                    <a:lnTo>
                      <a:pt x="163" y="187"/>
                    </a:lnTo>
                    <a:lnTo>
                      <a:pt x="162" y="187"/>
                    </a:lnTo>
                    <a:lnTo>
                      <a:pt x="160" y="187"/>
                    </a:lnTo>
                    <a:lnTo>
                      <a:pt x="160" y="185"/>
                    </a:lnTo>
                    <a:lnTo>
                      <a:pt x="162" y="185"/>
                    </a:lnTo>
                    <a:lnTo>
                      <a:pt x="162" y="183"/>
                    </a:lnTo>
                    <a:lnTo>
                      <a:pt x="160" y="183"/>
                    </a:lnTo>
                    <a:lnTo>
                      <a:pt x="160" y="181"/>
                    </a:lnTo>
                    <a:lnTo>
                      <a:pt x="158" y="179"/>
                    </a:lnTo>
                    <a:lnTo>
                      <a:pt x="156" y="179"/>
                    </a:lnTo>
                    <a:lnTo>
                      <a:pt x="156" y="177"/>
                    </a:lnTo>
                    <a:lnTo>
                      <a:pt x="154" y="179"/>
                    </a:lnTo>
                    <a:lnTo>
                      <a:pt x="154" y="177"/>
                    </a:lnTo>
                    <a:lnTo>
                      <a:pt x="152" y="177"/>
                    </a:lnTo>
                    <a:lnTo>
                      <a:pt x="152" y="175"/>
                    </a:lnTo>
                    <a:lnTo>
                      <a:pt x="150" y="173"/>
                    </a:lnTo>
                    <a:lnTo>
                      <a:pt x="152" y="173"/>
                    </a:lnTo>
                    <a:lnTo>
                      <a:pt x="152" y="169"/>
                    </a:lnTo>
                    <a:lnTo>
                      <a:pt x="154" y="169"/>
                    </a:lnTo>
                    <a:lnTo>
                      <a:pt x="154" y="167"/>
                    </a:lnTo>
                    <a:lnTo>
                      <a:pt x="152" y="167"/>
                    </a:lnTo>
                    <a:lnTo>
                      <a:pt x="150" y="167"/>
                    </a:lnTo>
                    <a:lnTo>
                      <a:pt x="150" y="169"/>
                    </a:lnTo>
                    <a:lnTo>
                      <a:pt x="148" y="169"/>
                    </a:lnTo>
                    <a:lnTo>
                      <a:pt x="148" y="171"/>
                    </a:lnTo>
                    <a:lnTo>
                      <a:pt x="148" y="169"/>
                    </a:lnTo>
                    <a:lnTo>
                      <a:pt x="148" y="167"/>
                    </a:lnTo>
                    <a:lnTo>
                      <a:pt x="146" y="167"/>
                    </a:lnTo>
                    <a:lnTo>
                      <a:pt x="144" y="166"/>
                    </a:lnTo>
                    <a:lnTo>
                      <a:pt x="144" y="167"/>
                    </a:lnTo>
                    <a:lnTo>
                      <a:pt x="142" y="167"/>
                    </a:lnTo>
                    <a:lnTo>
                      <a:pt x="142" y="169"/>
                    </a:lnTo>
                    <a:lnTo>
                      <a:pt x="140" y="169"/>
                    </a:lnTo>
                    <a:lnTo>
                      <a:pt x="139" y="169"/>
                    </a:lnTo>
                    <a:lnTo>
                      <a:pt x="140" y="169"/>
                    </a:lnTo>
                    <a:lnTo>
                      <a:pt x="140" y="167"/>
                    </a:lnTo>
                    <a:lnTo>
                      <a:pt x="139" y="167"/>
                    </a:lnTo>
                    <a:lnTo>
                      <a:pt x="139" y="169"/>
                    </a:lnTo>
                    <a:lnTo>
                      <a:pt x="137" y="171"/>
                    </a:lnTo>
                    <a:lnTo>
                      <a:pt x="137" y="169"/>
                    </a:lnTo>
                    <a:lnTo>
                      <a:pt x="137" y="167"/>
                    </a:lnTo>
                    <a:lnTo>
                      <a:pt x="139" y="166"/>
                    </a:lnTo>
                    <a:lnTo>
                      <a:pt x="139" y="164"/>
                    </a:lnTo>
                    <a:lnTo>
                      <a:pt x="139" y="166"/>
                    </a:lnTo>
                    <a:lnTo>
                      <a:pt x="137" y="166"/>
                    </a:lnTo>
                    <a:lnTo>
                      <a:pt x="137" y="164"/>
                    </a:lnTo>
                    <a:lnTo>
                      <a:pt x="135" y="166"/>
                    </a:lnTo>
                    <a:lnTo>
                      <a:pt x="135" y="164"/>
                    </a:lnTo>
                    <a:lnTo>
                      <a:pt x="137" y="164"/>
                    </a:lnTo>
                    <a:lnTo>
                      <a:pt x="135" y="164"/>
                    </a:lnTo>
                    <a:lnTo>
                      <a:pt x="133" y="164"/>
                    </a:lnTo>
                    <a:lnTo>
                      <a:pt x="135" y="164"/>
                    </a:lnTo>
                    <a:lnTo>
                      <a:pt x="135" y="162"/>
                    </a:lnTo>
                    <a:lnTo>
                      <a:pt x="137" y="162"/>
                    </a:lnTo>
                    <a:lnTo>
                      <a:pt x="137" y="160"/>
                    </a:lnTo>
                    <a:lnTo>
                      <a:pt x="139" y="158"/>
                    </a:lnTo>
                    <a:lnTo>
                      <a:pt x="137" y="156"/>
                    </a:lnTo>
                    <a:lnTo>
                      <a:pt x="139" y="156"/>
                    </a:lnTo>
                    <a:lnTo>
                      <a:pt x="137" y="156"/>
                    </a:lnTo>
                    <a:lnTo>
                      <a:pt x="137" y="154"/>
                    </a:lnTo>
                    <a:lnTo>
                      <a:pt x="135" y="154"/>
                    </a:lnTo>
                    <a:lnTo>
                      <a:pt x="133" y="154"/>
                    </a:lnTo>
                    <a:lnTo>
                      <a:pt x="135" y="152"/>
                    </a:lnTo>
                    <a:lnTo>
                      <a:pt x="133" y="152"/>
                    </a:lnTo>
                    <a:lnTo>
                      <a:pt x="131" y="152"/>
                    </a:lnTo>
                    <a:lnTo>
                      <a:pt x="131" y="150"/>
                    </a:lnTo>
                    <a:lnTo>
                      <a:pt x="129" y="150"/>
                    </a:lnTo>
                    <a:lnTo>
                      <a:pt x="129" y="148"/>
                    </a:lnTo>
                    <a:lnTo>
                      <a:pt x="129" y="146"/>
                    </a:lnTo>
                    <a:lnTo>
                      <a:pt x="131" y="146"/>
                    </a:lnTo>
                    <a:lnTo>
                      <a:pt x="131" y="144"/>
                    </a:lnTo>
                    <a:lnTo>
                      <a:pt x="129" y="144"/>
                    </a:lnTo>
                    <a:lnTo>
                      <a:pt x="129" y="143"/>
                    </a:lnTo>
                    <a:lnTo>
                      <a:pt x="127" y="146"/>
                    </a:lnTo>
                    <a:lnTo>
                      <a:pt x="123" y="144"/>
                    </a:lnTo>
                    <a:lnTo>
                      <a:pt x="123" y="143"/>
                    </a:lnTo>
                    <a:lnTo>
                      <a:pt x="125" y="143"/>
                    </a:lnTo>
                    <a:lnTo>
                      <a:pt x="125" y="141"/>
                    </a:lnTo>
                    <a:lnTo>
                      <a:pt x="125" y="139"/>
                    </a:lnTo>
                    <a:lnTo>
                      <a:pt x="125" y="141"/>
                    </a:lnTo>
                    <a:lnTo>
                      <a:pt x="123" y="141"/>
                    </a:lnTo>
                    <a:lnTo>
                      <a:pt x="121" y="141"/>
                    </a:lnTo>
                    <a:lnTo>
                      <a:pt x="119" y="141"/>
                    </a:lnTo>
                    <a:lnTo>
                      <a:pt x="119" y="139"/>
                    </a:lnTo>
                    <a:lnTo>
                      <a:pt x="119" y="137"/>
                    </a:lnTo>
                    <a:lnTo>
                      <a:pt x="117" y="139"/>
                    </a:lnTo>
                    <a:lnTo>
                      <a:pt x="117" y="141"/>
                    </a:lnTo>
                    <a:lnTo>
                      <a:pt x="115" y="141"/>
                    </a:lnTo>
                    <a:lnTo>
                      <a:pt x="114" y="141"/>
                    </a:lnTo>
                    <a:lnTo>
                      <a:pt x="114" y="143"/>
                    </a:lnTo>
                    <a:lnTo>
                      <a:pt x="112" y="143"/>
                    </a:lnTo>
                    <a:lnTo>
                      <a:pt x="110" y="143"/>
                    </a:lnTo>
                    <a:lnTo>
                      <a:pt x="108" y="144"/>
                    </a:lnTo>
                    <a:lnTo>
                      <a:pt x="108" y="146"/>
                    </a:lnTo>
                    <a:lnTo>
                      <a:pt x="108" y="148"/>
                    </a:lnTo>
                    <a:lnTo>
                      <a:pt x="106" y="148"/>
                    </a:lnTo>
                    <a:lnTo>
                      <a:pt x="106" y="150"/>
                    </a:lnTo>
                    <a:lnTo>
                      <a:pt x="104" y="150"/>
                    </a:lnTo>
                    <a:lnTo>
                      <a:pt x="104" y="152"/>
                    </a:lnTo>
                    <a:lnTo>
                      <a:pt x="102" y="154"/>
                    </a:lnTo>
                    <a:lnTo>
                      <a:pt x="100" y="152"/>
                    </a:lnTo>
                    <a:lnTo>
                      <a:pt x="102" y="152"/>
                    </a:lnTo>
                    <a:lnTo>
                      <a:pt x="102" y="150"/>
                    </a:lnTo>
                    <a:lnTo>
                      <a:pt x="100" y="150"/>
                    </a:lnTo>
                    <a:lnTo>
                      <a:pt x="98" y="150"/>
                    </a:lnTo>
                    <a:lnTo>
                      <a:pt x="98" y="148"/>
                    </a:lnTo>
                    <a:lnTo>
                      <a:pt x="98" y="146"/>
                    </a:lnTo>
                    <a:lnTo>
                      <a:pt x="96" y="146"/>
                    </a:lnTo>
                    <a:lnTo>
                      <a:pt x="94" y="146"/>
                    </a:lnTo>
                    <a:lnTo>
                      <a:pt x="92" y="146"/>
                    </a:lnTo>
                    <a:lnTo>
                      <a:pt x="92" y="148"/>
                    </a:lnTo>
                    <a:lnTo>
                      <a:pt x="90" y="148"/>
                    </a:lnTo>
                    <a:lnTo>
                      <a:pt x="89" y="148"/>
                    </a:lnTo>
                    <a:lnTo>
                      <a:pt x="89" y="146"/>
                    </a:lnTo>
                    <a:lnTo>
                      <a:pt x="89" y="144"/>
                    </a:lnTo>
                    <a:lnTo>
                      <a:pt x="90" y="143"/>
                    </a:lnTo>
                    <a:lnTo>
                      <a:pt x="90" y="141"/>
                    </a:lnTo>
                    <a:lnTo>
                      <a:pt x="89" y="141"/>
                    </a:lnTo>
                    <a:lnTo>
                      <a:pt x="89" y="137"/>
                    </a:lnTo>
                    <a:lnTo>
                      <a:pt x="87" y="137"/>
                    </a:lnTo>
                    <a:lnTo>
                      <a:pt x="85" y="137"/>
                    </a:lnTo>
                    <a:lnTo>
                      <a:pt x="85" y="139"/>
                    </a:lnTo>
                    <a:lnTo>
                      <a:pt x="85" y="137"/>
                    </a:lnTo>
                    <a:lnTo>
                      <a:pt x="83" y="137"/>
                    </a:lnTo>
                    <a:lnTo>
                      <a:pt x="85" y="135"/>
                    </a:lnTo>
                    <a:lnTo>
                      <a:pt x="85" y="133"/>
                    </a:lnTo>
                    <a:lnTo>
                      <a:pt x="83" y="131"/>
                    </a:lnTo>
                    <a:lnTo>
                      <a:pt x="81" y="131"/>
                    </a:lnTo>
                    <a:lnTo>
                      <a:pt x="79" y="129"/>
                    </a:lnTo>
                    <a:lnTo>
                      <a:pt x="77" y="129"/>
                    </a:lnTo>
                    <a:lnTo>
                      <a:pt x="77" y="127"/>
                    </a:lnTo>
                    <a:lnTo>
                      <a:pt x="75" y="125"/>
                    </a:lnTo>
                    <a:lnTo>
                      <a:pt x="73" y="123"/>
                    </a:lnTo>
                    <a:lnTo>
                      <a:pt x="73" y="121"/>
                    </a:lnTo>
                    <a:lnTo>
                      <a:pt x="71" y="121"/>
                    </a:lnTo>
                    <a:lnTo>
                      <a:pt x="69" y="119"/>
                    </a:lnTo>
                    <a:lnTo>
                      <a:pt x="69" y="121"/>
                    </a:lnTo>
                    <a:lnTo>
                      <a:pt x="67" y="119"/>
                    </a:lnTo>
                    <a:lnTo>
                      <a:pt x="67" y="118"/>
                    </a:lnTo>
                    <a:lnTo>
                      <a:pt x="69" y="118"/>
                    </a:lnTo>
                    <a:lnTo>
                      <a:pt x="69" y="116"/>
                    </a:lnTo>
                    <a:lnTo>
                      <a:pt x="67" y="116"/>
                    </a:lnTo>
                    <a:lnTo>
                      <a:pt x="69" y="114"/>
                    </a:lnTo>
                    <a:lnTo>
                      <a:pt x="69" y="112"/>
                    </a:lnTo>
                    <a:lnTo>
                      <a:pt x="69" y="110"/>
                    </a:lnTo>
                    <a:lnTo>
                      <a:pt x="69" y="112"/>
                    </a:lnTo>
                    <a:lnTo>
                      <a:pt x="69" y="110"/>
                    </a:lnTo>
                    <a:lnTo>
                      <a:pt x="67" y="110"/>
                    </a:lnTo>
                    <a:lnTo>
                      <a:pt x="69" y="110"/>
                    </a:lnTo>
                    <a:lnTo>
                      <a:pt x="71" y="110"/>
                    </a:lnTo>
                    <a:lnTo>
                      <a:pt x="71" y="108"/>
                    </a:lnTo>
                    <a:lnTo>
                      <a:pt x="69" y="108"/>
                    </a:lnTo>
                    <a:lnTo>
                      <a:pt x="69" y="106"/>
                    </a:lnTo>
                    <a:lnTo>
                      <a:pt x="71" y="106"/>
                    </a:lnTo>
                    <a:lnTo>
                      <a:pt x="71" y="104"/>
                    </a:lnTo>
                    <a:lnTo>
                      <a:pt x="71" y="102"/>
                    </a:lnTo>
                    <a:lnTo>
                      <a:pt x="69" y="100"/>
                    </a:lnTo>
                    <a:lnTo>
                      <a:pt x="71" y="100"/>
                    </a:lnTo>
                    <a:lnTo>
                      <a:pt x="69" y="100"/>
                    </a:lnTo>
                    <a:lnTo>
                      <a:pt x="69" y="98"/>
                    </a:lnTo>
                    <a:lnTo>
                      <a:pt x="69" y="96"/>
                    </a:lnTo>
                    <a:lnTo>
                      <a:pt x="69" y="94"/>
                    </a:lnTo>
                    <a:lnTo>
                      <a:pt x="67" y="94"/>
                    </a:lnTo>
                    <a:lnTo>
                      <a:pt x="67" y="96"/>
                    </a:lnTo>
                    <a:lnTo>
                      <a:pt x="66" y="98"/>
                    </a:lnTo>
                    <a:lnTo>
                      <a:pt x="66" y="96"/>
                    </a:lnTo>
                    <a:lnTo>
                      <a:pt x="64" y="96"/>
                    </a:lnTo>
                    <a:lnTo>
                      <a:pt x="62" y="96"/>
                    </a:lnTo>
                    <a:lnTo>
                      <a:pt x="62" y="98"/>
                    </a:lnTo>
                    <a:lnTo>
                      <a:pt x="60" y="98"/>
                    </a:lnTo>
                    <a:lnTo>
                      <a:pt x="58" y="98"/>
                    </a:lnTo>
                    <a:lnTo>
                      <a:pt x="60" y="98"/>
                    </a:lnTo>
                    <a:lnTo>
                      <a:pt x="58" y="96"/>
                    </a:lnTo>
                    <a:lnTo>
                      <a:pt x="54" y="94"/>
                    </a:lnTo>
                    <a:lnTo>
                      <a:pt x="50" y="102"/>
                    </a:lnTo>
                    <a:lnTo>
                      <a:pt x="48" y="106"/>
                    </a:lnTo>
                    <a:lnTo>
                      <a:pt x="37" y="98"/>
                    </a:lnTo>
                    <a:lnTo>
                      <a:pt x="35" y="96"/>
                    </a:lnTo>
                    <a:lnTo>
                      <a:pt x="33" y="94"/>
                    </a:lnTo>
                    <a:lnTo>
                      <a:pt x="35" y="94"/>
                    </a:lnTo>
                    <a:lnTo>
                      <a:pt x="35" y="93"/>
                    </a:lnTo>
                    <a:lnTo>
                      <a:pt x="31" y="94"/>
                    </a:lnTo>
                    <a:lnTo>
                      <a:pt x="31" y="91"/>
                    </a:lnTo>
                    <a:lnTo>
                      <a:pt x="33" y="91"/>
                    </a:lnTo>
                    <a:lnTo>
                      <a:pt x="33" y="89"/>
                    </a:lnTo>
                    <a:lnTo>
                      <a:pt x="33" y="91"/>
                    </a:lnTo>
                    <a:lnTo>
                      <a:pt x="33" y="89"/>
                    </a:lnTo>
                    <a:lnTo>
                      <a:pt x="33" y="91"/>
                    </a:lnTo>
                    <a:lnTo>
                      <a:pt x="31" y="89"/>
                    </a:lnTo>
                    <a:lnTo>
                      <a:pt x="29" y="87"/>
                    </a:lnTo>
                    <a:lnTo>
                      <a:pt x="29" y="85"/>
                    </a:lnTo>
                    <a:lnTo>
                      <a:pt x="27" y="87"/>
                    </a:lnTo>
                    <a:lnTo>
                      <a:pt x="25" y="87"/>
                    </a:lnTo>
                    <a:lnTo>
                      <a:pt x="25" y="85"/>
                    </a:lnTo>
                    <a:lnTo>
                      <a:pt x="25" y="87"/>
                    </a:lnTo>
                    <a:lnTo>
                      <a:pt x="23" y="87"/>
                    </a:lnTo>
                    <a:lnTo>
                      <a:pt x="23" y="85"/>
                    </a:lnTo>
                    <a:lnTo>
                      <a:pt x="21" y="87"/>
                    </a:lnTo>
                    <a:lnTo>
                      <a:pt x="19" y="87"/>
                    </a:lnTo>
                    <a:lnTo>
                      <a:pt x="21" y="89"/>
                    </a:lnTo>
                    <a:lnTo>
                      <a:pt x="19" y="89"/>
                    </a:lnTo>
                    <a:lnTo>
                      <a:pt x="17" y="89"/>
                    </a:lnTo>
                    <a:lnTo>
                      <a:pt x="17" y="87"/>
                    </a:lnTo>
                    <a:lnTo>
                      <a:pt x="17" y="85"/>
                    </a:lnTo>
                    <a:lnTo>
                      <a:pt x="19" y="85"/>
                    </a:lnTo>
                    <a:lnTo>
                      <a:pt x="19" y="83"/>
                    </a:lnTo>
                    <a:lnTo>
                      <a:pt x="17" y="81"/>
                    </a:lnTo>
                    <a:lnTo>
                      <a:pt x="16" y="81"/>
                    </a:lnTo>
                    <a:lnTo>
                      <a:pt x="16" y="83"/>
                    </a:lnTo>
                    <a:lnTo>
                      <a:pt x="14" y="83"/>
                    </a:lnTo>
                    <a:lnTo>
                      <a:pt x="14" y="85"/>
                    </a:lnTo>
                    <a:lnTo>
                      <a:pt x="12" y="87"/>
                    </a:lnTo>
                    <a:lnTo>
                      <a:pt x="10" y="87"/>
                    </a:lnTo>
                    <a:lnTo>
                      <a:pt x="10" y="89"/>
                    </a:lnTo>
                    <a:lnTo>
                      <a:pt x="8" y="89"/>
                    </a:lnTo>
                    <a:lnTo>
                      <a:pt x="6" y="91"/>
                    </a:lnTo>
                    <a:lnTo>
                      <a:pt x="4" y="89"/>
                    </a:lnTo>
                    <a:lnTo>
                      <a:pt x="4" y="87"/>
                    </a:lnTo>
                    <a:lnTo>
                      <a:pt x="2" y="87"/>
                    </a:lnTo>
                    <a:lnTo>
                      <a:pt x="2" y="89"/>
                    </a:lnTo>
                    <a:lnTo>
                      <a:pt x="0" y="89"/>
                    </a:lnTo>
                    <a:lnTo>
                      <a:pt x="0" y="91"/>
                    </a:lnTo>
                    <a:lnTo>
                      <a:pt x="0" y="89"/>
                    </a:lnTo>
                    <a:lnTo>
                      <a:pt x="0" y="87"/>
                    </a:lnTo>
                    <a:lnTo>
                      <a:pt x="0" y="85"/>
                    </a:lnTo>
                    <a:lnTo>
                      <a:pt x="2" y="83"/>
                    </a:lnTo>
                    <a:lnTo>
                      <a:pt x="2" y="81"/>
                    </a:lnTo>
                    <a:lnTo>
                      <a:pt x="2" y="79"/>
                    </a:lnTo>
                    <a:lnTo>
                      <a:pt x="4" y="79"/>
                    </a:lnTo>
                    <a:lnTo>
                      <a:pt x="2" y="79"/>
                    </a:lnTo>
                    <a:lnTo>
                      <a:pt x="2" y="77"/>
                    </a:lnTo>
                    <a:lnTo>
                      <a:pt x="2" y="75"/>
                    </a:lnTo>
                    <a:lnTo>
                      <a:pt x="4" y="75"/>
                    </a:lnTo>
                    <a:lnTo>
                      <a:pt x="6" y="75"/>
                    </a:lnTo>
                    <a:lnTo>
                      <a:pt x="8" y="75"/>
                    </a:lnTo>
                    <a:lnTo>
                      <a:pt x="8" y="73"/>
                    </a:lnTo>
                    <a:lnTo>
                      <a:pt x="8" y="71"/>
                    </a:lnTo>
                    <a:lnTo>
                      <a:pt x="10" y="71"/>
                    </a:lnTo>
                    <a:lnTo>
                      <a:pt x="10" y="69"/>
                    </a:lnTo>
                    <a:lnTo>
                      <a:pt x="12" y="69"/>
                    </a:lnTo>
                    <a:lnTo>
                      <a:pt x="12" y="68"/>
                    </a:lnTo>
                    <a:lnTo>
                      <a:pt x="12" y="66"/>
                    </a:lnTo>
                    <a:lnTo>
                      <a:pt x="12" y="68"/>
                    </a:lnTo>
                    <a:lnTo>
                      <a:pt x="14" y="68"/>
                    </a:lnTo>
                    <a:lnTo>
                      <a:pt x="14" y="69"/>
                    </a:lnTo>
                    <a:lnTo>
                      <a:pt x="16" y="71"/>
                    </a:lnTo>
                    <a:lnTo>
                      <a:pt x="16" y="73"/>
                    </a:lnTo>
                    <a:lnTo>
                      <a:pt x="17" y="73"/>
                    </a:lnTo>
                    <a:lnTo>
                      <a:pt x="17" y="71"/>
                    </a:lnTo>
                    <a:lnTo>
                      <a:pt x="19" y="71"/>
                    </a:lnTo>
                    <a:lnTo>
                      <a:pt x="19" y="73"/>
                    </a:lnTo>
                    <a:lnTo>
                      <a:pt x="19" y="75"/>
                    </a:lnTo>
                    <a:lnTo>
                      <a:pt x="19" y="77"/>
                    </a:lnTo>
                    <a:lnTo>
                      <a:pt x="21" y="75"/>
                    </a:lnTo>
                    <a:lnTo>
                      <a:pt x="19" y="73"/>
                    </a:lnTo>
                    <a:lnTo>
                      <a:pt x="21" y="73"/>
                    </a:lnTo>
                    <a:lnTo>
                      <a:pt x="21" y="71"/>
                    </a:lnTo>
                    <a:lnTo>
                      <a:pt x="23" y="71"/>
                    </a:lnTo>
                    <a:lnTo>
                      <a:pt x="21" y="77"/>
                    </a:lnTo>
                    <a:lnTo>
                      <a:pt x="21" y="79"/>
                    </a:lnTo>
                    <a:lnTo>
                      <a:pt x="23" y="77"/>
                    </a:lnTo>
                    <a:lnTo>
                      <a:pt x="23" y="75"/>
                    </a:lnTo>
                    <a:lnTo>
                      <a:pt x="23" y="73"/>
                    </a:lnTo>
                    <a:lnTo>
                      <a:pt x="23" y="71"/>
                    </a:lnTo>
                    <a:lnTo>
                      <a:pt x="25" y="69"/>
                    </a:lnTo>
                    <a:lnTo>
                      <a:pt x="25" y="68"/>
                    </a:lnTo>
                    <a:lnTo>
                      <a:pt x="27" y="68"/>
                    </a:lnTo>
                    <a:lnTo>
                      <a:pt x="27" y="69"/>
                    </a:lnTo>
                    <a:lnTo>
                      <a:pt x="29" y="69"/>
                    </a:lnTo>
                    <a:lnTo>
                      <a:pt x="27" y="71"/>
                    </a:lnTo>
                    <a:lnTo>
                      <a:pt x="29" y="71"/>
                    </a:lnTo>
                    <a:lnTo>
                      <a:pt x="31" y="71"/>
                    </a:lnTo>
                    <a:lnTo>
                      <a:pt x="33" y="71"/>
                    </a:lnTo>
                    <a:lnTo>
                      <a:pt x="33" y="69"/>
                    </a:lnTo>
                    <a:lnTo>
                      <a:pt x="35" y="69"/>
                    </a:lnTo>
                    <a:lnTo>
                      <a:pt x="35" y="68"/>
                    </a:lnTo>
                    <a:lnTo>
                      <a:pt x="35" y="66"/>
                    </a:lnTo>
                    <a:lnTo>
                      <a:pt x="35" y="64"/>
                    </a:lnTo>
                    <a:lnTo>
                      <a:pt x="33" y="66"/>
                    </a:lnTo>
                    <a:lnTo>
                      <a:pt x="33" y="64"/>
                    </a:lnTo>
                    <a:lnTo>
                      <a:pt x="33" y="62"/>
                    </a:lnTo>
                    <a:lnTo>
                      <a:pt x="35" y="62"/>
                    </a:lnTo>
                    <a:lnTo>
                      <a:pt x="37" y="62"/>
                    </a:lnTo>
                    <a:lnTo>
                      <a:pt x="37" y="64"/>
                    </a:lnTo>
                    <a:lnTo>
                      <a:pt x="37" y="62"/>
                    </a:lnTo>
                    <a:lnTo>
                      <a:pt x="37" y="64"/>
                    </a:lnTo>
                    <a:lnTo>
                      <a:pt x="37" y="62"/>
                    </a:lnTo>
                    <a:lnTo>
                      <a:pt x="39" y="62"/>
                    </a:lnTo>
                    <a:lnTo>
                      <a:pt x="39" y="64"/>
                    </a:lnTo>
                    <a:lnTo>
                      <a:pt x="39" y="66"/>
                    </a:lnTo>
                    <a:lnTo>
                      <a:pt x="39" y="64"/>
                    </a:lnTo>
                    <a:lnTo>
                      <a:pt x="39" y="62"/>
                    </a:lnTo>
                    <a:lnTo>
                      <a:pt x="41" y="62"/>
                    </a:lnTo>
                    <a:lnTo>
                      <a:pt x="41" y="60"/>
                    </a:lnTo>
                    <a:lnTo>
                      <a:pt x="42" y="56"/>
                    </a:lnTo>
                    <a:lnTo>
                      <a:pt x="41" y="54"/>
                    </a:lnTo>
                    <a:lnTo>
                      <a:pt x="42" y="54"/>
                    </a:lnTo>
                    <a:lnTo>
                      <a:pt x="42" y="52"/>
                    </a:lnTo>
                    <a:lnTo>
                      <a:pt x="42" y="50"/>
                    </a:lnTo>
                    <a:lnTo>
                      <a:pt x="41" y="48"/>
                    </a:lnTo>
                    <a:lnTo>
                      <a:pt x="39" y="48"/>
                    </a:lnTo>
                    <a:lnTo>
                      <a:pt x="39" y="50"/>
                    </a:lnTo>
                    <a:lnTo>
                      <a:pt x="39" y="52"/>
                    </a:lnTo>
                    <a:lnTo>
                      <a:pt x="37" y="52"/>
                    </a:lnTo>
                    <a:lnTo>
                      <a:pt x="39" y="50"/>
                    </a:lnTo>
                    <a:lnTo>
                      <a:pt x="37" y="50"/>
                    </a:lnTo>
                    <a:lnTo>
                      <a:pt x="37" y="48"/>
                    </a:lnTo>
                    <a:lnTo>
                      <a:pt x="35" y="48"/>
                    </a:lnTo>
                    <a:lnTo>
                      <a:pt x="35" y="50"/>
                    </a:lnTo>
                    <a:lnTo>
                      <a:pt x="33" y="50"/>
                    </a:lnTo>
                    <a:lnTo>
                      <a:pt x="31" y="52"/>
                    </a:lnTo>
                    <a:lnTo>
                      <a:pt x="31" y="50"/>
                    </a:lnTo>
                    <a:lnTo>
                      <a:pt x="33" y="48"/>
                    </a:lnTo>
                    <a:lnTo>
                      <a:pt x="33" y="46"/>
                    </a:lnTo>
                    <a:lnTo>
                      <a:pt x="33" y="44"/>
                    </a:lnTo>
                    <a:lnTo>
                      <a:pt x="35" y="44"/>
                    </a:lnTo>
                    <a:lnTo>
                      <a:pt x="35" y="43"/>
                    </a:lnTo>
                    <a:lnTo>
                      <a:pt x="33" y="43"/>
                    </a:lnTo>
                    <a:lnTo>
                      <a:pt x="35" y="43"/>
                    </a:lnTo>
                    <a:lnTo>
                      <a:pt x="37" y="43"/>
                    </a:lnTo>
                    <a:lnTo>
                      <a:pt x="35" y="43"/>
                    </a:lnTo>
                    <a:lnTo>
                      <a:pt x="37" y="43"/>
                    </a:lnTo>
                    <a:lnTo>
                      <a:pt x="37" y="44"/>
                    </a:lnTo>
                    <a:lnTo>
                      <a:pt x="39" y="44"/>
                    </a:lnTo>
                    <a:lnTo>
                      <a:pt x="41" y="44"/>
                    </a:lnTo>
                    <a:lnTo>
                      <a:pt x="41" y="43"/>
                    </a:lnTo>
                    <a:lnTo>
                      <a:pt x="42" y="43"/>
                    </a:lnTo>
                    <a:lnTo>
                      <a:pt x="44" y="43"/>
                    </a:lnTo>
                    <a:lnTo>
                      <a:pt x="44" y="41"/>
                    </a:lnTo>
                    <a:lnTo>
                      <a:pt x="46" y="41"/>
                    </a:lnTo>
                    <a:lnTo>
                      <a:pt x="46" y="39"/>
                    </a:lnTo>
                    <a:lnTo>
                      <a:pt x="46" y="41"/>
                    </a:lnTo>
                    <a:lnTo>
                      <a:pt x="46" y="39"/>
                    </a:lnTo>
                    <a:lnTo>
                      <a:pt x="48" y="39"/>
                    </a:lnTo>
                    <a:lnTo>
                      <a:pt x="48" y="37"/>
                    </a:lnTo>
                    <a:lnTo>
                      <a:pt x="50" y="37"/>
                    </a:lnTo>
                    <a:lnTo>
                      <a:pt x="52" y="39"/>
                    </a:lnTo>
                    <a:lnTo>
                      <a:pt x="50" y="39"/>
                    </a:lnTo>
                    <a:lnTo>
                      <a:pt x="52" y="39"/>
                    </a:lnTo>
                    <a:lnTo>
                      <a:pt x="54" y="39"/>
                    </a:lnTo>
                    <a:lnTo>
                      <a:pt x="54" y="37"/>
                    </a:lnTo>
                    <a:lnTo>
                      <a:pt x="56" y="37"/>
                    </a:lnTo>
                    <a:lnTo>
                      <a:pt x="54" y="37"/>
                    </a:lnTo>
                    <a:lnTo>
                      <a:pt x="54" y="35"/>
                    </a:lnTo>
                    <a:lnTo>
                      <a:pt x="54" y="33"/>
                    </a:lnTo>
                    <a:lnTo>
                      <a:pt x="56" y="33"/>
                    </a:lnTo>
                    <a:lnTo>
                      <a:pt x="54" y="33"/>
                    </a:lnTo>
                    <a:lnTo>
                      <a:pt x="52" y="33"/>
                    </a:lnTo>
                    <a:lnTo>
                      <a:pt x="54" y="31"/>
                    </a:lnTo>
                    <a:lnTo>
                      <a:pt x="56" y="29"/>
                    </a:lnTo>
                    <a:lnTo>
                      <a:pt x="56" y="31"/>
                    </a:lnTo>
                    <a:lnTo>
                      <a:pt x="58" y="29"/>
                    </a:lnTo>
                    <a:lnTo>
                      <a:pt x="58" y="27"/>
                    </a:lnTo>
                    <a:lnTo>
                      <a:pt x="58" y="29"/>
                    </a:lnTo>
                    <a:lnTo>
                      <a:pt x="58" y="31"/>
                    </a:lnTo>
                    <a:lnTo>
                      <a:pt x="58" y="29"/>
                    </a:lnTo>
                    <a:lnTo>
                      <a:pt x="60" y="29"/>
                    </a:lnTo>
                    <a:lnTo>
                      <a:pt x="62" y="31"/>
                    </a:lnTo>
                    <a:lnTo>
                      <a:pt x="62" y="29"/>
                    </a:lnTo>
                    <a:lnTo>
                      <a:pt x="64" y="29"/>
                    </a:lnTo>
                    <a:lnTo>
                      <a:pt x="64" y="27"/>
                    </a:lnTo>
                    <a:lnTo>
                      <a:pt x="66" y="27"/>
                    </a:lnTo>
                    <a:lnTo>
                      <a:pt x="66" y="25"/>
                    </a:lnTo>
                    <a:lnTo>
                      <a:pt x="67" y="25"/>
                    </a:lnTo>
                    <a:lnTo>
                      <a:pt x="67" y="27"/>
                    </a:lnTo>
                    <a:lnTo>
                      <a:pt x="69" y="27"/>
                    </a:lnTo>
                    <a:lnTo>
                      <a:pt x="71" y="27"/>
                    </a:lnTo>
                    <a:lnTo>
                      <a:pt x="71" y="25"/>
                    </a:lnTo>
                    <a:lnTo>
                      <a:pt x="71" y="23"/>
                    </a:lnTo>
                    <a:lnTo>
                      <a:pt x="71" y="21"/>
                    </a:lnTo>
                    <a:lnTo>
                      <a:pt x="73" y="21"/>
                    </a:lnTo>
                    <a:lnTo>
                      <a:pt x="75" y="19"/>
                    </a:lnTo>
                    <a:lnTo>
                      <a:pt x="77" y="19"/>
                    </a:lnTo>
                    <a:lnTo>
                      <a:pt x="77" y="21"/>
                    </a:lnTo>
                    <a:lnTo>
                      <a:pt x="79" y="19"/>
                    </a:lnTo>
                    <a:lnTo>
                      <a:pt x="81" y="21"/>
                    </a:lnTo>
                    <a:lnTo>
                      <a:pt x="83" y="21"/>
                    </a:lnTo>
                    <a:lnTo>
                      <a:pt x="85" y="21"/>
                    </a:lnTo>
                    <a:lnTo>
                      <a:pt x="85" y="19"/>
                    </a:lnTo>
                    <a:lnTo>
                      <a:pt x="87" y="19"/>
                    </a:lnTo>
                    <a:lnTo>
                      <a:pt x="87" y="18"/>
                    </a:lnTo>
                    <a:lnTo>
                      <a:pt x="85" y="18"/>
                    </a:lnTo>
                    <a:lnTo>
                      <a:pt x="85" y="16"/>
                    </a:lnTo>
                    <a:lnTo>
                      <a:pt x="87" y="16"/>
                    </a:lnTo>
                    <a:lnTo>
                      <a:pt x="89" y="14"/>
                    </a:lnTo>
                    <a:lnTo>
                      <a:pt x="89" y="16"/>
                    </a:lnTo>
                    <a:lnTo>
                      <a:pt x="89" y="18"/>
                    </a:lnTo>
                    <a:lnTo>
                      <a:pt x="89" y="16"/>
                    </a:lnTo>
                    <a:lnTo>
                      <a:pt x="90" y="18"/>
                    </a:lnTo>
                    <a:lnTo>
                      <a:pt x="92" y="16"/>
                    </a:lnTo>
                    <a:lnTo>
                      <a:pt x="92" y="14"/>
                    </a:lnTo>
                    <a:lnTo>
                      <a:pt x="94" y="14"/>
                    </a:lnTo>
                    <a:lnTo>
                      <a:pt x="96" y="14"/>
                    </a:lnTo>
                    <a:lnTo>
                      <a:pt x="98" y="12"/>
                    </a:lnTo>
                    <a:lnTo>
                      <a:pt x="98" y="14"/>
                    </a:lnTo>
                    <a:lnTo>
                      <a:pt x="100" y="12"/>
                    </a:lnTo>
                    <a:lnTo>
                      <a:pt x="102" y="12"/>
                    </a:lnTo>
                    <a:lnTo>
                      <a:pt x="102" y="10"/>
                    </a:lnTo>
                    <a:lnTo>
                      <a:pt x="100" y="10"/>
                    </a:lnTo>
                    <a:lnTo>
                      <a:pt x="100" y="8"/>
                    </a:lnTo>
                    <a:lnTo>
                      <a:pt x="100" y="6"/>
                    </a:lnTo>
                    <a:lnTo>
                      <a:pt x="102" y="6"/>
                    </a:lnTo>
                    <a:lnTo>
                      <a:pt x="104" y="6"/>
                    </a:lnTo>
                    <a:lnTo>
                      <a:pt x="106" y="4"/>
                    </a:lnTo>
                    <a:lnTo>
                      <a:pt x="106" y="2"/>
                    </a:lnTo>
                    <a:lnTo>
                      <a:pt x="108" y="2"/>
                    </a:lnTo>
                    <a:lnTo>
                      <a:pt x="106" y="4"/>
                    </a:lnTo>
                    <a:lnTo>
                      <a:pt x="108" y="4"/>
                    </a:lnTo>
                    <a:lnTo>
                      <a:pt x="108" y="2"/>
                    </a:lnTo>
                    <a:lnTo>
                      <a:pt x="110" y="2"/>
                    </a:lnTo>
                    <a:lnTo>
                      <a:pt x="110" y="4"/>
                    </a:lnTo>
                    <a:lnTo>
                      <a:pt x="112" y="4"/>
                    </a:lnTo>
                    <a:lnTo>
                      <a:pt x="112" y="2"/>
                    </a:lnTo>
                    <a:lnTo>
                      <a:pt x="112" y="4"/>
                    </a:lnTo>
                    <a:lnTo>
                      <a:pt x="112" y="6"/>
                    </a:lnTo>
                    <a:lnTo>
                      <a:pt x="114" y="6"/>
                    </a:lnTo>
                    <a:lnTo>
                      <a:pt x="114" y="8"/>
                    </a:lnTo>
                    <a:lnTo>
                      <a:pt x="115" y="8"/>
                    </a:lnTo>
                    <a:lnTo>
                      <a:pt x="115" y="6"/>
                    </a:lnTo>
                    <a:lnTo>
                      <a:pt x="115" y="8"/>
                    </a:lnTo>
                    <a:lnTo>
                      <a:pt x="117" y="8"/>
                    </a:lnTo>
                    <a:lnTo>
                      <a:pt x="117" y="6"/>
                    </a:lnTo>
                    <a:lnTo>
                      <a:pt x="117" y="4"/>
                    </a:lnTo>
                    <a:lnTo>
                      <a:pt x="119" y="4"/>
                    </a:lnTo>
                    <a:lnTo>
                      <a:pt x="117" y="4"/>
                    </a:lnTo>
                    <a:lnTo>
                      <a:pt x="119" y="4"/>
                    </a:lnTo>
                    <a:lnTo>
                      <a:pt x="119" y="2"/>
                    </a:lnTo>
                    <a:lnTo>
                      <a:pt x="121" y="2"/>
                    </a:lnTo>
                    <a:lnTo>
                      <a:pt x="121" y="0"/>
                    </a:lnTo>
                    <a:lnTo>
                      <a:pt x="123" y="0"/>
                    </a:lnTo>
                    <a:lnTo>
                      <a:pt x="123" y="2"/>
                    </a:lnTo>
                    <a:lnTo>
                      <a:pt x="121" y="2"/>
                    </a:lnTo>
                    <a:lnTo>
                      <a:pt x="121" y="4"/>
                    </a:lnTo>
                    <a:lnTo>
                      <a:pt x="123" y="4"/>
                    </a:lnTo>
                    <a:lnTo>
                      <a:pt x="125" y="4"/>
                    </a:lnTo>
                    <a:lnTo>
                      <a:pt x="125" y="2"/>
                    </a:lnTo>
                    <a:lnTo>
                      <a:pt x="127" y="0"/>
                    </a:lnTo>
                    <a:lnTo>
                      <a:pt x="127" y="2"/>
                    </a:lnTo>
                    <a:lnTo>
                      <a:pt x="127" y="0"/>
                    </a:lnTo>
                    <a:lnTo>
                      <a:pt x="129" y="0"/>
                    </a:lnTo>
                    <a:lnTo>
                      <a:pt x="129" y="2"/>
                    </a:lnTo>
                    <a:lnTo>
                      <a:pt x="131" y="2"/>
                    </a:lnTo>
                    <a:lnTo>
                      <a:pt x="133" y="2"/>
                    </a:lnTo>
                    <a:lnTo>
                      <a:pt x="133" y="4"/>
                    </a:lnTo>
                    <a:lnTo>
                      <a:pt x="133" y="6"/>
                    </a:lnTo>
                    <a:lnTo>
                      <a:pt x="131" y="6"/>
                    </a:lnTo>
                    <a:lnTo>
                      <a:pt x="131" y="8"/>
                    </a:lnTo>
                    <a:lnTo>
                      <a:pt x="133" y="10"/>
                    </a:lnTo>
                    <a:lnTo>
                      <a:pt x="133" y="8"/>
                    </a:lnTo>
                    <a:lnTo>
                      <a:pt x="135" y="10"/>
                    </a:lnTo>
                    <a:lnTo>
                      <a:pt x="135" y="8"/>
                    </a:lnTo>
                    <a:lnTo>
                      <a:pt x="137" y="6"/>
                    </a:lnTo>
                    <a:lnTo>
                      <a:pt x="139" y="8"/>
                    </a:lnTo>
                    <a:lnTo>
                      <a:pt x="137" y="8"/>
                    </a:lnTo>
                    <a:lnTo>
                      <a:pt x="137" y="10"/>
                    </a:lnTo>
                    <a:lnTo>
                      <a:pt x="135" y="8"/>
                    </a:lnTo>
                    <a:lnTo>
                      <a:pt x="135" y="10"/>
                    </a:lnTo>
                    <a:lnTo>
                      <a:pt x="135" y="12"/>
                    </a:lnTo>
                    <a:lnTo>
                      <a:pt x="137" y="10"/>
                    </a:lnTo>
                    <a:lnTo>
                      <a:pt x="139" y="10"/>
                    </a:lnTo>
                    <a:lnTo>
                      <a:pt x="139" y="8"/>
                    </a:lnTo>
                    <a:lnTo>
                      <a:pt x="140" y="8"/>
                    </a:lnTo>
                    <a:lnTo>
                      <a:pt x="142" y="8"/>
                    </a:lnTo>
                    <a:lnTo>
                      <a:pt x="144" y="8"/>
                    </a:lnTo>
                    <a:lnTo>
                      <a:pt x="146" y="8"/>
                    </a:lnTo>
                    <a:lnTo>
                      <a:pt x="146" y="6"/>
                    </a:lnTo>
                    <a:lnTo>
                      <a:pt x="146" y="4"/>
                    </a:lnTo>
                    <a:lnTo>
                      <a:pt x="142" y="2"/>
                    </a:lnTo>
                    <a:lnTo>
                      <a:pt x="144" y="0"/>
                    </a:lnTo>
                    <a:lnTo>
                      <a:pt x="144" y="2"/>
                    </a:lnTo>
                    <a:lnTo>
                      <a:pt x="146" y="2"/>
                    </a:lnTo>
                    <a:lnTo>
                      <a:pt x="148" y="2"/>
                    </a:lnTo>
                    <a:lnTo>
                      <a:pt x="148" y="0"/>
                    </a:lnTo>
                    <a:lnTo>
                      <a:pt x="150" y="2"/>
                    </a:lnTo>
                    <a:lnTo>
                      <a:pt x="150" y="4"/>
                    </a:lnTo>
                    <a:lnTo>
                      <a:pt x="152" y="4"/>
                    </a:lnTo>
                    <a:lnTo>
                      <a:pt x="152" y="2"/>
                    </a:lnTo>
                    <a:lnTo>
                      <a:pt x="152" y="0"/>
                    </a:lnTo>
                    <a:lnTo>
                      <a:pt x="154" y="0"/>
                    </a:lnTo>
                    <a:lnTo>
                      <a:pt x="154" y="2"/>
                    </a:lnTo>
                    <a:lnTo>
                      <a:pt x="154" y="4"/>
                    </a:lnTo>
                    <a:lnTo>
                      <a:pt x="154" y="6"/>
                    </a:lnTo>
                    <a:lnTo>
                      <a:pt x="154" y="8"/>
                    </a:lnTo>
                    <a:lnTo>
                      <a:pt x="152" y="8"/>
                    </a:lnTo>
                    <a:lnTo>
                      <a:pt x="154" y="8"/>
                    </a:lnTo>
                    <a:lnTo>
                      <a:pt x="156" y="6"/>
                    </a:lnTo>
                    <a:lnTo>
                      <a:pt x="156" y="8"/>
                    </a:lnTo>
                    <a:lnTo>
                      <a:pt x="154" y="10"/>
                    </a:lnTo>
                    <a:lnTo>
                      <a:pt x="152" y="10"/>
                    </a:lnTo>
                    <a:lnTo>
                      <a:pt x="152" y="12"/>
                    </a:lnTo>
                    <a:lnTo>
                      <a:pt x="154" y="12"/>
                    </a:lnTo>
                    <a:lnTo>
                      <a:pt x="152" y="12"/>
                    </a:lnTo>
                    <a:lnTo>
                      <a:pt x="154" y="12"/>
                    </a:lnTo>
                    <a:lnTo>
                      <a:pt x="154" y="14"/>
                    </a:lnTo>
                    <a:lnTo>
                      <a:pt x="154" y="16"/>
                    </a:lnTo>
                    <a:lnTo>
                      <a:pt x="154" y="14"/>
                    </a:lnTo>
                    <a:lnTo>
                      <a:pt x="154" y="16"/>
                    </a:lnTo>
                    <a:lnTo>
                      <a:pt x="152" y="16"/>
                    </a:lnTo>
                    <a:lnTo>
                      <a:pt x="152" y="18"/>
                    </a:lnTo>
                    <a:lnTo>
                      <a:pt x="152" y="19"/>
                    </a:lnTo>
                    <a:lnTo>
                      <a:pt x="152" y="21"/>
                    </a:lnTo>
                    <a:lnTo>
                      <a:pt x="152" y="23"/>
                    </a:lnTo>
                    <a:lnTo>
                      <a:pt x="154" y="21"/>
                    </a:lnTo>
                    <a:lnTo>
                      <a:pt x="154" y="23"/>
                    </a:lnTo>
                    <a:lnTo>
                      <a:pt x="152" y="23"/>
                    </a:lnTo>
                    <a:lnTo>
                      <a:pt x="150" y="25"/>
                    </a:lnTo>
                    <a:lnTo>
                      <a:pt x="152" y="25"/>
                    </a:lnTo>
                    <a:lnTo>
                      <a:pt x="152" y="27"/>
                    </a:lnTo>
                    <a:lnTo>
                      <a:pt x="154" y="27"/>
                    </a:lnTo>
                    <a:lnTo>
                      <a:pt x="156" y="29"/>
                    </a:lnTo>
                    <a:lnTo>
                      <a:pt x="158" y="29"/>
                    </a:lnTo>
                    <a:lnTo>
                      <a:pt x="158" y="27"/>
                    </a:lnTo>
                    <a:lnTo>
                      <a:pt x="158" y="23"/>
                    </a:lnTo>
                    <a:lnTo>
                      <a:pt x="158" y="25"/>
                    </a:lnTo>
                    <a:lnTo>
                      <a:pt x="160" y="25"/>
                    </a:lnTo>
                    <a:lnTo>
                      <a:pt x="160" y="27"/>
                    </a:lnTo>
                    <a:lnTo>
                      <a:pt x="160" y="29"/>
                    </a:lnTo>
                    <a:lnTo>
                      <a:pt x="160" y="31"/>
                    </a:lnTo>
                    <a:lnTo>
                      <a:pt x="160" y="33"/>
                    </a:lnTo>
                    <a:lnTo>
                      <a:pt x="158" y="35"/>
                    </a:lnTo>
                    <a:lnTo>
                      <a:pt x="156" y="35"/>
                    </a:lnTo>
                    <a:lnTo>
                      <a:pt x="156" y="37"/>
                    </a:lnTo>
                    <a:lnTo>
                      <a:pt x="156" y="39"/>
                    </a:lnTo>
                    <a:lnTo>
                      <a:pt x="158" y="39"/>
                    </a:lnTo>
                    <a:lnTo>
                      <a:pt x="158" y="41"/>
                    </a:lnTo>
                    <a:lnTo>
                      <a:pt x="160" y="41"/>
                    </a:lnTo>
                    <a:lnTo>
                      <a:pt x="158" y="41"/>
                    </a:lnTo>
                    <a:lnTo>
                      <a:pt x="158" y="43"/>
                    </a:lnTo>
                    <a:lnTo>
                      <a:pt x="158" y="44"/>
                    </a:lnTo>
                    <a:lnTo>
                      <a:pt x="160" y="44"/>
                    </a:lnTo>
                    <a:lnTo>
                      <a:pt x="158" y="46"/>
                    </a:lnTo>
                    <a:lnTo>
                      <a:pt x="160" y="46"/>
                    </a:lnTo>
                    <a:lnTo>
                      <a:pt x="160" y="44"/>
                    </a:lnTo>
                    <a:lnTo>
                      <a:pt x="160" y="46"/>
                    </a:lnTo>
                    <a:lnTo>
                      <a:pt x="162" y="46"/>
                    </a:lnTo>
                    <a:lnTo>
                      <a:pt x="163" y="48"/>
                    </a:lnTo>
                    <a:lnTo>
                      <a:pt x="162" y="48"/>
                    </a:lnTo>
                    <a:lnTo>
                      <a:pt x="162" y="50"/>
                    </a:lnTo>
                    <a:lnTo>
                      <a:pt x="163" y="50"/>
                    </a:lnTo>
                    <a:lnTo>
                      <a:pt x="165" y="52"/>
                    </a:lnTo>
                    <a:lnTo>
                      <a:pt x="163" y="52"/>
                    </a:lnTo>
                    <a:lnTo>
                      <a:pt x="165" y="52"/>
                    </a:lnTo>
                    <a:lnTo>
                      <a:pt x="167" y="52"/>
                    </a:lnTo>
                    <a:lnTo>
                      <a:pt x="167" y="50"/>
                    </a:lnTo>
                    <a:lnTo>
                      <a:pt x="169" y="50"/>
                    </a:lnTo>
                    <a:close/>
                  </a:path>
                </a:pathLst>
              </a:custGeom>
              <a:grpFill/>
              <a:ln w="6350" cap="flat" cmpd="sng">
                <a:solidFill>
                  <a:schemeClr val="bg1"/>
                </a:solidFill>
                <a:prstDash val="solid"/>
                <a:round/>
                <a:headEnd/>
                <a:tailEnd/>
              </a:ln>
              <a:effectLst/>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p>
            </p:txBody>
          </p:sp>
        </p:grpSp>
      </p:grpSp>
      <p:sp>
        <p:nvSpPr>
          <p:cNvPr id="473" name="Freeform 68"/>
          <p:cNvSpPr>
            <a:spLocks noChangeAspect="1" noEditPoints="1"/>
          </p:cNvSpPr>
          <p:nvPr/>
        </p:nvSpPr>
        <p:spPr bwMode="auto">
          <a:xfrm>
            <a:off x="9484369" y="1687807"/>
            <a:ext cx="350132" cy="550724"/>
          </a:xfrm>
          <a:custGeom>
            <a:avLst/>
            <a:gdLst/>
            <a:ahLst/>
            <a:cxnLst>
              <a:cxn ang="0">
                <a:pos x="396" y="294"/>
              </a:cxn>
              <a:cxn ang="0">
                <a:pos x="411" y="265"/>
              </a:cxn>
              <a:cxn ang="0">
                <a:pos x="281" y="22"/>
              </a:cxn>
              <a:cxn ang="0">
                <a:pos x="295" y="0"/>
              </a:cxn>
              <a:cxn ang="0">
                <a:pos x="14" y="22"/>
              </a:cxn>
              <a:cxn ang="0">
                <a:pos x="29" y="545"/>
              </a:cxn>
              <a:cxn ang="0">
                <a:pos x="0" y="588"/>
              </a:cxn>
              <a:cxn ang="0">
                <a:pos x="425" y="545"/>
              </a:cxn>
              <a:cxn ang="0">
                <a:pos x="137" y="523"/>
              </a:cxn>
              <a:cxn ang="0">
                <a:pos x="79" y="445"/>
              </a:cxn>
              <a:cxn ang="0">
                <a:pos x="137" y="523"/>
              </a:cxn>
              <a:cxn ang="0">
                <a:pos x="79" y="394"/>
              </a:cxn>
              <a:cxn ang="0">
                <a:pos x="137" y="323"/>
              </a:cxn>
              <a:cxn ang="0">
                <a:pos x="137" y="272"/>
              </a:cxn>
              <a:cxn ang="0">
                <a:pos x="79" y="194"/>
              </a:cxn>
              <a:cxn ang="0">
                <a:pos x="137" y="272"/>
              </a:cxn>
              <a:cxn ang="0">
                <a:pos x="79" y="143"/>
              </a:cxn>
              <a:cxn ang="0">
                <a:pos x="137" y="72"/>
              </a:cxn>
              <a:cxn ang="0">
                <a:pos x="231" y="545"/>
              </a:cxn>
              <a:cxn ang="0">
                <a:pos x="173" y="445"/>
              </a:cxn>
              <a:cxn ang="0">
                <a:pos x="231" y="545"/>
              </a:cxn>
              <a:cxn ang="0">
                <a:pos x="173" y="394"/>
              </a:cxn>
              <a:cxn ang="0">
                <a:pos x="231" y="323"/>
              </a:cxn>
              <a:cxn ang="0">
                <a:pos x="231" y="272"/>
              </a:cxn>
              <a:cxn ang="0">
                <a:pos x="173" y="194"/>
              </a:cxn>
              <a:cxn ang="0">
                <a:pos x="231" y="272"/>
              </a:cxn>
              <a:cxn ang="0">
                <a:pos x="173" y="143"/>
              </a:cxn>
              <a:cxn ang="0">
                <a:pos x="231" y="72"/>
              </a:cxn>
              <a:cxn ang="0">
                <a:pos x="360" y="523"/>
              </a:cxn>
              <a:cxn ang="0">
                <a:pos x="310" y="445"/>
              </a:cxn>
              <a:cxn ang="0">
                <a:pos x="360" y="523"/>
              </a:cxn>
              <a:cxn ang="0">
                <a:pos x="310" y="394"/>
              </a:cxn>
              <a:cxn ang="0">
                <a:pos x="360" y="323"/>
              </a:cxn>
            </a:cxnLst>
            <a:rect l="0" t="0" r="r" b="b"/>
            <a:pathLst>
              <a:path w="425" h="588">
                <a:moveTo>
                  <a:pt x="396" y="545"/>
                </a:moveTo>
                <a:lnTo>
                  <a:pt x="396" y="294"/>
                </a:lnTo>
                <a:lnTo>
                  <a:pt x="411" y="294"/>
                </a:lnTo>
                <a:lnTo>
                  <a:pt x="411" y="265"/>
                </a:lnTo>
                <a:lnTo>
                  <a:pt x="281" y="265"/>
                </a:lnTo>
                <a:lnTo>
                  <a:pt x="281" y="22"/>
                </a:lnTo>
                <a:lnTo>
                  <a:pt x="295" y="22"/>
                </a:lnTo>
                <a:lnTo>
                  <a:pt x="295" y="0"/>
                </a:lnTo>
                <a:lnTo>
                  <a:pt x="14" y="0"/>
                </a:lnTo>
                <a:lnTo>
                  <a:pt x="14" y="22"/>
                </a:lnTo>
                <a:lnTo>
                  <a:pt x="29" y="22"/>
                </a:lnTo>
                <a:lnTo>
                  <a:pt x="29" y="545"/>
                </a:lnTo>
                <a:lnTo>
                  <a:pt x="0" y="545"/>
                </a:lnTo>
                <a:lnTo>
                  <a:pt x="0" y="588"/>
                </a:lnTo>
                <a:lnTo>
                  <a:pt x="425" y="588"/>
                </a:lnTo>
                <a:lnTo>
                  <a:pt x="425" y="545"/>
                </a:lnTo>
                <a:lnTo>
                  <a:pt x="396" y="545"/>
                </a:lnTo>
                <a:close/>
                <a:moveTo>
                  <a:pt x="137" y="523"/>
                </a:moveTo>
                <a:lnTo>
                  <a:pt x="79" y="523"/>
                </a:lnTo>
                <a:lnTo>
                  <a:pt x="79" y="445"/>
                </a:lnTo>
                <a:lnTo>
                  <a:pt x="137" y="445"/>
                </a:lnTo>
                <a:lnTo>
                  <a:pt x="137" y="523"/>
                </a:lnTo>
                <a:close/>
                <a:moveTo>
                  <a:pt x="137" y="394"/>
                </a:moveTo>
                <a:lnTo>
                  <a:pt x="79" y="394"/>
                </a:lnTo>
                <a:lnTo>
                  <a:pt x="79" y="323"/>
                </a:lnTo>
                <a:lnTo>
                  <a:pt x="137" y="323"/>
                </a:lnTo>
                <a:lnTo>
                  <a:pt x="137" y="394"/>
                </a:lnTo>
                <a:close/>
                <a:moveTo>
                  <a:pt x="137" y="272"/>
                </a:moveTo>
                <a:lnTo>
                  <a:pt x="79" y="272"/>
                </a:lnTo>
                <a:lnTo>
                  <a:pt x="79" y="194"/>
                </a:lnTo>
                <a:lnTo>
                  <a:pt x="137" y="194"/>
                </a:lnTo>
                <a:lnTo>
                  <a:pt x="137" y="272"/>
                </a:lnTo>
                <a:close/>
                <a:moveTo>
                  <a:pt x="137" y="143"/>
                </a:moveTo>
                <a:lnTo>
                  <a:pt x="79" y="143"/>
                </a:lnTo>
                <a:lnTo>
                  <a:pt x="79" y="72"/>
                </a:lnTo>
                <a:lnTo>
                  <a:pt x="137" y="72"/>
                </a:lnTo>
                <a:lnTo>
                  <a:pt x="137" y="143"/>
                </a:lnTo>
                <a:close/>
                <a:moveTo>
                  <a:pt x="231" y="545"/>
                </a:moveTo>
                <a:lnTo>
                  <a:pt x="173" y="545"/>
                </a:lnTo>
                <a:lnTo>
                  <a:pt x="173" y="445"/>
                </a:lnTo>
                <a:lnTo>
                  <a:pt x="231" y="445"/>
                </a:lnTo>
                <a:lnTo>
                  <a:pt x="231" y="545"/>
                </a:lnTo>
                <a:close/>
                <a:moveTo>
                  <a:pt x="231" y="394"/>
                </a:moveTo>
                <a:lnTo>
                  <a:pt x="173" y="394"/>
                </a:lnTo>
                <a:lnTo>
                  <a:pt x="173" y="323"/>
                </a:lnTo>
                <a:lnTo>
                  <a:pt x="231" y="323"/>
                </a:lnTo>
                <a:lnTo>
                  <a:pt x="231" y="394"/>
                </a:lnTo>
                <a:close/>
                <a:moveTo>
                  <a:pt x="231" y="272"/>
                </a:moveTo>
                <a:lnTo>
                  <a:pt x="173" y="272"/>
                </a:lnTo>
                <a:lnTo>
                  <a:pt x="173" y="194"/>
                </a:lnTo>
                <a:lnTo>
                  <a:pt x="231" y="194"/>
                </a:lnTo>
                <a:lnTo>
                  <a:pt x="231" y="272"/>
                </a:lnTo>
                <a:close/>
                <a:moveTo>
                  <a:pt x="231" y="143"/>
                </a:moveTo>
                <a:lnTo>
                  <a:pt x="173" y="143"/>
                </a:lnTo>
                <a:lnTo>
                  <a:pt x="173" y="72"/>
                </a:lnTo>
                <a:lnTo>
                  <a:pt x="231" y="72"/>
                </a:lnTo>
                <a:lnTo>
                  <a:pt x="231" y="143"/>
                </a:lnTo>
                <a:close/>
                <a:moveTo>
                  <a:pt x="360" y="523"/>
                </a:moveTo>
                <a:lnTo>
                  <a:pt x="310" y="523"/>
                </a:lnTo>
                <a:lnTo>
                  <a:pt x="310" y="445"/>
                </a:lnTo>
                <a:lnTo>
                  <a:pt x="360" y="445"/>
                </a:lnTo>
                <a:lnTo>
                  <a:pt x="360" y="523"/>
                </a:lnTo>
                <a:close/>
                <a:moveTo>
                  <a:pt x="360" y="394"/>
                </a:moveTo>
                <a:lnTo>
                  <a:pt x="310" y="394"/>
                </a:lnTo>
                <a:lnTo>
                  <a:pt x="310" y="323"/>
                </a:lnTo>
                <a:lnTo>
                  <a:pt x="360" y="323"/>
                </a:lnTo>
                <a:lnTo>
                  <a:pt x="360" y="394"/>
                </a:ln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912" fontAlgn="base">
              <a:spcBef>
                <a:spcPct val="0"/>
              </a:spcBef>
              <a:spcAft>
                <a:spcPct val="0"/>
              </a:spcAft>
            </a:pPr>
            <a:endParaRPr lang="en-GB" sz="2051" dirty="0">
              <a:solidFill>
                <a:srgbClr val="000000"/>
              </a:solidFill>
              <a:cs typeface="Arial" pitchFamily="34" charset="0"/>
            </a:endParaRPr>
          </a:p>
        </p:txBody>
      </p:sp>
      <p:sp>
        <p:nvSpPr>
          <p:cNvPr id="474" name="Freeform 72"/>
          <p:cNvSpPr>
            <a:spLocks noChangeAspect="1" noEditPoints="1"/>
          </p:cNvSpPr>
          <p:nvPr/>
        </p:nvSpPr>
        <p:spPr bwMode="auto">
          <a:xfrm>
            <a:off x="9914871" y="1553808"/>
            <a:ext cx="253689" cy="682110"/>
          </a:xfrm>
          <a:custGeom>
            <a:avLst/>
            <a:gdLst/>
            <a:ahLst/>
            <a:cxnLst>
              <a:cxn ang="0">
                <a:pos x="283" y="50"/>
              </a:cxn>
              <a:cxn ang="0">
                <a:pos x="196" y="0"/>
              </a:cxn>
              <a:cxn ang="0">
                <a:pos x="22" y="21"/>
              </a:cxn>
              <a:cxn ang="0">
                <a:pos x="29" y="694"/>
              </a:cxn>
              <a:cxn ang="0">
                <a:pos x="305" y="744"/>
              </a:cxn>
              <a:cxn ang="0">
                <a:pos x="109" y="694"/>
              </a:cxn>
              <a:cxn ang="0">
                <a:pos x="109" y="651"/>
              </a:cxn>
              <a:cxn ang="0">
                <a:pos x="65" y="622"/>
              </a:cxn>
              <a:cxn ang="0">
                <a:pos x="109" y="622"/>
              </a:cxn>
              <a:cxn ang="0">
                <a:pos x="65" y="508"/>
              </a:cxn>
              <a:cxn ang="0">
                <a:pos x="109" y="479"/>
              </a:cxn>
              <a:cxn ang="0">
                <a:pos x="109" y="436"/>
              </a:cxn>
              <a:cxn ang="0">
                <a:pos x="65" y="408"/>
              </a:cxn>
              <a:cxn ang="0">
                <a:pos x="109" y="408"/>
              </a:cxn>
              <a:cxn ang="0">
                <a:pos x="65" y="286"/>
              </a:cxn>
              <a:cxn ang="0">
                <a:pos x="109" y="265"/>
              </a:cxn>
              <a:cxn ang="0">
                <a:pos x="109" y="215"/>
              </a:cxn>
              <a:cxn ang="0">
                <a:pos x="65" y="193"/>
              </a:cxn>
              <a:cxn ang="0">
                <a:pos x="109" y="193"/>
              </a:cxn>
              <a:cxn ang="0">
                <a:pos x="65" y="71"/>
              </a:cxn>
              <a:cxn ang="0">
                <a:pos x="174" y="694"/>
              </a:cxn>
              <a:cxn ang="0">
                <a:pos x="174" y="651"/>
              </a:cxn>
              <a:cxn ang="0">
                <a:pos x="131" y="622"/>
              </a:cxn>
              <a:cxn ang="0">
                <a:pos x="174" y="622"/>
              </a:cxn>
              <a:cxn ang="0">
                <a:pos x="131" y="508"/>
              </a:cxn>
              <a:cxn ang="0">
                <a:pos x="174" y="479"/>
              </a:cxn>
              <a:cxn ang="0">
                <a:pos x="174" y="436"/>
              </a:cxn>
              <a:cxn ang="0">
                <a:pos x="131" y="408"/>
              </a:cxn>
              <a:cxn ang="0">
                <a:pos x="174" y="408"/>
              </a:cxn>
              <a:cxn ang="0">
                <a:pos x="131" y="286"/>
              </a:cxn>
              <a:cxn ang="0">
                <a:pos x="174" y="265"/>
              </a:cxn>
              <a:cxn ang="0">
                <a:pos x="174" y="215"/>
              </a:cxn>
              <a:cxn ang="0">
                <a:pos x="131" y="193"/>
              </a:cxn>
              <a:cxn ang="0">
                <a:pos x="174" y="193"/>
              </a:cxn>
              <a:cxn ang="0">
                <a:pos x="131" y="71"/>
              </a:cxn>
              <a:cxn ang="0">
                <a:pos x="240" y="694"/>
              </a:cxn>
              <a:cxn ang="0">
                <a:pos x="240" y="651"/>
              </a:cxn>
              <a:cxn ang="0">
                <a:pos x="196" y="622"/>
              </a:cxn>
              <a:cxn ang="0">
                <a:pos x="240" y="622"/>
              </a:cxn>
              <a:cxn ang="0">
                <a:pos x="196" y="508"/>
              </a:cxn>
              <a:cxn ang="0">
                <a:pos x="240" y="479"/>
              </a:cxn>
              <a:cxn ang="0">
                <a:pos x="240" y="436"/>
              </a:cxn>
              <a:cxn ang="0">
                <a:pos x="196" y="408"/>
              </a:cxn>
              <a:cxn ang="0">
                <a:pos x="240" y="408"/>
              </a:cxn>
              <a:cxn ang="0">
                <a:pos x="196" y="286"/>
              </a:cxn>
              <a:cxn ang="0">
                <a:pos x="240" y="265"/>
              </a:cxn>
              <a:cxn ang="0">
                <a:pos x="240" y="215"/>
              </a:cxn>
              <a:cxn ang="0">
                <a:pos x="196" y="193"/>
              </a:cxn>
              <a:cxn ang="0">
                <a:pos x="240" y="193"/>
              </a:cxn>
              <a:cxn ang="0">
                <a:pos x="196" y="71"/>
              </a:cxn>
            </a:cxnLst>
            <a:rect l="0" t="0" r="r" b="b"/>
            <a:pathLst>
              <a:path w="305" h="744">
                <a:moveTo>
                  <a:pt x="276" y="694"/>
                </a:moveTo>
                <a:lnTo>
                  <a:pt x="276" y="50"/>
                </a:lnTo>
                <a:lnTo>
                  <a:pt x="283" y="50"/>
                </a:lnTo>
                <a:lnTo>
                  <a:pt x="283" y="21"/>
                </a:lnTo>
                <a:lnTo>
                  <a:pt x="196" y="21"/>
                </a:lnTo>
                <a:lnTo>
                  <a:pt x="196" y="0"/>
                </a:lnTo>
                <a:lnTo>
                  <a:pt x="58" y="0"/>
                </a:lnTo>
                <a:lnTo>
                  <a:pt x="58" y="21"/>
                </a:lnTo>
                <a:lnTo>
                  <a:pt x="22" y="21"/>
                </a:lnTo>
                <a:lnTo>
                  <a:pt x="22" y="50"/>
                </a:lnTo>
                <a:lnTo>
                  <a:pt x="29" y="50"/>
                </a:lnTo>
                <a:lnTo>
                  <a:pt x="29" y="694"/>
                </a:lnTo>
                <a:lnTo>
                  <a:pt x="0" y="694"/>
                </a:lnTo>
                <a:lnTo>
                  <a:pt x="0" y="744"/>
                </a:lnTo>
                <a:lnTo>
                  <a:pt x="305" y="744"/>
                </a:lnTo>
                <a:lnTo>
                  <a:pt x="305" y="694"/>
                </a:lnTo>
                <a:lnTo>
                  <a:pt x="276" y="694"/>
                </a:lnTo>
                <a:close/>
                <a:moveTo>
                  <a:pt x="109" y="694"/>
                </a:moveTo>
                <a:lnTo>
                  <a:pt x="65" y="694"/>
                </a:lnTo>
                <a:lnTo>
                  <a:pt x="65" y="651"/>
                </a:lnTo>
                <a:lnTo>
                  <a:pt x="109" y="651"/>
                </a:lnTo>
                <a:lnTo>
                  <a:pt x="109" y="694"/>
                </a:lnTo>
                <a:close/>
                <a:moveTo>
                  <a:pt x="109" y="622"/>
                </a:moveTo>
                <a:lnTo>
                  <a:pt x="65" y="622"/>
                </a:lnTo>
                <a:lnTo>
                  <a:pt x="65" y="579"/>
                </a:lnTo>
                <a:lnTo>
                  <a:pt x="109" y="579"/>
                </a:lnTo>
                <a:lnTo>
                  <a:pt x="109" y="622"/>
                </a:lnTo>
                <a:close/>
                <a:moveTo>
                  <a:pt x="109" y="551"/>
                </a:moveTo>
                <a:lnTo>
                  <a:pt x="65" y="551"/>
                </a:lnTo>
                <a:lnTo>
                  <a:pt x="65" y="508"/>
                </a:lnTo>
                <a:lnTo>
                  <a:pt x="109" y="508"/>
                </a:lnTo>
                <a:lnTo>
                  <a:pt x="109" y="551"/>
                </a:lnTo>
                <a:close/>
                <a:moveTo>
                  <a:pt x="109" y="479"/>
                </a:moveTo>
                <a:lnTo>
                  <a:pt x="65" y="479"/>
                </a:lnTo>
                <a:lnTo>
                  <a:pt x="65" y="436"/>
                </a:lnTo>
                <a:lnTo>
                  <a:pt x="109" y="436"/>
                </a:lnTo>
                <a:lnTo>
                  <a:pt x="109" y="479"/>
                </a:lnTo>
                <a:close/>
                <a:moveTo>
                  <a:pt x="109" y="408"/>
                </a:moveTo>
                <a:lnTo>
                  <a:pt x="65" y="408"/>
                </a:lnTo>
                <a:lnTo>
                  <a:pt x="65" y="358"/>
                </a:lnTo>
                <a:lnTo>
                  <a:pt x="109" y="358"/>
                </a:lnTo>
                <a:lnTo>
                  <a:pt x="109" y="408"/>
                </a:lnTo>
                <a:close/>
                <a:moveTo>
                  <a:pt x="109" y="336"/>
                </a:moveTo>
                <a:lnTo>
                  <a:pt x="65" y="336"/>
                </a:lnTo>
                <a:lnTo>
                  <a:pt x="65" y="286"/>
                </a:lnTo>
                <a:lnTo>
                  <a:pt x="109" y="286"/>
                </a:lnTo>
                <a:lnTo>
                  <a:pt x="109" y="336"/>
                </a:lnTo>
                <a:close/>
                <a:moveTo>
                  <a:pt x="109" y="265"/>
                </a:moveTo>
                <a:lnTo>
                  <a:pt x="65" y="265"/>
                </a:lnTo>
                <a:lnTo>
                  <a:pt x="65" y="215"/>
                </a:lnTo>
                <a:lnTo>
                  <a:pt x="109" y="215"/>
                </a:lnTo>
                <a:lnTo>
                  <a:pt x="109" y="265"/>
                </a:lnTo>
                <a:close/>
                <a:moveTo>
                  <a:pt x="109" y="193"/>
                </a:moveTo>
                <a:lnTo>
                  <a:pt x="65" y="193"/>
                </a:lnTo>
                <a:lnTo>
                  <a:pt x="65" y="143"/>
                </a:lnTo>
                <a:lnTo>
                  <a:pt x="109" y="143"/>
                </a:lnTo>
                <a:lnTo>
                  <a:pt x="109" y="193"/>
                </a:lnTo>
                <a:close/>
                <a:moveTo>
                  <a:pt x="109" y="122"/>
                </a:moveTo>
                <a:lnTo>
                  <a:pt x="65" y="122"/>
                </a:lnTo>
                <a:lnTo>
                  <a:pt x="65" y="71"/>
                </a:lnTo>
                <a:lnTo>
                  <a:pt x="109" y="71"/>
                </a:lnTo>
                <a:lnTo>
                  <a:pt x="109" y="122"/>
                </a:lnTo>
                <a:close/>
                <a:moveTo>
                  <a:pt x="174" y="694"/>
                </a:moveTo>
                <a:lnTo>
                  <a:pt x="131" y="694"/>
                </a:lnTo>
                <a:lnTo>
                  <a:pt x="131" y="651"/>
                </a:lnTo>
                <a:lnTo>
                  <a:pt x="174" y="651"/>
                </a:lnTo>
                <a:lnTo>
                  <a:pt x="174" y="694"/>
                </a:lnTo>
                <a:close/>
                <a:moveTo>
                  <a:pt x="174" y="622"/>
                </a:moveTo>
                <a:lnTo>
                  <a:pt x="131" y="622"/>
                </a:lnTo>
                <a:lnTo>
                  <a:pt x="131" y="579"/>
                </a:lnTo>
                <a:lnTo>
                  <a:pt x="174" y="579"/>
                </a:lnTo>
                <a:lnTo>
                  <a:pt x="174" y="622"/>
                </a:lnTo>
                <a:close/>
                <a:moveTo>
                  <a:pt x="174" y="551"/>
                </a:moveTo>
                <a:lnTo>
                  <a:pt x="131" y="551"/>
                </a:lnTo>
                <a:lnTo>
                  <a:pt x="131" y="508"/>
                </a:lnTo>
                <a:lnTo>
                  <a:pt x="174" y="508"/>
                </a:lnTo>
                <a:lnTo>
                  <a:pt x="174" y="551"/>
                </a:lnTo>
                <a:close/>
                <a:moveTo>
                  <a:pt x="174" y="479"/>
                </a:moveTo>
                <a:lnTo>
                  <a:pt x="131" y="479"/>
                </a:lnTo>
                <a:lnTo>
                  <a:pt x="131" y="436"/>
                </a:lnTo>
                <a:lnTo>
                  <a:pt x="174" y="436"/>
                </a:lnTo>
                <a:lnTo>
                  <a:pt x="174" y="479"/>
                </a:lnTo>
                <a:close/>
                <a:moveTo>
                  <a:pt x="174" y="408"/>
                </a:moveTo>
                <a:lnTo>
                  <a:pt x="131" y="408"/>
                </a:lnTo>
                <a:lnTo>
                  <a:pt x="131" y="358"/>
                </a:lnTo>
                <a:lnTo>
                  <a:pt x="174" y="358"/>
                </a:lnTo>
                <a:lnTo>
                  <a:pt x="174" y="408"/>
                </a:lnTo>
                <a:close/>
                <a:moveTo>
                  <a:pt x="174" y="336"/>
                </a:moveTo>
                <a:lnTo>
                  <a:pt x="131" y="336"/>
                </a:lnTo>
                <a:lnTo>
                  <a:pt x="131" y="286"/>
                </a:lnTo>
                <a:lnTo>
                  <a:pt x="174" y="286"/>
                </a:lnTo>
                <a:lnTo>
                  <a:pt x="174" y="336"/>
                </a:lnTo>
                <a:close/>
                <a:moveTo>
                  <a:pt x="174" y="265"/>
                </a:moveTo>
                <a:lnTo>
                  <a:pt x="131" y="265"/>
                </a:lnTo>
                <a:lnTo>
                  <a:pt x="131" y="215"/>
                </a:lnTo>
                <a:lnTo>
                  <a:pt x="174" y="215"/>
                </a:lnTo>
                <a:lnTo>
                  <a:pt x="174" y="265"/>
                </a:lnTo>
                <a:close/>
                <a:moveTo>
                  <a:pt x="174" y="193"/>
                </a:moveTo>
                <a:lnTo>
                  <a:pt x="131" y="193"/>
                </a:lnTo>
                <a:lnTo>
                  <a:pt x="131" y="143"/>
                </a:lnTo>
                <a:lnTo>
                  <a:pt x="174" y="143"/>
                </a:lnTo>
                <a:lnTo>
                  <a:pt x="174" y="193"/>
                </a:lnTo>
                <a:close/>
                <a:moveTo>
                  <a:pt x="174" y="122"/>
                </a:moveTo>
                <a:lnTo>
                  <a:pt x="131" y="122"/>
                </a:lnTo>
                <a:lnTo>
                  <a:pt x="131" y="71"/>
                </a:lnTo>
                <a:lnTo>
                  <a:pt x="174" y="71"/>
                </a:lnTo>
                <a:lnTo>
                  <a:pt x="174" y="122"/>
                </a:lnTo>
                <a:close/>
                <a:moveTo>
                  <a:pt x="240" y="694"/>
                </a:moveTo>
                <a:lnTo>
                  <a:pt x="196" y="694"/>
                </a:lnTo>
                <a:lnTo>
                  <a:pt x="196" y="651"/>
                </a:lnTo>
                <a:lnTo>
                  <a:pt x="240" y="651"/>
                </a:lnTo>
                <a:lnTo>
                  <a:pt x="240" y="694"/>
                </a:lnTo>
                <a:close/>
                <a:moveTo>
                  <a:pt x="240" y="622"/>
                </a:moveTo>
                <a:lnTo>
                  <a:pt x="196" y="622"/>
                </a:lnTo>
                <a:lnTo>
                  <a:pt x="196" y="579"/>
                </a:lnTo>
                <a:lnTo>
                  <a:pt x="240" y="579"/>
                </a:lnTo>
                <a:lnTo>
                  <a:pt x="240" y="622"/>
                </a:lnTo>
                <a:close/>
                <a:moveTo>
                  <a:pt x="240" y="551"/>
                </a:moveTo>
                <a:lnTo>
                  <a:pt x="196" y="551"/>
                </a:lnTo>
                <a:lnTo>
                  <a:pt x="196" y="508"/>
                </a:lnTo>
                <a:lnTo>
                  <a:pt x="240" y="508"/>
                </a:lnTo>
                <a:lnTo>
                  <a:pt x="240" y="551"/>
                </a:lnTo>
                <a:close/>
                <a:moveTo>
                  <a:pt x="240" y="479"/>
                </a:moveTo>
                <a:lnTo>
                  <a:pt x="196" y="479"/>
                </a:lnTo>
                <a:lnTo>
                  <a:pt x="196" y="436"/>
                </a:lnTo>
                <a:lnTo>
                  <a:pt x="240" y="436"/>
                </a:lnTo>
                <a:lnTo>
                  <a:pt x="240" y="479"/>
                </a:lnTo>
                <a:close/>
                <a:moveTo>
                  <a:pt x="240" y="408"/>
                </a:moveTo>
                <a:lnTo>
                  <a:pt x="196" y="408"/>
                </a:lnTo>
                <a:lnTo>
                  <a:pt x="196" y="358"/>
                </a:lnTo>
                <a:lnTo>
                  <a:pt x="240" y="358"/>
                </a:lnTo>
                <a:lnTo>
                  <a:pt x="240" y="408"/>
                </a:lnTo>
                <a:close/>
                <a:moveTo>
                  <a:pt x="240" y="336"/>
                </a:moveTo>
                <a:lnTo>
                  <a:pt x="196" y="336"/>
                </a:lnTo>
                <a:lnTo>
                  <a:pt x="196" y="286"/>
                </a:lnTo>
                <a:lnTo>
                  <a:pt x="240" y="286"/>
                </a:lnTo>
                <a:lnTo>
                  <a:pt x="240" y="336"/>
                </a:lnTo>
                <a:close/>
                <a:moveTo>
                  <a:pt x="240" y="265"/>
                </a:moveTo>
                <a:lnTo>
                  <a:pt x="196" y="265"/>
                </a:lnTo>
                <a:lnTo>
                  <a:pt x="196" y="215"/>
                </a:lnTo>
                <a:lnTo>
                  <a:pt x="240" y="215"/>
                </a:lnTo>
                <a:lnTo>
                  <a:pt x="240" y="265"/>
                </a:lnTo>
                <a:close/>
                <a:moveTo>
                  <a:pt x="240" y="193"/>
                </a:moveTo>
                <a:lnTo>
                  <a:pt x="196" y="193"/>
                </a:lnTo>
                <a:lnTo>
                  <a:pt x="196" y="143"/>
                </a:lnTo>
                <a:lnTo>
                  <a:pt x="240" y="143"/>
                </a:lnTo>
                <a:lnTo>
                  <a:pt x="240" y="193"/>
                </a:lnTo>
                <a:close/>
                <a:moveTo>
                  <a:pt x="240" y="122"/>
                </a:moveTo>
                <a:lnTo>
                  <a:pt x="196" y="122"/>
                </a:lnTo>
                <a:lnTo>
                  <a:pt x="196" y="71"/>
                </a:lnTo>
                <a:lnTo>
                  <a:pt x="240" y="71"/>
                </a:lnTo>
                <a:lnTo>
                  <a:pt x="240" y="122"/>
                </a:lnTo>
                <a:close/>
              </a:path>
            </a:pathLst>
          </a:custGeom>
          <a:noFill/>
          <a:ln w="12700">
            <a:solidFill>
              <a:schemeClr val="bg1"/>
            </a:solidFill>
            <a:round/>
            <a:headEnd/>
            <a:tailEnd/>
          </a:ln>
        </p:spPr>
        <p:txBody>
          <a:bodyPr vert="horz" wrap="square" lIns="98694" tIns="49347" rIns="98694" bIns="49347"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986912" fontAlgn="base">
              <a:spcBef>
                <a:spcPct val="0"/>
              </a:spcBef>
              <a:spcAft>
                <a:spcPct val="0"/>
              </a:spcAft>
            </a:pPr>
            <a:endParaRPr lang="en-GB" sz="2051" dirty="0">
              <a:solidFill>
                <a:srgbClr val="000000"/>
              </a:solidFill>
              <a:cs typeface="Arial" pitchFamily="34" charset="0"/>
            </a:endParaRPr>
          </a:p>
        </p:txBody>
      </p:sp>
      <p:sp>
        <p:nvSpPr>
          <p:cNvPr id="475" name="Прямоугольник 474"/>
          <p:cNvSpPr/>
          <p:nvPr/>
        </p:nvSpPr>
        <p:spPr>
          <a:xfrm>
            <a:off x="229466" y="8022240"/>
            <a:ext cx="11045961" cy="316494"/>
          </a:xfrm>
          <a:prstGeom prst="rect">
            <a:avLst/>
          </a:prstGeom>
        </p:spPr>
        <p:txBody>
          <a:bodyPr wrap="square" lIns="72000" tIns="108000" rIns="36000" bIns="0" anchor="t">
            <a:noAutofit/>
          </a:bodyPr>
          <a:lstStyle/>
          <a:p>
            <a:r>
              <a:rPr lang="ru-RU" sz="900" dirty="0" smtClean="0">
                <a:solidFill>
                  <a:schemeClr val="bg1">
                    <a:lumMod val="65000"/>
                  </a:schemeClr>
                </a:solidFill>
              </a:rPr>
              <a:t>* Максимальный лимит на одного лизингополучателя (группу связанных </a:t>
            </a:r>
            <a:r>
              <a:rPr lang="ru-RU" sz="900" dirty="0">
                <a:solidFill>
                  <a:schemeClr val="bg1">
                    <a:lumMod val="65000"/>
                  </a:schemeClr>
                </a:solidFill>
              </a:rPr>
              <a:t>компаний)</a:t>
            </a:r>
            <a:br>
              <a:rPr lang="ru-RU" sz="900" dirty="0">
                <a:solidFill>
                  <a:schemeClr val="bg1">
                    <a:lumMod val="65000"/>
                  </a:schemeClr>
                </a:solidFill>
              </a:rPr>
            </a:br>
            <a:r>
              <a:rPr lang="ru-RU" sz="900" dirty="0">
                <a:solidFill>
                  <a:schemeClr val="bg1">
                    <a:lumMod val="65000"/>
                  </a:schemeClr>
                </a:solidFill>
              </a:rPr>
              <a:t>**Территория опережающего социально-экономического развития в Российской </a:t>
            </a:r>
            <a:r>
              <a:rPr lang="ru-RU" sz="900" dirty="0" smtClean="0">
                <a:solidFill>
                  <a:schemeClr val="bg1">
                    <a:lumMod val="65000"/>
                  </a:schemeClr>
                </a:solidFill>
              </a:rPr>
              <a:t>Федерации</a:t>
            </a:r>
          </a:p>
          <a:p>
            <a:r>
              <a:rPr lang="ru-RU" sz="900" dirty="0" smtClean="0">
                <a:solidFill>
                  <a:schemeClr val="bg1">
                    <a:lumMod val="65000"/>
                  </a:schemeClr>
                </a:solidFill>
              </a:rPr>
              <a:t>*** </a:t>
            </a:r>
            <a:r>
              <a:rPr lang="ru-RU" sz="900" dirty="0">
                <a:solidFill>
                  <a:schemeClr val="bg1">
                    <a:lumMod val="65000"/>
                  </a:schemeClr>
                </a:solidFill>
              </a:rPr>
              <a:t>Выкупная стоимость до 60% от стоимости предмета лизинга</a:t>
            </a:r>
            <a:endParaRPr lang="en-US" sz="900" dirty="0">
              <a:solidFill>
                <a:schemeClr val="bg1">
                  <a:lumMod val="65000"/>
                </a:schemeClr>
              </a:solidFill>
            </a:endParaRPr>
          </a:p>
        </p:txBody>
      </p:sp>
      <p:sp>
        <p:nvSpPr>
          <p:cNvPr id="476" name="TextBox 475"/>
          <p:cNvSpPr txBox="1"/>
          <p:nvPr/>
        </p:nvSpPr>
        <p:spPr>
          <a:xfrm>
            <a:off x="6252936" y="5386156"/>
            <a:ext cx="6001764" cy="269304"/>
          </a:xfrm>
          <a:prstGeom prst="rect">
            <a:avLst/>
          </a:prstGeom>
          <a:noFill/>
        </p:spPr>
        <p:txBody>
          <a:bodyPr wrap="square" rtlCol="0">
            <a:spAutoFit/>
          </a:bodyPr>
          <a:lstStyle/>
          <a:p>
            <a:r>
              <a:rPr lang="ru-RU" sz="1150" b="1" dirty="0" smtClean="0">
                <a:solidFill>
                  <a:srgbClr val="F5750B"/>
                </a:solidFill>
              </a:rPr>
              <a:t>Виды имущества вне рамок программы (финансирование не осуществляется)</a:t>
            </a:r>
            <a:endParaRPr lang="ru-RU" sz="1150" b="1" dirty="0">
              <a:solidFill>
                <a:srgbClr val="F5750B"/>
              </a:solidFill>
            </a:endParaRPr>
          </a:p>
        </p:txBody>
      </p:sp>
      <p:grpSp>
        <p:nvGrpSpPr>
          <p:cNvPr id="477" name="Группа 476"/>
          <p:cNvGrpSpPr/>
          <p:nvPr/>
        </p:nvGrpSpPr>
        <p:grpSpPr>
          <a:xfrm>
            <a:off x="5910506" y="5343928"/>
            <a:ext cx="321224" cy="319223"/>
            <a:chOff x="404715" y="5919253"/>
            <a:chExt cx="497659" cy="494560"/>
          </a:xfrm>
        </p:grpSpPr>
        <p:sp>
          <p:nvSpPr>
            <p:cNvPr id="478" name="Равнобедренный треугольник 477"/>
            <p:cNvSpPr/>
            <p:nvPr/>
          </p:nvSpPr>
          <p:spPr>
            <a:xfrm>
              <a:off x="404717" y="5919253"/>
              <a:ext cx="497657" cy="429015"/>
            </a:xfrm>
            <a:prstGeom prst="triangle">
              <a:avLst/>
            </a:prstGeom>
            <a:solidFill>
              <a:schemeClr val="bg2"/>
            </a:solidFill>
            <a:ln w="381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p>
          </p:txBody>
        </p:sp>
        <p:sp>
          <p:nvSpPr>
            <p:cNvPr id="479" name="TextBox 478"/>
            <p:cNvSpPr txBox="1"/>
            <p:nvPr/>
          </p:nvSpPr>
          <p:spPr>
            <a:xfrm>
              <a:off x="404715" y="5936986"/>
              <a:ext cx="497657" cy="476827"/>
            </a:xfrm>
            <a:prstGeom prst="rect">
              <a:avLst/>
            </a:prstGeom>
            <a:noFill/>
          </p:spPr>
          <p:txBody>
            <a:bodyPr wrap="square" rtlCol="0">
              <a:spAutoFit/>
            </a:bodyPr>
            <a:lstStyle/>
            <a:p>
              <a:pPr algn="ctr"/>
              <a:r>
                <a:rPr lang="ru-RU" sz="1400" b="1" dirty="0" smtClean="0">
                  <a:solidFill>
                    <a:srgbClr val="F5750B"/>
                  </a:solidFill>
                </a:rPr>
                <a:t>!</a:t>
              </a:r>
              <a:endParaRPr lang="ru-RU" sz="2400" b="1" dirty="0">
                <a:solidFill>
                  <a:srgbClr val="F5750B"/>
                </a:solidFill>
              </a:endParaRPr>
            </a:p>
          </p:txBody>
        </p:sp>
      </p:grpSp>
      <p:cxnSp>
        <p:nvCxnSpPr>
          <p:cNvPr id="480" name="Прямая соединительная линия 479"/>
          <p:cNvCxnSpPr/>
          <p:nvPr/>
        </p:nvCxnSpPr>
        <p:spPr>
          <a:xfrm flipV="1">
            <a:off x="5910506" y="5732936"/>
            <a:ext cx="6344194" cy="398"/>
          </a:xfrm>
          <a:prstGeom prst="line">
            <a:avLst/>
          </a:prstGeom>
          <a:ln>
            <a:solidFill>
              <a:srgbClr val="F5750B"/>
            </a:solidFill>
          </a:ln>
        </p:spPr>
        <p:style>
          <a:lnRef idx="1">
            <a:schemeClr val="accent1"/>
          </a:lnRef>
          <a:fillRef idx="0">
            <a:schemeClr val="accent1"/>
          </a:fillRef>
          <a:effectRef idx="0">
            <a:schemeClr val="accent1"/>
          </a:effectRef>
          <a:fontRef idx="minor">
            <a:schemeClr val="tx1"/>
          </a:fontRef>
        </p:style>
      </p:cxnSp>
      <p:sp>
        <p:nvSpPr>
          <p:cNvPr id="481" name="Прямоугольник 480"/>
          <p:cNvSpPr/>
          <p:nvPr/>
        </p:nvSpPr>
        <p:spPr>
          <a:xfrm>
            <a:off x="5823405" y="5683387"/>
            <a:ext cx="6431295" cy="1204326"/>
          </a:xfrm>
          <a:prstGeom prst="rect">
            <a:avLst/>
          </a:prstGeom>
        </p:spPr>
        <p:txBody>
          <a:bodyPr wrap="square" lIns="72000" tIns="108000" rIns="36000" bIns="0" anchor="t">
            <a:noAutofit/>
          </a:bodyPr>
          <a:lstStyle/>
          <a:p>
            <a:pPr marL="171450" lvl="0" indent="-171450">
              <a:lnSpc>
                <a:spcPts val="2000"/>
              </a:lnSpc>
              <a:buClr>
                <a:srgbClr val="F5750B"/>
              </a:buClr>
              <a:buFont typeface="Arial" panose="020B0604020202020204" pitchFamily="34" charset="0"/>
              <a:buChar char="•"/>
            </a:pPr>
            <a:r>
              <a:rPr lang="ru-RU" sz="1200" dirty="0" smtClean="0"/>
              <a:t>оборудование</a:t>
            </a:r>
            <a:r>
              <a:rPr lang="ru-RU" sz="1200" dirty="0"/>
              <a:t>, предназначенное для осуществления оптовой и розничной торговой деятельности;</a:t>
            </a:r>
          </a:p>
          <a:p>
            <a:pPr marL="171450" lvl="0" indent="-171450">
              <a:lnSpc>
                <a:spcPts val="2000"/>
              </a:lnSpc>
              <a:buClr>
                <a:srgbClr val="F5750B"/>
              </a:buClr>
              <a:buFont typeface="Arial" panose="020B0604020202020204" pitchFamily="34" charset="0"/>
              <a:buChar char="•"/>
            </a:pPr>
            <a:r>
              <a:rPr lang="ru-RU" sz="1200" dirty="0" smtClean="0"/>
              <a:t>водные </a:t>
            </a:r>
            <a:r>
              <a:rPr lang="ru-RU" sz="1200" dirty="0"/>
              <a:t>суда;</a:t>
            </a:r>
          </a:p>
          <a:p>
            <a:pPr marL="171450" lvl="0" indent="-171450">
              <a:lnSpc>
                <a:spcPts val="2000"/>
              </a:lnSpc>
              <a:buClr>
                <a:srgbClr val="F5750B"/>
              </a:buClr>
              <a:buFont typeface="Arial" panose="020B0604020202020204" pitchFamily="34" charset="0"/>
              <a:buChar char="•"/>
            </a:pPr>
            <a:r>
              <a:rPr lang="ru-RU" sz="1200" dirty="0" smtClean="0"/>
              <a:t>воздушные </a:t>
            </a:r>
            <a:r>
              <a:rPr lang="ru-RU" sz="1200" dirty="0"/>
              <a:t>суда и другая авиационная техника;</a:t>
            </a:r>
          </a:p>
          <a:p>
            <a:pPr marL="171450" lvl="0" indent="-171450">
              <a:lnSpc>
                <a:spcPts val="2000"/>
              </a:lnSpc>
              <a:buClr>
                <a:srgbClr val="F5750B"/>
              </a:buClr>
              <a:buFont typeface="Arial" panose="020B0604020202020204" pitchFamily="34" charset="0"/>
              <a:buChar char="•"/>
            </a:pPr>
            <a:r>
              <a:rPr lang="ru-RU" sz="1200" dirty="0" smtClean="0"/>
              <a:t>подвижной </a:t>
            </a:r>
            <a:r>
              <a:rPr lang="ru-RU" sz="1200" dirty="0"/>
              <a:t>состав железнодорожного </a:t>
            </a:r>
            <a:r>
              <a:rPr lang="ru-RU" sz="1200" dirty="0" smtClean="0"/>
              <a:t>транспорта</a:t>
            </a:r>
            <a:r>
              <a:rPr lang="en-US" sz="1200" dirty="0" smtClean="0"/>
              <a:t>;</a:t>
            </a:r>
          </a:p>
          <a:p>
            <a:pPr marL="171450" indent="-171450">
              <a:lnSpc>
                <a:spcPts val="2000"/>
              </a:lnSpc>
              <a:buClr>
                <a:srgbClr val="F5750B"/>
              </a:buClr>
              <a:buFont typeface="Arial" panose="020B0604020202020204" pitchFamily="34" charset="0"/>
              <a:buChar char="•"/>
            </a:pPr>
            <a:r>
              <a:rPr lang="ru-RU" sz="1200" dirty="0"/>
              <a:t>транспортные средства, самоходные машины и другие виды техники, на которые оформляются паспорт транспортного средства или паспорт самоходной машины и других видов техники (электронный паспорт транспортного средства или электронный паспорт самоходной машины и других видов техники), а также навесное, прицепное оборудование к указанным видам техники</a:t>
            </a:r>
            <a:r>
              <a:rPr lang="ru-RU" sz="1200" dirty="0" smtClean="0"/>
              <a:t>;</a:t>
            </a:r>
            <a:endParaRPr lang="ru-RU" sz="1200" dirty="0"/>
          </a:p>
        </p:txBody>
      </p:sp>
      <p:grpSp>
        <p:nvGrpSpPr>
          <p:cNvPr id="482" name="Группа 481"/>
          <p:cNvGrpSpPr/>
          <p:nvPr/>
        </p:nvGrpSpPr>
        <p:grpSpPr>
          <a:xfrm>
            <a:off x="139980" y="6731338"/>
            <a:ext cx="4221434" cy="276999"/>
            <a:chOff x="139980" y="6833075"/>
            <a:chExt cx="4221434" cy="276999"/>
          </a:xfrm>
        </p:grpSpPr>
        <p:sp>
          <p:nvSpPr>
            <p:cNvPr id="483" name="L-Shape 10"/>
            <p:cNvSpPr/>
            <p:nvPr/>
          </p:nvSpPr>
          <p:spPr>
            <a:xfrm rot="13701821">
              <a:off x="2491878" y="6858136"/>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84" name="Прямоугольник 483"/>
            <p:cNvSpPr/>
            <p:nvPr/>
          </p:nvSpPr>
          <p:spPr>
            <a:xfrm>
              <a:off x="139980" y="6833075"/>
              <a:ext cx="2206980" cy="276999"/>
            </a:xfrm>
            <a:prstGeom prst="rect">
              <a:avLst/>
            </a:prstGeom>
          </p:spPr>
          <p:txBody>
            <a:bodyPr wrap="square">
              <a:spAutoFit/>
            </a:bodyPr>
            <a:lstStyle/>
            <a:p>
              <a:pPr algn="r" defTabSz="859536" fontAlgn="t">
                <a:spcBef>
                  <a:spcPts val="200"/>
                </a:spcBef>
                <a:spcAft>
                  <a:spcPts val="0"/>
                </a:spcAft>
                <a:defRPr/>
              </a:pPr>
              <a:r>
                <a:rPr lang="ru-RU" sz="1200" b="1" dirty="0">
                  <a:solidFill>
                    <a:srgbClr val="1F4E79"/>
                  </a:solidFill>
                  <a:latin typeface="+mj-lt"/>
                  <a:cs typeface="+mn-cs"/>
                </a:rPr>
                <a:t>Величина дохода</a:t>
              </a:r>
              <a:endParaRPr lang="en-US" sz="1200" b="1" dirty="0">
                <a:solidFill>
                  <a:srgbClr val="1F4E79"/>
                </a:solidFill>
                <a:latin typeface="+mj-lt"/>
                <a:cs typeface="+mn-cs"/>
              </a:endParaRPr>
            </a:p>
          </p:txBody>
        </p:sp>
        <p:sp>
          <p:nvSpPr>
            <p:cNvPr id="485" name="Прямоугольник 484"/>
            <p:cNvSpPr/>
            <p:nvPr/>
          </p:nvSpPr>
          <p:spPr>
            <a:xfrm>
              <a:off x="3027266" y="6833075"/>
              <a:ext cx="1334148" cy="276999"/>
            </a:xfrm>
            <a:prstGeom prst="rect">
              <a:avLst/>
            </a:prstGeom>
          </p:spPr>
          <p:txBody>
            <a:bodyPr wrap="none">
              <a:spAutoFit/>
            </a:bodyPr>
            <a:lstStyle/>
            <a:p>
              <a:pPr defTabSz="859536" fontAlgn="t">
                <a:spcBef>
                  <a:spcPts val="200"/>
                </a:spcBef>
                <a:spcAft>
                  <a:spcPts val="0"/>
                </a:spcAft>
                <a:defRPr/>
              </a:pPr>
              <a:r>
                <a:rPr lang="ru-RU" sz="1200" dirty="0">
                  <a:solidFill>
                    <a:srgbClr val="000000"/>
                  </a:solidFill>
                  <a:latin typeface="+mj-lt"/>
                  <a:cs typeface="+mn-cs"/>
                </a:rPr>
                <a:t>До 800 млн руб.</a:t>
              </a:r>
            </a:p>
          </p:txBody>
        </p:sp>
      </p:grpSp>
      <p:grpSp>
        <p:nvGrpSpPr>
          <p:cNvPr id="486" name="Группа 485"/>
          <p:cNvGrpSpPr/>
          <p:nvPr/>
        </p:nvGrpSpPr>
        <p:grpSpPr>
          <a:xfrm>
            <a:off x="106393" y="7126962"/>
            <a:ext cx="4206610" cy="461665"/>
            <a:chOff x="106393" y="7208198"/>
            <a:chExt cx="4206610" cy="461665"/>
          </a:xfrm>
        </p:grpSpPr>
        <p:sp>
          <p:nvSpPr>
            <p:cNvPr id="487" name="L-Shape 10"/>
            <p:cNvSpPr/>
            <p:nvPr/>
          </p:nvSpPr>
          <p:spPr>
            <a:xfrm rot="13701821">
              <a:off x="2480534" y="7314248"/>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88" name="Прямоугольник 487"/>
            <p:cNvSpPr/>
            <p:nvPr/>
          </p:nvSpPr>
          <p:spPr>
            <a:xfrm>
              <a:off x="106393" y="7208198"/>
              <a:ext cx="2334763" cy="461665"/>
            </a:xfrm>
            <a:prstGeom prst="rect">
              <a:avLst/>
            </a:prstGeom>
          </p:spPr>
          <p:txBody>
            <a:bodyPr wrap="square">
              <a:spAutoFit/>
            </a:bodyPr>
            <a:lstStyle/>
            <a:p>
              <a:pPr algn="r" defTabSz="859536" fontAlgn="t">
                <a:spcBef>
                  <a:spcPts val="200"/>
                </a:spcBef>
                <a:spcAft>
                  <a:spcPts val="0"/>
                </a:spcAft>
                <a:defRPr/>
              </a:pPr>
              <a:r>
                <a:rPr lang="ru-RU" sz="1200" b="1" dirty="0">
                  <a:solidFill>
                    <a:srgbClr val="1F4E79"/>
                  </a:solidFill>
                  <a:latin typeface="+mj-lt"/>
                  <a:cs typeface="+mn-cs"/>
                </a:rPr>
                <a:t>Среднесписочная численность сотрудников</a:t>
              </a:r>
            </a:p>
          </p:txBody>
        </p:sp>
        <p:sp>
          <p:nvSpPr>
            <p:cNvPr id="489" name="Прямоугольник 488"/>
            <p:cNvSpPr/>
            <p:nvPr/>
          </p:nvSpPr>
          <p:spPr>
            <a:xfrm>
              <a:off x="3027266" y="7300531"/>
              <a:ext cx="1285737" cy="276999"/>
            </a:xfrm>
            <a:prstGeom prst="rect">
              <a:avLst/>
            </a:prstGeom>
          </p:spPr>
          <p:txBody>
            <a:bodyPr wrap="none">
              <a:spAutoFit/>
            </a:bodyPr>
            <a:lstStyle/>
            <a:p>
              <a:pPr defTabSz="859536" fontAlgn="t">
                <a:spcBef>
                  <a:spcPts val="200"/>
                </a:spcBef>
                <a:spcAft>
                  <a:spcPts val="0"/>
                </a:spcAft>
                <a:defRPr/>
              </a:pPr>
              <a:r>
                <a:rPr lang="ru-RU" sz="1200" dirty="0">
                  <a:solidFill>
                    <a:srgbClr val="000000"/>
                  </a:solidFill>
                  <a:latin typeface="+mj-lt"/>
                  <a:cs typeface="+mn-cs"/>
                </a:rPr>
                <a:t>До 100 человек</a:t>
              </a:r>
            </a:p>
          </p:txBody>
        </p:sp>
      </p:grpSp>
      <p:sp>
        <p:nvSpPr>
          <p:cNvPr id="490" name="TextBox 489"/>
          <p:cNvSpPr txBox="1"/>
          <p:nvPr/>
        </p:nvSpPr>
        <p:spPr>
          <a:xfrm>
            <a:off x="792162" y="5382881"/>
            <a:ext cx="5010035" cy="269304"/>
          </a:xfrm>
          <a:prstGeom prst="rect">
            <a:avLst/>
          </a:prstGeom>
          <a:noFill/>
        </p:spPr>
        <p:txBody>
          <a:bodyPr wrap="square" rtlCol="0">
            <a:spAutoFit/>
          </a:bodyPr>
          <a:lstStyle/>
          <a:p>
            <a:r>
              <a:rPr lang="ru-RU" sz="1150" b="1" dirty="0" smtClean="0">
                <a:solidFill>
                  <a:srgbClr val="1F4E79"/>
                </a:solidFill>
              </a:rPr>
              <a:t>Профиль клиента</a:t>
            </a:r>
            <a:endParaRPr lang="ru-RU" sz="1150" b="1" dirty="0">
              <a:solidFill>
                <a:srgbClr val="1F4E79"/>
              </a:solidFill>
            </a:endParaRPr>
          </a:p>
        </p:txBody>
      </p:sp>
      <p:cxnSp>
        <p:nvCxnSpPr>
          <p:cNvPr id="491" name="Прямая соединительная линия 490"/>
          <p:cNvCxnSpPr/>
          <p:nvPr/>
        </p:nvCxnSpPr>
        <p:spPr>
          <a:xfrm>
            <a:off x="395288" y="5733334"/>
            <a:ext cx="540691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92" name="Freeform 21"/>
          <p:cNvSpPr>
            <a:spLocks noChangeAspect="1"/>
          </p:cNvSpPr>
          <p:nvPr/>
        </p:nvSpPr>
        <p:spPr bwMode="auto">
          <a:xfrm>
            <a:off x="434324" y="5347641"/>
            <a:ext cx="336631" cy="323241"/>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493" name="Прямоугольник 492"/>
          <p:cNvSpPr/>
          <p:nvPr/>
        </p:nvSpPr>
        <p:spPr>
          <a:xfrm>
            <a:off x="358777" y="5778708"/>
            <a:ext cx="5304456" cy="911513"/>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200" b="1" dirty="0" smtClean="0">
                <a:solidFill>
                  <a:prstClr val="black"/>
                </a:solidFill>
                <a:latin typeface="+mj-lt"/>
                <a:cs typeface="+mn-cs"/>
              </a:rPr>
              <a:t>Субъект </a:t>
            </a:r>
            <a:r>
              <a:rPr lang="ru-RU" sz="1200" b="1" dirty="0">
                <a:solidFill>
                  <a:prstClr val="black"/>
                </a:solidFill>
                <a:latin typeface="+mj-lt"/>
                <a:cs typeface="+mn-cs"/>
              </a:rPr>
              <a:t>индивидуального и малого </a:t>
            </a:r>
            <a:r>
              <a:rPr lang="ru-RU" sz="1200" b="1" dirty="0" smtClean="0">
                <a:solidFill>
                  <a:prstClr val="black"/>
                </a:solidFill>
                <a:latin typeface="+mj-lt"/>
                <a:cs typeface="+mn-cs"/>
              </a:rPr>
              <a:t>предпринимательства </a:t>
            </a:r>
            <a:r>
              <a:rPr lang="ru-RU" sz="1200" dirty="0" smtClean="0">
                <a:solidFill>
                  <a:prstClr val="black"/>
                </a:solidFill>
                <a:latin typeface="+mj-lt"/>
                <a:cs typeface="+mn-cs"/>
              </a:rPr>
              <a:t>(ИМП), в том числе поставщик </a:t>
            </a:r>
            <a:r>
              <a:rPr lang="ru-RU" sz="1200" dirty="0">
                <a:solidFill>
                  <a:prstClr val="black"/>
                </a:solidFill>
                <a:latin typeface="+mj-lt"/>
                <a:cs typeface="+mn-cs"/>
              </a:rPr>
              <a:t>крупнейших заказчиков, определяемых Правительством Российской Федерации</a:t>
            </a:r>
            <a:r>
              <a:rPr lang="ru-RU" sz="1200" dirty="0" smtClean="0">
                <a:solidFill>
                  <a:prstClr val="black"/>
                </a:solidFill>
                <a:latin typeface="+mj-lt"/>
                <a:cs typeface="+mn-cs"/>
              </a:rPr>
              <a:t>, включенные </a:t>
            </a:r>
            <a:r>
              <a:rPr lang="ru-RU" sz="1200" dirty="0">
                <a:solidFill>
                  <a:prstClr val="black"/>
                </a:solidFill>
                <a:latin typeface="+mj-lt"/>
                <a:cs typeface="+mn-cs"/>
              </a:rPr>
              <a:t>в Единый реестр субъектов малого и среднего </a:t>
            </a:r>
            <a:r>
              <a:rPr lang="ru-RU" sz="1200" dirty="0" smtClean="0">
                <a:solidFill>
                  <a:prstClr val="black"/>
                </a:solidFill>
                <a:latin typeface="+mj-lt"/>
                <a:cs typeface="+mn-cs"/>
              </a:rPr>
              <a:t>предпринимательства.</a:t>
            </a:r>
            <a:endParaRPr lang="ru-RU" sz="1200" dirty="0">
              <a:solidFill>
                <a:prstClr val="black"/>
              </a:solidFill>
              <a:latin typeface="+mj-lt"/>
              <a:cs typeface="+mn-cs"/>
            </a:endParaRPr>
          </a:p>
        </p:txBody>
      </p:sp>
      <p:grpSp>
        <p:nvGrpSpPr>
          <p:cNvPr id="494" name="Группа 493"/>
          <p:cNvGrpSpPr/>
          <p:nvPr/>
        </p:nvGrpSpPr>
        <p:grpSpPr>
          <a:xfrm>
            <a:off x="530382" y="7707252"/>
            <a:ext cx="3665676" cy="276999"/>
            <a:chOff x="530382" y="7883894"/>
            <a:chExt cx="3665676" cy="276999"/>
          </a:xfrm>
        </p:grpSpPr>
        <p:sp>
          <p:nvSpPr>
            <p:cNvPr id="495" name="L-Shape 10"/>
            <p:cNvSpPr/>
            <p:nvPr/>
          </p:nvSpPr>
          <p:spPr>
            <a:xfrm rot="13701821">
              <a:off x="2480534" y="7910236"/>
              <a:ext cx="249564" cy="22431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prstClr val="white"/>
                </a:solidFill>
                <a:effectLst/>
                <a:uLnTx/>
                <a:uFillTx/>
                <a:latin typeface="+mj-lt"/>
                <a:ea typeface="+mn-ea"/>
                <a:cs typeface="+mn-cs"/>
              </a:endParaRPr>
            </a:p>
          </p:txBody>
        </p:sp>
        <p:sp>
          <p:nvSpPr>
            <p:cNvPr id="496" name="Прямоугольник 495"/>
            <p:cNvSpPr/>
            <p:nvPr/>
          </p:nvSpPr>
          <p:spPr>
            <a:xfrm>
              <a:off x="530382" y="7883894"/>
              <a:ext cx="1721748" cy="276999"/>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200" b="1" i="0" u="none" strike="noStrike" kern="0" cap="none" spc="0" normalizeH="0" baseline="0" noProof="0" dirty="0">
                  <a:ln>
                    <a:noFill/>
                  </a:ln>
                  <a:solidFill>
                    <a:srgbClr val="1F4E79"/>
                  </a:solidFill>
                  <a:effectLst/>
                  <a:uLnTx/>
                  <a:uFillTx/>
                  <a:latin typeface="+mj-lt"/>
                  <a:cs typeface="+mn-cs"/>
                </a:rPr>
                <a:t>Место регистрации</a:t>
              </a:r>
            </a:p>
          </p:txBody>
        </p:sp>
        <p:sp>
          <p:nvSpPr>
            <p:cNvPr id="497" name="Прямоугольник 496"/>
            <p:cNvSpPr/>
            <p:nvPr/>
          </p:nvSpPr>
          <p:spPr>
            <a:xfrm>
              <a:off x="3027266" y="7883894"/>
              <a:ext cx="1168792" cy="276999"/>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200" b="0" i="0" u="none" strike="noStrike" kern="0" cap="none" spc="0" normalizeH="0" baseline="0" noProof="0" dirty="0" smtClean="0">
                  <a:ln>
                    <a:noFill/>
                  </a:ln>
                  <a:solidFill>
                    <a:srgbClr val="000000"/>
                  </a:solidFill>
                  <a:effectLst/>
                  <a:uLnTx/>
                  <a:uFillTx/>
                  <a:latin typeface="+mj-lt"/>
                  <a:cs typeface="+mn-cs"/>
                </a:rPr>
                <a:t>Резидент РФ*</a:t>
              </a:r>
              <a:r>
                <a:rPr kumimoji="0" lang="en-US" sz="1200" b="0" i="0" u="none" strike="noStrike" kern="0" cap="none" spc="0" normalizeH="0" baseline="0" noProof="0" dirty="0" smtClean="0">
                  <a:ln>
                    <a:noFill/>
                  </a:ln>
                  <a:solidFill>
                    <a:srgbClr val="000000"/>
                  </a:solidFill>
                  <a:effectLst/>
                  <a:uLnTx/>
                  <a:uFillTx/>
                  <a:latin typeface="+mj-lt"/>
                  <a:cs typeface="+mn-cs"/>
                </a:rPr>
                <a:t>*</a:t>
              </a:r>
              <a:r>
                <a:rPr kumimoji="0" lang="ru-RU" sz="1200" b="0" i="0" u="none" strike="noStrike" kern="0" cap="none" spc="0" normalizeH="0" baseline="0" noProof="0" dirty="0" smtClean="0">
                  <a:ln>
                    <a:noFill/>
                  </a:ln>
                  <a:solidFill>
                    <a:srgbClr val="000000"/>
                  </a:solidFill>
                  <a:effectLst/>
                  <a:uLnTx/>
                  <a:uFillTx/>
                  <a:latin typeface="+mj-lt"/>
                  <a:cs typeface="+mn-cs"/>
                </a:rPr>
                <a:t>*</a:t>
              </a:r>
              <a:endParaRPr kumimoji="0" lang="ru-RU" sz="1200" b="0" i="0" u="none" strike="noStrike" kern="0" cap="none" spc="0" normalizeH="0" baseline="0" noProof="0" dirty="0">
                <a:ln>
                  <a:noFill/>
                </a:ln>
                <a:solidFill>
                  <a:srgbClr val="000000"/>
                </a:solidFill>
                <a:effectLst/>
                <a:uLnTx/>
                <a:uFillTx/>
                <a:latin typeface="+mj-lt"/>
                <a:cs typeface="+mn-cs"/>
              </a:endParaRPr>
            </a:p>
          </p:txBody>
        </p:sp>
      </p:grpSp>
      <p:grpSp>
        <p:nvGrpSpPr>
          <p:cNvPr id="498" name="Group 186"/>
          <p:cNvGrpSpPr>
            <a:grpSpLocks noChangeAspect="1"/>
          </p:cNvGrpSpPr>
          <p:nvPr/>
        </p:nvGrpSpPr>
        <p:grpSpPr>
          <a:xfrm>
            <a:off x="7069087" y="1436076"/>
            <a:ext cx="505040" cy="505040"/>
            <a:chOff x="7858125" y="3643313"/>
            <a:chExt cx="1136650" cy="1136651"/>
          </a:xfrm>
          <a:solidFill>
            <a:schemeClr val="bg1"/>
          </a:solidFill>
        </p:grpSpPr>
        <p:sp>
          <p:nvSpPr>
            <p:cNvPr id="499" name="Freeform 72"/>
            <p:cNvSpPr>
              <a:spLocks/>
            </p:cNvSpPr>
            <p:nvPr/>
          </p:nvSpPr>
          <p:spPr bwMode="auto">
            <a:xfrm>
              <a:off x="7858125" y="3949701"/>
              <a:ext cx="546100" cy="830263"/>
            </a:xfrm>
            <a:custGeom>
              <a:avLst/>
              <a:gdLst/>
              <a:ahLst/>
              <a:cxnLst>
                <a:cxn ang="0">
                  <a:pos x="48" y="22"/>
                </a:cxn>
                <a:cxn ang="0">
                  <a:pos x="29" y="13"/>
                </a:cxn>
                <a:cxn ang="0">
                  <a:pos x="29" y="14"/>
                </a:cxn>
                <a:cxn ang="0">
                  <a:pos x="29" y="24"/>
                </a:cxn>
                <a:cxn ang="0">
                  <a:pos x="27" y="26"/>
                </a:cxn>
                <a:cxn ang="0">
                  <a:pos x="20" y="23"/>
                </a:cxn>
                <a:cxn ang="0">
                  <a:pos x="18" y="19"/>
                </a:cxn>
                <a:cxn ang="0">
                  <a:pos x="18" y="9"/>
                </a:cxn>
                <a:cxn ang="0">
                  <a:pos x="18" y="8"/>
                </a:cxn>
                <a:cxn ang="0">
                  <a:pos x="1" y="0"/>
                </a:cxn>
                <a:cxn ang="0">
                  <a:pos x="1" y="0"/>
                </a:cxn>
                <a:cxn ang="0">
                  <a:pos x="0" y="2"/>
                </a:cxn>
                <a:cxn ang="0">
                  <a:pos x="0" y="23"/>
                </a:cxn>
                <a:cxn ang="0">
                  <a:pos x="0" y="26"/>
                </a:cxn>
                <a:cxn ang="0">
                  <a:pos x="0" y="49"/>
                </a:cxn>
                <a:cxn ang="0">
                  <a:pos x="1" y="51"/>
                </a:cxn>
                <a:cxn ang="0">
                  <a:pos x="48" y="73"/>
                </a:cxn>
                <a:cxn ang="0">
                  <a:pos x="48" y="73"/>
                </a:cxn>
                <a:cxn ang="0">
                  <a:pos x="48" y="22"/>
                </a:cxn>
              </a:cxnLst>
              <a:rect l="0" t="0" r="r" b="b"/>
              <a:pathLst>
                <a:path w="48" h="73">
                  <a:moveTo>
                    <a:pt x="48" y="22"/>
                  </a:moveTo>
                  <a:cubicBezTo>
                    <a:pt x="29" y="13"/>
                    <a:pt x="29" y="13"/>
                    <a:pt x="29" y="13"/>
                  </a:cubicBezTo>
                  <a:cubicBezTo>
                    <a:pt x="29" y="13"/>
                    <a:pt x="29" y="14"/>
                    <a:pt x="29" y="14"/>
                  </a:cubicBezTo>
                  <a:cubicBezTo>
                    <a:pt x="29" y="24"/>
                    <a:pt x="29" y="24"/>
                    <a:pt x="29" y="24"/>
                  </a:cubicBezTo>
                  <a:cubicBezTo>
                    <a:pt x="29" y="26"/>
                    <a:pt x="28" y="26"/>
                    <a:pt x="27" y="26"/>
                  </a:cubicBezTo>
                  <a:cubicBezTo>
                    <a:pt x="20" y="23"/>
                    <a:pt x="20" y="23"/>
                    <a:pt x="20" y="23"/>
                  </a:cubicBezTo>
                  <a:cubicBezTo>
                    <a:pt x="19" y="22"/>
                    <a:pt x="18" y="21"/>
                    <a:pt x="18" y="19"/>
                  </a:cubicBezTo>
                  <a:cubicBezTo>
                    <a:pt x="18" y="9"/>
                    <a:pt x="18" y="9"/>
                    <a:pt x="18" y="9"/>
                  </a:cubicBezTo>
                  <a:cubicBezTo>
                    <a:pt x="18" y="9"/>
                    <a:pt x="18" y="8"/>
                    <a:pt x="18" y="8"/>
                  </a:cubicBezTo>
                  <a:cubicBezTo>
                    <a:pt x="1" y="0"/>
                    <a:pt x="1" y="0"/>
                    <a:pt x="1" y="0"/>
                  </a:cubicBezTo>
                  <a:cubicBezTo>
                    <a:pt x="1" y="0"/>
                    <a:pt x="1" y="0"/>
                    <a:pt x="1" y="0"/>
                  </a:cubicBezTo>
                  <a:cubicBezTo>
                    <a:pt x="0" y="0"/>
                    <a:pt x="0" y="1"/>
                    <a:pt x="0" y="2"/>
                  </a:cubicBezTo>
                  <a:cubicBezTo>
                    <a:pt x="0" y="23"/>
                    <a:pt x="0" y="23"/>
                    <a:pt x="0" y="23"/>
                  </a:cubicBezTo>
                  <a:cubicBezTo>
                    <a:pt x="0" y="24"/>
                    <a:pt x="0" y="26"/>
                    <a:pt x="0" y="26"/>
                  </a:cubicBezTo>
                  <a:cubicBezTo>
                    <a:pt x="0" y="49"/>
                    <a:pt x="0" y="49"/>
                    <a:pt x="0" y="49"/>
                  </a:cubicBezTo>
                  <a:cubicBezTo>
                    <a:pt x="0" y="50"/>
                    <a:pt x="1" y="51"/>
                    <a:pt x="1" y="51"/>
                  </a:cubicBezTo>
                  <a:cubicBezTo>
                    <a:pt x="48" y="73"/>
                    <a:pt x="48" y="73"/>
                    <a:pt x="48" y="73"/>
                  </a:cubicBezTo>
                  <a:cubicBezTo>
                    <a:pt x="48" y="73"/>
                    <a:pt x="48" y="73"/>
                    <a:pt x="48" y="73"/>
                  </a:cubicBezTo>
                  <a:lnTo>
                    <a:pt x="48"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73"/>
            <p:cNvSpPr>
              <a:spLocks/>
            </p:cNvSpPr>
            <p:nvPr/>
          </p:nvSpPr>
          <p:spPr bwMode="auto">
            <a:xfrm>
              <a:off x="8210550" y="3802063"/>
              <a:ext cx="773113" cy="363538"/>
            </a:xfrm>
            <a:custGeom>
              <a:avLst/>
              <a:gdLst/>
              <a:ahLst/>
              <a:cxnLst>
                <a:cxn ang="0">
                  <a:pos x="1" y="22"/>
                </a:cxn>
                <a:cxn ang="0">
                  <a:pos x="0" y="23"/>
                </a:cxn>
                <a:cxn ang="0">
                  <a:pos x="19" y="32"/>
                </a:cxn>
                <a:cxn ang="0">
                  <a:pos x="67" y="10"/>
                </a:cxn>
                <a:cxn ang="0">
                  <a:pos x="67" y="10"/>
                </a:cxn>
                <a:cxn ang="0">
                  <a:pos x="67" y="8"/>
                </a:cxn>
                <a:cxn ang="0">
                  <a:pos x="50" y="0"/>
                </a:cxn>
                <a:cxn ang="0">
                  <a:pos x="1" y="22"/>
                </a:cxn>
              </a:cxnLst>
              <a:rect l="0" t="0" r="r" b="b"/>
              <a:pathLst>
                <a:path w="68" h="32">
                  <a:moveTo>
                    <a:pt x="1" y="22"/>
                  </a:moveTo>
                  <a:cubicBezTo>
                    <a:pt x="0" y="23"/>
                    <a:pt x="0" y="23"/>
                    <a:pt x="0" y="23"/>
                  </a:cubicBezTo>
                  <a:cubicBezTo>
                    <a:pt x="19" y="32"/>
                    <a:pt x="19" y="32"/>
                    <a:pt x="19" y="32"/>
                  </a:cubicBezTo>
                  <a:cubicBezTo>
                    <a:pt x="67" y="10"/>
                    <a:pt x="67" y="10"/>
                    <a:pt x="67" y="10"/>
                  </a:cubicBezTo>
                  <a:cubicBezTo>
                    <a:pt x="67" y="10"/>
                    <a:pt x="67" y="10"/>
                    <a:pt x="67" y="10"/>
                  </a:cubicBezTo>
                  <a:cubicBezTo>
                    <a:pt x="68" y="9"/>
                    <a:pt x="68" y="8"/>
                    <a:pt x="67" y="8"/>
                  </a:cubicBezTo>
                  <a:cubicBezTo>
                    <a:pt x="50" y="0"/>
                    <a:pt x="50" y="0"/>
                    <a:pt x="50" y="0"/>
                  </a:cubicBezTo>
                  <a:lnTo>
                    <a:pt x="1" y="2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74"/>
            <p:cNvSpPr>
              <a:spLocks/>
            </p:cNvSpPr>
            <p:nvPr/>
          </p:nvSpPr>
          <p:spPr bwMode="auto">
            <a:xfrm>
              <a:off x="8743950" y="4268788"/>
              <a:ext cx="68263" cy="136525"/>
            </a:xfrm>
            <a:custGeom>
              <a:avLst/>
              <a:gdLst/>
              <a:ahLst/>
              <a:cxnLst>
                <a:cxn ang="0">
                  <a:pos x="2" y="6"/>
                </a:cxn>
                <a:cxn ang="0">
                  <a:pos x="2" y="12"/>
                </a:cxn>
                <a:cxn ang="0">
                  <a:pos x="4" y="12"/>
                </a:cxn>
                <a:cxn ang="0">
                  <a:pos x="4" y="5"/>
                </a:cxn>
                <a:cxn ang="0">
                  <a:pos x="5" y="4"/>
                </a:cxn>
                <a:cxn ang="0">
                  <a:pos x="6" y="4"/>
                </a:cxn>
                <a:cxn ang="0">
                  <a:pos x="3" y="0"/>
                </a:cxn>
                <a:cxn ang="0">
                  <a:pos x="3" y="0"/>
                </a:cxn>
                <a:cxn ang="0">
                  <a:pos x="0" y="6"/>
                </a:cxn>
                <a:cxn ang="0">
                  <a:pos x="0" y="7"/>
                </a:cxn>
                <a:cxn ang="0">
                  <a:pos x="2" y="6"/>
                </a:cxn>
              </a:cxnLst>
              <a:rect l="0" t="0" r="r" b="b"/>
              <a:pathLst>
                <a:path w="6" h="12">
                  <a:moveTo>
                    <a:pt x="2" y="6"/>
                  </a:moveTo>
                  <a:cubicBezTo>
                    <a:pt x="2" y="12"/>
                    <a:pt x="2" y="12"/>
                    <a:pt x="2" y="12"/>
                  </a:cubicBezTo>
                  <a:cubicBezTo>
                    <a:pt x="4" y="12"/>
                    <a:pt x="4" y="12"/>
                    <a:pt x="4" y="12"/>
                  </a:cubicBezTo>
                  <a:cubicBezTo>
                    <a:pt x="4" y="5"/>
                    <a:pt x="4" y="5"/>
                    <a:pt x="4" y="5"/>
                  </a:cubicBezTo>
                  <a:cubicBezTo>
                    <a:pt x="5" y="4"/>
                    <a:pt x="5" y="4"/>
                    <a:pt x="5" y="4"/>
                  </a:cubicBezTo>
                  <a:cubicBezTo>
                    <a:pt x="6" y="4"/>
                    <a:pt x="6" y="4"/>
                    <a:pt x="6" y="4"/>
                  </a:cubicBezTo>
                  <a:cubicBezTo>
                    <a:pt x="3" y="0"/>
                    <a:pt x="3" y="0"/>
                    <a:pt x="3" y="0"/>
                  </a:cubicBezTo>
                  <a:cubicBezTo>
                    <a:pt x="3" y="0"/>
                    <a:pt x="3" y="0"/>
                    <a:pt x="3" y="0"/>
                  </a:cubicBezTo>
                  <a:cubicBezTo>
                    <a:pt x="0" y="6"/>
                    <a:pt x="0" y="6"/>
                    <a:pt x="0" y="6"/>
                  </a:cubicBezTo>
                  <a:cubicBezTo>
                    <a:pt x="0" y="6"/>
                    <a:pt x="0" y="7"/>
                    <a:pt x="0" y="7"/>
                  </a:cubicBezTo>
                  <a:lnTo>
                    <a:pt x="2"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75"/>
            <p:cNvSpPr>
              <a:spLocks/>
            </p:cNvSpPr>
            <p:nvPr/>
          </p:nvSpPr>
          <p:spPr bwMode="auto">
            <a:xfrm>
              <a:off x="7869238" y="3643313"/>
              <a:ext cx="795338" cy="363538"/>
            </a:xfrm>
            <a:custGeom>
              <a:avLst/>
              <a:gdLst/>
              <a:ahLst/>
              <a:cxnLst>
                <a:cxn ang="0">
                  <a:pos x="1" y="23"/>
                </a:cxn>
                <a:cxn ang="0">
                  <a:pos x="19" y="32"/>
                </a:cxn>
                <a:cxn ang="0">
                  <a:pos x="20" y="32"/>
                </a:cxn>
                <a:cxn ang="0">
                  <a:pos x="69" y="10"/>
                </a:cxn>
                <a:cxn ang="0">
                  <a:pos x="70" y="9"/>
                </a:cxn>
                <a:cxn ang="0">
                  <a:pos x="50" y="1"/>
                </a:cxn>
                <a:cxn ang="0">
                  <a:pos x="48" y="1"/>
                </a:cxn>
                <a:cxn ang="0">
                  <a:pos x="1" y="22"/>
                </a:cxn>
                <a:cxn ang="0">
                  <a:pos x="1" y="23"/>
                </a:cxn>
              </a:cxnLst>
              <a:rect l="0" t="0" r="r" b="b"/>
              <a:pathLst>
                <a:path w="70" h="32">
                  <a:moveTo>
                    <a:pt x="1" y="23"/>
                  </a:moveTo>
                  <a:cubicBezTo>
                    <a:pt x="19" y="32"/>
                    <a:pt x="19" y="32"/>
                    <a:pt x="19" y="32"/>
                  </a:cubicBezTo>
                  <a:cubicBezTo>
                    <a:pt x="20" y="32"/>
                    <a:pt x="20" y="32"/>
                    <a:pt x="20" y="32"/>
                  </a:cubicBezTo>
                  <a:cubicBezTo>
                    <a:pt x="69" y="10"/>
                    <a:pt x="69" y="10"/>
                    <a:pt x="69" y="10"/>
                  </a:cubicBezTo>
                  <a:cubicBezTo>
                    <a:pt x="69" y="10"/>
                    <a:pt x="69" y="9"/>
                    <a:pt x="70" y="9"/>
                  </a:cubicBezTo>
                  <a:cubicBezTo>
                    <a:pt x="50" y="1"/>
                    <a:pt x="50" y="1"/>
                    <a:pt x="50" y="1"/>
                  </a:cubicBezTo>
                  <a:cubicBezTo>
                    <a:pt x="50" y="0"/>
                    <a:pt x="48" y="0"/>
                    <a:pt x="48" y="1"/>
                  </a:cubicBezTo>
                  <a:cubicBezTo>
                    <a:pt x="1" y="22"/>
                    <a:pt x="1" y="22"/>
                    <a:pt x="1" y="22"/>
                  </a:cubicBezTo>
                  <a:cubicBezTo>
                    <a:pt x="0" y="22"/>
                    <a:pt x="1" y="23"/>
                    <a:pt x="1"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76"/>
            <p:cNvSpPr>
              <a:spLocks/>
            </p:cNvSpPr>
            <p:nvPr/>
          </p:nvSpPr>
          <p:spPr bwMode="auto">
            <a:xfrm>
              <a:off x="8653463" y="4314826"/>
              <a:ext cx="68263" cy="134938"/>
            </a:xfrm>
            <a:custGeom>
              <a:avLst/>
              <a:gdLst/>
              <a:ahLst/>
              <a:cxnLst>
                <a:cxn ang="0">
                  <a:pos x="2" y="5"/>
                </a:cxn>
                <a:cxn ang="0">
                  <a:pos x="2" y="12"/>
                </a:cxn>
                <a:cxn ang="0">
                  <a:pos x="4" y="11"/>
                </a:cxn>
                <a:cxn ang="0">
                  <a:pos x="4" y="4"/>
                </a:cxn>
                <a:cxn ang="0">
                  <a:pos x="6" y="4"/>
                </a:cxn>
                <a:cxn ang="0">
                  <a:pos x="6" y="3"/>
                </a:cxn>
                <a:cxn ang="0">
                  <a:pos x="3" y="0"/>
                </a:cxn>
                <a:cxn ang="0">
                  <a:pos x="3" y="0"/>
                </a:cxn>
                <a:cxn ang="0">
                  <a:pos x="0" y="6"/>
                </a:cxn>
                <a:cxn ang="0">
                  <a:pos x="0" y="6"/>
                </a:cxn>
                <a:cxn ang="0">
                  <a:pos x="2" y="5"/>
                </a:cxn>
              </a:cxnLst>
              <a:rect l="0" t="0" r="r" b="b"/>
              <a:pathLst>
                <a:path w="6" h="12">
                  <a:moveTo>
                    <a:pt x="2" y="5"/>
                  </a:moveTo>
                  <a:cubicBezTo>
                    <a:pt x="2" y="12"/>
                    <a:pt x="2" y="12"/>
                    <a:pt x="2" y="12"/>
                  </a:cubicBezTo>
                  <a:cubicBezTo>
                    <a:pt x="4" y="11"/>
                    <a:pt x="4" y="11"/>
                    <a:pt x="4" y="11"/>
                  </a:cubicBezTo>
                  <a:cubicBezTo>
                    <a:pt x="4" y="4"/>
                    <a:pt x="4" y="4"/>
                    <a:pt x="4" y="4"/>
                  </a:cubicBezTo>
                  <a:cubicBezTo>
                    <a:pt x="6" y="4"/>
                    <a:pt x="6" y="4"/>
                    <a:pt x="6" y="4"/>
                  </a:cubicBezTo>
                  <a:cubicBezTo>
                    <a:pt x="6" y="4"/>
                    <a:pt x="6" y="3"/>
                    <a:pt x="6" y="3"/>
                  </a:cubicBezTo>
                  <a:cubicBezTo>
                    <a:pt x="3" y="0"/>
                    <a:pt x="3" y="0"/>
                    <a:pt x="3" y="0"/>
                  </a:cubicBezTo>
                  <a:cubicBezTo>
                    <a:pt x="3" y="0"/>
                    <a:pt x="3" y="0"/>
                    <a:pt x="3" y="0"/>
                  </a:cubicBezTo>
                  <a:cubicBezTo>
                    <a:pt x="0" y="6"/>
                    <a:pt x="0" y="6"/>
                    <a:pt x="0" y="6"/>
                  </a:cubicBezTo>
                  <a:cubicBezTo>
                    <a:pt x="0" y="6"/>
                    <a:pt x="0" y="6"/>
                    <a:pt x="0" y="6"/>
                  </a:cubicBezTo>
                  <a:lnTo>
                    <a:pt x="2" y="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77"/>
            <p:cNvSpPr>
              <a:spLocks noEditPoints="1"/>
            </p:cNvSpPr>
            <p:nvPr/>
          </p:nvSpPr>
          <p:spPr bwMode="auto">
            <a:xfrm>
              <a:off x="8448675" y="3949701"/>
              <a:ext cx="546100" cy="830263"/>
            </a:xfrm>
            <a:custGeom>
              <a:avLst/>
              <a:gdLst/>
              <a:ahLst/>
              <a:cxnLst>
                <a:cxn ang="0">
                  <a:pos x="48" y="2"/>
                </a:cxn>
                <a:cxn ang="0">
                  <a:pos x="48" y="0"/>
                </a:cxn>
                <a:cxn ang="0">
                  <a:pos x="48" y="0"/>
                </a:cxn>
                <a:cxn ang="0">
                  <a:pos x="0" y="22"/>
                </a:cxn>
                <a:cxn ang="0">
                  <a:pos x="0" y="73"/>
                </a:cxn>
                <a:cxn ang="0">
                  <a:pos x="0" y="73"/>
                </a:cxn>
                <a:cxn ang="0">
                  <a:pos x="47" y="51"/>
                </a:cxn>
                <a:cxn ang="0">
                  <a:pos x="48" y="49"/>
                </a:cxn>
                <a:cxn ang="0">
                  <a:pos x="48" y="26"/>
                </a:cxn>
                <a:cxn ang="0">
                  <a:pos x="48" y="23"/>
                </a:cxn>
                <a:cxn ang="0">
                  <a:pos x="48" y="2"/>
                </a:cxn>
                <a:cxn ang="0">
                  <a:pos x="36" y="45"/>
                </a:cxn>
                <a:cxn ang="0">
                  <a:pos x="14" y="54"/>
                </a:cxn>
                <a:cxn ang="0">
                  <a:pos x="13" y="54"/>
                </a:cxn>
                <a:cxn ang="0">
                  <a:pos x="13" y="32"/>
                </a:cxn>
                <a:cxn ang="0">
                  <a:pos x="14" y="30"/>
                </a:cxn>
                <a:cxn ang="0">
                  <a:pos x="36" y="20"/>
                </a:cxn>
                <a:cxn ang="0">
                  <a:pos x="37" y="21"/>
                </a:cxn>
                <a:cxn ang="0">
                  <a:pos x="37" y="43"/>
                </a:cxn>
                <a:cxn ang="0">
                  <a:pos x="36" y="45"/>
                </a:cxn>
              </a:cxnLst>
              <a:rect l="0" t="0" r="r" b="b"/>
              <a:pathLst>
                <a:path w="48" h="73">
                  <a:moveTo>
                    <a:pt x="48" y="2"/>
                  </a:moveTo>
                  <a:cubicBezTo>
                    <a:pt x="48" y="1"/>
                    <a:pt x="48" y="0"/>
                    <a:pt x="48" y="0"/>
                  </a:cubicBezTo>
                  <a:cubicBezTo>
                    <a:pt x="48" y="0"/>
                    <a:pt x="48" y="0"/>
                    <a:pt x="48" y="0"/>
                  </a:cubicBezTo>
                  <a:cubicBezTo>
                    <a:pt x="0" y="22"/>
                    <a:pt x="0" y="22"/>
                    <a:pt x="0" y="22"/>
                  </a:cubicBezTo>
                  <a:cubicBezTo>
                    <a:pt x="0" y="73"/>
                    <a:pt x="0" y="73"/>
                    <a:pt x="0" y="73"/>
                  </a:cubicBezTo>
                  <a:cubicBezTo>
                    <a:pt x="0" y="73"/>
                    <a:pt x="0" y="73"/>
                    <a:pt x="0" y="73"/>
                  </a:cubicBezTo>
                  <a:cubicBezTo>
                    <a:pt x="47" y="51"/>
                    <a:pt x="47" y="51"/>
                    <a:pt x="47" y="51"/>
                  </a:cubicBezTo>
                  <a:cubicBezTo>
                    <a:pt x="48" y="51"/>
                    <a:pt x="48" y="50"/>
                    <a:pt x="48" y="49"/>
                  </a:cubicBezTo>
                  <a:cubicBezTo>
                    <a:pt x="48" y="26"/>
                    <a:pt x="48" y="26"/>
                    <a:pt x="48" y="26"/>
                  </a:cubicBezTo>
                  <a:cubicBezTo>
                    <a:pt x="48" y="26"/>
                    <a:pt x="48" y="24"/>
                    <a:pt x="48" y="23"/>
                  </a:cubicBezTo>
                  <a:lnTo>
                    <a:pt x="48" y="2"/>
                  </a:lnTo>
                  <a:close/>
                  <a:moveTo>
                    <a:pt x="36" y="45"/>
                  </a:moveTo>
                  <a:cubicBezTo>
                    <a:pt x="14" y="54"/>
                    <a:pt x="14" y="54"/>
                    <a:pt x="14" y="54"/>
                  </a:cubicBezTo>
                  <a:cubicBezTo>
                    <a:pt x="14" y="55"/>
                    <a:pt x="13" y="54"/>
                    <a:pt x="13" y="54"/>
                  </a:cubicBezTo>
                  <a:cubicBezTo>
                    <a:pt x="13" y="32"/>
                    <a:pt x="13" y="32"/>
                    <a:pt x="13" y="32"/>
                  </a:cubicBezTo>
                  <a:cubicBezTo>
                    <a:pt x="13" y="31"/>
                    <a:pt x="14" y="30"/>
                    <a:pt x="14" y="30"/>
                  </a:cubicBezTo>
                  <a:cubicBezTo>
                    <a:pt x="36" y="20"/>
                    <a:pt x="36" y="20"/>
                    <a:pt x="36" y="20"/>
                  </a:cubicBezTo>
                  <a:cubicBezTo>
                    <a:pt x="36" y="20"/>
                    <a:pt x="37" y="20"/>
                    <a:pt x="37" y="21"/>
                  </a:cubicBezTo>
                  <a:cubicBezTo>
                    <a:pt x="37" y="43"/>
                    <a:pt x="37" y="43"/>
                    <a:pt x="37" y="43"/>
                  </a:cubicBezTo>
                  <a:cubicBezTo>
                    <a:pt x="37" y="44"/>
                    <a:pt x="36" y="45"/>
                    <a:pt x="36"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78"/>
            <p:cNvSpPr>
              <a:spLocks/>
            </p:cNvSpPr>
            <p:nvPr/>
          </p:nvSpPr>
          <p:spPr bwMode="auto">
            <a:xfrm>
              <a:off x="8642350" y="4405313"/>
              <a:ext cx="182563" cy="101600"/>
            </a:xfrm>
            <a:custGeom>
              <a:avLst/>
              <a:gdLst/>
              <a:ahLst/>
              <a:cxnLst>
                <a:cxn ang="0">
                  <a:pos x="16" y="0"/>
                </a:cxn>
                <a:cxn ang="0">
                  <a:pos x="0" y="7"/>
                </a:cxn>
                <a:cxn ang="0">
                  <a:pos x="0" y="7"/>
                </a:cxn>
                <a:cxn ang="0">
                  <a:pos x="0" y="9"/>
                </a:cxn>
                <a:cxn ang="0">
                  <a:pos x="0" y="9"/>
                </a:cxn>
                <a:cxn ang="0">
                  <a:pos x="16" y="2"/>
                </a:cxn>
                <a:cxn ang="0">
                  <a:pos x="16" y="2"/>
                </a:cxn>
                <a:cxn ang="0">
                  <a:pos x="16" y="0"/>
                </a:cxn>
                <a:cxn ang="0">
                  <a:pos x="16" y="0"/>
                </a:cxn>
              </a:cxnLst>
              <a:rect l="0" t="0" r="r" b="b"/>
              <a:pathLst>
                <a:path w="16" h="9">
                  <a:moveTo>
                    <a:pt x="16" y="0"/>
                  </a:moveTo>
                  <a:cubicBezTo>
                    <a:pt x="0" y="7"/>
                    <a:pt x="0" y="7"/>
                    <a:pt x="0" y="7"/>
                  </a:cubicBezTo>
                  <a:cubicBezTo>
                    <a:pt x="0" y="7"/>
                    <a:pt x="0" y="7"/>
                    <a:pt x="0" y="7"/>
                  </a:cubicBezTo>
                  <a:cubicBezTo>
                    <a:pt x="0" y="9"/>
                    <a:pt x="0" y="9"/>
                    <a:pt x="0" y="9"/>
                  </a:cubicBezTo>
                  <a:cubicBezTo>
                    <a:pt x="0" y="9"/>
                    <a:pt x="0" y="9"/>
                    <a:pt x="0" y="9"/>
                  </a:cubicBezTo>
                  <a:cubicBezTo>
                    <a:pt x="16" y="2"/>
                    <a:pt x="16" y="2"/>
                    <a:pt x="16" y="2"/>
                  </a:cubicBezTo>
                  <a:cubicBezTo>
                    <a:pt x="16" y="2"/>
                    <a:pt x="16" y="2"/>
                    <a:pt x="16" y="2"/>
                  </a:cubicBezTo>
                  <a:cubicBezTo>
                    <a:pt x="16" y="0"/>
                    <a:pt x="16" y="0"/>
                    <a:pt x="16" y="0"/>
                  </a:cubicBezTo>
                  <a:cubicBezTo>
                    <a:pt x="16" y="0"/>
                    <a:pt x="16" y="0"/>
                    <a:pt x="16"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506" name="Group 282"/>
          <p:cNvGrpSpPr/>
          <p:nvPr/>
        </p:nvGrpSpPr>
        <p:grpSpPr>
          <a:xfrm>
            <a:off x="10501221" y="1673351"/>
            <a:ext cx="550983" cy="547381"/>
            <a:chOff x="4060825" y="13077826"/>
            <a:chExt cx="485775" cy="482600"/>
          </a:xfrm>
          <a:solidFill>
            <a:schemeClr val="bg1"/>
          </a:solidFill>
        </p:grpSpPr>
        <p:sp>
          <p:nvSpPr>
            <p:cNvPr id="507" name="Freeform 700"/>
            <p:cNvSpPr>
              <a:spLocks noEditPoints="1"/>
            </p:cNvSpPr>
            <p:nvPr/>
          </p:nvSpPr>
          <p:spPr bwMode="auto">
            <a:xfrm>
              <a:off x="4060825" y="13077826"/>
              <a:ext cx="485775" cy="482600"/>
            </a:xfrm>
            <a:custGeom>
              <a:avLst/>
              <a:gdLst>
                <a:gd name="T0" fmla="*/ 83 w 166"/>
                <a:gd name="T1" fmla="*/ 165 h 165"/>
                <a:gd name="T2" fmla="*/ 0 w 166"/>
                <a:gd name="T3" fmla="*/ 82 h 165"/>
                <a:gd name="T4" fmla="*/ 83 w 166"/>
                <a:gd name="T5" fmla="*/ 0 h 165"/>
                <a:gd name="T6" fmla="*/ 166 w 166"/>
                <a:gd name="T7" fmla="*/ 82 h 165"/>
                <a:gd name="T8" fmla="*/ 83 w 166"/>
                <a:gd name="T9" fmla="*/ 165 h 165"/>
                <a:gd name="T10" fmla="*/ 83 w 166"/>
                <a:gd name="T11" fmla="*/ 12 h 165"/>
                <a:gd name="T12" fmla="*/ 12 w 166"/>
                <a:gd name="T13" fmla="*/ 82 h 165"/>
                <a:gd name="T14" fmla="*/ 83 w 166"/>
                <a:gd name="T15" fmla="*/ 153 h 165"/>
                <a:gd name="T16" fmla="*/ 154 w 166"/>
                <a:gd name="T17" fmla="*/ 82 h 165"/>
                <a:gd name="T18" fmla="*/ 83 w 166"/>
                <a:gd name="T19"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65">
                  <a:moveTo>
                    <a:pt x="83" y="165"/>
                  </a:moveTo>
                  <a:cubicBezTo>
                    <a:pt x="38" y="165"/>
                    <a:pt x="0" y="128"/>
                    <a:pt x="0" y="82"/>
                  </a:cubicBezTo>
                  <a:cubicBezTo>
                    <a:pt x="0" y="37"/>
                    <a:pt x="38" y="0"/>
                    <a:pt x="83" y="0"/>
                  </a:cubicBezTo>
                  <a:cubicBezTo>
                    <a:pt x="129" y="0"/>
                    <a:pt x="166" y="37"/>
                    <a:pt x="166" y="82"/>
                  </a:cubicBezTo>
                  <a:cubicBezTo>
                    <a:pt x="166" y="128"/>
                    <a:pt x="129" y="165"/>
                    <a:pt x="83" y="165"/>
                  </a:cubicBezTo>
                  <a:close/>
                  <a:moveTo>
                    <a:pt x="83" y="12"/>
                  </a:moveTo>
                  <a:cubicBezTo>
                    <a:pt x="44" y="12"/>
                    <a:pt x="12" y="43"/>
                    <a:pt x="12" y="82"/>
                  </a:cubicBezTo>
                  <a:cubicBezTo>
                    <a:pt x="12" y="121"/>
                    <a:pt x="44" y="153"/>
                    <a:pt x="83" y="153"/>
                  </a:cubicBezTo>
                  <a:cubicBezTo>
                    <a:pt x="122" y="153"/>
                    <a:pt x="154" y="121"/>
                    <a:pt x="154" y="82"/>
                  </a:cubicBezTo>
                  <a:cubicBezTo>
                    <a:pt x="154" y="43"/>
                    <a:pt x="122" y="12"/>
                    <a:pt x="8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08" name="Freeform 701"/>
            <p:cNvSpPr>
              <a:spLocks/>
            </p:cNvSpPr>
            <p:nvPr/>
          </p:nvSpPr>
          <p:spPr bwMode="auto">
            <a:xfrm>
              <a:off x="4408488" y="13404851"/>
              <a:ext cx="41275" cy="114300"/>
            </a:xfrm>
            <a:custGeom>
              <a:avLst/>
              <a:gdLst>
                <a:gd name="T0" fmla="*/ 7 w 14"/>
                <a:gd name="T1" fmla="*/ 39 h 39"/>
                <a:gd name="T2" fmla="*/ 6 w 14"/>
                <a:gd name="T3" fmla="*/ 39 h 39"/>
                <a:gd name="T4" fmla="*/ 1 w 14"/>
                <a:gd name="T5" fmla="*/ 32 h 39"/>
                <a:gd name="T6" fmla="*/ 0 w 14"/>
                <a:gd name="T7" fmla="*/ 7 h 39"/>
                <a:gd name="T8" fmla="*/ 5 w 14"/>
                <a:gd name="T9" fmla="*/ 1 h 39"/>
                <a:gd name="T10" fmla="*/ 12 w 14"/>
                <a:gd name="T11" fmla="*/ 6 h 39"/>
                <a:gd name="T12" fmla="*/ 13 w 14"/>
                <a:gd name="T13" fmla="*/ 33 h 39"/>
                <a:gd name="T14" fmla="*/ 7 w 14"/>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9">
                  <a:moveTo>
                    <a:pt x="7" y="39"/>
                  </a:moveTo>
                  <a:cubicBezTo>
                    <a:pt x="7" y="39"/>
                    <a:pt x="7" y="39"/>
                    <a:pt x="6" y="39"/>
                  </a:cubicBezTo>
                  <a:cubicBezTo>
                    <a:pt x="3" y="39"/>
                    <a:pt x="1" y="36"/>
                    <a:pt x="1" y="32"/>
                  </a:cubicBezTo>
                  <a:cubicBezTo>
                    <a:pt x="2" y="24"/>
                    <a:pt x="2" y="16"/>
                    <a:pt x="0" y="7"/>
                  </a:cubicBezTo>
                  <a:cubicBezTo>
                    <a:pt x="0" y="4"/>
                    <a:pt x="2" y="1"/>
                    <a:pt x="5" y="1"/>
                  </a:cubicBezTo>
                  <a:cubicBezTo>
                    <a:pt x="9" y="0"/>
                    <a:pt x="12" y="2"/>
                    <a:pt x="12" y="6"/>
                  </a:cubicBezTo>
                  <a:cubicBezTo>
                    <a:pt x="14" y="15"/>
                    <a:pt x="14" y="24"/>
                    <a:pt x="13" y="33"/>
                  </a:cubicBezTo>
                  <a:cubicBezTo>
                    <a:pt x="13" y="37"/>
                    <a:pt x="10" y="39"/>
                    <a:pt x="7"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09" name="Freeform 702"/>
            <p:cNvSpPr>
              <a:spLocks/>
            </p:cNvSpPr>
            <p:nvPr/>
          </p:nvSpPr>
          <p:spPr bwMode="auto">
            <a:xfrm>
              <a:off x="4333875" y="13236576"/>
              <a:ext cx="90488" cy="125413"/>
            </a:xfrm>
            <a:custGeom>
              <a:avLst/>
              <a:gdLst>
                <a:gd name="T0" fmla="*/ 25 w 31"/>
                <a:gd name="T1" fmla="*/ 43 h 43"/>
                <a:gd name="T2" fmla="*/ 19 w 31"/>
                <a:gd name="T3" fmla="*/ 39 h 43"/>
                <a:gd name="T4" fmla="*/ 2 w 31"/>
                <a:gd name="T5" fmla="*/ 11 h 43"/>
                <a:gd name="T6" fmla="*/ 2 w 31"/>
                <a:gd name="T7" fmla="*/ 2 h 43"/>
                <a:gd name="T8" fmla="*/ 11 w 31"/>
                <a:gd name="T9" fmla="*/ 3 h 43"/>
                <a:gd name="T10" fmla="*/ 30 w 31"/>
                <a:gd name="T11" fmla="*/ 35 h 43"/>
                <a:gd name="T12" fmla="*/ 27 w 31"/>
                <a:gd name="T13" fmla="*/ 42 h 43"/>
                <a:gd name="T14" fmla="*/ 25 w 31"/>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3">
                  <a:moveTo>
                    <a:pt x="25" y="43"/>
                  </a:moveTo>
                  <a:cubicBezTo>
                    <a:pt x="22" y="43"/>
                    <a:pt x="20" y="41"/>
                    <a:pt x="19" y="39"/>
                  </a:cubicBezTo>
                  <a:cubicBezTo>
                    <a:pt x="15" y="29"/>
                    <a:pt x="9" y="19"/>
                    <a:pt x="2" y="11"/>
                  </a:cubicBezTo>
                  <a:cubicBezTo>
                    <a:pt x="0" y="8"/>
                    <a:pt x="0" y="5"/>
                    <a:pt x="2" y="2"/>
                  </a:cubicBezTo>
                  <a:cubicBezTo>
                    <a:pt x="5" y="0"/>
                    <a:pt x="9" y="1"/>
                    <a:pt x="11" y="3"/>
                  </a:cubicBezTo>
                  <a:cubicBezTo>
                    <a:pt x="19" y="13"/>
                    <a:pt x="25" y="23"/>
                    <a:pt x="30" y="35"/>
                  </a:cubicBezTo>
                  <a:cubicBezTo>
                    <a:pt x="31" y="38"/>
                    <a:pt x="30" y="41"/>
                    <a:pt x="27" y="42"/>
                  </a:cubicBezTo>
                  <a:cubicBezTo>
                    <a:pt x="26" y="43"/>
                    <a:pt x="25" y="43"/>
                    <a:pt x="2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0" name="Freeform 703"/>
            <p:cNvSpPr>
              <a:spLocks/>
            </p:cNvSpPr>
            <p:nvPr/>
          </p:nvSpPr>
          <p:spPr bwMode="auto">
            <a:xfrm>
              <a:off x="4149725" y="13128626"/>
              <a:ext cx="122238" cy="63500"/>
            </a:xfrm>
            <a:custGeom>
              <a:avLst/>
              <a:gdLst>
                <a:gd name="T0" fmla="*/ 35 w 42"/>
                <a:gd name="T1" fmla="*/ 22 h 22"/>
                <a:gd name="T2" fmla="*/ 32 w 42"/>
                <a:gd name="T3" fmla="*/ 22 h 22"/>
                <a:gd name="T4" fmla="*/ 6 w 42"/>
                <a:gd name="T5" fmla="*/ 12 h 22"/>
                <a:gd name="T6" fmla="*/ 1 w 42"/>
                <a:gd name="T7" fmla="*/ 5 h 22"/>
                <a:gd name="T8" fmla="*/ 8 w 42"/>
                <a:gd name="T9" fmla="*/ 0 h 22"/>
                <a:gd name="T10" fmla="*/ 38 w 42"/>
                <a:gd name="T11" fmla="*/ 11 h 22"/>
                <a:gd name="T12" fmla="*/ 40 w 42"/>
                <a:gd name="T13" fmla="*/ 19 h 22"/>
                <a:gd name="T14" fmla="*/ 35 w 4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35" y="22"/>
                  </a:moveTo>
                  <a:cubicBezTo>
                    <a:pt x="34" y="22"/>
                    <a:pt x="33" y="22"/>
                    <a:pt x="32" y="22"/>
                  </a:cubicBezTo>
                  <a:cubicBezTo>
                    <a:pt x="23" y="17"/>
                    <a:pt x="16" y="14"/>
                    <a:pt x="6" y="12"/>
                  </a:cubicBezTo>
                  <a:cubicBezTo>
                    <a:pt x="2" y="11"/>
                    <a:pt x="0" y="8"/>
                    <a:pt x="1" y="5"/>
                  </a:cubicBezTo>
                  <a:cubicBezTo>
                    <a:pt x="2" y="2"/>
                    <a:pt x="5" y="0"/>
                    <a:pt x="8" y="0"/>
                  </a:cubicBezTo>
                  <a:cubicBezTo>
                    <a:pt x="19" y="3"/>
                    <a:pt x="27" y="5"/>
                    <a:pt x="38" y="11"/>
                  </a:cubicBezTo>
                  <a:cubicBezTo>
                    <a:pt x="41" y="13"/>
                    <a:pt x="42" y="16"/>
                    <a:pt x="40" y="19"/>
                  </a:cubicBezTo>
                  <a:cubicBezTo>
                    <a:pt x="39" y="21"/>
                    <a:pt x="37" y="22"/>
                    <a:pt x="3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1" name="Freeform 704"/>
            <p:cNvSpPr>
              <a:spLocks/>
            </p:cNvSpPr>
            <p:nvPr/>
          </p:nvSpPr>
          <p:spPr bwMode="auto">
            <a:xfrm>
              <a:off x="4076700" y="13254038"/>
              <a:ext cx="112713" cy="107950"/>
            </a:xfrm>
            <a:custGeom>
              <a:avLst/>
              <a:gdLst>
                <a:gd name="T0" fmla="*/ 32 w 39"/>
                <a:gd name="T1" fmla="*/ 37 h 37"/>
                <a:gd name="T2" fmla="*/ 29 w 39"/>
                <a:gd name="T3" fmla="*/ 36 h 37"/>
                <a:gd name="T4" fmla="*/ 2 w 39"/>
                <a:gd name="T5" fmla="*/ 10 h 37"/>
                <a:gd name="T6" fmla="*/ 4 w 39"/>
                <a:gd name="T7" fmla="*/ 2 h 37"/>
                <a:gd name="T8" fmla="*/ 12 w 39"/>
                <a:gd name="T9" fmla="*/ 3 h 37"/>
                <a:gd name="T10" fmla="*/ 36 w 39"/>
                <a:gd name="T11" fmla="*/ 26 h 37"/>
                <a:gd name="T12" fmla="*/ 37 w 39"/>
                <a:gd name="T13" fmla="*/ 34 h 37"/>
                <a:gd name="T14" fmla="*/ 32 w 39"/>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7">
                  <a:moveTo>
                    <a:pt x="32" y="37"/>
                  </a:moveTo>
                  <a:cubicBezTo>
                    <a:pt x="31" y="37"/>
                    <a:pt x="30" y="37"/>
                    <a:pt x="29" y="36"/>
                  </a:cubicBezTo>
                  <a:cubicBezTo>
                    <a:pt x="19" y="29"/>
                    <a:pt x="10" y="20"/>
                    <a:pt x="2" y="10"/>
                  </a:cubicBezTo>
                  <a:cubicBezTo>
                    <a:pt x="0" y="8"/>
                    <a:pt x="1" y="4"/>
                    <a:pt x="4" y="2"/>
                  </a:cubicBezTo>
                  <a:cubicBezTo>
                    <a:pt x="6" y="0"/>
                    <a:pt x="10" y="0"/>
                    <a:pt x="12" y="3"/>
                  </a:cubicBezTo>
                  <a:cubicBezTo>
                    <a:pt x="18" y="12"/>
                    <a:pt x="26" y="20"/>
                    <a:pt x="36" y="26"/>
                  </a:cubicBezTo>
                  <a:cubicBezTo>
                    <a:pt x="38" y="28"/>
                    <a:pt x="39" y="31"/>
                    <a:pt x="37" y="34"/>
                  </a:cubicBezTo>
                  <a:cubicBezTo>
                    <a:pt x="36" y="36"/>
                    <a:pt x="34" y="37"/>
                    <a:pt x="32"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2" name="Freeform 705"/>
            <p:cNvSpPr>
              <a:spLocks/>
            </p:cNvSpPr>
            <p:nvPr/>
          </p:nvSpPr>
          <p:spPr bwMode="auto">
            <a:xfrm>
              <a:off x="4222750" y="13358813"/>
              <a:ext cx="131763" cy="52388"/>
            </a:xfrm>
            <a:custGeom>
              <a:avLst/>
              <a:gdLst>
                <a:gd name="T0" fmla="*/ 39 w 45"/>
                <a:gd name="T1" fmla="*/ 18 h 18"/>
                <a:gd name="T2" fmla="*/ 4 w 45"/>
                <a:gd name="T3" fmla="*/ 12 h 18"/>
                <a:gd name="T4" fmla="*/ 1 w 45"/>
                <a:gd name="T5" fmla="*/ 5 h 18"/>
                <a:gd name="T6" fmla="*/ 8 w 45"/>
                <a:gd name="T7" fmla="*/ 1 h 18"/>
                <a:gd name="T8" fmla="*/ 39 w 45"/>
                <a:gd name="T9" fmla="*/ 6 h 18"/>
                <a:gd name="T10" fmla="*/ 45 w 45"/>
                <a:gd name="T11" fmla="*/ 12 h 18"/>
                <a:gd name="T12" fmla="*/ 39 w 45"/>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5" h="18">
                  <a:moveTo>
                    <a:pt x="39" y="18"/>
                  </a:moveTo>
                  <a:cubicBezTo>
                    <a:pt x="27" y="18"/>
                    <a:pt x="16" y="16"/>
                    <a:pt x="4" y="12"/>
                  </a:cubicBezTo>
                  <a:cubicBezTo>
                    <a:pt x="1" y="11"/>
                    <a:pt x="0" y="8"/>
                    <a:pt x="1" y="5"/>
                  </a:cubicBezTo>
                  <a:cubicBezTo>
                    <a:pt x="2" y="2"/>
                    <a:pt x="5" y="0"/>
                    <a:pt x="8" y="1"/>
                  </a:cubicBezTo>
                  <a:cubicBezTo>
                    <a:pt x="18" y="5"/>
                    <a:pt x="29" y="6"/>
                    <a:pt x="39" y="6"/>
                  </a:cubicBezTo>
                  <a:cubicBezTo>
                    <a:pt x="42" y="6"/>
                    <a:pt x="45" y="9"/>
                    <a:pt x="45" y="12"/>
                  </a:cubicBezTo>
                  <a:cubicBezTo>
                    <a:pt x="45" y="16"/>
                    <a:pt x="42" y="18"/>
                    <a:pt x="3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3" name="Freeform 706"/>
            <p:cNvSpPr>
              <a:spLocks/>
            </p:cNvSpPr>
            <p:nvPr/>
          </p:nvSpPr>
          <p:spPr bwMode="auto">
            <a:xfrm>
              <a:off x="4441825" y="13309601"/>
              <a:ext cx="101600" cy="76200"/>
            </a:xfrm>
            <a:custGeom>
              <a:avLst/>
              <a:gdLst>
                <a:gd name="T0" fmla="*/ 7 w 35"/>
                <a:gd name="T1" fmla="*/ 26 h 26"/>
                <a:gd name="T2" fmla="*/ 2 w 35"/>
                <a:gd name="T3" fmla="*/ 22 h 26"/>
                <a:gd name="T4" fmla="*/ 5 w 35"/>
                <a:gd name="T5" fmla="*/ 14 h 26"/>
                <a:gd name="T6" fmla="*/ 24 w 35"/>
                <a:gd name="T7" fmla="*/ 2 h 26"/>
                <a:gd name="T8" fmla="*/ 32 w 35"/>
                <a:gd name="T9" fmla="*/ 3 h 26"/>
                <a:gd name="T10" fmla="*/ 32 w 35"/>
                <a:gd name="T11" fmla="*/ 12 h 26"/>
                <a:gd name="T12" fmla="*/ 10 w 35"/>
                <a:gd name="T13" fmla="*/ 25 h 26"/>
                <a:gd name="T14" fmla="*/ 7 w 3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7" y="26"/>
                  </a:moveTo>
                  <a:cubicBezTo>
                    <a:pt x="5" y="26"/>
                    <a:pt x="3" y="24"/>
                    <a:pt x="2" y="22"/>
                  </a:cubicBezTo>
                  <a:cubicBezTo>
                    <a:pt x="0" y="19"/>
                    <a:pt x="2" y="16"/>
                    <a:pt x="5" y="14"/>
                  </a:cubicBezTo>
                  <a:cubicBezTo>
                    <a:pt x="12" y="11"/>
                    <a:pt x="18" y="7"/>
                    <a:pt x="24" y="2"/>
                  </a:cubicBezTo>
                  <a:cubicBezTo>
                    <a:pt x="27" y="0"/>
                    <a:pt x="30" y="1"/>
                    <a:pt x="32" y="3"/>
                  </a:cubicBezTo>
                  <a:cubicBezTo>
                    <a:pt x="35" y="6"/>
                    <a:pt x="34" y="10"/>
                    <a:pt x="32" y="12"/>
                  </a:cubicBezTo>
                  <a:cubicBezTo>
                    <a:pt x="25" y="17"/>
                    <a:pt x="17" y="22"/>
                    <a:pt x="10" y="25"/>
                  </a:cubicBezTo>
                  <a:cubicBezTo>
                    <a:pt x="9" y="26"/>
                    <a:pt x="8" y="26"/>
                    <a:pt x="7"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4" name="Freeform 707"/>
            <p:cNvSpPr>
              <a:spLocks/>
            </p:cNvSpPr>
            <p:nvPr/>
          </p:nvSpPr>
          <p:spPr bwMode="auto">
            <a:xfrm>
              <a:off x="4298950" y="13104813"/>
              <a:ext cx="130175" cy="84138"/>
            </a:xfrm>
            <a:custGeom>
              <a:avLst/>
              <a:gdLst>
                <a:gd name="T0" fmla="*/ 7 w 45"/>
                <a:gd name="T1" fmla="*/ 29 h 29"/>
                <a:gd name="T2" fmla="*/ 2 w 45"/>
                <a:gd name="T3" fmla="*/ 26 h 29"/>
                <a:gd name="T4" fmla="*/ 3 w 45"/>
                <a:gd name="T5" fmla="*/ 18 h 29"/>
                <a:gd name="T6" fmla="*/ 36 w 45"/>
                <a:gd name="T7" fmla="*/ 1 h 29"/>
                <a:gd name="T8" fmla="*/ 44 w 45"/>
                <a:gd name="T9" fmla="*/ 5 h 29"/>
                <a:gd name="T10" fmla="*/ 40 w 45"/>
                <a:gd name="T11" fmla="*/ 12 h 29"/>
                <a:gd name="T12" fmla="*/ 11 w 45"/>
                <a:gd name="T13" fmla="*/ 28 h 29"/>
                <a:gd name="T14" fmla="*/ 7 w 45"/>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29">
                  <a:moveTo>
                    <a:pt x="7" y="29"/>
                  </a:moveTo>
                  <a:cubicBezTo>
                    <a:pt x="5" y="29"/>
                    <a:pt x="3" y="28"/>
                    <a:pt x="2" y="26"/>
                  </a:cubicBezTo>
                  <a:cubicBezTo>
                    <a:pt x="0" y="24"/>
                    <a:pt x="1" y="20"/>
                    <a:pt x="3" y="18"/>
                  </a:cubicBezTo>
                  <a:cubicBezTo>
                    <a:pt x="13" y="10"/>
                    <a:pt x="24" y="5"/>
                    <a:pt x="36" y="1"/>
                  </a:cubicBezTo>
                  <a:cubicBezTo>
                    <a:pt x="40" y="0"/>
                    <a:pt x="43" y="2"/>
                    <a:pt x="44" y="5"/>
                  </a:cubicBezTo>
                  <a:cubicBezTo>
                    <a:pt x="45" y="8"/>
                    <a:pt x="43" y="11"/>
                    <a:pt x="40" y="12"/>
                  </a:cubicBezTo>
                  <a:cubicBezTo>
                    <a:pt x="29" y="16"/>
                    <a:pt x="19" y="21"/>
                    <a:pt x="11" y="28"/>
                  </a:cubicBezTo>
                  <a:cubicBezTo>
                    <a:pt x="9" y="28"/>
                    <a:pt x="8" y="29"/>
                    <a:pt x="7"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5" name="Freeform 708"/>
            <p:cNvSpPr>
              <a:spLocks/>
            </p:cNvSpPr>
            <p:nvPr/>
          </p:nvSpPr>
          <p:spPr bwMode="auto">
            <a:xfrm>
              <a:off x="4206875" y="13206413"/>
              <a:ext cx="76200" cy="100013"/>
            </a:xfrm>
            <a:custGeom>
              <a:avLst/>
              <a:gdLst>
                <a:gd name="T0" fmla="*/ 7 w 26"/>
                <a:gd name="T1" fmla="*/ 34 h 34"/>
                <a:gd name="T2" fmla="*/ 4 w 26"/>
                <a:gd name="T3" fmla="*/ 33 h 34"/>
                <a:gd name="T4" fmla="*/ 1 w 26"/>
                <a:gd name="T5" fmla="*/ 25 h 34"/>
                <a:gd name="T6" fmla="*/ 14 w 26"/>
                <a:gd name="T7" fmla="*/ 3 h 34"/>
                <a:gd name="T8" fmla="*/ 23 w 26"/>
                <a:gd name="T9" fmla="*/ 2 h 34"/>
                <a:gd name="T10" fmla="*/ 24 w 26"/>
                <a:gd name="T11" fmla="*/ 11 h 34"/>
                <a:gd name="T12" fmla="*/ 12 w 26"/>
                <a:gd name="T13" fmla="*/ 30 h 34"/>
                <a:gd name="T14" fmla="*/ 7 w 26"/>
                <a:gd name="T15" fmla="*/ 34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4">
                  <a:moveTo>
                    <a:pt x="7" y="34"/>
                  </a:moveTo>
                  <a:cubicBezTo>
                    <a:pt x="6" y="34"/>
                    <a:pt x="5" y="33"/>
                    <a:pt x="4" y="33"/>
                  </a:cubicBezTo>
                  <a:cubicBezTo>
                    <a:pt x="1" y="32"/>
                    <a:pt x="0" y="28"/>
                    <a:pt x="1" y="25"/>
                  </a:cubicBezTo>
                  <a:cubicBezTo>
                    <a:pt x="5" y="17"/>
                    <a:pt x="8" y="11"/>
                    <a:pt x="14" y="3"/>
                  </a:cubicBezTo>
                  <a:cubicBezTo>
                    <a:pt x="16" y="0"/>
                    <a:pt x="20" y="0"/>
                    <a:pt x="23" y="2"/>
                  </a:cubicBezTo>
                  <a:cubicBezTo>
                    <a:pt x="25" y="4"/>
                    <a:pt x="26" y="8"/>
                    <a:pt x="24" y="11"/>
                  </a:cubicBezTo>
                  <a:cubicBezTo>
                    <a:pt x="18" y="17"/>
                    <a:pt x="15" y="22"/>
                    <a:pt x="12" y="30"/>
                  </a:cubicBezTo>
                  <a:cubicBezTo>
                    <a:pt x="11" y="32"/>
                    <a:pt x="9" y="34"/>
                    <a:pt x="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6" name="Freeform 709"/>
            <p:cNvSpPr>
              <a:spLocks/>
            </p:cNvSpPr>
            <p:nvPr/>
          </p:nvSpPr>
          <p:spPr bwMode="auto">
            <a:xfrm>
              <a:off x="4184650" y="13387388"/>
              <a:ext cx="60325" cy="155575"/>
            </a:xfrm>
            <a:custGeom>
              <a:avLst/>
              <a:gdLst>
                <a:gd name="T0" fmla="*/ 14 w 21"/>
                <a:gd name="T1" fmla="*/ 53 h 53"/>
                <a:gd name="T2" fmla="*/ 9 w 21"/>
                <a:gd name="T3" fmla="*/ 49 h 53"/>
                <a:gd name="T4" fmla="*/ 0 w 21"/>
                <a:gd name="T5" fmla="*/ 6 h 53"/>
                <a:gd name="T6" fmla="*/ 6 w 21"/>
                <a:gd name="T7" fmla="*/ 0 h 53"/>
                <a:gd name="T8" fmla="*/ 12 w 21"/>
                <a:gd name="T9" fmla="*/ 6 h 53"/>
                <a:gd name="T10" fmla="*/ 20 w 21"/>
                <a:gd name="T11" fmla="*/ 44 h 53"/>
                <a:gd name="T12" fmla="*/ 17 w 21"/>
                <a:gd name="T13" fmla="*/ 52 h 53"/>
                <a:gd name="T14" fmla="*/ 14 w 21"/>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53">
                  <a:moveTo>
                    <a:pt x="14" y="53"/>
                  </a:moveTo>
                  <a:cubicBezTo>
                    <a:pt x="12" y="53"/>
                    <a:pt x="10" y="51"/>
                    <a:pt x="9" y="49"/>
                  </a:cubicBezTo>
                  <a:cubicBezTo>
                    <a:pt x="3" y="35"/>
                    <a:pt x="0" y="21"/>
                    <a:pt x="0" y="6"/>
                  </a:cubicBezTo>
                  <a:cubicBezTo>
                    <a:pt x="0" y="3"/>
                    <a:pt x="3" y="0"/>
                    <a:pt x="6" y="0"/>
                  </a:cubicBezTo>
                  <a:cubicBezTo>
                    <a:pt x="9" y="0"/>
                    <a:pt x="12" y="3"/>
                    <a:pt x="12" y="6"/>
                  </a:cubicBezTo>
                  <a:cubicBezTo>
                    <a:pt x="12" y="19"/>
                    <a:pt x="15" y="32"/>
                    <a:pt x="20" y="44"/>
                  </a:cubicBezTo>
                  <a:cubicBezTo>
                    <a:pt x="21" y="47"/>
                    <a:pt x="20" y="51"/>
                    <a:pt x="17" y="52"/>
                  </a:cubicBezTo>
                  <a:cubicBezTo>
                    <a:pt x="16" y="52"/>
                    <a:pt x="15" y="53"/>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7" name="Freeform 710"/>
            <p:cNvSpPr>
              <a:spLocks noEditPoints="1"/>
            </p:cNvSpPr>
            <p:nvPr/>
          </p:nvSpPr>
          <p:spPr bwMode="auto">
            <a:xfrm>
              <a:off x="4368800" y="13327063"/>
              <a:ext cx="104775"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8" name="Freeform 711"/>
            <p:cNvSpPr>
              <a:spLocks noEditPoints="1"/>
            </p:cNvSpPr>
            <p:nvPr/>
          </p:nvSpPr>
          <p:spPr bwMode="auto">
            <a:xfrm>
              <a:off x="4233863" y="13142913"/>
              <a:ext cx="104775"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4" y="12"/>
                    <a:pt x="12" y="15"/>
                    <a:pt x="12" y="18"/>
                  </a:cubicBezTo>
                  <a:cubicBezTo>
                    <a:pt x="12" y="21"/>
                    <a:pt x="14" y="24"/>
                    <a:pt x="18" y="24"/>
                  </a:cubicBezTo>
                  <a:cubicBezTo>
                    <a:pt x="21" y="24"/>
                    <a:pt x="24" y="21"/>
                    <a:pt x="24" y="18"/>
                  </a:cubicBezTo>
                  <a:cubicBezTo>
                    <a:pt x="24" y="15"/>
                    <a:pt x="21"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9" name="Freeform 712"/>
            <p:cNvSpPr>
              <a:spLocks noEditPoints="1"/>
            </p:cNvSpPr>
            <p:nvPr/>
          </p:nvSpPr>
          <p:spPr bwMode="auto">
            <a:xfrm>
              <a:off x="4151313" y="13309601"/>
              <a:ext cx="106363" cy="104775"/>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8"/>
                    <a:pt x="8" y="0"/>
                    <a:pt x="18" y="0"/>
                  </a:cubicBezTo>
                  <a:cubicBezTo>
                    <a:pt x="28" y="0"/>
                    <a:pt x="36" y="8"/>
                    <a:pt x="36" y="18"/>
                  </a:cubicBezTo>
                  <a:cubicBezTo>
                    <a:pt x="36" y="28"/>
                    <a:pt x="28" y="36"/>
                    <a:pt x="18" y="36"/>
                  </a:cubicBezTo>
                  <a:close/>
                  <a:moveTo>
                    <a:pt x="18" y="12"/>
                  </a:moveTo>
                  <a:cubicBezTo>
                    <a:pt x="15" y="12"/>
                    <a:pt x="12" y="15"/>
                    <a:pt x="12" y="18"/>
                  </a:cubicBezTo>
                  <a:cubicBezTo>
                    <a:pt x="12" y="21"/>
                    <a:pt x="15" y="24"/>
                    <a:pt x="18" y="24"/>
                  </a:cubicBezTo>
                  <a:cubicBezTo>
                    <a:pt x="22" y="24"/>
                    <a:pt x="24" y="21"/>
                    <a:pt x="24" y="18"/>
                  </a:cubicBezTo>
                  <a:cubicBezTo>
                    <a:pt x="24" y="15"/>
                    <a:pt x="22" y="12"/>
                    <a:pt x="1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212" name="Freeform 6"/>
          <p:cNvSpPr>
            <a:spLocks noEditPoints="1"/>
          </p:cNvSpPr>
          <p:nvPr/>
        </p:nvSpPr>
        <p:spPr bwMode="auto">
          <a:xfrm>
            <a:off x="11611347" y="1511823"/>
            <a:ext cx="303690" cy="463256"/>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bg1"/>
          </a:solidFill>
          <a:ln>
            <a:noFill/>
          </a:ln>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3" name="Скругленный прямоугольник 2"/>
          <p:cNvSpPr/>
          <p:nvPr/>
        </p:nvSpPr>
        <p:spPr>
          <a:xfrm>
            <a:off x="11479895" y="2018098"/>
            <a:ext cx="571459" cy="226931"/>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smtClean="0">
                <a:latin typeface="Arial Black" panose="020B0A04020102020204" pitchFamily="34" charset="0"/>
              </a:rPr>
              <a:t>РЛК</a:t>
            </a:r>
            <a:endParaRPr lang="ru-RU" sz="1200" dirty="0">
              <a:latin typeface="Arial Black" panose="020B0A04020102020204" pitchFamily="34" charset="0"/>
            </a:endParaRPr>
          </a:p>
        </p:txBody>
      </p:sp>
    </p:spTree>
    <p:extLst>
      <p:ext uri="{BB962C8B-B14F-4D97-AF65-F5344CB8AC3E}">
        <p14:creationId xmlns:p14="http://schemas.microsoft.com/office/powerpoint/2010/main" val="19535390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5</a:t>
            </a:r>
            <a:r>
              <a:rPr lang="ru-RU" dirty="0"/>
              <a:t>.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446191" y="2657202"/>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438529" y="5453745"/>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01817" y="2175050"/>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47173" y="2117185"/>
            <a:ext cx="1622576" cy="329359"/>
          </a:xfrm>
          <a:prstGeom prst="rect">
            <a:avLst/>
          </a:prstGeom>
        </p:spPr>
      </p:pic>
      <p:grpSp>
        <p:nvGrpSpPr>
          <p:cNvPr id="74" name="Группа 73"/>
          <p:cNvGrpSpPr/>
          <p:nvPr/>
        </p:nvGrpSpPr>
        <p:grpSpPr>
          <a:xfrm>
            <a:off x="438529" y="3675765"/>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460045" y="2757755"/>
            <a:ext cx="2430509" cy="600948"/>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2808725"/>
            <a:ext cx="502148" cy="527732"/>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8004" y="1919567"/>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444061" y="1136502"/>
            <a:ext cx="12073488" cy="938719"/>
          </a:xfrm>
          <a:prstGeom prst="rect">
            <a:avLst/>
          </a:prstGeom>
        </p:spPr>
        <p:txBody>
          <a:bodyPr wrap="square">
            <a:spAutoFit/>
          </a:bodyPr>
          <a:lstStyle/>
          <a:p>
            <a:pPr>
              <a:spcBef>
                <a:spcPts val="600"/>
              </a:spcBef>
            </a:pPr>
            <a:r>
              <a:rPr lang="ru-RU" sz="1400" dirty="0" smtClean="0"/>
              <a:t>• </a:t>
            </a:r>
            <a:r>
              <a:rPr lang="ru-RU" sz="1200" b="1" dirty="0" smtClean="0">
                <a:latin typeface="+mn-lt"/>
                <a:cs typeface="+mn-cs"/>
              </a:rPr>
              <a:t>Инвестиционный </a:t>
            </a:r>
            <a:r>
              <a:rPr lang="ru-RU" sz="1200" b="1" dirty="0">
                <a:latin typeface="+mn-lt"/>
                <a:cs typeface="+mn-cs"/>
              </a:rPr>
              <a:t>лифт (ИЛ) – программа, нацеленная на оказание поддержки компаниям и инвестиционным проектам в сфере </a:t>
            </a:r>
            <a:r>
              <a:rPr lang="ru-RU" sz="1200" b="1" dirty="0" err="1">
                <a:latin typeface="+mn-lt"/>
                <a:cs typeface="+mn-cs"/>
              </a:rPr>
              <a:t>несырьевого</a:t>
            </a:r>
            <a:r>
              <a:rPr lang="ru-RU" sz="1200" b="1" dirty="0">
                <a:latin typeface="+mn-lt"/>
                <a:cs typeface="+mn-cs"/>
              </a:rPr>
              <a:t> экспорта </a:t>
            </a:r>
          </a:p>
          <a:p>
            <a:pPr>
              <a:spcBef>
                <a:spcPts val="600"/>
              </a:spcBef>
            </a:pPr>
            <a:r>
              <a:rPr lang="ru-RU" sz="1200" b="1" dirty="0" smtClean="0">
                <a:latin typeface="+mn-lt"/>
                <a:cs typeface="+mn-cs"/>
              </a:rPr>
              <a:t>• В </a:t>
            </a:r>
            <a:r>
              <a:rPr lang="ru-RU" sz="12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200" b="1" dirty="0" smtClean="0">
                <a:latin typeface="+mn-lt"/>
                <a:cs typeface="+mn-cs"/>
              </a:rPr>
              <a:t>оказания </a:t>
            </a:r>
            <a:r>
              <a:rPr lang="ru-RU" sz="1200" b="1" dirty="0">
                <a:latin typeface="+mn-lt"/>
                <a:cs typeface="+mn-cs"/>
              </a:rPr>
              <a:t>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745780" y="1812688"/>
            <a:ext cx="1771769" cy="783566"/>
          </a:xfrm>
          <a:prstGeom prst="rect">
            <a:avLst/>
          </a:prstGeom>
        </p:spPr>
      </p:pic>
      <p:sp>
        <p:nvSpPr>
          <p:cNvPr id="29" name="TextBox 28"/>
          <p:cNvSpPr txBox="1"/>
          <p:nvPr/>
        </p:nvSpPr>
        <p:spPr>
          <a:xfrm>
            <a:off x="444061" y="8115571"/>
            <a:ext cx="11773581" cy="492443"/>
          </a:xfrm>
          <a:prstGeom prst="rect">
            <a:avLst/>
          </a:prstGeom>
          <a:noFill/>
        </p:spPr>
        <p:txBody>
          <a:bodyPr wrap="square" rtlCol="0">
            <a:spAutoFit/>
          </a:bodyPr>
          <a:lstStyle/>
          <a:p>
            <a:pPr lvl="0" defTabSz="1152144" fontAlgn="ctr">
              <a:spcBef>
                <a:spcPts val="0"/>
              </a:spcBef>
              <a:spcAft>
                <a:spcPts val="0"/>
              </a:spcAft>
              <a:defRPr/>
            </a:pPr>
            <a:r>
              <a:rPr lang="ru-RU" sz="1300" b="1" dirty="0">
                <a:ln cmpd="dbl">
                  <a:noFill/>
                </a:ln>
                <a:solidFill>
                  <a:prstClr val="black"/>
                </a:solidFill>
                <a:latin typeface="Arial Narrow" panose="020B0606020202030204" pitchFamily="34" charset="0"/>
              </a:rPr>
              <a:t>На рассмотрении в рамках механизма Инвестиционный лифт находятся </a:t>
            </a:r>
            <a:r>
              <a:rPr lang="ru-RU" sz="1300" b="1" dirty="0" smtClean="0">
                <a:ln cmpd="dbl">
                  <a:noFill/>
                </a:ln>
                <a:solidFill>
                  <a:prstClr val="black"/>
                </a:solidFill>
                <a:latin typeface="Arial Narrow" panose="020B0606020202030204" pitchFamily="34" charset="0"/>
              </a:rPr>
              <a:t>10 </a:t>
            </a:r>
            <a:r>
              <a:rPr lang="ru-RU" sz="1300" b="1" dirty="0">
                <a:ln cmpd="dbl">
                  <a:noFill/>
                </a:ln>
                <a:solidFill>
                  <a:prstClr val="black"/>
                </a:solidFill>
                <a:latin typeface="Arial Narrow" panose="020B0606020202030204" pitchFamily="34" charset="0"/>
              </a:rPr>
              <a:t>проектов пищевой, лесной промышленности, машиностроения, </a:t>
            </a:r>
            <a:r>
              <a:rPr lang="ru-RU" sz="1300" b="1" dirty="0" smtClean="0">
                <a:ln cmpd="dbl">
                  <a:noFill/>
                </a:ln>
                <a:solidFill>
                  <a:prstClr val="black"/>
                </a:solidFill>
                <a:latin typeface="Arial Narrow" panose="020B0606020202030204" pitchFamily="34" charset="0"/>
              </a:rPr>
              <a:t>производства сборных строительных конструкций из бетона. </a:t>
            </a:r>
            <a:r>
              <a:rPr lang="ru-RU" sz="1300" b="1" dirty="0">
                <a:ln cmpd="dbl">
                  <a:noFill/>
                </a:ln>
                <a:solidFill>
                  <a:prstClr val="black"/>
                </a:solidFill>
                <a:latin typeface="Arial Narrow" panose="020B0606020202030204" pitchFamily="34" charset="0"/>
              </a:rPr>
              <a:t>Общий бюджет рассматриваемых проектов составляет </a:t>
            </a:r>
            <a:r>
              <a:rPr lang="ru-RU" sz="1300" b="1" dirty="0" smtClean="0">
                <a:ln cmpd="dbl">
                  <a:noFill/>
                </a:ln>
                <a:solidFill>
                  <a:prstClr val="black"/>
                </a:solidFill>
                <a:latin typeface="Arial Narrow" panose="020B0606020202030204" pitchFamily="34" charset="0"/>
              </a:rPr>
              <a:t>9 320 млн </a:t>
            </a:r>
            <a:r>
              <a:rPr lang="ru-RU" sz="1300" b="1" dirty="0">
                <a:ln cmpd="dbl">
                  <a:noFill/>
                </a:ln>
                <a:solidFill>
                  <a:prstClr val="black"/>
                </a:solidFill>
                <a:latin typeface="Arial Narrow" panose="020B0606020202030204" pitchFamily="34" charset="0"/>
              </a:rPr>
              <a:t>руб.  </a:t>
            </a:r>
          </a:p>
        </p:txBody>
      </p:sp>
      <p:graphicFrame>
        <p:nvGraphicFramePr>
          <p:cNvPr id="32" name="Таблица 31"/>
          <p:cNvGraphicFramePr>
            <a:graphicFrameLocks noGrp="1"/>
          </p:cNvGraphicFramePr>
          <p:nvPr>
            <p:extLst>
              <p:ext uri="{D42A27DB-BD31-4B8C-83A1-F6EECF244321}">
                <p14:modId xmlns:p14="http://schemas.microsoft.com/office/powerpoint/2010/main" val="1786715042"/>
              </p:ext>
            </p:extLst>
          </p:nvPr>
        </p:nvGraphicFramePr>
        <p:xfrm>
          <a:off x="2917861" y="2686566"/>
          <a:ext cx="9442096" cy="4763730"/>
        </p:xfrm>
        <a:graphic>
          <a:graphicData uri="http://schemas.openxmlformats.org/drawingml/2006/table">
            <a:tbl>
              <a:tblPr firstRow="1" bandRow="1">
                <a:tableStyleId>{5C22544A-7EE6-4342-B048-85BDC9FD1C3A}</a:tableStyleId>
              </a:tblPr>
              <a:tblGrid>
                <a:gridCol w="2236056">
                  <a:extLst>
                    <a:ext uri="{9D8B030D-6E8A-4147-A177-3AD203B41FA5}">
                      <a16:colId xmlns:a16="http://schemas.microsoft.com/office/drawing/2014/main" xmlns="" val="20000"/>
                    </a:ext>
                  </a:extLst>
                </a:gridCol>
                <a:gridCol w="3513920">
                  <a:extLst>
                    <a:ext uri="{9D8B030D-6E8A-4147-A177-3AD203B41FA5}">
                      <a16:colId xmlns:a16="http://schemas.microsoft.com/office/drawing/2014/main" xmlns="" val="20001"/>
                    </a:ext>
                  </a:extLst>
                </a:gridCol>
                <a:gridCol w="2031167">
                  <a:extLst>
                    <a:ext uri="{9D8B030D-6E8A-4147-A177-3AD203B41FA5}">
                      <a16:colId xmlns:a16="http://schemas.microsoft.com/office/drawing/2014/main" xmlns="" val="20002"/>
                    </a:ext>
                  </a:extLst>
                </a:gridCol>
                <a:gridCol w="1660953">
                  <a:extLst>
                    <a:ext uri="{9D8B030D-6E8A-4147-A177-3AD203B41FA5}">
                      <a16:colId xmlns:a16="http://schemas.microsoft.com/office/drawing/2014/main" xmlns="" val="20003"/>
                    </a:ext>
                  </a:extLst>
                </a:gridCol>
              </a:tblGrid>
              <a:tr h="655101">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10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ное </a:t>
                      </a: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 </a:t>
                      </a:r>
                      <a:r>
                        <a:rPr lang="ru-RU" sz="10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a:t>
                      </a: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МСП</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10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Осуществление кредитно-гарантийной поддержки </a:t>
                      </a: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МСП</a:t>
                      </a:r>
                    </a:p>
                    <a:p>
                      <a:pPr marL="0" indent="0" algn="ctr" defTabSz="914400" rtl="0" eaLnBrk="1" fontAlgn="b" latinLnBrk="0" hangingPunct="1">
                        <a:buClr>
                          <a:srgbClr val="20B2AA"/>
                        </a:buClr>
                        <a:buSzPts val="1100"/>
                        <a:buFont typeface="Arial" panose="020B0604020202020204" pitchFamily="34" charset="0"/>
                        <a:buNone/>
                      </a:pPr>
                      <a:endPar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хождение в капитал </a:t>
                      </a:r>
                    </a:p>
                    <a:p>
                      <a:pPr marL="0" indent="0" algn="ctr" defTabSz="914400" rtl="0" eaLnBrk="1" fontAlgn="b" latinLnBrk="0" hangingPunct="1">
                        <a:buClr>
                          <a:srgbClr val="20B2AA"/>
                        </a:buClr>
                        <a:buSzPts val="1100"/>
                        <a:buFont typeface="Arial" panose="020B0604020202020204" pitchFamily="34" charset="0"/>
                        <a:buNone/>
                      </a:pP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бъектов МСП / </a:t>
                      </a:r>
                      <a:r>
                        <a:rPr lang="ru-RU" sz="10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мезонинное </a:t>
                      </a: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a:t>
                      </a:r>
                    </a:p>
                  </a:txBody>
                  <a:tcPr marL="57145" marR="57145" marT="28572" marB="28572" anchor="ctr">
                    <a:noFill/>
                  </a:tcPr>
                </a:tc>
                <a:tc>
                  <a:txBody>
                    <a:bodyPr/>
                    <a:lstStyle/>
                    <a:p>
                      <a:pPr marL="0" indent="0" algn="ctr" defTabSz="914400" rtl="0" eaLnBrk="1" fontAlgn="b" latinLnBrk="0" hangingPunct="1">
                        <a:buClr>
                          <a:srgbClr val="20B2AA"/>
                        </a:buClr>
                        <a:buSzPts val="1100"/>
                        <a:buFont typeface="Arial" panose="020B0604020202020204" pitchFamily="34" charset="0"/>
                        <a:buNone/>
                      </a:pPr>
                      <a:r>
                        <a:rPr lang="ru-RU" sz="1000" b="1"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опровождение и поддержка субъектов МСП с экспортным </a:t>
                      </a:r>
                      <a:r>
                        <a:rPr lang="ru-RU" sz="1000" b="1"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отенциалом</a:t>
                      </a:r>
                    </a:p>
                  </a:txBody>
                  <a:tcPr marL="57145" marR="57145" marT="28572" marB="28572" anchor="ctr">
                    <a:noFill/>
                  </a:tcPr>
                </a:tc>
                <a:extLst>
                  <a:ext uri="{0D108BD9-81ED-4DB2-BD59-A6C34878D82A}">
                    <a16:rowId xmlns:a16="http://schemas.microsoft.com/office/drawing/2014/main" xmlns="" val="10000"/>
                  </a:ext>
                </a:extLst>
              </a:tr>
              <a:tr h="1703271">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сновной фокус - </a:t>
                      </a:r>
                      <a:r>
                        <a:rPr lang="ru-RU" sz="10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импортозамещение</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высокотехнологичные компании. </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50% - </a:t>
                      </a:r>
                      <a:r>
                        <a:rPr lang="ru-RU" sz="10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офинансирование</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от заемщика (включая банковские кредиты).</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 менее 15% средств предоставляет акционер.</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еспечение: гарантия, залог, поручительство.</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оответствие требованиям ст.4 Федерального закона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209-ФЗ.</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егистрация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бизнеса на территории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Ф.</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сутствие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отрицательной кредитной истории и отсутствие просроченной задолженности</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сырьевой</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ектор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экономики.</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аличие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экспортной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ручки.</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ручка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омпании от 0,5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5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млрд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руб.</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Бюджет проекта от 500 млн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20 млрд руб.</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онечные бенефициары – резиденты РФ.</a:t>
                      </a:r>
                      <a:endPar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Ведение экспортной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еятельности.</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оддержка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только </a:t>
                      </a:r>
                      <a:r>
                        <a:rPr lang="ru-RU" sz="10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сырьевого</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сектора.</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ля российской составляющей в экспортном контракте – не менее 30%.</a:t>
                      </a:r>
                    </a:p>
                  </a:txBody>
                  <a:tcPr marL="57145" marR="57145" marT="28572" marB="28572" anchor="ctr">
                    <a:noFill/>
                  </a:tcPr>
                </a:tc>
                <a:extLst>
                  <a:ext uri="{0D108BD9-81ED-4DB2-BD59-A6C34878D82A}">
                    <a16:rowId xmlns:a16="http://schemas.microsoft.com/office/drawing/2014/main" xmlns="" val="10001"/>
                  </a:ext>
                </a:extLst>
              </a:tr>
              <a:tr h="2363442">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е на проектной основе. </a:t>
                      </a: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тоимость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финансирования: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 1% до 5% годовых (в зависимости от Программы финансирования) </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рок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а: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5-7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лет. </a:t>
                      </a: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ъем финансирования: до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750 млн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руб. на одну сделку</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tabLst/>
                      </a:pP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рок гарантии: до 15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лет.</a:t>
                      </a:r>
                    </a:p>
                    <a:p>
                      <a:pPr marL="171450" indent="-171450" algn="l" defTabSz="914400" rtl="0" eaLnBrk="1" fontAlgn="b" latinLnBrk="0" hangingPunct="1">
                        <a:buClr>
                          <a:srgbClr val="20B2AA"/>
                        </a:buClr>
                        <a:buSzPts val="1100"/>
                        <a:buFont typeface="Arial" panose="020B0604020202020204" pitchFamily="34" charset="0"/>
                        <a:buChar char="•"/>
                        <a:tabLst/>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ознаграждение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за гарантию: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0,75</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 годовых от суммы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гарантии.</a:t>
                      </a:r>
                    </a:p>
                    <a:p>
                      <a:pPr marL="171450" indent="-171450" algn="l" defTabSz="914400" rtl="0" eaLnBrk="1" fontAlgn="b" latinLnBrk="0" hangingPunct="1">
                        <a:buClr>
                          <a:srgbClr val="20B2AA"/>
                        </a:buClr>
                        <a:buSzPts val="1100"/>
                        <a:buFont typeface="Arial" panose="020B0604020202020204" pitchFamily="34" charset="0"/>
                        <a:buChar char="•"/>
                        <a:tabLst/>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умма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гарантии: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т 50</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до 100% от </a:t>
                      </a:r>
                      <a:r>
                        <a:rPr lang="ru-RU" sz="1000" b="0" kern="1200" dirty="0">
                          <a:solidFill>
                            <a:srgbClr val="30454F"/>
                          </a:solidFill>
                          <a:latin typeface="Tahoma" panose="020B0604030504040204" pitchFamily="34" charset="0"/>
                          <a:ea typeface="Calibri" panose="020F0502020204030204" pitchFamily="34" charset="0"/>
                          <a:cs typeface="Times New Roman" panose="02020603050405020304" pitchFamily="18" charset="0"/>
                        </a:rPr>
                        <a:t>суммы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а в соответствии с каталогом гарантийных продуктов, в том числе гарантии для «</a:t>
                      </a:r>
                      <a:r>
                        <a:rPr lang="ru-RU" sz="1000" b="0" kern="1200" dirty="0" err="1"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стартапов</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и «быстрорастущих» инновационных, высокотехнологичных субъектов МСП («газелей»)</a:t>
                      </a:r>
                    </a:p>
                    <a:p>
                      <a:pPr marL="171450" indent="-171450" algn="l" defTabSz="914400" rtl="0" eaLnBrk="1" fontAlgn="b" latinLnBrk="0" hangingPunct="1">
                        <a:buClr>
                          <a:srgbClr val="20B2AA"/>
                        </a:buClr>
                        <a:buSzPts val="1100"/>
                        <a:buFont typeface="Arial" panose="020B0604020202020204" pitchFamily="34" charset="0"/>
                        <a:buChar char="•"/>
                        <a:tabLst/>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рограмма стимулирования кредитования</a:t>
                      </a:r>
                      <a:r>
                        <a:rPr lang="en-US"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 </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МСП (не более 9,6%</a:t>
                      </a:r>
                      <a:r>
                        <a:rPr lang="en-US"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10,6% для приоритетных </a:t>
                      </a:r>
                      <a:r>
                        <a:rPr lang="en-US"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a:t>
                      </a: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неприоритетных отраслей).</a:t>
                      </a:r>
                    </a:p>
                    <a:p>
                      <a:pPr marL="171450" marR="0" lvl="0" indent="-171450" algn="l" defTabSz="914400" rtl="0" eaLnBrk="1" fontAlgn="b" latinLnBrk="0" hangingPunct="1">
                        <a:lnSpc>
                          <a:spcPct val="100000"/>
                        </a:lnSpc>
                        <a:spcBef>
                          <a:spcPts val="0"/>
                        </a:spcBef>
                        <a:spcAft>
                          <a:spcPts val="0"/>
                        </a:spcAft>
                        <a:buClr>
                          <a:srgbClr val="20B2AA"/>
                        </a:buClr>
                        <a:buSzPts val="1100"/>
                        <a:buFont typeface="Arial" panose="020B0604020202020204" pitchFamily="34" charset="0"/>
                        <a:buChar char="•"/>
                        <a:tabLst/>
                        <a:defRP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Программа субсидирования 1764 (ключевая ставка + 2 %, но не более 8,5 % с 2019 г.)</a:t>
                      </a: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Участие в акционерном капитале до 50%.</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Объем инвестирования: до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1 млрд руб. в один проект.</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нутренняя норма доходности превышает 13,5% в рублях.</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ыход РФПИ из инвестиции через </a:t>
                      </a:r>
                      <a:b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b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5-7 лет.</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tc>
                  <a:txBody>
                    <a:bodyPr/>
                    <a:lstStyle/>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9 страховых продуктов ЭКСАР.</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Кредитование: Размер кредита – до 100% от суммы экспортного контракта.</a:t>
                      </a:r>
                    </a:p>
                    <a:p>
                      <a:pPr marL="171450" indent="-171450" algn="l" defTabSz="914400" rtl="0" eaLnBrk="1" fontAlgn="b" latinLnBrk="0" hangingPunct="1">
                        <a:buClr>
                          <a:srgbClr val="20B2AA"/>
                        </a:buClr>
                        <a:buSzPts val="1100"/>
                        <a:buFont typeface="Arial" panose="020B0604020202020204" pitchFamily="34" charset="0"/>
                        <a:buChar char="•"/>
                      </a:pPr>
                      <a:r>
                        <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rPr>
                        <a:t>Валюта кредита – российский рубль или валюта экспортного контракта.</a:t>
                      </a: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171450" indent="-171450" algn="l" defTabSz="914400" rtl="0" eaLnBrk="1" fontAlgn="b" latinLnBrk="0" hangingPunct="1">
                        <a:buClr>
                          <a:srgbClr val="20B2AA"/>
                        </a:buClr>
                        <a:buSzPts val="1100"/>
                        <a:buFont typeface="Arial" panose="020B0604020202020204" pitchFamily="34" charset="0"/>
                        <a:buChar char="•"/>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p>
                      <a:pPr marL="0" indent="0" algn="l" defTabSz="914400" rtl="0" eaLnBrk="1" fontAlgn="b" latinLnBrk="0" hangingPunct="1">
                        <a:buClr>
                          <a:srgbClr val="20B2AA"/>
                        </a:buClr>
                        <a:buSzPts val="1100"/>
                        <a:buFont typeface="Arial" panose="020B0604020202020204" pitchFamily="34" charset="0"/>
                        <a:buNone/>
                      </a:pPr>
                      <a:endParaRPr lang="ru-RU" sz="1000" b="0" kern="1200" dirty="0" smtClean="0">
                        <a:solidFill>
                          <a:srgbClr val="30454F"/>
                        </a:solidFill>
                        <a:latin typeface="Tahoma" panose="020B0604030504040204" pitchFamily="34" charset="0"/>
                        <a:ea typeface="Calibri" panose="020F0502020204030204" pitchFamily="34" charset="0"/>
                        <a:cs typeface="Times New Roman" panose="02020603050405020304" pitchFamily="18" charset="0"/>
                      </a:endParaRPr>
                    </a:p>
                  </a:txBody>
                  <a:tcPr marL="57145" marR="57145" marT="28572" marB="28572" anchor="ctr">
                    <a:noFill/>
                  </a:tcPr>
                </a:tc>
                <a:extLst>
                  <a:ext uri="{0D108BD9-81ED-4DB2-BD59-A6C34878D82A}">
                    <a16:rowId xmlns:a16="http://schemas.microsoft.com/office/drawing/2014/main" xmlns="" val="10002"/>
                  </a:ext>
                </a:extLst>
              </a:tr>
            </a:tbl>
          </a:graphicData>
        </a:graphic>
      </p:graphicFrame>
      <p:sp>
        <p:nvSpPr>
          <p:cNvPr id="28" name="Прямоугольник 27"/>
          <p:cNvSpPr/>
          <p:nvPr/>
        </p:nvSpPr>
        <p:spPr>
          <a:xfrm>
            <a:off x="242759" y="7376863"/>
            <a:ext cx="12010491" cy="707886"/>
          </a:xfrm>
          <a:prstGeom prst="rect">
            <a:avLst/>
          </a:prstGeom>
          <a:solidFill>
            <a:schemeClr val="accent1">
              <a:lumMod val="50000"/>
            </a:schemeClr>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a:ln cmpd="dbl">
                  <a:noFill/>
                </a:ln>
                <a:solidFill>
                  <a:srgbClr val="ED7D31"/>
                </a:solidFill>
                <a:effectLst/>
                <a:uLnTx/>
                <a:uFillTx/>
                <a:latin typeface="Arial Narrow" panose="020B0606020202030204" pitchFamily="34" charset="0"/>
                <a:ea typeface="+mn-ea"/>
                <a:cs typeface="+mn-cs"/>
              </a:rPr>
              <a:t>В рамках </a:t>
            </a:r>
            <a:r>
              <a:rPr kumimoji="0" lang="ru-RU" sz="2000" b="1" i="0" u="none" strike="noStrike" kern="1200" cap="none" spc="0" normalizeH="0" baseline="0" noProof="0" dirty="0" smtClean="0">
                <a:ln cmpd="dbl">
                  <a:noFill/>
                </a:ln>
                <a:solidFill>
                  <a:srgbClr val="ED7D31"/>
                </a:solidFill>
                <a:effectLst/>
                <a:uLnTx/>
                <a:uFillTx/>
                <a:latin typeface="Arial Narrow" panose="020B0606020202030204" pitchFamily="34" charset="0"/>
                <a:ea typeface="+mn-ea"/>
                <a:cs typeface="+mn-cs"/>
              </a:rPr>
              <a:t>Порядка </a:t>
            </a:r>
            <a:r>
              <a:rPr kumimoji="0" lang="ru-RU" sz="2000" b="1" i="0" u="none" strike="noStrike" kern="1200" cap="none" spc="0" normalizeH="0" baseline="0" noProof="0" dirty="0">
                <a:ln cmpd="dbl">
                  <a:noFill/>
                </a:ln>
                <a:solidFill>
                  <a:srgbClr val="ED7D31"/>
                </a:solidFill>
                <a:effectLst/>
                <a:uLnTx/>
                <a:uFillTx/>
                <a:latin typeface="Arial Narrow" panose="020B0606020202030204" pitchFamily="34" charset="0"/>
                <a:ea typeface="+mn-ea"/>
                <a:cs typeface="+mn-cs"/>
              </a:rPr>
              <a:t>взаимодействия </a:t>
            </a:r>
            <a:r>
              <a:rPr kumimoji="0" lang="ru-RU" sz="2000" b="1" i="0" u="none" strike="noStrike" kern="1200" cap="none" spc="0" normalizeH="0" baseline="0" noProof="0" dirty="0" smtClean="0">
                <a:ln cmpd="dbl">
                  <a:noFill/>
                </a:ln>
                <a:solidFill>
                  <a:srgbClr val="ED7D31"/>
                </a:solidFill>
                <a:effectLst/>
                <a:uLnTx/>
                <a:uFillTx/>
                <a:latin typeface="Arial Narrow" panose="020B0606020202030204" pitchFamily="34" charset="0"/>
                <a:ea typeface="+mn-ea"/>
                <a:cs typeface="+mn-cs"/>
              </a:rPr>
              <a:t>институтов развития </a:t>
            </a:r>
            <a:r>
              <a:rPr kumimoji="0" lang="ru-RU" sz="2000" b="1" i="0" u="none" strike="noStrike" kern="1200" cap="none" spc="0" normalizeH="0" baseline="0" noProof="0" dirty="0">
                <a:ln cmpd="dbl">
                  <a:noFill/>
                </a:ln>
                <a:solidFill>
                  <a:srgbClr val="ED7D31"/>
                </a:solidFill>
                <a:effectLst/>
                <a:uLnTx/>
                <a:uFillTx/>
                <a:latin typeface="Arial Narrow" panose="020B0606020202030204" pitchFamily="34" charset="0"/>
                <a:ea typeface="+mn-ea"/>
                <a:cs typeface="+mn-cs"/>
              </a:rPr>
              <a:t>в </a:t>
            </a:r>
            <a:r>
              <a:rPr kumimoji="0" lang="ru-RU" sz="2000" b="1" i="0" u="none" strike="noStrike" kern="1200" cap="none" spc="0" normalizeH="0" baseline="0" noProof="0" dirty="0" smtClean="0">
                <a:ln cmpd="dbl">
                  <a:noFill/>
                </a:ln>
                <a:solidFill>
                  <a:srgbClr val="ED7D31"/>
                </a:solidFill>
                <a:effectLst/>
                <a:uLnTx/>
                <a:uFillTx/>
                <a:latin typeface="Arial Narrow" panose="020B0606020202030204" pitchFamily="34" charset="0"/>
                <a:ea typeface="+mn-ea"/>
                <a:cs typeface="+mn-cs"/>
              </a:rPr>
              <a:t>2016-2019 </a:t>
            </a:r>
            <a:r>
              <a:rPr kumimoji="0" lang="ru-RU" sz="2000" b="1" i="0" u="none" strike="noStrike" kern="1200" cap="none" spc="0" normalizeH="0" baseline="0" noProof="0" dirty="0">
                <a:ln cmpd="dbl">
                  <a:noFill/>
                </a:ln>
                <a:solidFill>
                  <a:srgbClr val="ED7D31"/>
                </a:solidFill>
                <a:effectLst/>
                <a:uLnTx/>
                <a:uFillTx/>
                <a:latin typeface="Arial Narrow" panose="020B0606020202030204" pitchFamily="34" charset="0"/>
                <a:ea typeface="+mn-ea"/>
                <a:cs typeface="+mn-cs"/>
              </a:rPr>
              <a:t>гг. </a:t>
            </a:r>
            <a:endParaRPr kumimoji="0" lang="ru-RU" sz="2000" b="1" i="0" u="none" strike="noStrike" kern="1200" cap="none" spc="0" normalizeH="0" baseline="0" noProof="0" dirty="0" smtClean="0">
              <a:ln cmpd="dbl">
                <a:noFill/>
              </a:ln>
              <a:solidFill>
                <a:srgbClr val="ED7D31"/>
              </a:solidFill>
              <a:effectLst/>
              <a:uLnTx/>
              <a:uFillTx/>
              <a:latin typeface="Arial Narrow" panose="020B0606020202030204" pitchFamily="34" charset="0"/>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RU" sz="2000" b="1" i="0" u="none" strike="noStrike" kern="1200" cap="none" spc="0" normalizeH="0" baseline="0" noProof="0" dirty="0" smtClean="0">
                <a:ln cmpd="dbl">
                  <a:noFill/>
                </a:ln>
                <a:solidFill>
                  <a:srgbClr val="ED7D31"/>
                </a:solidFill>
                <a:effectLst/>
                <a:uLnTx/>
                <a:uFillTx/>
                <a:latin typeface="Arial Narrow" panose="020B0606020202030204" pitchFamily="34" charset="0"/>
                <a:ea typeface="+mn-ea"/>
                <a:cs typeface="+mn-cs"/>
              </a:rPr>
              <a:t>одобрено финансирование 27 проектов общим бюджетом 27 305 млн рублей</a:t>
            </a:r>
            <a:endParaRPr kumimoji="0" lang="ru-RU" sz="2000" b="1" i="0" u="none" strike="noStrike" kern="1200" cap="none" spc="0" normalizeH="0" baseline="0" noProof="0" dirty="0">
              <a:ln>
                <a:noFill/>
              </a:ln>
              <a:solidFill>
                <a:srgbClr val="ED7D31"/>
              </a:solidFill>
              <a:effectLst/>
              <a:uLnTx/>
              <a:uFillTx/>
              <a:latin typeface="Calibri"/>
              <a:ea typeface="+mn-ea"/>
              <a:cs typeface="+mn-cs"/>
            </a:endParaRPr>
          </a:p>
        </p:txBody>
      </p:sp>
    </p:spTree>
    <p:extLst>
      <p:ext uri="{BB962C8B-B14F-4D97-AF65-F5344CB8AC3E}">
        <p14:creationId xmlns:p14="http://schemas.microsoft.com/office/powerpoint/2010/main" val="3963721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smtClean="0"/>
              <a:t>6. </a:t>
            </a:r>
            <a:r>
              <a:rPr lang="ru-RU" dirty="0"/>
              <a:t>Поддержка субъектов МСП через Фонд «МИР»</a:t>
            </a:r>
            <a:endParaRPr lang="ru-RU" b="0" dirty="0"/>
          </a:p>
        </p:txBody>
      </p:sp>
    </p:spTree>
    <p:extLst>
      <p:ext uri="{BB962C8B-B14F-4D97-AF65-F5344CB8AC3E}">
        <p14:creationId xmlns:p14="http://schemas.microsoft.com/office/powerpoint/2010/main" val="208645651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Оказание поддержки </a:t>
            </a:r>
            <a:r>
              <a:rPr lang="ru-RU" dirty="0" smtClean="0"/>
              <a:t>проектам субъектов МСП через Фонд «МИР»</a:t>
            </a:r>
            <a:endParaRPr lang="ru-RU" dirty="0"/>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dirty="0"/>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58" name="Прямоугольник 157"/>
          <p:cNvSpPr/>
          <p:nvPr/>
        </p:nvSpPr>
        <p:spPr>
          <a:xfrm>
            <a:off x="282574" y="1407897"/>
            <a:ext cx="12036425" cy="1600438"/>
          </a:xfrm>
          <a:prstGeom prst="rect">
            <a:avLst/>
          </a:prstGeom>
        </p:spPr>
        <p:txBody>
          <a:bodyPr wrap="square">
            <a:spAutoFit/>
          </a:bodyPr>
          <a:lstStyle/>
          <a:p>
            <a:pPr algn="just"/>
            <a:r>
              <a:rPr lang="ru-RU" sz="1600" b="1" dirty="0" smtClean="0">
                <a:solidFill>
                  <a:srgbClr val="1F4E79"/>
                </a:solidFill>
              </a:rPr>
              <a:t>ЗПИФ долгосрочных прямых инвестиций «МИР» (Фонд «МИР») – фонд </a:t>
            </a:r>
            <a:r>
              <a:rPr lang="ru-RU" sz="1600" b="1" dirty="0">
                <a:solidFill>
                  <a:srgbClr val="1F4E79"/>
                </a:solidFill>
              </a:rPr>
              <a:t>широкого профиля, осуществляющий поддержку субъектов МСП путём предоставления прямых инвестиций и/или путём выдачи инвестиционных займов (мезонин</a:t>
            </a:r>
            <a:r>
              <a:rPr lang="ru-RU" sz="1600" b="1" dirty="0" smtClean="0">
                <a:solidFill>
                  <a:srgbClr val="1F4E79"/>
                </a:solidFill>
              </a:rPr>
              <a:t>).</a:t>
            </a:r>
            <a:r>
              <a:rPr lang="en-US" sz="1600" b="1" dirty="0" smtClean="0">
                <a:solidFill>
                  <a:srgbClr val="1F4E79"/>
                </a:solidFill>
              </a:rPr>
              <a:t> </a:t>
            </a:r>
            <a:r>
              <a:rPr lang="ru-RU" sz="1600" b="1" dirty="0" smtClean="0">
                <a:solidFill>
                  <a:srgbClr val="1F4E79"/>
                </a:solidFill>
              </a:rPr>
              <a:t>Пайщик Фонда «МИР» - АО «МСП Банк».</a:t>
            </a:r>
          </a:p>
          <a:p>
            <a:pPr algn="just"/>
            <a:endParaRPr lang="ru-RU" sz="1600" b="1" dirty="0" smtClean="0">
              <a:solidFill>
                <a:srgbClr val="1F4E79"/>
              </a:solidFill>
            </a:endParaRPr>
          </a:p>
          <a:p>
            <a:pPr algn="just"/>
            <a:r>
              <a:rPr lang="ru-RU" sz="1600" b="1" dirty="0" smtClean="0">
                <a:solidFill>
                  <a:srgbClr val="1F4E79"/>
                </a:solidFill>
              </a:rPr>
              <a:t>Управляющая </a:t>
            </a:r>
            <a:r>
              <a:rPr lang="ru-RU" sz="1600" b="1" dirty="0">
                <a:solidFill>
                  <a:srgbClr val="1F4E79"/>
                </a:solidFill>
              </a:rPr>
              <a:t>компания АО «МИР» (УК «МИР») – акционерное общество, осуществляющее управление имуществом Фонда «МИР», 100% акций УК «МИР» принадлежит АО «Корпорация «МСП</a:t>
            </a:r>
            <a:r>
              <a:rPr lang="ru-RU" sz="1600" b="1" dirty="0" smtClean="0">
                <a:solidFill>
                  <a:srgbClr val="1F4E79"/>
                </a:solidFill>
              </a:rPr>
              <a:t>». </a:t>
            </a:r>
            <a:endParaRPr lang="ru-RU" sz="1600" b="1" dirty="0">
              <a:solidFill>
                <a:srgbClr val="1F4E79"/>
              </a:solidFill>
            </a:endParaRPr>
          </a:p>
        </p:txBody>
      </p:sp>
      <p:grpSp>
        <p:nvGrpSpPr>
          <p:cNvPr id="85" name="Group 632"/>
          <p:cNvGrpSpPr/>
          <p:nvPr/>
        </p:nvGrpSpPr>
        <p:grpSpPr>
          <a:xfrm>
            <a:off x="751292" y="5141919"/>
            <a:ext cx="933696" cy="1231619"/>
            <a:chOff x="10260013" y="4238625"/>
            <a:chExt cx="482600" cy="636588"/>
          </a:xfrm>
          <a:solidFill>
            <a:schemeClr val="bg1"/>
          </a:solidFill>
        </p:grpSpPr>
        <p:sp>
          <p:nvSpPr>
            <p:cNvPr id="86"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87"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88"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59"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60"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161"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6" name="Прямоугольник 3"/>
          <p:cNvSpPr/>
          <p:nvPr/>
        </p:nvSpPr>
        <p:spPr>
          <a:xfrm>
            <a:off x="333033" y="3045909"/>
            <a:ext cx="12036425" cy="4247317"/>
          </a:xfrm>
          <a:prstGeom prst="rect">
            <a:avLst/>
          </a:prstGeom>
        </p:spPr>
        <p:txBody>
          <a:bodyPr wrap="square">
            <a:spAutoFit/>
          </a:bodyPr>
          <a:lstStyle/>
          <a:p>
            <a:pPr>
              <a:lnSpc>
                <a:spcPct val="120000"/>
              </a:lnSpc>
              <a:spcBef>
                <a:spcPts val="0"/>
              </a:spcBef>
              <a:spcAft>
                <a:spcPts val="0"/>
              </a:spcAft>
            </a:pPr>
            <a:r>
              <a:rPr lang="ru-RU" sz="1500" b="1" dirty="0" smtClean="0">
                <a:solidFill>
                  <a:srgbClr val="1F4E79"/>
                </a:solidFill>
                <a:latin typeface="+mn-lt"/>
              </a:rPr>
              <a:t>Сегменты работы Фонда «МИР»</a:t>
            </a:r>
            <a:endParaRPr lang="ru-RU" sz="1500" b="1" dirty="0">
              <a:solidFill>
                <a:srgbClr val="1F4E79"/>
              </a:solidFill>
              <a:latin typeface="+mn-lt"/>
            </a:endParaRPr>
          </a:p>
          <a:p>
            <a:pPr marL="0" lvl="1" indent="-342900" algn="just">
              <a:lnSpc>
                <a:spcPct val="120000"/>
              </a:lnSpc>
              <a:spcBef>
                <a:spcPts val="0"/>
              </a:spcBef>
              <a:spcAft>
                <a:spcPts val="0"/>
              </a:spcAft>
              <a:buFont typeface="Wingdings" panose="05000000000000000000" pitchFamily="2" charset="2"/>
              <a:buChar char="Ø"/>
            </a:pPr>
            <a:r>
              <a:rPr lang="ru-RU" sz="1500" dirty="0">
                <a:latin typeface="+mn-lt"/>
              </a:rPr>
              <a:t>Проекты, получившие поддержку со стороны Корпорации и/или АО «МСП Банк».</a:t>
            </a:r>
          </a:p>
          <a:p>
            <a:pPr marL="0" lvl="1" indent="-342900" algn="just">
              <a:lnSpc>
                <a:spcPct val="120000"/>
              </a:lnSpc>
              <a:spcBef>
                <a:spcPts val="0"/>
              </a:spcBef>
              <a:spcAft>
                <a:spcPts val="0"/>
              </a:spcAft>
              <a:buFont typeface="Wingdings" panose="05000000000000000000" pitchFamily="2" charset="2"/>
              <a:buChar char="Ø"/>
            </a:pPr>
            <a:r>
              <a:rPr lang="ru-RU" sz="1500" dirty="0" smtClean="0">
                <a:latin typeface="+mn-lt"/>
              </a:rPr>
              <a:t>Проекты</a:t>
            </a:r>
            <a:r>
              <a:rPr lang="ru-RU" sz="1500" dirty="0">
                <a:latin typeface="+mn-lt"/>
              </a:rPr>
              <a:t>, получившие поддержку со стороны партнеров Корпорации: участников Программы «Инвестиционный лифт»; партнёров, реализующих программы поддержки МСП (Сектор Роста Московская биржа, ВЭБ Инновации, Российская венчурная компания, Фонд содействия развитию малых форм предприятий в научно-технической сфере, Национальная технологическая </a:t>
            </a:r>
            <a:r>
              <a:rPr lang="ru-RU" sz="1500" dirty="0" smtClean="0">
                <a:latin typeface="+mn-lt"/>
              </a:rPr>
              <a:t>инициатива).</a:t>
            </a:r>
            <a:endParaRPr lang="ru-RU" sz="1500" dirty="0">
              <a:latin typeface="+mn-lt"/>
              <a:ea typeface="Calibri" panose="020F0502020204030204" pitchFamily="34" charset="0"/>
            </a:endParaRPr>
          </a:p>
          <a:p>
            <a:pPr>
              <a:lnSpc>
                <a:spcPct val="120000"/>
              </a:lnSpc>
              <a:spcBef>
                <a:spcPts val="0"/>
              </a:spcBef>
              <a:spcAft>
                <a:spcPts val="0"/>
              </a:spcAft>
            </a:pPr>
            <a:r>
              <a:rPr lang="ru-RU" sz="1500" b="1" dirty="0" smtClean="0">
                <a:solidFill>
                  <a:srgbClr val="1F4E79"/>
                </a:solidFill>
                <a:latin typeface="+mn-lt"/>
              </a:rPr>
              <a:t>Критерии и требования к Проектам</a:t>
            </a:r>
          </a:p>
          <a:p>
            <a:pPr indent="-360363">
              <a:lnSpc>
                <a:spcPct val="120000"/>
              </a:lnSpc>
              <a:spcBef>
                <a:spcPts val="0"/>
              </a:spcBef>
              <a:spcAft>
                <a:spcPts val="0"/>
              </a:spcAft>
              <a:buFont typeface="Wingdings" panose="05000000000000000000" pitchFamily="2" charset="2"/>
              <a:buChar char="Ø"/>
            </a:pPr>
            <a:r>
              <a:rPr lang="ru-RU" sz="1500" dirty="0" smtClean="0">
                <a:latin typeface="+mn-lt"/>
              </a:rPr>
              <a:t>Проект МСП должен находится на этапе роста/расширения </a:t>
            </a:r>
            <a:r>
              <a:rPr lang="ru-RU" sz="1500" dirty="0">
                <a:latin typeface="+mn-lt"/>
              </a:rPr>
              <a:t>бизнеса: завершены НИОКР, начато производство, имеется успешный опыт </a:t>
            </a:r>
            <a:r>
              <a:rPr lang="ru-RU" sz="1500" dirty="0" smtClean="0">
                <a:latin typeface="+mn-lt"/>
              </a:rPr>
              <a:t>реализации продукции и </a:t>
            </a:r>
            <a:r>
              <a:rPr lang="ru-RU" sz="1500" dirty="0">
                <a:latin typeface="+mn-lt"/>
              </a:rPr>
              <a:t>растущий рынок </a:t>
            </a:r>
            <a:r>
              <a:rPr lang="ru-RU" sz="1500" dirty="0" smtClean="0">
                <a:latin typeface="+mn-lt"/>
              </a:rPr>
              <a:t>сбыта.</a:t>
            </a:r>
          </a:p>
          <a:p>
            <a:pPr indent="-360363" algn="just">
              <a:lnSpc>
                <a:spcPct val="120000"/>
              </a:lnSpc>
              <a:spcBef>
                <a:spcPts val="0"/>
              </a:spcBef>
              <a:spcAft>
                <a:spcPts val="0"/>
              </a:spcAft>
              <a:buFont typeface="Wingdings" panose="05000000000000000000" pitchFamily="2" charset="2"/>
              <a:buChar char="Ø"/>
            </a:pPr>
            <a:r>
              <a:rPr lang="ru-RU" sz="1500" dirty="0" smtClean="0">
                <a:latin typeface="+mn-lt"/>
              </a:rPr>
              <a:t>Проект МСП масштабируем – способен увеличивать объемы производства и продаж, может быть реализован в других регионах России.</a:t>
            </a:r>
          </a:p>
          <a:p>
            <a:pPr indent="-360363" algn="just">
              <a:lnSpc>
                <a:spcPct val="120000"/>
              </a:lnSpc>
              <a:spcBef>
                <a:spcPts val="0"/>
              </a:spcBef>
              <a:spcAft>
                <a:spcPts val="0"/>
              </a:spcAft>
              <a:buFont typeface="Wingdings" panose="05000000000000000000" pitchFamily="2" charset="2"/>
              <a:buChar char="Ø"/>
            </a:pPr>
            <a:r>
              <a:rPr lang="ru-RU" sz="1500" dirty="0">
                <a:latin typeface="+mn-lt"/>
              </a:rPr>
              <a:t>Проект </a:t>
            </a:r>
            <a:r>
              <a:rPr lang="ru-RU" sz="1500" dirty="0" smtClean="0">
                <a:latin typeface="+mn-lt"/>
              </a:rPr>
              <a:t>МСП реализуется </a:t>
            </a:r>
            <a:r>
              <a:rPr lang="ru-RU" sz="1500" dirty="0">
                <a:latin typeface="+mn-lt"/>
              </a:rPr>
              <a:t>в </a:t>
            </a:r>
            <a:r>
              <a:rPr lang="ru-RU" sz="1500" dirty="0" smtClean="0">
                <a:latin typeface="+mn-lt"/>
              </a:rPr>
              <a:t>приоритетной отрасли экономики* </a:t>
            </a:r>
          </a:p>
          <a:p>
            <a:pPr indent="-360363" algn="just">
              <a:lnSpc>
                <a:spcPct val="120000"/>
              </a:lnSpc>
              <a:spcBef>
                <a:spcPts val="0"/>
              </a:spcBef>
              <a:spcAft>
                <a:spcPts val="0"/>
              </a:spcAft>
              <a:buFont typeface="Wingdings" panose="05000000000000000000" pitchFamily="2" charset="2"/>
              <a:buChar char="Ø"/>
            </a:pPr>
            <a:r>
              <a:rPr lang="ru-RU" sz="1500" dirty="0" smtClean="0">
                <a:latin typeface="+mn-lt"/>
              </a:rPr>
              <a:t>Команда </a:t>
            </a:r>
            <a:r>
              <a:rPr lang="ru-RU" sz="1500" dirty="0">
                <a:latin typeface="+mn-lt"/>
              </a:rPr>
              <a:t>Проекта располагает необходимым профессиональным опытом </a:t>
            </a:r>
            <a:r>
              <a:rPr lang="ru-RU" sz="1500" dirty="0" smtClean="0">
                <a:latin typeface="+mn-lt"/>
              </a:rPr>
              <a:t>запуска производства </a:t>
            </a:r>
            <a:r>
              <a:rPr lang="ru-RU" sz="1500" dirty="0">
                <a:latin typeface="+mn-lt"/>
              </a:rPr>
              <a:t>и продвижения </a:t>
            </a:r>
            <a:r>
              <a:rPr lang="ru-RU" sz="1500" dirty="0" smtClean="0">
                <a:latin typeface="+mn-lt"/>
              </a:rPr>
              <a:t>продуктов.</a:t>
            </a:r>
          </a:p>
          <a:p>
            <a:pPr indent="-360363" algn="just">
              <a:lnSpc>
                <a:spcPct val="120000"/>
              </a:lnSpc>
              <a:spcBef>
                <a:spcPts val="0"/>
              </a:spcBef>
              <a:spcAft>
                <a:spcPts val="0"/>
              </a:spcAft>
              <a:buFont typeface="Wingdings" panose="05000000000000000000" pitchFamily="2" charset="2"/>
              <a:buChar char="Ø"/>
            </a:pPr>
            <a:r>
              <a:rPr lang="ru-RU" sz="1500" dirty="0">
                <a:latin typeface="+mn-lt"/>
              </a:rPr>
              <a:t>К</a:t>
            </a:r>
            <a:r>
              <a:rPr lang="ru-RU" sz="1500" dirty="0" smtClean="0">
                <a:latin typeface="+mn-lt"/>
              </a:rPr>
              <a:t>лючевыми </a:t>
            </a:r>
            <a:r>
              <a:rPr lang="ru-RU" sz="1500" dirty="0">
                <a:latin typeface="+mn-lt"/>
              </a:rPr>
              <a:t>документами по проекту являются бизнес-план и финансовая модель проекта; особое внимание в бизнес-плане должно быть уделено рынку </a:t>
            </a:r>
            <a:r>
              <a:rPr lang="ru-RU" sz="1500" dirty="0" smtClean="0">
                <a:latin typeface="+mn-lt"/>
              </a:rPr>
              <a:t>сбыта и продажам продукции.</a:t>
            </a:r>
            <a:endParaRPr lang="ru-RU" sz="1500" dirty="0" smtClean="0"/>
          </a:p>
        </p:txBody>
      </p:sp>
      <p:sp>
        <p:nvSpPr>
          <p:cNvPr id="3" name="Прямоугольник 2"/>
          <p:cNvSpPr/>
          <p:nvPr/>
        </p:nvSpPr>
        <p:spPr>
          <a:xfrm>
            <a:off x="282573" y="7560718"/>
            <a:ext cx="12036425" cy="323165"/>
          </a:xfrm>
          <a:prstGeom prst="rect">
            <a:avLst/>
          </a:prstGeom>
        </p:spPr>
        <p:txBody>
          <a:bodyPr wrap="square">
            <a:spAutoFit/>
          </a:bodyPr>
          <a:lstStyle/>
          <a:p>
            <a:pPr algn="just"/>
            <a:r>
              <a:rPr lang="en-US" sz="1500" dirty="0" smtClean="0">
                <a:latin typeface="+mn-lt"/>
                <a:ea typeface="Times New Roman" panose="02020603050405020304" pitchFamily="18" charset="0"/>
              </a:rPr>
              <a:t>*</a:t>
            </a:r>
            <a:r>
              <a:rPr lang="ru-RU" sz="1500" dirty="0" smtClean="0">
                <a:latin typeface="+mn-lt"/>
                <a:ea typeface="Times New Roman" panose="02020603050405020304" pitchFamily="18" charset="0"/>
              </a:rPr>
              <a:t>В </a:t>
            </a:r>
            <a:r>
              <a:rPr lang="ru-RU" sz="1500" dirty="0">
                <a:latin typeface="+mn-lt"/>
                <a:ea typeface="Times New Roman" panose="02020603050405020304" pitchFamily="18" charset="0"/>
              </a:rPr>
              <a:t>соответствии с </a:t>
            </a:r>
            <a:r>
              <a:rPr lang="ru-RU" sz="1500" dirty="0" smtClean="0">
                <a:latin typeface="+mn-lt"/>
                <a:ea typeface="Times New Roman" panose="02020603050405020304" pitchFamily="18" charset="0"/>
              </a:rPr>
              <a:t>приоритетами АО «Корпорация «МСП».</a:t>
            </a:r>
            <a:endParaRPr lang="ru-RU" sz="1500" dirty="0">
              <a:latin typeface="+mn-lt"/>
            </a:endParaRPr>
          </a:p>
        </p:txBody>
      </p:sp>
      <p:cxnSp>
        <p:nvCxnSpPr>
          <p:cNvPr id="20" name="Прямая соединительная линия 19"/>
          <p:cNvCxnSpPr/>
          <p:nvPr/>
        </p:nvCxnSpPr>
        <p:spPr>
          <a:xfrm>
            <a:off x="333033" y="7496221"/>
            <a:ext cx="11985965" cy="0"/>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86842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dirty="0"/>
          </a:p>
        </p:txBody>
      </p:sp>
      <p:cxnSp>
        <p:nvCxnSpPr>
          <p:cNvPr id="17" name="Прямая соединительная линия 16"/>
          <p:cNvCxnSpPr/>
          <p:nvPr/>
        </p:nvCxnSpPr>
        <p:spPr>
          <a:xfrm>
            <a:off x="282575" y="1270992"/>
            <a:ext cx="11743526" cy="3343"/>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62" name="Скругленный прямоугольник 61"/>
          <p:cNvSpPr/>
          <p:nvPr/>
        </p:nvSpPr>
        <p:spPr>
          <a:xfrm>
            <a:off x="317990" y="2001814"/>
            <a:ext cx="2605751" cy="1476930"/>
          </a:xfrm>
          <a:prstGeom prst="roundRect">
            <a:avLst>
              <a:gd name="adj" fmla="val 6507"/>
            </a:avLst>
          </a:prstGeom>
          <a:solidFill>
            <a:srgbClr val="F7FAFF"/>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rgbClr val="1F4E79"/>
                </a:solidFill>
              </a:rPr>
              <a:t>Капитал для МСП</a:t>
            </a:r>
            <a:endParaRPr lang="ru-RU" sz="1800" b="1" dirty="0">
              <a:solidFill>
                <a:srgbClr val="1F4E79"/>
              </a:solidFill>
            </a:endParaRPr>
          </a:p>
        </p:txBody>
      </p:sp>
      <p:sp>
        <p:nvSpPr>
          <p:cNvPr id="64" name="Скругленный прямоугольник 63"/>
          <p:cNvSpPr/>
          <p:nvPr/>
        </p:nvSpPr>
        <p:spPr>
          <a:xfrm>
            <a:off x="391543" y="2064518"/>
            <a:ext cx="295942" cy="234789"/>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chemeClr val="bg1"/>
                </a:solidFill>
              </a:rPr>
              <a:t>1</a:t>
            </a:r>
            <a:endParaRPr lang="ru-RU" sz="1800" b="1" dirty="0">
              <a:solidFill>
                <a:schemeClr val="bg1"/>
              </a:solidFill>
            </a:endParaRPr>
          </a:p>
        </p:txBody>
      </p:sp>
      <p:sp>
        <p:nvSpPr>
          <p:cNvPr id="65" name="Скругленный прямоугольник 64"/>
          <p:cNvSpPr/>
          <p:nvPr/>
        </p:nvSpPr>
        <p:spPr>
          <a:xfrm>
            <a:off x="282575" y="5229254"/>
            <a:ext cx="2605751" cy="1476930"/>
          </a:xfrm>
          <a:prstGeom prst="roundRect">
            <a:avLst>
              <a:gd name="adj" fmla="val 6507"/>
            </a:avLst>
          </a:prstGeom>
          <a:solidFill>
            <a:srgbClr val="F7FAFF"/>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800" b="1" dirty="0" smtClean="0">
                <a:solidFill>
                  <a:srgbClr val="1F4E79"/>
                </a:solidFill>
              </a:rPr>
              <a:t>Инвестиционный заем (мезонин)</a:t>
            </a:r>
            <a:endParaRPr lang="ru-RU" sz="1800" b="1" dirty="0">
              <a:solidFill>
                <a:srgbClr val="1F4E79"/>
              </a:solidFill>
            </a:endParaRPr>
          </a:p>
        </p:txBody>
      </p:sp>
      <p:sp>
        <p:nvSpPr>
          <p:cNvPr id="66" name="Скругленный прямоугольник 65"/>
          <p:cNvSpPr/>
          <p:nvPr/>
        </p:nvSpPr>
        <p:spPr>
          <a:xfrm>
            <a:off x="356128" y="5313244"/>
            <a:ext cx="295942" cy="234789"/>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800" b="1" dirty="0" smtClean="0">
                <a:solidFill>
                  <a:schemeClr val="bg1"/>
                </a:solidFill>
              </a:rPr>
              <a:t>2</a:t>
            </a:r>
            <a:endParaRPr lang="ru-RU" sz="1800" b="1" dirty="0">
              <a:solidFill>
                <a:schemeClr val="bg1"/>
              </a:solidFill>
            </a:endParaRPr>
          </a:p>
        </p:txBody>
      </p:sp>
      <p:cxnSp>
        <p:nvCxnSpPr>
          <p:cNvPr id="67" name="Прямая соединительная линия 66"/>
          <p:cNvCxnSpPr/>
          <p:nvPr/>
        </p:nvCxnSpPr>
        <p:spPr>
          <a:xfrm>
            <a:off x="282575" y="4825765"/>
            <a:ext cx="11743526" cy="31178"/>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3" name="L-Shape 10"/>
          <p:cNvSpPr/>
          <p:nvPr/>
        </p:nvSpPr>
        <p:spPr>
          <a:xfrm rot="13701821">
            <a:off x="3191992" y="2605477"/>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4" name="Скругленный прямоугольник 73"/>
          <p:cNvSpPr/>
          <p:nvPr/>
        </p:nvSpPr>
        <p:spPr>
          <a:xfrm>
            <a:off x="3767172" y="2001814"/>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Объем </a:t>
            </a:r>
            <a:r>
              <a:rPr lang="ru-RU" sz="1200" b="1" dirty="0">
                <a:solidFill>
                  <a:schemeClr val="bg1"/>
                </a:solidFill>
              </a:rPr>
              <a:t>финансирования </a:t>
            </a:r>
          </a:p>
        </p:txBody>
      </p:sp>
      <p:sp>
        <p:nvSpPr>
          <p:cNvPr id="75" name="Скругленный прямоугольник 74"/>
          <p:cNvSpPr/>
          <p:nvPr/>
        </p:nvSpPr>
        <p:spPr>
          <a:xfrm>
            <a:off x="3773911" y="237837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Целевая норма доходности</a:t>
            </a:r>
            <a:endParaRPr lang="ru-RU" sz="1200" b="1" dirty="0">
              <a:solidFill>
                <a:schemeClr val="bg1"/>
              </a:solidFill>
            </a:endParaRPr>
          </a:p>
        </p:txBody>
      </p:sp>
      <p:sp>
        <p:nvSpPr>
          <p:cNvPr id="77" name="Скругленный прямоугольник 76"/>
          <p:cNvSpPr/>
          <p:nvPr/>
        </p:nvSpPr>
        <p:spPr>
          <a:xfrm>
            <a:off x="3773910" y="2759538"/>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8900" indent="-88900" algn="ctr"/>
            <a:r>
              <a:rPr lang="ru-RU" sz="1200" b="1" dirty="0" smtClean="0">
                <a:solidFill>
                  <a:schemeClr val="bg1"/>
                </a:solidFill>
              </a:rPr>
              <a:t>Целевая доля участия</a:t>
            </a:r>
            <a:endParaRPr lang="ru-RU" sz="1200" b="1" dirty="0">
              <a:solidFill>
                <a:schemeClr val="bg1"/>
              </a:solidFill>
            </a:endParaRPr>
          </a:p>
        </p:txBody>
      </p:sp>
      <p:sp>
        <p:nvSpPr>
          <p:cNvPr id="80" name="Скругленный прямоугольник 79"/>
          <p:cNvSpPr/>
          <p:nvPr/>
        </p:nvSpPr>
        <p:spPr>
          <a:xfrm>
            <a:off x="3773910" y="3129171"/>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Срок участия</a:t>
            </a:r>
            <a:endParaRPr lang="ru-RU" sz="1200" b="1" dirty="0">
              <a:solidFill>
                <a:schemeClr val="bg1"/>
              </a:solidFill>
            </a:endParaRPr>
          </a:p>
        </p:txBody>
      </p:sp>
      <p:sp>
        <p:nvSpPr>
          <p:cNvPr id="81" name="Скругленный прямоугольник 80"/>
          <p:cNvSpPr/>
          <p:nvPr/>
        </p:nvSpPr>
        <p:spPr>
          <a:xfrm>
            <a:off x="6081519" y="2005820"/>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250 млн. руб.</a:t>
            </a:r>
            <a:endParaRPr lang="ru-RU" sz="1200" dirty="0">
              <a:solidFill>
                <a:srgbClr val="1F4E79"/>
              </a:solidFill>
            </a:endParaRPr>
          </a:p>
        </p:txBody>
      </p:sp>
      <p:sp>
        <p:nvSpPr>
          <p:cNvPr id="82" name="Скругленный прямоугольник 81"/>
          <p:cNvSpPr/>
          <p:nvPr/>
        </p:nvSpPr>
        <p:spPr>
          <a:xfrm>
            <a:off x="6081519" y="237988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a:t>
            </a:r>
            <a:endParaRPr lang="ru-RU" sz="1200" dirty="0">
              <a:solidFill>
                <a:srgbClr val="1F4E79"/>
              </a:solidFill>
            </a:endParaRPr>
          </a:p>
        </p:txBody>
      </p:sp>
      <p:sp>
        <p:nvSpPr>
          <p:cNvPr id="83" name="Скругленный прямоугольник 82"/>
          <p:cNvSpPr/>
          <p:nvPr/>
        </p:nvSpPr>
        <p:spPr>
          <a:xfrm>
            <a:off x="6081519" y="2755851"/>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от </a:t>
            </a:r>
            <a:r>
              <a:rPr lang="ru-RU" sz="1200" dirty="0">
                <a:solidFill>
                  <a:srgbClr val="1F4E79"/>
                </a:solidFill>
              </a:rPr>
              <a:t>34% до 49,99</a:t>
            </a:r>
            <a:r>
              <a:rPr lang="ru-RU" sz="1200" dirty="0" smtClean="0">
                <a:solidFill>
                  <a:srgbClr val="1F4E79"/>
                </a:solidFill>
              </a:rPr>
              <a:t>% </a:t>
            </a:r>
          </a:p>
        </p:txBody>
      </p:sp>
      <p:sp>
        <p:nvSpPr>
          <p:cNvPr id="84" name="Скругленный прямоугольник 83"/>
          <p:cNvSpPr/>
          <p:nvPr/>
        </p:nvSpPr>
        <p:spPr>
          <a:xfrm>
            <a:off x="6081519" y="3123240"/>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a:solidFill>
                  <a:srgbClr val="1F4E79"/>
                </a:solidFill>
              </a:rPr>
              <a:t>н</a:t>
            </a:r>
            <a:r>
              <a:rPr lang="ru-RU" sz="1200" dirty="0" smtClean="0">
                <a:solidFill>
                  <a:srgbClr val="1F4E79"/>
                </a:solidFill>
              </a:rPr>
              <a:t>е более 5 лет</a:t>
            </a:r>
            <a:endParaRPr lang="ru-RU" sz="1200" dirty="0">
              <a:solidFill>
                <a:srgbClr val="1F4E79"/>
              </a:solidFill>
            </a:endParaRPr>
          </a:p>
        </p:txBody>
      </p:sp>
      <p:sp>
        <p:nvSpPr>
          <p:cNvPr id="86" name="Прямоугольник 85"/>
          <p:cNvSpPr/>
          <p:nvPr/>
        </p:nvSpPr>
        <p:spPr>
          <a:xfrm>
            <a:off x="9105711" y="1495600"/>
            <a:ext cx="2480192" cy="400110"/>
          </a:xfrm>
          <a:prstGeom prst="rect">
            <a:avLst/>
          </a:prstGeom>
        </p:spPr>
        <p:txBody>
          <a:bodyPr wrap="square">
            <a:spAutoFit/>
          </a:bodyPr>
          <a:lstStyle/>
          <a:p>
            <a:pPr lvl="0">
              <a:defRPr/>
            </a:pPr>
            <a:r>
              <a:rPr lang="ru-RU" sz="2000" b="1" dirty="0" smtClean="0">
                <a:solidFill>
                  <a:srgbClr val="1F4E79"/>
                </a:solidFill>
                <a:latin typeface="+mn-lt"/>
                <a:ea typeface="Calibri" panose="020F0502020204030204" pitchFamily="34" charset="0"/>
              </a:rPr>
              <a:t>Схема участия</a:t>
            </a:r>
            <a:endParaRPr lang="ru-RU" sz="2000" b="1" dirty="0">
              <a:solidFill>
                <a:srgbClr val="1F4E79"/>
              </a:solidFill>
              <a:latin typeface="+mn-lt"/>
              <a:ea typeface="Calibri" panose="020F0502020204030204" pitchFamily="34" charset="0"/>
            </a:endParaRPr>
          </a:p>
        </p:txBody>
      </p:sp>
      <p:cxnSp>
        <p:nvCxnSpPr>
          <p:cNvPr id="139" name="Прямая соединительная линия 138"/>
          <p:cNvCxnSpPr/>
          <p:nvPr/>
        </p:nvCxnSpPr>
        <p:spPr>
          <a:xfrm>
            <a:off x="8292500" y="1924883"/>
            <a:ext cx="0" cy="1665933"/>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0" name="Прямоугольник 139"/>
          <p:cNvSpPr/>
          <p:nvPr/>
        </p:nvSpPr>
        <p:spPr>
          <a:xfrm>
            <a:off x="3953312" y="1484433"/>
            <a:ext cx="4069040" cy="400110"/>
          </a:xfrm>
          <a:prstGeom prst="rect">
            <a:avLst/>
          </a:prstGeom>
        </p:spPr>
        <p:txBody>
          <a:bodyPr wrap="square">
            <a:spAutoFit/>
          </a:bodyPr>
          <a:lstStyle/>
          <a:p>
            <a:pPr lvl="0" algn="ctr">
              <a:defRPr/>
            </a:pPr>
            <a:r>
              <a:rPr lang="ru-RU" sz="2000" b="1" dirty="0" smtClean="0">
                <a:solidFill>
                  <a:srgbClr val="1F4E79"/>
                </a:solidFill>
                <a:latin typeface="Arial Narrow" panose="020B0606020202030204" pitchFamily="34" charset="0"/>
                <a:ea typeface="Calibri" panose="020F0502020204030204" pitchFamily="34" charset="0"/>
              </a:rPr>
              <a:t>Параметры продукта</a:t>
            </a:r>
            <a:endParaRPr lang="ru-RU" sz="2000" b="1" dirty="0">
              <a:solidFill>
                <a:srgbClr val="1F4E79"/>
              </a:solidFill>
              <a:latin typeface="Arial Narrow" panose="020B0606020202030204" pitchFamily="34" charset="0"/>
              <a:ea typeface="Calibri" panose="020F0502020204030204" pitchFamily="34" charset="0"/>
            </a:endParaRPr>
          </a:p>
        </p:txBody>
      </p:sp>
      <p:sp>
        <p:nvSpPr>
          <p:cNvPr id="141" name="Прямоугольник 140"/>
          <p:cNvSpPr/>
          <p:nvPr/>
        </p:nvSpPr>
        <p:spPr>
          <a:xfrm>
            <a:off x="391543" y="1483299"/>
            <a:ext cx="2429290" cy="400110"/>
          </a:xfrm>
          <a:prstGeom prst="rect">
            <a:avLst/>
          </a:prstGeom>
        </p:spPr>
        <p:txBody>
          <a:bodyPr wrap="square">
            <a:spAutoFit/>
          </a:bodyPr>
          <a:lstStyle/>
          <a:p>
            <a:pPr lvl="0" algn="ctr">
              <a:defRPr/>
            </a:pPr>
            <a:r>
              <a:rPr lang="ru-RU" sz="2000" b="1" dirty="0" smtClean="0">
                <a:solidFill>
                  <a:srgbClr val="1F4E79"/>
                </a:solidFill>
                <a:latin typeface="Arial Narrow" panose="020B0606020202030204" pitchFamily="34" charset="0"/>
                <a:ea typeface="Calibri" panose="020F0502020204030204" pitchFamily="34" charset="0"/>
              </a:rPr>
              <a:t>Продукт</a:t>
            </a:r>
            <a:endParaRPr lang="ru-RU" sz="2000" b="1" dirty="0">
              <a:solidFill>
                <a:srgbClr val="1F4E79"/>
              </a:solidFill>
              <a:latin typeface="Arial Narrow" panose="020B0606020202030204" pitchFamily="34" charset="0"/>
              <a:ea typeface="Calibri" panose="020F0502020204030204" pitchFamily="34" charset="0"/>
            </a:endParaRPr>
          </a:p>
        </p:txBody>
      </p:sp>
      <p:sp>
        <p:nvSpPr>
          <p:cNvPr id="142" name="Прямоугольник 141"/>
          <p:cNvSpPr/>
          <p:nvPr/>
        </p:nvSpPr>
        <p:spPr>
          <a:xfrm>
            <a:off x="8414788" y="1861325"/>
            <a:ext cx="3581888" cy="1938992"/>
          </a:xfrm>
          <a:prstGeom prst="rect">
            <a:avLst/>
          </a:prstGeom>
        </p:spPr>
        <p:txBody>
          <a:bodyPr wrap="square">
            <a:spAutoFit/>
          </a:bodyPr>
          <a:lstStyle/>
          <a:p>
            <a:pPr lvl="0" algn="just">
              <a:defRPr/>
            </a:pPr>
            <a:r>
              <a:rPr lang="ru-RU" sz="1200" b="1" dirty="0" smtClean="0">
                <a:latin typeface="+mn-lt"/>
                <a:ea typeface="Calibri" panose="020F0502020204030204" pitchFamily="34" charset="0"/>
              </a:rPr>
              <a:t>Вход в проект</a:t>
            </a:r>
            <a:r>
              <a:rPr lang="en-US" sz="1200" b="1" dirty="0" smtClean="0">
                <a:latin typeface="+mn-lt"/>
                <a:ea typeface="Calibri" panose="020F0502020204030204" pitchFamily="34" charset="0"/>
              </a:rPr>
              <a:t>: </a:t>
            </a:r>
            <a:r>
              <a:rPr lang="ru-RU" sz="1200" dirty="0" smtClean="0">
                <a:latin typeface="+mn-lt"/>
                <a:ea typeface="Calibri" panose="020F0502020204030204" pitchFamily="34" charset="0"/>
              </a:rPr>
              <a:t>вклад в капитал компании </a:t>
            </a:r>
            <a:r>
              <a:rPr lang="en-US" sz="1200" dirty="0" smtClean="0">
                <a:latin typeface="+mn-lt"/>
                <a:ea typeface="Calibri" panose="020F0502020204030204" pitchFamily="34" charset="0"/>
              </a:rPr>
              <a:t>(cash-in)</a:t>
            </a:r>
            <a:r>
              <a:rPr lang="ru-RU" sz="1200" dirty="0" smtClean="0">
                <a:latin typeface="+mn-lt"/>
                <a:ea typeface="Calibri" panose="020F0502020204030204" pitchFamily="34" charset="0"/>
              </a:rPr>
              <a:t>, заключение инвестиционного соглашения и опционов.</a:t>
            </a:r>
          </a:p>
          <a:p>
            <a:pPr algn="just">
              <a:defRPr/>
            </a:pPr>
            <a:r>
              <a:rPr lang="ru-RU" sz="1200" b="1" dirty="0" smtClean="0">
                <a:latin typeface="+mn-lt"/>
                <a:ea typeface="Calibri" panose="020F0502020204030204" pitchFamily="34" charset="0"/>
              </a:rPr>
              <a:t>Выход из проекта</a:t>
            </a:r>
            <a:r>
              <a:rPr lang="en-US" sz="1200" b="1" dirty="0" smtClean="0">
                <a:latin typeface="+mn-lt"/>
                <a:ea typeface="Calibri" panose="020F0502020204030204" pitchFamily="34" charset="0"/>
              </a:rPr>
              <a:t>: </a:t>
            </a:r>
            <a:endParaRPr lang="ru-RU" sz="1200" dirty="0" smtClean="0">
              <a:latin typeface="+mn-lt"/>
              <a:ea typeface="Calibri" panose="020F0502020204030204" pitchFamily="34" charset="0"/>
            </a:endParaRPr>
          </a:p>
          <a:p>
            <a:pPr lvl="0" indent="-228600" algn="just">
              <a:buAutoNum type="arabicPeriod"/>
              <a:defRPr/>
            </a:pPr>
            <a:r>
              <a:rPr lang="ru-RU" sz="1200" dirty="0" smtClean="0">
                <a:latin typeface="+mn-lt"/>
                <a:ea typeface="Calibri" panose="020F0502020204030204" pitchFamily="34" charset="0"/>
              </a:rPr>
              <a:t>Через опционы</a:t>
            </a:r>
            <a:r>
              <a:rPr lang="en-US" sz="1200" dirty="0" smtClean="0">
                <a:latin typeface="+mn-lt"/>
                <a:ea typeface="Calibri" panose="020F0502020204030204" pitchFamily="34" charset="0"/>
              </a:rPr>
              <a:t>:</a:t>
            </a:r>
          </a:p>
          <a:p>
            <a:pPr marL="0" lvl="1" indent="-228600" algn="just">
              <a:buFont typeface="Wingdings" panose="05000000000000000000" pitchFamily="2" charset="2"/>
              <a:buChar char="§"/>
              <a:defRPr/>
            </a:pPr>
            <a:r>
              <a:rPr lang="en-US" sz="1200" dirty="0" smtClean="0">
                <a:latin typeface="+mn-lt"/>
                <a:ea typeface="Calibri" panose="020F0502020204030204" pitchFamily="34" charset="0"/>
              </a:rPr>
              <a:t>PUT</a:t>
            </a:r>
            <a:r>
              <a:rPr lang="ru-RU" sz="1200" dirty="0" smtClean="0">
                <a:latin typeface="+mn-lt"/>
                <a:ea typeface="Calibri" panose="020F0502020204030204" pitchFamily="34" charset="0"/>
              </a:rPr>
              <a:t>-опцион АО «МИР» на продажу своей доли Инициатору проекта; </a:t>
            </a:r>
          </a:p>
          <a:p>
            <a:pPr marL="0" lvl="1" indent="-228600" algn="just">
              <a:buFont typeface="Wingdings" panose="05000000000000000000" pitchFamily="2" charset="2"/>
              <a:buChar char="§"/>
              <a:defRPr/>
            </a:pPr>
            <a:r>
              <a:rPr lang="en-US" sz="1200" dirty="0" smtClean="0">
                <a:latin typeface="+mn-lt"/>
                <a:ea typeface="Calibri" panose="020F0502020204030204" pitchFamily="34" charset="0"/>
              </a:rPr>
              <a:t>CALL</a:t>
            </a:r>
            <a:r>
              <a:rPr lang="ru-RU" sz="1200" dirty="0" smtClean="0">
                <a:latin typeface="+mn-lt"/>
                <a:ea typeface="Calibri" panose="020F0502020204030204" pitchFamily="34" charset="0"/>
              </a:rPr>
              <a:t>-опцион Инициатора проекта на выкуп доли МИР.</a:t>
            </a:r>
          </a:p>
          <a:p>
            <a:pPr algn="just">
              <a:defRPr/>
            </a:pPr>
            <a:r>
              <a:rPr lang="ru-RU" sz="1200" dirty="0" smtClean="0">
                <a:latin typeface="+mn-lt"/>
                <a:ea typeface="Calibri" panose="020F0502020204030204" pitchFamily="34" charset="0"/>
              </a:rPr>
              <a:t>2. Продажа доли стратегическому инвестору.</a:t>
            </a:r>
            <a:endParaRPr lang="ru-RU" sz="1200" dirty="0">
              <a:latin typeface="+mn-lt"/>
              <a:ea typeface="Calibri" panose="020F0502020204030204" pitchFamily="34" charset="0"/>
            </a:endParaRPr>
          </a:p>
        </p:txBody>
      </p:sp>
      <p:sp>
        <p:nvSpPr>
          <p:cNvPr id="143" name="L-Shape 10"/>
          <p:cNvSpPr/>
          <p:nvPr/>
        </p:nvSpPr>
        <p:spPr>
          <a:xfrm rot="13701821">
            <a:off x="3065456" y="5847272"/>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44" name="Скругленный прямоугольник 143"/>
          <p:cNvSpPr/>
          <p:nvPr/>
        </p:nvSpPr>
        <p:spPr>
          <a:xfrm>
            <a:off x="3715893" y="529273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r>
              <a:rPr lang="ru-RU" sz="1200" b="1" dirty="0" smtClean="0">
                <a:solidFill>
                  <a:schemeClr val="bg1"/>
                </a:solidFill>
              </a:rPr>
              <a:t>Объем </a:t>
            </a:r>
            <a:r>
              <a:rPr lang="ru-RU" sz="1200" b="1" dirty="0">
                <a:solidFill>
                  <a:schemeClr val="bg1"/>
                </a:solidFill>
              </a:rPr>
              <a:t>финансирования </a:t>
            </a:r>
          </a:p>
        </p:txBody>
      </p:sp>
      <p:sp>
        <p:nvSpPr>
          <p:cNvPr id="145" name="Скругленный прямоугольник 144"/>
          <p:cNvSpPr/>
          <p:nvPr/>
        </p:nvSpPr>
        <p:spPr>
          <a:xfrm>
            <a:off x="3715893" y="5650312"/>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b="1" dirty="0" smtClean="0">
                <a:solidFill>
                  <a:schemeClr val="bg1"/>
                </a:solidFill>
              </a:rPr>
              <a:t>Целевая ставка </a:t>
            </a:r>
            <a:endParaRPr lang="ru-RU" sz="1200" b="1" dirty="0">
              <a:solidFill>
                <a:schemeClr val="bg1"/>
              </a:solidFill>
            </a:endParaRPr>
          </a:p>
        </p:txBody>
      </p:sp>
      <p:sp>
        <p:nvSpPr>
          <p:cNvPr id="146" name="Скругленный прямоугольник 145"/>
          <p:cNvSpPr/>
          <p:nvPr/>
        </p:nvSpPr>
        <p:spPr>
          <a:xfrm>
            <a:off x="3715893" y="6007887"/>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200" b="1" dirty="0" smtClean="0">
                <a:solidFill>
                  <a:schemeClr val="bg1"/>
                </a:solidFill>
              </a:rPr>
              <a:t>Возможные условия</a:t>
            </a:r>
            <a:endParaRPr lang="ru-RU" sz="1200" b="1" dirty="0">
              <a:solidFill>
                <a:schemeClr val="bg1"/>
              </a:solidFill>
            </a:endParaRPr>
          </a:p>
        </p:txBody>
      </p:sp>
      <p:sp>
        <p:nvSpPr>
          <p:cNvPr id="147" name="Скругленный прямоугольник 146"/>
          <p:cNvSpPr/>
          <p:nvPr/>
        </p:nvSpPr>
        <p:spPr>
          <a:xfrm>
            <a:off x="3715893" y="6365462"/>
            <a:ext cx="2083201" cy="315852"/>
          </a:xfrm>
          <a:prstGeom prst="roundRect">
            <a:avLst>
              <a:gd name="adj" fmla="val 6507"/>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7800" algn="ctr"/>
            <a:r>
              <a:rPr lang="ru-RU" sz="1200" b="1" dirty="0" smtClean="0">
                <a:solidFill>
                  <a:schemeClr val="bg1"/>
                </a:solidFill>
              </a:rPr>
              <a:t>Срок участия</a:t>
            </a:r>
            <a:endParaRPr lang="ru-RU" sz="1200" b="1" dirty="0">
              <a:solidFill>
                <a:schemeClr val="bg1"/>
              </a:solidFill>
            </a:endParaRPr>
          </a:p>
        </p:txBody>
      </p:sp>
      <p:sp>
        <p:nvSpPr>
          <p:cNvPr id="148" name="Скругленный прямоугольник 147"/>
          <p:cNvSpPr/>
          <p:nvPr/>
        </p:nvSpPr>
        <p:spPr>
          <a:xfrm>
            <a:off x="5892781" y="529273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15-300 млн. руб.</a:t>
            </a:r>
            <a:endParaRPr lang="ru-RU" sz="1200" dirty="0">
              <a:solidFill>
                <a:srgbClr val="1F4E79"/>
              </a:solidFill>
            </a:endParaRPr>
          </a:p>
        </p:txBody>
      </p:sp>
      <p:sp>
        <p:nvSpPr>
          <p:cNvPr id="149" name="Скругленный прямоугольник 148"/>
          <p:cNvSpPr/>
          <p:nvPr/>
        </p:nvSpPr>
        <p:spPr>
          <a:xfrm>
            <a:off x="5892781" y="5650312"/>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smtClean="0">
                <a:solidFill>
                  <a:srgbClr val="1F4E79"/>
                </a:solidFill>
              </a:rPr>
              <a:t>12</a:t>
            </a:r>
            <a:r>
              <a:rPr lang="ru-RU" sz="1200" dirty="0" smtClean="0">
                <a:solidFill>
                  <a:srgbClr val="1F4E79"/>
                </a:solidFill>
              </a:rPr>
              <a:t>%</a:t>
            </a:r>
            <a:endParaRPr lang="ru-RU" sz="1200" dirty="0">
              <a:solidFill>
                <a:srgbClr val="1F4E79"/>
              </a:solidFill>
            </a:endParaRPr>
          </a:p>
        </p:txBody>
      </p:sp>
      <p:sp>
        <p:nvSpPr>
          <p:cNvPr id="150" name="Скругленный прямоугольник 149"/>
          <p:cNvSpPr/>
          <p:nvPr/>
        </p:nvSpPr>
        <p:spPr>
          <a:xfrm>
            <a:off x="5892781" y="6007887"/>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100" dirty="0" smtClean="0">
                <a:solidFill>
                  <a:srgbClr val="1F4E79"/>
                </a:solidFill>
              </a:rPr>
              <a:t>конвертация займа в капитал</a:t>
            </a:r>
            <a:endParaRPr lang="ru-RU" sz="1100" dirty="0">
              <a:solidFill>
                <a:srgbClr val="1F4E79"/>
              </a:solidFill>
            </a:endParaRPr>
          </a:p>
        </p:txBody>
      </p:sp>
      <p:sp>
        <p:nvSpPr>
          <p:cNvPr id="151" name="Скругленный прямоугольник 150"/>
          <p:cNvSpPr/>
          <p:nvPr/>
        </p:nvSpPr>
        <p:spPr>
          <a:xfrm>
            <a:off x="5892781" y="6365462"/>
            <a:ext cx="1986574" cy="315852"/>
          </a:xfrm>
          <a:prstGeom prst="roundRect">
            <a:avLst>
              <a:gd name="adj" fmla="val 6507"/>
            </a:avLst>
          </a:prstGeom>
          <a:no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200" dirty="0" smtClean="0">
                <a:solidFill>
                  <a:srgbClr val="1F4E79"/>
                </a:solidFill>
              </a:rPr>
              <a:t>не более 5 лет</a:t>
            </a:r>
            <a:endParaRPr lang="ru-RU" sz="1200" dirty="0">
              <a:solidFill>
                <a:srgbClr val="1F4E79"/>
              </a:solidFill>
            </a:endParaRPr>
          </a:p>
        </p:txBody>
      </p:sp>
      <p:cxnSp>
        <p:nvCxnSpPr>
          <p:cNvPr id="152" name="Прямая соединительная линия 151"/>
          <p:cNvCxnSpPr/>
          <p:nvPr/>
        </p:nvCxnSpPr>
        <p:spPr>
          <a:xfrm>
            <a:off x="8257085" y="5229254"/>
            <a:ext cx="0" cy="1665933"/>
          </a:xfrm>
          <a:prstGeom prst="line">
            <a:avLst/>
          </a:prstGeom>
          <a:ln w="12700">
            <a:solidFill>
              <a:schemeClr val="accent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53" name="Прямоугольник 152"/>
          <p:cNvSpPr/>
          <p:nvPr/>
        </p:nvSpPr>
        <p:spPr>
          <a:xfrm>
            <a:off x="8379373" y="5262627"/>
            <a:ext cx="3581888" cy="1754326"/>
          </a:xfrm>
          <a:prstGeom prst="rect">
            <a:avLst/>
          </a:prstGeom>
        </p:spPr>
        <p:txBody>
          <a:bodyPr wrap="square">
            <a:spAutoFit/>
          </a:bodyPr>
          <a:lstStyle/>
          <a:p>
            <a:pPr lvl="0" algn="just">
              <a:defRPr/>
            </a:pPr>
            <a:r>
              <a:rPr lang="ru-RU" sz="1200" b="1" dirty="0" smtClean="0">
                <a:latin typeface="+mn-lt"/>
                <a:ea typeface="Calibri" panose="020F0502020204030204" pitchFamily="34" charset="0"/>
              </a:rPr>
              <a:t>Вход в проект</a:t>
            </a:r>
            <a:r>
              <a:rPr lang="en-US" sz="1200" b="1" dirty="0" smtClean="0">
                <a:latin typeface="+mn-lt"/>
                <a:ea typeface="Calibri" panose="020F0502020204030204" pitchFamily="34" charset="0"/>
              </a:rPr>
              <a:t>: </a:t>
            </a:r>
            <a:r>
              <a:rPr lang="ru-RU" sz="1200" dirty="0" smtClean="0">
                <a:latin typeface="+mn-lt"/>
                <a:ea typeface="Calibri" panose="020F0502020204030204" pitchFamily="34" charset="0"/>
              </a:rPr>
              <a:t>инвестиционный заем с возможностью конвертации в капитал, заключение инвестиционного соглашения и опционов.</a:t>
            </a:r>
          </a:p>
          <a:p>
            <a:pPr algn="just">
              <a:defRPr/>
            </a:pPr>
            <a:r>
              <a:rPr lang="ru-RU" sz="1200" b="1" dirty="0" smtClean="0">
                <a:latin typeface="+mn-lt"/>
                <a:ea typeface="Calibri" panose="020F0502020204030204" pitchFamily="34" charset="0"/>
              </a:rPr>
              <a:t>Выход из проекта</a:t>
            </a:r>
            <a:r>
              <a:rPr lang="en-US" sz="1200" b="1" dirty="0" smtClean="0">
                <a:latin typeface="+mn-lt"/>
                <a:ea typeface="Calibri" panose="020F0502020204030204" pitchFamily="34" charset="0"/>
              </a:rPr>
              <a:t>: </a:t>
            </a:r>
            <a:endParaRPr lang="ru-RU" sz="1200" dirty="0" smtClean="0">
              <a:latin typeface="+mn-lt"/>
              <a:ea typeface="Calibri" panose="020F0502020204030204" pitchFamily="34" charset="0"/>
            </a:endParaRPr>
          </a:p>
          <a:p>
            <a:pPr marL="228600" lvl="0" indent="-228600" algn="just">
              <a:buAutoNum type="arabicPeriod"/>
              <a:defRPr/>
            </a:pPr>
            <a:r>
              <a:rPr lang="ru-RU" sz="1200" dirty="0" smtClean="0">
                <a:latin typeface="+mn-lt"/>
                <a:ea typeface="Calibri" panose="020F0502020204030204" pitchFamily="34" charset="0"/>
              </a:rPr>
              <a:t>Погашение займа.</a:t>
            </a:r>
          </a:p>
          <a:p>
            <a:pPr marL="228600" lvl="0" indent="-228600" algn="just">
              <a:buAutoNum type="arabicPeriod"/>
              <a:defRPr/>
            </a:pPr>
            <a:r>
              <a:rPr lang="ru-RU" sz="1200" dirty="0" smtClean="0">
                <a:latin typeface="+mn-lt"/>
                <a:ea typeface="Calibri" panose="020F0502020204030204" pitchFamily="34" charset="0"/>
              </a:rPr>
              <a:t>При конвертации займа в капитал</a:t>
            </a:r>
            <a:r>
              <a:rPr lang="en-US" sz="1200" dirty="0" smtClean="0">
                <a:latin typeface="+mn-lt"/>
                <a:ea typeface="Calibri" panose="020F0502020204030204" pitchFamily="34" charset="0"/>
              </a:rPr>
              <a:t>:</a:t>
            </a:r>
            <a:endParaRPr lang="en-US" sz="1200" dirty="0">
              <a:latin typeface="+mn-lt"/>
              <a:ea typeface="Calibri" panose="020F0502020204030204" pitchFamily="34" charset="0"/>
            </a:endParaRPr>
          </a:p>
          <a:p>
            <a:pPr marL="357188" lvl="1" indent="-228600" algn="just">
              <a:buFont typeface="Wingdings" panose="05000000000000000000" pitchFamily="2" charset="2"/>
              <a:buChar char="§"/>
              <a:defRPr/>
            </a:pPr>
            <a:r>
              <a:rPr lang="ru-RU" sz="1200" dirty="0">
                <a:latin typeface="+mn-lt"/>
                <a:ea typeface="Calibri" panose="020F0502020204030204" pitchFamily="34" charset="0"/>
              </a:rPr>
              <a:t>выход через </a:t>
            </a:r>
            <a:r>
              <a:rPr lang="ru-RU" sz="1200" dirty="0" smtClean="0">
                <a:latin typeface="+mn-lt"/>
                <a:ea typeface="Calibri" panose="020F0502020204030204" pitchFamily="34" charset="0"/>
              </a:rPr>
              <a:t>опционы;</a:t>
            </a:r>
            <a:endParaRPr lang="en-US" sz="1200" dirty="0" smtClean="0">
              <a:latin typeface="+mn-lt"/>
              <a:ea typeface="Calibri" panose="020F0502020204030204" pitchFamily="34" charset="0"/>
            </a:endParaRPr>
          </a:p>
          <a:p>
            <a:pPr marL="357188" lvl="1" indent="-228600" algn="just">
              <a:buFont typeface="Wingdings" panose="05000000000000000000" pitchFamily="2" charset="2"/>
              <a:buChar char="§"/>
              <a:defRPr/>
            </a:pPr>
            <a:r>
              <a:rPr lang="ru-RU" sz="1200" dirty="0" smtClean="0">
                <a:latin typeface="+mn-lt"/>
                <a:ea typeface="Calibri" panose="020F0502020204030204" pitchFamily="34" charset="0"/>
              </a:rPr>
              <a:t>продажа </a:t>
            </a:r>
            <a:r>
              <a:rPr lang="ru-RU" sz="1200" dirty="0">
                <a:latin typeface="+mn-lt"/>
                <a:ea typeface="Calibri" panose="020F0502020204030204" pitchFamily="34" charset="0"/>
              </a:rPr>
              <a:t>доли стратегическому </a:t>
            </a:r>
            <a:r>
              <a:rPr lang="ru-RU" sz="1200" dirty="0" smtClean="0">
                <a:latin typeface="+mn-lt"/>
                <a:ea typeface="Calibri" panose="020F0502020204030204" pitchFamily="34" charset="0"/>
              </a:rPr>
              <a:t>инвестору.</a:t>
            </a:r>
            <a:endParaRPr lang="ru-RU" sz="1200" dirty="0">
              <a:latin typeface="+mn-lt"/>
              <a:ea typeface="Calibri" panose="020F0502020204030204" pitchFamily="34" charset="0"/>
            </a:endParaRPr>
          </a:p>
        </p:txBody>
      </p:sp>
      <p:sp>
        <p:nvSpPr>
          <p:cNvPr id="43" name="Заголовок 1"/>
          <p:cNvSpPr>
            <a:spLocks noGrp="1"/>
          </p:cNvSpPr>
          <p:nvPr>
            <p:ph type="title"/>
          </p:nvPr>
        </p:nvSpPr>
        <p:spPr>
          <a:xfrm>
            <a:off x="2659530" y="391395"/>
            <a:ext cx="6759388" cy="698685"/>
          </a:xfrm>
        </p:spPr>
        <p:txBody>
          <a:bodyPr/>
          <a:lstStyle/>
          <a:p>
            <a:pPr algn="ctr"/>
            <a:r>
              <a:rPr lang="ru-RU" dirty="0" smtClean="0"/>
              <a:t>Продукты для МСП</a:t>
            </a:r>
            <a:endParaRPr lang="ru-RU" dirty="0"/>
          </a:p>
        </p:txBody>
      </p:sp>
      <p:sp>
        <p:nvSpPr>
          <p:cNvPr id="36" name="Прямоугольник 35"/>
          <p:cNvSpPr/>
          <p:nvPr/>
        </p:nvSpPr>
        <p:spPr>
          <a:xfrm>
            <a:off x="282573" y="3831121"/>
            <a:ext cx="12036425" cy="1015663"/>
          </a:xfrm>
          <a:prstGeom prst="rect">
            <a:avLst/>
          </a:prstGeom>
        </p:spPr>
        <p:txBody>
          <a:bodyPr wrap="square">
            <a:spAutoFit/>
          </a:bodyPr>
          <a:lstStyle/>
          <a:p>
            <a:pPr marL="285750" indent="-285750" algn="just">
              <a:buFont typeface="Wingdings" panose="05000000000000000000" pitchFamily="2" charset="2"/>
              <a:buChar char="§"/>
            </a:pPr>
            <a:r>
              <a:rPr lang="ru-RU" sz="1500" dirty="0" smtClean="0">
                <a:latin typeface="+mn-lt"/>
                <a:ea typeface="Times New Roman" panose="02020603050405020304" pitchFamily="18" charset="0"/>
              </a:rPr>
              <a:t>Субъект МСП должен сформировать капитал на балансе проектной компании в </a:t>
            </a:r>
            <a:r>
              <a:rPr lang="ru-RU" sz="1500" dirty="0">
                <a:latin typeface="+mn-lt"/>
                <a:ea typeface="Times New Roman" panose="02020603050405020304" pitchFamily="18" charset="0"/>
              </a:rPr>
              <a:t>размере </a:t>
            </a:r>
            <a:r>
              <a:rPr lang="ru-RU" sz="1500" dirty="0" smtClean="0">
                <a:latin typeface="+mn-lt"/>
                <a:ea typeface="Times New Roman" panose="02020603050405020304" pitchFamily="18" charset="0"/>
              </a:rPr>
              <a:t>50,01-66% долей.</a:t>
            </a:r>
          </a:p>
          <a:p>
            <a:pPr marL="285750" indent="-285750" algn="just">
              <a:buFont typeface="Wingdings" panose="05000000000000000000" pitchFamily="2" charset="2"/>
              <a:buChar char="§"/>
            </a:pPr>
            <a:r>
              <a:rPr lang="ru-RU" sz="1500" dirty="0" smtClean="0">
                <a:ea typeface="Times New Roman" panose="02020603050405020304" pitchFamily="18" charset="0"/>
              </a:rPr>
              <a:t>Участие в органах управления компании с правом вето по финансовым вопросам.</a:t>
            </a:r>
            <a:endParaRPr lang="ru-RU" sz="1500" dirty="0" smtClean="0">
              <a:latin typeface="+mn-lt"/>
              <a:ea typeface="Times New Roman" panose="02020603050405020304" pitchFamily="18" charset="0"/>
            </a:endParaRPr>
          </a:p>
          <a:p>
            <a:pPr marL="285750" indent="-285750" algn="just">
              <a:buFont typeface="Wingdings" panose="05000000000000000000" pitchFamily="2" charset="2"/>
              <a:buChar char="§"/>
            </a:pPr>
            <a:r>
              <a:rPr lang="ru-RU" sz="1500" dirty="0" smtClean="0">
                <a:latin typeface="+mn-lt"/>
              </a:rPr>
              <a:t>Выход из проекта осуществляется через реализацию опционов или путем продажи доли стратегическому инвестору.</a:t>
            </a:r>
          </a:p>
          <a:p>
            <a:pPr marL="285750" indent="-285750" algn="just">
              <a:buFont typeface="Wingdings" panose="05000000000000000000" pitchFamily="2" charset="2"/>
              <a:buChar char="§"/>
            </a:pPr>
            <a:r>
              <a:rPr lang="ru-RU" sz="1500" dirty="0" smtClean="0">
                <a:latin typeface="+mn-lt"/>
              </a:rPr>
              <a:t>В качестве обеспечения рассматриваются: залог долей проектной компании, залог имущества, поручительство владельца. </a:t>
            </a:r>
            <a:endParaRPr lang="ru-RU" sz="1500" dirty="0">
              <a:latin typeface="+mn-lt"/>
            </a:endParaRPr>
          </a:p>
        </p:txBody>
      </p:sp>
      <p:sp>
        <p:nvSpPr>
          <p:cNvPr id="37" name="Прямоугольник 36"/>
          <p:cNvSpPr/>
          <p:nvPr/>
        </p:nvSpPr>
        <p:spPr>
          <a:xfrm>
            <a:off x="282574" y="7016953"/>
            <a:ext cx="12036425" cy="553998"/>
          </a:xfrm>
          <a:prstGeom prst="rect">
            <a:avLst/>
          </a:prstGeom>
        </p:spPr>
        <p:txBody>
          <a:bodyPr wrap="square">
            <a:spAutoFit/>
          </a:bodyPr>
          <a:lstStyle/>
          <a:p>
            <a:pPr marL="285750" indent="-285750" algn="just">
              <a:buFont typeface="Wingdings" panose="05000000000000000000" pitchFamily="2" charset="2"/>
              <a:buChar char="§"/>
            </a:pPr>
            <a:r>
              <a:rPr lang="ru-RU" sz="1500" dirty="0" smtClean="0">
                <a:latin typeface="+mn-lt"/>
              </a:rPr>
              <a:t>Выход из проекта осуществляется путем погашения займа.</a:t>
            </a:r>
          </a:p>
          <a:p>
            <a:pPr marL="285750" indent="-285750" algn="just">
              <a:buFont typeface="Wingdings" panose="05000000000000000000" pitchFamily="2" charset="2"/>
              <a:buChar char="§"/>
            </a:pPr>
            <a:r>
              <a:rPr lang="ru-RU" sz="1500" dirty="0" smtClean="0">
                <a:latin typeface="+mn-lt"/>
              </a:rPr>
              <a:t>В качестве обеспечения рассматриваются: залог долей проектной компании, залог имущества, поручительство владельца. </a:t>
            </a:r>
            <a:endParaRPr lang="ru-RU" sz="1500" dirty="0">
              <a:latin typeface="+mn-lt"/>
            </a:endParaRPr>
          </a:p>
        </p:txBody>
      </p:sp>
    </p:spTree>
    <p:extLst>
      <p:ext uri="{BB962C8B-B14F-4D97-AF65-F5344CB8AC3E}">
        <p14:creationId xmlns:p14="http://schemas.microsoft.com/office/powerpoint/2010/main" val="13707897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1037843" y="237677"/>
            <a:ext cx="9720795" cy="1094847"/>
          </a:xfrm>
        </p:spPr>
        <p:txBody>
          <a:bodyPr/>
          <a:lstStyle/>
          <a:p>
            <a:pPr algn="ctr"/>
            <a:r>
              <a:rPr lang="ru-RU" dirty="0" smtClean="0"/>
              <a:t>Задачи, которые мы решили</a:t>
            </a:r>
            <a:endParaRPr lang="ru-RU" dirty="0"/>
          </a:p>
        </p:txBody>
      </p:sp>
      <p:sp>
        <p:nvSpPr>
          <p:cNvPr id="3" name="Номер слайда 2"/>
          <p:cNvSpPr>
            <a:spLocks noGrp="1"/>
          </p:cNvSpPr>
          <p:nvPr>
            <p:ph type="sldNum" sz="quarter" idx="12"/>
          </p:nvPr>
        </p:nvSpPr>
        <p:spPr/>
        <p:txBody>
          <a:bodyPr/>
          <a:lstStyle/>
          <a:p>
            <a:fld id="{F0C3E1D0-B99E-411B-BCE4-D3E6DB7EA499}" type="slidenum">
              <a:rPr lang="ru-RU" smtClean="0"/>
              <a:pPr/>
              <a:t>36</a:t>
            </a:fld>
            <a:endParaRPr lang="ru-RU" dirty="0"/>
          </a:p>
        </p:txBody>
      </p:sp>
      <p:sp>
        <p:nvSpPr>
          <p:cNvPr id="11" name="Текст 28"/>
          <p:cNvSpPr txBox="1">
            <a:spLocks/>
          </p:cNvSpPr>
          <p:nvPr/>
        </p:nvSpPr>
        <p:spPr>
          <a:xfrm>
            <a:off x="2308017" y="1984084"/>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dirty="0"/>
              <a:t>1</a:t>
            </a:r>
            <a:endParaRPr lang="ru-RU" sz="4536" dirty="0"/>
          </a:p>
        </p:txBody>
      </p:sp>
      <p:sp>
        <p:nvSpPr>
          <p:cNvPr id="12" name="Текст 28"/>
          <p:cNvSpPr txBox="1">
            <a:spLocks/>
          </p:cNvSpPr>
          <p:nvPr/>
        </p:nvSpPr>
        <p:spPr>
          <a:xfrm>
            <a:off x="2308017" y="3526439"/>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a:t>2</a:t>
            </a:r>
            <a:endParaRPr lang="ru-RU" sz="4536" dirty="0"/>
          </a:p>
        </p:txBody>
      </p:sp>
      <p:sp>
        <p:nvSpPr>
          <p:cNvPr id="13" name="Текст 28"/>
          <p:cNvSpPr txBox="1">
            <a:spLocks/>
          </p:cNvSpPr>
          <p:nvPr/>
        </p:nvSpPr>
        <p:spPr>
          <a:xfrm>
            <a:off x="2308017" y="5068794"/>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a:t>3</a:t>
            </a:r>
            <a:endParaRPr lang="ru-RU" sz="4536" dirty="0"/>
          </a:p>
        </p:txBody>
      </p:sp>
      <p:graphicFrame>
        <p:nvGraphicFramePr>
          <p:cNvPr id="4" name="Схема 3"/>
          <p:cNvGraphicFramePr/>
          <p:nvPr>
            <p:extLst/>
          </p:nvPr>
        </p:nvGraphicFramePr>
        <p:xfrm>
          <a:off x="947116" y="419131"/>
          <a:ext cx="9979942" cy="74395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165055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1037843" y="237677"/>
            <a:ext cx="9720795" cy="1094847"/>
          </a:xfrm>
        </p:spPr>
        <p:txBody>
          <a:bodyPr/>
          <a:lstStyle/>
          <a:p>
            <a:pPr algn="ctr"/>
            <a:r>
              <a:rPr lang="ru-RU" dirty="0"/>
              <a:t>Пилотная сделка </a:t>
            </a:r>
            <a:r>
              <a:rPr lang="ru-RU" dirty="0" err="1"/>
              <a:t>мультиоригинаторной</a:t>
            </a:r>
            <a:r>
              <a:rPr lang="ru-RU" dirty="0"/>
              <a:t> </a:t>
            </a:r>
            <a:r>
              <a:rPr lang="ru-RU" dirty="0" err="1" smtClean="0"/>
              <a:t>секьюритизации</a:t>
            </a:r>
            <a:r>
              <a:rPr lang="ru-RU" dirty="0" smtClean="0"/>
              <a:t> кредитов </a:t>
            </a:r>
            <a:r>
              <a:rPr lang="ru-RU" dirty="0"/>
              <a:t>субъектам МСП</a:t>
            </a:r>
          </a:p>
        </p:txBody>
      </p:sp>
      <p:sp>
        <p:nvSpPr>
          <p:cNvPr id="3" name="Номер слайда 2"/>
          <p:cNvSpPr>
            <a:spLocks noGrp="1"/>
          </p:cNvSpPr>
          <p:nvPr>
            <p:ph type="sldNum" sz="quarter" idx="12"/>
          </p:nvPr>
        </p:nvSpPr>
        <p:spPr/>
        <p:txBody>
          <a:bodyPr/>
          <a:lstStyle/>
          <a:p>
            <a:fld id="{F0C3E1D0-B99E-411B-BCE4-D3E6DB7EA499}" type="slidenum">
              <a:rPr lang="ru-RU" smtClean="0"/>
              <a:pPr/>
              <a:t>37</a:t>
            </a:fld>
            <a:endParaRPr lang="ru-RU" dirty="0"/>
          </a:p>
        </p:txBody>
      </p:sp>
      <p:sp>
        <p:nvSpPr>
          <p:cNvPr id="11" name="Текст 28"/>
          <p:cNvSpPr txBox="1">
            <a:spLocks/>
          </p:cNvSpPr>
          <p:nvPr/>
        </p:nvSpPr>
        <p:spPr>
          <a:xfrm>
            <a:off x="2308017" y="1984084"/>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dirty="0"/>
              <a:t>1</a:t>
            </a:r>
            <a:endParaRPr lang="ru-RU" sz="4536" dirty="0"/>
          </a:p>
        </p:txBody>
      </p:sp>
      <p:sp>
        <p:nvSpPr>
          <p:cNvPr id="12" name="Текст 28"/>
          <p:cNvSpPr txBox="1">
            <a:spLocks/>
          </p:cNvSpPr>
          <p:nvPr/>
        </p:nvSpPr>
        <p:spPr>
          <a:xfrm>
            <a:off x="2308017" y="3526439"/>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a:t>2</a:t>
            </a:r>
            <a:endParaRPr lang="ru-RU" sz="4536" dirty="0"/>
          </a:p>
        </p:txBody>
      </p:sp>
      <p:sp>
        <p:nvSpPr>
          <p:cNvPr id="13" name="Текст 28"/>
          <p:cNvSpPr txBox="1">
            <a:spLocks/>
          </p:cNvSpPr>
          <p:nvPr/>
        </p:nvSpPr>
        <p:spPr>
          <a:xfrm>
            <a:off x="2308017" y="5068794"/>
            <a:ext cx="634243" cy="634462"/>
          </a:xfrm>
          <a:prstGeom prst="rect">
            <a:avLst/>
          </a:prstGeom>
        </p:spPr>
        <p:txBody>
          <a:bodyPr>
            <a:noAutofit/>
          </a:bodyPr>
          <a:lstStyle>
            <a:lvl1pPr marL="0" indent="0" algn="r" defTabSz="914400" rtl="0" eaLnBrk="1" latinLnBrk="0" hangingPunct="1">
              <a:spcBef>
                <a:spcPct val="20000"/>
              </a:spcBef>
              <a:buClrTx/>
              <a:buSzPct val="80000"/>
              <a:buFont typeface="Arial" pitchFamily="34" charset="0"/>
              <a:buNone/>
              <a:defRPr sz="3600" b="1"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ClrTx/>
              <a:buSzPct val="80000"/>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400" kern="1200">
                <a:solidFill>
                  <a:schemeClr val="tx1">
                    <a:lumMod val="75000"/>
                    <a:lumOff val="25000"/>
                  </a:schemeClr>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gt;"/>
              <a:defRPr sz="1400" kern="1200">
                <a:solidFill>
                  <a:schemeClr val="tx1">
                    <a:lumMod val="75000"/>
                    <a:lumOff val="25000"/>
                  </a:schemeClr>
                </a:solidFill>
                <a:latin typeface="Arial" pitchFamily="34" charset="0"/>
                <a:ea typeface="+mn-ea"/>
                <a:cs typeface="Arial" pitchFamily="34" charset="0"/>
              </a:defRPr>
            </a:lvl4pPr>
            <a:lvl5pPr marL="2057400" indent="-228600" algn="l" defTabSz="914400" rtl="0" eaLnBrk="1" latinLnBrk="0" hangingPunct="1">
              <a:spcBef>
                <a:spcPct val="20000"/>
              </a:spcBef>
              <a:buFont typeface="Wingdings" pitchFamily="2" charset="2"/>
              <a:buChar char="§"/>
              <a:defRPr sz="1400" kern="1200">
                <a:solidFill>
                  <a:schemeClr val="tx1">
                    <a:lumMod val="75000"/>
                    <a:lumOff val="25000"/>
                  </a:schemeClr>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ru-RU" sz="4536"/>
              <a:t>3</a:t>
            </a:r>
            <a:endParaRPr lang="ru-RU" sz="4536" dirty="0"/>
          </a:p>
        </p:txBody>
      </p:sp>
      <p:sp>
        <p:nvSpPr>
          <p:cNvPr id="17" name="Объект 3"/>
          <p:cNvSpPr txBox="1">
            <a:spLocks/>
          </p:cNvSpPr>
          <p:nvPr/>
        </p:nvSpPr>
        <p:spPr>
          <a:xfrm>
            <a:off x="1128569" y="5499829"/>
            <a:ext cx="9344855" cy="3084709"/>
          </a:xfrm>
          <a:prstGeom prst="rect">
            <a:avLst/>
          </a:prstGeom>
          <a:solidFill>
            <a:srgbClr val="FFFFFF"/>
          </a:solidFill>
        </p:spPr>
        <p:txBody>
          <a:bodyPr vert="horz" lIns="45358" tIns="0" rIns="0" bIns="0" rtlCol="0">
            <a:noAutofit/>
          </a:bodyPr>
          <a:lstStyle>
            <a:lvl1pPr marL="402258" indent="-402258" algn="l" defTabSz="1072689"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1pPr>
            <a:lvl2pPr marL="871559" indent="-335215" algn="l" defTabSz="1072689" rtl="0" eaLnBrk="1" latinLnBrk="0" hangingPunct="1">
              <a:spcBef>
                <a:spcPct val="20000"/>
              </a:spcBef>
              <a:buFont typeface="Arial" panose="020B0604020202020204" pitchFamily="34" charset="0"/>
              <a:buChar char="–"/>
              <a:defRPr sz="3300" kern="1200">
                <a:solidFill>
                  <a:schemeClr val="tx1"/>
                </a:solidFill>
                <a:latin typeface="+mn-lt"/>
                <a:ea typeface="+mn-ea"/>
                <a:cs typeface="+mn-cs"/>
              </a:defRPr>
            </a:lvl2pPr>
            <a:lvl3pPr marL="1340861" indent="-268172" algn="l" defTabSz="1072689"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1877205"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4pPr>
            <a:lvl5pPr marL="2413550"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5pPr>
            <a:lvl6pPr marL="2949894"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486239"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022583"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558927" indent="-268172" algn="l" defTabSz="1072689"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230029" indent="-230029">
              <a:spcBef>
                <a:spcPts val="756"/>
              </a:spcBef>
              <a:buClr>
                <a:srgbClr val="0070C0"/>
              </a:buClr>
              <a:buFont typeface="Wingdings" pitchFamily="2" charset="2"/>
              <a:buChar char="§"/>
            </a:pPr>
            <a:r>
              <a:rPr lang="ru-RU" sz="1512" dirty="0">
                <a:solidFill>
                  <a:schemeClr val="tx2">
                    <a:lumMod val="75000"/>
                  </a:schemeClr>
                </a:solidFill>
              </a:rPr>
              <a:t>Кредиты в </a:t>
            </a:r>
            <a:r>
              <a:rPr lang="ru-RU" sz="1512" dirty="0" err="1">
                <a:solidFill>
                  <a:schemeClr val="tx2">
                    <a:lumMod val="75000"/>
                  </a:schemeClr>
                </a:solidFill>
              </a:rPr>
              <a:t>секьюритизированном</a:t>
            </a:r>
            <a:r>
              <a:rPr lang="ru-RU" sz="1512" dirty="0">
                <a:solidFill>
                  <a:schemeClr val="tx2">
                    <a:lumMod val="75000"/>
                  </a:schemeClr>
                </a:solidFill>
              </a:rPr>
              <a:t> портфеле выданы тремя банками: АО «МСП Банк», АО «</a:t>
            </a:r>
            <a:r>
              <a:rPr lang="ru-RU" sz="1512" dirty="0" err="1">
                <a:solidFill>
                  <a:schemeClr val="tx2">
                    <a:lumMod val="75000"/>
                  </a:schemeClr>
                </a:solidFill>
              </a:rPr>
              <a:t>Солид</a:t>
            </a:r>
            <a:r>
              <a:rPr lang="ru-RU" sz="1512" dirty="0">
                <a:solidFill>
                  <a:schemeClr val="tx2">
                    <a:lumMod val="75000"/>
                  </a:schemeClr>
                </a:solidFill>
              </a:rPr>
              <a:t> Банк» </a:t>
            </a:r>
            <a:r>
              <a:rPr lang="ru-RU" sz="1512" dirty="0">
                <a:solidFill>
                  <a:schemeClr val="tx2">
                    <a:lumMod val="75000"/>
                  </a:schemeClr>
                </a:solidFill>
              </a:rPr>
              <a:t>и АО КБ «</a:t>
            </a:r>
            <a:r>
              <a:rPr lang="ru-RU" sz="1512" dirty="0" err="1">
                <a:solidFill>
                  <a:schemeClr val="tx2">
                    <a:lumMod val="75000"/>
                  </a:schemeClr>
                </a:solidFill>
              </a:rPr>
              <a:t>ФорБанк</a:t>
            </a:r>
            <a:r>
              <a:rPr lang="ru-RU" sz="1512" dirty="0">
                <a:solidFill>
                  <a:schemeClr val="tx2">
                    <a:lumMod val="75000"/>
                  </a:schemeClr>
                </a:solidFill>
              </a:rPr>
              <a:t>».</a:t>
            </a:r>
            <a:endParaRPr lang="ru-RU" sz="1512" dirty="0">
              <a:solidFill>
                <a:schemeClr val="tx2">
                  <a:lumMod val="75000"/>
                </a:schemeClr>
              </a:solidFill>
            </a:endParaRPr>
          </a:p>
          <a:p>
            <a:pPr marL="230029" indent="-230029">
              <a:spcBef>
                <a:spcPts val="756"/>
              </a:spcBef>
              <a:buClr>
                <a:srgbClr val="0070C0"/>
              </a:buClr>
              <a:buFont typeface="Wingdings" pitchFamily="2" charset="2"/>
              <a:buChar char="§"/>
            </a:pPr>
            <a:r>
              <a:rPr lang="ru-RU" sz="1512" dirty="0">
                <a:solidFill>
                  <a:schemeClr val="tx2">
                    <a:lumMod val="75000"/>
                  </a:schemeClr>
                </a:solidFill>
              </a:rPr>
              <a:t>Объединение портфеля проведено на балансе АО «МСП Банк» путем покупки </a:t>
            </a:r>
            <a:r>
              <a:rPr lang="ru-RU" sz="1512" dirty="0">
                <a:solidFill>
                  <a:schemeClr val="tx2">
                    <a:lumMod val="75000"/>
                  </a:schemeClr>
                </a:solidFill>
              </a:rPr>
              <a:t>кредитов </a:t>
            </a:r>
            <a:r>
              <a:rPr lang="ru-RU" sz="1512" dirty="0">
                <a:solidFill>
                  <a:schemeClr val="tx2">
                    <a:lumMod val="75000"/>
                  </a:schemeClr>
                </a:solidFill>
              </a:rPr>
              <a:t>у АО «</a:t>
            </a:r>
            <a:r>
              <a:rPr lang="ru-RU" sz="1512" dirty="0" err="1">
                <a:solidFill>
                  <a:schemeClr val="tx2">
                    <a:lumMod val="75000"/>
                  </a:schemeClr>
                </a:solidFill>
              </a:rPr>
              <a:t>Солид</a:t>
            </a:r>
            <a:r>
              <a:rPr lang="ru-RU" sz="1512" dirty="0">
                <a:solidFill>
                  <a:schemeClr val="tx2">
                    <a:lumMod val="75000"/>
                  </a:schemeClr>
                </a:solidFill>
              </a:rPr>
              <a:t> </a:t>
            </a:r>
            <a:r>
              <a:rPr lang="ru-RU" sz="1512" dirty="0">
                <a:solidFill>
                  <a:schemeClr val="tx2">
                    <a:lumMod val="75000"/>
                  </a:schemeClr>
                </a:solidFill>
              </a:rPr>
              <a:t>Банк» и АО КБ «</a:t>
            </a:r>
            <a:r>
              <a:rPr lang="ru-RU" sz="1512" dirty="0" err="1">
                <a:solidFill>
                  <a:schemeClr val="tx2">
                    <a:lumMod val="75000"/>
                  </a:schemeClr>
                </a:solidFill>
              </a:rPr>
              <a:t>ФорБанк</a:t>
            </a:r>
            <a:r>
              <a:rPr lang="ru-RU" sz="1512" dirty="0">
                <a:solidFill>
                  <a:schemeClr val="tx2">
                    <a:lumMod val="75000"/>
                  </a:schemeClr>
                </a:solidFill>
              </a:rPr>
              <a:t>».</a:t>
            </a:r>
          </a:p>
          <a:p>
            <a:pPr marL="230029" indent="-230029">
              <a:spcBef>
                <a:spcPts val="756"/>
              </a:spcBef>
              <a:buClr>
                <a:srgbClr val="0070C0"/>
              </a:buClr>
              <a:buFont typeface="Wingdings" pitchFamily="2" charset="2"/>
              <a:buChar char="§"/>
            </a:pPr>
            <a:r>
              <a:rPr lang="ru-RU" sz="1512" dirty="0">
                <a:solidFill>
                  <a:schemeClr val="tx2">
                    <a:lumMod val="75000"/>
                  </a:schemeClr>
                </a:solidFill>
              </a:rPr>
              <a:t>Объединенный портфель передан СФО с баланса АО «МСП Банк».</a:t>
            </a:r>
            <a:endParaRPr lang="ru-RU" sz="1512" dirty="0">
              <a:solidFill>
                <a:schemeClr val="tx2">
                  <a:lumMod val="75000"/>
                </a:schemeClr>
              </a:solidFill>
            </a:endParaRPr>
          </a:p>
          <a:p>
            <a:pPr marL="230029" indent="-230029">
              <a:spcBef>
                <a:spcPts val="756"/>
              </a:spcBef>
              <a:buClr>
                <a:srgbClr val="0070C0"/>
              </a:buClr>
              <a:buFont typeface="Wingdings" pitchFamily="2" charset="2"/>
              <a:buChar char="§"/>
            </a:pPr>
            <a:r>
              <a:rPr lang="ru-RU" sz="1512" dirty="0">
                <a:solidFill>
                  <a:schemeClr val="tx2">
                    <a:lumMod val="75000"/>
                  </a:schemeClr>
                </a:solidFill>
              </a:rPr>
              <a:t>Впервые получено поручительство АО «Корпорация МСП» по облигациям, обеспеченным кредитами субъектам МСП.</a:t>
            </a:r>
            <a:endParaRPr lang="en-US" sz="1512" dirty="0">
              <a:solidFill>
                <a:schemeClr val="tx2">
                  <a:lumMod val="75000"/>
                </a:schemeClr>
              </a:solidFill>
            </a:endParaRPr>
          </a:p>
          <a:p>
            <a:pPr marL="230029" indent="-230029">
              <a:spcBef>
                <a:spcPts val="756"/>
              </a:spcBef>
              <a:buClr>
                <a:srgbClr val="0070C0"/>
              </a:buClr>
              <a:buFont typeface="Wingdings" pitchFamily="2" charset="2"/>
              <a:buChar char="§"/>
            </a:pPr>
            <a:r>
              <a:rPr lang="ru-RU" sz="1512" dirty="0">
                <a:solidFill>
                  <a:schemeClr val="tx2">
                    <a:lumMod val="75000"/>
                  </a:schemeClr>
                </a:solidFill>
              </a:rPr>
              <a:t>Ставка купона составила </a:t>
            </a:r>
            <a:r>
              <a:rPr lang="ru-RU" sz="1512" dirty="0">
                <a:solidFill>
                  <a:schemeClr val="tx2">
                    <a:lumMod val="75000"/>
                  </a:schemeClr>
                </a:solidFill>
              </a:rPr>
              <a:t>9,1%.</a:t>
            </a:r>
          </a:p>
          <a:p>
            <a:pPr marL="230029" indent="-230029">
              <a:spcBef>
                <a:spcPts val="756"/>
              </a:spcBef>
              <a:buClr>
                <a:srgbClr val="0070C0"/>
              </a:buClr>
              <a:buFont typeface="Wingdings" pitchFamily="2" charset="2"/>
              <a:buChar char="§"/>
            </a:pPr>
            <a:r>
              <a:rPr lang="ru-RU" sz="1512" dirty="0">
                <a:solidFill>
                  <a:schemeClr val="tx2">
                    <a:lumMod val="75000"/>
                  </a:schemeClr>
                </a:solidFill>
              </a:rPr>
              <a:t>Подписаны соглашения о намерениях по реализации сделок </a:t>
            </a:r>
            <a:r>
              <a:rPr lang="ru-RU" sz="1512" dirty="0" err="1">
                <a:solidFill>
                  <a:schemeClr val="tx2">
                    <a:lumMod val="75000"/>
                  </a:schemeClr>
                </a:solidFill>
              </a:rPr>
              <a:t>секьюритизации</a:t>
            </a:r>
            <a:r>
              <a:rPr lang="ru-RU" sz="1512" dirty="0">
                <a:solidFill>
                  <a:schemeClr val="tx2">
                    <a:lumMod val="75000"/>
                  </a:schemeClr>
                </a:solidFill>
              </a:rPr>
              <a:t> с ПАО «Московский     Кредитный Банк», КБ «ЛОКО-Банк», АО «</a:t>
            </a:r>
            <a:r>
              <a:rPr lang="ru-RU" sz="1512" dirty="0" err="1">
                <a:solidFill>
                  <a:schemeClr val="tx2">
                    <a:lumMod val="75000"/>
                  </a:schemeClr>
                </a:solidFill>
              </a:rPr>
              <a:t>Автоградбанк</a:t>
            </a:r>
            <a:r>
              <a:rPr lang="ru-RU" sz="1512" dirty="0">
                <a:solidFill>
                  <a:schemeClr val="tx2">
                    <a:lumMod val="75000"/>
                  </a:schemeClr>
                </a:solidFill>
              </a:rPr>
              <a:t>», ПАО «</a:t>
            </a:r>
            <a:r>
              <a:rPr lang="ru-RU" sz="1512" dirty="0" err="1">
                <a:solidFill>
                  <a:schemeClr val="tx2">
                    <a:lumMod val="75000"/>
                  </a:schemeClr>
                </a:solidFill>
              </a:rPr>
              <a:t>Энергомашбанк</a:t>
            </a:r>
            <a:r>
              <a:rPr lang="ru-RU" sz="1512" dirty="0">
                <a:solidFill>
                  <a:schemeClr val="tx2">
                    <a:lumMod val="75000"/>
                  </a:schemeClr>
                </a:solidFill>
              </a:rPr>
              <a:t>» и АКБ «МФК».</a:t>
            </a:r>
          </a:p>
          <a:p>
            <a:pPr marL="230029" indent="-230029">
              <a:spcBef>
                <a:spcPts val="756"/>
              </a:spcBef>
              <a:buClr>
                <a:srgbClr val="0070C0"/>
              </a:buClr>
              <a:buFont typeface="Wingdings" pitchFamily="2" charset="2"/>
              <a:buChar char="§"/>
            </a:pPr>
            <a:endParaRPr lang="ru-RU" sz="1512" dirty="0">
              <a:solidFill>
                <a:schemeClr val="tx2">
                  <a:lumMod val="75000"/>
                </a:schemeClr>
              </a:solidFill>
            </a:endParaRPr>
          </a:p>
        </p:txBody>
      </p:sp>
      <p:grpSp>
        <p:nvGrpSpPr>
          <p:cNvPr id="18" name="Группа 17"/>
          <p:cNvGrpSpPr/>
          <p:nvPr/>
        </p:nvGrpSpPr>
        <p:grpSpPr>
          <a:xfrm>
            <a:off x="961840" y="1326398"/>
            <a:ext cx="10771730" cy="4082704"/>
            <a:chOff x="335214" y="1196752"/>
            <a:chExt cx="8549306" cy="3240360"/>
          </a:xfrm>
        </p:grpSpPr>
        <p:sp>
          <p:nvSpPr>
            <p:cNvPr id="19" name="Rectangle 58"/>
            <p:cNvSpPr>
              <a:spLocks noChangeArrowheads="1"/>
            </p:cNvSpPr>
            <p:nvPr/>
          </p:nvSpPr>
          <p:spPr bwMode="auto">
            <a:xfrm>
              <a:off x="5004048" y="2276872"/>
              <a:ext cx="1728193" cy="1296144"/>
            </a:xfrm>
            <a:prstGeom prst="rect">
              <a:avLst/>
            </a:prstGeom>
            <a:solidFill>
              <a:srgbClr val="0072BC"/>
            </a:solidFill>
            <a:ln>
              <a:headEnd/>
              <a:tailEnd/>
            </a:ln>
          </p:spPr>
          <p:style>
            <a:lnRef idx="0">
              <a:schemeClr val="accent3"/>
            </a:lnRef>
            <a:fillRef idx="3">
              <a:schemeClr val="accent3"/>
            </a:fillRef>
            <a:effectRef idx="3">
              <a:schemeClr val="accent3"/>
            </a:effectRef>
            <a:fontRef idx="minor">
              <a:schemeClr val="lt1"/>
            </a:fontRef>
          </p:style>
          <p:txBody>
            <a:bodyPr lIns="0" tIns="0" rIns="0" bIns="0" anchor="ct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2520" b="1" kern="0" dirty="0">
                  <a:solidFill>
                    <a:schemeClr val="bg1"/>
                  </a:solidFill>
                  <a:latin typeface="Calibri" pitchFamily="34" charset="0"/>
                </a:rPr>
                <a:t>Старший</a:t>
              </a:r>
            </a:p>
            <a:p>
              <a:pPr algn="ctr" defTabSz="1152144" eaLnBrk="1" fontAlgn="auto" hangingPunct="1">
                <a:spcBef>
                  <a:spcPts val="0"/>
                </a:spcBef>
                <a:spcAft>
                  <a:spcPts val="0"/>
                </a:spcAft>
                <a:defRPr/>
              </a:pPr>
              <a:r>
                <a:rPr lang="ru-RU" altLang="ru-RU" sz="2520" b="1" kern="0" dirty="0">
                  <a:solidFill>
                    <a:schemeClr val="bg1"/>
                  </a:solidFill>
                  <a:latin typeface="Calibri" pitchFamily="34" charset="0"/>
                </a:rPr>
                <a:t> транш </a:t>
              </a:r>
            </a:p>
            <a:p>
              <a:pPr algn="ctr" defTabSz="1152144" eaLnBrk="1" fontAlgn="auto" hangingPunct="1">
                <a:spcBef>
                  <a:spcPts val="0"/>
                </a:spcBef>
                <a:spcAft>
                  <a:spcPts val="0"/>
                </a:spcAft>
                <a:defRPr/>
              </a:pPr>
              <a:r>
                <a:rPr lang="ru-RU" altLang="ru-RU" sz="2268" b="1" kern="0" dirty="0">
                  <a:solidFill>
                    <a:schemeClr val="bg1"/>
                  </a:solidFill>
                  <a:latin typeface="Calibri" pitchFamily="34" charset="0"/>
                </a:rPr>
                <a:t>7</a:t>
              </a:r>
              <a:r>
                <a:rPr lang="en-US" altLang="ru-RU" sz="2268" b="1" kern="0" dirty="0">
                  <a:solidFill>
                    <a:schemeClr val="bg1"/>
                  </a:solidFill>
                  <a:latin typeface="Calibri" pitchFamily="34" charset="0"/>
                </a:rPr>
                <a:t> </a:t>
              </a:r>
              <a:r>
                <a:rPr lang="ru-RU" altLang="ru-RU" sz="2268" b="1" kern="0" dirty="0">
                  <a:solidFill>
                    <a:schemeClr val="bg1"/>
                  </a:solidFill>
                  <a:latin typeface="Calibri" pitchFamily="34" charset="0"/>
                </a:rPr>
                <a:t>млрд. рублей</a:t>
              </a:r>
            </a:p>
          </p:txBody>
        </p:sp>
        <p:sp>
          <p:nvSpPr>
            <p:cNvPr id="20" name="Rectangle 14"/>
            <p:cNvSpPr>
              <a:spLocks noChangeArrowheads="1"/>
            </p:cNvSpPr>
            <p:nvPr/>
          </p:nvSpPr>
          <p:spPr bwMode="auto">
            <a:xfrm>
              <a:off x="539552" y="1268760"/>
              <a:ext cx="1368152" cy="767508"/>
            </a:xfrm>
            <a:prstGeom prst="rect">
              <a:avLst/>
            </a:prstGeom>
            <a:gradFill>
              <a:gsLst>
                <a:gs pos="0">
                  <a:schemeClr val="accent3">
                    <a:lumMod val="75000"/>
                  </a:schemeClr>
                </a:gs>
                <a:gs pos="55000">
                  <a:schemeClr val="accent3">
                    <a:lumMod val="75000"/>
                  </a:schemeClr>
                </a:gs>
                <a:gs pos="100000">
                  <a:schemeClr val="accent3">
                    <a:lumMod val="60000"/>
                    <a:lumOff val="40000"/>
                  </a:schemeClr>
                </a:gs>
              </a:gsLst>
            </a:gradFill>
            <a:ln>
              <a:headEnd/>
              <a:tailEnd/>
            </a:ln>
          </p:spPr>
          <p:style>
            <a:lnRef idx="0">
              <a:schemeClr val="accent1"/>
            </a:lnRef>
            <a:fillRef idx="3">
              <a:schemeClr val="accent1"/>
            </a:fillRef>
            <a:effectRef idx="3">
              <a:schemeClr val="accent1"/>
            </a:effectRef>
            <a:fontRef idx="minor">
              <a:schemeClr val="lt1"/>
            </a:fontRef>
          </p:style>
          <p:txBody>
            <a:bodyPr tIns="149683" anchor="ct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2268" b="1" kern="0" dirty="0" err="1">
                  <a:solidFill>
                    <a:schemeClr val="bg1"/>
                  </a:solidFill>
                </a:rPr>
                <a:t>Солид</a:t>
              </a:r>
              <a:r>
                <a:rPr lang="ru-RU" altLang="ru-RU" sz="2268" b="1" kern="0" dirty="0">
                  <a:solidFill>
                    <a:schemeClr val="bg1"/>
                  </a:solidFill>
                </a:rPr>
                <a:t> Банк</a:t>
              </a:r>
            </a:p>
          </p:txBody>
        </p:sp>
        <p:sp>
          <p:nvSpPr>
            <p:cNvPr id="21" name="Text Box 47"/>
            <p:cNvSpPr txBox="1">
              <a:spLocks noChangeArrowheads="1"/>
            </p:cNvSpPr>
            <p:nvPr/>
          </p:nvSpPr>
          <p:spPr bwMode="auto">
            <a:xfrm>
              <a:off x="395536" y="3342846"/>
              <a:ext cx="984740" cy="3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1386" i="1" kern="0" dirty="0">
                  <a:solidFill>
                    <a:srgbClr val="000000"/>
                  </a:solidFill>
                </a:rPr>
                <a:t>Продажа кредитов</a:t>
              </a:r>
              <a:endParaRPr lang="ru-RU" altLang="ru-RU" sz="1386" kern="0" dirty="0">
                <a:solidFill>
                  <a:srgbClr val="000000"/>
                </a:solidFill>
              </a:endParaRPr>
            </a:p>
          </p:txBody>
        </p:sp>
        <p:sp>
          <p:nvSpPr>
            <p:cNvPr id="22" name="Rectangle 59"/>
            <p:cNvSpPr>
              <a:spLocks noChangeArrowheads="1"/>
            </p:cNvSpPr>
            <p:nvPr/>
          </p:nvSpPr>
          <p:spPr bwMode="auto">
            <a:xfrm>
              <a:off x="467544" y="2492896"/>
              <a:ext cx="1525838" cy="720156"/>
            </a:xfrm>
            <a:prstGeom prst="rect">
              <a:avLst/>
            </a:prstGeom>
            <a:solidFill>
              <a:schemeClr val="accent6">
                <a:lumMod val="60000"/>
                <a:lumOff val="40000"/>
              </a:schemeClr>
            </a:solidFill>
            <a:ln>
              <a:headEnd/>
              <a:tailEnd/>
            </a:ln>
          </p:spPr>
          <p:style>
            <a:lnRef idx="0">
              <a:schemeClr val="accent6"/>
            </a:lnRef>
            <a:fillRef idx="3">
              <a:schemeClr val="accent6"/>
            </a:fillRef>
            <a:effectRef idx="3">
              <a:schemeClr val="accent6"/>
            </a:effectRef>
            <a:fontRef idx="minor">
              <a:schemeClr val="lt1"/>
            </a:fontRef>
          </p:style>
          <p:txBody>
            <a:bodyPr lIns="0" tIns="0" rIns="0" bIns="0" anchor="ctr"/>
            <a:lstStyle/>
            <a:p>
              <a:pPr algn="ctr" defTabSz="1152144" fontAlgn="auto">
                <a:spcBef>
                  <a:spcPts val="0"/>
                </a:spcBef>
                <a:spcAft>
                  <a:spcPts val="0"/>
                </a:spcAft>
                <a:defRPr/>
              </a:pPr>
              <a:r>
                <a:rPr lang="ru-RU" sz="2520" b="1" kern="0" dirty="0">
                  <a:solidFill>
                    <a:srgbClr val="000000"/>
                  </a:solidFill>
                  <a:latin typeface="Calibri" pitchFamily="34" charset="0"/>
                </a:rPr>
                <a:t>МСП Банк</a:t>
              </a:r>
              <a:endParaRPr lang="ru-RU" sz="2520" b="1" kern="0" dirty="0">
                <a:solidFill>
                  <a:srgbClr val="000000"/>
                </a:solidFill>
                <a:latin typeface="Calibri" pitchFamily="34" charset="0"/>
              </a:endParaRPr>
            </a:p>
          </p:txBody>
        </p:sp>
        <p:sp>
          <p:nvSpPr>
            <p:cNvPr id="23" name="Rectangle 7"/>
            <p:cNvSpPr>
              <a:spLocks noChangeArrowheads="1"/>
            </p:cNvSpPr>
            <p:nvPr/>
          </p:nvSpPr>
          <p:spPr bwMode="auto">
            <a:xfrm>
              <a:off x="2758130" y="2420889"/>
              <a:ext cx="1525838" cy="937789"/>
            </a:xfrm>
            <a:prstGeom prst="rect">
              <a:avLst/>
            </a:prstGeom>
            <a:solidFill>
              <a:schemeClr val="accent6">
                <a:lumMod val="75000"/>
              </a:schemeClr>
            </a:solidFill>
            <a:ln>
              <a:headEnd/>
              <a:tailEnd/>
            </a:ln>
          </p:spPr>
          <p:style>
            <a:lnRef idx="0">
              <a:schemeClr val="accent4"/>
            </a:lnRef>
            <a:fillRef idx="3">
              <a:schemeClr val="accent4"/>
            </a:fillRef>
            <a:effectRef idx="3">
              <a:schemeClr val="accent4"/>
            </a:effectRef>
            <a:fontRef idx="minor">
              <a:schemeClr val="lt1"/>
            </a:fontRef>
          </p:style>
          <p:txBody>
            <a:bodyPr anchor="ct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1260"/>
                </a:spcAft>
                <a:defRPr/>
              </a:pPr>
              <a:endParaRPr lang="en-US" altLang="ru-RU" sz="2016" b="1" kern="0" dirty="0">
                <a:solidFill>
                  <a:srgbClr val="000000"/>
                </a:solidFill>
                <a:latin typeface="Times New Roman" pitchFamily="18" charset="0"/>
              </a:endParaRPr>
            </a:p>
            <a:p>
              <a:pPr algn="ctr" defTabSz="1152144" eaLnBrk="1" fontAlgn="auto" hangingPunct="1">
                <a:spcBef>
                  <a:spcPts val="0"/>
                </a:spcBef>
                <a:spcAft>
                  <a:spcPts val="1260"/>
                </a:spcAft>
                <a:defRPr/>
              </a:pPr>
              <a:r>
                <a:rPr lang="ru-RU" altLang="ru-RU" sz="2016" b="1" kern="0" dirty="0">
                  <a:solidFill>
                    <a:schemeClr val="bg1"/>
                  </a:solidFill>
                  <a:latin typeface="Arial Black" panose="020B0A04020102020204" pitchFamily="34" charset="0"/>
                </a:rPr>
                <a:t>СФО </a:t>
              </a:r>
            </a:p>
            <a:p>
              <a:pPr algn="ctr" defTabSz="1152144" eaLnBrk="1" fontAlgn="auto" hangingPunct="1">
                <a:spcBef>
                  <a:spcPts val="0"/>
                </a:spcBef>
                <a:spcAft>
                  <a:spcPts val="1260"/>
                </a:spcAft>
                <a:defRPr/>
              </a:pPr>
              <a:r>
                <a:rPr lang="ru-RU" altLang="ru-RU" sz="1512" b="1" kern="0" dirty="0">
                  <a:solidFill>
                    <a:schemeClr val="bg1"/>
                  </a:solidFill>
                  <a:latin typeface="Arial Black" panose="020B0A04020102020204" pitchFamily="34" charset="0"/>
                </a:rPr>
                <a:t>МОС МСП 1</a:t>
              </a:r>
              <a:endParaRPr lang="ru-RU" altLang="ru-RU" sz="1512" b="1" kern="0" dirty="0">
                <a:solidFill>
                  <a:schemeClr val="bg1"/>
                </a:solidFill>
                <a:latin typeface="Arial Black" panose="020B0A04020102020204" pitchFamily="34" charset="0"/>
              </a:endParaRPr>
            </a:p>
            <a:p>
              <a:pPr algn="ctr" defTabSz="1152144" eaLnBrk="1" fontAlgn="auto" hangingPunct="1">
                <a:spcBef>
                  <a:spcPts val="0"/>
                </a:spcBef>
                <a:spcAft>
                  <a:spcPts val="1260"/>
                </a:spcAft>
                <a:defRPr/>
              </a:pPr>
              <a:endParaRPr lang="ru-RU" altLang="ru-RU" sz="2016" b="1" kern="0" dirty="0">
                <a:solidFill>
                  <a:srgbClr val="000000"/>
                </a:solidFill>
                <a:latin typeface="Times New Roman" pitchFamily="18" charset="0"/>
              </a:endParaRPr>
            </a:p>
          </p:txBody>
        </p:sp>
        <p:sp>
          <p:nvSpPr>
            <p:cNvPr id="24" name="Line 18"/>
            <p:cNvSpPr>
              <a:spLocks noChangeShapeType="1"/>
            </p:cNvSpPr>
            <p:nvPr/>
          </p:nvSpPr>
          <p:spPr bwMode="auto">
            <a:xfrm>
              <a:off x="6752582" y="2924944"/>
              <a:ext cx="549890" cy="0"/>
            </a:xfrm>
            <a:prstGeom prst="line">
              <a:avLst/>
            </a:prstGeom>
            <a:ln w="25400">
              <a:tailEnd type="stealth" w="lg" len="lg"/>
            </a:ln>
            <a:extLst/>
          </p:spPr>
          <p:style>
            <a:lnRef idx="1">
              <a:schemeClr val="accent1"/>
            </a:lnRef>
            <a:fillRef idx="0">
              <a:schemeClr val="accent1"/>
            </a:fillRef>
            <a:effectRef idx="0">
              <a:schemeClr val="accent1"/>
            </a:effectRef>
            <a:fontRef idx="minor">
              <a:schemeClr val="tx1"/>
            </a:fontRef>
          </p:style>
          <p:txBody>
            <a:bodyPr/>
            <a:lstStyle/>
            <a:p>
              <a:pPr defTabSz="1152144" fontAlgn="auto">
                <a:spcBef>
                  <a:spcPts val="0"/>
                </a:spcBef>
                <a:spcAft>
                  <a:spcPts val="0"/>
                </a:spcAft>
                <a:defRPr/>
              </a:pPr>
              <a:endParaRPr lang="ru-RU" sz="2268" kern="0">
                <a:solidFill>
                  <a:srgbClr val="000000"/>
                </a:solidFill>
                <a:latin typeface="Arial" charset="0"/>
              </a:endParaRPr>
            </a:p>
          </p:txBody>
        </p:sp>
        <p:sp>
          <p:nvSpPr>
            <p:cNvPr id="25" name="Text Box 47"/>
            <p:cNvSpPr txBox="1">
              <a:spLocks noChangeArrowheads="1"/>
            </p:cNvSpPr>
            <p:nvPr/>
          </p:nvSpPr>
          <p:spPr bwMode="auto">
            <a:xfrm>
              <a:off x="1979712" y="4005064"/>
              <a:ext cx="1882666" cy="33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1386" i="1" kern="0" dirty="0">
                  <a:solidFill>
                    <a:srgbClr val="000000"/>
                  </a:solidFill>
                </a:rPr>
                <a:t>Предоставление </a:t>
              </a:r>
            </a:p>
            <a:p>
              <a:pPr algn="ctr" defTabSz="1152144" eaLnBrk="1" fontAlgn="auto" hangingPunct="1">
                <a:spcBef>
                  <a:spcPts val="0"/>
                </a:spcBef>
                <a:spcAft>
                  <a:spcPts val="0"/>
                </a:spcAft>
                <a:defRPr/>
              </a:pPr>
              <a:r>
                <a:rPr lang="ru-RU" altLang="ru-RU" sz="1386" i="1" kern="0" dirty="0">
                  <a:solidFill>
                    <a:srgbClr val="000000"/>
                  </a:solidFill>
                </a:rPr>
                <a:t>младшего финансирования</a:t>
              </a:r>
              <a:endParaRPr lang="ru-RU" altLang="ru-RU" sz="1386" kern="0" dirty="0">
                <a:solidFill>
                  <a:srgbClr val="000000"/>
                </a:solidFill>
              </a:endParaRPr>
            </a:p>
          </p:txBody>
        </p:sp>
        <p:cxnSp>
          <p:nvCxnSpPr>
            <p:cNvPr id="26" name="Прямая со стрелкой 131"/>
            <p:cNvCxnSpPr>
              <a:cxnSpLocks noChangeShapeType="1"/>
              <a:stCxn id="20" idx="2"/>
              <a:endCxn id="22" idx="0"/>
            </p:cNvCxnSpPr>
            <p:nvPr/>
          </p:nvCxnSpPr>
          <p:spPr bwMode="auto">
            <a:xfrm>
              <a:off x="1223628" y="2036268"/>
              <a:ext cx="6835" cy="456628"/>
            </a:xfrm>
            <a:prstGeom prst="straightConnector1">
              <a:avLst/>
            </a:prstGeom>
            <a:ln w="25400">
              <a:tailEnd type="stealth" w="lg" len="lg"/>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131"/>
            <p:cNvCxnSpPr>
              <a:cxnSpLocks noChangeShapeType="1"/>
            </p:cNvCxnSpPr>
            <p:nvPr/>
          </p:nvCxnSpPr>
          <p:spPr bwMode="auto">
            <a:xfrm>
              <a:off x="4297638" y="2924944"/>
              <a:ext cx="706410" cy="0"/>
            </a:xfrm>
            <a:prstGeom prst="straightConnector1">
              <a:avLst/>
            </a:prstGeom>
            <a:ln w="25400">
              <a:tailEnd type="stealth" w="lg" len="lg"/>
            </a:ln>
          </p:spPr>
          <p:style>
            <a:lnRef idx="1">
              <a:schemeClr val="accent1"/>
            </a:lnRef>
            <a:fillRef idx="0">
              <a:schemeClr val="accent1"/>
            </a:fillRef>
            <a:effectRef idx="0">
              <a:schemeClr val="accent1"/>
            </a:effectRef>
            <a:fontRef idx="minor">
              <a:schemeClr val="tx1"/>
            </a:fontRef>
          </p:style>
        </p:cxnSp>
        <p:cxnSp>
          <p:nvCxnSpPr>
            <p:cNvPr id="28" name="Прямая со стрелкой 131"/>
            <p:cNvCxnSpPr>
              <a:cxnSpLocks noChangeShapeType="1"/>
              <a:endCxn id="23" idx="1"/>
            </p:cNvCxnSpPr>
            <p:nvPr/>
          </p:nvCxnSpPr>
          <p:spPr bwMode="auto">
            <a:xfrm>
              <a:off x="1993382" y="2889783"/>
              <a:ext cx="764748" cy="1"/>
            </a:xfrm>
            <a:prstGeom prst="straightConnector1">
              <a:avLst/>
            </a:prstGeom>
            <a:ln w="25400">
              <a:tailEnd type="stealth" w="lg" len="lg"/>
            </a:ln>
          </p:spPr>
          <p:style>
            <a:lnRef idx="1">
              <a:schemeClr val="accent1"/>
            </a:lnRef>
            <a:fillRef idx="0">
              <a:schemeClr val="accent1"/>
            </a:fillRef>
            <a:effectRef idx="0">
              <a:schemeClr val="accent1"/>
            </a:effectRef>
            <a:fontRef idx="minor">
              <a:schemeClr val="tx1"/>
            </a:fontRef>
          </p:style>
        </p:cxnSp>
        <p:sp>
          <p:nvSpPr>
            <p:cNvPr id="29" name="Rectangle 15"/>
            <p:cNvSpPr>
              <a:spLocks noChangeArrowheads="1"/>
            </p:cNvSpPr>
            <p:nvPr/>
          </p:nvSpPr>
          <p:spPr bwMode="auto">
            <a:xfrm>
              <a:off x="2746365" y="3342846"/>
              <a:ext cx="1537603" cy="605405"/>
            </a:xfrm>
            <a:prstGeom prst="rect">
              <a:avLst/>
            </a:prstGeom>
            <a:solidFill>
              <a:schemeClr val="tx2">
                <a:lumMod val="20000"/>
                <a:lumOff val="80000"/>
              </a:schemeClr>
            </a:solidFill>
            <a:ln>
              <a:headEnd/>
              <a:tailEnd/>
            </a:ln>
          </p:spPr>
          <p:style>
            <a:lnRef idx="0">
              <a:schemeClr val="accent2"/>
            </a:lnRef>
            <a:fillRef idx="3">
              <a:schemeClr val="accent2"/>
            </a:fillRef>
            <a:effectRef idx="3">
              <a:schemeClr val="accent2"/>
            </a:effectRef>
            <a:fontRef idx="minor">
              <a:schemeClr val="lt1"/>
            </a:fontRef>
          </p:style>
          <p:txBody>
            <a:bodyPr lIns="0" tIns="0" rIns="0" bIns="0" anchor="ctr"/>
            <a:lstStyle/>
            <a:p>
              <a:pPr algn="ctr" defTabSz="1152144" fontAlgn="auto">
                <a:spcBef>
                  <a:spcPts val="0"/>
                </a:spcBef>
                <a:spcAft>
                  <a:spcPts val="0"/>
                </a:spcAft>
                <a:defRPr/>
              </a:pPr>
              <a:r>
                <a:rPr lang="ru-RU" sz="1764" b="1" kern="0" dirty="0">
                  <a:solidFill>
                    <a:schemeClr val="tx1">
                      <a:lumMod val="65000"/>
                      <a:lumOff val="35000"/>
                    </a:schemeClr>
                  </a:solidFill>
                  <a:latin typeface="Calibri" panose="020F0502020204030204" pitchFamily="34" charset="0"/>
                  <a:cs typeface="Calibri" panose="020F0502020204030204" pitchFamily="34" charset="0"/>
                </a:rPr>
                <a:t>Младший кредит</a:t>
              </a:r>
            </a:p>
            <a:p>
              <a:pPr algn="ctr" defTabSz="1152144" fontAlgn="auto">
                <a:spcBef>
                  <a:spcPts val="0"/>
                </a:spcBef>
                <a:spcAft>
                  <a:spcPts val="0"/>
                </a:spcAft>
                <a:defRPr/>
              </a:pPr>
              <a:r>
                <a:rPr lang="ru-RU" sz="1512" b="1" kern="0" dirty="0">
                  <a:solidFill>
                    <a:schemeClr val="tx1">
                      <a:lumMod val="65000"/>
                      <a:lumOff val="35000"/>
                    </a:schemeClr>
                  </a:solidFill>
                  <a:latin typeface="Calibri" panose="020F0502020204030204" pitchFamily="34" charset="0"/>
                  <a:cs typeface="Calibri" panose="020F0502020204030204" pitchFamily="34" charset="0"/>
                </a:rPr>
                <a:t>3 млрд. рублей</a:t>
              </a:r>
              <a:endParaRPr lang="ru-RU" sz="1512" b="1" kern="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30" name="Rectangle 59"/>
            <p:cNvSpPr>
              <a:spLocks noChangeArrowheads="1"/>
            </p:cNvSpPr>
            <p:nvPr/>
          </p:nvSpPr>
          <p:spPr bwMode="auto">
            <a:xfrm>
              <a:off x="7302472" y="2204864"/>
              <a:ext cx="1582048" cy="460885"/>
            </a:xfrm>
            <a:prstGeom prst="rect">
              <a:avLst/>
            </a:prstGeom>
            <a:solidFill>
              <a:srgbClr val="92D050"/>
            </a:solidFill>
            <a:ln>
              <a:headEnd/>
              <a:tailEnd/>
            </a:ln>
          </p:spPr>
          <p:style>
            <a:lnRef idx="0">
              <a:schemeClr val="accent6"/>
            </a:lnRef>
            <a:fillRef idx="3">
              <a:schemeClr val="accent6"/>
            </a:fillRef>
            <a:effectRef idx="3">
              <a:schemeClr val="accent6"/>
            </a:effectRef>
            <a:fontRef idx="minor">
              <a:schemeClr val="lt1"/>
            </a:fontRef>
          </p:style>
          <p:txBody>
            <a:bodyPr lIns="0" tIns="0" rIns="0" bIns="0" anchor="ctr"/>
            <a:lstStyle/>
            <a:p>
              <a:pPr algn="ctr" defTabSz="1152144" fontAlgn="auto">
                <a:spcBef>
                  <a:spcPts val="0"/>
                </a:spcBef>
                <a:spcAft>
                  <a:spcPts val="0"/>
                </a:spcAft>
                <a:defRPr/>
              </a:pPr>
              <a:r>
                <a:rPr lang="ru-RU" sz="2520" b="1" kern="0" dirty="0">
                  <a:solidFill>
                    <a:srgbClr val="000000"/>
                  </a:solidFill>
                  <a:latin typeface="Calibri" pitchFamily="34" charset="0"/>
                </a:rPr>
                <a:t>Инвесторы</a:t>
              </a:r>
              <a:endParaRPr lang="ru-RU" sz="2520" b="1" kern="0" dirty="0">
                <a:solidFill>
                  <a:srgbClr val="000000"/>
                </a:solidFill>
                <a:latin typeface="Calibri" pitchFamily="34" charset="0"/>
              </a:endParaRPr>
            </a:p>
          </p:txBody>
        </p:sp>
        <p:sp>
          <p:nvSpPr>
            <p:cNvPr id="31" name="Line 18"/>
            <p:cNvSpPr>
              <a:spLocks noChangeShapeType="1"/>
            </p:cNvSpPr>
            <p:nvPr/>
          </p:nvSpPr>
          <p:spPr bwMode="auto">
            <a:xfrm>
              <a:off x="5760133" y="1782296"/>
              <a:ext cx="0" cy="494576"/>
            </a:xfrm>
            <a:prstGeom prst="line">
              <a:avLst/>
            </a:prstGeom>
            <a:ln w="25400">
              <a:tailEnd type="stealth" w="lg" len="lg"/>
            </a:ln>
            <a:extLst/>
          </p:spPr>
          <p:style>
            <a:lnRef idx="1">
              <a:schemeClr val="accent1"/>
            </a:lnRef>
            <a:fillRef idx="0">
              <a:schemeClr val="accent1"/>
            </a:fillRef>
            <a:effectRef idx="0">
              <a:schemeClr val="accent1"/>
            </a:effectRef>
            <a:fontRef idx="minor">
              <a:schemeClr val="tx1"/>
            </a:fontRef>
          </p:style>
          <p:txBody>
            <a:bodyPr/>
            <a:lstStyle/>
            <a:p>
              <a:pPr defTabSz="1152144" fontAlgn="auto">
                <a:spcBef>
                  <a:spcPts val="0"/>
                </a:spcBef>
                <a:spcAft>
                  <a:spcPts val="0"/>
                </a:spcAft>
                <a:defRPr/>
              </a:pPr>
              <a:endParaRPr lang="ru-RU" sz="2268" kern="0">
                <a:solidFill>
                  <a:srgbClr val="000000"/>
                </a:solidFill>
                <a:latin typeface="Arial" charset="0"/>
              </a:endParaRPr>
            </a:p>
          </p:txBody>
        </p:sp>
        <p:sp>
          <p:nvSpPr>
            <p:cNvPr id="32" name="Text Box 47"/>
            <p:cNvSpPr txBox="1">
              <a:spLocks noChangeArrowheads="1"/>
            </p:cNvSpPr>
            <p:nvPr/>
          </p:nvSpPr>
          <p:spPr bwMode="auto">
            <a:xfrm>
              <a:off x="5436096" y="1938516"/>
              <a:ext cx="1882666" cy="338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lvl="0" algn="ctr" eaLnBrk="1" hangingPunct="1">
                <a:defRPr/>
              </a:pPr>
              <a:r>
                <a:rPr lang="ru-RU" altLang="ru-RU" sz="1386" kern="0" dirty="0">
                  <a:solidFill>
                    <a:srgbClr val="000000"/>
                  </a:solidFill>
                </a:rPr>
                <a:t>Поручительство</a:t>
              </a:r>
              <a:endParaRPr lang="en-US" altLang="ru-RU" sz="1386" kern="0" dirty="0">
                <a:solidFill>
                  <a:srgbClr val="000000"/>
                </a:solidFill>
              </a:endParaRPr>
            </a:p>
          </p:txBody>
        </p:sp>
        <p:cxnSp>
          <p:nvCxnSpPr>
            <p:cNvPr id="33" name="Соединительная линия уступом 32"/>
            <p:cNvCxnSpPr>
              <a:stCxn id="29" idx="2"/>
              <a:endCxn id="22" idx="1"/>
            </p:cNvCxnSpPr>
            <p:nvPr/>
          </p:nvCxnSpPr>
          <p:spPr>
            <a:xfrm rot="5400000" flipH="1">
              <a:off x="1443717" y="1876802"/>
              <a:ext cx="1095277" cy="3047623"/>
            </a:xfrm>
            <a:prstGeom prst="bentConnector4">
              <a:avLst>
                <a:gd name="adj1" fmla="val -20871"/>
                <a:gd name="adj2" fmla="val 107501"/>
              </a:avLst>
            </a:prstGeom>
            <a:ln w="25400">
              <a:tailEnd type="stealth" w="lg" len="lg"/>
            </a:ln>
          </p:spPr>
          <p:style>
            <a:lnRef idx="1">
              <a:schemeClr val="accent1"/>
            </a:lnRef>
            <a:fillRef idx="0">
              <a:schemeClr val="accent1"/>
            </a:fillRef>
            <a:effectRef idx="0">
              <a:schemeClr val="accent1"/>
            </a:effectRef>
            <a:fontRef idx="minor">
              <a:schemeClr val="tx1"/>
            </a:fontRef>
          </p:style>
        </p:cxnSp>
        <p:pic>
          <p:nvPicPr>
            <p:cNvPr id="34" name="Picture 2" descr="http://www.matveevka56.ru/assets/images/MFC/Corporaciya_MSP.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8870" y="1196752"/>
              <a:ext cx="2025378" cy="720080"/>
            </a:xfrm>
            <a:prstGeom prst="rect">
              <a:avLst/>
            </a:prstGeom>
            <a:noFill/>
            <a:extLst>
              <a:ext uri="{909E8E84-426E-40DD-AFC4-6F175D3DCCD1}">
                <a14:hiddenFill xmlns:a14="http://schemas.microsoft.com/office/drawing/2010/main">
                  <a:solidFill>
                    <a:srgbClr val="FFFFFF"/>
                  </a:solidFill>
                </a14:hiddenFill>
              </a:ext>
            </a:extLst>
          </p:spPr>
        </p:pic>
        <p:sp>
          <p:nvSpPr>
            <p:cNvPr id="35" name="Text Box 47"/>
            <p:cNvSpPr txBox="1">
              <a:spLocks noChangeArrowheads="1"/>
            </p:cNvSpPr>
            <p:nvPr/>
          </p:nvSpPr>
          <p:spPr bwMode="auto">
            <a:xfrm>
              <a:off x="4258181" y="2554302"/>
              <a:ext cx="765419" cy="370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1386" kern="0" dirty="0">
                  <a:solidFill>
                    <a:srgbClr val="000000"/>
                  </a:solidFill>
                </a:rPr>
                <a:t>Выпуск облигаций</a:t>
              </a:r>
            </a:p>
          </p:txBody>
        </p:sp>
        <p:sp>
          <p:nvSpPr>
            <p:cNvPr id="36" name="Rectangle 14"/>
            <p:cNvSpPr>
              <a:spLocks noChangeArrowheads="1"/>
            </p:cNvSpPr>
            <p:nvPr/>
          </p:nvSpPr>
          <p:spPr bwMode="auto">
            <a:xfrm>
              <a:off x="539552" y="3693320"/>
              <a:ext cx="1368152" cy="743792"/>
            </a:xfrm>
            <a:prstGeom prst="rect">
              <a:avLst/>
            </a:prstGeom>
            <a:gradFill>
              <a:gsLst>
                <a:gs pos="0">
                  <a:schemeClr val="accent3">
                    <a:lumMod val="75000"/>
                  </a:schemeClr>
                </a:gs>
                <a:gs pos="55000">
                  <a:schemeClr val="accent3">
                    <a:lumMod val="75000"/>
                  </a:schemeClr>
                </a:gs>
                <a:gs pos="100000">
                  <a:schemeClr val="accent3">
                    <a:lumMod val="60000"/>
                    <a:lumOff val="40000"/>
                  </a:schemeClr>
                </a:gs>
              </a:gsLst>
            </a:gradFill>
            <a:ln>
              <a:headEnd/>
              <a:tailEnd/>
            </a:ln>
          </p:spPr>
          <p:style>
            <a:lnRef idx="0">
              <a:schemeClr val="accent1"/>
            </a:lnRef>
            <a:fillRef idx="3">
              <a:schemeClr val="accent1"/>
            </a:fillRef>
            <a:effectRef idx="3">
              <a:schemeClr val="accent1"/>
            </a:effectRef>
            <a:fontRef idx="minor">
              <a:schemeClr val="lt1"/>
            </a:fontRef>
          </p:style>
          <p:txBody>
            <a:bodyPr tIns="149683" anchor="ct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2268" b="1" kern="0" dirty="0" err="1">
                  <a:solidFill>
                    <a:schemeClr val="bg1"/>
                  </a:solidFill>
                </a:rPr>
                <a:t>ФорБанк</a:t>
              </a:r>
              <a:endParaRPr lang="ru-RU" altLang="ru-RU" sz="2268" b="1" kern="0" dirty="0">
                <a:solidFill>
                  <a:schemeClr val="bg1"/>
                </a:solidFill>
              </a:endParaRPr>
            </a:p>
          </p:txBody>
        </p:sp>
        <p:cxnSp>
          <p:nvCxnSpPr>
            <p:cNvPr id="37" name="Прямая со стрелкой 131"/>
            <p:cNvCxnSpPr>
              <a:cxnSpLocks noChangeShapeType="1"/>
              <a:stCxn id="36" idx="0"/>
              <a:endCxn id="22" idx="2"/>
            </p:cNvCxnSpPr>
            <p:nvPr/>
          </p:nvCxnSpPr>
          <p:spPr bwMode="auto">
            <a:xfrm flipV="1">
              <a:off x="1223628" y="3213052"/>
              <a:ext cx="6835" cy="480268"/>
            </a:xfrm>
            <a:prstGeom prst="straightConnector1">
              <a:avLst/>
            </a:prstGeom>
            <a:ln w="25400">
              <a:tailEnd type="stealth" w="lg" len="lg"/>
            </a:ln>
          </p:spPr>
          <p:style>
            <a:lnRef idx="1">
              <a:schemeClr val="accent1"/>
            </a:lnRef>
            <a:fillRef idx="0">
              <a:schemeClr val="accent1"/>
            </a:fillRef>
            <a:effectRef idx="0">
              <a:schemeClr val="accent1"/>
            </a:effectRef>
            <a:fontRef idx="minor">
              <a:schemeClr val="tx1"/>
            </a:fontRef>
          </p:style>
        </p:cxnSp>
        <p:sp>
          <p:nvSpPr>
            <p:cNvPr id="38" name="Text Box 47"/>
            <p:cNvSpPr txBox="1">
              <a:spLocks noChangeArrowheads="1"/>
            </p:cNvSpPr>
            <p:nvPr/>
          </p:nvSpPr>
          <p:spPr bwMode="auto">
            <a:xfrm>
              <a:off x="1907704" y="2492896"/>
              <a:ext cx="984740" cy="3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1386" i="1" kern="0" dirty="0">
                  <a:solidFill>
                    <a:srgbClr val="000000"/>
                  </a:solidFill>
                </a:rPr>
                <a:t>Продажа кредитов</a:t>
              </a:r>
              <a:endParaRPr lang="ru-RU" altLang="ru-RU" sz="1386" kern="0" dirty="0">
                <a:solidFill>
                  <a:srgbClr val="000000"/>
                </a:solidFill>
              </a:endParaRPr>
            </a:p>
          </p:txBody>
        </p:sp>
        <p:sp>
          <p:nvSpPr>
            <p:cNvPr id="39" name="Text Box 47"/>
            <p:cNvSpPr txBox="1">
              <a:spLocks noChangeArrowheads="1"/>
            </p:cNvSpPr>
            <p:nvPr/>
          </p:nvSpPr>
          <p:spPr bwMode="auto">
            <a:xfrm>
              <a:off x="335214" y="2070923"/>
              <a:ext cx="984740" cy="3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defTabSz="1152144" eaLnBrk="1" fontAlgn="auto" hangingPunct="1">
                <a:spcBef>
                  <a:spcPts val="0"/>
                </a:spcBef>
                <a:spcAft>
                  <a:spcPts val="0"/>
                </a:spcAft>
                <a:defRPr/>
              </a:pPr>
              <a:r>
                <a:rPr lang="ru-RU" altLang="ru-RU" sz="1386" i="1" kern="0" dirty="0">
                  <a:solidFill>
                    <a:srgbClr val="000000"/>
                  </a:solidFill>
                </a:rPr>
                <a:t>Продажа кредитов</a:t>
              </a:r>
              <a:endParaRPr lang="ru-RU" altLang="ru-RU" sz="1386" kern="0" dirty="0">
                <a:solidFill>
                  <a:srgbClr val="000000"/>
                </a:solidFill>
              </a:endParaRPr>
            </a:p>
          </p:txBody>
        </p:sp>
      </p:grpSp>
      <p:sp>
        <p:nvSpPr>
          <p:cNvPr id="40" name="Rectangle 59"/>
          <p:cNvSpPr>
            <a:spLocks noChangeArrowheads="1"/>
          </p:cNvSpPr>
          <p:nvPr/>
        </p:nvSpPr>
        <p:spPr bwMode="auto">
          <a:xfrm>
            <a:off x="9740262" y="3177267"/>
            <a:ext cx="1993307" cy="1687666"/>
          </a:xfrm>
          <a:prstGeom prst="rect">
            <a:avLst/>
          </a:prstGeom>
          <a:solidFill>
            <a:srgbClr val="92D050"/>
          </a:solidFill>
          <a:ln>
            <a:headEnd/>
            <a:tailEnd/>
          </a:ln>
        </p:spPr>
        <p:style>
          <a:lnRef idx="0">
            <a:schemeClr val="accent6"/>
          </a:lnRef>
          <a:fillRef idx="3">
            <a:schemeClr val="accent6"/>
          </a:fillRef>
          <a:effectRef idx="3">
            <a:schemeClr val="accent6"/>
          </a:effectRef>
          <a:fontRef idx="minor">
            <a:schemeClr val="lt1"/>
          </a:fontRef>
        </p:style>
        <p:txBody>
          <a:bodyPr lIns="0" tIns="0" rIns="0" bIns="0" anchor="ctr"/>
          <a:lstStyle/>
          <a:p>
            <a:pPr lvl="0" algn="ctr">
              <a:defRPr/>
            </a:pPr>
            <a:r>
              <a:rPr lang="ru-RU" sz="1512" b="1" kern="0" dirty="0">
                <a:solidFill>
                  <a:srgbClr val="000000"/>
                </a:solidFill>
                <a:latin typeface="Calibri" pitchFamily="34" charset="0"/>
              </a:rPr>
              <a:t>ПСБ</a:t>
            </a:r>
          </a:p>
          <a:p>
            <a:pPr lvl="0" algn="ctr">
              <a:defRPr/>
            </a:pPr>
            <a:r>
              <a:rPr lang="ru-RU" sz="1512" b="1" kern="0" dirty="0">
                <a:solidFill>
                  <a:srgbClr val="000000"/>
                </a:solidFill>
                <a:latin typeface="Calibri" pitchFamily="34" charset="0"/>
              </a:rPr>
              <a:t>ВЭБ</a:t>
            </a:r>
          </a:p>
          <a:p>
            <a:pPr lvl="0" algn="ctr">
              <a:defRPr/>
            </a:pPr>
            <a:r>
              <a:rPr lang="ru-RU" sz="1512" b="1" kern="0" dirty="0" err="1">
                <a:solidFill>
                  <a:srgbClr val="000000"/>
                </a:solidFill>
                <a:latin typeface="Calibri" pitchFamily="34" charset="0"/>
              </a:rPr>
              <a:t>СовкомБанк</a:t>
            </a:r>
            <a:endParaRPr lang="ru-RU" sz="1512" b="1" kern="0" dirty="0">
              <a:solidFill>
                <a:srgbClr val="000000"/>
              </a:solidFill>
              <a:latin typeface="Calibri" pitchFamily="34" charset="0"/>
            </a:endParaRPr>
          </a:p>
          <a:p>
            <a:pPr lvl="0" algn="ctr">
              <a:defRPr/>
            </a:pPr>
            <a:r>
              <a:rPr lang="ru-RU" sz="1512" b="1" kern="0" dirty="0">
                <a:solidFill>
                  <a:srgbClr val="000000"/>
                </a:solidFill>
                <a:latin typeface="Calibri" pitchFamily="34" charset="0"/>
              </a:rPr>
              <a:t>ЕАБР</a:t>
            </a:r>
          </a:p>
          <a:p>
            <a:pPr lvl="0" algn="ctr">
              <a:defRPr/>
            </a:pPr>
            <a:r>
              <a:rPr lang="ru-RU" sz="1512" b="1" kern="0" dirty="0">
                <a:solidFill>
                  <a:srgbClr val="000000"/>
                </a:solidFill>
                <a:latin typeface="Calibri" pitchFamily="34" charset="0"/>
              </a:rPr>
              <a:t>МБЭС</a:t>
            </a:r>
          </a:p>
          <a:p>
            <a:pPr lvl="0" algn="ctr">
              <a:defRPr/>
            </a:pPr>
            <a:r>
              <a:rPr lang="ru-RU" sz="1512" b="1" kern="0" dirty="0">
                <a:solidFill>
                  <a:srgbClr val="000000"/>
                </a:solidFill>
                <a:latin typeface="Calibri" pitchFamily="34" charset="0"/>
              </a:rPr>
              <a:t>Регион</a:t>
            </a:r>
          </a:p>
          <a:p>
            <a:pPr lvl="0" algn="ctr">
              <a:defRPr/>
            </a:pPr>
            <a:r>
              <a:rPr lang="ru-RU" sz="1512" b="1" kern="0" dirty="0">
                <a:solidFill>
                  <a:srgbClr val="000000"/>
                </a:solidFill>
                <a:latin typeface="Calibri" pitchFamily="34" charset="0"/>
              </a:rPr>
              <a:t>МСП Банк</a:t>
            </a:r>
          </a:p>
        </p:txBody>
      </p:sp>
    </p:spTree>
    <p:extLst>
      <p:ext uri="{BB962C8B-B14F-4D97-AF65-F5344CB8AC3E}">
        <p14:creationId xmlns:p14="http://schemas.microsoft.com/office/powerpoint/2010/main" val="90022090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2"/>
          </p:nvPr>
        </p:nvSpPr>
        <p:spPr/>
        <p:txBody>
          <a:bodyPr/>
          <a:lstStyle/>
          <a:p>
            <a:fld id="{F0C3E1D0-B99E-411B-BCE4-D3E6DB7EA499}" type="slidenum">
              <a:rPr lang="ru-RU" smtClean="0"/>
              <a:pPr/>
              <a:t>38</a:t>
            </a:fld>
            <a:endParaRPr lang="ru-RU" dirty="0"/>
          </a:p>
        </p:txBody>
      </p:sp>
      <p:graphicFrame>
        <p:nvGraphicFramePr>
          <p:cNvPr id="4" name="Схема 3"/>
          <p:cNvGraphicFramePr/>
          <p:nvPr>
            <p:extLst/>
          </p:nvPr>
        </p:nvGraphicFramePr>
        <p:xfrm>
          <a:off x="6935081" y="963492"/>
          <a:ext cx="5534332" cy="73488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6405" y="4320381"/>
            <a:ext cx="1751758" cy="63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Заголовок 4"/>
          <p:cNvSpPr>
            <a:spLocks noGrp="1"/>
          </p:cNvSpPr>
          <p:nvPr>
            <p:ph type="title"/>
          </p:nvPr>
        </p:nvSpPr>
        <p:spPr>
          <a:xfrm>
            <a:off x="1115536" y="328404"/>
            <a:ext cx="9720795" cy="1094847"/>
          </a:xfrm>
        </p:spPr>
        <p:txBody>
          <a:bodyPr/>
          <a:lstStyle/>
          <a:p>
            <a:pPr algn="ctr"/>
            <a:r>
              <a:rPr lang="ru-RU" dirty="0" smtClean="0"/>
              <a:t>Инфраструктура </a:t>
            </a:r>
            <a:r>
              <a:rPr lang="ru-RU" dirty="0" err="1"/>
              <a:t>мультиоригинаторной</a:t>
            </a:r>
            <a:r>
              <a:rPr lang="ru-RU" dirty="0"/>
              <a:t> </a:t>
            </a:r>
            <a:r>
              <a:rPr lang="ru-RU" dirty="0" smtClean="0"/>
              <a:t>платформы </a:t>
            </a:r>
            <a:r>
              <a:rPr lang="ru-RU" dirty="0" err="1" smtClean="0"/>
              <a:t>секьюритизации</a:t>
            </a:r>
            <a:r>
              <a:rPr lang="ru-RU" dirty="0" smtClean="0"/>
              <a:t> кредитов </a:t>
            </a:r>
            <a:r>
              <a:rPr lang="ru-RU" dirty="0"/>
              <a:t>субъектам МСП</a:t>
            </a:r>
          </a:p>
        </p:txBody>
      </p:sp>
      <p:grpSp>
        <p:nvGrpSpPr>
          <p:cNvPr id="9" name="Группа 8"/>
          <p:cNvGrpSpPr/>
          <p:nvPr/>
        </p:nvGrpSpPr>
        <p:grpSpPr>
          <a:xfrm>
            <a:off x="856390" y="6316369"/>
            <a:ext cx="2798414" cy="1216082"/>
            <a:chOff x="1451360" y="3386296"/>
            <a:chExt cx="2221045" cy="677148"/>
          </a:xfrm>
          <a:scene3d>
            <a:camera prst="orthographicFront"/>
            <a:lightRig rig="threePt" dir="t"/>
          </a:scene3d>
        </p:grpSpPr>
        <p:sp>
          <p:nvSpPr>
            <p:cNvPr id="10" name="Прямоугольник 9"/>
            <p:cNvSpPr/>
            <p:nvPr/>
          </p:nvSpPr>
          <p:spPr>
            <a:xfrm>
              <a:off x="1451360" y="3386296"/>
              <a:ext cx="2221045" cy="677148"/>
            </a:xfrm>
            <a:prstGeom prst="rect">
              <a:avLst/>
            </a:prstGeom>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Прямоугольник 10"/>
            <p:cNvSpPr/>
            <p:nvPr/>
          </p:nvSpPr>
          <p:spPr>
            <a:xfrm>
              <a:off x="1451360" y="338629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2016" b="1" dirty="0"/>
                <a:t>Биржа</a:t>
              </a:r>
            </a:p>
            <a:p>
              <a:pPr algn="ctr" defTabSz="896112">
                <a:lnSpc>
                  <a:spcPct val="90000"/>
                </a:lnSpc>
                <a:spcAft>
                  <a:spcPct val="35000"/>
                </a:spcAft>
              </a:pPr>
              <a:r>
                <a:rPr lang="ru-RU" sz="1512" b="1" dirty="0"/>
                <a:t>ПАО «Московская Биржа»</a:t>
              </a:r>
              <a:endParaRPr lang="ru-RU" sz="1512" b="1" dirty="0"/>
            </a:p>
          </p:txBody>
        </p:sp>
      </p:grpSp>
      <p:grpSp>
        <p:nvGrpSpPr>
          <p:cNvPr id="12" name="Группа 11"/>
          <p:cNvGrpSpPr/>
          <p:nvPr/>
        </p:nvGrpSpPr>
        <p:grpSpPr>
          <a:xfrm>
            <a:off x="856390" y="1961486"/>
            <a:ext cx="2798414" cy="1088721"/>
            <a:chOff x="1451360" y="3386296"/>
            <a:chExt cx="2221045" cy="677148"/>
          </a:xfrm>
          <a:scene3d>
            <a:camera prst="orthographicFront"/>
            <a:lightRig rig="threePt" dir="t"/>
          </a:scene3d>
        </p:grpSpPr>
        <p:sp>
          <p:nvSpPr>
            <p:cNvPr id="13" name="Прямоугольник 12"/>
            <p:cNvSpPr/>
            <p:nvPr/>
          </p:nvSpPr>
          <p:spPr>
            <a:xfrm>
              <a:off x="1451360" y="3386296"/>
              <a:ext cx="2221045" cy="677148"/>
            </a:xfrm>
            <a:prstGeom prst="rect">
              <a:avLst/>
            </a:prstGeom>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Прямоугольник 13"/>
            <p:cNvSpPr/>
            <p:nvPr/>
          </p:nvSpPr>
          <p:spPr>
            <a:xfrm>
              <a:off x="1451360" y="338629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1764" b="1" dirty="0"/>
                <a:t>Управляющая организация</a:t>
              </a:r>
            </a:p>
            <a:p>
              <a:pPr algn="ctr" defTabSz="896112">
                <a:lnSpc>
                  <a:spcPct val="90000"/>
                </a:lnSpc>
                <a:spcAft>
                  <a:spcPct val="35000"/>
                </a:spcAft>
              </a:pPr>
              <a:r>
                <a:rPr lang="ru-RU" sz="1764" b="1" dirty="0"/>
                <a:t>«</a:t>
              </a:r>
              <a:r>
                <a:rPr lang="ru-RU" sz="1764" b="1" dirty="0" err="1"/>
                <a:t>Тревеч</a:t>
              </a:r>
              <a:r>
                <a:rPr lang="ru-RU" sz="1764" b="1" dirty="0"/>
                <a:t> Управление»</a:t>
              </a:r>
              <a:endParaRPr lang="ru-RU" sz="1764" b="1" dirty="0"/>
            </a:p>
          </p:txBody>
        </p:sp>
      </p:grpSp>
      <p:grpSp>
        <p:nvGrpSpPr>
          <p:cNvPr id="15" name="Группа 14"/>
          <p:cNvGrpSpPr/>
          <p:nvPr/>
        </p:nvGrpSpPr>
        <p:grpSpPr>
          <a:xfrm>
            <a:off x="4031825" y="1961486"/>
            <a:ext cx="2631076" cy="1088721"/>
            <a:chOff x="1451360" y="3386296"/>
            <a:chExt cx="2221045" cy="677148"/>
          </a:xfrm>
          <a:scene3d>
            <a:camera prst="orthographicFront"/>
            <a:lightRig rig="threePt" dir="t"/>
          </a:scene3d>
        </p:grpSpPr>
        <p:sp>
          <p:nvSpPr>
            <p:cNvPr id="16" name="Прямоугольник 15"/>
            <p:cNvSpPr/>
            <p:nvPr/>
          </p:nvSpPr>
          <p:spPr>
            <a:xfrm>
              <a:off x="1451360" y="3386296"/>
              <a:ext cx="2221045" cy="677148"/>
            </a:xfrm>
            <a:prstGeom prst="rect">
              <a:avLst/>
            </a:prstGeom>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Прямоугольник 16"/>
            <p:cNvSpPr/>
            <p:nvPr/>
          </p:nvSpPr>
          <p:spPr>
            <a:xfrm>
              <a:off x="1451360" y="338629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1764" b="1" dirty="0"/>
                <a:t>Бухгалтерская организация</a:t>
              </a:r>
            </a:p>
            <a:p>
              <a:pPr algn="ctr" defTabSz="896112">
                <a:lnSpc>
                  <a:spcPct val="90000"/>
                </a:lnSpc>
                <a:spcAft>
                  <a:spcPct val="35000"/>
                </a:spcAft>
              </a:pPr>
              <a:r>
                <a:rPr lang="ru-RU" sz="1764" b="1" dirty="0"/>
                <a:t>«</a:t>
              </a:r>
              <a:r>
                <a:rPr lang="ru-RU" sz="1764" b="1" dirty="0" err="1"/>
                <a:t>Тревеч</a:t>
              </a:r>
              <a:r>
                <a:rPr lang="ru-RU" sz="1764" b="1" dirty="0"/>
                <a:t> Учет»</a:t>
              </a:r>
              <a:endParaRPr lang="ru-RU" sz="1764" b="1" dirty="0"/>
            </a:p>
          </p:txBody>
        </p:sp>
      </p:grpSp>
      <p:grpSp>
        <p:nvGrpSpPr>
          <p:cNvPr id="18" name="Группа 17"/>
          <p:cNvGrpSpPr/>
          <p:nvPr/>
        </p:nvGrpSpPr>
        <p:grpSpPr>
          <a:xfrm>
            <a:off x="940057" y="4086066"/>
            <a:ext cx="5632117" cy="3424748"/>
            <a:chOff x="-1081995" y="2121906"/>
            <a:chExt cx="4754400" cy="1941539"/>
          </a:xfrm>
          <a:scene3d>
            <a:camera prst="orthographicFront"/>
            <a:lightRig rig="threePt" dir="t"/>
          </a:scene3d>
        </p:grpSpPr>
        <p:sp>
          <p:nvSpPr>
            <p:cNvPr id="35" name="Прямоугольник 34"/>
            <p:cNvSpPr/>
            <p:nvPr/>
          </p:nvSpPr>
          <p:spPr>
            <a:xfrm>
              <a:off x="-1081995" y="212190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2016" b="1" dirty="0"/>
                <a:t>Биржа</a:t>
              </a:r>
            </a:p>
            <a:p>
              <a:pPr algn="ctr" defTabSz="896112">
                <a:lnSpc>
                  <a:spcPct val="90000"/>
                </a:lnSpc>
                <a:spcAft>
                  <a:spcPct val="35000"/>
                </a:spcAft>
              </a:pPr>
              <a:r>
                <a:rPr lang="ru-RU" sz="2016" b="1" dirty="0"/>
                <a:t>НКО </a:t>
              </a:r>
              <a:r>
                <a:rPr lang="ru-RU" sz="2016" b="1" dirty="0"/>
                <a:t>АО </a:t>
              </a:r>
              <a:r>
                <a:rPr lang="ru-RU" sz="2016" b="1" dirty="0"/>
                <a:t>НРД</a:t>
              </a:r>
              <a:endParaRPr lang="ru-RU" sz="2016" b="1" dirty="0"/>
            </a:p>
          </p:txBody>
        </p:sp>
        <p:sp>
          <p:nvSpPr>
            <p:cNvPr id="19" name="Прямоугольник 18"/>
            <p:cNvSpPr/>
            <p:nvPr/>
          </p:nvSpPr>
          <p:spPr>
            <a:xfrm>
              <a:off x="1451360" y="3386296"/>
              <a:ext cx="2221045" cy="677148"/>
            </a:xfrm>
            <a:prstGeom prst="rect">
              <a:avLst/>
            </a:prstGeom>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Прямоугольник 19"/>
            <p:cNvSpPr/>
            <p:nvPr/>
          </p:nvSpPr>
          <p:spPr>
            <a:xfrm>
              <a:off x="1451360" y="3386297"/>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2016" b="1" dirty="0"/>
                <a:t>Хранитель</a:t>
              </a:r>
            </a:p>
            <a:p>
              <a:pPr algn="ctr" defTabSz="896112">
                <a:lnSpc>
                  <a:spcPct val="90000"/>
                </a:lnSpc>
                <a:spcAft>
                  <a:spcPct val="35000"/>
                </a:spcAft>
              </a:pPr>
              <a:r>
                <a:rPr lang="ru-RU" sz="2016" b="1" dirty="0"/>
                <a:t>ДК Регион</a:t>
              </a:r>
              <a:endParaRPr lang="ru-RU" sz="2016" b="1" dirty="0"/>
            </a:p>
          </p:txBody>
        </p:sp>
      </p:grpSp>
      <p:grpSp>
        <p:nvGrpSpPr>
          <p:cNvPr id="24" name="Группа 23"/>
          <p:cNvGrpSpPr/>
          <p:nvPr/>
        </p:nvGrpSpPr>
        <p:grpSpPr>
          <a:xfrm>
            <a:off x="4244331" y="3904995"/>
            <a:ext cx="1995988" cy="1594834"/>
            <a:chOff x="1451360" y="3386296"/>
            <a:chExt cx="2221045" cy="677148"/>
          </a:xfrm>
          <a:scene3d>
            <a:camera prst="orthographicFront"/>
            <a:lightRig rig="threePt" dir="t"/>
          </a:scene3d>
        </p:grpSpPr>
        <p:sp>
          <p:nvSpPr>
            <p:cNvPr id="25" name="Прямоугольник 24"/>
            <p:cNvSpPr/>
            <p:nvPr/>
          </p:nvSpPr>
          <p:spPr>
            <a:xfrm>
              <a:off x="1451360" y="3386296"/>
              <a:ext cx="2221045" cy="677148"/>
            </a:xfrm>
            <a:prstGeom prst="rect">
              <a:avLst/>
            </a:prstGeom>
            <a:solidFill>
              <a:schemeClr val="tx2">
                <a:lumMod val="75000"/>
              </a:schemeClr>
            </a:solidFill>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Прямоугольник 25"/>
            <p:cNvSpPr/>
            <p:nvPr/>
          </p:nvSpPr>
          <p:spPr>
            <a:xfrm>
              <a:off x="1451360" y="338629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3024" b="1" dirty="0"/>
                <a:t>СФО</a:t>
              </a:r>
            </a:p>
            <a:p>
              <a:pPr algn="ctr" defTabSz="896112">
                <a:lnSpc>
                  <a:spcPct val="90000"/>
                </a:lnSpc>
                <a:spcAft>
                  <a:spcPct val="35000"/>
                </a:spcAft>
              </a:pPr>
              <a:r>
                <a:rPr lang="ru-RU" sz="2670" b="1" dirty="0"/>
                <a:t>МОС МСП 2</a:t>
              </a:r>
              <a:endParaRPr lang="ru-RU" sz="2670" b="1" dirty="0"/>
            </a:p>
          </p:txBody>
        </p:sp>
      </p:grpSp>
      <p:cxnSp>
        <p:nvCxnSpPr>
          <p:cNvPr id="7" name="Прямая соединительная линия 6"/>
          <p:cNvCxnSpPr>
            <a:stCxn id="25" idx="0"/>
          </p:cNvCxnSpPr>
          <p:nvPr/>
        </p:nvCxnSpPr>
        <p:spPr>
          <a:xfrm flipV="1">
            <a:off x="5242325" y="3050206"/>
            <a:ext cx="14312" cy="854788"/>
          </a:xfrm>
          <a:prstGeom prst="line">
            <a:avLst/>
          </a:prstGeom>
          <a:noFill/>
        </p:spPr>
        <p:style>
          <a:lnRef idx="2">
            <a:schemeClr val="accent1">
              <a:shade val="50000"/>
            </a:schemeClr>
          </a:lnRef>
          <a:fillRef idx="1">
            <a:schemeClr val="accent1"/>
          </a:fillRef>
          <a:effectRef idx="0">
            <a:schemeClr val="accent1"/>
          </a:effectRef>
          <a:fontRef idx="minor">
            <a:schemeClr val="lt1"/>
          </a:fontRef>
        </p:style>
      </p:cxnSp>
      <p:grpSp>
        <p:nvGrpSpPr>
          <p:cNvPr id="37" name="Группа 36"/>
          <p:cNvGrpSpPr/>
          <p:nvPr/>
        </p:nvGrpSpPr>
        <p:grpSpPr>
          <a:xfrm>
            <a:off x="856389" y="4095797"/>
            <a:ext cx="2798414" cy="1216082"/>
            <a:chOff x="1451360" y="3386296"/>
            <a:chExt cx="2221045" cy="677148"/>
          </a:xfrm>
          <a:scene3d>
            <a:camera prst="orthographicFront"/>
            <a:lightRig rig="threePt" dir="t"/>
          </a:scene3d>
        </p:grpSpPr>
        <p:sp>
          <p:nvSpPr>
            <p:cNvPr id="38" name="Прямоугольник 37"/>
            <p:cNvSpPr/>
            <p:nvPr/>
          </p:nvSpPr>
          <p:spPr>
            <a:xfrm>
              <a:off x="1451360" y="3386296"/>
              <a:ext cx="2221045" cy="677148"/>
            </a:xfrm>
            <a:prstGeom prst="rect">
              <a:avLst/>
            </a:prstGeom>
            <a:sp3d>
              <a:bevelT w="114300" prst="artDeco"/>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9" name="Прямоугольник 38"/>
            <p:cNvSpPr/>
            <p:nvPr/>
          </p:nvSpPr>
          <p:spPr>
            <a:xfrm>
              <a:off x="1451360" y="3386296"/>
              <a:ext cx="2221045" cy="67714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12801" tIns="12801" rIns="12801" bIns="12801" numCol="1" spcCol="1270" anchor="ctr" anchorCtr="0">
              <a:noAutofit/>
            </a:bodyPr>
            <a:lstStyle/>
            <a:p>
              <a:pPr algn="ctr" defTabSz="896112">
                <a:lnSpc>
                  <a:spcPct val="90000"/>
                </a:lnSpc>
                <a:spcAft>
                  <a:spcPct val="35000"/>
                </a:spcAft>
              </a:pPr>
              <a:r>
                <a:rPr lang="ru-RU" sz="2016" b="1" dirty="0"/>
                <a:t>Депозитарий</a:t>
              </a:r>
            </a:p>
            <a:p>
              <a:pPr algn="ctr" defTabSz="896112">
                <a:lnSpc>
                  <a:spcPct val="90000"/>
                </a:lnSpc>
                <a:spcAft>
                  <a:spcPct val="35000"/>
                </a:spcAft>
              </a:pPr>
              <a:r>
                <a:rPr lang="ru-RU" sz="2016" b="1" dirty="0"/>
                <a:t>НКО АО </a:t>
              </a:r>
              <a:r>
                <a:rPr lang="ru-RU" sz="2016" b="1" dirty="0"/>
                <a:t>НРД</a:t>
              </a:r>
              <a:endParaRPr lang="ru-RU" sz="2016" b="1" dirty="0"/>
            </a:p>
          </p:txBody>
        </p:sp>
      </p:grpSp>
      <p:cxnSp>
        <p:nvCxnSpPr>
          <p:cNvPr id="40" name="Прямая соединительная линия 39"/>
          <p:cNvCxnSpPr>
            <a:endCxn id="26" idx="1"/>
          </p:cNvCxnSpPr>
          <p:nvPr/>
        </p:nvCxnSpPr>
        <p:spPr>
          <a:xfrm flipV="1">
            <a:off x="3654803" y="4702411"/>
            <a:ext cx="589527" cy="1429"/>
          </a:xfrm>
          <a:prstGeom prst="line">
            <a:avLst/>
          </a:prstGeom>
          <a:noFill/>
        </p:spPr>
        <p:style>
          <a:lnRef idx="2">
            <a:schemeClr val="accent1">
              <a:shade val="50000"/>
            </a:schemeClr>
          </a:lnRef>
          <a:fillRef idx="1">
            <a:schemeClr val="accent1"/>
          </a:fillRef>
          <a:effectRef idx="0">
            <a:schemeClr val="accent1"/>
          </a:effectRef>
          <a:fontRef idx="minor">
            <a:schemeClr val="lt1"/>
          </a:fontRef>
        </p:style>
      </p:cxnSp>
      <p:cxnSp>
        <p:nvCxnSpPr>
          <p:cNvPr id="41" name="Прямая соединительная линия 40"/>
          <p:cNvCxnSpPr>
            <a:stCxn id="19" idx="0"/>
          </p:cNvCxnSpPr>
          <p:nvPr/>
        </p:nvCxnSpPr>
        <p:spPr>
          <a:xfrm flipV="1">
            <a:off x="5256636" y="5499830"/>
            <a:ext cx="0" cy="816539"/>
          </a:xfrm>
          <a:prstGeom prst="line">
            <a:avLst/>
          </a:prstGeom>
          <a:noFill/>
        </p:spPr>
        <p:style>
          <a:lnRef idx="2">
            <a:schemeClr val="accent1">
              <a:shade val="50000"/>
            </a:schemeClr>
          </a:lnRef>
          <a:fillRef idx="1">
            <a:schemeClr val="accent1"/>
          </a:fillRef>
          <a:effectRef idx="0">
            <a:schemeClr val="accent1"/>
          </a:effectRef>
          <a:fontRef idx="minor">
            <a:schemeClr val="lt1"/>
          </a:fontRef>
        </p:style>
      </p:cxnSp>
      <p:cxnSp>
        <p:nvCxnSpPr>
          <p:cNvPr id="46" name="Прямая соединительная линия 45"/>
          <p:cNvCxnSpPr/>
          <p:nvPr/>
        </p:nvCxnSpPr>
        <p:spPr>
          <a:xfrm flipV="1">
            <a:off x="6240320" y="4703837"/>
            <a:ext cx="422582" cy="1"/>
          </a:xfrm>
          <a:prstGeom prst="line">
            <a:avLst/>
          </a:prstGeom>
          <a:noFill/>
        </p:spPr>
        <p:style>
          <a:lnRef idx="2">
            <a:schemeClr val="accent1">
              <a:shade val="50000"/>
            </a:schemeClr>
          </a:lnRef>
          <a:fillRef idx="1">
            <a:schemeClr val="accent1"/>
          </a:fillRef>
          <a:effectRef idx="0">
            <a:schemeClr val="accent1"/>
          </a:effectRef>
          <a:fontRef idx="minor">
            <a:schemeClr val="lt1"/>
          </a:fontRef>
        </p:style>
      </p:cxnSp>
      <p:sp>
        <p:nvSpPr>
          <p:cNvPr id="49" name="Полилиния 48"/>
          <p:cNvSpPr/>
          <p:nvPr/>
        </p:nvSpPr>
        <p:spPr>
          <a:xfrm>
            <a:off x="2247064" y="3065414"/>
            <a:ext cx="2437930" cy="822930"/>
          </a:xfrm>
          <a:custGeom>
            <a:avLst/>
            <a:gdLst>
              <a:gd name="connsiteX0" fmla="*/ 0 w 1934936"/>
              <a:gd name="connsiteY0" fmla="*/ 0 h 653143"/>
              <a:gd name="connsiteX1" fmla="*/ 0 w 1934936"/>
              <a:gd name="connsiteY1" fmla="*/ 302079 h 653143"/>
              <a:gd name="connsiteX2" fmla="*/ 1934936 w 1934936"/>
              <a:gd name="connsiteY2" fmla="*/ 302079 h 653143"/>
              <a:gd name="connsiteX3" fmla="*/ 1934936 w 1934936"/>
              <a:gd name="connsiteY3" fmla="*/ 653143 h 653143"/>
            </a:gdLst>
            <a:ahLst/>
            <a:cxnLst>
              <a:cxn ang="0">
                <a:pos x="connsiteX0" y="connsiteY0"/>
              </a:cxn>
              <a:cxn ang="0">
                <a:pos x="connsiteX1" y="connsiteY1"/>
              </a:cxn>
              <a:cxn ang="0">
                <a:pos x="connsiteX2" y="connsiteY2"/>
              </a:cxn>
              <a:cxn ang="0">
                <a:pos x="connsiteX3" y="connsiteY3"/>
              </a:cxn>
            </a:cxnLst>
            <a:rect l="l" t="t" r="r" b="b"/>
            <a:pathLst>
              <a:path w="1934936" h="653143">
                <a:moveTo>
                  <a:pt x="0" y="0"/>
                </a:moveTo>
                <a:lnTo>
                  <a:pt x="0" y="302079"/>
                </a:lnTo>
                <a:lnTo>
                  <a:pt x="1934936" y="302079"/>
                </a:lnTo>
                <a:lnTo>
                  <a:pt x="1934936" y="653143"/>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670"/>
          </a:p>
        </p:txBody>
      </p:sp>
      <p:sp>
        <p:nvSpPr>
          <p:cNvPr id="52" name="Полилиния 51"/>
          <p:cNvSpPr/>
          <p:nvPr/>
        </p:nvSpPr>
        <p:spPr>
          <a:xfrm>
            <a:off x="2257352" y="5513629"/>
            <a:ext cx="2458502" cy="781784"/>
          </a:xfrm>
          <a:custGeom>
            <a:avLst/>
            <a:gdLst>
              <a:gd name="connsiteX0" fmla="*/ 0 w 1951264"/>
              <a:gd name="connsiteY0" fmla="*/ 620486 h 620486"/>
              <a:gd name="connsiteX1" fmla="*/ 8164 w 1951264"/>
              <a:gd name="connsiteY1" fmla="*/ 310243 h 620486"/>
              <a:gd name="connsiteX2" fmla="*/ 1943100 w 1951264"/>
              <a:gd name="connsiteY2" fmla="*/ 310243 h 620486"/>
              <a:gd name="connsiteX3" fmla="*/ 1951264 w 1951264"/>
              <a:gd name="connsiteY3" fmla="*/ 0 h 620486"/>
            </a:gdLst>
            <a:ahLst/>
            <a:cxnLst>
              <a:cxn ang="0">
                <a:pos x="connsiteX0" y="connsiteY0"/>
              </a:cxn>
              <a:cxn ang="0">
                <a:pos x="connsiteX1" y="connsiteY1"/>
              </a:cxn>
              <a:cxn ang="0">
                <a:pos x="connsiteX2" y="connsiteY2"/>
              </a:cxn>
              <a:cxn ang="0">
                <a:pos x="connsiteX3" y="connsiteY3"/>
              </a:cxn>
            </a:cxnLst>
            <a:rect l="l" t="t" r="r" b="b"/>
            <a:pathLst>
              <a:path w="1951264" h="620486">
                <a:moveTo>
                  <a:pt x="0" y="620486"/>
                </a:moveTo>
                <a:lnTo>
                  <a:pt x="8164" y="310243"/>
                </a:lnTo>
                <a:lnTo>
                  <a:pt x="1943100" y="310243"/>
                </a:lnTo>
                <a:lnTo>
                  <a:pt x="1951264"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670"/>
          </a:p>
        </p:txBody>
      </p:sp>
    </p:spTree>
    <p:extLst>
      <p:ext uri="{BB962C8B-B14F-4D97-AF65-F5344CB8AC3E}">
        <p14:creationId xmlns:p14="http://schemas.microsoft.com/office/powerpoint/2010/main" val="13658544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387000416"/>
              </p:ext>
            </p:extLst>
          </p:nvPr>
        </p:nvGraphicFramePr>
        <p:xfrm>
          <a:off x="369709" y="2233793"/>
          <a:ext cx="11834992" cy="6107904"/>
        </p:xfrm>
        <a:graphic>
          <a:graphicData uri="http://schemas.openxmlformats.org/drawingml/2006/table">
            <a:tbl>
              <a:tblPr/>
              <a:tblGrid>
                <a:gridCol w="1748764">
                  <a:extLst>
                    <a:ext uri="{9D8B030D-6E8A-4147-A177-3AD203B41FA5}">
                      <a16:colId xmlns:a16="http://schemas.microsoft.com/office/drawing/2014/main" xmlns="" val="20000"/>
                    </a:ext>
                  </a:extLst>
                </a:gridCol>
                <a:gridCol w="2177857">
                  <a:extLst>
                    <a:ext uri="{9D8B030D-6E8A-4147-A177-3AD203B41FA5}">
                      <a16:colId xmlns:a16="http://schemas.microsoft.com/office/drawing/2014/main" xmlns="" val="20001"/>
                    </a:ext>
                  </a:extLst>
                </a:gridCol>
                <a:gridCol w="1489306">
                  <a:extLst>
                    <a:ext uri="{9D8B030D-6E8A-4147-A177-3AD203B41FA5}">
                      <a16:colId xmlns:a16="http://schemas.microsoft.com/office/drawing/2014/main" xmlns="" val="20002"/>
                    </a:ext>
                  </a:extLst>
                </a:gridCol>
                <a:gridCol w="1747773">
                  <a:extLst>
                    <a:ext uri="{9D8B030D-6E8A-4147-A177-3AD203B41FA5}">
                      <a16:colId xmlns:a16="http://schemas.microsoft.com/office/drawing/2014/main" xmlns="" val="20003"/>
                    </a:ext>
                  </a:extLst>
                </a:gridCol>
                <a:gridCol w="1638142">
                  <a:extLst>
                    <a:ext uri="{9D8B030D-6E8A-4147-A177-3AD203B41FA5}">
                      <a16:colId xmlns:a16="http://schemas.microsoft.com/office/drawing/2014/main" xmlns="" val="3653545549"/>
                    </a:ext>
                  </a:extLst>
                </a:gridCol>
                <a:gridCol w="3033150">
                  <a:extLst>
                    <a:ext uri="{9D8B030D-6E8A-4147-A177-3AD203B41FA5}">
                      <a16:colId xmlns:a16="http://schemas.microsoft.com/office/drawing/2014/main" xmlns=""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9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xmlns=""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54</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федеральных законов 223-ФЗ и 44-ФЗ</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1</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42</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17 млрд рублей</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88198"/>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737813"/>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9" name="Rounded Rectangle 73"/>
          <p:cNvSpPr/>
          <p:nvPr/>
        </p:nvSpPr>
        <p:spPr>
          <a:xfrm>
            <a:off x="7558809" y="6031026"/>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500027" y="2595751"/>
            <a:ext cx="10017303" cy="4134370"/>
          </a:xfrm>
        </p:spPr>
        <p:txBody>
          <a:bodyPr/>
          <a:lstStyle/>
          <a:p>
            <a:pPr algn="just"/>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a:t>
            </a:r>
            <a:r>
              <a:rPr lang="ru-RU" b="0" dirty="0" smtClean="0"/>
              <a:t>кредитов (займов) малому и среднему предпринимательству в финансовых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482939" y="297542"/>
            <a:ext cx="8721761" cy="698685"/>
          </a:xfrm>
        </p:spPr>
        <p:txBody>
          <a:bodyPr/>
          <a:lstStyle/>
          <a:p>
            <a:r>
              <a:rPr lang="ru-RU" dirty="0"/>
              <a:t>Базовые требования к потенциальному </a:t>
            </a:r>
            <a:r>
              <a:rPr lang="ru-RU" dirty="0" smtClean="0"/>
              <a:t>заемщику – субъекту МСП</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a:t>
            </a:r>
            <a:r>
              <a:rPr lang="ru-RU" sz="1200" b="1" kern="0" dirty="0" smtClean="0">
                <a:solidFill>
                  <a:srgbClr val="1F497D">
                    <a:lumMod val="50000"/>
                  </a:srgbClr>
                </a:solidFill>
                <a:latin typeface="Arial Narrow" panose="020B0606020202030204" pitchFamily="34" charset="0"/>
                <a:cs typeface="+mn-cs"/>
              </a:rPr>
              <a:t>               уставного капитала</a:t>
            </a:r>
            <a:endParaRPr lang="ru-RU" sz="1200" b="1" kern="0" dirty="0">
              <a:solidFill>
                <a:srgbClr val="1F497D">
                  <a:lumMod val="50000"/>
                </a:srgbClr>
              </a:solidFill>
              <a:latin typeface="Arial Narrow" panose="020B0606020202030204" pitchFamily="34" charset="0"/>
              <a:cs typeface="+mn-cs"/>
            </a:endParaRP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smtClean="0">
                  <a:latin typeface="+mj-lt"/>
                  <a:cs typeface="+mn-cs"/>
                </a:rPr>
                <a:t>Сведения о заемщике </a:t>
              </a:r>
              <a:r>
                <a:rPr lang="ru-RU" sz="1600" kern="0" dirty="0">
                  <a:latin typeface="+mj-lt"/>
                  <a:cs typeface="+mn-cs"/>
                </a:rPr>
                <a:t>внесены в единый реестр субъектов малого и среднего </a:t>
              </a:r>
              <a:r>
                <a:rPr lang="ru-RU" sz="1600" kern="0" dirty="0" smtClean="0">
                  <a:latin typeface="+mj-lt"/>
                  <a:cs typeface="+mn-cs"/>
                </a:rPr>
                <a:t>предпринимательства</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8" name="Рисунок 7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
        <p:nvSpPr>
          <p:cNvPr id="72" name="Заголовок 1"/>
          <p:cNvSpPr txBox="1">
            <a:spLocks/>
          </p:cNvSpPr>
          <p:nvPr/>
        </p:nvSpPr>
        <p:spPr bwMode="auto">
          <a:xfrm>
            <a:off x="3523827" y="333229"/>
            <a:ext cx="8545609"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r>
              <a:rPr lang="ru-RU" dirty="0" smtClean="0"/>
              <a:t>Что такое независимая гарантия Корпорации?</a:t>
            </a:r>
            <a:endParaRPr lang="ru-RU" dirty="0"/>
          </a:p>
        </p:txBody>
      </p:sp>
      <p:pic>
        <p:nvPicPr>
          <p:cNvPr id="80" name="Рисунок 7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sp>
        <p:nvSpPr>
          <p:cNvPr id="86" name="Прямоугольник 85"/>
          <p:cNvSpPr/>
          <p:nvPr/>
        </p:nvSpPr>
        <p:spPr>
          <a:xfrm>
            <a:off x="2358621" y="1339835"/>
            <a:ext cx="9845256"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a:t>
            </a:r>
            <a:r>
              <a:rPr lang="ru-RU" sz="1600" dirty="0" smtClean="0"/>
              <a:t>договору/договору займа/лизинга</a:t>
            </a:r>
            <a:endParaRPr lang="ru-RU" sz="1600" dirty="0"/>
          </a:p>
        </p:txBody>
      </p:sp>
      <p:sp>
        <p:nvSpPr>
          <p:cNvPr id="87" name="Скругленный прямоугольник 86"/>
          <p:cNvSpPr/>
          <p:nvPr/>
        </p:nvSpPr>
        <p:spPr>
          <a:xfrm>
            <a:off x="363539" y="1339835"/>
            <a:ext cx="1917207"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88" name="Группа 87"/>
          <p:cNvGrpSpPr/>
          <p:nvPr/>
        </p:nvGrpSpPr>
        <p:grpSpPr>
          <a:xfrm>
            <a:off x="345766" y="2041657"/>
            <a:ext cx="11891165" cy="773470"/>
            <a:chOff x="379715" y="1106812"/>
            <a:chExt cx="5819547" cy="773470"/>
          </a:xfrm>
        </p:grpSpPr>
        <p:sp>
          <p:nvSpPr>
            <p:cNvPr id="89" name="Текст 2"/>
            <p:cNvSpPr txBox="1">
              <a:spLocks/>
            </p:cNvSpPr>
            <p:nvPr/>
          </p:nvSpPr>
          <p:spPr>
            <a:xfrm>
              <a:off x="2594778" y="1106812"/>
              <a:ext cx="358830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90" name="Прямая соединительная линия 89"/>
            <p:cNvCxnSpPr/>
            <p:nvPr/>
          </p:nvCxnSpPr>
          <p:spPr>
            <a:xfrm>
              <a:off x="379715"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1" name="Скругленный прямоугольник 90"/>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92" name="Скругленный прямоугольник 91"/>
          <p:cNvSpPr/>
          <p:nvPr/>
        </p:nvSpPr>
        <p:spPr>
          <a:xfrm>
            <a:off x="363539" y="3787122"/>
            <a:ext cx="5990904"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93" name="Прямоугольник 92"/>
          <p:cNvSpPr/>
          <p:nvPr/>
        </p:nvSpPr>
        <p:spPr>
          <a:xfrm>
            <a:off x="694295" y="6983812"/>
            <a:ext cx="5566426" cy="919119"/>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 до:</a:t>
            </a:r>
          </a:p>
          <a:p>
            <a:pPr marL="171450" lvl="0" indent="-171450">
              <a:buFont typeface="Arial" panose="020B0604020202020204" pitchFamily="34" charset="0"/>
              <a:buChar char="•"/>
            </a:pPr>
            <a:r>
              <a:rPr lang="ru-RU" sz="1050" dirty="0" smtClean="0">
                <a:solidFill>
                  <a:schemeClr val="tx1">
                    <a:lumMod val="95000"/>
                    <a:lumOff val="5000"/>
                  </a:schemeClr>
                </a:solidFill>
              </a:rPr>
              <a:t>50% суммы кредита (основной долг)</a:t>
            </a:r>
          </a:p>
          <a:p>
            <a:pPr marL="171450" lvl="0" indent="-171450">
              <a:buFont typeface="Arial" panose="020B0604020202020204" pitchFamily="34" charset="0"/>
              <a:buChar char="•"/>
            </a:pPr>
            <a:r>
              <a:rPr lang="ru-RU" sz="1050" dirty="0" smtClean="0">
                <a:solidFill>
                  <a:schemeClr val="tx1">
                    <a:lumMod val="95000"/>
                    <a:lumOff val="5000"/>
                  </a:schemeClr>
                </a:solidFill>
              </a:rPr>
              <a:t>7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smtClean="0"/>
              <a:t>70% от суммы гарантии исполнения контракта, суммы кредита на исполнение контракта</a:t>
            </a:r>
          </a:p>
          <a:p>
            <a:pPr marL="171450" indent="-171450">
              <a:buFont typeface="Arial" panose="020B0604020202020204" pitchFamily="34" charset="0"/>
              <a:buChar char="•"/>
            </a:pPr>
            <a:r>
              <a:rPr lang="ru-RU" sz="1050" dirty="0" smtClean="0"/>
              <a:t>100</a:t>
            </a:r>
            <a:r>
              <a:rPr lang="ru-RU" sz="1050" dirty="0"/>
              <a:t>% от суммы кредита для </a:t>
            </a:r>
            <a:r>
              <a:rPr lang="ru-RU" sz="1050" dirty="0" err="1" smtClean="0"/>
              <a:t>стартап</a:t>
            </a:r>
            <a:r>
              <a:rPr lang="ru-RU" sz="1050" dirty="0" smtClean="0"/>
              <a:t> проектов (сумма гарантии не более 50 млн рублей, проект реализуется в определенных направлениях)</a:t>
            </a:r>
          </a:p>
          <a:p>
            <a:pPr marL="171450" indent="-171450">
              <a:buFont typeface="Arial" panose="020B0604020202020204" pitchFamily="34" charset="0"/>
              <a:buChar char="•"/>
            </a:pPr>
            <a:r>
              <a:rPr lang="ru-RU" sz="1050" dirty="0" smtClean="0"/>
              <a:t>70</a:t>
            </a:r>
            <a:r>
              <a:rPr lang="ru-RU" sz="1050" dirty="0"/>
              <a:t>% от суммы кредита </a:t>
            </a:r>
            <a:r>
              <a:rPr lang="ru-RU" sz="1050" dirty="0" smtClean="0"/>
              <a:t>для быстрорастущих инновационных, высокотехнологичных предприятий («газелей»)</a:t>
            </a:r>
          </a:p>
          <a:p>
            <a:pPr marL="171450" lvl="0" indent="-171450">
              <a:buFont typeface="Arial" panose="020B0604020202020204" pitchFamily="34" charset="0"/>
              <a:buChar char="•"/>
            </a:pPr>
            <a:endParaRPr lang="ru-RU" sz="1050" dirty="0"/>
          </a:p>
        </p:txBody>
      </p:sp>
      <p:grpSp>
        <p:nvGrpSpPr>
          <p:cNvPr id="94" name="Группа 93"/>
          <p:cNvGrpSpPr/>
          <p:nvPr/>
        </p:nvGrpSpPr>
        <p:grpSpPr>
          <a:xfrm>
            <a:off x="2644337" y="4202430"/>
            <a:ext cx="1158586" cy="762098"/>
            <a:chOff x="2097996" y="4977591"/>
            <a:chExt cx="2226204" cy="922139"/>
          </a:xfrm>
        </p:grpSpPr>
        <p:grpSp>
          <p:nvGrpSpPr>
            <p:cNvPr id="95" name="Группа 94"/>
            <p:cNvGrpSpPr/>
            <p:nvPr/>
          </p:nvGrpSpPr>
          <p:grpSpPr>
            <a:xfrm>
              <a:off x="2155712" y="5262161"/>
              <a:ext cx="1988198" cy="327551"/>
              <a:chOff x="1997902" y="5521643"/>
              <a:chExt cx="2405720" cy="327551"/>
            </a:xfrm>
          </p:grpSpPr>
          <p:cxnSp>
            <p:nvCxnSpPr>
              <p:cNvPr id="98" name="Прямая со стрелкой 97"/>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99" name="Прямая со стрелкой 98"/>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96" name="Прямоугольник 95"/>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97" name="Прямоугольник 96"/>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00" name="Elbow Connector 187"/>
          <p:cNvCxnSpPr>
            <a:endCxn id="101"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01"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102" name="Прямоугольник 101"/>
          <p:cNvSpPr/>
          <p:nvPr/>
        </p:nvSpPr>
        <p:spPr>
          <a:xfrm>
            <a:off x="1071987" y="5639358"/>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103"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04" name="Oval 287"/>
          <p:cNvSpPr/>
          <p:nvPr/>
        </p:nvSpPr>
        <p:spPr>
          <a:xfrm>
            <a:off x="491084" y="652736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05" name="Прямая соединительная линия 104"/>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6" name="Скругленный прямоугольник 105"/>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107" name="Скругленный прямоугольник 106"/>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08" name="Скругленный прямоугольник 107"/>
          <p:cNvSpPr/>
          <p:nvPr/>
        </p:nvSpPr>
        <p:spPr>
          <a:xfrm>
            <a:off x="363537" y="2906893"/>
            <a:ext cx="5990905" cy="8101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займа (кроме гарантий для исполнения контрактов, для развития </a:t>
            </a:r>
            <a:r>
              <a:rPr lang="ru-RU" sz="1400" b="1" dirty="0" err="1" smtClean="0"/>
              <a:t>сельхозкооперации</a:t>
            </a:r>
            <a:r>
              <a:rPr lang="ru-RU" sz="1400" b="1" dirty="0" smtClean="0"/>
              <a:t>, </a:t>
            </a:r>
          </a:p>
          <a:p>
            <a:pPr algn="ctr"/>
            <a:r>
              <a:rPr lang="ru-RU" sz="1400" b="1" dirty="0" err="1" smtClean="0"/>
              <a:t>стартапов</a:t>
            </a:r>
            <a:r>
              <a:rPr lang="ru-RU" sz="1400" b="1" dirty="0" smtClean="0"/>
              <a:t> и «газелей») </a:t>
            </a:r>
            <a:endParaRPr lang="ru-RU" sz="1400" b="1" dirty="0"/>
          </a:p>
        </p:txBody>
      </p:sp>
      <p:sp>
        <p:nvSpPr>
          <p:cNvPr id="109" name="Скругленный прямоугольник 108"/>
          <p:cNvSpPr/>
          <p:nvPr/>
        </p:nvSpPr>
        <p:spPr>
          <a:xfrm>
            <a:off x="6444449" y="2903455"/>
            <a:ext cx="5759428" cy="795530"/>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займа</a:t>
            </a:r>
            <a:endParaRPr lang="ru-RU" sz="1400" b="1" dirty="0"/>
          </a:p>
        </p:txBody>
      </p:sp>
      <p:sp>
        <p:nvSpPr>
          <p:cNvPr id="110" name="Скругленный прямоугольник 109"/>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11" name="Скругленный прямоугольник 110"/>
          <p:cNvSpPr/>
          <p:nvPr/>
        </p:nvSpPr>
        <p:spPr>
          <a:xfrm>
            <a:off x="6444449" y="3768019"/>
            <a:ext cx="5792481"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12" name="Группа 111"/>
          <p:cNvGrpSpPr/>
          <p:nvPr/>
        </p:nvGrpSpPr>
        <p:grpSpPr>
          <a:xfrm>
            <a:off x="8800432" y="4714163"/>
            <a:ext cx="1158586" cy="762098"/>
            <a:chOff x="2097996" y="4977591"/>
            <a:chExt cx="2226204" cy="922139"/>
          </a:xfrm>
        </p:grpSpPr>
        <p:grpSp>
          <p:nvGrpSpPr>
            <p:cNvPr id="113" name="Группа 112"/>
            <p:cNvGrpSpPr/>
            <p:nvPr/>
          </p:nvGrpSpPr>
          <p:grpSpPr>
            <a:xfrm>
              <a:off x="2155712" y="5262161"/>
              <a:ext cx="1988198" cy="327551"/>
              <a:chOff x="1997902" y="5521643"/>
              <a:chExt cx="2405720" cy="327551"/>
            </a:xfrm>
          </p:grpSpPr>
          <p:cxnSp>
            <p:nvCxnSpPr>
              <p:cNvPr id="116" name="Прямая со стрелкой 115"/>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14" name="Прямоугольник 113"/>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15" name="Прямоугольник 114"/>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18" name="Elbow Connector 187"/>
          <p:cNvCxnSpPr>
            <a:stCxn id="110"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19" name="Прямоугольник 118"/>
          <p:cNvSpPr/>
          <p:nvPr/>
        </p:nvSpPr>
        <p:spPr>
          <a:xfrm>
            <a:off x="7376295" y="6050193"/>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20"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21" name="Прямая соединительная линия 120"/>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2" name="Скругленный прямоугольник 121"/>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23" name="Elbow Connector 187"/>
          <p:cNvCxnSpPr>
            <a:stCxn id="107"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24" name="Прямоугольник 123"/>
          <p:cNvSpPr/>
          <p:nvPr/>
        </p:nvSpPr>
        <p:spPr>
          <a:xfrm>
            <a:off x="7251368" y="3840283"/>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2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28" name="Прямоугольник 127"/>
          <p:cNvSpPr/>
          <p:nvPr/>
        </p:nvSpPr>
        <p:spPr>
          <a:xfrm>
            <a:off x="6836357" y="6897235"/>
            <a:ext cx="5216845" cy="904091"/>
          </a:xfrm>
          <a:prstGeom prst="rect">
            <a:avLst/>
          </a:prstGeom>
          <a:ln>
            <a:noFill/>
          </a:ln>
        </p:spPr>
        <p:txBody>
          <a:bodyPr wrap="square" anchor="ctr">
            <a:noAutofit/>
          </a:bodyPr>
          <a:lstStyle/>
          <a:p>
            <a:pPr lvl="0"/>
            <a:r>
              <a:rPr lang="ru-RU" sz="10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p>
          <a:p>
            <a:pPr lvl="0"/>
            <a:r>
              <a:rPr lang="ru-RU" sz="1000" dirty="0" smtClean="0">
                <a:solidFill>
                  <a:schemeClr val="tx1">
                    <a:lumMod val="95000"/>
                    <a:lumOff val="5000"/>
                  </a:schemeClr>
                </a:solidFill>
              </a:rPr>
              <a:t>При сумме общего гарантийного обеспечения Корпорации и РГО по </a:t>
            </a:r>
            <a:r>
              <a:rPr lang="ru-RU" sz="1000" dirty="0" err="1" smtClean="0">
                <a:solidFill>
                  <a:schemeClr val="tx1">
                    <a:lumMod val="95000"/>
                    <a:lumOff val="5000"/>
                  </a:schemeClr>
                </a:solidFill>
              </a:rPr>
              <a:t>согарантии</a:t>
            </a:r>
            <a:r>
              <a:rPr lang="ru-RU" sz="1000" dirty="0" smtClean="0">
                <a:solidFill>
                  <a:schemeClr val="tx1">
                    <a:lumMod val="95000"/>
                    <a:lumOff val="5000"/>
                  </a:schemeClr>
                </a:solidFill>
              </a:rPr>
              <a:t> до 25 млн рублей поручительство РГО предоставляется в размере 20% от указанного общего гарантийного обеспечения, но не более собственного лимита РГО</a:t>
            </a:r>
          </a:p>
          <a:p>
            <a:pPr lvl="0"/>
            <a:endParaRPr lang="ru-RU" sz="900" dirty="0">
              <a:solidFill>
                <a:schemeClr val="tx1">
                  <a:lumMod val="95000"/>
                  <a:lumOff val="5000"/>
                </a:schemeClr>
              </a:solidFill>
            </a:endParaRPr>
          </a:p>
        </p:txBody>
      </p:sp>
      <p:sp>
        <p:nvSpPr>
          <p:cNvPr id="130" name="Oval 287"/>
          <p:cNvSpPr/>
          <p:nvPr/>
        </p:nvSpPr>
        <p:spPr>
          <a:xfrm>
            <a:off x="6620655" y="689874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133" name="Группа 132"/>
          <p:cNvGrpSpPr/>
          <p:nvPr/>
        </p:nvGrpSpPr>
        <p:grpSpPr>
          <a:xfrm>
            <a:off x="7966938" y="6527369"/>
            <a:ext cx="4163307" cy="311252"/>
            <a:chOff x="6747848" y="6797281"/>
            <a:chExt cx="3935245" cy="311252"/>
          </a:xfrm>
        </p:grpSpPr>
        <p:sp>
          <p:nvSpPr>
            <p:cNvPr id="136"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Прямоугольник 13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5% суммы кредита</a:t>
              </a:r>
              <a:endParaRPr lang="ru-RU" sz="1050" b="1" dirty="0">
                <a:solidFill>
                  <a:schemeClr val="tx1">
                    <a:lumMod val="95000"/>
                    <a:lumOff val="5000"/>
                  </a:schemeClr>
                </a:solidFill>
              </a:endParaRPr>
            </a:p>
          </p:txBody>
        </p:sp>
        <p:sp>
          <p:nvSpPr>
            <p:cNvPr id="142"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47"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49" name="Oval 287"/>
          <p:cNvSpPr/>
          <p:nvPr/>
        </p:nvSpPr>
        <p:spPr>
          <a:xfrm>
            <a:off x="6620654" y="7699720"/>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0" name="Прямая соединительная линия 149"/>
          <p:cNvCxnSpPr/>
          <p:nvPr/>
        </p:nvCxnSpPr>
        <p:spPr>
          <a:xfrm>
            <a:off x="6576981" y="683637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1"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2"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3" name="Скругленный прямоугольник 152"/>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154" name="Группа 153"/>
          <p:cNvGrpSpPr/>
          <p:nvPr/>
        </p:nvGrpSpPr>
        <p:grpSpPr>
          <a:xfrm>
            <a:off x="332773" y="4064734"/>
            <a:ext cx="2303065" cy="904187"/>
            <a:chOff x="332773" y="3991997"/>
            <a:chExt cx="2303065" cy="904187"/>
          </a:xfrm>
        </p:grpSpPr>
        <p:sp>
          <p:nvSpPr>
            <p:cNvPr id="155" name="Скругленный прямоугольник 154"/>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156" name="Группа 155"/>
            <p:cNvGrpSpPr/>
            <p:nvPr/>
          </p:nvGrpSpPr>
          <p:grpSpPr>
            <a:xfrm>
              <a:off x="332773" y="3991997"/>
              <a:ext cx="904187" cy="904187"/>
              <a:chOff x="-1167900" y="2055274"/>
              <a:chExt cx="2233307" cy="2233307"/>
            </a:xfrm>
          </p:grpSpPr>
          <p:pic>
            <p:nvPicPr>
              <p:cNvPr id="157" name="Рисунок 15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158" name="Овал 157"/>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160" name="Группа 159"/>
          <p:cNvGrpSpPr/>
          <p:nvPr/>
        </p:nvGrpSpPr>
        <p:grpSpPr>
          <a:xfrm>
            <a:off x="6491570" y="4588362"/>
            <a:ext cx="2303065" cy="904187"/>
            <a:chOff x="332773" y="3991997"/>
            <a:chExt cx="2303065" cy="904187"/>
          </a:xfrm>
        </p:grpSpPr>
        <p:sp>
          <p:nvSpPr>
            <p:cNvPr id="161" name="Скругленный прямоугольник 160"/>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162" name="Группа 161"/>
            <p:cNvGrpSpPr/>
            <p:nvPr/>
          </p:nvGrpSpPr>
          <p:grpSpPr>
            <a:xfrm>
              <a:off x="332773" y="3991997"/>
              <a:ext cx="904187" cy="904187"/>
              <a:chOff x="-1167900" y="2055274"/>
              <a:chExt cx="2233307" cy="2233307"/>
            </a:xfrm>
          </p:grpSpPr>
          <p:pic>
            <p:nvPicPr>
              <p:cNvPr id="163" name="Рисунок 16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164" name="Овал 163"/>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165" name="Рисунок 16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71" name="Прямоугольник 70"/>
          <p:cNvSpPr/>
          <p:nvPr/>
        </p:nvSpPr>
        <p:spPr>
          <a:xfrm>
            <a:off x="6880086" y="7720854"/>
            <a:ext cx="5164769"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1591470" y="393766"/>
            <a:ext cx="9435302" cy="698685"/>
          </a:xfrm>
        </p:spPr>
        <p:txBody>
          <a:bodyPr/>
          <a:lstStyle/>
          <a:p>
            <a:pPr algn="ctr"/>
            <a:r>
              <a:rPr lang="ru-RU" sz="2300" dirty="0" smtClean="0"/>
              <a:t>Специальные гарантийные продукты</a:t>
            </a:r>
            <a:endParaRPr lang="ru-RU" sz="2300" dirty="0"/>
          </a:p>
        </p:txBody>
      </p:sp>
      <p:grpSp>
        <p:nvGrpSpPr>
          <p:cNvPr id="13" name="Группа 12"/>
          <p:cNvGrpSpPr/>
          <p:nvPr/>
        </p:nvGrpSpPr>
        <p:grpSpPr>
          <a:xfrm>
            <a:off x="363539" y="3248955"/>
            <a:ext cx="11891164" cy="740494"/>
            <a:chOff x="363539" y="1139788"/>
            <a:chExt cx="5819547" cy="740494"/>
          </a:xfrm>
        </p:grpSpPr>
        <p:sp>
          <p:nvSpPr>
            <p:cNvPr id="14" name="Текст 2"/>
            <p:cNvSpPr txBox="1">
              <a:spLocks/>
            </p:cNvSpPr>
            <p:nvPr/>
          </p:nvSpPr>
          <p:spPr>
            <a:xfrm>
              <a:off x="2378148" y="1139788"/>
              <a:ext cx="380493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4115724"/>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061577"/>
            <a:ext cx="4979002" cy="785791"/>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 </a:t>
            </a:r>
          </a:p>
          <a:p>
            <a:r>
              <a:rPr lang="ru-RU" sz="1050" dirty="0">
                <a:solidFill>
                  <a:schemeClr val="tx1">
                    <a:lumMod val="95000"/>
                    <a:lumOff val="5000"/>
                  </a:schemeClr>
                </a:solidFill>
              </a:rPr>
              <a:t>При сумме общего гарантийного обеспечения Корпорации и РГО </a:t>
            </a:r>
            <a:r>
              <a:rPr lang="ru-RU" sz="1050" dirty="0" smtClean="0">
                <a:solidFill>
                  <a:schemeClr val="tx1">
                    <a:lumMod val="95000"/>
                    <a:lumOff val="5000"/>
                  </a:schemeClr>
                </a:solidFill>
              </a:rPr>
              <a:t>до </a:t>
            </a:r>
            <a:r>
              <a:rPr lang="ru-RU" sz="1050" dirty="0">
                <a:solidFill>
                  <a:schemeClr val="tx1">
                    <a:lumMod val="95000"/>
                    <a:lumOff val="5000"/>
                  </a:schemeClr>
                </a:solidFill>
              </a:rPr>
              <a:t>25 млн рублей поручительство РГО </a:t>
            </a:r>
            <a:r>
              <a:rPr lang="ru-RU" sz="1050" dirty="0" smtClean="0">
                <a:solidFill>
                  <a:schemeClr val="tx1">
                    <a:lumMod val="95000"/>
                    <a:lumOff val="5000"/>
                  </a:schemeClr>
                </a:solidFill>
              </a:rPr>
              <a:t>предоставляется </a:t>
            </a:r>
            <a:r>
              <a:rPr lang="ru-RU" sz="1050" dirty="0">
                <a:solidFill>
                  <a:schemeClr val="tx1">
                    <a:lumMod val="95000"/>
                    <a:lumOff val="5000"/>
                  </a:schemeClr>
                </a:solidFill>
              </a:rPr>
              <a:t>в размере 20% от указанного общего гарантийного обеспечения, но не более собственного лимита РГО</a:t>
            </a:r>
          </a:p>
          <a:p>
            <a:pPr lvl="0"/>
            <a:endParaRPr lang="ru-RU" sz="1050" dirty="0" smtClean="0">
              <a:solidFill>
                <a:schemeClr val="tx1">
                  <a:lumMod val="95000"/>
                  <a:lumOff val="5000"/>
                </a:schemeClr>
              </a:solidFill>
            </a:endParaRPr>
          </a:p>
        </p:txBody>
      </p:sp>
      <p:sp>
        <p:nvSpPr>
          <p:cNvPr id="148" name="Oval 287"/>
          <p:cNvSpPr/>
          <p:nvPr/>
        </p:nvSpPr>
        <p:spPr>
          <a:xfrm>
            <a:off x="496534" y="6950079"/>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817897"/>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04454" y="1163349"/>
            <a:ext cx="5637998" cy="2458159"/>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a:t>Согарантия</a:t>
            </a:r>
            <a:r>
              <a:rPr lang="ru-RU" sz="1600" b="1" dirty="0"/>
              <a:t> для экспортеров.</a:t>
            </a:r>
          </a:p>
          <a:p>
            <a:pPr algn="ctr"/>
            <a:endParaRPr lang="ru-RU" sz="700" b="1" dirty="0" smtClean="0"/>
          </a:p>
          <a:p>
            <a:pPr algn="ctr"/>
            <a:r>
              <a:rPr lang="ru-RU" sz="1600" b="1" dirty="0"/>
              <a:t>Прямая гарантия для </a:t>
            </a:r>
            <a:r>
              <a:rPr lang="ru-RU" sz="1600" b="1" dirty="0" smtClean="0"/>
              <a:t>экспортеров </a:t>
            </a:r>
            <a:r>
              <a:rPr lang="ru-RU" sz="1600" b="1" dirty="0"/>
              <a:t>или </a:t>
            </a:r>
            <a:r>
              <a:rPr lang="ru-RU" sz="1600" b="1" dirty="0" smtClean="0"/>
              <a:t>производителей </a:t>
            </a:r>
            <a:r>
              <a:rPr lang="ru-RU" sz="1600" b="1" dirty="0"/>
              <a:t>сельскохозяйственной продукции и продовольствия, </a:t>
            </a:r>
            <a:r>
              <a:rPr lang="ru-RU" sz="1600" b="1" dirty="0" smtClean="0"/>
              <a:t>заключивших с </a:t>
            </a:r>
            <a:r>
              <a:rPr lang="ru-RU" sz="1600" b="1" dirty="0"/>
              <a:t>экспортером договор, предусматривающий реализацию сельскохозяйственной продукции и </a:t>
            </a:r>
            <a:r>
              <a:rPr lang="ru-RU" sz="1600" b="1" dirty="0" smtClean="0"/>
              <a:t>продовольствия, </a:t>
            </a:r>
            <a:r>
              <a:rPr lang="ru-RU" sz="1600" b="1" dirty="0"/>
              <a:t>выдаваемая совместно с поручительством региональной гарантийной организации, покрывает до 75% от суммы кредита</a:t>
            </a:r>
          </a:p>
        </p:txBody>
      </p:sp>
      <p:sp>
        <p:nvSpPr>
          <p:cNvPr id="43" name="Скругленный прямоугольник 42"/>
          <p:cNvSpPr/>
          <p:nvPr/>
        </p:nvSpPr>
        <p:spPr>
          <a:xfrm>
            <a:off x="6026727" y="1171178"/>
            <a:ext cx="6227976" cy="2433234"/>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4104707"/>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от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81789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15380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a:t>
            </a:r>
            <a:r>
              <a:rPr lang="ru-RU" sz="1200" dirty="0" smtClean="0">
                <a:latin typeface="+mj-lt"/>
                <a:cs typeface="+mn-cs"/>
              </a:rPr>
              <a:t>поддержке и постоянно расширяется</a:t>
            </a:r>
            <a:endParaRPr lang="ru-RU" sz="1200" dirty="0">
              <a:latin typeface="+mj-lt"/>
              <a:cs typeface="+mn-cs"/>
            </a:endParaRP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2206</TotalTime>
  <Words>7306</Words>
  <Application>Microsoft Office PowerPoint</Application>
  <PresentationFormat>Произвольный</PresentationFormat>
  <Paragraphs>964</Paragraphs>
  <Slides>39</Slides>
  <Notes>6</Notes>
  <HiddenSlides>0</HiddenSlides>
  <MMClips>0</MMClips>
  <ScaleCrop>false</ScaleCrop>
  <HeadingPairs>
    <vt:vector size="6" baseType="variant">
      <vt:variant>
        <vt:lpstr>Использованные шрифты</vt:lpstr>
      </vt:variant>
      <vt:variant>
        <vt:i4>12</vt:i4>
      </vt:variant>
      <vt:variant>
        <vt:lpstr>Тема</vt:lpstr>
      </vt:variant>
      <vt:variant>
        <vt:i4>2</vt:i4>
      </vt:variant>
      <vt:variant>
        <vt:lpstr>Заголовки слайдов</vt:lpstr>
      </vt:variant>
      <vt:variant>
        <vt:i4>39</vt:i4>
      </vt:variant>
    </vt:vector>
  </HeadingPairs>
  <TitlesOfParts>
    <vt:vector size="53" baseType="lpstr">
      <vt:lpstr>Arial Unicode MS</vt:lpstr>
      <vt:lpstr>Aparajita</vt:lpstr>
      <vt:lpstr>Arial</vt:lpstr>
      <vt:lpstr>Arial Black</vt:lpstr>
      <vt:lpstr>Arial Narrow</vt:lpstr>
      <vt:lpstr>Book Antiqua</vt:lpstr>
      <vt:lpstr>Calibri</vt:lpstr>
      <vt:lpstr>Courier New</vt:lpstr>
      <vt:lpstr>Tahoma</vt:lpstr>
      <vt:lpstr>Times New Roman</vt:lpstr>
      <vt:lpstr>Wingdings</vt:lpstr>
      <vt:lpstr>Wingdings 2</vt:lpstr>
      <vt:lpstr>Title</vt:lpstr>
      <vt:lpstr>5_Title</vt:lpstr>
      <vt:lpstr>Финансовая поддержка субъектов МСП</vt:lpstr>
      <vt:lpstr>О Корпорации</vt:lpstr>
      <vt:lpstr>Корпорация в цифрах гарантийной поддержки</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займов) малому и среднему предпринимательству в финансовых организациях-партнерах</vt:lpstr>
      <vt:lpstr>Базовые требования к потенциальному заемщику – субъекту МСП</vt:lpstr>
      <vt:lpstr>Презентация PowerPoint</vt:lpstr>
      <vt:lpstr>Специальные гарантийные продукты</vt:lpstr>
      <vt:lpstr>Преимущества независимой гарантии Корпорации  для субъекта МСП</vt:lpstr>
      <vt:lpstr>Презентация PowerPoint</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Приоритетные отрасли экономики</vt:lpstr>
      <vt:lpstr>Критерии отбора стартапов </vt:lpstr>
      <vt:lpstr>Критерии отбора быстрорастущих инновационных, высокотехнологичных предприятий («газелей») </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Программа предоставления субсидий кредитным организациям на возмещение недополученных ими доходов по кредитам, выданным субъектам МСП на реализацию проектов в приоритетных отраслях по льготной ставке, реализуемая с 2019 года Минэкономразвития России и Корпорацией МСП   Постановление Правительства РФ от 30.12.2018 N 1764 "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 выданным в 2019 - 2024 годах субъектам малого и среднего предпринимательства по льготной ставке" </vt:lpstr>
      <vt:lpstr>Условия Программы субсидирования</vt:lpstr>
      <vt:lpstr>Условия Программы субсидирования, приоритетные отрасли</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МП* Общая информация</vt:lpstr>
      <vt:lpstr>Лизинговые продукты для приобретения оборудования в рамках Программы льготного лизинга</vt:lpstr>
      <vt:lpstr>5. Программа Инвестиционный лифт</vt:lpstr>
      <vt:lpstr>Презентация PowerPoint</vt:lpstr>
      <vt:lpstr>6. Поддержка субъектов МСП через Фонд «МИР»</vt:lpstr>
      <vt:lpstr>Оказание поддержки проектам субъектов МСП через Фонд «МИР»</vt:lpstr>
      <vt:lpstr>Продукты для МСП</vt:lpstr>
      <vt:lpstr>Задачи, которые мы решили</vt:lpstr>
      <vt:lpstr>Пилотная сделка мультиоригинаторной секьюритизации кредитов субъектам МСП</vt:lpstr>
      <vt:lpstr>Инфраструктура мультиоригинаторной платформы секьюритизации кредитов субъектам МСП</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Любомудров Максим Германович</cp:lastModifiedBy>
  <cp:revision>4665</cp:revision>
  <cp:lastPrinted>2019-03-29T07:22:38Z</cp:lastPrinted>
  <dcterms:created xsi:type="dcterms:W3CDTF">2010-08-23T12:41:44Z</dcterms:created>
  <dcterms:modified xsi:type="dcterms:W3CDTF">2019-03-29T07:22:42Z</dcterms:modified>
</cp:coreProperties>
</file>